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5"/>
  </p:notesMasterIdLst>
  <p:sldIdLst>
    <p:sldId id="256" r:id="rId2"/>
    <p:sldId id="258" r:id="rId3"/>
    <p:sldId id="535" r:id="rId4"/>
    <p:sldId id="532" r:id="rId5"/>
    <p:sldId id="262" r:id="rId6"/>
    <p:sldId id="261" r:id="rId7"/>
    <p:sldId id="263" r:id="rId8"/>
    <p:sldId id="264" r:id="rId9"/>
    <p:sldId id="265" r:id="rId10"/>
    <p:sldId id="495" r:id="rId11"/>
    <p:sldId id="269" r:id="rId12"/>
    <p:sldId id="541" r:id="rId13"/>
    <p:sldId id="268" r:id="rId14"/>
    <p:sldId id="279" r:id="rId15"/>
    <p:sldId id="270" r:id="rId16"/>
    <p:sldId id="271" r:id="rId17"/>
    <p:sldId id="274" r:id="rId18"/>
    <p:sldId id="275" r:id="rId19"/>
    <p:sldId id="276" r:id="rId20"/>
    <p:sldId id="539" r:id="rId21"/>
    <p:sldId id="277" r:id="rId22"/>
    <p:sldId id="278" r:id="rId23"/>
    <p:sldId id="272" r:id="rId24"/>
    <p:sldId id="280" r:id="rId25"/>
    <p:sldId id="281" r:id="rId26"/>
    <p:sldId id="282" r:id="rId27"/>
    <p:sldId id="283" r:id="rId28"/>
    <p:sldId id="284" r:id="rId29"/>
    <p:sldId id="537" r:id="rId30"/>
    <p:sldId id="542" r:id="rId31"/>
    <p:sldId id="533" r:id="rId32"/>
    <p:sldId id="534" r:id="rId33"/>
    <p:sldId id="538"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30F8A2-CDA9-4180-A2F2-C6BDCF0A6B55}" v="1" dt="2022-05-03T14:35:31.305"/>
    <p1510:client id="{2F530553-45D4-4AE6-B215-26230E1AEE9F}" v="59" dt="2022-05-03T14:41:01.866"/>
    <p1510:client id="{3C566738-BA10-4398-8440-AEDD4FE481B6}" v="3" dt="2022-05-03T15:18:08.704"/>
    <p1510:client id="{86ED94E1-A2AC-45B6-9213-7E18111C7689}" v="4" dt="2022-05-03T15:43:26.585"/>
    <p1510:client id="{EFF58BDF-8F7D-574C-9145-BE6D8E612E4F}" v="12" dt="2022-05-03T14:40:43.3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til, Akshat Adhar" userId="27c22182-3c38-4d9f-87ef-4cc6d4653674" providerId="ADAL" clId="{2F530553-45D4-4AE6-B215-26230E1AEE9F}"/>
    <pc:docChg chg="undo custSel modSld">
      <pc:chgData name="Patil, Akshat Adhar" userId="27c22182-3c38-4d9f-87ef-4cc6d4653674" providerId="ADAL" clId="{2F530553-45D4-4AE6-B215-26230E1AEE9F}" dt="2022-05-03T14:41:01.866" v="64" actId="2"/>
      <pc:docMkLst>
        <pc:docMk/>
      </pc:docMkLst>
      <pc:sldChg chg="modSp mod">
        <pc:chgData name="Patil, Akshat Adhar" userId="27c22182-3c38-4d9f-87ef-4cc6d4653674" providerId="ADAL" clId="{2F530553-45D4-4AE6-B215-26230E1AEE9F}" dt="2022-05-03T14:41:01.866" v="64" actId="2"/>
        <pc:sldMkLst>
          <pc:docMk/>
          <pc:sldMk cId="3025177652" sldId="256"/>
        </pc:sldMkLst>
        <pc:spChg chg="mod">
          <ac:chgData name="Patil, Akshat Adhar" userId="27c22182-3c38-4d9f-87ef-4cc6d4653674" providerId="ADAL" clId="{2F530553-45D4-4AE6-B215-26230E1AEE9F}" dt="2022-05-03T14:41:01.866" v="64" actId="2"/>
          <ac:spMkLst>
            <pc:docMk/>
            <pc:sldMk cId="3025177652" sldId="256"/>
            <ac:spMk id="7" creationId="{CDC20B6F-A7AF-0F4F-B60A-1B36FF2141EE}"/>
          </ac:spMkLst>
        </pc:spChg>
      </pc:sldChg>
      <pc:sldChg chg="modSp mod">
        <pc:chgData name="Patil, Akshat Adhar" userId="27c22182-3c38-4d9f-87ef-4cc6d4653674" providerId="ADAL" clId="{2F530553-45D4-4AE6-B215-26230E1AEE9F}" dt="2022-05-03T14:40:07.932" v="6" actId="313"/>
        <pc:sldMkLst>
          <pc:docMk/>
          <pc:sldMk cId="174062876" sldId="262"/>
        </pc:sldMkLst>
        <pc:spChg chg="mod">
          <ac:chgData name="Patil, Akshat Adhar" userId="27c22182-3c38-4d9f-87ef-4cc6d4653674" providerId="ADAL" clId="{2F530553-45D4-4AE6-B215-26230E1AEE9F}" dt="2022-05-03T14:40:07.932" v="6" actId="313"/>
          <ac:spMkLst>
            <pc:docMk/>
            <pc:sldMk cId="174062876" sldId="262"/>
            <ac:spMk id="3" creationId="{1E640FA1-03EA-1AA6-4950-383D1B96B8DD}"/>
          </ac:spMkLst>
        </pc:spChg>
      </pc:sldChg>
      <pc:sldChg chg="modSp mod">
        <pc:chgData name="Patil, Akshat Adhar" userId="27c22182-3c38-4d9f-87ef-4cc6d4653674" providerId="ADAL" clId="{2F530553-45D4-4AE6-B215-26230E1AEE9F}" dt="2022-05-03T14:40:58.169" v="61" actId="2"/>
        <pc:sldMkLst>
          <pc:docMk/>
          <pc:sldMk cId="668354201" sldId="268"/>
        </pc:sldMkLst>
        <pc:graphicFrameChg chg="modGraphic">
          <ac:chgData name="Patil, Akshat Adhar" userId="27c22182-3c38-4d9f-87ef-4cc6d4653674" providerId="ADAL" clId="{2F530553-45D4-4AE6-B215-26230E1AEE9F}" dt="2022-05-03T14:40:58.169" v="61" actId="2"/>
          <ac:graphicFrameMkLst>
            <pc:docMk/>
            <pc:sldMk cId="668354201" sldId="268"/>
            <ac:graphicFrameMk id="4" creationId="{BC7A2EF9-83FD-EF76-9077-6FB433BB2CD3}"/>
          </ac:graphicFrameMkLst>
        </pc:graphicFrameChg>
      </pc:sldChg>
      <pc:sldChg chg="modSp">
        <pc:chgData name="Patil, Akshat Adhar" userId="27c22182-3c38-4d9f-87ef-4cc6d4653674" providerId="ADAL" clId="{2F530553-45D4-4AE6-B215-26230E1AEE9F}" dt="2022-05-03T14:40:58.801" v="62" actId="2"/>
        <pc:sldMkLst>
          <pc:docMk/>
          <pc:sldMk cId="2013148608" sldId="533"/>
        </pc:sldMkLst>
        <pc:graphicFrameChg chg="mod">
          <ac:chgData name="Patil, Akshat Adhar" userId="27c22182-3c38-4d9f-87ef-4cc6d4653674" providerId="ADAL" clId="{2F530553-45D4-4AE6-B215-26230E1AEE9F}" dt="2022-05-03T14:40:58.801" v="62" actId="2"/>
          <ac:graphicFrameMkLst>
            <pc:docMk/>
            <pc:sldMk cId="2013148608" sldId="533"/>
            <ac:graphicFrameMk id="17" creationId="{44D27E15-5A5F-E9C7-0E0D-C9C3EC44CD3F}"/>
          </ac:graphicFrameMkLst>
        </pc:graphicFrameChg>
      </pc:sldChg>
      <pc:sldChg chg="addSp delSp modSp mod">
        <pc:chgData name="Patil, Akshat Adhar" userId="27c22182-3c38-4d9f-87ef-4cc6d4653674" providerId="ADAL" clId="{2F530553-45D4-4AE6-B215-26230E1AEE9F}" dt="2022-05-03T14:36:30.333" v="5" actId="403"/>
        <pc:sldMkLst>
          <pc:docMk/>
          <pc:sldMk cId="2725734207" sldId="542"/>
        </pc:sldMkLst>
        <pc:spChg chg="mod">
          <ac:chgData name="Patil, Akshat Adhar" userId="27c22182-3c38-4d9f-87ef-4cc6d4653674" providerId="ADAL" clId="{2F530553-45D4-4AE6-B215-26230E1AEE9F}" dt="2022-05-03T14:36:25.680" v="4" actId="26606"/>
          <ac:spMkLst>
            <pc:docMk/>
            <pc:sldMk cId="2725734207" sldId="542"/>
            <ac:spMk id="2" creationId="{51CA1364-A5EC-0E9B-78B8-271E5708156B}"/>
          </ac:spMkLst>
        </pc:spChg>
        <pc:spChg chg="mod">
          <ac:chgData name="Patil, Akshat Adhar" userId="27c22182-3c38-4d9f-87ef-4cc6d4653674" providerId="ADAL" clId="{2F530553-45D4-4AE6-B215-26230E1AEE9F}" dt="2022-05-03T14:36:30.333" v="5" actId="403"/>
          <ac:spMkLst>
            <pc:docMk/>
            <pc:sldMk cId="2725734207" sldId="542"/>
            <ac:spMk id="3" creationId="{49683B0C-91F9-48F8-FA1C-FB5ED0B6C8FC}"/>
          </ac:spMkLst>
        </pc:spChg>
        <pc:spChg chg="add del">
          <ac:chgData name="Patil, Akshat Adhar" userId="27c22182-3c38-4d9f-87ef-4cc6d4653674" providerId="ADAL" clId="{2F530553-45D4-4AE6-B215-26230E1AEE9F}" dt="2022-05-03T14:36:19.481" v="1" actId="26606"/>
          <ac:spMkLst>
            <pc:docMk/>
            <pc:sldMk cId="2725734207" sldId="542"/>
            <ac:spMk id="8" creationId="{2B566528-1B12-4246-9431-5C2D7D081168}"/>
          </ac:spMkLst>
        </pc:spChg>
        <pc:spChg chg="add del">
          <ac:chgData name="Patil, Akshat Adhar" userId="27c22182-3c38-4d9f-87ef-4cc6d4653674" providerId="ADAL" clId="{2F530553-45D4-4AE6-B215-26230E1AEE9F}" dt="2022-05-03T14:36:19.481" v="1" actId="26606"/>
          <ac:spMkLst>
            <pc:docMk/>
            <pc:sldMk cId="2725734207" sldId="542"/>
            <ac:spMk id="10" creationId="{2E80C965-DB6D-4F81-9E9E-B027384D0BD6}"/>
          </ac:spMkLst>
        </pc:spChg>
        <pc:spChg chg="add del">
          <ac:chgData name="Patil, Akshat Adhar" userId="27c22182-3c38-4d9f-87ef-4cc6d4653674" providerId="ADAL" clId="{2F530553-45D4-4AE6-B215-26230E1AEE9F}" dt="2022-05-03T14:36:19.481" v="1" actId="26606"/>
          <ac:spMkLst>
            <pc:docMk/>
            <pc:sldMk cId="2725734207" sldId="542"/>
            <ac:spMk id="12" creationId="{A580F890-B085-4E95-96AA-55AEBEC5CE6E}"/>
          </ac:spMkLst>
        </pc:spChg>
        <pc:spChg chg="add del">
          <ac:chgData name="Patil, Akshat Adhar" userId="27c22182-3c38-4d9f-87ef-4cc6d4653674" providerId="ADAL" clId="{2F530553-45D4-4AE6-B215-26230E1AEE9F}" dt="2022-05-03T14:36:19.481" v="1" actId="26606"/>
          <ac:spMkLst>
            <pc:docMk/>
            <pc:sldMk cId="2725734207" sldId="542"/>
            <ac:spMk id="14" creationId="{D3F51FEB-38FB-4F6C-9F7B-2F2AFAB65463}"/>
          </ac:spMkLst>
        </pc:spChg>
        <pc:spChg chg="add del">
          <ac:chgData name="Patil, Akshat Adhar" userId="27c22182-3c38-4d9f-87ef-4cc6d4653674" providerId="ADAL" clId="{2F530553-45D4-4AE6-B215-26230E1AEE9F}" dt="2022-05-03T14:36:19.481" v="1" actId="26606"/>
          <ac:spMkLst>
            <pc:docMk/>
            <pc:sldMk cId="2725734207" sldId="542"/>
            <ac:spMk id="16" creationId="{1E547BA6-BAE0-43BB-A7CA-60F69CE252F0}"/>
          </ac:spMkLst>
        </pc:spChg>
        <pc:spChg chg="add del">
          <ac:chgData name="Patil, Akshat Adhar" userId="27c22182-3c38-4d9f-87ef-4cc6d4653674" providerId="ADAL" clId="{2F530553-45D4-4AE6-B215-26230E1AEE9F}" dt="2022-05-03T14:36:25.671" v="3" actId="26606"/>
          <ac:spMkLst>
            <pc:docMk/>
            <pc:sldMk cId="2725734207" sldId="542"/>
            <ac:spMk id="18" creationId="{9E914C83-E0D8-4953-92D5-169D28CB43AE}"/>
          </ac:spMkLst>
        </pc:spChg>
        <pc:spChg chg="add del">
          <ac:chgData name="Patil, Akshat Adhar" userId="27c22182-3c38-4d9f-87ef-4cc6d4653674" providerId="ADAL" clId="{2F530553-45D4-4AE6-B215-26230E1AEE9F}" dt="2022-05-03T14:36:25.671" v="3" actId="26606"/>
          <ac:spMkLst>
            <pc:docMk/>
            <pc:sldMk cId="2725734207" sldId="542"/>
            <ac:spMk id="19" creationId="{46D6306C-ED4F-4AAE-B4A5-EEA6AFAD726E}"/>
          </ac:spMkLst>
        </pc:spChg>
        <pc:spChg chg="add del">
          <ac:chgData name="Patil, Akshat Adhar" userId="27c22182-3c38-4d9f-87ef-4cc6d4653674" providerId="ADAL" clId="{2F530553-45D4-4AE6-B215-26230E1AEE9F}" dt="2022-05-03T14:36:25.671" v="3" actId="26606"/>
          <ac:spMkLst>
            <pc:docMk/>
            <pc:sldMk cId="2725734207" sldId="542"/>
            <ac:spMk id="20" creationId="{3512E083-F550-46AF-8490-767ECFD00CB7}"/>
          </ac:spMkLst>
        </pc:spChg>
        <pc:spChg chg="add del">
          <ac:chgData name="Patil, Akshat Adhar" userId="27c22182-3c38-4d9f-87ef-4cc6d4653674" providerId="ADAL" clId="{2F530553-45D4-4AE6-B215-26230E1AEE9F}" dt="2022-05-03T14:36:25.671" v="3" actId="26606"/>
          <ac:spMkLst>
            <pc:docMk/>
            <pc:sldMk cId="2725734207" sldId="542"/>
            <ac:spMk id="21" creationId="{0EC5361D-F897-4856-B945-0455A365EB24}"/>
          </ac:spMkLst>
        </pc:spChg>
        <pc:spChg chg="add del">
          <ac:chgData name="Patil, Akshat Adhar" userId="27c22182-3c38-4d9f-87ef-4cc6d4653674" providerId="ADAL" clId="{2F530553-45D4-4AE6-B215-26230E1AEE9F}" dt="2022-05-03T14:36:25.671" v="3" actId="26606"/>
          <ac:spMkLst>
            <pc:docMk/>
            <pc:sldMk cId="2725734207" sldId="542"/>
            <ac:spMk id="22" creationId="{4508C0C5-2268-42B5-B3C8-4D0899E05F8C}"/>
          </ac:spMkLst>
        </pc:spChg>
        <pc:spChg chg="add del">
          <ac:chgData name="Patil, Akshat Adhar" userId="27c22182-3c38-4d9f-87ef-4cc6d4653674" providerId="ADAL" clId="{2F530553-45D4-4AE6-B215-26230E1AEE9F}" dt="2022-05-03T14:36:25.671" v="3" actId="26606"/>
          <ac:spMkLst>
            <pc:docMk/>
            <pc:sldMk cId="2725734207" sldId="542"/>
            <ac:spMk id="23" creationId="{141ACBDB-38F8-4B34-8183-BD95B4E55A62}"/>
          </ac:spMkLst>
        </pc:spChg>
        <pc:spChg chg="add del">
          <ac:chgData name="Patil, Akshat Adhar" userId="27c22182-3c38-4d9f-87ef-4cc6d4653674" providerId="ADAL" clId="{2F530553-45D4-4AE6-B215-26230E1AEE9F}" dt="2022-05-03T14:36:25.671" v="3" actId="26606"/>
          <ac:spMkLst>
            <pc:docMk/>
            <pc:sldMk cId="2725734207" sldId="542"/>
            <ac:spMk id="24" creationId="{DE00DB52-3455-4E2F-867B-A6D0516E175B}"/>
          </ac:spMkLst>
        </pc:spChg>
        <pc:spChg chg="add">
          <ac:chgData name="Patil, Akshat Adhar" userId="27c22182-3c38-4d9f-87ef-4cc6d4653674" providerId="ADAL" clId="{2F530553-45D4-4AE6-B215-26230E1AEE9F}" dt="2022-05-03T14:36:25.680" v="4" actId="26606"/>
          <ac:spMkLst>
            <pc:docMk/>
            <pc:sldMk cId="2725734207" sldId="542"/>
            <ac:spMk id="26" creationId="{2B566528-1B12-4246-9431-5C2D7D081168}"/>
          </ac:spMkLst>
        </pc:spChg>
        <pc:spChg chg="add">
          <ac:chgData name="Patil, Akshat Adhar" userId="27c22182-3c38-4d9f-87ef-4cc6d4653674" providerId="ADAL" clId="{2F530553-45D4-4AE6-B215-26230E1AEE9F}" dt="2022-05-03T14:36:25.680" v="4" actId="26606"/>
          <ac:spMkLst>
            <pc:docMk/>
            <pc:sldMk cId="2725734207" sldId="542"/>
            <ac:spMk id="27" creationId="{2E80C965-DB6D-4F81-9E9E-B027384D0BD6}"/>
          </ac:spMkLst>
        </pc:spChg>
        <pc:spChg chg="add">
          <ac:chgData name="Patil, Akshat Adhar" userId="27c22182-3c38-4d9f-87ef-4cc6d4653674" providerId="ADAL" clId="{2F530553-45D4-4AE6-B215-26230E1AEE9F}" dt="2022-05-03T14:36:25.680" v="4" actId="26606"/>
          <ac:spMkLst>
            <pc:docMk/>
            <pc:sldMk cId="2725734207" sldId="542"/>
            <ac:spMk id="28" creationId="{A580F890-B085-4E95-96AA-55AEBEC5CE6E}"/>
          </ac:spMkLst>
        </pc:spChg>
        <pc:spChg chg="add">
          <ac:chgData name="Patil, Akshat Adhar" userId="27c22182-3c38-4d9f-87ef-4cc6d4653674" providerId="ADAL" clId="{2F530553-45D4-4AE6-B215-26230E1AEE9F}" dt="2022-05-03T14:36:25.680" v="4" actId="26606"/>
          <ac:spMkLst>
            <pc:docMk/>
            <pc:sldMk cId="2725734207" sldId="542"/>
            <ac:spMk id="29" creationId="{D3F51FEB-38FB-4F6C-9F7B-2F2AFAB65463}"/>
          </ac:spMkLst>
        </pc:spChg>
        <pc:spChg chg="add">
          <ac:chgData name="Patil, Akshat Adhar" userId="27c22182-3c38-4d9f-87ef-4cc6d4653674" providerId="ADAL" clId="{2F530553-45D4-4AE6-B215-26230E1AEE9F}" dt="2022-05-03T14:36:25.680" v="4" actId="26606"/>
          <ac:spMkLst>
            <pc:docMk/>
            <pc:sldMk cId="2725734207" sldId="542"/>
            <ac:spMk id="30" creationId="{1E547BA6-BAE0-43BB-A7CA-60F69CE252F0}"/>
          </ac:spMkLst>
        </pc:spChg>
      </pc:sldChg>
    </pc:docChg>
  </pc:docChgLst>
  <pc:docChgLst>
    <pc:chgData name="Tikmani, Mayur Kumar" userId="S::mxt210030@utdallas.edu::1d1acf4a-14fe-4eaf-b0d8-6f827162c67b" providerId="AD" clId="Web-{86ED94E1-A2AC-45B6-9213-7E18111C7689}"/>
    <pc:docChg chg="modSld">
      <pc:chgData name="Tikmani, Mayur Kumar" userId="S::mxt210030@utdallas.edu::1d1acf4a-14fe-4eaf-b0d8-6f827162c67b" providerId="AD" clId="Web-{86ED94E1-A2AC-45B6-9213-7E18111C7689}" dt="2022-05-03T15:43:26.585" v="3" actId="1076"/>
      <pc:docMkLst>
        <pc:docMk/>
      </pc:docMkLst>
      <pc:sldChg chg="modSp">
        <pc:chgData name="Tikmani, Mayur Kumar" userId="S::mxt210030@utdallas.edu::1d1acf4a-14fe-4eaf-b0d8-6f827162c67b" providerId="AD" clId="Web-{86ED94E1-A2AC-45B6-9213-7E18111C7689}" dt="2022-05-03T15:31:00.031" v="0" actId="1076"/>
        <pc:sldMkLst>
          <pc:docMk/>
          <pc:sldMk cId="3025177652" sldId="256"/>
        </pc:sldMkLst>
        <pc:picChg chg="mod">
          <ac:chgData name="Tikmani, Mayur Kumar" userId="S::mxt210030@utdallas.edu::1d1acf4a-14fe-4eaf-b0d8-6f827162c67b" providerId="AD" clId="Web-{86ED94E1-A2AC-45B6-9213-7E18111C7689}" dt="2022-05-03T15:31:00.031" v="0" actId="1076"/>
          <ac:picMkLst>
            <pc:docMk/>
            <pc:sldMk cId="3025177652" sldId="256"/>
            <ac:picMk id="5" creationId="{4948819B-D533-77FF-78CE-BBB02D44EFCB}"/>
          </ac:picMkLst>
        </pc:picChg>
      </pc:sldChg>
      <pc:sldChg chg="modSp">
        <pc:chgData name="Tikmani, Mayur Kumar" userId="S::mxt210030@utdallas.edu::1d1acf4a-14fe-4eaf-b0d8-6f827162c67b" providerId="AD" clId="Web-{86ED94E1-A2AC-45B6-9213-7E18111C7689}" dt="2022-05-03T15:43:26.585" v="3" actId="1076"/>
        <pc:sldMkLst>
          <pc:docMk/>
          <pc:sldMk cId="298777075" sldId="271"/>
        </pc:sldMkLst>
        <pc:picChg chg="mod">
          <ac:chgData name="Tikmani, Mayur Kumar" userId="S::mxt210030@utdallas.edu::1d1acf4a-14fe-4eaf-b0d8-6f827162c67b" providerId="AD" clId="Web-{86ED94E1-A2AC-45B6-9213-7E18111C7689}" dt="2022-05-03T15:43:26.585" v="3" actId="1076"/>
          <ac:picMkLst>
            <pc:docMk/>
            <pc:sldMk cId="298777075" sldId="271"/>
            <ac:picMk id="36" creationId="{14128F61-952D-D29D-CFD9-B37B0CD49453}"/>
          </ac:picMkLst>
        </pc:picChg>
      </pc:sldChg>
      <pc:sldChg chg="modSp">
        <pc:chgData name="Tikmani, Mayur Kumar" userId="S::mxt210030@utdallas.edu::1d1acf4a-14fe-4eaf-b0d8-6f827162c67b" providerId="AD" clId="Web-{86ED94E1-A2AC-45B6-9213-7E18111C7689}" dt="2022-05-03T15:35:11.023" v="2" actId="1076"/>
        <pc:sldMkLst>
          <pc:docMk/>
          <pc:sldMk cId="2821368526" sldId="276"/>
        </pc:sldMkLst>
        <pc:picChg chg="mod">
          <ac:chgData name="Tikmani, Mayur Kumar" userId="S::mxt210030@utdallas.edu::1d1acf4a-14fe-4eaf-b0d8-6f827162c67b" providerId="AD" clId="Web-{86ED94E1-A2AC-45B6-9213-7E18111C7689}" dt="2022-05-03T15:35:11.023" v="2" actId="1076"/>
          <ac:picMkLst>
            <pc:docMk/>
            <pc:sldMk cId="2821368526" sldId="276"/>
            <ac:picMk id="6" creationId="{10D873FB-A626-6D95-2BD2-F26A64EFB23D}"/>
          </ac:picMkLst>
        </pc:picChg>
      </pc:sldChg>
    </pc:docChg>
  </pc:docChgLst>
  <pc:docChgLst>
    <pc:chgData name="Patil, Akshat Adhar" userId="S::axp210092@utdallas.edu::27c22182-3c38-4d9f-87ef-4cc6d4653674" providerId="AD" clId="Web-{2630F8A2-CDA9-4180-A2F2-C6BDCF0A6B55}"/>
    <pc:docChg chg="addSld">
      <pc:chgData name="Patil, Akshat Adhar" userId="S::axp210092@utdallas.edu::27c22182-3c38-4d9f-87ef-4cc6d4653674" providerId="AD" clId="Web-{2630F8A2-CDA9-4180-A2F2-C6BDCF0A6B55}" dt="2022-05-03T14:35:31.305" v="0"/>
      <pc:docMkLst>
        <pc:docMk/>
      </pc:docMkLst>
      <pc:sldChg chg="add">
        <pc:chgData name="Patil, Akshat Adhar" userId="S::axp210092@utdallas.edu::27c22182-3c38-4d9f-87ef-4cc6d4653674" providerId="AD" clId="Web-{2630F8A2-CDA9-4180-A2F2-C6BDCF0A6B55}" dt="2022-05-03T14:35:31.305" v="0"/>
        <pc:sldMkLst>
          <pc:docMk/>
          <pc:sldMk cId="2725734207" sldId="542"/>
        </pc:sldMkLst>
      </pc:sldChg>
    </pc:docChg>
  </pc:docChgLst>
  <pc:docChgLst>
    <pc:chgData name="Tikmani, Mayur Kumar" userId="S::mxt210030@utdallas.edu::1d1acf4a-14fe-4eaf-b0d8-6f827162c67b" providerId="AD" clId="Web-{3C566738-BA10-4398-8440-AEDD4FE481B6}"/>
    <pc:docChg chg="modSld">
      <pc:chgData name="Tikmani, Mayur Kumar" userId="S::mxt210030@utdallas.edu::1d1acf4a-14fe-4eaf-b0d8-6f827162c67b" providerId="AD" clId="Web-{3C566738-BA10-4398-8440-AEDD4FE481B6}" dt="2022-05-03T15:18:08.704" v="2" actId="1076"/>
      <pc:docMkLst>
        <pc:docMk/>
      </pc:docMkLst>
      <pc:sldChg chg="modSp">
        <pc:chgData name="Tikmani, Mayur Kumar" userId="S::mxt210030@utdallas.edu::1d1acf4a-14fe-4eaf-b0d8-6f827162c67b" providerId="AD" clId="Web-{3C566738-BA10-4398-8440-AEDD4FE481B6}" dt="2022-05-03T15:18:08.704" v="2" actId="1076"/>
        <pc:sldMkLst>
          <pc:docMk/>
          <pc:sldMk cId="2524511370" sldId="274"/>
        </pc:sldMkLst>
        <pc:picChg chg="mod">
          <ac:chgData name="Tikmani, Mayur Kumar" userId="S::mxt210030@utdallas.edu::1d1acf4a-14fe-4eaf-b0d8-6f827162c67b" providerId="AD" clId="Web-{3C566738-BA10-4398-8440-AEDD4FE481B6}" dt="2022-05-03T15:18:08.704" v="2" actId="1076"/>
          <ac:picMkLst>
            <pc:docMk/>
            <pc:sldMk cId="2524511370" sldId="274"/>
            <ac:picMk id="9" creationId="{4EDF419D-B4C0-FE10-F2DA-E2ACF635027F}"/>
          </ac:picMkLst>
        </pc:picChg>
      </pc:sldChg>
      <pc:sldChg chg="modSp">
        <pc:chgData name="Tikmani, Mayur Kumar" userId="S::mxt210030@utdallas.edu::1d1acf4a-14fe-4eaf-b0d8-6f827162c67b" providerId="AD" clId="Web-{3C566738-BA10-4398-8440-AEDD4FE481B6}" dt="2022-05-03T15:13:45.531" v="0" actId="1076"/>
        <pc:sldMkLst>
          <pc:docMk/>
          <pc:sldMk cId="2821368526" sldId="276"/>
        </pc:sldMkLst>
        <pc:picChg chg="mod">
          <ac:chgData name="Tikmani, Mayur Kumar" userId="S::mxt210030@utdallas.edu::1d1acf4a-14fe-4eaf-b0d8-6f827162c67b" providerId="AD" clId="Web-{3C566738-BA10-4398-8440-AEDD4FE481B6}" dt="2022-05-03T15:13:45.531" v="0" actId="1076"/>
          <ac:picMkLst>
            <pc:docMk/>
            <pc:sldMk cId="2821368526" sldId="276"/>
            <ac:picMk id="6" creationId="{10D873FB-A626-6D95-2BD2-F26A64EFB23D}"/>
          </ac:picMkLst>
        </pc:picChg>
      </pc:sldChg>
    </pc:docChg>
  </pc:docChgLst>
  <pc:docChgLst>
    <pc:chgData name="Chauhan, Prithvi" userId="1c7af06c-a653-48dd-bfeb-50e818883b3c" providerId="ADAL" clId="{EFF58BDF-8F7D-574C-9145-BE6D8E612E4F}"/>
    <pc:docChg chg="modSld">
      <pc:chgData name="Chauhan, Prithvi" userId="1c7af06c-a653-48dd-bfeb-50e818883b3c" providerId="ADAL" clId="{EFF58BDF-8F7D-574C-9145-BE6D8E612E4F}" dt="2022-05-03T14:40:43.326" v="11" actId="20577"/>
      <pc:docMkLst>
        <pc:docMk/>
      </pc:docMkLst>
      <pc:sldChg chg="modSp mod">
        <pc:chgData name="Chauhan, Prithvi" userId="1c7af06c-a653-48dd-bfeb-50e818883b3c" providerId="ADAL" clId="{EFF58BDF-8F7D-574C-9145-BE6D8E612E4F}" dt="2022-05-03T14:40:43.326" v="11" actId="20577"/>
        <pc:sldMkLst>
          <pc:docMk/>
          <pc:sldMk cId="668354201" sldId="268"/>
        </pc:sldMkLst>
        <pc:graphicFrameChg chg="modGraphic">
          <ac:chgData name="Chauhan, Prithvi" userId="1c7af06c-a653-48dd-bfeb-50e818883b3c" providerId="ADAL" clId="{EFF58BDF-8F7D-574C-9145-BE6D8E612E4F}" dt="2022-05-03T14:40:43.326" v="11" actId="20577"/>
          <ac:graphicFrameMkLst>
            <pc:docMk/>
            <pc:sldMk cId="668354201" sldId="268"/>
            <ac:graphicFrameMk id="4" creationId="{BC7A2EF9-83FD-EF76-9077-6FB433BB2CD3}"/>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217_6B50F285.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370967741935484E-2"/>
          <c:y val="2.7310924369747899E-2"/>
          <c:w val="0.907258064516129"/>
          <c:h val="0.94537815126050417"/>
        </c:manualLayout>
      </c:layout>
      <c:doughnutChart>
        <c:varyColors val="0"/>
        <c:ser>
          <c:idx val="0"/>
          <c:order val="0"/>
          <c:dPt>
            <c:idx val="0"/>
            <c:bubble3D val="0"/>
            <c:spPr>
              <a:solidFill>
                <a:srgbClr val="E50000"/>
              </a:solidFill>
              <a:ln>
                <a:noFill/>
              </a:ln>
            </c:spPr>
            <c:extLst>
              <c:ext xmlns:c16="http://schemas.microsoft.com/office/drawing/2014/chart" uri="{C3380CC4-5D6E-409C-BE32-E72D297353CC}">
                <c16:uniqueId val="{00000000-1CD8-4946-9FBF-76BF7B6452C4}"/>
              </c:ext>
            </c:extLst>
          </c:dPt>
          <c:dPt>
            <c:idx val="1"/>
            <c:bubble3D val="0"/>
            <c:spPr>
              <a:solidFill>
                <a:srgbClr val="EE6FB1"/>
              </a:solidFill>
              <a:ln>
                <a:noFill/>
              </a:ln>
            </c:spPr>
            <c:extLst>
              <c:ext xmlns:c16="http://schemas.microsoft.com/office/drawing/2014/chart" uri="{C3380CC4-5D6E-409C-BE32-E72D297353CC}">
                <c16:uniqueId val="{00000001-1CD8-4946-9FBF-76BF7B6452C4}"/>
              </c:ext>
            </c:extLst>
          </c:dPt>
          <c:dPt>
            <c:idx val="2"/>
            <c:bubble3D val="0"/>
            <c:spPr>
              <a:solidFill>
                <a:srgbClr val="00B0F0"/>
              </a:solidFill>
              <a:ln>
                <a:noFill/>
              </a:ln>
            </c:spPr>
            <c:extLst>
              <c:ext xmlns:c16="http://schemas.microsoft.com/office/drawing/2014/chart" uri="{C3380CC4-5D6E-409C-BE32-E72D297353CC}">
                <c16:uniqueId val="{00000002-1CD8-4946-9FBF-76BF7B6452C4}"/>
              </c:ext>
            </c:extLst>
          </c:dPt>
          <c:dPt>
            <c:idx val="3"/>
            <c:bubble3D val="0"/>
            <c:spPr>
              <a:solidFill>
                <a:srgbClr val="364D6E"/>
              </a:solidFill>
              <a:ln>
                <a:noFill/>
              </a:ln>
            </c:spPr>
            <c:extLst>
              <c:ext xmlns:c16="http://schemas.microsoft.com/office/drawing/2014/chart" uri="{C3380CC4-5D6E-409C-BE32-E72D297353CC}">
                <c16:uniqueId val="{00000003-1CD8-4946-9FBF-76BF7B6452C4}"/>
              </c:ext>
            </c:extLst>
          </c:dPt>
          <c:dPt>
            <c:idx val="4"/>
            <c:bubble3D val="0"/>
            <c:spPr>
              <a:solidFill>
                <a:schemeClr val="accent1"/>
              </a:solidFill>
              <a:ln>
                <a:noFill/>
              </a:ln>
            </c:spPr>
            <c:extLst>
              <c:ext xmlns:c16="http://schemas.microsoft.com/office/drawing/2014/chart" uri="{C3380CC4-5D6E-409C-BE32-E72D297353CC}">
                <c16:uniqueId val="{00000004-1CD8-4946-9FBF-76BF7B6452C4}"/>
              </c:ext>
            </c:extLst>
          </c:dPt>
          <c:dLbls>
            <c:dLbl>
              <c:idx val="0"/>
              <c:layout>
                <c:manualLayout>
                  <c:x val="2.9737903225806453E-2"/>
                  <c:y val="-1.2605042016806723E-2"/>
                </c:manualLayout>
              </c:layout>
              <c:numFmt formatCode="#,##0.0&quot;%&quot;;&quot;-&quot;#,##0.0&quot;%&quot;" sourceLinked="0"/>
              <c:spPr>
                <a:noFill/>
                <a:ln>
                  <a:noFill/>
                </a:ln>
              </c:spPr>
              <c:txPr>
                <a:bodyPr wrap="none"/>
                <a:lstStyle/>
                <a:p>
                  <a:pPr>
                    <a:defRPr sz="1400" b="1"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CD8-4946-9FBF-76BF7B6452C4}"/>
                </c:ext>
              </c:extLst>
            </c:dLbl>
            <c:dLbl>
              <c:idx val="1"/>
              <c:layout>
                <c:manualLayout>
                  <c:x val="-1.4616935483870967E-2"/>
                  <c:y val="5.7247899159663863E-2"/>
                </c:manualLayout>
              </c:layout>
              <c:numFmt formatCode="#,##0.0&quot;%&quot;;&quot;-&quot;#,##0.0&quot;%&quot;" sourceLinked="0"/>
              <c:spPr>
                <a:noFill/>
                <a:ln>
                  <a:noFill/>
                </a:ln>
              </c:spPr>
              <c:txPr>
                <a:bodyPr wrap="none"/>
                <a:lstStyle/>
                <a:p>
                  <a:pPr>
                    <a:defRPr sz="1400" b="1"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CD8-4946-9FBF-76BF7B6452C4}"/>
                </c:ext>
              </c:extLst>
            </c:dLbl>
            <c:dLbl>
              <c:idx val="2"/>
              <c:layout>
                <c:manualLayout>
                  <c:x val="-2.8729838709677418E-2"/>
                  <c:y val="-1.7331932773109245E-2"/>
                </c:manualLayout>
              </c:layout>
              <c:numFmt formatCode="#,##0.0&quot;%&quot;;&quot;-&quot;#,##0.0&quot;%&quot;" sourceLinked="0"/>
              <c:spPr>
                <a:noFill/>
                <a:ln>
                  <a:noFill/>
                </a:ln>
              </c:spPr>
              <c:txPr>
                <a:bodyPr wrap="none"/>
                <a:lstStyle/>
                <a:p>
                  <a:pPr>
                    <a:defRPr sz="1400" b="1"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CD8-4946-9FBF-76BF7B6452C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39.069767441860471</c:v>
                </c:pt>
                <c:pt idx="1">
                  <c:v>29.740082079343367</c:v>
                </c:pt>
                <c:pt idx="2">
                  <c:v>27.523939808481529</c:v>
                </c:pt>
                <c:pt idx="3">
                  <c:v>2.3255813953488373</c:v>
                </c:pt>
                <c:pt idx="4">
                  <c:v>1.3406292749658004</c:v>
                </c:pt>
              </c:numCache>
            </c:numRef>
          </c:val>
          <c:extLst>
            <c:ext xmlns:c16="http://schemas.microsoft.com/office/drawing/2014/chart" uri="{C3380CC4-5D6E-409C-BE32-E72D297353CC}">
              <c16:uniqueId val="{00000005-1CD8-4946-9FBF-76BF7B6452C4}"/>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diagrams/_rels/data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svg"/><Relationship Id="rId1" Type="http://schemas.openxmlformats.org/officeDocument/2006/relationships/image" Target="../media/image19.png"/><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diagrams/_rels/data2.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svg"/><Relationship Id="rId1" Type="http://schemas.openxmlformats.org/officeDocument/2006/relationships/image" Target="../media/image36.png"/><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39.svg"/></Relationships>
</file>

<file path=ppt/diagrams/_rels/drawing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svg"/><Relationship Id="rId1" Type="http://schemas.openxmlformats.org/officeDocument/2006/relationships/image" Target="../media/image19.png"/><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diagrams/_rels/drawing2.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svg"/><Relationship Id="rId1" Type="http://schemas.openxmlformats.org/officeDocument/2006/relationships/image" Target="../media/image36.png"/><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39.svg"/></Relationships>
</file>

<file path=ppt/diagrams/colors1.xml><?xml version="1.0" encoding="utf-8"?>
<dgm:colorsDef xmlns:dgm="http://schemas.openxmlformats.org/drawingml/2006/diagram" xmlns:a="http://schemas.openxmlformats.org/drawingml/2006/main" uniqueId="urn:microsoft.com/office/officeart/2018/5/colors/Iconchunking_coloredtext_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bg1"/>
    </dgm:fillClrLst>
    <dgm:linClrLst meth="repeat">
      <a:schemeClr val="lt2">
        <a:alpha val="0"/>
      </a:schemeClr>
    </dgm:linClrLst>
    <dgm:effectClrLst/>
    <dgm:txLinClrLst/>
    <dgm:txFillClrLst meth="repeat">
      <a:schemeClr val="dk1"/>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dgm:fillClrLst>
    <dgm:linClrLst meth="repeat">
      <a:schemeClr val="lt2">
        <a:alpha val="0"/>
      </a:schemeClr>
    </dgm:linClrLst>
    <dgm:effectClrLst/>
    <dgm:txLinClrLst/>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dk2">
        <a:alpha val="0"/>
      </a:schemeClr>
    </dgm:fillClrLst>
    <dgm:linClrLst meth="repeat">
      <a:schemeClr val="dk2">
        <a:alpha val="0"/>
      </a:schemeClr>
    </dgm:linClrLst>
    <dgm:effectClrLst/>
    <dgm:txLinClrLst/>
    <dgm:txFillClrLst meth="repeat">
      <a:schemeClr val="dk2"/>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6D98FC-DC7C-47BD-A4A1-BC617327259F}" type="doc">
      <dgm:prSet loTypeId="urn:microsoft.com/office/officeart/2018/2/layout/IconCircleList" loCatId="icon" qsTypeId="urn:microsoft.com/office/officeart/2005/8/quickstyle/simple1" qsCatId="simple" csTypeId="urn:microsoft.com/office/officeart/2018/5/colors/Iconchunking_coloredtext_accent0_3" csCatId="mainScheme" phldr="1"/>
      <dgm:spPr/>
      <dgm:t>
        <a:bodyPr/>
        <a:lstStyle/>
        <a:p>
          <a:endParaRPr lang="en-US"/>
        </a:p>
      </dgm:t>
    </dgm:pt>
    <dgm:pt modelId="{23AF6131-0596-4A42-B8F6-61977DC31532}">
      <dgm:prSet custT="1"/>
      <dgm:spPr/>
      <dgm:t>
        <a:bodyPr/>
        <a:lstStyle/>
        <a:p>
          <a:pPr>
            <a:lnSpc>
              <a:spcPct val="100000"/>
            </a:lnSpc>
          </a:pPr>
          <a:r>
            <a:rPr lang="en-US" sz="1200"/>
            <a:t>•</a:t>
          </a:r>
          <a:r>
            <a:rPr lang="en-US" sz="1600"/>
            <a:t>Churn is our predictive variable of character datatype in the form of “Yes” and “No”. We have converted it into “1” and “0” as it’s easier for us to use it in our models.</a:t>
          </a:r>
          <a:endParaRPr lang="en-US" sz="1200"/>
        </a:p>
      </dgm:t>
    </dgm:pt>
    <dgm:pt modelId="{9E2A4FD3-89F5-4B31-AC2F-FA5C0CEC4F88}" type="parTrans" cxnId="{FA667398-48CF-40BA-A197-CE18BDD2A1AC}">
      <dgm:prSet/>
      <dgm:spPr/>
      <dgm:t>
        <a:bodyPr/>
        <a:lstStyle/>
        <a:p>
          <a:endParaRPr lang="en-US"/>
        </a:p>
      </dgm:t>
    </dgm:pt>
    <dgm:pt modelId="{52D21F48-71D1-4336-8389-48F4E905D094}" type="sibTrans" cxnId="{FA667398-48CF-40BA-A197-CE18BDD2A1AC}">
      <dgm:prSet/>
      <dgm:spPr/>
      <dgm:t>
        <a:bodyPr/>
        <a:lstStyle/>
        <a:p>
          <a:pPr>
            <a:lnSpc>
              <a:spcPct val="100000"/>
            </a:lnSpc>
          </a:pPr>
          <a:endParaRPr lang="en-US"/>
        </a:p>
      </dgm:t>
    </dgm:pt>
    <dgm:pt modelId="{1145A686-2505-4DDB-B4CB-D33044AD795E}">
      <dgm:prSet custT="1"/>
      <dgm:spPr/>
      <dgm:t>
        <a:bodyPr/>
        <a:lstStyle/>
        <a:p>
          <a:pPr>
            <a:lnSpc>
              <a:spcPct val="100000"/>
            </a:lnSpc>
          </a:pPr>
          <a:r>
            <a:rPr lang="en-US" sz="1600"/>
            <a:t>•Our main goal is to predict whether the customers with our telecom provider T-Mobile will churn or not and what are the main reasons for them to churn.</a:t>
          </a:r>
        </a:p>
      </dgm:t>
    </dgm:pt>
    <dgm:pt modelId="{326356BA-FD1C-4F8E-A149-B5B4D25D083C}" type="parTrans" cxnId="{908598BF-EB1B-41FF-9A4B-672B752BE2EE}">
      <dgm:prSet/>
      <dgm:spPr/>
      <dgm:t>
        <a:bodyPr/>
        <a:lstStyle/>
        <a:p>
          <a:endParaRPr lang="en-US"/>
        </a:p>
      </dgm:t>
    </dgm:pt>
    <dgm:pt modelId="{0CE6A9EB-8BA3-4E40-88E2-6C07A0C90F6F}" type="sibTrans" cxnId="{908598BF-EB1B-41FF-9A4B-672B752BE2EE}">
      <dgm:prSet/>
      <dgm:spPr/>
      <dgm:t>
        <a:bodyPr/>
        <a:lstStyle/>
        <a:p>
          <a:pPr>
            <a:lnSpc>
              <a:spcPct val="100000"/>
            </a:lnSpc>
          </a:pPr>
          <a:endParaRPr lang="en-US"/>
        </a:p>
      </dgm:t>
    </dgm:pt>
    <dgm:pt modelId="{27248B72-85B5-409C-8FAC-761DAE51424B}">
      <dgm:prSet custT="1"/>
      <dgm:spPr/>
      <dgm:t>
        <a:bodyPr/>
        <a:lstStyle/>
        <a:p>
          <a:pPr>
            <a:lnSpc>
              <a:spcPct val="100000"/>
            </a:lnSpc>
          </a:pPr>
          <a:r>
            <a:rPr lang="en-US" sz="1200"/>
            <a:t>•</a:t>
          </a:r>
          <a:r>
            <a:rPr lang="en-US" sz="1600"/>
            <a:t>Our main aim is to get a predictive model which is the most effective taking into consideration the monthly revenue lost due to the customers churning and the promotional cost required to make them stay.</a:t>
          </a:r>
          <a:endParaRPr lang="en-US" sz="1200"/>
        </a:p>
      </dgm:t>
    </dgm:pt>
    <dgm:pt modelId="{483CFCEB-3591-4E3A-92A1-C283AB0388DA}" type="parTrans" cxnId="{EC05BE54-21DA-4773-9340-FDCAA8CCEB12}">
      <dgm:prSet/>
      <dgm:spPr/>
      <dgm:t>
        <a:bodyPr/>
        <a:lstStyle/>
        <a:p>
          <a:endParaRPr lang="en-US"/>
        </a:p>
      </dgm:t>
    </dgm:pt>
    <dgm:pt modelId="{EAA8E4F7-BE28-46C5-BC2D-63D55D3041AD}" type="sibTrans" cxnId="{EC05BE54-21DA-4773-9340-FDCAA8CCEB12}">
      <dgm:prSet/>
      <dgm:spPr/>
      <dgm:t>
        <a:bodyPr/>
        <a:lstStyle/>
        <a:p>
          <a:endParaRPr lang="en-US"/>
        </a:p>
      </dgm:t>
    </dgm:pt>
    <dgm:pt modelId="{825B619E-926F-489F-A5DA-750805DE7A76}" type="pres">
      <dgm:prSet presAssocID="{5C6D98FC-DC7C-47BD-A4A1-BC617327259F}" presName="root" presStyleCnt="0">
        <dgm:presLayoutVars>
          <dgm:dir/>
          <dgm:resizeHandles val="exact"/>
        </dgm:presLayoutVars>
      </dgm:prSet>
      <dgm:spPr/>
    </dgm:pt>
    <dgm:pt modelId="{E4584832-5E76-4B87-AC81-00C4EEC35F3F}" type="pres">
      <dgm:prSet presAssocID="{5C6D98FC-DC7C-47BD-A4A1-BC617327259F}" presName="container" presStyleCnt="0">
        <dgm:presLayoutVars>
          <dgm:dir/>
          <dgm:resizeHandles val="exact"/>
        </dgm:presLayoutVars>
      </dgm:prSet>
      <dgm:spPr/>
    </dgm:pt>
    <dgm:pt modelId="{91AF6BBB-CAAE-4E9E-9CA8-E1313A4037BD}" type="pres">
      <dgm:prSet presAssocID="{23AF6131-0596-4A42-B8F6-61977DC31532}" presName="compNode" presStyleCnt="0"/>
      <dgm:spPr/>
    </dgm:pt>
    <dgm:pt modelId="{E7BBB433-C83D-4CF4-83CC-6F19002F3C47}" type="pres">
      <dgm:prSet presAssocID="{23AF6131-0596-4A42-B8F6-61977DC31532}" presName="iconBgRect" presStyleLbl="bgShp" presStyleIdx="0" presStyleCnt="3"/>
      <dgm:spPr/>
    </dgm:pt>
    <dgm:pt modelId="{74938D1C-84DA-4339-8550-10DCAA5BDD9B}" type="pres">
      <dgm:prSet presAssocID="{23AF6131-0596-4A42-B8F6-61977DC31532}"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atabase"/>
        </a:ext>
      </dgm:extLst>
    </dgm:pt>
    <dgm:pt modelId="{233F7A2D-CA1A-4149-8205-9177005651C0}" type="pres">
      <dgm:prSet presAssocID="{23AF6131-0596-4A42-B8F6-61977DC31532}" presName="spaceRect" presStyleCnt="0"/>
      <dgm:spPr/>
    </dgm:pt>
    <dgm:pt modelId="{202613E6-13E3-4323-AF81-DA2F45BA5AB8}" type="pres">
      <dgm:prSet presAssocID="{23AF6131-0596-4A42-B8F6-61977DC31532}" presName="textRect" presStyleLbl="revTx" presStyleIdx="0" presStyleCnt="3">
        <dgm:presLayoutVars>
          <dgm:chMax val="1"/>
          <dgm:chPref val="1"/>
        </dgm:presLayoutVars>
      </dgm:prSet>
      <dgm:spPr/>
    </dgm:pt>
    <dgm:pt modelId="{7664D897-F795-4514-A805-E5C098D1F23F}" type="pres">
      <dgm:prSet presAssocID="{52D21F48-71D1-4336-8389-48F4E905D094}" presName="sibTrans" presStyleLbl="sibTrans2D1" presStyleIdx="0" presStyleCnt="0"/>
      <dgm:spPr/>
    </dgm:pt>
    <dgm:pt modelId="{9C587753-351D-4F08-A02E-5F6C8C1F2BF8}" type="pres">
      <dgm:prSet presAssocID="{1145A686-2505-4DDB-B4CB-D33044AD795E}" presName="compNode" presStyleCnt="0"/>
      <dgm:spPr/>
    </dgm:pt>
    <dgm:pt modelId="{8F1253AE-0772-4CF4-A3B2-AD174D22BA90}" type="pres">
      <dgm:prSet presAssocID="{1145A686-2505-4DDB-B4CB-D33044AD795E}" presName="iconBgRect" presStyleLbl="bgShp" presStyleIdx="1" presStyleCnt="3"/>
      <dgm:spPr/>
    </dgm:pt>
    <dgm:pt modelId="{DE86F21B-3B4D-4B42-8B0C-86CC1B2D6C32}" type="pres">
      <dgm:prSet presAssocID="{1145A686-2505-4DDB-B4CB-D33044AD795E}"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ullseye"/>
        </a:ext>
      </dgm:extLst>
    </dgm:pt>
    <dgm:pt modelId="{9CD18C04-9A36-41A4-95B1-03771A3EB262}" type="pres">
      <dgm:prSet presAssocID="{1145A686-2505-4DDB-B4CB-D33044AD795E}" presName="spaceRect" presStyleCnt="0"/>
      <dgm:spPr/>
    </dgm:pt>
    <dgm:pt modelId="{56ECF390-40FC-4F52-83DD-76D00A52286E}" type="pres">
      <dgm:prSet presAssocID="{1145A686-2505-4DDB-B4CB-D33044AD795E}" presName="textRect" presStyleLbl="revTx" presStyleIdx="1" presStyleCnt="3">
        <dgm:presLayoutVars>
          <dgm:chMax val="1"/>
          <dgm:chPref val="1"/>
        </dgm:presLayoutVars>
      </dgm:prSet>
      <dgm:spPr/>
    </dgm:pt>
    <dgm:pt modelId="{E0C96C26-C906-4564-B142-EF682A86EBF3}" type="pres">
      <dgm:prSet presAssocID="{0CE6A9EB-8BA3-4E40-88E2-6C07A0C90F6F}" presName="sibTrans" presStyleLbl="sibTrans2D1" presStyleIdx="0" presStyleCnt="0"/>
      <dgm:spPr/>
    </dgm:pt>
    <dgm:pt modelId="{F7EFCD00-9897-4E06-92DC-AF9321F9D617}" type="pres">
      <dgm:prSet presAssocID="{27248B72-85B5-409C-8FAC-761DAE51424B}" presName="compNode" presStyleCnt="0"/>
      <dgm:spPr/>
    </dgm:pt>
    <dgm:pt modelId="{BD24C9AB-5609-4A02-B1CD-6F4E52983F53}" type="pres">
      <dgm:prSet presAssocID="{27248B72-85B5-409C-8FAC-761DAE51424B}" presName="iconBgRect" presStyleLbl="bgShp" presStyleIdx="2" presStyleCnt="3"/>
      <dgm:spPr/>
    </dgm:pt>
    <dgm:pt modelId="{C30F8A40-65C6-4BBC-8458-E81DDE927F24}" type="pres">
      <dgm:prSet presAssocID="{27248B72-85B5-409C-8FAC-761DAE51424B}"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usiness Growth"/>
        </a:ext>
      </dgm:extLst>
    </dgm:pt>
    <dgm:pt modelId="{A20B9FE6-3BE2-4CB8-AB5B-259148D68C97}" type="pres">
      <dgm:prSet presAssocID="{27248B72-85B5-409C-8FAC-761DAE51424B}" presName="spaceRect" presStyleCnt="0"/>
      <dgm:spPr/>
    </dgm:pt>
    <dgm:pt modelId="{389295CE-A792-4178-BEAC-9033893D7F3B}" type="pres">
      <dgm:prSet presAssocID="{27248B72-85B5-409C-8FAC-761DAE51424B}" presName="textRect" presStyleLbl="revTx" presStyleIdx="2" presStyleCnt="3">
        <dgm:presLayoutVars>
          <dgm:chMax val="1"/>
          <dgm:chPref val="1"/>
        </dgm:presLayoutVars>
      </dgm:prSet>
      <dgm:spPr/>
    </dgm:pt>
  </dgm:ptLst>
  <dgm:cxnLst>
    <dgm:cxn modelId="{1FA73E09-68BE-AB48-A9D4-F8130CFE4D05}" type="presOf" srcId="{0CE6A9EB-8BA3-4E40-88E2-6C07A0C90F6F}" destId="{E0C96C26-C906-4564-B142-EF682A86EBF3}" srcOrd="0" destOrd="0" presId="urn:microsoft.com/office/officeart/2018/2/layout/IconCircleList"/>
    <dgm:cxn modelId="{C095413E-4782-DE42-A090-6F1F77B35373}" type="presOf" srcId="{1145A686-2505-4DDB-B4CB-D33044AD795E}" destId="{56ECF390-40FC-4F52-83DD-76D00A52286E}" srcOrd="0" destOrd="0" presId="urn:microsoft.com/office/officeart/2018/2/layout/IconCircleList"/>
    <dgm:cxn modelId="{EC05BE54-21DA-4773-9340-FDCAA8CCEB12}" srcId="{5C6D98FC-DC7C-47BD-A4A1-BC617327259F}" destId="{27248B72-85B5-409C-8FAC-761DAE51424B}" srcOrd="2" destOrd="0" parTransId="{483CFCEB-3591-4E3A-92A1-C283AB0388DA}" sibTransId="{EAA8E4F7-BE28-46C5-BC2D-63D55D3041AD}"/>
    <dgm:cxn modelId="{D835AE86-802D-3F46-8323-40BC7AA8A9E7}" type="presOf" srcId="{23AF6131-0596-4A42-B8F6-61977DC31532}" destId="{202613E6-13E3-4323-AF81-DA2F45BA5AB8}" srcOrd="0" destOrd="0" presId="urn:microsoft.com/office/officeart/2018/2/layout/IconCircleList"/>
    <dgm:cxn modelId="{FA667398-48CF-40BA-A197-CE18BDD2A1AC}" srcId="{5C6D98FC-DC7C-47BD-A4A1-BC617327259F}" destId="{23AF6131-0596-4A42-B8F6-61977DC31532}" srcOrd="0" destOrd="0" parTransId="{9E2A4FD3-89F5-4B31-AC2F-FA5C0CEC4F88}" sibTransId="{52D21F48-71D1-4336-8389-48F4E905D094}"/>
    <dgm:cxn modelId="{908598BF-EB1B-41FF-9A4B-672B752BE2EE}" srcId="{5C6D98FC-DC7C-47BD-A4A1-BC617327259F}" destId="{1145A686-2505-4DDB-B4CB-D33044AD795E}" srcOrd="1" destOrd="0" parTransId="{326356BA-FD1C-4F8E-A149-B5B4D25D083C}" sibTransId="{0CE6A9EB-8BA3-4E40-88E2-6C07A0C90F6F}"/>
    <dgm:cxn modelId="{7489DECE-5DF9-AA4E-A9F6-BF7AC3F4F931}" type="presOf" srcId="{5C6D98FC-DC7C-47BD-A4A1-BC617327259F}" destId="{825B619E-926F-489F-A5DA-750805DE7A76}" srcOrd="0" destOrd="0" presId="urn:microsoft.com/office/officeart/2018/2/layout/IconCircleList"/>
    <dgm:cxn modelId="{AA10B9F5-25FD-0C44-96CF-441BFA156B93}" type="presOf" srcId="{52D21F48-71D1-4336-8389-48F4E905D094}" destId="{7664D897-F795-4514-A805-E5C098D1F23F}" srcOrd="0" destOrd="0" presId="urn:microsoft.com/office/officeart/2018/2/layout/IconCircleList"/>
    <dgm:cxn modelId="{45C918FB-60C2-6148-A13B-4B89F5422B19}" type="presOf" srcId="{27248B72-85B5-409C-8FAC-761DAE51424B}" destId="{389295CE-A792-4178-BEAC-9033893D7F3B}" srcOrd="0" destOrd="0" presId="urn:microsoft.com/office/officeart/2018/2/layout/IconCircleList"/>
    <dgm:cxn modelId="{881C4041-A7EF-5642-818C-2E5DBD132833}" type="presParOf" srcId="{825B619E-926F-489F-A5DA-750805DE7A76}" destId="{E4584832-5E76-4B87-AC81-00C4EEC35F3F}" srcOrd="0" destOrd="0" presId="urn:microsoft.com/office/officeart/2018/2/layout/IconCircleList"/>
    <dgm:cxn modelId="{EFC0D5E1-8580-CD42-85BF-879A57BEE078}" type="presParOf" srcId="{E4584832-5E76-4B87-AC81-00C4EEC35F3F}" destId="{91AF6BBB-CAAE-4E9E-9CA8-E1313A4037BD}" srcOrd="0" destOrd="0" presId="urn:microsoft.com/office/officeart/2018/2/layout/IconCircleList"/>
    <dgm:cxn modelId="{E029EF44-F6CF-2F40-BA96-DA86C02E4BF1}" type="presParOf" srcId="{91AF6BBB-CAAE-4E9E-9CA8-E1313A4037BD}" destId="{E7BBB433-C83D-4CF4-83CC-6F19002F3C47}" srcOrd="0" destOrd="0" presId="urn:microsoft.com/office/officeart/2018/2/layout/IconCircleList"/>
    <dgm:cxn modelId="{385A851C-A280-1E4C-BAAE-94B4DA2D4C79}" type="presParOf" srcId="{91AF6BBB-CAAE-4E9E-9CA8-E1313A4037BD}" destId="{74938D1C-84DA-4339-8550-10DCAA5BDD9B}" srcOrd="1" destOrd="0" presId="urn:microsoft.com/office/officeart/2018/2/layout/IconCircleList"/>
    <dgm:cxn modelId="{6DD3FD20-7DE7-C646-ADD3-9A719ECF2A82}" type="presParOf" srcId="{91AF6BBB-CAAE-4E9E-9CA8-E1313A4037BD}" destId="{233F7A2D-CA1A-4149-8205-9177005651C0}" srcOrd="2" destOrd="0" presId="urn:microsoft.com/office/officeart/2018/2/layout/IconCircleList"/>
    <dgm:cxn modelId="{C1D9678D-3219-124D-B0C7-CBD447F2DEDE}" type="presParOf" srcId="{91AF6BBB-CAAE-4E9E-9CA8-E1313A4037BD}" destId="{202613E6-13E3-4323-AF81-DA2F45BA5AB8}" srcOrd="3" destOrd="0" presId="urn:microsoft.com/office/officeart/2018/2/layout/IconCircleList"/>
    <dgm:cxn modelId="{ADFAF652-C659-8145-8C6F-EAA757D73B7C}" type="presParOf" srcId="{E4584832-5E76-4B87-AC81-00C4EEC35F3F}" destId="{7664D897-F795-4514-A805-E5C098D1F23F}" srcOrd="1" destOrd="0" presId="urn:microsoft.com/office/officeart/2018/2/layout/IconCircleList"/>
    <dgm:cxn modelId="{9A3A38F4-B4E2-BF44-977F-CC737CFB0242}" type="presParOf" srcId="{E4584832-5E76-4B87-AC81-00C4EEC35F3F}" destId="{9C587753-351D-4F08-A02E-5F6C8C1F2BF8}" srcOrd="2" destOrd="0" presId="urn:microsoft.com/office/officeart/2018/2/layout/IconCircleList"/>
    <dgm:cxn modelId="{89DDE284-2E59-BD41-8D62-BD2D55AAAEE2}" type="presParOf" srcId="{9C587753-351D-4F08-A02E-5F6C8C1F2BF8}" destId="{8F1253AE-0772-4CF4-A3B2-AD174D22BA90}" srcOrd="0" destOrd="0" presId="urn:microsoft.com/office/officeart/2018/2/layout/IconCircleList"/>
    <dgm:cxn modelId="{92AC4173-3839-D14F-B8E7-EF02315E99D3}" type="presParOf" srcId="{9C587753-351D-4F08-A02E-5F6C8C1F2BF8}" destId="{DE86F21B-3B4D-4B42-8B0C-86CC1B2D6C32}" srcOrd="1" destOrd="0" presId="urn:microsoft.com/office/officeart/2018/2/layout/IconCircleList"/>
    <dgm:cxn modelId="{099D5F9D-C3A0-E242-80D6-D21FAF0FE9CC}" type="presParOf" srcId="{9C587753-351D-4F08-A02E-5F6C8C1F2BF8}" destId="{9CD18C04-9A36-41A4-95B1-03771A3EB262}" srcOrd="2" destOrd="0" presId="urn:microsoft.com/office/officeart/2018/2/layout/IconCircleList"/>
    <dgm:cxn modelId="{3D134540-405B-CE4B-9352-E5254D466A19}" type="presParOf" srcId="{9C587753-351D-4F08-A02E-5F6C8C1F2BF8}" destId="{56ECF390-40FC-4F52-83DD-76D00A52286E}" srcOrd="3" destOrd="0" presId="urn:microsoft.com/office/officeart/2018/2/layout/IconCircleList"/>
    <dgm:cxn modelId="{CB1258F6-2B29-F449-9C25-CD18F386FF31}" type="presParOf" srcId="{E4584832-5E76-4B87-AC81-00C4EEC35F3F}" destId="{E0C96C26-C906-4564-B142-EF682A86EBF3}" srcOrd="3" destOrd="0" presId="urn:microsoft.com/office/officeart/2018/2/layout/IconCircleList"/>
    <dgm:cxn modelId="{847C3EC5-DD6E-194C-9D6D-26FE044834A5}" type="presParOf" srcId="{E4584832-5E76-4B87-AC81-00C4EEC35F3F}" destId="{F7EFCD00-9897-4E06-92DC-AF9321F9D617}" srcOrd="4" destOrd="0" presId="urn:microsoft.com/office/officeart/2018/2/layout/IconCircleList"/>
    <dgm:cxn modelId="{62EAE94C-3A0D-D249-B77E-E7BD112A7A58}" type="presParOf" srcId="{F7EFCD00-9897-4E06-92DC-AF9321F9D617}" destId="{BD24C9AB-5609-4A02-B1CD-6F4E52983F53}" srcOrd="0" destOrd="0" presId="urn:microsoft.com/office/officeart/2018/2/layout/IconCircleList"/>
    <dgm:cxn modelId="{829B4EE7-9506-1745-9437-E1B52FF0C730}" type="presParOf" srcId="{F7EFCD00-9897-4E06-92DC-AF9321F9D617}" destId="{C30F8A40-65C6-4BBC-8458-E81DDE927F24}" srcOrd="1" destOrd="0" presId="urn:microsoft.com/office/officeart/2018/2/layout/IconCircleList"/>
    <dgm:cxn modelId="{F7EA0764-0950-B44B-9625-8B9CB2903689}" type="presParOf" srcId="{F7EFCD00-9897-4E06-92DC-AF9321F9D617}" destId="{A20B9FE6-3BE2-4CB8-AB5B-259148D68C97}" srcOrd="2" destOrd="0" presId="urn:microsoft.com/office/officeart/2018/2/layout/IconCircleList"/>
    <dgm:cxn modelId="{E0A2BC1F-0CA3-4342-A78E-DC4B036CE55C}" type="presParOf" srcId="{F7EFCD00-9897-4E06-92DC-AF9321F9D617}" destId="{389295CE-A792-4178-BEAC-9033893D7F3B}"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B735922-3AA1-41C7-B539-505AAA428176}"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DF02032A-7C7F-4D6A-9F64-A349710912E3}">
      <dgm:prSet/>
      <dgm:spPr/>
      <dgm:t>
        <a:bodyPr/>
        <a:lstStyle/>
        <a:p>
          <a:pPr>
            <a:lnSpc>
              <a:spcPct val="100000"/>
            </a:lnSpc>
          </a:pPr>
          <a:r>
            <a:rPr lang="en-US" b="0" i="0"/>
            <a:t>Upgrading customer's equipment with a lock-in of more than 365 days  :  Target using Email Marketing</a:t>
          </a:r>
          <a:endParaRPr lang="en-US"/>
        </a:p>
      </dgm:t>
    </dgm:pt>
    <dgm:pt modelId="{F20698C4-EAC1-4826-BAD3-22A8D9AF3127}" type="parTrans" cxnId="{DB73B04B-A960-44E8-92EF-8AF879AA125A}">
      <dgm:prSet/>
      <dgm:spPr/>
      <dgm:t>
        <a:bodyPr/>
        <a:lstStyle/>
        <a:p>
          <a:endParaRPr lang="en-US"/>
        </a:p>
      </dgm:t>
    </dgm:pt>
    <dgm:pt modelId="{A5BDF01E-B2D8-425C-BCD8-5C16F42122FA}" type="sibTrans" cxnId="{DB73B04B-A960-44E8-92EF-8AF879AA125A}">
      <dgm:prSet/>
      <dgm:spPr/>
      <dgm:t>
        <a:bodyPr/>
        <a:lstStyle/>
        <a:p>
          <a:endParaRPr lang="en-US"/>
        </a:p>
      </dgm:t>
    </dgm:pt>
    <dgm:pt modelId="{B3760A73-E8A2-46C7-998B-0AD6DA12F732}">
      <dgm:prSet/>
      <dgm:spPr/>
      <dgm:t>
        <a:bodyPr/>
        <a:lstStyle/>
        <a:p>
          <a:pPr>
            <a:lnSpc>
              <a:spcPct val="100000"/>
            </a:lnSpc>
          </a:pPr>
          <a:r>
            <a:rPr lang="en-US" b="0" i="0"/>
            <a:t>Special Low Usage Plans for Users who are likely to churn due to high monthly recurring charge : Retention Calls, Email Marketing</a:t>
          </a:r>
          <a:endParaRPr lang="en-US"/>
        </a:p>
      </dgm:t>
    </dgm:pt>
    <dgm:pt modelId="{CB295C51-6506-40C3-A66B-EB3E8714B421}" type="parTrans" cxnId="{3D8A0DA5-9DA7-49B8-8474-4D10FF795B70}">
      <dgm:prSet/>
      <dgm:spPr/>
      <dgm:t>
        <a:bodyPr/>
        <a:lstStyle/>
        <a:p>
          <a:endParaRPr lang="en-US"/>
        </a:p>
      </dgm:t>
    </dgm:pt>
    <dgm:pt modelId="{E763F12C-66B9-47A0-89AC-7E92D5790132}" type="sibTrans" cxnId="{3D8A0DA5-9DA7-49B8-8474-4D10FF795B70}">
      <dgm:prSet/>
      <dgm:spPr/>
      <dgm:t>
        <a:bodyPr/>
        <a:lstStyle/>
        <a:p>
          <a:endParaRPr lang="en-US"/>
        </a:p>
      </dgm:t>
    </dgm:pt>
    <dgm:pt modelId="{00FBE71A-3394-4C5E-9F8B-CF8332C11BF6}">
      <dgm:prSet/>
      <dgm:spPr/>
      <dgm:t>
        <a:bodyPr/>
        <a:lstStyle/>
        <a:p>
          <a:pPr>
            <a:lnSpc>
              <a:spcPct val="100000"/>
            </a:lnSpc>
          </a:pPr>
          <a:r>
            <a:rPr lang="en-US" b="0" i="0"/>
            <a:t>Reward customers on the basis of their loyalty. Provide annual credits for every additional year and provide premium services</a:t>
          </a:r>
          <a:endParaRPr lang="en-US"/>
        </a:p>
      </dgm:t>
    </dgm:pt>
    <dgm:pt modelId="{AEB18F2A-98F1-42D1-A4A5-A9F1A7E9FD72}" type="parTrans" cxnId="{B9E3CACE-4BD5-4F37-95B3-DD7C65D7F8E7}">
      <dgm:prSet/>
      <dgm:spPr/>
      <dgm:t>
        <a:bodyPr/>
        <a:lstStyle/>
        <a:p>
          <a:endParaRPr lang="en-US"/>
        </a:p>
      </dgm:t>
    </dgm:pt>
    <dgm:pt modelId="{3520132F-316E-4A66-93B2-2533827D721F}" type="sibTrans" cxnId="{B9E3CACE-4BD5-4F37-95B3-DD7C65D7F8E7}">
      <dgm:prSet/>
      <dgm:spPr/>
      <dgm:t>
        <a:bodyPr/>
        <a:lstStyle/>
        <a:p>
          <a:endParaRPr lang="en-US"/>
        </a:p>
      </dgm:t>
    </dgm:pt>
    <dgm:pt modelId="{1386D28F-A8A3-4113-A98E-625BC7AFDAB4}">
      <dgm:prSet/>
      <dgm:spPr/>
      <dgm:t>
        <a:bodyPr/>
        <a:lstStyle/>
        <a:p>
          <a:pPr>
            <a:lnSpc>
              <a:spcPct val="100000"/>
            </a:lnSpc>
          </a:pPr>
          <a:r>
            <a:rPr lang="en-US" b="0" i="0"/>
            <a:t>Target customers, who will likely churn through website promotion pop-up, push notifications and in-app notifications. Eg- Low Monthly Minutes Usage Customer be targeted through push notification offers</a:t>
          </a:r>
          <a:endParaRPr lang="en-US"/>
        </a:p>
      </dgm:t>
    </dgm:pt>
    <dgm:pt modelId="{B882AFEC-1F59-4F6B-A239-EC163535EE6B}" type="parTrans" cxnId="{785B8F55-F8B0-47A1-ADEB-5626086A6819}">
      <dgm:prSet/>
      <dgm:spPr/>
      <dgm:t>
        <a:bodyPr/>
        <a:lstStyle/>
        <a:p>
          <a:endParaRPr lang="en-US"/>
        </a:p>
      </dgm:t>
    </dgm:pt>
    <dgm:pt modelId="{07ADA0C1-BF00-40D6-B25D-D25FB2EF84B5}" type="sibTrans" cxnId="{785B8F55-F8B0-47A1-ADEB-5626086A6819}">
      <dgm:prSet/>
      <dgm:spPr/>
      <dgm:t>
        <a:bodyPr/>
        <a:lstStyle/>
        <a:p>
          <a:endParaRPr lang="en-US"/>
        </a:p>
      </dgm:t>
    </dgm:pt>
    <dgm:pt modelId="{CD756FFF-4308-4E3C-A241-FC6CE83FF544}" type="pres">
      <dgm:prSet presAssocID="{7B735922-3AA1-41C7-B539-505AAA428176}" presName="root" presStyleCnt="0">
        <dgm:presLayoutVars>
          <dgm:dir/>
          <dgm:resizeHandles val="exact"/>
        </dgm:presLayoutVars>
      </dgm:prSet>
      <dgm:spPr/>
    </dgm:pt>
    <dgm:pt modelId="{CEECB822-C0D6-4CA4-9D59-A9F791BCFCCE}" type="pres">
      <dgm:prSet presAssocID="{DF02032A-7C7F-4D6A-9F64-A349710912E3}" presName="compNode" presStyleCnt="0"/>
      <dgm:spPr/>
    </dgm:pt>
    <dgm:pt modelId="{A6A5C25C-724D-4678-B2F4-87A44A422E82}" type="pres">
      <dgm:prSet presAssocID="{DF02032A-7C7F-4D6A-9F64-A349710912E3}" presName="bgRect" presStyleLbl="bgShp" presStyleIdx="0" presStyleCnt="4"/>
      <dgm:spPr/>
    </dgm:pt>
    <dgm:pt modelId="{CB8FDE07-14F4-4966-884A-146D4A4D54E4}" type="pres">
      <dgm:prSet presAssocID="{DF02032A-7C7F-4D6A-9F64-A349710912E3}"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egaphone"/>
        </a:ext>
      </dgm:extLst>
    </dgm:pt>
    <dgm:pt modelId="{EA599325-482B-433F-AACD-628D12564500}" type="pres">
      <dgm:prSet presAssocID="{DF02032A-7C7F-4D6A-9F64-A349710912E3}" presName="spaceRect" presStyleCnt="0"/>
      <dgm:spPr/>
    </dgm:pt>
    <dgm:pt modelId="{D3E75FE2-FEAC-4C3F-AB4D-2F45E1B2C85E}" type="pres">
      <dgm:prSet presAssocID="{DF02032A-7C7F-4D6A-9F64-A349710912E3}" presName="parTx" presStyleLbl="revTx" presStyleIdx="0" presStyleCnt="4">
        <dgm:presLayoutVars>
          <dgm:chMax val="0"/>
          <dgm:chPref val="0"/>
        </dgm:presLayoutVars>
      </dgm:prSet>
      <dgm:spPr/>
    </dgm:pt>
    <dgm:pt modelId="{CDB10512-83B8-4D0F-BECC-D3435F11DD68}" type="pres">
      <dgm:prSet presAssocID="{A5BDF01E-B2D8-425C-BCD8-5C16F42122FA}" presName="sibTrans" presStyleCnt="0"/>
      <dgm:spPr/>
    </dgm:pt>
    <dgm:pt modelId="{B6B5EB78-F326-4726-B625-7B2572DF4E8C}" type="pres">
      <dgm:prSet presAssocID="{B3760A73-E8A2-46C7-998B-0AD6DA12F732}" presName="compNode" presStyleCnt="0"/>
      <dgm:spPr/>
    </dgm:pt>
    <dgm:pt modelId="{8D14A442-DCCE-4DC5-9AA3-DBE2A37E2153}" type="pres">
      <dgm:prSet presAssocID="{B3760A73-E8A2-46C7-998B-0AD6DA12F732}" presName="bgRect" presStyleLbl="bgShp" presStyleIdx="1" presStyleCnt="4"/>
      <dgm:spPr/>
    </dgm:pt>
    <dgm:pt modelId="{D67F5EC0-68A6-47EE-9F9D-B7E35AFB873C}" type="pres">
      <dgm:prSet presAssocID="{B3760A73-E8A2-46C7-998B-0AD6DA12F732}"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all center"/>
        </a:ext>
      </dgm:extLst>
    </dgm:pt>
    <dgm:pt modelId="{08376E71-EE70-4CE6-B4E0-7209D41A17AD}" type="pres">
      <dgm:prSet presAssocID="{B3760A73-E8A2-46C7-998B-0AD6DA12F732}" presName="spaceRect" presStyleCnt="0"/>
      <dgm:spPr/>
    </dgm:pt>
    <dgm:pt modelId="{9E83F04E-081D-46D8-8DA8-78E708C0B659}" type="pres">
      <dgm:prSet presAssocID="{B3760A73-E8A2-46C7-998B-0AD6DA12F732}" presName="parTx" presStyleLbl="revTx" presStyleIdx="1" presStyleCnt="4">
        <dgm:presLayoutVars>
          <dgm:chMax val="0"/>
          <dgm:chPref val="0"/>
        </dgm:presLayoutVars>
      </dgm:prSet>
      <dgm:spPr/>
    </dgm:pt>
    <dgm:pt modelId="{AE9CD804-63DE-4939-AFCD-2C60D4CF4808}" type="pres">
      <dgm:prSet presAssocID="{E763F12C-66B9-47A0-89AC-7E92D5790132}" presName="sibTrans" presStyleCnt="0"/>
      <dgm:spPr/>
    </dgm:pt>
    <dgm:pt modelId="{96BF8815-6A3D-48E3-8D75-C11F4E0B1BC4}" type="pres">
      <dgm:prSet presAssocID="{00FBE71A-3394-4C5E-9F8B-CF8332C11BF6}" presName="compNode" presStyleCnt="0"/>
      <dgm:spPr/>
    </dgm:pt>
    <dgm:pt modelId="{91D06327-E3D5-439E-8A78-FC2F762A91EE}" type="pres">
      <dgm:prSet presAssocID="{00FBE71A-3394-4C5E-9F8B-CF8332C11BF6}" presName="bgRect" presStyleLbl="bgShp" presStyleIdx="2" presStyleCnt="4"/>
      <dgm:spPr/>
    </dgm:pt>
    <dgm:pt modelId="{21168770-F14A-411A-8DDE-E2BDEE22EE18}" type="pres">
      <dgm:prSet presAssocID="{00FBE71A-3394-4C5E-9F8B-CF8332C11BF6}"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Dollar"/>
        </a:ext>
      </dgm:extLst>
    </dgm:pt>
    <dgm:pt modelId="{261177FD-B421-4FDC-A6A0-B985F3CAB12C}" type="pres">
      <dgm:prSet presAssocID="{00FBE71A-3394-4C5E-9F8B-CF8332C11BF6}" presName="spaceRect" presStyleCnt="0"/>
      <dgm:spPr/>
    </dgm:pt>
    <dgm:pt modelId="{643E6774-A52F-41A4-8F57-9DCDE17ABBF9}" type="pres">
      <dgm:prSet presAssocID="{00FBE71A-3394-4C5E-9F8B-CF8332C11BF6}" presName="parTx" presStyleLbl="revTx" presStyleIdx="2" presStyleCnt="4">
        <dgm:presLayoutVars>
          <dgm:chMax val="0"/>
          <dgm:chPref val="0"/>
        </dgm:presLayoutVars>
      </dgm:prSet>
      <dgm:spPr/>
    </dgm:pt>
    <dgm:pt modelId="{58A7C357-1117-41AF-8A11-03E4F5DA4868}" type="pres">
      <dgm:prSet presAssocID="{3520132F-316E-4A66-93B2-2533827D721F}" presName="sibTrans" presStyleCnt="0"/>
      <dgm:spPr/>
    </dgm:pt>
    <dgm:pt modelId="{3D0ADBC0-3F95-47B3-9068-99B57EA3F5C8}" type="pres">
      <dgm:prSet presAssocID="{1386D28F-A8A3-4113-A98E-625BC7AFDAB4}" presName="compNode" presStyleCnt="0"/>
      <dgm:spPr/>
    </dgm:pt>
    <dgm:pt modelId="{77A584D1-7183-4BEE-8591-EA5E8E44FAB7}" type="pres">
      <dgm:prSet presAssocID="{1386D28F-A8A3-4113-A98E-625BC7AFDAB4}" presName="bgRect" presStyleLbl="bgShp" presStyleIdx="3" presStyleCnt="4"/>
      <dgm:spPr/>
    </dgm:pt>
    <dgm:pt modelId="{8B61A126-8530-47AB-8F29-17DD787012E0}" type="pres">
      <dgm:prSet presAssocID="{1386D28F-A8A3-4113-A98E-625BC7AFDAB4}"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Target Audience"/>
        </a:ext>
      </dgm:extLst>
    </dgm:pt>
    <dgm:pt modelId="{2FE3B882-1C6E-482F-9A6A-81ADB75A5966}" type="pres">
      <dgm:prSet presAssocID="{1386D28F-A8A3-4113-A98E-625BC7AFDAB4}" presName="spaceRect" presStyleCnt="0"/>
      <dgm:spPr/>
    </dgm:pt>
    <dgm:pt modelId="{5354F392-2850-4016-8699-88C7399F0DD1}" type="pres">
      <dgm:prSet presAssocID="{1386D28F-A8A3-4113-A98E-625BC7AFDAB4}" presName="parTx" presStyleLbl="revTx" presStyleIdx="3" presStyleCnt="4">
        <dgm:presLayoutVars>
          <dgm:chMax val="0"/>
          <dgm:chPref val="0"/>
        </dgm:presLayoutVars>
      </dgm:prSet>
      <dgm:spPr/>
    </dgm:pt>
  </dgm:ptLst>
  <dgm:cxnLst>
    <dgm:cxn modelId="{B4116A14-C675-432D-8038-508736074A36}" type="presOf" srcId="{DF02032A-7C7F-4D6A-9F64-A349710912E3}" destId="{D3E75FE2-FEAC-4C3F-AB4D-2F45E1B2C85E}" srcOrd="0" destOrd="0" presId="urn:microsoft.com/office/officeart/2018/2/layout/IconVerticalSolidList"/>
    <dgm:cxn modelId="{DB73B04B-A960-44E8-92EF-8AF879AA125A}" srcId="{7B735922-3AA1-41C7-B539-505AAA428176}" destId="{DF02032A-7C7F-4D6A-9F64-A349710912E3}" srcOrd="0" destOrd="0" parTransId="{F20698C4-EAC1-4826-BAD3-22A8D9AF3127}" sibTransId="{A5BDF01E-B2D8-425C-BCD8-5C16F42122FA}"/>
    <dgm:cxn modelId="{785B8F55-F8B0-47A1-ADEB-5626086A6819}" srcId="{7B735922-3AA1-41C7-B539-505AAA428176}" destId="{1386D28F-A8A3-4113-A98E-625BC7AFDAB4}" srcOrd="3" destOrd="0" parTransId="{B882AFEC-1F59-4F6B-A239-EC163535EE6B}" sibTransId="{07ADA0C1-BF00-40D6-B25D-D25FB2EF84B5}"/>
    <dgm:cxn modelId="{05DC2980-5781-4593-8A49-CA369EEBD2B4}" type="presOf" srcId="{1386D28F-A8A3-4113-A98E-625BC7AFDAB4}" destId="{5354F392-2850-4016-8699-88C7399F0DD1}" srcOrd="0" destOrd="0" presId="urn:microsoft.com/office/officeart/2018/2/layout/IconVerticalSolidList"/>
    <dgm:cxn modelId="{1D38F197-C963-4AD1-B3CB-1262E9F714B4}" type="presOf" srcId="{7B735922-3AA1-41C7-B539-505AAA428176}" destId="{CD756FFF-4308-4E3C-A241-FC6CE83FF544}" srcOrd="0" destOrd="0" presId="urn:microsoft.com/office/officeart/2018/2/layout/IconVerticalSolidList"/>
    <dgm:cxn modelId="{3D8A0DA5-9DA7-49B8-8474-4D10FF795B70}" srcId="{7B735922-3AA1-41C7-B539-505AAA428176}" destId="{B3760A73-E8A2-46C7-998B-0AD6DA12F732}" srcOrd="1" destOrd="0" parTransId="{CB295C51-6506-40C3-A66B-EB3E8714B421}" sibTransId="{E763F12C-66B9-47A0-89AC-7E92D5790132}"/>
    <dgm:cxn modelId="{B2A884B0-0CE0-4672-9D9D-2CABC93752F3}" type="presOf" srcId="{B3760A73-E8A2-46C7-998B-0AD6DA12F732}" destId="{9E83F04E-081D-46D8-8DA8-78E708C0B659}" srcOrd="0" destOrd="0" presId="urn:microsoft.com/office/officeart/2018/2/layout/IconVerticalSolidList"/>
    <dgm:cxn modelId="{B9E3CACE-4BD5-4F37-95B3-DD7C65D7F8E7}" srcId="{7B735922-3AA1-41C7-B539-505AAA428176}" destId="{00FBE71A-3394-4C5E-9F8B-CF8332C11BF6}" srcOrd="2" destOrd="0" parTransId="{AEB18F2A-98F1-42D1-A4A5-A9F1A7E9FD72}" sibTransId="{3520132F-316E-4A66-93B2-2533827D721F}"/>
    <dgm:cxn modelId="{25391BE7-486E-45E2-B934-22C0AE56D62A}" type="presOf" srcId="{00FBE71A-3394-4C5E-9F8B-CF8332C11BF6}" destId="{643E6774-A52F-41A4-8F57-9DCDE17ABBF9}" srcOrd="0" destOrd="0" presId="urn:microsoft.com/office/officeart/2018/2/layout/IconVerticalSolidList"/>
    <dgm:cxn modelId="{8AC00D0C-9AAF-42C8-A7F5-FC4254FB545A}" type="presParOf" srcId="{CD756FFF-4308-4E3C-A241-FC6CE83FF544}" destId="{CEECB822-C0D6-4CA4-9D59-A9F791BCFCCE}" srcOrd="0" destOrd="0" presId="urn:microsoft.com/office/officeart/2018/2/layout/IconVerticalSolidList"/>
    <dgm:cxn modelId="{2B641BFE-957C-4813-B1F6-984D804776CB}" type="presParOf" srcId="{CEECB822-C0D6-4CA4-9D59-A9F791BCFCCE}" destId="{A6A5C25C-724D-4678-B2F4-87A44A422E82}" srcOrd="0" destOrd="0" presId="urn:microsoft.com/office/officeart/2018/2/layout/IconVerticalSolidList"/>
    <dgm:cxn modelId="{2BF6A6D4-6C3C-4BB8-9928-E70E8EA1A2F1}" type="presParOf" srcId="{CEECB822-C0D6-4CA4-9D59-A9F791BCFCCE}" destId="{CB8FDE07-14F4-4966-884A-146D4A4D54E4}" srcOrd="1" destOrd="0" presId="urn:microsoft.com/office/officeart/2018/2/layout/IconVerticalSolidList"/>
    <dgm:cxn modelId="{94A7C94E-11A2-44E7-9633-D9D56E1AC6B9}" type="presParOf" srcId="{CEECB822-C0D6-4CA4-9D59-A9F791BCFCCE}" destId="{EA599325-482B-433F-AACD-628D12564500}" srcOrd="2" destOrd="0" presId="urn:microsoft.com/office/officeart/2018/2/layout/IconVerticalSolidList"/>
    <dgm:cxn modelId="{B3DED04E-25D3-48BC-92CA-C5F3BCCC9EB1}" type="presParOf" srcId="{CEECB822-C0D6-4CA4-9D59-A9F791BCFCCE}" destId="{D3E75FE2-FEAC-4C3F-AB4D-2F45E1B2C85E}" srcOrd="3" destOrd="0" presId="urn:microsoft.com/office/officeart/2018/2/layout/IconVerticalSolidList"/>
    <dgm:cxn modelId="{F33FB919-3194-45F3-B40E-AD05B8406B9C}" type="presParOf" srcId="{CD756FFF-4308-4E3C-A241-FC6CE83FF544}" destId="{CDB10512-83B8-4D0F-BECC-D3435F11DD68}" srcOrd="1" destOrd="0" presId="urn:microsoft.com/office/officeart/2018/2/layout/IconVerticalSolidList"/>
    <dgm:cxn modelId="{1BA9503F-F65C-4432-9244-589FD110FB42}" type="presParOf" srcId="{CD756FFF-4308-4E3C-A241-FC6CE83FF544}" destId="{B6B5EB78-F326-4726-B625-7B2572DF4E8C}" srcOrd="2" destOrd="0" presId="urn:microsoft.com/office/officeart/2018/2/layout/IconVerticalSolidList"/>
    <dgm:cxn modelId="{AF3BD4CC-497A-4673-BE74-9E9A2AB502FA}" type="presParOf" srcId="{B6B5EB78-F326-4726-B625-7B2572DF4E8C}" destId="{8D14A442-DCCE-4DC5-9AA3-DBE2A37E2153}" srcOrd="0" destOrd="0" presId="urn:microsoft.com/office/officeart/2018/2/layout/IconVerticalSolidList"/>
    <dgm:cxn modelId="{15F70782-EDA5-49D4-9B2D-27847004BA15}" type="presParOf" srcId="{B6B5EB78-F326-4726-B625-7B2572DF4E8C}" destId="{D67F5EC0-68A6-47EE-9F9D-B7E35AFB873C}" srcOrd="1" destOrd="0" presId="urn:microsoft.com/office/officeart/2018/2/layout/IconVerticalSolidList"/>
    <dgm:cxn modelId="{84063122-4561-4B1A-A060-88952EB46056}" type="presParOf" srcId="{B6B5EB78-F326-4726-B625-7B2572DF4E8C}" destId="{08376E71-EE70-4CE6-B4E0-7209D41A17AD}" srcOrd="2" destOrd="0" presId="urn:microsoft.com/office/officeart/2018/2/layout/IconVerticalSolidList"/>
    <dgm:cxn modelId="{195B40BB-63EC-4448-BC4F-A95A3C95B713}" type="presParOf" srcId="{B6B5EB78-F326-4726-B625-7B2572DF4E8C}" destId="{9E83F04E-081D-46D8-8DA8-78E708C0B659}" srcOrd="3" destOrd="0" presId="urn:microsoft.com/office/officeart/2018/2/layout/IconVerticalSolidList"/>
    <dgm:cxn modelId="{54F4F779-C5F7-4AB6-9F75-B15591839DEA}" type="presParOf" srcId="{CD756FFF-4308-4E3C-A241-FC6CE83FF544}" destId="{AE9CD804-63DE-4939-AFCD-2C60D4CF4808}" srcOrd="3" destOrd="0" presId="urn:microsoft.com/office/officeart/2018/2/layout/IconVerticalSolidList"/>
    <dgm:cxn modelId="{81262D5E-BD06-4525-93AB-48F28CED9BDB}" type="presParOf" srcId="{CD756FFF-4308-4E3C-A241-FC6CE83FF544}" destId="{96BF8815-6A3D-48E3-8D75-C11F4E0B1BC4}" srcOrd="4" destOrd="0" presId="urn:microsoft.com/office/officeart/2018/2/layout/IconVerticalSolidList"/>
    <dgm:cxn modelId="{CF303F86-C34B-4C8D-A419-B3573688199A}" type="presParOf" srcId="{96BF8815-6A3D-48E3-8D75-C11F4E0B1BC4}" destId="{91D06327-E3D5-439E-8A78-FC2F762A91EE}" srcOrd="0" destOrd="0" presId="urn:microsoft.com/office/officeart/2018/2/layout/IconVerticalSolidList"/>
    <dgm:cxn modelId="{9454E310-D360-4696-B4A8-F83E74693710}" type="presParOf" srcId="{96BF8815-6A3D-48E3-8D75-C11F4E0B1BC4}" destId="{21168770-F14A-411A-8DDE-E2BDEE22EE18}" srcOrd="1" destOrd="0" presId="urn:microsoft.com/office/officeart/2018/2/layout/IconVerticalSolidList"/>
    <dgm:cxn modelId="{CAF1E6D2-B1F5-4671-9174-43C5367865F8}" type="presParOf" srcId="{96BF8815-6A3D-48E3-8D75-C11F4E0B1BC4}" destId="{261177FD-B421-4FDC-A6A0-B985F3CAB12C}" srcOrd="2" destOrd="0" presId="urn:microsoft.com/office/officeart/2018/2/layout/IconVerticalSolidList"/>
    <dgm:cxn modelId="{8FB4932F-3627-44A1-A198-5870BE6E2150}" type="presParOf" srcId="{96BF8815-6A3D-48E3-8D75-C11F4E0B1BC4}" destId="{643E6774-A52F-41A4-8F57-9DCDE17ABBF9}" srcOrd="3" destOrd="0" presId="urn:microsoft.com/office/officeart/2018/2/layout/IconVerticalSolidList"/>
    <dgm:cxn modelId="{6A798BB4-B9B6-420C-ACC1-1E3E738F374D}" type="presParOf" srcId="{CD756FFF-4308-4E3C-A241-FC6CE83FF544}" destId="{58A7C357-1117-41AF-8A11-03E4F5DA4868}" srcOrd="5" destOrd="0" presId="urn:microsoft.com/office/officeart/2018/2/layout/IconVerticalSolidList"/>
    <dgm:cxn modelId="{4AA8757B-0C16-456D-94B6-8F3914E068CF}" type="presParOf" srcId="{CD756FFF-4308-4E3C-A241-FC6CE83FF544}" destId="{3D0ADBC0-3F95-47B3-9068-99B57EA3F5C8}" srcOrd="6" destOrd="0" presId="urn:microsoft.com/office/officeart/2018/2/layout/IconVerticalSolidList"/>
    <dgm:cxn modelId="{5F124A2F-C869-4AA7-A340-8AB32293D33C}" type="presParOf" srcId="{3D0ADBC0-3F95-47B3-9068-99B57EA3F5C8}" destId="{77A584D1-7183-4BEE-8591-EA5E8E44FAB7}" srcOrd="0" destOrd="0" presId="urn:microsoft.com/office/officeart/2018/2/layout/IconVerticalSolidList"/>
    <dgm:cxn modelId="{FA4E2FC5-0188-49FE-878C-589B41367681}" type="presParOf" srcId="{3D0ADBC0-3F95-47B3-9068-99B57EA3F5C8}" destId="{8B61A126-8530-47AB-8F29-17DD787012E0}" srcOrd="1" destOrd="0" presId="urn:microsoft.com/office/officeart/2018/2/layout/IconVerticalSolidList"/>
    <dgm:cxn modelId="{DDD58D1B-E43B-44FB-A816-F441EE31F524}" type="presParOf" srcId="{3D0ADBC0-3F95-47B3-9068-99B57EA3F5C8}" destId="{2FE3B882-1C6E-482F-9A6A-81ADB75A5966}" srcOrd="2" destOrd="0" presId="urn:microsoft.com/office/officeart/2018/2/layout/IconVerticalSolidList"/>
    <dgm:cxn modelId="{32394F60-CEC3-4F48-8428-A0E958DAE064}" type="presParOf" srcId="{3D0ADBC0-3F95-47B3-9068-99B57EA3F5C8}" destId="{5354F392-2850-4016-8699-88C7399F0DD1}"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BBB433-C83D-4CF4-83CC-6F19002F3C47}">
      <dsp:nvSpPr>
        <dsp:cNvPr id="0" name=""/>
        <dsp:cNvSpPr/>
      </dsp:nvSpPr>
      <dsp:spPr>
        <a:xfrm>
          <a:off x="6892" y="1714699"/>
          <a:ext cx="1031476" cy="1031476"/>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4938D1C-84DA-4339-8550-10DCAA5BDD9B}">
      <dsp:nvSpPr>
        <dsp:cNvPr id="0" name=""/>
        <dsp:cNvSpPr/>
      </dsp:nvSpPr>
      <dsp:spPr>
        <a:xfrm>
          <a:off x="223502" y="1931309"/>
          <a:ext cx="598256" cy="59825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02613E6-13E3-4323-AF81-DA2F45BA5AB8}">
      <dsp:nvSpPr>
        <dsp:cNvPr id="0" name=""/>
        <dsp:cNvSpPr/>
      </dsp:nvSpPr>
      <dsp:spPr>
        <a:xfrm>
          <a:off x="1259399" y="1714699"/>
          <a:ext cx="2431336" cy="10314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533400">
            <a:lnSpc>
              <a:spcPct val="100000"/>
            </a:lnSpc>
            <a:spcBef>
              <a:spcPct val="0"/>
            </a:spcBef>
            <a:spcAft>
              <a:spcPct val="35000"/>
            </a:spcAft>
            <a:buNone/>
          </a:pPr>
          <a:r>
            <a:rPr lang="en-US" sz="1200" kern="1200"/>
            <a:t>•</a:t>
          </a:r>
          <a:r>
            <a:rPr lang="en-US" sz="1600" kern="1200"/>
            <a:t>Churn is our predictive variable of character datatype in the form of “Yes” and “No”. We have converted it into “1” and “0” as it’s easier for us to use it in our models.</a:t>
          </a:r>
          <a:endParaRPr lang="en-US" sz="1200" kern="1200"/>
        </a:p>
      </dsp:txBody>
      <dsp:txXfrm>
        <a:off x="1259399" y="1714699"/>
        <a:ext cx="2431336" cy="1031476"/>
      </dsp:txXfrm>
    </dsp:sp>
    <dsp:sp modelId="{8F1253AE-0772-4CF4-A3B2-AD174D22BA90}">
      <dsp:nvSpPr>
        <dsp:cNvPr id="0" name=""/>
        <dsp:cNvSpPr/>
      </dsp:nvSpPr>
      <dsp:spPr>
        <a:xfrm>
          <a:off x="4114378" y="1714699"/>
          <a:ext cx="1031476" cy="1031476"/>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E86F21B-3B4D-4B42-8B0C-86CC1B2D6C32}">
      <dsp:nvSpPr>
        <dsp:cNvPr id="0" name=""/>
        <dsp:cNvSpPr/>
      </dsp:nvSpPr>
      <dsp:spPr>
        <a:xfrm>
          <a:off x="4330988" y="1931309"/>
          <a:ext cx="598256" cy="59825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6ECF390-40FC-4F52-83DD-76D00A52286E}">
      <dsp:nvSpPr>
        <dsp:cNvPr id="0" name=""/>
        <dsp:cNvSpPr/>
      </dsp:nvSpPr>
      <dsp:spPr>
        <a:xfrm>
          <a:off x="5366885" y="1714699"/>
          <a:ext cx="2431336" cy="10314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kern="1200"/>
            <a:t>•Our main goal is to predict whether the customers with our telecom provider T-Mobile will churn or not and what are the main reasons for them to churn.</a:t>
          </a:r>
        </a:p>
      </dsp:txBody>
      <dsp:txXfrm>
        <a:off x="5366885" y="1714699"/>
        <a:ext cx="2431336" cy="1031476"/>
      </dsp:txXfrm>
    </dsp:sp>
    <dsp:sp modelId="{BD24C9AB-5609-4A02-B1CD-6F4E52983F53}">
      <dsp:nvSpPr>
        <dsp:cNvPr id="0" name=""/>
        <dsp:cNvSpPr/>
      </dsp:nvSpPr>
      <dsp:spPr>
        <a:xfrm>
          <a:off x="8221863" y="1714699"/>
          <a:ext cx="1031476" cy="1031476"/>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30F8A40-65C6-4BBC-8458-E81DDE927F24}">
      <dsp:nvSpPr>
        <dsp:cNvPr id="0" name=""/>
        <dsp:cNvSpPr/>
      </dsp:nvSpPr>
      <dsp:spPr>
        <a:xfrm>
          <a:off x="8438473" y="1931309"/>
          <a:ext cx="598256" cy="59825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89295CE-A792-4178-BEAC-9033893D7F3B}">
      <dsp:nvSpPr>
        <dsp:cNvPr id="0" name=""/>
        <dsp:cNvSpPr/>
      </dsp:nvSpPr>
      <dsp:spPr>
        <a:xfrm>
          <a:off x="9474370" y="1714699"/>
          <a:ext cx="2431336" cy="10314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533400">
            <a:lnSpc>
              <a:spcPct val="100000"/>
            </a:lnSpc>
            <a:spcBef>
              <a:spcPct val="0"/>
            </a:spcBef>
            <a:spcAft>
              <a:spcPct val="35000"/>
            </a:spcAft>
            <a:buNone/>
          </a:pPr>
          <a:r>
            <a:rPr lang="en-US" sz="1200" kern="1200"/>
            <a:t>•</a:t>
          </a:r>
          <a:r>
            <a:rPr lang="en-US" sz="1600" kern="1200"/>
            <a:t>Our main aim is to get a predictive model which is the most effective taking into consideration the monthly revenue lost due to the customers churning and the promotional cost required to make them stay.</a:t>
          </a:r>
          <a:endParaRPr lang="en-US" sz="1200" kern="1200"/>
        </a:p>
      </dsp:txBody>
      <dsp:txXfrm>
        <a:off x="9474370" y="1714699"/>
        <a:ext cx="2431336" cy="103147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A5C25C-724D-4678-B2F4-87A44A422E82}">
      <dsp:nvSpPr>
        <dsp:cNvPr id="0" name=""/>
        <dsp:cNvSpPr/>
      </dsp:nvSpPr>
      <dsp:spPr>
        <a:xfrm>
          <a:off x="0" y="2442"/>
          <a:ext cx="6513603" cy="1238008"/>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B8FDE07-14F4-4966-884A-146D4A4D54E4}">
      <dsp:nvSpPr>
        <dsp:cNvPr id="0" name=""/>
        <dsp:cNvSpPr/>
      </dsp:nvSpPr>
      <dsp:spPr>
        <a:xfrm>
          <a:off x="374497" y="280994"/>
          <a:ext cx="680904" cy="68090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3E75FE2-FEAC-4C3F-AB4D-2F45E1B2C85E}">
      <dsp:nvSpPr>
        <dsp:cNvPr id="0" name=""/>
        <dsp:cNvSpPr/>
      </dsp:nvSpPr>
      <dsp:spPr>
        <a:xfrm>
          <a:off x="1429899" y="2442"/>
          <a:ext cx="5083704" cy="12380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023" tIns="131023" rIns="131023" bIns="131023" numCol="1" spcCol="1270" anchor="ctr" anchorCtr="0">
          <a:noAutofit/>
        </a:bodyPr>
        <a:lstStyle/>
        <a:p>
          <a:pPr marL="0" lvl="0" indent="0" algn="l" defTabSz="666750">
            <a:lnSpc>
              <a:spcPct val="100000"/>
            </a:lnSpc>
            <a:spcBef>
              <a:spcPct val="0"/>
            </a:spcBef>
            <a:spcAft>
              <a:spcPct val="35000"/>
            </a:spcAft>
            <a:buNone/>
          </a:pPr>
          <a:r>
            <a:rPr lang="en-US" sz="1500" b="0" i="0" kern="1200"/>
            <a:t>Upgrading customer's equipment with a lock-in of more than 365 days  :  Target using Email Marketing</a:t>
          </a:r>
          <a:endParaRPr lang="en-US" sz="1500" kern="1200"/>
        </a:p>
      </dsp:txBody>
      <dsp:txXfrm>
        <a:off x="1429899" y="2442"/>
        <a:ext cx="5083704" cy="1238008"/>
      </dsp:txXfrm>
    </dsp:sp>
    <dsp:sp modelId="{8D14A442-DCCE-4DC5-9AA3-DBE2A37E2153}">
      <dsp:nvSpPr>
        <dsp:cNvPr id="0" name=""/>
        <dsp:cNvSpPr/>
      </dsp:nvSpPr>
      <dsp:spPr>
        <a:xfrm>
          <a:off x="0" y="1549953"/>
          <a:ext cx="6513603" cy="1238008"/>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67F5EC0-68A6-47EE-9F9D-B7E35AFB873C}">
      <dsp:nvSpPr>
        <dsp:cNvPr id="0" name=""/>
        <dsp:cNvSpPr/>
      </dsp:nvSpPr>
      <dsp:spPr>
        <a:xfrm>
          <a:off x="374497" y="1828505"/>
          <a:ext cx="680904" cy="68090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E83F04E-081D-46D8-8DA8-78E708C0B659}">
      <dsp:nvSpPr>
        <dsp:cNvPr id="0" name=""/>
        <dsp:cNvSpPr/>
      </dsp:nvSpPr>
      <dsp:spPr>
        <a:xfrm>
          <a:off x="1429899" y="1549953"/>
          <a:ext cx="5083704" cy="12380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023" tIns="131023" rIns="131023" bIns="131023" numCol="1" spcCol="1270" anchor="ctr" anchorCtr="0">
          <a:noAutofit/>
        </a:bodyPr>
        <a:lstStyle/>
        <a:p>
          <a:pPr marL="0" lvl="0" indent="0" algn="l" defTabSz="666750">
            <a:lnSpc>
              <a:spcPct val="100000"/>
            </a:lnSpc>
            <a:spcBef>
              <a:spcPct val="0"/>
            </a:spcBef>
            <a:spcAft>
              <a:spcPct val="35000"/>
            </a:spcAft>
            <a:buNone/>
          </a:pPr>
          <a:r>
            <a:rPr lang="en-US" sz="1500" b="0" i="0" kern="1200"/>
            <a:t>Special Low Usage Plans for Users who are likely to churn due to high monthly recurring charge : Retention Calls, Email Marketing</a:t>
          </a:r>
          <a:endParaRPr lang="en-US" sz="1500" kern="1200"/>
        </a:p>
      </dsp:txBody>
      <dsp:txXfrm>
        <a:off x="1429899" y="1549953"/>
        <a:ext cx="5083704" cy="1238008"/>
      </dsp:txXfrm>
    </dsp:sp>
    <dsp:sp modelId="{91D06327-E3D5-439E-8A78-FC2F762A91EE}">
      <dsp:nvSpPr>
        <dsp:cNvPr id="0" name=""/>
        <dsp:cNvSpPr/>
      </dsp:nvSpPr>
      <dsp:spPr>
        <a:xfrm>
          <a:off x="0" y="3097464"/>
          <a:ext cx="6513603" cy="1238008"/>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1168770-F14A-411A-8DDE-E2BDEE22EE18}">
      <dsp:nvSpPr>
        <dsp:cNvPr id="0" name=""/>
        <dsp:cNvSpPr/>
      </dsp:nvSpPr>
      <dsp:spPr>
        <a:xfrm>
          <a:off x="374497" y="3376015"/>
          <a:ext cx="680904" cy="68090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43E6774-A52F-41A4-8F57-9DCDE17ABBF9}">
      <dsp:nvSpPr>
        <dsp:cNvPr id="0" name=""/>
        <dsp:cNvSpPr/>
      </dsp:nvSpPr>
      <dsp:spPr>
        <a:xfrm>
          <a:off x="1429899" y="3097464"/>
          <a:ext cx="5083704" cy="12380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023" tIns="131023" rIns="131023" bIns="131023" numCol="1" spcCol="1270" anchor="ctr" anchorCtr="0">
          <a:noAutofit/>
        </a:bodyPr>
        <a:lstStyle/>
        <a:p>
          <a:pPr marL="0" lvl="0" indent="0" algn="l" defTabSz="666750">
            <a:lnSpc>
              <a:spcPct val="100000"/>
            </a:lnSpc>
            <a:spcBef>
              <a:spcPct val="0"/>
            </a:spcBef>
            <a:spcAft>
              <a:spcPct val="35000"/>
            </a:spcAft>
            <a:buNone/>
          </a:pPr>
          <a:r>
            <a:rPr lang="en-US" sz="1500" b="0" i="0" kern="1200"/>
            <a:t>Reward customers on the basis of their loyalty. Provide annual credits for every additional year and provide premium services</a:t>
          </a:r>
          <a:endParaRPr lang="en-US" sz="1500" kern="1200"/>
        </a:p>
      </dsp:txBody>
      <dsp:txXfrm>
        <a:off x="1429899" y="3097464"/>
        <a:ext cx="5083704" cy="1238008"/>
      </dsp:txXfrm>
    </dsp:sp>
    <dsp:sp modelId="{77A584D1-7183-4BEE-8591-EA5E8E44FAB7}">
      <dsp:nvSpPr>
        <dsp:cNvPr id="0" name=""/>
        <dsp:cNvSpPr/>
      </dsp:nvSpPr>
      <dsp:spPr>
        <a:xfrm>
          <a:off x="0" y="4644974"/>
          <a:ext cx="6513603" cy="1238008"/>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B61A126-8530-47AB-8F29-17DD787012E0}">
      <dsp:nvSpPr>
        <dsp:cNvPr id="0" name=""/>
        <dsp:cNvSpPr/>
      </dsp:nvSpPr>
      <dsp:spPr>
        <a:xfrm>
          <a:off x="374497" y="4923526"/>
          <a:ext cx="680904" cy="68090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354F392-2850-4016-8699-88C7399F0DD1}">
      <dsp:nvSpPr>
        <dsp:cNvPr id="0" name=""/>
        <dsp:cNvSpPr/>
      </dsp:nvSpPr>
      <dsp:spPr>
        <a:xfrm>
          <a:off x="1429899" y="4644974"/>
          <a:ext cx="5083704" cy="12380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023" tIns="131023" rIns="131023" bIns="131023" numCol="1" spcCol="1270" anchor="ctr" anchorCtr="0">
          <a:noAutofit/>
        </a:bodyPr>
        <a:lstStyle/>
        <a:p>
          <a:pPr marL="0" lvl="0" indent="0" algn="l" defTabSz="666750">
            <a:lnSpc>
              <a:spcPct val="100000"/>
            </a:lnSpc>
            <a:spcBef>
              <a:spcPct val="0"/>
            </a:spcBef>
            <a:spcAft>
              <a:spcPct val="35000"/>
            </a:spcAft>
            <a:buNone/>
          </a:pPr>
          <a:r>
            <a:rPr lang="en-US" sz="1500" b="0" i="0" kern="1200"/>
            <a:t>Target customers, who will likely churn through website promotion pop-up, push notifications and in-app notifications. Eg- Low Monthly Minutes Usage Customer be targeted through push notification offers</a:t>
          </a:r>
          <a:endParaRPr lang="en-US" sz="1500" kern="1200"/>
        </a:p>
      </dsp:txBody>
      <dsp:txXfrm>
        <a:off x="1429899" y="4644974"/>
        <a:ext cx="5083704" cy="1238008"/>
      </dsp:txXfrm>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448CB55-5BE1-474B-8A31-4EF9846DA049}" type="datetimeFigureOut">
              <a:rPr lang="en-US" smtClean="0"/>
              <a:t>5/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7B73A2-4D70-6F4F-B4BE-A50F0A6F0DD4}" type="slidenum">
              <a:rPr lang="en-US" smtClean="0"/>
              <a:t>‹#›</a:t>
            </a:fld>
            <a:endParaRPr lang="en-US"/>
          </a:p>
        </p:txBody>
      </p:sp>
    </p:spTree>
    <p:extLst>
      <p:ext uri="{BB962C8B-B14F-4D97-AF65-F5344CB8AC3E}">
        <p14:creationId xmlns:p14="http://schemas.microsoft.com/office/powerpoint/2010/main" val="196951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B98AFB-CB0D-4DFE-87B9-B4B0D0DE73CD}" type="slidenum">
              <a:rPr lang="en-US" smtClean="0"/>
              <a:t>3</a:t>
            </a:fld>
            <a:endParaRPr lang="en-US"/>
          </a:p>
        </p:txBody>
      </p:sp>
    </p:spTree>
    <p:extLst>
      <p:ext uri="{BB962C8B-B14F-4D97-AF65-F5344CB8AC3E}">
        <p14:creationId xmlns:p14="http://schemas.microsoft.com/office/powerpoint/2010/main" val="17156939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B7B73A2-4D70-6F4F-B4BE-A50F0A6F0DD4}" type="slidenum">
              <a:rPr lang="en-US" smtClean="0"/>
              <a:t>7</a:t>
            </a:fld>
            <a:endParaRPr lang="en-US"/>
          </a:p>
        </p:txBody>
      </p:sp>
    </p:spTree>
    <p:extLst>
      <p:ext uri="{BB962C8B-B14F-4D97-AF65-F5344CB8AC3E}">
        <p14:creationId xmlns:p14="http://schemas.microsoft.com/office/powerpoint/2010/main" val="33679142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cs typeface="Calibri"/>
            </a:endParaRPr>
          </a:p>
        </p:txBody>
      </p:sp>
      <p:sp>
        <p:nvSpPr>
          <p:cNvPr id="4" name="Slide Number Placeholder 3"/>
          <p:cNvSpPr>
            <a:spLocks noGrp="1"/>
          </p:cNvSpPr>
          <p:nvPr>
            <p:ph type="sldNum" sz="quarter" idx="5"/>
          </p:nvPr>
        </p:nvSpPr>
        <p:spPr/>
        <p:txBody>
          <a:bodyPr/>
          <a:lstStyle/>
          <a:p>
            <a:fld id="{6BB98AFB-CB0D-4DFE-87B9-B4B0D0DE73CD}" type="slidenum">
              <a:rPr lang="en-US"/>
              <a:t>10</a:t>
            </a:fld>
            <a:endParaRPr lang="en-US"/>
          </a:p>
        </p:txBody>
      </p:sp>
    </p:spTree>
    <p:extLst>
      <p:ext uri="{BB962C8B-B14F-4D97-AF65-F5344CB8AC3E}">
        <p14:creationId xmlns:p14="http://schemas.microsoft.com/office/powerpoint/2010/main" val="31818344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B7B73A2-4D70-6F4F-B4BE-A50F0A6F0DD4}" type="slidenum">
              <a:rPr lang="en-US" smtClean="0"/>
              <a:t>11</a:t>
            </a:fld>
            <a:endParaRPr lang="en-US"/>
          </a:p>
        </p:txBody>
      </p:sp>
    </p:spTree>
    <p:extLst>
      <p:ext uri="{BB962C8B-B14F-4D97-AF65-F5344CB8AC3E}">
        <p14:creationId xmlns:p14="http://schemas.microsoft.com/office/powerpoint/2010/main" val="40377554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B7B73A2-4D70-6F4F-B4BE-A50F0A6F0DD4}" type="slidenum">
              <a:rPr lang="en-US" smtClean="0"/>
              <a:t>13</a:t>
            </a:fld>
            <a:endParaRPr lang="en-US"/>
          </a:p>
        </p:txBody>
      </p:sp>
    </p:spTree>
    <p:extLst>
      <p:ext uri="{BB962C8B-B14F-4D97-AF65-F5344CB8AC3E}">
        <p14:creationId xmlns:p14="http://schemas.microsoft.com/office/powerpoint/2010/main" val="5830139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B7B73A2-4D70-6F4F-B4BE-A50F0A6F0DD4}" type="slidenum">
              <a:rPr lang="en-US" smtClean="0"/>
              <a:t>30</a:t>
            </a:fld>
            <a:endParaRPr lang="en-US"/>
          </a:p>
        </p:txBody>
      </p:sp>
    </p:spTree>
    <p:extLst>
      <p:ext uri="{BB962C8B-B14F-4D97-AF65-F5344CB8AC3E}">
        <p14:creationId xmlns:p14="http://schemas.microsoft.com/office/powerpoint/2010/main" val="5321574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55261-5C5E-D546-BEB5-C33F6C24AB9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EA9FBD2-577C-44F2-A752-4689181651C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F81B84F-38DE-116D-7E1D-476A2E845D1C}"/>
              </a:ext>
            </a:extLst>
          </p:cNvPr>
          <p:cNvSpPr>
            <a:spLocks noGrp="1"/>
          </p:cNvSpPr>
          <p:nvPr>
            <p:ph type="dt" sz="half" idx="10"/>
          </p:nvPr>
        </p:nvSpPr>
        <p:spPr/>
        <p:txBody>
          <a:bodyPr/>
          <a:lstStyle/>
          <a:p>
            <a:fld id="{E4AF4BDF-479B-9441-9F81-0C8662A323F9}" type="datetimeFigureOut">
              <a:rPr lang="en-US" smtClean="0"/>
              <a:t>5/3/2022</a:t>
            </a:fld>
            <a:endParaRPr lang="en-US"/>
          </a:p>
        </p:txBody>
      </p:sp>
      <p:sp>
        <p:nvSpPr>
          <p:cNvPr id="5" name="Footer Placeholder 4">
            <a:extLst>
              <a:ext uri="{FF2B5EF4-FFF2-40B4-BE49-F238E27FC236}">
                <a16:creationId xmlns:a16="http://schemas.microsoft.com/office/drawing/2014/main" id="{4A981F56-B0E4-07EE-7669-0708497B81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AEC0DF-3372-E755-F509-5ACA6B8DC38B}"/>
              </a:ext>
            </a:extLst>
          </p:cNvPr>
          <p:cNvSpPr>
            <a:spLocks noGrp="1"/>
          </p:cNvSpPr>
          <p:nvPr>
            <p:ph type="sldNum" sz="quarter" idx="12"/>
          </p:nvPr>
        </p:nvSpPr>
        <p:spPr/>
        <p:txBody>
          <a:bodyPr/>
          <a:lstStyle/>
          <a:p>
            <a:fld id="{09C5E649-6C86-0741-AAEA-BD304413FA8D}" type="slidenum">
              <a:rPr lang="en-US" smtClean="0"/>
              <a:t>‹#›</a:t>
            </a:fld>
            <a:endParaRPr lang="en-US"/>
          </a:p>
        </p:txBody>
      </p:sp>
    </p:spTree>
    <p:extLst>
      <p:ext uri="{BB962C8B-B14F-4D97-AF65-F5344CB8AC3E}">
        <p14:creationId xmlns:p14="http://schemas.microsoft.com/office/powerpoint/2010/main" val="16453829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1999D-EF25-EEBB-FE9E-F82C7EA2CFF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F78B46C-7718-FF4B-F279-36DED012D8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18DCB3-F498-3971-C4B0-D935394B95F9}"/>
              </a:ext>
            </a:extLst>
          </p:cNvPr>
          <p:cNvSpPr>
            <a:spLocks noGrp="1"/>
          </p:cNvSpPr>
          <p:nvPr>
            <p:ph type="dt" sz="half" idx="10"/>
          </p:nvPr>
        </p:nvSpPr>
        <p:spPr/>
        <p:txBody>
          <a:bodyPr/>
          <a:lstStyle/>
          <a:p>
            <a:fld id="{E4AF4BDF-479B-9441-9F81-0C8662A323F9}" type="datetimeFigureOut">
              <a:rPr lang="en-US" smtClean="0"/>
              <a:t>5/3/2022</a:t>
            </a:fld>
            <a:endParaRPr lang="en-US"/>
          </a:p>
        </p:txBody>
      </p:sp>
      <p:sp>
        <p:nvSpPr>
          <p:cNvPr id="5" name="Footer Placeholder 4">
            <a:extLst>
              <a:ext uri="{FF2B5EF4-FFF2-40B4-BE49-F238E27FC236}">
                <a16:creationId xmlns:a16="http://schemas.microsoft.com/office/drawing/2014/main" id="{2D7C995B-6B38-8EED-A663-422BA43A44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BF93B1-7C4B-FE5E-6ABA-C1CDCF4E8892}"/>
              </a:ext>
            </a:extLst>
          </p:cNvPr>
          <p:cNvSpPr>
            <a:spLocks noGrp="1"/>
          </p:cNvSpPr>
          <p:nvPr>
            <p:ph type="sldNum" sz="quarter" idx="12"/>
          </p:nvPr>
        </p:nvSpPr>
        <p:spPr/>
        <p:txBody>
          <a:bodyPr/>
          <a:lstStyle/>
          <a:p>
            <a:fld id="{09C5E649-6C86-0741-AAEA-BD304413FA8D}" type="slidenum">
              <a:rPr lang="en-US" smtClean="0"/>
              <a:t>‹#›</a:t>
            </a:fld>
            <a:endParaRPr lang="en-US"/>
          </a:p>
        </p:txBody>
      </p:sp>
    </p:spTree>
    <p:extLst>
      <p:ext uri="{BB962C8B-B14F-4D97-AF65-F5344CB8AC3E}">
        <p14:creationId xmlns:p14="http://schemas.microsoft.com/office/powerpoint/2010/main" val="29553303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F168771-25D3-4A0C-FDFB-94594D245E6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F8DD6D1-BCDB-C06E-1F0B-113C8067267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96AA83-80E6-4636-1325-6A7D90030469}"/>
              </a:ext>
            </a:extLst>
          </p:cNvPr>
          <p:cNvSpPr>
            <a:spLocks noGrp="1"/>
          </p:cNvSpPr>
          <p:nvPr>
            <p:ph type="dt" sz="half" idx="10"/>
          </p:nvPr>
        </p:nvSpPr>
        <p:spPr/>
        <p:txBody>
          <a:bodyPr/>
          <a:lstStyle/>
          <a:p>
            <a:fld id="{E4AF4BDF-479B-9441-9F81-0C8662A323F9}" type="datetimeFigureOut">
              <a:rPr lang="en-US" smtClean="0"/>
              <a:t>5/3/2022</a:t>
            </a:fld>
            <a:endParaRPr lang="en-US"/>
          </a:p>
        </p:txBody>
      </p:sp>
      <p:sp>
        <p:nvSpPr>
          <p:cNvPr id="5" name="Footer Placeholder 4">
            <a:extLst>
              <a:ext uri="{FF2B5EF4-FFF2-40B4-BE49-F238E27FC236}">
                <a16:creationId xmlns:a16="http://schemas.microsoft.com/office/drawing/2014/main" id="{E16D0614-D374-1EC8-6616-289DDC9A37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CAC90BE-252C-65EC-0A79-C163CB9F3B2D}"/>
              </a:ext>
            </a:extLst>
          </p:cNvPr>
          <p:cNvSpPr>
            <a:spLocks noGrp="1"/>
          </p:cNvSpPr>
          <p:nvPr>
            <p:ph type="sldNum" sz="quarter" idx="12"/>
          </p:nvPr>
        </p:nvSpPr>
        <p:spPr/>
        <p:txBody>
          <a:bodyPr/>
          <a:lstStyle/>
          <a:p>
            <a:fld id="{09C5E649-6C86-0741-AAEA-BD304413FA8D}" type="slidenum">
              <a:rPr lang="en-US" smtClean="0"/>
              <a:t>‹#›</a:t>
            </a:fld>
            <a:endParaRPr lang="en-US"/>
          </a:p>
        </p:txBody>
      </p:sp>
    </p:spTree>
    <p:extLst>
      <p:ext uri="{BB962C8B-B14F-4D97-AF65-F5344CB8AC3E}">
        <p14:creationId xmlns:p14="http://schemas.microsoft.com/office/powerpoint/2010/main" val="15965581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0E2A4-0759-31F4-A0F2-E88160A121F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F6902F-192B-BEB0-6FFF-34DB2D2DC6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8BB349-157A-BAF5-A0D7-67FC011EA6FF}"/>
              </a:ext>
            </a:extLst>
          </p:cNvPr>
          <p:cNvSpPr>
            <a:spLocks noGrp="1"/>
          </p:cNvSpPr>
          <p:nvPr>
            <p:ph type="dt" sz="half" idx="10"/>
          </p:nvPr>
        </p:nvSpPr>
        <p:spPr/>
        <p:txBody>
          <a:bodyPr/>
          <a:lstStyle/>
          <a:p>
            <a:fld id="{E4AF4BDF-479B-9441-9F81-0C8662A323F9}" type="datetimeFigureOut">
              <a:rPr lang="en-US" smtClean="0"/>
              <a:t>5/3/2022</a:t>
            </a:fld>
            <a:endParaRPr lang="en-US"/>
          </a:p>
        </p:txBody>
      </p:sp>
      <p:sp>
        <p:nvSpPr>
          <p:cNvPr id="5" name="Footer Placeholder 4">
            <a:extLst>
              <a:ext uri="{FF2B5EF4-FFF2-40B4-BE49-F238E27FC236}">
                <a16:creationId xmlns:a16="http://schemas.microsoft.com/office/drawing/2014/main" id="{B2EB7DE7-7B33-210C-C8BD-554E877AC6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7B3B229-D870-4925-EA37-CB30281412B6}"/>
              </a:ext>
            </a:extLst>
          </p:cNvPr>
          <p:cNvSpPr>
            <a:spLocks noGrp="1"/>
          </p:cNvSpPr>
          <p:nvPr>
            <p:ph type="sldNum" sz="quarter" idx="12"/>
          </p:nvPr>
        </p:nvSpPr>
        <p:spPr/>
        <p:txBody>
          <a:bodyPr/>
          <a:lstStyle/>
          <a:p>
            <a:fld id="{09C5E649-6C86-0741-AAEA-BD304413FA8D}" type="slidenum">
              <a:rPr lang="en-US" smtClean="0"/>
              <a:t>‹#›</a:t>
            </a:fld>
            <a:endParaRPr lang="en-US"/>
          </a:p>
        </p:txBody>
      </p:sp>
    </p:spTree>
    <p:extLst>
      <p:ext uri="{BB962C8B-B14F-4D97-AF65-F5344CB8AC3E}">
        <p14:creationId xmlns:p14="http://schemas.microsoft.com/office/powerpoint/2010/main" val="22744049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F8D853-DDE1-22A5-F5B3-7A319D09771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796B3DF-61C3-94CF-C619-5D8E0E27F77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80E2575-D22D-7B8F-23B3-EEE98CDC9E7A}"/>
              </a:ext>
            </a:extLst>
          </p:cNvPr>
          <p:cNvSpPr>
            <a:spLocks noGrp="1"/>
          </p:cNvSpPr>
          <p:nvPr>
            <p:ph type="dt" sz="half" idx="10"/>
          </p:nvPr>
        </p:nvSpPr>
        <p:spPr/>
        <p:txBody>
          <a:bodyPr/>
          <a:lstStyle/>
          <a:p>
            <a:fld id="{E4AF4BDF-479B-9441-9F81-0C8662A323F9}" type="datetimeFigureOut">
              <a:rPr lang="en-US" smtClean="0"/>
              <a:t>5/3/2022</a:t>
            </a:fld>
            <a:endParaRPr lang="en-US"/>
          </a:p>
        </p:txBody>
      </p:sp>
      <p:sp>
        <p:nvSpPr>
          <p:cNvPr id="5" name="Footer Placeholder 4">
            <a:extLst>
              <a:ext uri="{FF2B5EF4-FFF2-40B4-BE49-F238E27FC236}">
                <a16:creationId xmlns:a16="http://schemas.microsoft.com/office/drawing/2014/main" id="{B8D838A3-E393-556D-6BEF-A962784EFF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6EFF6A-FCEE-4391-B5CF-494A91102215}"/>
              </a:ext>
            </a:extLst>
          </p:cNvPr>
          <p:cNvSpPr>
            <a:spLocks noGrp="1"/>
          </p:cNvSpPr>
          <p:nvPr>
            <p:ph type="sldNum" sz="quarter" idx="12"/>
          </p:nvPr>
        </p:nvSpPr>
        <p:spPr/>
        <p:txBody>
          <a:bodyPr/>
          <a:lstStyle/>
          <a:p>
            <a:fld id="{09C5E649-6C86-0741-AAEA-BD304413FA8D}" type="slidenum">
              <a:rPr lang="en-US" smtClean="0"/>
              <a:t>‹#›</a:t>
            </a:fld>
            <a:endParaRPr lang="en-US"/>
          </a:p>
        </p:txBody>
      </p:sp>
    </p:spTree>
    <p:extLst>
      <p:ext uri="{BB962C8B-B14F-4D97-AF65-F5344CB8AC3E}">
        <p14:creationId xmlns:p14="http://schemas.microsoft.com/office/powerpoint/2010/main" val="23345430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BA106-815C-1BFF-1FBE-3FCA42BA7FF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78820D-7701-17E4-C544-6441BE56A89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ADF7FE7-9039-A1D8-1F61-F0257F302C0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93832C5-E9C1-083E-CC24-BE975E1C88BC}"/>
              </a:ext>
            </a:extLst>
          </p:cNvPr>
          <p:cNvSpPr>
            <a:spLocks noGrp="1"/>
          </p:cNvSpPr>
          <p:nvPr>
            <p:ph type="dt" sz="half" idx="10"/>
          </p:nvPr>
        </p:nvSpPr>
        <p:spPr/>
        <p:txBody>
          <a:bodyPr/>
          <a:lstStyle/>
          <a:p>
            <a:fld id="{E4AF4BDF-479B-9441-9F81-0C8662A323F9}" type="datetimeFigureOut">
              <a:rPr lang="en-US" smtClean="0"/>
              <a:t>5/3/2022</a:t>
            </a:fld>
            <a:endParaRPr lang="en-US"/>
          </a:p>
        </p:txBody>
      </p:sp>
      <p:sp>
        <p:nvSpPr>
          <p:cNvPr id="6" name="Footer Placeholder 5">
            <a:extLst>
              <a:ext uri="{FF2B5EF4-FFF2-40B4-BE49-F238E27FC236}">
                <a16:creationId xmlns:a16="http://schemas.microsoft.com/office/drawing/2014/main" id="{BEB5C750-BE97-1537-CB5C-F949FE897C1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CA75D30-B44D-78E8-5029-959B029782DD}"/>
              </a:ext>
            </a:extLst>
          </p:cNvPr>
          <p:cNvSpPr>
            <a:spLocks noGrp="1"/>
          </p:cNvSpPr>
          <p:nvPr>
            <p:ph type="sldNum" sz="quarter" idx="12"/>
          </p:nvPr>
        </p:nvSpPr>
        <p:spPr/>
        <p:txBody>
          <a:bodyPr/>
          <a:lstStyle/>
          <a:p>
            <a:fld id="{09C5E649-6C86-0741-AAEA-BD304413FA8D}" type="slidenum">
              <a:rPr lang="en-US" smtClean="0"/>
              <a:t>‹#›</a:t>
            </a:fld>
            <a:endParaRPr lang="en-US"/>
          </a:p>
        </p:txBody>
      </p:sp>
    </p:spTree>
    <p:extLst>
      <p:ext uri="{BB962C8B-B14F-4D97-AF65-F5344CB8AC3E}">
        <p14:creationId xmlns:p14="http://schemas.microsoft.com/office/powerpoint/2010/main" val="17354101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B05BE-8AA1-6408-2DDA-D9309B1F799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9F06650-3EF4-A04C-7DA5-D866F621FD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E7387D9-2290-3346-FFAA-47199DE78AA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CE4064C-1ADD-3608-8DCC-BB184AF1995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B9208CD-E487-FEE9-25EB-1DD983FCE54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5539146-8DDF-2E01-15B7-BA480EA59349}"/>
              </a:ext>
            </a:extLst>
          </p:cNvPr>
          <p:cNvSpPr>
            <a:spLocks noGrp="1"/>
          </p:cNvSpPr>
          <p:nvPr>
            <p:ph type="dt" sz="half" idx="10"/>
          </p:nvPr>
        </p:nvSpPr>
        <p:spPr/>
        <p:txBody>
          <a:bodyPr/>
          <a:lstStyle/>
          <a:p>
            <a:fld id="{E4AF4BDF-479B-9441-9F81-0C8662A323F9}" type="datetimeFigureOut">
              <a:rPr lang="en-US" smtClean="0"/>
              <a:t>5/3/2022</a:t>
            </a:fld>
            <a:endParaRPr lang="en-US"/>
          </a:p>
        </p:txBody>
      </p:sp>
      <p:sp>
        <p:nvSpPr>
          <p:cNvPr id="8" name="Footer Placeholder 7">
            <a:extLst>
              <a:ext uri="{FF2B5EF4-FFF2-40B4-BE49-F238E27FC236}">
                <a16:creationId xmlns:a16="http://schemas.microsoft.com/office/drawing/2014/main" id="{D51914E2-DBEA-4B12-B95D-143D8FE57F1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8DC60E6-5028-4E95-E3AB-32D4AD47A776}"/>
              </a:ext>
            </a:extLst>
          </p:cNvPr>
          <p:cNvSpPr>
            <a:spLocks noGrp="1"/>
          </p:cNvSpPr>
          <p:nvPr>
            <p:ph type="sldNum" sz="quarter" idx="12"/>
          </p:nvPr>
        </p:nvSpPr>
        <p:spPr/>
        <p:txBody>
          <a:bodyPr/>
          <a:lstStyle/>
          <a:p>
            <a:fld id="{09C5E649-6C86-0741-AAEA-BD304413FA8D}" type="slidenum">
              <a:rPr lang="en-US" smtClean="0"/>
              <a:t>‹#›</a:t>
            </a:fld>
            <a:endParaRPr lang="en-US"/>
          </a:p>
        </p:txBody>
      </p:sp>
    </p:spTree>
    <p:extLst>
      <p:ext uri="{BB962C8B-B14F-4D97-AF65-F5344CB8AC3E}">
        <p14:creationId xmlns:p14="http://schemas.microsoft.com/office/powerpoint/2010/main" val="38501222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ECD6F-34A7-7127-D672-A7938F47C45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5DBD44F-FF8E-1B23-78CA-1592A11FB318}"/>
              </a:ext>
            </a:extLst>
          </p:cNvPr>
          <p:cNvSpPr>
            <a:spLocks noGrp="1"/>
          </p:cNvSpPr>
          <p:nvPr>
            <p:ph type="dt" sz="half" idx="10"/>
          </p:nvPr>
        </p:nvSpPr>
        <p:spPr/>
        <p:txBody>
          <a:bodyPr/>
          <a:lstStyle/>
          <a:p>
            <a:fld id="{E4AF4BDF-479B-9441-9F81-0C8662A323F9}" type="datetimeFigureOut">
              <a:rPr lang="en-US" smtClean="0"/>
              <a:t>5/3/2022</a:t>
            </a:fld>
            <a:endParaRPr lang="en-US"/>
          </a:p>
        </p:txBody>
      </p:sp>
      <p:sp>
        <p:nvSpPr>
          <p:cNvPr id="4" name="Footer Placeholder 3">
            <a:extLst>
              <a:ext uri="{FF2B5EF4-FFF2-40B4-BE49-F238E27FC236}">
                <a16:creationId xmlns:a16="http://schemas.microsoft.com/office/drawing/2014/main" id="{D5FA6F76-60A0-4659-460F-29D291619F9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EB5EECE-0A3A-F883-6CED-EFF982588409}"/>
              </a:ext>
            </a:extLst>
          </p:cNvPr>
          <p:cNvSpPr>
            <a:spLocks noGrp="1"/>
          </p:cNvSpPr>
          <p:nvPr>
            <p:ph type="sldNum" sz="quarter" idx="12"/>
          </p:nvPr>
        </p:nvSpPr>
        <p:spPr/>
        <p:txBody>
          <a:bodyPr/>
          <a:lstStyle/>
          <a:p>
            <a:fld id="{09C5E649-6C86-0741-AAEA-BD304413FA8D}" type="slidenum">
              <a:rPr lang="en-US" smtClean="0"/>
              <a:t>‹#›</a:t>
            </a:fld>
            <a:endParaRPr lang="en-US"/>
          </a:p>
        </p:txBody>
      </p:sp>
    </p:spTree>
    <p:extLst>
      <p:ext uri="{BB962C8B-B14F-4D97-AF65-F5344CB8AC3E}">
        <p14:creationId xmlns:p14="http://schemas.microsoft.com/office/powerpoint/2010/main" val="36013525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746DA3F-8F7B-DE67-49EA-DF7EB6E96EFA}"/>
              </a:ext>
            </a:extLst>
          </p:cNvPr>
          <p:cNvSpPr>
            <a:spLocks noGrp="1"/>
          </p:cNvSpPr>
          <p:nvPr>
            <p:ph type="dt" sz="half" idx="10"/>
          </p:nvPr>
        </p:nvSpPr>
        <p:spPr/>
        <p:txBody>
          <a:bodyPr/>
          <a:lstStyle/>
          <a:p>
            <a:fld id="{E4AF4BDF-479B-9441-9F81-0C8662A323F9}" type="datetimeFigureOut">
              <a:rPr lang="en-US" smtClean="0"/>
              <a:t>5/3/2022</a:t>
            </a:fld>
            <a:endParaRPr lang="en-US"/>
          </a:p>
        </p:txBody>
      </p:sp>
      <p:sp>
        <p:nvSpPr>
          <p:cNvPr id="3" name="Footer Placeholder 2">
            <a:extLst>
              <a:ext uri="{FF2B5EF4-FFF2-40B4-BE49-F238E27FC236}">
                <a16:creationId xmlns:a16="http://schemas.microsoft.com/office/drawing/2014/main" id="{D3460B78-52CF-F1F4-DBD6-A400C13D903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7F45CBD-1D2F-1472-7BC8-5CC3A0CC1492}"/>
              </a:ext>
            </a:extLst>
          </p:cNvPr>
          <p:cNvSpPr>
            <a:spLocks noGrp="1"/>
          </p:cNvSpPr>
          <p:nvPr>
            <p:ph type="sldNum" sz="quarter" idx="12"/>
          </p:nvPr>
        </p:nvSpPr>
        <p:spPr/>
        <p:txBody>
          <a:bodyPr/>
          <a:lstStyle/>
          <a:p>
            <a:fld id="{09C5E649-6C86-0741-AAEA-BD304413FA8D}" type="slidenum">
              <a:rPr lang="en-US" smtClean="0"/>
              <a:t>‹#›</a:t>
            </a:fld>
            <a:endParaRPr lang="en-US"/>
          </a:p>
        </p:txBody>
      </p:sp>
    </p:spTree>
    <p:extLst>
      <p:ext uri="{BB962C8B-B14F-4D97-AF65-F5344CB8AC3E}">
        <p14:creationId xmlns:p14="http://schemas.microsoft.com/office/powerpoint/2010/main" val="31884631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889372-2A1C-A271-FDEC-A1E0B76D234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648E1E1-E13B-0512-C513-6C5B16243C8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635D4CC-D3F3-7A0F-E1FA-73116F2A1E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36173AE-ECC8-AFEA-3BC9-4647C43C05FE}"/>
              </a:ext>
            </a:extLst>
          </p:cNvPr>
          <p:cNvSpPr>
            <a:spLocks noGrp="1"/>
          </p:cNvSpPr>
          <p:nvPr>
            <p:ph type="dt" sz="half" idx="10"/>
          </p:nvPr>
        </p:nvSpPr>
        <p:spPr/>
        <p:txBody>
          <a:bodyPr/>
          <a:lstStyle/>
          <a:p>
            <a:fld id="{E4AF4BDF-479B-9441-9F81-0C8662A323F9}" type="datetimeFigureOut">
              <a:rPr lang="en-US" smtClean="0"/>
              <a:t>5/3/2022</a:t>
            </a:fld>
            <a:endParaRPr lang="en-US"/>
          </a:p>
        </p:txBody>
      </p:sp>
      <p:sp>
        <p:nvSpPr>
          <p:cNvPr id="6" name="Footer Placeholder 5">
            <a:extLst>
              <a:ext uri="{FF2B5EF4-FFF2-40B4-BE49-F238E27FC236}">
                <a16:creationId xmlns:a16="http://schemas.microsoft.com/office/drawing/2014/main" id="{A4D25D43-9D1A-DEF6-4803-7204169DFE7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23D90B8-7C8B-8971-4152-1D5997CD8E83}"/>
              </a:ext>
            </a:extLst>
          </p:cNvPr>
          <p:cNvSpPr>
            <a:spLocks noGrp="1"/>
          </p:cNvSpPr>
          <p:nvPr>
            <p:ph type="sldNum" sz="quarter" idx="12"/>
          </p:nvPr>
        </p:nvSpPr>
        <p:spPr/>
        <p:txBody>
          <a:bodyPr/>
          <a:lstStyle/>
          <a:p>
            <a:fld id="{09C5E649-6C86-0741-AAEA-BD304413FA8D}" type="slidenum">
              <a:rPr lang="en-US" smtClean="0"/>
              <a:t>‹#›</a:t>
            </a:fld>
            <a:endParaRPr lang="en-US"/>
          </a:p>
        </p:txBody>
      </p:sp>
    </p:spTree>
    <p:extLst>
      <p:ext uri="{BB962C8B-B14F-4D97-AF65-F5344CB8AC3E}">
        <p14:creationId xmlns:p14="http://schemas.microsoft.com/office/powerpoint/2010/main" val="3809292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ADB0F-401E-8A7F-4B62-76DE4287CD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954B4BE-EFAE-7134-7658-7F3E8414937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3E7A993-957C-5703-4428-4A8EB8D6379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F2627F9-B82C-F12F-6D78-A77DF19D9DFC}"/>
              </a:ext>
            </a:extLst>
          </p:cNvPr>
          <p:cNvSpPr>
            <a:spLocks noGrp="1"/>
          </p:cNvSpPr>
          <p:nvPr>
            <p:ph type="dt" sz="half" idx="10"/>
          </p:nvPr>
        </p:nvSpPr>
        <p:spPr/>
        <p:txBody>
          <a:bodyPr/>
          <a:lstStyle/>
          <a:p>
            <a:fld id="{E4AF4BDF-479B-9441-9F81-0C8662A323F9}" type="datetimeFigureOut">
              <a:rPr lang="en-US" smtClean="0"/>
              <a:t>5/3/2022</a:t>
            </a:fld>
            <a:endParaRPr lang="en-US"/>
          </a:p>
        </p:txBody>
      </p:sp>
      <p:sp>
        <p:nvSpPr>
          <p:cNvPr id="6" name="Footer Placeholder 5">
            <a:extLst>
              <a:ext uri="{FF2B5EF4-FFF2-40B4-BE49-F238E27FC236}">
                <a16:creationId xmlns:a16="http://schemas.microsoft.com/office/drawing/2014/main" id="{3D7361DF-9450-54AE-37DD-F3C90BAF691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E49DC10-672B-E3FD-9D0E-43B8F5C084D3}"/>
              </a:ext>
            </a:extLst>
          </p:cNvPr>
          <p:cNvSpPr>
            <a:spLocks noGrp="1"/>
          </p:cNvSpPr>
          <p:nvPr>
            <p:ph type="sldNum" sz="quarter" idx="12"/>
          </p:nvPr>
        </p:nvSpPr>
        <p:spPr/>
        <p:txBody>
          <a:bodyPr/>
          <a:lstStyle/>
          <a:p>
            <a:fld id="{09C5E649-6C86-0741-AAEA-BD304413FA8D}" type="slidenum">
              <a:rPr lang="en-US" smtClean="0"/>
              <a:t>‹#›</a:t>
            </a:fld>
            <a:endParaRPr lang="en-US"/>
          </a:p>
        </p:txBody>
      </p:sp>
    </p:spTree>
    <p:extLst>
      <p:ext uri="{BB962C8B-B14F-4D97-AF65-F5344CB8AC3E}">
        <p14:creationId xmlns:p14="http://schemas.microsoft.com/office/powerpoint/2010/main" val="23138625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DB9BD8F-1A7A-15DF-F145-3B1072A7940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188494E-37BA-51CC-986B-A51EDFE64C4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67038D-CB8E-4AE3-A6D7-7059764508A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AF4BDF-479B-9441-9F81-0C8662A323F9}" type="datetimeFigureOut">
              <a:rPr lang="en-US" smtClean="0"/>
              <a:t>5/3/2022</a:t>
            </a:fld>
            <a:endParaRPr lang="en-US"/>
          </a:p>
        </p:txBody>
      </p:sp>
      <p:sp>
        <p:nvSpPr>
          <p:cNvPr id="5" name="Footer Placeholder 4">
            <a:extLst>
              <a:ext uri="{FF2B5EF4-FFF2-40B4-BE49-F238E27FC236}">
                <a16:creationId xmlns:a16="http://schemas.microsoft.com/office/drawing/2014/main" id="{49BF8733-18DC-6AF1-E197-3BFC76A0BC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189620F-12A5-DFD4-E709-19BED22756F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C5E649-6C86-0741-AAEA-BD304413FA8D}" type="slidenum">
              <a:rPr lang="en-US" smtClean="0"/>
              <a:t>‹#›</a:t>
            </a:fld>
            <a:endParaRPr lang="en-US"/>
          </a:p>
        </p:txBody>
      </p:sp>
    </p:spTree>
    <p:extLst>
      <p:ext uri="{BB962C8B-B14F-4D97-AF65-F5344CB8AC3E}">
        <p14:creationId xmlns:p14="http://schemas.microsoft.com/office/powerpoint/2010/main" val="268896159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www.kaggle.com/datasets/jpacse/datasets-for-churn-telecom" TargetMode="External"/><Relationship Id="rId3" Type="http://schemas.openxmlformats.org/officeDocument/2006/relationships/slideLayout" Target="../slideLayouts/slideLayout2.xml"/><Relationship Id="rId7" Type="http://schemas.openxmlformats.org/officeDocument/2006/relationships/image" Target="../media/image14.jpe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8.jpe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oleObject" Target="../embeddings/oleObject1.bin"/><Relationship Id="rId18" Type="http://schemas.openxmlformats.org/officeDocument/2006/relationships/image" Target="../media/image6.png"/><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notesSlide" Target="../notesSlides/notesSlide1.xml"/><Relationship Id="rId17" Type="http://schemas.openxmlformats.org/officeDocument/2006/relationships/image" Target="../media/image5.png"/><Relationship Id="rId2" Type="http://schemas.openxmlformats.org/officeDocument/2006/relationships/tags" Target="../tags/tag1.xml"/><Relationship Id="rId16" Type="http://schemas.openxmlformats.org/officeDocument/2006/relationships/image" Target="../media/image4.png"/><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slideLayout" Target="../slideLayouts/slideLayout2.xml"/><Relationship Id="rId5" Type="http://schemas.openxmlformats.org/officeDocument/2006/relationships/tags" Target="../tags/tag4.xml"/><Relationship Id="rId15" Type="http://schemas.openxmlformats.org/officeDocument/2006/relationships/image" Target="../media/image3.png"/><Relationship Id="rId10" Type="http://schemas.openxmlformats.org/officeDocument/2006/relationships/tags" Target="../tags/tag9.xml"/><Relationship Id="rId19" Type="http://schemas.openxmlformats.org/officeDocument/2006/relationships/chart" Target="../charts/chart1.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image" Target="../media/image2.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2.xml.rels><?xml version="1.0" encoding="UTF-8" standalone="yes"?>
<Relationships xmlns="http://schemas.openxmlformats.org/package/2006/relationships"><Relationship Id="rId3" Type="http://schemas.openxmlformats.org/officeDocument/2006/relationships/hyperlink" Target="https://investor.t-mobile.com/financial-performance/annual-reports-and-proxy-statements/default.aspx" TargetMode="External"/><Relationship Id="rId7" Type="http://schemas.openxmlformats.org/officeDocument/2006/relationships/hyperlink" Target="https://www.kaggle.com/datasets/jpacse/datasets-for-churn-telecom" TargetMode="External"/><Relationship Id="rId2" Type="http://schemas.openxmlformats.org/officeDocument/2006/relationships/hyperlink" Target="https://utdallas.box.com/s/9rxmhvo2i0rz59h20kc22rfgqvl1yimj" TargetMode="External"/><Relationship Id="rId1" Type="http://schemas.openxmlformats.org/officeDocument/2006/relationships/slideLayout" Target="../slideLayouts/slideLayout2.xml"/><Relationship Id="rId6" Type="http://schemas.openxmlformats.org/officeDocument/2006/relationships/hyperlink" Target="https://www.swotandpestle.com/t-mobile/" TargetMode="External"/><Relationship Id="rId5" Type="http://schemas.openxmlformats.org/officeDocument/2006/relationships/hyperlink" Target="http://fernfortuniversity.com/term-papers/swot/nyse/3976-t-mobile-us--inc-.php" TargetMode="External"/><Relationship Id="rId4" Type="http://schemas.openxmlformats.org/officeDocument/2006/relationships/hyperlink" Target="https://www.sec.gov/ix?doc=/Archives/edgar/data/1283699/000128369922000018/tmus-20211231.htm"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9.png"/><Relationship Id="rId5" Type="http://schemas.microsoft.com/office/2007/relationships/hdphoto" Target="../media/hdphoto2.wdp"/><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clock, outdoor, night&#10;&#10;Description automatically generated">
            <a:extLst>
              <a:ext uri="{FF2B5EF4-FFF2-40B4-BE49-F238E27FC236}">
                <a16:creationId xmlns:a16="http://schemas.microsoft.com/office/drawing/2014/main" id="{4948819B-D533-77FF-78CE-BBB02D44EFCB}"/>
              </a:ext>
            </a:extLst>
          </p:cNvPr>
          <p:cNvPicPr>
            <a:picLocks noChangeAspect="1"/>
          </p:cNvPicPr>
          <p:nvPr/>
        </p:nvPicPr>
        <p:blipFill>
          <a:blip r:embed="rId2"/>
          <a:stretch>
            <a:fillRect/>
          </a:stretch>
        </p:blipFill>
        <p:spPr>
          <a:xfrm>
            <a:off x="17123" y="8563"/>
            <a:ext cx="12195235" cy="6858000"/>
          </a:xfrm>
          <a:prstGeom prst="rect">
            <a:avLst/>
          </a:prstGeom>
        </p:spPr>
      </p:pic>
      <p:sp>
        <p:nvSpPr>
          <p:cNvPr id="7" name="TextBox 6">
            <a:extLst>
              <a:ext uri="{FF2B5EF4-FFF2-40B4-BE49-F238E27FC236}">
                <a16:creationId xmlns:a16="http://schemas.microsoft.com/office/drawing/2014/main" id="{CDC20B6F-A7AF-0F4F-B60A-1B36FF2141EE}"/>
              </a:ext>
            </a:extLst>
          </p:cNvPr>
          <p:cNvSpPr txBox="1"/>
          <p:nvPr/>
        </p:nvSpPr>
        <p:spPr>
          <a:xfrm>
            <a:off x="6649278" y="1043609"/>
            <a:ext cx="5542722" cy="4093428"/>
          </a:xfrm>
          <a:prstGeom prst="rect">
            <a:avLst/>
          </a:prstGeom>
          <a:noFill/>
        </p:spPr>
        <p:txBody>
          <a:bodyPr wrap="square">
            <a:spAutoFit/>
          </a:bodyPr>
          <a:lstStyle/>
          <a:p>
            <a:pPr algn="l"/>
            <a:r>
              <a:rPr lang="en-US" sz="3200" b="0" i="0" u="none" strike="noStrike">
                <a:solidFill>
                  <a:schemeClr val="bg1"/>
                </a:solidFill>
                <a:effectLst/>
              </a:rPr>
              <a:t>TELECOM CHURN PREDICTION</a:t>
            </a:r>
          </a:p>
          <a:p>
            <a:pPr algn="l"/>
            <a:r>
              <a:rPr lang="en-US" sz="3200">
                <a:solidFill>
                  <a:schemeClr val="bg1"/>
                </a:solidFill>
              </a:rPr>
              <a:t>		Group 6</a:t>
            </a:r>
            <a:endParaRPr lang="en-US" sz="3200" b="0" i="0" u="none" strike="noStrike">
              <a:solidFill>
                <a:schemeClr val="bg1"/>
              </a:solidFill>
              <a:effectLst/>
            </a:endParaRPr>
          </a:p>
          <a:p>
            <a:pPr algn="l"/>
            <a:endParaRPr lang="en-US" sz="2800" b="0" i="0" u="none" strike="noStrike">
              <a:solidFill>
                <a:schemeClr val="bg1"/>
              </a:solidFill>
              <a:effectLst/>
            </a:endParaRPr>
          </a:p>
          <a:p>
            <a:pPr algn="l"/>
            <a:r>
              <a:rPr lang="en-US" sz="2800" b="0" i="0" u="none" strike="noStrike">
                <a:solidFill>
                  <a:schemeClr val="bg1"/>
                </a:solidFill>
                <a:effectLst/>
              </a:rPr>
              <a:t>Presented by: </a:t>
            </a:r>
          </a:p>
          <a:p>
            <a:pPr algn="l"/>
            <a:r>
              <a:rPr lang="en-US" sz="2800" b="0" i="0" u="none" strike="noStrike">
                <a:solidFill>
                  <a:schemeClr val="bg1"/>
                </a:solidFill>
                <a:effectLst/>
              </a:rPr>
              <a:t>Aditi Agarwal </a:t>
            </a:r>
          </a:p>
          <a:p>
            <a:pPr algn="l"/>
            <a:r>
              <a:rPr lang="en-US" sz="2800" b="0" i="0" u="none" strike="noStrike">
                <a:solidFill>
                  <a:schemeClr val="bg1"/>
                </a:solidFill>
                <a:effectLst/>
              </a:rPr>
              <a:t>Mehak Pahwa </a:t>
            </a:r>
          </a:p>
          <a:p>
            <a:pPr algn="l"/>
            <a:r>
              <a:rPr lang="en-US" sz="2800" b="0" i="0" u="none" strike="noStrike">
                <a:solidFill>
                  <a:schemeClr val="bg1"/>
                </a:solidFill>
                <a:effectLst/>
              </a:rPr>
              <a:t>Prithvi Chauhan </a:t>
            </a:r>
          </a:p>
          <a:p>
            <a:pPr algn="l"/>
            <a:r>
              <a:rPr lang="en-US" sz="2800" b="0" i="0" u="none" strike="noStrike">
                <a:solidFill>
                  <a:schemeClr val="bg1"/>
                </a:solidFill>
                <a:effectLst/>
              </a:rPr>
              <a:t>Akshat Patil</a:t>
            </a:r>
          </a:p>
          <a:p>
            <a:pPr algn="l"/>
            <a:r>
              <a:rPr lang="en-US" sz="2800" b="0" i="0" u="none" strike="noStrike">
                <a:solidFill>
                  <a:schemeClr val="bg1"/>
                </a:solidFill>
                <a:effectLst/>
              </a:rPr>
              <a:t>Mayur Tikmani</a:t>
            </a:r>
          </a:p>
        </p:txBody>
      </p:sp>
    </p:spTree>
    <p:extLst>
      <p:ext uri="{BB962C8B-B14F-4D97-AF65-F5344CB8AC3E}">
        <p14:creationId xmlns:p14="http://schemas.microsoft.com/office/powerpoint/2010/main" val="30251776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676EFA3-F449-4AD4-9066-C6F968E8B4BA}"/>
              </a:ext>
            </a:extLst>
          </p:cNvPr>
          <p:cNvGraphicFramePr>
            <a:graphicFrameLocks noChangeAspect="1"/>
          </p:cNvGraphicFramePr>
          <p:nvPr>
            <p:custDataLst>
              <p:tags r:id="rId2"/>
            </p:custData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spid="_x0000_s25601" name="think-cell Slide" r:id="rId5" imgW="530" imgH="531" progId="TCLayout.ActiveDocument.1">
                  <p:embed/>
                </p:oleObj>
              </mc:Choice>
              <mc:Fallback>
                <p:oleObj name="think-cell Slide" r:id="rId5" imgW="530" imgH="531" progId="TCLayout.ActiveDocument.1">
                  <p:embed/>
                  <p:pic>
                    <p:nvPicPr>
                      <p:cNvPr id="6" name="Object 5" hidden="1">
                        <a:extLst>
                          <a:ext uri="{FF2B5EF4-FFF2-40B4-BE49-F238E27FC236}">
                            <a16:creationId xmlns:a16="http://schemas.microsoft.com/office/drawing/2014/main" id="{C676EFA3-F449-4AD4-9066-C6F968E8B4BA}"/>
                          </a:ext>
                        </a:extLst>
                      </p:cNvPr>
                      <p:cNvPicPr/>
                      <p:nvPr/>
                    </p:nvPicPr>
                    <p:blipFill>
                      <a:blip r:embed="rId6"/>
                      <a:stretch>
                        <a:fillRect/>
                      </a:stretch>
                    </p:blipFill>
                    <p:spPr>
                      <a:xfrm>
                        <a:off x="3176"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2627124-891F-48C7-ABC4-82DD71E0D44C}"/>
              </a:ext>
            </a:extLst>
          </p:cNvPr>
          <p:cNvSpPr>
            <a:spLocks noGrp="1"/>
          </p:cNvSpPr>
          <p:nvPr>
            <p:ph type="title"/>
          </p:nvPr>
        </p:nvSpPr>
        <p:spPr>
          <a:xfrm>
            <a:off x="641498" y="243398"/>
            <a:ext cx="10517188" cy="1066800"/>
          </a:xfrm>
        </p:spPr>
        <p:txBody>
          <a:bodyPr vert="horz">
            <a:normAutofit fontScale="90000"/>
          </a:bodyPr>
          <a:lstStyle/>
          <a:p>
            <a:pPr algn="ctr"/>
            <a:r>
              <a:rPr lang="en-US" b="1" i="1">
                <a:solidFill>
                  <a:schemeClr val="accent1"/>
                </a:solidFill>
              </a:rPr>
              <a:t>DATA ANALYSIS AND UNDERSTANDING</a:t>
            </a:r>
            <a:br>
              <a:rPr lang="en-US" i="1">
                <a:solidFill>
                  <a:schemeClr val="accent1"/>
                </a:solidFill>
              </a:rPr>
            </a:br>
            <a:r>
              <a:rPr lang="en-US" i="1">
                <a:solidFill>
                  <a:schemeClr val="accent1"/>
                </a:solidFill>
              </a:rPr>
              <a:t>Data Description</a:t>
            </a:r>
            <a:endParaRPr lang="en-US">
              <a:solidFill>
                <a:schemeClr val="accent1"/>
              </a:solidFill>
              <a:cs typeface="Calibri Light" panose="020F0302020204030204"/>
            </a:endParaRPr>
          </a:p>
        </p:txBody>
      </p:sp>
      <p:cxnSp>
        <p:nvCxnSpPr>
          <p:cNvPr id="9" name="Straight Arrow Connector 8">
            <a:extLst>
              <a:ext uri="{FF2B5EF4-FFF2-40B4-BE49-F238E27FC236}">
                <a16:creationId xmlns:a16="http://schemas.microsoft.com/office/drawing/2014/main" id="{2523D9C5-F43D-4A54-A150-25F5302D476C}"/>
              </a:ext>
            </a:extLst>
          </p:cNvPr>
          <p:cNvCxnSpPr/>
          <p:nvPr/>
        </p:nvCxnSpPr>
        <p:spPr>
          <a:xfrm>
            <a:off x="4394902" y="1955801"/>
            <a:ext cx="17469" cy="4060011"/>
          </a:xfrm>
          <a:prstGeom prst="straightConnector1">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AC1AFA27-63D8-48B3-B0D4-964AC6BBD2B5}"/>
              </a:ext>
            </a:extLst>
          </p:cNvPr>
          <p:cNvCxnSpPr>
            <a:cxnSpLocks/>
          </p:cNvCxnSpPr>
          <p:nvPr/>
        </p:nvCxnSpPr>
        <p:spPr>
          <a:xfrm>
            <a:off x="7995917" y="1921165"/>
            <a:ext cx="17469" cy="4060011"/>
          </a:xfrm>
          <a:prstGeom prst="straightConnector1">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99716DA-55E2-5192-6C75-BE9FA032D45D}"/>
              </a:ext>
            </a:extLst>
          </p:cNvPr>
          <p:cNvSpPr txBox="1"/>
          <p:nvPr/>
        </p:nvSpPr>
        <p:spPr>
          <a:xfrm>
            <a:off x="4742583" y="2410735"/>
            <a:ext cx="2818731" cy="369332"/>
          </a:xfrm>
          <a:prstGeom prst="rect">
            <a:avLst/>
          </a:prstGeom>
          <a:noFill/>
        </p:spPr>
        <p:txBody>
          <a:bodyPr wrap="square" rtlCol="0">
            <a:spAutoFit/>
          </a:bodyPr>
          <a:lstStyle/>
          <a:p>
            <a:pPr algn="ctr"/>
            <a:r>
              <a:rPr lang="en-US" b="1">
                <a:solidFill>
                  <a:schemeClr val="tx1">
                    <a:lumMod val="65000"/>
                    <a:lumOff val="35000"/>
                  </a:schemeClr>
                </a:solidFill>
              </a:rPr>
              <a:t>56 variables (Top 10)</a:t>
            </a:r>
          </a:p>
        </p:txBody>
      </p:sp>
      <p:sp>
        <p:nvSpPr>
          <p:cNvPr id="36" name="TextBox 35">
            <a:extLst>
              <a:ext uri="{FF2B5EF4-FFF2-40B4-BE49-F238E27FC236}">
                <a16:creationId xmlns:a16="http://schemas.microsoft.com/office/drawing/2014/main" id="{2B13BD94-9E72-F3DE-C0C0-70A310B15C65}"/>
              </a:ext>
            </a:extLst>
          </p:cNvPr>
          <p:cNvSpPr txBox="1"/>
          <p:nvPr/>
        </p:nvSpPr>
        <p:spPr>
          <a:xfrm>
            <a:off x="968016" y="3804251"/>
            <a:ext cx="3010860" cy="646331"/>
          </a:xfrm>
          <a:prstGeom prst="rect">
            <a:avLst/>
          </a:prstGeom>
          <a:noFill/>
        </p:spPr>
        <p:txBody>
          <a:bodyPr wrap="square" rtlCol="0">
            <a:spAutoFit/>
          </a:bodyPr>
          <a:lstStyle/>
          <a:p>
            <a:pPr algn="ctr"/>
            <a:r>
              <a:rPr lang="en-US" b="1"/>
              <a:t>Number of Records</a:t>
            </a:r>
          </a:p>
          <a:p>
            <a:pPr algn="ctr"/>
            <a:r>
              <a:rPr lang="en-US" b="1">
                <a:solidFill>
                  <a:schemeClr val="tx1">
                    <a:lumMod val="65000"/>
                    <a:lumOff val="35000"/>
                  </a:schemeClr>
                </a:solidFill>
              </a:rPr>
              <a:t>51,047 Records</a:t>
            </a:r>
          </a:p>
        </p:txBody>
      </p:sp>
      <p:sp>
        <p:nvSpPr>
          <p:cNvPr id="44" name="Content Placeholder 6">
            <a:extLst>
              <a:ext uri="{FF2B5EF4-FFF2-40B4-BE49-F238E27FC236}">
                <a16:creationId xmlns:a16="http://schemas.microsoft.com/office/drawing/2014/main" id="{1DD92F88-87D2-4D61-462E-50B77B1E684A}"/>
              </a:ext>
            </a:extLst>
          </p:cNvPr>
          <p:cNvSpPr txBox="1">
            <a:spLocks/>
          </p:cNvSpPr>
          <p:nvPr/>
        </p:nvSpPr>
        <p:spPr>
          <a:xfrm>
            <a:off x="10457699" y="4172945"/>
            <a:ext cx="492084" cy="1054836"/>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 indent="0">
              <a:buFont typeface="Arial" panose="020B0604020202020204" pitchFamily="34" charset="0"/>
              <a:buNone/>
            </a:pPr>
            <a:endParaRPr lang="en-US">
              <a:solidFill>
                <a:schemeClr val="tx1">
                  <a:lumMod val="65000"/>
                  <a:lumOff val="35000"/>
                </a:schemeClr>
              </a:solidFill>
              <a:ea typeface="+mn-lt"/>
              <a:cs typeface="+mn-lt"/>
            </a:endParaRPr>
          </a:p>
          <a:p>
            <a:pPr marL="45720" indent="0">
              <a:buFont typeface="Arial" panose="020B0604020202020204" pitchFamily="34" charset="0"/>
              <a:buNone/>
            </a:pPr>
            <a:endParaRPr lang="en-US">
              <a:solidFill>
                <a:schemeClr val="tx1">
                  <a:lumMod val="65000"/>
                  <a:lumOff val="35000"/>
                </a:schemeClr>
              </a:solidFill>
              <a:ea typeface="+mn-lt"/>
              <a:cs typeface="+mn-lt"/>
            </a:endParaRPr>
          </a:p>
          <a:p>
            <a:pPr>
              <a:buClr>
                <a:srgbClr val="595959"/>
              </a:buClr>
            </a:pPr>
            <a:endParaRPr lang="en-US"/>
          </a:p>
        </p:txBody>
      </p:sp>
      <p:sp>
        <p:nvSpPr>
          <p:cNvPr id="46" name="TextBox 45">
            <a:extLst>
              <a:ext uri="{FF2B5EF4-FFF2-40B4-BE49-F238E27FC236}">
                <a16:creationId xmlns:a16="http://schemas.microsoft.com/office/drawing/2014/main" id="{39544A61-93DD-9D68-934F-7029D4A7FDD7}"/>
              </a:ext>
            </a:extLst>
          </p:cNvPr>
          <p:cNvSpPr txBox="1"/>
          <p:nvPr/>
        </p:nvSpPr>
        <p:spPr>
          <a:xfrm>
            <a:off x="8339820" y="1735872"/>
            <a:ext cx="2743200" cy="369332"/>
          </a:xfrm>
          <a:prstGeom prst="rect">
            <a:avLst/>
          </a:prstGeom>
          <a:noFill/>
          <a:ln>
            <a:noFill/>
          </a:ln>
        </p:spPr>
        <p:txBody>
          <a:bodyPr rot="0" spcFirstLastPara="0" vertOverflow="overflow" horzOverflow="overflow" vert="horz" wrap="square" lIns="91440" tIns="45720" rIns="91440" bIns="45720" numCol="1" spcCol="0" rtlCol="0" fromWordArt="0" anchor="ctr" anchorCtr="1" forceAA="0" compatLnSpc="1">
            <a:prstTxWarp prst="textNoShape">
              <a:avLst/>
            </a:prstTxWarp>
            <a:spAutoFit/>
          </a:bodyPr>
          <a:lstStyle/>
          <a:p>
            <a:pPr algn="ctr"/>
            <a:r>
              <a:rPr lang="en-US" b="1">
                <a:solidFill>
                  <a:schemeClr val="tx1">
                    <a:lumMod val="65000"/>
                    <a:lumOff val="35000"/>
                  </a:schemeClr>
                </a:solidFill>
              </a:rPr>
              <a:t>Target Variable of Interest</a:t>
            </a:r>
            <a:endParaRPr lang="en-US" sz="900" b="1">
              <a:solidFill>
                <a:schemeClr val="tx1">
                  <a:lumMod val="65000"/>
                  <a:lumOff val="35000"/>
                </a:schemeClr>
              </a:solidFill>
            </a:endParaRPr>
          </a:p>
        </p:txBody>
      </p:sp>
      <p:sp>
        <p:nvSpPr>
          <p:cNvPr id="47" name="TextBox 46">
            <a:extLst>
              <a:ext uri="{FF2B5EF4-FFF2-40B4-BE49-F238E27FC236}">
                <a16:creationId xmlns:a16="http://schemas.microsoft.com/office/drawing/2014/main" id="{575BD970-E0E4-3BB9-F192-3860A2913F0A}"/>
              </a:ext>
            </a:extLst>
          </p:cNvPr>
          <p:cNvSpPr txBox="1"/>
          <p:nvPr/>
        </p:nvSpPr>
        <p:spPr>
          <a:xfrm>
            <a:off x="8414252" y="2105205"/>
            <a:ext cx="2557558" cy="646331"/>
          </a:xfrm>
          <a:prstGeom prst="rect">
            <a:avLst/>
          </a:prstGeom>
          <a:noFill/>
        </p:spPr>
        <p:txBody>
          <a:bodyPr wrap="square" rtlCol="0">
            <a:spAutoFit/>
          </a:bodyPr>
          <a:lstStyle/>
          <a:p>
            <a:pPr algn="ctr"/>
            <a:r>
              <a:rPr lang="en-US" b="1">
                <a:solidFill>
                  <a:schemeClr val="tx1">
                    <a:lumMod val="65000"/>
                    <a:lumOff val="35000"/>
                  </a:schemeClr>
                </a:solidFill>
              </a:rPr>
              <a:t>Churn Rate</a:t>
            </a:r>
          </a:p>
          <a:p>
            <a:r>
              <a:rPr lang="en-US" b="1">
                <a:solidFill>
                  <a:srgbClr val="92D050"/>
                </a:solidFill>
              </a:rPr>
              <a:t>71% No</a:t>
            </a:r>
            <a:r>
              <a:rPr lang="en-US" b="1">
                <a:solidFill>
                  <a:schemeClr val="tx1">
                    <a:lumMod val="65000"/>
                    <a:lumOff val="35000"/>
                  </a:schemeClr>
                </a:solidFill>
              </a:rPr>
              <a:t>                 </a:t>
            </a:r>
            <a:r>
              <a:rPr lang="en-US" b="1">
                <a:solidFill>
                  <a:srgbClr val="FF0000"/>
                </a:solidFill>
              </a:rPr>
              <a:t>29% Yes</a:t>
            </a:r>
          </a:p>
        </p:txBody>
      </p:sp>
      <p:pic>
        <p:nvPicPr>
          <p:cNvPr id="48" name="Picture 2">
            <a:extLst>
              <a:ext uri="{FF2B5EF4-FFF2-40B4-BE49-F238E27FC236}">
                <a16:creationId xmlns:a16="http://schemas.microsoft.com/office/drawing/2014/main" id="{35F1B7EB-2D42-6C39-3BE6-A3B134AA1F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62253" y="3157619"/>
            <a:ext cx="3042271" cy="2938866"/>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2D67B9EE-1AD1-3DA0-AAE0-EB61AB931D84}"/>
              </a:ext>
            </a:extLst>
          </p:cNvPr>
          <p:cNvSpPr txBox="1"/>
          <p:nvPr/>
        </p:nvSpPr>
        <p:spPr>
          <a:xfrm>
            <a:off x="4316684" y="1803434"/>
            <a:ext cx="3708185" cy="369332"/>
          </a:xfrm>
          <a:prstGeom prst="rect">
            <a:avLst/>
          </a:prstGeom>
          <a:noFill/>
          <a:ln>
            <a:noFill/>
          </a:ln>
        </p:spPr>
        <p:txBody>
          <a:bodyPr rot="0" spcFirstLastPara="0" vertOverflow="overflow" horzOverflow="overflow" vert="horz" wrap="square" lIns="91440" tIns="45720" rIns="91440" bIns="45720" numCol="1" spcCol="0" rtlCol="0" fromWordArt="0" anchor="t" anchorCtr="1" forceAA="0" compatLnSpc="1">
            <a:prstTxWarp prst="textNoShape">
              <a:avLst/>
            </a:prstTxWarp>
            <a:spAutoFit/>
          </a:bodyPr>
          <a:lstStyle/>
          <a:p>
            <a:pPr algn="ctr"/>
            <a:r>
              <a:rPr lang="en-US" b="1">
                <a:solidFill>
                  <a:schemeClr val="tx1">
                    <a:lumMod val="65000"/>
                    <a:lumOff val="35000"/>
                  </a:schemeClr>
                </a:solidFill>
              </a:rPr>
              <a:t>Independent Variables</a:t>
            </a:r>
            <a:endParaRPr lang="en-US">
              <a:solidFill>
                <a:schemeClr val="tx1">
                  <a:lumMod val="65000"/>
                  <a:lumOff val="35000"/>
                </a:schemeClr>
              </a:solidFill>
            </a:endParaRPr>
          </a:p>
        </p:txBody>
      </p:sp>
      <p:sp>
        <p:nvSpPr>
          <p:cNvPr id="50" name="TextBox 49">
            <a:extLst>
              <a:ext uri="{FF2B5EF4-FFF2-40B4-BE49-F238E27FC236}">
                <a16:creationId xmlns:a16="http://schemas.microsoft.com/office/drawing/2014/main" id="{4CC209F2-3E2D-BA92-F06D-CACF3FFD37FC}"/>
              </a:ext>
            </a:extLst>
          </p:cNvPr>
          <p:cNvSpPr txBox="1"/>
          <p:nvPr/>
        </p:nvSpPr>
        <p:spPr>
          <a:xfrm>
            <a:off x="918396" y="1936457"/>
            <a:ext cx="3010860" cy="1354217"/>
          </a:xfrm>
          <a:prstGeom prst="rect">
            <a:avLst/>
          </a:prstGeom>
          <a:noFill/>
        </p:spPr>
        <p:txBody>
          <a:bodyPr wrap="square" rtlCol="0">
            <a:spAutoFit/>
          </a:bodyPr>
          <a:lstStyle/>
          <a:p>
            <a:pPr algn="ctr"/>
            <a:r>
              <a:rPr lang="en-US" b="1">
                <a:solidFill>
                  <a:schemeClr val="tx1">
                    <a:lumMod val="65000"/>
                    <a:lumOff val="35000"/>
                  </a:schemeClr>
                </a:solidFill>
              </a:rPr>
              <a:t>Data Source</a:t>
            </a:r>
          </a:p>
          <a:p>
            <a:pPr algn="ctr"/>
            <a:endParaRPr lang="en-US" b="1">
              <a:solidFill>
                <a:schemeClr val="tx1">
                  <a:lumMod val="65000"/>
                  <a:lumOff val="35000"/>
                </a:schemeClr>
              </a:solidFill>
            </a:endParaRPr>
          </a:p>
          <a:p>
            <a:pPr algn="ctr"/>
            <a:r>
              <a:rPr lang="en-US" b="1">
                <a:solidFill>
                  <a:schemeClr val="tx1">
                    <a:lumMod val="65000"/>
                    <a:lumOff val="35000"/>
                  </a:schemeClr>
                </a:solidFill>
              </a:rPr>
              <a:t>Kaggle.com</a:t>
            </a:r>
          </a:p>
          <a:p>
            <a:pPr algn="ctr"/>
            <a:r>
              <a:rPr lang="en-US" sz="1400" b="1">
                <a:solidFill>
                  <a:schemeClr val="tx1">
                    <a:lumMod val="65000"/>
                    <a:lumOff val="35000"/>
                  </a:schemeClr>
                </a:solidFill>
                <a:hlinkClick r:id="rId8"/>
              </a:rPr>
              <a:t>https://www.kaggle.com/datasets/jpacse/datasets-for-churn-telecom</a:t>
            </a:r>
            <a:r>
              <a:rPr lang="en-US" sz="1400" b="1">
                <a:solidFill>
                  <a:schemeClr val="tx1">
                    <a:lumMod val="65000"/>
                    <a:lumOff val="35000"/>
                  </a:schemeClr>
                </a:solidFill>
              </a:rPr>
              <a:t> </a:t>
            </a:r>
          </a:p>
        </p:txBody>
      </p:sp>
      <p:sp>
        <p:nvSpPr>
          <p:cNvPr id="22" name="TextBox 21">
            <a:extLst>
              <a:ext uri="{FF2B5EF4-FFF2-40B4-BE49-F238E27FC236}">
                <a16:creationId xmlns:a16="http://schemas.microsoft.com/office/drawing/2014/main" id="{069C7171-DA6F-5FB5-1817-015F7C59CF12}"/>
              </a:ext>
            </a:extLst>
          </p:cNvPr>
          <p:cNvSpPr txBox="1"/>
          <p:nvPr/>
        </p:nvSpPr>
        <p:spPr>
          <a:xfrm>
            <a:off x="4846118" y="2849520"/>
            <a:ext cx="2950741" cy="3416320"/>
          </a:xfrm>
          <a:prstGeom prst="rect">
            <a:avLst/>
          </a:prstGeom>
          <a:noFill/>
        </p:spPr>
        <p:txBody>
          <a:bodyPr wrap="square" rtlCol="0">
            <a:spAutoFit/>
          </a:bodyPr>
          <a:lstStyle/>
          <a:p>
            <a:pPr marL="285750" indent="-285750">
              <a:buFont typeface="Arial" panose="020B0604020202020204" pitchFamily="34" charset="0"/>
              <a:buChar char="•"/>
            </a:pPr>
            <a:r>
              <a:rPr lang="en-US"/>
              <a:t>Current Equipment days</a:t>
            </a:r>
          </a:p>
          <a:p>
            <a:pPr marL="285750" indent="-285750">
              <a:buFont typeface="Arial" panose="020B0604020202020204" pitchFamily="34" charset="0"/>
              <a:buChar char="•"/>
            </a:pPr>
            <a:r>
              <a:rPr lang="en-US"/>
              <a:t>Perc Change Minute</a:t>
            </a:r>
          </a:p>
          <a:p>
            <a:pPr marL="285750" indent="-285750">
              <a:buFont typeface="Arial" panose="020B0604020202020204" pitchFamily="34" charset="0"/>
              <a:buChar char="•"/>
            </a:pPr>
            <a:r>
              <a:rPr lang="en-US"/>
              <a:t>Monthly Minutes</a:t>
            </a:r>
          </a:p>
          <a:p>
            <a:pPr marL="285750" indent="-285750">
              <a:buFont typeface="Arial" panose="020B0604020202020204" pitchFamily="34" charset="0"/>
              <a:buChar char="•"/>
            </a:pPr>
            <a:r>
              <a:rPr lang="en-US"/>
              <a:t>Total Recurring Charge</a:t>
            </a:r>
          </a:p>
          <a:p>
            <a:pPr marL="285750" indent="-285750">
              <a:buFont typeface="Arial" panose="020B0604020202020204" pitchFamily="34" charset="0"/>
              <a:buChar char="•"/>
            </a:pPr>
            <a:r>
              <a:rPr lang="en-US"/>
              <a:t>Off Peak Calls In Out</a:t>
            </a:r>
          </a:p>
          <a:p>
            <a:pPr marL="285750" indent="-285750">
              <a:buFont typeface="Arial" panose="020B0604020202020204" pitchFamily="34" charset="0"/>
              <a:buChar char="•"/>
            </a:pPr>
            <a:r>
              <a:rPr lang="en-US"/>
              <a:t>Peaks Calls In Out</a:t>
            </a:r>
          </a:p>
          <a:p>
            <a:pPr marL="285750" indent="-285750">
              <a:buFont typeface="Arial" panose="020B0604020202020204" pitchFamily="34" charset="0"/>
              <a:buChar char="•"/>
            </a:pPr>
            <a:r>
              <a:rPr lang="en-US"/>
              <a:t>Months in Service</a:t>
            </a:r>
          </a:p>
          <a:p>
            <a:pPr marL="285750" indent="-285750">
              <a:buFont typeface="Arial" panose="020B0604020202020204" pitchFamily="34" charset="0"/>
              <a:buChar char="•"/>
            </a:pPr>
            <a:r>
              <a:rPr lang="en-US"/>
              <a:t>Received Calls</a:t>
            </a:r>
          </a:p>
          <a:p>
            <a:pPr marL="285750" indent="-285750">
              <a:buFont typeface="Arial" panose="020B0604020202020204" pitchFamily="34" charset="0"/>
              <a:buChar char="•"/>
            </a:pPr>
            <a:r>
              <a:rPr lang="en-US"/>
              <a:t>Unanswered Calls</a:t>
            </a:r>
          </a:p>
          <a:p>
            <a:pPr marL="285750" indent="-285750">
              <a:buFont typeface="Arial" panose="020B0604020202020204" pitchFamily="34" charset="0"/>
              <a:buChar char="•"/>
            </a:pPr>
            <a:r>
              <a:rPr lang="en-US"/>
              <a:t>Monthly Revenue</a:t>
            </a:r>
          </a:p>
          <a:p>
            <a:pPr marL="285750" indent="-285750">
              <a:buFont typeface="Arial" panose="020B0604020202020204" pitchFamily="34" charset="0"/>
              <a:buChar char="•"/>
            </a:pPr>
            <a:r>
              <a:rPr lang="en-US"/>
              <a:t>Outbound Calls</a:t>
            </a:r>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39750424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707FC24-6981-43D9-B525-C7832BA224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11449"/>
            <a:ext cx="4332307" cy="6179552"/>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AC98EA62-0CE9-CBB3-7C54-62886B3962EB}"/>
              </a:ext>
            </a:extLst>
          </p:cNvPr>
          <p:cNvSpPr txBox="1"/>
          <p:nvPr/>
        </p:nvSpPr>
        <p:spPr>
          <a:xfrm>
            <a:off x="742950" y="742951"/>
            <a:ext cx="3476625" cy="4962524"/>
          </a:xfrm>
          <a:prstGeom prst="rect">
            <a:avLst/>
          </a:prstGeom>
        </p:spPr>
        <p:txBody>
          <a:bodyPr vert="horz" lIns="91440" tIns="45720" rIns="91440" bIns="45720" rtlCol="0" anchor="ctr">
            <a:normAutofit/>
          </a:bodyPr>
          <a:lstStyle/>
          <a:p>
            <a:pPr algn="ctr">
              <a:lnSpc>
                <a:spcPct val="90000"/>
              </a:lnSpc>
              <a:spcBef>
                <a:spcPct val="0"/>
              </a:spcBef>
              <a:spcAft>
                <a:spcPts val="600"/>
              </a:spcAft>
            </a:pPr>
            <a:r>
              <a:rPr lang="en-US" sz="4800" b="1" kern="1200">
                <a:solidFill>
                  <a:srgbClr val="FFFFFF"/>
                </a:solidFill>
                <a:latin typeface="+mj-lt"/>
                <a:ea typeface="+mj-ea"/>
                <a:cs typeface="+mj-cs"/>
              </a:rPr>
              <a:t>Yes : 36336</a:t>
            </a:r>
            <a:endParaRPr lang="en-US" sz="4800" kern="1200">
              <a:solidFill>
                <a:srgbClr val="FFFFFF"/>
              </a:solidFill>
              <a:latin typeface="+mj-lt"/>
              <a:ea typeface="+mj-ea"/>
              <a:cs typeface="+mj-cs"/>
            </a:endParaRPr>
          </a:p>
          <a:p>
            <a:pPr algn="ctr">
              <a:lnSpc>
                <a:spcPct val="90000"/>
              </a:lnSpc>
              <a:spcBef>
                <a:spcPct val="0"/>
              </a:spcBef>
              <a:spcAft>
                <a:spcPts val="600"/>
              </a:spcAft>
            </a:pPr>
            <a:r>
              <a:rPr lang="en-US" sz="4800" b="1" kern="1200">
                <a:solidFill>
                  <a:srgbClr val="FFFFFF"/>
                </a:solidFill>
                <a:latin typeface="+mj-lt"/>
                <a:ea typeface="+mj-ea"/>
                <a:cs typeface="+mj-cs"/>
              </a:rPr>
              <a:t>No : 14711</a:t>
            </a:r>
            <a:endParaRPr lang="en-US" sz="4800" kern="1200">
              <a:solidFill>
                <a:srgbClr val="FFFFFF"/>
              </a:solidFill>
              <a:latin typeface="+mj-lt"/>
              <a:ea typeface="+mj-ea"/>
              <a:cs typeface="+mj-cs"/>
            </a:endParaRPr>
          </a:p>
          <a:p>
            <a:pPr algn="ctr">
              <a:lnSpc>
                <a:spcPct val="90000"/>
              </a:lnSpc>
              <a:spcBef>
                <a:spcPct val="0"/>
              </a:spcBef>
              <a:spcAft>
                <a:spcPts val="600"/>
              </a:spcAft>
            </a:pPr>
            <a:endParaRPr lang="en-US" sz="4800" kern="1200">
              <a:solidFill>
                <a:srgbClr val="FFFFFF"/>
              </a:solidFill>
              <a:latin typeface="+mj-lt"/>
              <a:ea typeface="+mj-ea"/>
              <a:cs typeface="+mj-cs"/>
            </a:endParaRPr>
          </a:p>
        </p:txBody>
      </p:sp>
      <p:pic>
        <p:nvPicPr>
          <p:cNvPr id="4" name="Picture 3">
            <a:extLst>
              <a:ext uri="{FF2B5EF4-FFF2-40B4-BE49-F238E27FC236}">
                <a16:creationId xmlns:a16="http://schemas.microsoft.com/office/drawing/2014/main" id="{4F779035-8B44-390E-1A59-F21307AA36F8}"/>
              </a:ext>
            </a:extLst>
          </p:cNvPr>
          <p:cNvPicPr>
            <a:picLocks noChangeAspect="1"/>
          </p:cNvPicPr>
          <p:nvPr/>
        </p:nvPicPr>
        <p:blipFill>
          <a:blip r:embed="rId3"/>
          <a:stretch>
            <a:fillRect/>
          </a:stretch>
        </p:blipFill>
        <p:spPr>
          <a:xfrm>
            <a:off x="5383549" y="492573"/>
            <a:ext cx="6094090" cy="5880796"/>
          </a:xfrm>
          <a:prstGeom prst="rect">
            <a:avLst/>
          </a:prstGeom>
        </p:spPr>
      </p:pic>
    </p:spTree>
    <p:extLst>
      <p:ext uri="{BB962C8B-B14F-4D97-AF65-F5344CB8AC3E}">
        <p14:creationId xmlns:p14="http://schemas.microsoft.com/office/powerpoint/2010/main" val="36984633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9F4F0-4F9C-0867-20F4-E69CA300AF14}"/>
              </a:ext>
            </a:extLst>
          </p:cNvPr>
          <p:cNvSpPr>
            <a:spLocks noGrp="1"/>
          </p:cNvSpPr>
          <p:nvPr>
            <p:ph type="title"/>
          </p:nvPr>
        </p:nvSpPr>
        <p:spPr/>
        <p:txBody>
          <a:bodyPr/>
          <a:lstStyle/>
          <a:p>
            <a:r>
              <a:rPr lang="en-US"/>
              <a:t>Variable Description</a:t>
            </a:r>
          </a:p>
        </p:txBody>
      </p:sp>
      <p:sp>
        <p:nvSpPr>
          <p:cNvPr id="3" name="Content Placeholder 2">
            <a:extLst>
              <a:ext uri="{FF2B5EF4-FFF2-40B4-BE49-F238E27FC236}">
                <a16:creationId xmlns:a16="http://schemas.microsoft.com/office/drawing/2014/main" id="{0B9FB527-D2F2-3804-837B-ED0E10FF15ED}"/>
              </a:ext>
            </a:extLst>
          </p:cNvPr>
          <p:cNvSpPr>
            <a:spLocks noGrp="1"/>
          </p:cNvSpPr>
          <p:nvPr>
            <p:ph idx="1"/>
          </p:nvPr>
        </p:nvSpPr>
        <p:spPr/>
        <p:txBody>
          <a:bodyPr>
            <a:normAutofit fontScale="77500" lnSpcReduction="20000"/>
          </a:bodyPr>
          <a:lstStyle/>
          <a:p>
            <a:pPr marL="285750" indent="-285750"/>
            <a:r>
              <a:rPr lang="en-US"/>
              <a:t>Current Equipment Days –Number of days of the current equipment</a:t>
            </a:r>
          </a:p>
          <a:p>
            <a:pPr marL="285750" indent="-285750"/>
            <a:r>
              <a:rPr lang="en-US"/>
              <a:t>Perc Change Minute- % change in minutes of use</a:t>
            </a:r>
          </a:p>
          <a:p>
            <a:pPr marL="285750" indent="-285750"/>
            <a:r>
              <a:rPr lang="en-US"/>
              <a:t>Monthly Minutes- Total usage minutes in a month</a:t>
            </a:r>
          </a:p>
          <a:p>
            <a:pPr marL="285750" indent="-285750"/>
            <a:r>
              <a:rPr lang="en-US"/>
              <a:t>Total Recurring Charge- Mean total recurring charges</a:t>
            </a:r>
          </a:p>
          <a:p>
            <a:pPr marL="285750" indent="-285750"/>
            <a:r>
              <a:rPr lang="en-US"/>
              <a:t>Off Peak Calls In Out- Mean number of In and Out Calls during off Peak Hours</a:t>
            </a:r>
          </a:p>
          <a:p>
            <a:pPr marL="285750" indent="-285750"/>
            <a:r>
              <a:rPr lang="en-US"/>
              <a:t>Peaks Calls In Out- Mean number of In and Out Calls during Peak Hours ( 8am – 9pm)</a:t>
            </a:r>
          </a:p>
          <a:p>
            <a:pPr marL="285750" indent="-285750"/>
            <a:r>
              <a:rPr lang="en-US"/>
              <a:t>Months in Service- Months in Service for every customer</a:t>
            </a:r>
          </a:p>
          <a:p>
            <a:pPr marL="285750" indent="-285750"/>
            <a:r>
              <a:rPr lang="en-US"/>
              <a:t>Received Calls- Mean Received Voice Calls</a:t>
            </a:r>
          </a:p>
          <a:p>
            <a:pPr marL="285750" indent="-285750"/>
            <a:r>
              <a:rPr lang="en-US"/>
              <a:t>Unanswered Calls – Mean Number of Unanswered Calls</a:t>
            </a:r>
          </a:p>
          <a:p>
            <a:pPr marL="285750" indent="-285750"/>
            <a:r>
              <a:rPr lang="en-US"/>
              <a:t>Monthly Revenue – Mean Monthly Revenue</a:t>
            </a:r>
          </a:p>
          <a:p>
            <a:pPr marL="285750" indent="-285750"/>
            <a:r>
              <a:rPr lang="en-US"/>
              <a:t>Outbound Calls – Mean number of Outbound Calls</a:t>
            </a:r>
          </a:p>
        </p:txBody>
      </p:sp>
    </p:spTree>
    <p:extLst>
      <p:ext uri="{BB962C8B-B14F-4D97-AF65-F5344CB8AC3E}">
        <p14:creationId xmlns:p14="http://schemas.microsoft.com/office/powerpoint/2010/main" val="33975105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le 4">
            <a:extLst>
              <a:ext uri="{FF2B5EF4-FFF2-40B4-BE49-F238E27FC236}">
                <a16:creationId xmlns:a16="http://schemas.microsoft.com/office/drawing/2014/main" id="{BC7A2EF9-83FD-EF76-9077-6FB433BB2CD3}"/>
              </a:ext>
            </a:extLst>
          </p:cNvPr>
          <p:cNvGraphicFramePr>
            <a:graphicFrameLocks noGrp="1"/>
          </p:cNvGraphicFramePr>
          <p:nvPr>
            <p:extLst>
              <p:ext uri="{D42A27DB-BD31-4B8C-83A1-F6EECF244321}">
                <p14:modId xmlns:p14="http://schemas.microsoft.com/office/powerpoint/2010/main" val="989609682"/>
              </p:ext>
            </p:extLst>
          </p:nvPr>
        </p:nvGraphicFramePr>
        <p:xfrm>
          <a:off x="1261485" y="838845"/>
          <a:ext cx="9410686" cy="5943600"/>
        </p:xfrm>
        <a:graphic>
          <a:graphicData uri="http://schemas.openxmlformats.org/drawingml/2006/table">
            <a:tbl>
              <a:tblPr firstRow="1" bandRow="1">
                <a:solidFill>
                  <a:schemeClr val="bg1"/>
                </a:solidFill>
                <a:tableStyleId>{5C22544A-7EE6-4342-B048-85BDC9FD1C3A}</a:tableStyleId>
              </a:tblPr>
              <a:tblGrid>
                <a:gridCol w="2195933">
                  <a:extLst>
                    <a:ext uri="{9D8B030D-6E8A-4147-A177-3AD203B41FA5}">
                      <a16:colId xmlns:a16="http://schemas.microsoft.com/office/drawing/2014/main" val="4031440625"/>
                    </a:ext>
                  </a:extLst>
                </a:gridCol>
                <a:gridCol w="1294170">
                  <a:extLst>
                    <a:ext uri="{9D8B030D-6E8A-4147-A177-3AD203B41FA5}">
                      <a16:colId xmlns:a16="http://schemas.microsoft.com/office/drawing/2014/main" val="2525348062"/>
                    </a:ext>
                  </a:extLst>
                </a:gridCol>
                <a:gridCol w="1740061">
                  <a:extLst>
                    <a:ext uri="{9D8B030D-6E8A-4147-A177-3AD203B41FA5}">
                      <a16:colId xmlns:a16="http://schemas.microsoft.com/office/drawing/2014/main" val="3752939428"/>
                    </a:ext>
                  </a:extLst>
                </a:gridCol>
                <a:gridCol w="1208326">
                  <a:extLst>
                    <a:ext uri="{9D8B030D-6E8A-4147-A177-3AD203B41FA5}">
                      <a16:colId xmlns:a16="http://schemas.microsoft.com/office/drawing/2014/main" val="590834526"/>
                    </a:ext>
                  </a:extLst>
                </a:gridCol>
                <a:gridCol w="1525780">
                  <a:extLst>
                    <a:ext uri="{9D8B030D-6E8A-4147-A177-3AD203B41FA5}">
                      <a16:colId xmlns:a16="http://schemas.microsoft.com/office/drawing/2014/main" val="2967566219"/>
                    </a:ext>
                  </a:extLst>
                </a:gridCol>
                <a:gridCol w="1446416">
                  <a:extLst>
                    <a:ext uri="{9D8B030D-6E8A-4147-A177-3AD203B41FA5}">
                      <a16:colId xmlns:a16="http://schemas.microsoft.com/office/drawing/2014/main" val="3885442992"/>
                    </a:ext>
                  </a:extLst>
                </a:gridCol>
              </a:tblGrid>
              <a:tr h="495300">
                <a:tc>
                  <a:txBody>
                    <a:bodyPr/>
                    <a:lstStyle/>
                    <a:p>
                      <a:pPr algn="ctr" fontAlgn="b"/>
                      <a:r>
                        <a:rPr lang="en-US" sz="1600" b="0" i="0" u="none" strike="noStrike" cap="none" spc="0">
                          <a:solidFill>
                            <a:schemeClr val="bg1"/>
                          </a:solidFill>
                          <a:effectLst/>
                          <a:latin typeface="Calibri" panose="020F0502020204030204" pitchFamily="34" charset="0"/>
                        </a:rPr>
                        <a:t>Summary</a:t>
                      </a:r>
                    </a:p>
                  </a:txBody>
                  <a:tcPr marL="136033" marR="10900" marT="104641" marB="104641" anchor="ctr">
                    <a:lnL w="19050" cap="flat" cmpd="sng" algn="ctr">
                      <a:solidFill>
                        <a:schemeClr val="tx1"/>
                      </a:solidFill>
                      <a:prstDash val="solid"/>
                    </a:lnL>
                    <a:lnR w="19050" cap="flat" cmpd="sng" algn="ctr">
                      <a:solidFill>
                        <a:schemeClr val="tx1"/>
                      </a:solidFill>
                      <a:prstDash val="solid"/>
                    </a:lnR>
                    <a:lnT w="19050" cap="flat" cmpd="sng" algn="ctr">
                      <a:solidFill>
                        <a:schemeClr val="tx1"/>
                      </a:solidFill>
                      <a:prstDash val="solid"/>
                    </a:lnT>
                    <a:lnB w="38100" cmpd="sng">
                      <a:noFill/>
                    </a:lnB>
                    <a:solidFill>
                      <a:schemeClr val="tx1"/>
                    </a:solidFill>
                  </a:tcPr>
                </a:tc>
                <a:tc>
                  <a:txBody>
                    <a:bodyPr/>
                    <a:lstStyle/>
                    <a:p>
                      <a:pPr algn="ctr" fontAlgn="b"/>
                      <a:r>
                        <a:rPr lang="en-US" sz="1600" b="0" i="0" u="none" strike="noStrike" cap="none" spc="0">
                          <a:solidFill>
                            <a:schemeClr val="bg1"/>
                          </a:solidFill>
                          <a:effectLst/>
                          <a:latin typeface="Calibri" panose="020F0502020204030204" pitchFamily="34" charset="0"/>
                        </a:rPr>
                        <a:t>Mean</a:t>
                      </a:r>
                    </a:p>
                  </a:txBody>
                  <a:tcPr marL="136033" marR="10900" marT="104641" marB="104641" anchor="ctr">
                    <a:lnL w="19050" cap="flat" cmpd="sng" algn="ctr">
                      <a:solidFill>
                        <a:schemeClr val="tx1"/>
                      </a:solidFill>
                      <a:prstDash val="solid"/>
                    </a:lnL>
                    <a:lnR w="19050" cap="flat" cmpd="sng" algn="ctr">
                      <a:solidFill>
                        <a:schemeClr val="tx1"/>
                      </a:solidFill>
                      <a:prstDash val="solid"/>
                    </a:lnR>
                    <a:lnT w="19050" cap="flat" cmpd="sng" algn="ctr">
                      <a:solidFill>
                        <a:schemeClr val="tx1"/>
                      </a:solidFill>
                      <a:prstDash val="solid"/>
                    </a:lnT>
                    <a:lnB w="38100" cmpd="sng">
                      <a:noFill/>
                    </a:lnB>
                    <a:solidFill>
                      <a:schemeClr val="tx1"/>
                    </a:solidFill>
                  </a:tcPr>
                </a:tc>
                <a:tc>
                  <a:txBody>
                    <a:bodyPr/>
                    <a:lstStyle/>
                    <a:p>
                      <a:pPr algn="ctr" fontAlgn="b"/>
                      <a:r>
                        <a:rPr lang="en-US" sz="1600" b="0" i="0" u="none" strike="noStrike" cap="none" spc="0">
                          <a:solidFill>
                            <a:schemeClr val="bg1"/>
                          </a:solidFill>
                          <a:effectLst/>
                          <a:latin typeface="Calibri" panose="020F0502020204030204" pitchFamily="34" charset="0"/>
                        </a:rPr>
                        <a:t>Standard Deviation</a:t>
                      </a:r>
                    </a:p>
                  </a:txBody>
                  <a:tcPr marL="136033" marR="10900" marT="104641" marB="104641" anchor="ctr">
                    <a:lnL w="19050" cap="flat" cmpd="sng" algn="ctr">
                      <a:solidFill>
                        <a:schemeClr val="tx1"/>
                      </a:solidFill>
                      <a:prstDash val="solid"/>
                    </a:lnL>
                    <a:lnR w="19050" cap="flat" cmpd="sng" algn="ctr">
                      <a:solidFill>
                        <a:schemeClr val="tx1"/>
                      </a:solidFill>
                      <a:prstDash val="solid"/>
                    </a:lnR>
                    <a:lnT w="19050" cap="flat" cmpd="sng" algn="ctr">
                      <a:solidFill>
                        <a:schemeClr val="tx1"/>
                      </a:solidFill>
                      <a:prstDash val="solid"/>
                    </a:lnT>
                    <a:lnB w="38100" cmpd="sng">
                      <a:noFill/>
                    </a:lnB>
                    <a:solidFill>
                      <a:schemeClr val="tx1"/>
                    </a:solidFill>
                  </a:tcPr>
                </a:tc>
                <a:tc>
                  <a:txBody>
                    <a:bodyPr/>
                    <a:lstStyle/>
                    <a:p>
                      <a:pPr algn="ctr" fontAlgn="b"/>
                      <a:r>
                        <a:rPr lang="en-US" sz="1600" b="0" i="0" u="none" strike="noStrike" cap="none" spc="0">
                          <a:solidFill>
                            <a:schemeClr val="bg1"/>
                          </a:solidFill>
                          <a:effectLst/>
                          <a:latin typeface="Calibri" panose="020F0502020204030204" pitchFamily="34" charset="0"/>
                        </a:rPr>
                        <a:t>Minimum</a:t>
                      </a:r>
                    </a:p>
                  </a:txBody>
                  <a:tcPr marL="136033" marR="10900" marT="104641" marB="104641" anchor="ctr">
                    <a:lnL w="19050" cap="flat" cmpd="sng" algn="ctr">
                      <a:solidFill>
                        <a:schemeClr val="tx1"/>
                      </a:solidFill>
                      <a:prstDash val="solid"/>
                    </a:lnL>
                    <a:lnR w="19050" cap="flat" cmpd="sng" algn="ctr">
                      <a:solidFill>
                        <a:schemeClr val="tx1"/>
                      </a:solidFill>
                      <a:prstDash val="solid"/>
                    </a:lnR>
                    <a:lnT w="19050" cap="flat" cmpd="sng" algn="ctr">
                      <a:solidFill>
                        <a:schemeClr val="tx1"/>
                      </a:solidFill>
                      <a:prstDash val="solid"/>
                    </a:lnT>
                    <a:lnB w="38100" cmpd="sng">
                      <a:noFill/>
                    </a:lnB>
                    <a:solidFill>
                      <a:schemeClr val="tx1"/>
                    </a:solidFill>
                  </a:tcPr>
                </a:tc>
                <a:tc>
                  <a:txBody>
                    <a:bodyPr/>
                    <a:lstStyle/>
                    <a:p>
                      <a:pPr algn="ctr" fontAlgn="b"/>
                      <a:r>
                        <a:rPr lang="en-US" sz="1600" b="0" i="0" u="none" strike="noStrike" cap="none" spc="0">
                          <a:solidFill>
                            <a:schemeClr val="bg1"/>
                          </a:solidFill>
                          <a:effectLst/>
                          <a:latin typeface="Calibri" panose="020F0502020204030204" pitchFamily="34" charset="0"/>
                        </a:rPr>
                        <a:t>Maximum</a:t>
                      </a:r>
                    </a:p>
                  </a:txBody>
                  <a:tcPr marL="136033" marR="10900" marT="104641" marB="104641" anchor="ctr">
                    <a:lnL w="19050" cap="flat" cmpd="sng" algn="ctr">
                      <a:solidFill>
                        <a:schemeClr val="tx1"/>
                      </a:solidFill>
                      <a:prstDash val="solid"/>
                    </a:lnL>
                    <a:lnR w="19050" cap="flat" cmpd="sng" algn="ctr">
                      <a:solidFill>
                        <a:schemeClr val="tx1"/>
                      </a:solidFill>
                      <a:prstDash val="solid"/>
                    </a:lnR>
                    <a:lnT w="19050" cap="flat" cmpd="sng" algn="ctr">
                      <a:solidFill>
                        <a:schemeClr val="tx1"/>
                      </a:solidFill>
                      <a:prstDash val="solid"/>
                    </a:lnT>
                    <a:lnB w="38100" cmpd="sng">
                      <a:noFill/>
                    </a:lnB>
                    <a:solidFill>
                      <a:schemeClr val="tx1"/>
                    </a:solidFill>
                  </a:tcPr>
                </a:tc>
                <a:tc>
                  <a:txBody>
                    <a:bodyPr/>
                    <a:lstStyle/>
                    <a:p>
                      <a:pPr algn="ctr" fontAlgn="b"/>
                      <a:r>
                        <a:rPr lang="en-US" sz="1600" b="0" i="0" u="none" strike="noStrike" cap="none" spc="0">
                          <a:solidFill>
                            <a:schemeClr val="bg1"/>
                          </a:solidFill>
                          <a:effectLst/>
                          <a:latin typeface="Calibri" panose="020F0502020204030204" pitchFamily="34" charset="0"/>
                        </a:rPr>
                        <a:t>Median</a:t>
                      </a:r>
                    </a:p>
                  </a:txBody>
                  <a:tcPr marL="136033" marR="10900" marT="104641" marB="104641" anchor="ctr">
                    <a:lnL w="19050" cap="flat" cmpd="sng" algn="ctr">
                      <a:solidFill>
                        <a:schemeClr val="tx1"/>
                      </a:solidFill>
                      <a:prstDash val="solid"/>
                    </a:lnL>
                    <a:lnR w="12700" cmpd="sng">
                      <a:noFill/>
                    </a:lnR>
                    <a:lnT w="19050" cap="flat" cmpd="sng" algn="ctr">
                      <a:solidFill>
                        <a:schemeClr val="tx1"/>
                      </a:solidFill>
                      <a:prstDash val="solid"/>
                    </a:lnT>
                    <a:lnB w="38100" cmpd="sng">
                      <a:noFill/>
                    </a:lnB>
                    <a:solidFill>
                      <a:schemeClr val="tx1"/>
                    </a:solidFill>
                  </a:tcPr>
                </a:tc>
                <a:extLst>
                  <a:ext uri="{0D108BD9-81ED-4DB2-BD59-A6C34878D82A}">
                    <a16:rowId xmlns:a16="http://schemas.microsoft.com/office/drawing/2014/main" val="94368938"/>
                  </a:ext>
                </a:extLst>
              </a:tr>
              <a:tr h="495300">
                <a:tc>
                  <a:txBody>
                    <a:bodyPr/>
                    <a:lstStyle/>
                    <a:p>
                      <a:pPr algn="ctr" fontAlgn="b"/>
                      <a:r>
                        <a:rPr lang="en-US" sz="1600" b="0" i="0" u="none" strike="noStrike" cap="none" spc="0">
                          <a:solidFill>
                            <a:schemeClr val="tx1"/>
                          </a:solidFill>
                          <a:effectLst/>
                          <a:latin typeface="Calibri" panose="020F0502020204030204" pitchFamily="34" charset="0"/>
                        </a:rPr>
                        <a:t>CurrentEquipmentDays</a:t>
                      </a:r>
                    </a:p>
                  </a:txBody>
                  <a:tcPr marL="136033" marR="10900" marT="104641" marB="104641" anchor="b">
                    <a:lnL w="19050" cap="flat" cmpd="sng" algn="ctr">
                      <a:solidFill>
                        <a:schemeClr val="tx1"/>
                      </a:solidFill>
                      <a:prstDash val="solid"/>
                    </a:lnL>
                    <a:lnR w="6350" cap="flat" cmpd="sng" algn="ctr">
                      <a:solidFill>
                        <a:schemeClr val="tx1">
                          <a:lumMod val="50000"/>
                          <a:lumOff val="50000"/>
                        </a:schemeClr>
                      </a:solidFill>
                      <a:prstDash val="solid"/>
                    </a:lnR>
                    <a:lnT w="38100" cmpd="sng">
                      <a:noFill/>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380.5448</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38100" cmpd="sng">
                      <a:noFill/>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253.7996</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38100" cmpd="sng">
                      <a:noFill/>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5</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38100" cmpd="sng">
                      <a:noFill/>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1812</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38100" cmpd="sng">
                      <a:noFill/>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329</a:t>
                      </a:r>
                    </a:p>
                  </a:txBody>
                  <a:tcPr marL="136033" marR="10900" marT="104641" marB="104641" anchor="b">
                    <a:lnL w="6350" cap="flat" cmpd="sng" algn="ctr">
                      <a:solidFill>
                        <a:schemeClr val="tx1">
                          <a:lumMod val="50000"/>
                          <a:lumOff val="50000"/>
                        </a:schemeClr>
                      </a:solidFill>
                      <a:prstDash val="solid"/>
                    </a:lnL>
                    <a:lnR w="19050" cap="flat" cmpd="sng" algn="ctr">
                      <a:solidFill>
                        <a:schemeClr val="tx1"/>
                      </a:solidFill>
                      <a:prstDash val="solid"/>
                    </a:lnR>
                    <a:lnT w="38100" cmpd="sng">
                      <a:noFill/>
                    </a:lnT>
                    <a:lnB w="19050" cap="flat" cmpd="sng" algn="ctr">
                      <a:solidFill>
                        <a:schemeClr val="tx1"/>
                      </a:solidFill>
                      <a:prstDash val="solid"/>
                    </a:lnB>
                    <a:noFill/>
                  </a:tcPr>
                </a:tc>
                <a:extLst>
                  <a:ext uri="{0D108BD9-81ED-4DB2-BD59-A6C34878D82A}">
                    <a16:rowId xmlns:a16="http://schemas.microsoft.com/office/drawing/2014/main" val="3540514210"/>
                  </a:ext>
                </a:extLst>
              </a:tr>
              <a:tr h="495300">
                <a:tc>
                  <a:txBody>
                    <a:bodyPr/>
                    <a:lstStyle/>
                    <a:p>
                      <a:pPr algn="ctr" fontAlgn="b"/>
                      <a:r>
                        <a:rPr lang="en-US" sz="1600" b="0" i="0" u="none" strike="noStrike" cap="none" spc="0">
                          <a:solidFill>
                            <a:schemeClr val="tx1"/>
                          </a:solidFill>
                          <a:effectLst/>
                          <a:latin typeface="Calibri" panose="020F0502020204030204" pitchFamily="34" charset="0"/>
                        </a:rPr>
                        <a:t>MonthsInService</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18.756264</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9.800138</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6</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61</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16</a:t>
                      </a:r>
                    </a:p>
                  </a:txBody>
                  <a:tcPr marL="136033" marR="10900" marT="104641" marB="104641" anchor="b">
                    <a:lnL w="6350" cap="flat" cmpd="sng" algn="ctr">
                      <a:solidFill>
                        <a:schemeClr val="tx1">
                          <a:lumMod val="50000"/>
                          <a:lumOff val="50000"/>
                        </a:schemeClr>
                      </a:solidFill>
                      <a:prstDash val="solid"/>
                    </a:lnL>
                    <a:lnR w="12700" cmpd="sng">
                      <a:noFill/>
                      <a:prstDash val="solid"/>
                    </a:lnR>
                    <a:lnT w="19050" cap="flat" cmpd="sng" algn="ctr">
                      <a:solidFill>
                        <a:schemeClr val="tx1"/>
                      </a:solidFill>
                      <a:prstDash val="solid"/>
                    </a:lnT>
                    <a:lnB w="12700" cmpd="sng">
                      <a:noFill/>
                      <a:prstDash val="solid"/>
                    </a:lnB>
                    <a:solidFill>
                      <a:schemeClr val="bg1">
                        <a:lumMod val="85000"/>
                      </a:schemeClr>
                    </a:solidFill>
                  </a:tcPr>
                </a:tc>
                <a:extLst>
                  <a:ext uri="{0D108BD9-81ED-4DB2-BD59-A6C34878D82A}">
                    <a16:rowId xmlns:a16="http://schemas.microsoft.com/office/drawing/2014/main" val="1416957111"/>
                  </a:ext>
                </a:extLst>
              </a:tr>
              <a:tr h="495300">
                <a:tc>
                  <a:txBody>
                    <a:bodyPr/>
                    <a:lstStyle/>
                    <a:p>
                      <a:pPr algn="ctr" fontAlgn="b"/>
                      <a:r>
                        <a:rPr lang="en-US" sz="1600" b="0" i="0" u="none" strike="noStrike" cap="none" spc="0">
                          <a:solidFill>
                            <a:schemeClr val="tx1"/>
                          </a:solidFill>
                          <a:effectLst/>
                          <a:latin typeface="Calibri" panose="020F0502020204030204" pitchFamily="34" charset="0"/>
                        </a:rPr>
                        <a:t>PercChangeMinutes</a:t>
                      </a:r>
                    </a:p>
                  </a:txBody>
                  <a:tcPr marL="136033" marR="10900" marT="104641" marB="104641" anchor="b">
                    <a:lnL w="19050" cap="flat" cmpd="sng" algn="ctr">
                      <a:solidFill>
                        <a:schemeClr val="tx1"/>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11.50083</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256.58799</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3875</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5192</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5</a:t>
                      </a:r>
                    </a:p>
                  </a:txBody>
                  <a:tcPr marL="136033" marR="10900" marT="104641" marB="104641" anchor="b">
                    <a:lnL w="6350" cap="flat" cmpd="sng" algn="ctr">
                      <a:solidFill>
                        <a:schemeClr val="tx1">
                          <a:lumMod val="50000"/>
                          <a:lumOff val="50000"/>
                        </a:schemeClr>
                      </a:solidFill>
                      <a:prstDash val="solid"/>
                    </a:lnL>
                    <a:lnR w="19050" cap="flat" cmpd="sng" algn="ctr">
                      <a:solidFill>
                        <a:schemeClr val="tx1"/>
                      </a:solidFill>
                      <a:prstDash val="solid"/>
                    </a:lnR>
                    <a:lnT w="12700" cmpd="sng">
                      <a:noFill/>
                      <a:prstDash val="solid"/>
                    </a:lnT>
                    <a:lnB w="19050" cap="flat" cmpd="sng" algn="ctr">
                      <a:solidFill>
                        <a:schemeClr val="tx1"/>
                      </a:solidFill>
                      <a:prstDash val="solid"/>
                    </a:lnB>
                    <a:noFill/>
                  </a:tcPr>
                </a:tc>
                <a:extLst>
                  <a:ext uri="{0D108BD9-81ED-4DB2-BD59-A6C34878D82A}">
                    <a16:rowId xmlns:a16="http://schemas.microsoft.com/office/drawing/2014/main" val="4008717210"/>
                  </a:ext>
                </a:extLst>
              </a:tr>
              <a:tr h="495300">
                <a:tc>
                  <a:txBody>
                    <a:bodyPr/>
                    <a:lstStyle/>
                    <a:p>
                      <a:pPr algn="ctr" fontAlgn="b"/>
                      <a:r>
                        <a:rPr lang="en-US" sz="1600" b="0" i="0" u="none" strike="noStrike" cap="none" spc="0">
                          <a:solidFill>
                            <a:schemeClr val="tx1"/>
                          </a:solidFill>
                          <a:effectLst/>
                          <a:latin typeface="Calibri" panose="020F0502020204030204" pitchFamily="34" charset="0"/>
                        </a:rPr>
                        <a:t>MonthlyMinutes</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525.1655</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529.1342</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0</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7359</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366</a:t>
                      </a:r>
                    </a:p>
                  </a:txBody>
                  <a:tcPr marL="136033" marR="10900" marT="104641" marB="104641" anchor="b">
                    <a:lnL w="6350" cap="flat" cmpd="sng" algn="ctr">
                      <a:solidFill>
                        <a:schemeClr val="tx1">
                          <a:lumMod val="50000"/>
                          <a:lumOff val="50000"/>
                        </a:schemeClr>
                      </a:solidFill>
                      <a:prstDash val="solid"/>
                    </a:lnL>
                    <a:lnR w="12700" cmpd="sng">
                      <a:noFill/>
                      <a:prstDash val="solid"/>
                    </a:lnR>
                    <a:lnT w="19050" cap="flat" cmpd="sng" algn="ctr">
                      <a:solidFill>
                        <a:schemeClr val="tx1"/>
                      </a:solidFill>
                      <a:prstDash val="solid"/>
                    </a:lnT>
                    <a:lnB w="12700" cmpd="sng">
                      <a:noFill/>
                      <a:prstDash val="solid"/>
                    </a:lnB>
                    <a:solidFill>
                      <a:schemeClr val="bg1">
                        <a:lumMod val="85000"/>
                      </a:schemeClr>
                    </a:solidFill>
                  </a:tcPr>
                </a:tc>
                <a:extLst>
                  <a:ext uri="{0D108BD9-81ED-4DB2-BD59-A6C34878D82A}">
                    <a16:rowId xmlns:a16="http://schemas.microsoft.com/office/drawing/2014/main" val="3471153693"/>
                  </a:ext>
                </a:extLst>
              </a:tr>
              <a:tr h="495300">
                <a:tc>
                  <a:txBody>
                    <a:bodyPr/>
                    <a:lstStyle/>
                    <a:p>
                      <a:pPr algn="ctr" fontAlgn="b"/>
                      <a:r>
                        <a:rPr lang="en-US" sz="1600" b="0" i="0" u="none" strike="noStrike" cap="none" spc="0">
                          <a:solidFill>
                            <a:schemeClr val="tx1"/>
                          </a:solidFill>
                          <a:effectLst/>
                          <a:latin typeface="Calibri" panose="020F0502020204030204" pitchFamily="34" charset="0"/>
                        </a:rPr>
                        <a:t>OffPeakCallsInOut</a:t>
                      </a:r>
                    </a:p>
                  </a:txBody>
                  <a:tcPr marL="136033" marR="10900" marT="104641" marB="104641" anchor="b">
                    <a:lnL w="19050" cap="flat" cmpd="sng" algn="ctr">
                      <a:solidFill>
                        <a:schemeClr val="tx1"/>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67.65079</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92.7527</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0</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1474.7</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35.7</a:t>
                      </a:r>
                    </a:p>
                  </a:txBody>
                  <a:tcPr marL="136033" marR="10900" marT="104641" marB="104641" anchor="b">
                    <a:lnL w="6350" cap="flat" cmpd="sng" algn="ctr">
                      <a:solidFill>
                        <a:schemeClr val="tx1">
                          <a:lumMod val="50000"/>
                          <a:lumOff val="50000"/>
                        </a:schemeClr>
                      </a:solidFill>
                      <a:prstDash val="solid"/>
                    </a:lnL>
                    <a:lnR w="19050" cap="flat" cmpd="sng" algn="ctr">
                      <a:solidFill>
                        <a:schemeClr val="tx1"/>
                      </a:solidFill>
                      <a:prstDash val="solid"/>
                    </a:lnR>
                    <a:lnT w="12700" cmpd="sng">
                      <a:noFill/>
                      <a:prstDash val="solid"/>
                    </a:lnT>
                    <a:lnB w="19050" cap="flat" cmpd="sng" algn="ctr">
                      <a:solidFill>
                        <a:schemeClr val="tx1"/>
                      </a:solidFill>
                      <a:prstDash val="solid"/>
                    </a:lnB>
                    <a:noFill/>
                  </a:tcPr>
                </a:tc>
                <a:extLst>
                  <a:ext uri="{0D108BD9-81ED-4DB2-BD59-A6C34878D82A}">
                    <a16:rowId xmlns:a16="http://schemas.microsoft.com/office/drawing/2014/main" val="1007610756"/>
                  </a:ext>
                </a:extLst>
              </a:tr>
              <a:tr h="495300">
                <a:tc>
                  <a:txBody>
                    <a:bodyPr/>
                    <a:lstStyle/>
                    <a:p>
                      <a:pPr algn="ctr" fontAlgn="b"/>
                      <a:r>
                        <a:rPr lang="en-US" sz="1600" b="0" i="0" u="none" strike="noStrike" cap="none" spc="0">
                          <a:solidFill>
                            <a:schemeClr val="tx1"/>
                          </a:solidFill>
                          <a:effectLst/>
                          <a:latin typeface="Calibri" panose="020F0502020204030204" pitchFamily="34" charset="0"/>
                        </a:rPr>
                        <a:t>TotalRecurringCharge</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46.8245</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23.81262</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11</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400</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45</a:t>
                      </a:r>
                    </a:p>
                  </a:txBody>
                  <a:tcPr marL="136033" marR="10900" marT="104641" marB="104641" anchor="b">
                    <a:lnL w="6350" cap="flat" cmpd="sng" algn="ctr">
                      <a:solidFill>
                        <a:schemeClr val="tx1">
                          <a:lumMod val="50000"/>
                          <a:lumOff val="50000"/>
                        </a:schemeClr>
                      </a:solidFill>
                      <a:prstDash val="solid"/>
                    </a:lnL>
                    <a:lnR w="12700" cmpd="sng">
                      <a:noFill/>
                      <a:prstDash val="solid"/>
                    </a:lnR>
                    <a:lnT w="19050" cap="flat" cmpd="sng" algn="ctr">
                      <a:solidFill>
                        <a:schemeClr val="tx1"/>
                      </a:solidFill>
                      <a:prstDash val="solid"/>
                    </a:lnT>
                    <a:lnB w="12700" cmpd="sng">
                      <a:noFill/>
                      <a:prstDash val="solid"/>
                    </a:lnB>
                    <a:solidFill>
                      <a:schemeClr val="bg1">
                        <a:lumMod val="85000"/>
                      </a:schemeClr>
                    </a:solidFill>
                  </a:tcPr>
                </a:tc>
                <a:extLst>
                  <a:ext uri="{0D108BD9-81ED-4DB2-BD59-A6C34878D82A}">
                    <a16:rowId xmlns:a16="http://schemas.microsoft.com/office/drawing/2014/main" val="2407527002"/>
                  </a:ext>
                </a:extLst>
              </a:tr>
              <a:tr h="495300">
                <a:tc>
                  <a:txBody>
                    <a:bodyPr/>
                    <a:lstStyle/>
                    <a:p>
                      <a:pPr algn="ctr" fontAlgn="b"/>
                      <a:r>
                        <a:rPr lang="en-US" sz="1600" b="0" i="0" u="none" strike="noStrike" cap="none" spc="0">
                          <a:solidFill>
                            <a:schemeClr val="tx1"/>
                          </a:solidFill>
                          <a:effectLst/>
                          <a:latin typeface="Calibri" panose="020F0502020204030204" pitchFamily="34" charset="0"/>
                        </a:rPr>
                        <a:t>PeakCallsInOut</a:t>
                      </a:r>
                    </a:p>
                  </a:txBody>
                  <a:tcPr marL="136033" marR="10900" marT="104641" marB="104641" anchor="b">
                    <a:lnL w="19050" cap="flat" cmpd="sng" algn="ctr">
                      <a:solidFill>
                        <a:schemeClr val="tx1"/>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90.54952</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104.94747</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0</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2090.7</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62</a:t>
                      </a:r>
                    </a:p>
                  </a:txBody>
                  <a:tcPr marL="136033" marR="10900" marT="104641" marB="104641" anchor="b">
                    <a:lnL w="6350" cap="flat" cmpd="sng" algn="ctr">
                      <a:solidFill>
                        <a:schemeClr val="tx1">
                          <a:lumMod val="50000"/>
                          <a:lumOff val="50000"/>
                        </a:schemeClr>
                      </a:solidFill>
                      <a:prstDash val="solid"/>
                    </a:lnL>
                    <a:lnR w="19050" cap="flat" cmpd="sng" algn="ctr">
                      <a:solidFill>
                        <a:schemeClr val="tx1"/>
                      </a:solidFill>
                      <a:prstDash val="solid"/>
                    </a:lnR>
                    <a:lnT w="12700" cmpd="sng">
                      <a:noFill/>
                      <a:prstDash val="solid"/>
                    </a:lnT>
                    <a:lnB w="19050" cap="flat" cmpd="sng" algn="ctr">
                      <a:solidFill>
                        <a:schemeClr val="tx1"/>
                      </a:solidFill>
                      <a:prstDash val="solid"/>
                    </a:lnB>
                    <a:noFill/>
                  </a:tcPr>
                </a:tc>
                <a:extLst>
                  <a:ext uri="{0D108BD9-81ED-4DB2-BD59-A6C34878D82A}">
                    <a16:rowId xmlns:a16="http://schemas.microsoft.com/office/drawing/2014/main" val="3655027532"/>
                  </a:ext>
                </a:extLst>
              </a:tr>
              <a:tr h="495300">
                <a:tc>
                  <a:txBody>
                    <a:bodyPr/>
                    <a:lstStyle/>
                    <a:p>
                      <a:pPr algn="ctr" fontAlgn="b"/>
                      <a:r>
                        <a:rPr lang="en-US" sz="1600" b="0" i="0" u="none" strike="noStrike" cap="none" spc="0">
                          <a:solidFill>
                            <a:schemeClr val="tx1"/>
                          </a:solidFill>
                          <a:effectLst/>
                          <a:latin typeface="Calibri" panose="020F0502020204030204" pitchFamily="34" charset="0"/>
                        </a:rPr>
                        <a:t>MonthlyRevenue</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58.80279</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44.44296</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6.17</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1223.38</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48.46</a:t>
                      </a:r>
                    </a:p>
                  </a:txBody>
                  <a:tcPr marL="136033" marR="10900" marT="104641" marB="104641" anchor="b">
                    <a:lnL w="6350" cap="flat" cmpd="sng" algn="ctr">
                      <a:solidFill>
                        <a:schemeClr val="tx1">
                          <a:lumMod val="50000"/>
                          <a:lumOff val="50000"/>
                        </a:schemeClr>
                      </a:solidFill>
                      <a:prstDash val="solid"/>
                    </a:lnL>
                    <a:lnR w="12700" cmpd="sng">
                      <a:noFill/>
                      <a:prstDash val="solid"/>
                    </a:lnR>
                    <a:lnT w="19050" cap="flat" cmpd="sng" algn="ctr">
                      <a:solidFill>
                        <a:schemeClr val="tx1"/>
                      </a:solidFill>
                      <a:prstDash val="solid"/>
                    </a:lnT>
                    <a:lnB w="12700" cmpd="sng">
                      <a:noFill/>
                      <a:prstDash val="solid"/>
                    </a:lnB>
                    <a:solidFill>
                      <a:schemeClr val="bg1">
                        <a:lumMod val="85000"/>
                      </a:schemeClr>
                    </a:solidFill>
                  </a:tcPr>
                </a:tc>
                <a:extLst>
                  <a:ext uri="{0D108BD9-81ED-4DB2-BD59-A6C34878D82A}">
                    <a16:rowId xmlns:a16="http://schemas.microsoft.com/office/drawing/2014/main" val="4055287061"/>
                  </a:ext>
                </a:extLst>
              </a:tr>
              <a:tr h="495300">
                <a:tc>
                  <a:txBody>
                    <a:bodyPr/>
                    <a:lstStyle/>
                    <a:p>
                      <a:pPr algn="ctr" fontAlgn="b"/>
                      <a:r>
                        <a:rPr lang="en-US" sz="1600" b="0" i="0" u="none" strike="noStrike" cap="none" spc="0">
                          <a:solidFill>
                            <a:schemeClr val="tx1"/>
                          </a:solidFill>
                          <a:effectLst/>
                          <a:latin typeface="Calibri" panose="020F0502020204030204" pitchFamily="34" charset="0"/>
                        </a:rPr>
                        <a:t>ReceivedCalls</a:t>
                      </a:r>
                    </a:p>
                  </a:txBody>
                  <a:tcPr marL="136033" marR="10900" marT="104641" marB="104641" anchor="b">
                    <a:lnL w="19050" cap="flat" cmpd="sng" algn="ctr">
                      <a:solidFill>
                        <a:schemeClr val="tx1"/>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114.8001</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166.4859</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0</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2692.4</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52.8</a:t>
                      </a:r>
                    </a:p>
                  </a:txBody>
                  <a:tcPr marL="136033" marR="10900" marT="104641" marB="104641" anchor="b">
                    <a:lnL w="6350" cap="flat" cmpd="sng" algn="ctr">
                      <a:solidFill>
                        <a:schemeClr val="tx1">
                          <a:lumMod val="50000"/>
                          <a:lumOff val="50000"/>
                        </a:schemeClr>
                      </a:solidFill>
                      <a:prstDash val="solid"/>
                    </a:lnL>
                    <a:lnR w="19050" cap="flat" cmpd="sng" algn="ctr">
                      <a:solidFill>
                        <a:schemeClr val="tx1"/>
                      </a:solidFill>
                      <a:prstDash val="solid"/>
                    </a:lnR>
                    <a:lnT w="12700" cmpd="sng">
                      <a:noFill/>
                      <a:prstDash val="solid"/>
                    </a:lnT>
                    <a:lnB w="19050" cap="flat" cmpd="sng" algn="ctr">
                      <a:solidFill>
                        <a:schemeClr val="tx1"/>
                      </a:solidFill>
                      <a:prstDash val="solid"/>
                    </a:lnB>
                    <a:noFill/>
                  </a:tcPr>
                </a:tc>
                <a:extLst>
                  <a:ext uri="{0D108BD9-81ED-4DB2-BD59-A6C34878D82A}">
                    <a16:rowId xmlns:a16="http://schemas.microsoft.com/office/drawing/2014/main" val="2094993980"/>
                  </a:ext>
                </a:extLst>
              </a:tr>
              <a:tr h="495300">
                <a:tc>
                  <a:txBody>
                    <a:bodyPr/>
                    <a:lstStyle/>
                    <a:p>
                      <a:pPr algn="ctr" fontAlgn="b"/>
                      <a:r>
                        <a:rPr lang="en-US" sz="1600" b="0" i="0" u="none" strike="noStrike" cap="none" spc="0">
                          <a:solidFill>
                            <a:schemeClr val="tx1"/>
                          </a:solidFill>
                          <a:effectLst/>
                          <a:latin typeface="Calibri" panose="020F0502020204030204" pitchFamily="34" charset="0"/>
                        </a:rPr>
                        <a:t>UnansweredCalls</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28.28898</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38.87619</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0</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848.7</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9050" cap="flat" cmpd="sng" algn="ctr">
                      <a:solidFill>
                        <a:schemeClr val="tx1"/>
                      </a:solidFill>
                      <a:prstDash val="solid"/>
                    </a:lnT>
                    <a:lnB w="12700" cmpd="sng">
                      <a:noFill/>
                      <a:prstDash val="solid"/>
                    </a:lnB>
                    <a:solidFill>
                      <a:schemeClr val="bg1">
                        <a:lumMod val="85000"/>
                      </a:schemeClr>
                    </a:solidFill>
                  </a:tcPr>
                </a:tc>
                <a:tc>
                  <a:txBody>
                    <a:bodyPr/>
                    <a:lstStyle/>
                    <a:p>
                      <a:pPr algn="ctr" fontAlgn="b"/>
                      <a:r>
                        <a:rPr lang="en-US" sz="1600" b="0" i="0" u="none" strike="noStrike" cap="none" spc="0">
                          <a:solidFill>
                            <a:schemeClr val="tx1"/>
                          </a:solidFill>
                          <a:effectLst/>
                          <a:latin typeface="Calibri" panose="020F0502020204030204" pitchFamily="34" charset="0"/>
                        </a:rPr>
                        <a:t>16.3</a:t>
                      </a:r>
                    </a:p>
                  </a:txBody>
                  <a:tcPr marL="136033" marR="10900" marT="104641" marB="104641" anchor="b">
                    <a:lnL w="6350" cap="flat" cmpd="sng" algn="ctr">
                      <a:solidFill>
                        <a:schemeClr val="tx1">
                          <a:lumMod val="50000"/>
                          <a:lumOff val="50000"/>
                        </a:schemeClr>
                      </a:solidFill>
                      <a:prstDash val="solid"/>
                    </a:lnL>
                    <a:lnR w="12700" cmpd="sng">
                      <a:noFill/>
                      <a:prstDash val="solid"/>
                    </a:lnR>
                    <a:lnT w="19050" cap="flat" cmpd="sng" algn="ctr">
                      <a:solidFill>
                        <a:schemeClr val="tx1"/>
                      </a:solidFill>
                      <a:prstDash val="solid"/>
                    </a:lnT>
                    <a:lnB w="12700" cmpd="sng">
                      <a:noFill/>
                      <a:prstDash val="solid"/>
                    </a:lnB>
                    <a:solidFill>
                      <a:schemeClr val="bg1">
                        <a:lumMod val="85000"/>
                      </a:schemeClr>
                    </a:solidFill>
                  </a:tcPr>
                </a:tc>
                <a:extLst>
                  <a:ext uri="{0D108BD9-81ED-4DB2-BD59-A6C34878D82A}">
                    <a16:rowId xmlns:a16="http://schemas.microsoft.com/office/drawing/2014/main" val="369480451"/>
                  </a:ext>
                </a:extLst>
              </a:tr>
              <a:tr h="495300">
                <a:tc>
                  <a:txBody>
                    <a:bodyPr/>
                    <a:lstStyle/>
                    <a:p>
                      <a:pPr algn="ctr" fontAlgn="b"/>
                      <a:r>
                        <a:rPr lang="en-US" sz="1600" b="0" i="0" u="none" strike="noStrike" cap="none" spc="0">
                          <a:solidFill>
                            <a:schemeClr val="tx1"/>
                          </a:solidFill>
                          <a:effectLst/>
                          <a:latin typeface="Calibri" panose="020F0502020204030204" pitchFamily="34" charset="0"/>
                        </a:rPr>
                        <a:t>Churn</a:t>
                      </a:r>
                    </a:p>
                  </a:txBody>
                  <a:tcPr marL="136033" marR="10900" marT="104641" marB="104641" anchor="b">
                    <a:lnL w="19050" cap="flat" cmpd="sng" algn="ctr">
                      <a:solidFill>
                        <a:schemeClr val="tx1"/>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0.2881854</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0.4529223</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0</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1</a:t>
                      </a:r>
                    </a:p>
                  </a:txBody>
                  <a:tcPr marL="136033" marR="10900" marT="104641" marB="10464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12700" cmpd="sng">
                      <a:noFill/>
                      <a:prstDash val="solid"/>
                    </a:lnT>
                    <a:lnB w="19050" cap="flat" cmpd="sng" algn="ctr">
                      <a:solidFill>
                        <a:schemeClr val="tx1"/>
                      </a:solidFill>
                      <a:prstDash val="solid"/>
                    </a:lnB>
                    <a:noFill/>
                  </a:tcPr>
                </a:tc>
                <a:tc>
                  <a:txBody>
                    <a:bodyPr/>
                    <a:lstStyle/>
                    <a:p>
                      <a:pPr algn="ctr" fontAlgn="b"/>
                      <a:r>
                        <a:rPr lang="en-US" sz="1600" b="0" i="0" u="none" strike="noStrike" cap="none" spc="0">
                          <a:solidFill>
                            <a:schemeClr val="tx1"/>
                          </a:solidFill>
                          <a:effectLst/>
                          <a:latin typeface="Calibri" panose="020F0502020204030204" pitchFamily="34" charset="0"/>
                        </a:rPr>
                        <a:t>0</a:t>
                      </a:r>
                    </a:p>
                  </a:txBody>
                  <a:tcPr marL="136033" marR="10900" marT="104641" marB="104641" anchor="b">
                    <a:lnL w="6350" cap="flat" cmpd="sng" algn="ctr">
                      <a:solidFill>
                        <a:schemeClr val="tx1">
                          <a:lumMod val="50000"/>
                          <a:lumOff val="50000"/>
                        </a:schemeClr>
                      </a:solidFill>
                      <a:prstDash val="solid"/>
                    </a:lnL>
                    <a:lnR w="19050" cap="flat" cmpd="sng" algn="ctr">
                      <a:solidFill>
                        <a:schemeClr val="tx1"/>
                      </a:solidFill>
                      <a:prstDash val="solid"/>
                    </a:lnR>
                    <a:lnT w="12700" cmpd="sng">
                      <a:noFill/>
                      <a:prstDash val="solid"/>
                    </a:lnT>
                    <a:lnB w="19050" cap="flat" cmpd="sng" algn="ctr">
                      <a:solidFill>
                        <a:schemeClr val="tx1"/>
                      </a:solidFill>
                      <a:prstDash val="solid"/>
                    </a:lnB>
                    <a:noFill/>
                  </a:tcPr>
                </a:tc>
                <a:extLst>
                  <a:ext uri="{0D108BD9-81ED-4DB2-BD59-A6C34878D82A}">
                    <a16:rowId xmlns:a16="http://schemas.microsoft.com/office/drawing/2014/main" val="1613620046"/>
                  </a:ext>
                </a:extLst>
              </a:tr>
            </a:tbl>
          </a:graphicData>
        </a:graphic>
      </p:graphicFrame>
      <p:sp>
        <p:nvSpPr>
          <p:cNvPr id="2" name="Title 1">
            <a:extLst>
              <a:ext uri="{FF2B5EF4-FFF2-40B4-BE49-F238E27FC236}">
                <a16:creationId xmlns:a16="http://schemas.microsoft.com/office/drawing/2014/main" id="{048509B9-186D-D8BF-E2D7-31E7D67BC696}"/>
              </a:ext>
            </a:extLst>
          </p:cNvPr>
          <p:cNvSpPr>
            <a:spLocks noGrp="1"/>
          </p:cNvSpPr>
          <p:nvPr>
            <p:ph type="title"/>
          </p:nvPr>
        </p:nvSpPr>
        <p:spPr>
          <a:xfrm>
            <a:off x="322158" y="-133040"/>
            <a:ext cx="11139854" cy="990288"/>
          </a:xfrm>
        </p:spPr>
        <p:txBody>
          <a:bodyPr vert="horz" lIns="91440" tIns="45720" rIns="91440" bIns="45720" rtlCol="0" anchor="b">
            <a:normAutofit/>
          </a:bodyPr>
          <a:lstStyle/>
          <a:p>
            <a:pPr algn="ctr"/>
            <a:r>
              <a:rPr lang="en-US">
                <a:solidFill>
                  <a:schemeClr val="bg1"/>
                </a:solidFill>
              </a:rPr>
              <a:t>Summarizing the Data Set</a:t>
            </a:r>
            <a:endParaRPr lang="en-US">
              <a:ea typeface="+mj-ea"/>
              <a:cs typeface="+mj-cs"/>
            </a:endParaRPr>
          </a:p>
        </p:txBody>
      </p:sp>
    </p:spTree>
    <p:extLst>
      <p:ext uri="{BB962C8B-B14F-4D97-AF65-F5344CB8AC3E}">
        <p14:creationId xmlns:p14="http://schemas.microsoft.com/office/powerpoint/2010/main" val="6683542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Shape 16">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Isosceles Triangle 18">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Isosceles Triangle 20">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E2F47312-1E8A-20AE-D832-E148C1CEF326}"/>
              </a:ext>
            </a:extLst>
          </p:cNvPr>
          <p:cNvPicPr>
            <a:picLocks noChangeAspect="1"/>
          </p:cNvPicPr>
          <p:nvPr/>
        </p:nvPicPr>
        <p:blipFill>
          <a:blip r:embed="rId2"/>
          <a:stretch>
            <a:fillRect/>
          </a:stretch>
        </p:blipFill>
        <p:spPr>
          <a:xfrm>
            <a:off x="-2723" y="676472"/>
            <a:ext cx="12023456" cy="6142812"/>
          </a:xfrm>
          <a:prstGeom prst="rect">
            <a:avLst/>
          </a:prstGeom>
          <a:ln>
            <a:noFill/>
          </a:ln>
        </p:spPr>
      </p:pic>
      <p:sp>
        <p:nvSpPr>
          <p:cNvPr id="2" name="TextBox 1">
            <a:extLst>
              <a:ext uri="{FF2B5EF4-FFF2-40B4-BE49-F238E27FC236}">
                <a16:creationId xmlns:a16="http://schemas.microsoft.com/office/drawing/2014/main" id="{9CCDC400-5728-C783-C377-E63897B48474}"/>
              </a:ext>
            </a:extLst>
          </p:cNvPr>
          <p:cNvSpPr txBox="1"/>
          <p:nvPr/>
        </p:nvSpPr>
        <p:spPr>
          <a:xfrm>
            <a:off x="2547654" y="79443"/>
            <a:ext cx="7524540"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a:solidFill>
                  <a:schemeClr val="accent1"/>
                </a:solidFill>
              </a:rPr>
              <a:t>Correlation Matrix of all the Numeric Variables</a:t>
            </a:r>
            <a:endParaRPr lang="en-US" sz="2800">
              <a:solidFill>
                <a:schemeClr val="accent1"/>
              </a:solidFill>
              <a:cs typeface="Calibri"/>
            </a:endParaRPr>
          </a:p>
        </p:txBody>
      </p:sp>
    </p:spTree>
    <p:extLst>
      <p:ext uri="{BB962C8B-B14F-4D97-AF65-F5344CB8AC3E}">
        <p14:creationId xmlns:p14="http://schemas.microsoft.com/office/powerpoint/2010/main" val="15898906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9FF99BD-075F-4761-A995-6FC574BD25E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A7B21A54-9BA3-4EA9-B460-5A829ADD90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6FA8F714-B9D8-488A-8CCA-E9948FF913A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6" y="643468"/>
            <a:ext cx="10905067" cy="557106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Table&#10;&#10;Description automatically generated with low confidence">
            <a:extLst>
              <a:ext uri="{FF2B5EF4-FFF2-40B4-BE49-F238E27FC236}">
                <a16:creationId xmlns:a16="http://schemas.microsoft.com/office/drawing/2014/main" id="{3891CD3C-2084-A933-11CF-7CB917799C32}"/>
              </a:ext>
            </a:extLst>
          </p:cNvPr>
          <p:cNvPicPr>
            <a:picLocks noChangeAspect="1"/>
          </p:cNvPicPr>
          <p:nvPr/>
        </p:nvPicPr>
        <p:blipFill>
          <a:blip r:embed="rId2"/>
          <a:stretch>
            <a:fillRect/>
          </a:stretch>
        </p:blipFill>
        <p:spPr>
          <a:xfrm>
            <a:off x="1120477" y="1224259"/>
            <a:ext cx="9951041" cy="4403335"/>
          </a:xfrm>
          <a:prstGeom prst="rect">
            <a:avLst/>
          </a:prstGeom>
        </p:spPr>
      </p:pic>
      <p:sp>
        <p:nvSpPr>
          <p:cNvPr id="2" name="TextBox 1">
            <a:extLst>
              <a:ext uri="{FF2B5EF4-FFF2-40B4-BE49-F238E27FC236}">
                <a16:creationId xmlns:a16="http://schemas.microsoft.com/office/drawing/2014/main" id="{685D5C54-232E-9FA2-ECCC-33FB10015303}"/>
              </a:ext>
            </a:extLst>
          </p:cNvPr>
          <p:cNvSpPr txBox="1"/>
          <p:nvPr/>
        </p:nvSpPr>
        <p:spPr>
          <a:xfrm>
            <a:off x="2923288" y="4316"/>
            <a:ext cx="5968343"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a:solidFill>
                  <a:schemeClr val="accent1"/>
                </a:solidFill>
                <a:cs typeface="Calibri"/>
              </a:rPr>
              <a:t>Scatter Plot Matrix of Top 10 Variables</a:t>
            </a:r>
          </a:p>
        </p:txBody>
      </p:sp>
    </p:spTree>
    <p:extLst>
      <p:ext uri="{BB962C8B-B14F-4D97-AF65-F5344CB8AC3E}">
        <p14:creationId xmlns:p14="http://schemas.microsoft.com/office/powerpoint/2010/main" val="38630915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6" name="Picture 5" descr="Background pattern&#10;&#10;Description automatically generated">
            <a:extLst>
              <a:ext uri="{FF2B5EF4-FFF2-40B4-BE49-F238E27FC236}">
                <a16:creationId xmlns:a16="http://schemas.microsoft.com/office/drawing/2014/main" id="{14128F61-952D-D29D-CFD9-B37B0CD49453}"/>
              </a:ext>
            </a:extLst>
          </p:cNvPr>
          <p:cNvPicPr>
            <a:picLocks noChangeAspect="1"/>
          </p:cNvPicPr>
          <p:nvPr/>
        </p:nvPicPr>
        <p:blipFill rotWithShape="1">
          <a:blip r:embed="rId2">
            <a:duotone>
              <a:schemeClr val="bg2">
                <a:shade val="45000"/>
                <a:satMod val="135000"/>
              </a:schemeClr>
              <a:prstClr val="white"/>
            </a:duotone>
          </a:blip>
          <a:srcRect t="25000"/>
          <a:stretch/>
        </p:blipFill>
        <p:spPr>
          <a:xfrm>
            <a:off x="20" y="17134"/>
            <a:ext cx="12191980" cy="6857990"/>
          </a:xfrm>
          <a:prstGeom prst="rect">
            <a:avLst/>
          </a:prstGeom>
        </p:spPr>
      </p:pic>
      <p:sp>
        <p:nvSpPr>
          <p:cNvPr id="37" name="Rectangle 9">
            <a:extLst>
              <a:ext uri="{FF2B5EF4-FFF2-40B4-BE49-F238E27FC236}">
                <a16:creationId xmlns:a16="http://schemas.microsoft.com/office/drawing/2014/main" id="{B50AB553-2A96-4A92-96F2-93548E096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10000">
                <a:schemeClr val="bg2">
                  <a:alpha val="68000"/>
                </a:schemeClr>
              </a:gs>
              <a:gs pos="85000">
                <a:schemeClr val="bg2">
                  <a:alpha val="97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9FE49DF-A9BB-3C3B-99C1-A681BB2EADA4}"/>
              </a:ext>
            </a:extLst>
          </p:cNvPr>
          <p:cNvSpPr>
            <a:spLocks noGrp="1"/>
          </p:cNvSpPr>
          <p:nvPr>
            <p:ph type="title"/>
          </p:nvPr>
        </p:nvSpPr>
        <p:spPr>
          <a:xfrm>
            <a:off x="838200" y="365125"/>
            <a:ext cx="10515600" cy="1325563"/>
          </a:xfrm>
        </p:spPr>
        <p:txBody>
          <a:bodyPr>
            <a:normAutofit/>
          </a:bodyPr>
          <a:lstStyle/>
          <a:p>
            <a:pPr algn="ctr"/>
            <a:r>
              <a:rPr lang="en-US">
                <a:solidFill>
                  <a:schemeClr val="accent1"/>
                </a:solidFill>
              </a:rPr>
              <a:t>Data Modeling Goals And Objectives</a:t>
            </a:r>
            <a:br>
              <a:rPr lang="en-US">
                <a:solidFill>
                  <a:schemeClr val="accent1"/>
                </a:solidFill>
              </a:rPr>
            </a:br>
            <a:endParaRPr lang="en-US">
              <a:solidFill>
                <a:schemeClr val="accent1"/>
              </a:solidFill>
              <a:cs typeface="Calibri Light"/>
            </a:endParaRPr>
          </a:p>
        </p:txBody>
      </p:sp>
      <p:graphicFrame>
        <p:nvGraphicFramePr>
          <p:cNvPr id="38" name="Content Placeholder 2">
            <a:extLst>
              <a:ext uri="{FF2B5EF4-FFF2-40B4-BE49-F238E27FC236}">
                <a16:creationId xmlns:a16="http://schemas.microsoft.com/office/drawing/2014/main" id="{35F6AB43-B638-8D32-E1AF-7D2E20794DCC}"/>
              </a:ext>
            </a:extLst>
          </p:cNvPr>
          <p:cNvGraphicFramePr>
            <a:graphicFrameLocks noGrp="1"/>
          </p:cNvGraphicFramePr>
          <p:nvPr>
            <p:ph idx="1"/>
            <p:extLst>
              <p:ext uri="{D42A27DB-BD31-4B8C-83A1-F6EECF244321}">
                <p14:modId xmlns:p14="http://schemas.microsoft.com/office/powerpoint/2010/main" val="771407936"/>
              </p:ext>
            </p:extLst>
          </p:nvPr>
        </p:nvGraphicFramePr>
        <p:xfrm>
          <a:off x="177800" y="1825625"/>
          <a:ext cx="11912600" cy="44608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87770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6C5FA50-8D52-4617-AF91-5C7B1C835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1CFB354-46A0-5171-3E49-DBB471253210}"/>
              </a:ext>
            </a:extLst>
          </p:cNvPr>
          <p:cNvSpPr>
            <a:spLocks noGrp="1"/>
          </p:cNvSpPr>
          <p:nvPr>
            <p:ph type="title"/>
          </p:nvPr>
        </p:nvSpPr>
        <p:spPr>
          <a:xfrm>
            <a:off x="9275946" y="618681"/>
            <a:ext cx="2431422" cy="4794567"/>
          </a:xfrm>
        </p:spPr>
        <p:txBody>
          <a:bodyPr vert="horz" lIns="91440" tIns="45720" rIns="91440" bIns="45720" rtlCol="0" anchor="ctr">
            <a:normAutofit/>
          </a:bodyPr>
          <a:lstStyle/>
          <a:p>
            <a:br>
              <a:rPr lang="en-US" sz="3600"/>
            </a:br>
            <a:r>
              <a:rPr lang="en-US" sz="3600">
                <a:solidFill>
                  <a:schemeClr val="bg1"/>
                </a:solidFill>
              </a:rPr>
              <a:t>Random forest:</a:t>
            </a:r>
            <a:br>
              <a:rPr lang="en-US" sz="3600">
                <a:solidFill>
                  <a:schemeClr val="bg1"/>
                </a:solidFill>
              </a:rPr>
            </a:br>
            <a:r>
              <a:rPr lang="en-US" sz="3600">
                <a:solidFill>
                  <a:schemeClr val="bg1"/>
                </a:solidFill>
              </a:rPr>
              <a:t>Key</a:t>
            </a:r>
            <a:br>
              <a:rPr lang="en-US" sz="3600">
                <a:solidFill>
                  <a:schemeClr val="bg1"/>
                </a:solidFill>
              </a:rPr>
            </a:br>
            <a:r>
              <a:rPr lang="en-US" sz="3600">
                <a:solidFill>
                  <a:schemeClr val="bg1"/>
                </a:solidFill>
              </a:rPr>
              <a:t>Variables</a:t>
            </a:r>
          </a:p>
        </p:txBody>
      </p:sp>
      <p:sp>
        <p:nvSpPr>
          <p:cNvPr id="16" name="Rounded Rectangle 9">
            <a:extLst>
              <a:ext uri="{FF2B5EF4-FFF2-40B4-BE49-F238E27FC236}">
                <a16:creationId xmlns:a16="http://schemas.microsoft.com/office/drawing/2014/main" id="{E223798C-12AD-4B0C-A50C-D676347D67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3354" y="484632"/>
            <a:ext cx="8129016" cy="5724144"/>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Content Placeholder 8" descr="Chart, line chart, scatter chart&#10;&#10;Description automatically generated">
            <a:extLst>
              <a:ext uri="{FF2B5EF4-FFF2-40B4-BE49-F238E27FC236}">
                <a16:creationId xmlns:a16="http://schemas.microsoft.com/office/drawing/2014/main" id="{4EDF419D-B4C0-FE10-F2DA-E2ACF635027F}"/>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r="25513" b="1"/>
          <a:stretch/>
        </p:blipFill>
        <p:spPr>
          <a:xfrm>
            <a:off x="959127" y="908291"/>
            <a:ext cx="7163222" cy="4808332"/>
          </a:xfrm>
          <a:prstGeom prst="rect">
            <a:avLst/>
          </a:prstGeom>
          <a:effectLst/>
        </p:spPr>
      </p:pic>
    </p:spTree>
    <p:extLst>
      <p:ext uri="{BB962C8B-B14F-4D97-AF65-F5344CB8AC3E}">
        <p14:creationId xmlns:p14="http://schemas.microsoft.com/office/powerpoint/2010/main" val="25245113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18">
            <a:extLst>
              <a:ext uri="{FF2B5EF4-FFF2-40B4-BE49-F238E27FC236}">
                <a16:creationId xmlns:a16="http://schemas.microsoft.com/office/drawing/2014/main" id="{5BA5B84A-C7F4-03E5-6CB1-B8DC3CEC8256}"/>
              </a:ext>
            </a:extLst>
          </p:cNvPr>
          <p:cNvPicPr>
            <a:picLocks noGrp="1" noChangeAspect="1"/>
          </p:cNvPicPr>
          <p:nvPr>
            <p:ph idx="1"/>
          </p:nvPr>
        </p:nvPicPr>
        <p:blipFill>
          <a:blip r:embed="rId2"/>
          <a:stretch>
            <a:fillRect/>
          </a:stretch>
        </p:blipFill>
        <p:spPr>
          <a:xfrm>
            <a:off x="1069573" y="1352033"/>
            <a:ext cx="9763528" cy="5161698"/>
          </a:xfrm>
        </p:spPr>
      </p:pic>
      <p:sp>
        <p:nvSpPr>
          <p:cNvPr id="2" name="Title 1">
            <a:extLst>
              <a:ext uri="{FF2B5EF4-FFF2-40B4-BE49-F238E27FC236}">
                <a16:creationId xmlns:a16="http://schemas.microsoft.com/office/drawing/2014/main" id="{9D8DF354-60EE-BE81-1313-3D9EEE34ADE8}"/>
              </a:ext>
            </a:extLst>
          </p:cNvPr>
          <p:cNvSpPr>
            <a:spLocks noGrp="1"/>
          </p:cNvSpPr>
          <p:nvPr>
            <p:ph type="title"/>
          </p:nvPr>
        </p:nvSpPr>
        <p:spPr>
          <a:xfrm>
            <a:off x="1074313" y="86083"/>
            <a:ext cx="10515600" cy="1325563"/>
          </a:xfrm>
        </p:spPr>
        <p:txBody>
          <a:bodyPr>
            <a:normAutofit/>
          </a:bodyPr>
          <a:lstStyle/>
          <a:p>
            <a:pPr algn="ctr"/>
            <a:r>
              <a:rPr lang="en-US">
                <a:solidFill>
                  <a:schemeClr val="accent1"/>
                </a:solidFill>
              </a:rPr>
              <a:t>Decision Tree with Top 10 Variables</a:t>
            </a:r>
            <a:endParaRPr lang="en-US"/>
          </a:p>
        </p:txBody>
      </p:sp>
    </p:spTree>
    <p:extLst>
      <p:ext uri="{BB962C8B-B14F-4D97-AF65-F5344CB8AC3E}">
        <p14:creationId xmlns:p14="http://schemas.microsoft.com/office/powerpoint/2010/main" val="20779008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D873FB-A626-6D95-2BD2-F26A64EFB23D}"/>
              </a:ext>
            </a:extLst>
          </p:cNvPr>
          <p:cNvPicPr>
            <a:picLocks noChangeAspect="1"/>
          </p:cNvPicPr>
          <p:nvPr/>
        </p:nvPicPr>
        <p:blipFill>
          <a:blip r:embed="rId2"/>
          <a:stretch>
            <a:fillRect/>
          </a:stretch>
        </p:blipFill>
        <p:spPr>
          <a:xfrm>
            <a:off x="1398804" y="1088526"/>
            <a:ext cx="9411516" cy="5202078"/>
          </a:xfrm>
          <a:prstGeom prst="rect">
            <a:avLst/>
          </a:prstGeom>
        </p:spPr>
      </p:pic>
      <p:sp>
        <p:nvSpPr>
          <p:cNvPr id="2" name="Title 1">
            <a:extLst>
              <a:ext uri="{FF2B5EF4-FFF2-40B4-BE49-F238E27FC236}">
                <a16:creationId xmlns:a16="http://schemas.microsoft.com/office/drawing/2014/main" id="{1105DCD0-7AA2-BDC5-8B28-905106455B7D}"/>
              </a:ext>
            </a:extLst>
          </p:cNvPr>
          <p:cNvSpPr>
            <a:spLocks noGrp="1"/>
          </p:cNvSpPr>
          <p:nvPr>
            <p:ph type="title"/>
          </p:nvPr>
        </p:nvSpPr>
        <p:spPr>
          <a:xfrm>
            <a:off x="1074313" y="86083"/>
            <a:ext cx="10515600" cy="1325563"/>
          </a:xfrm>
        </p:spPr>
        <p:txBody>
          <a:bodyPr>
            <a:normAutofit/>
          </a:bodyPr>
          <a:lstStyle/>
          <a:p>
            <a:pPr algn="ctr"/>
            <a:r>
              <a:rPr lang="en-US">
                <a:solidFill>
                  <a:schemeClr val="accent1"/>
                </a:solidFill>
              </a:rPr>
              <a:t>Decision Tree with Top 15 Variables</a:t>
            </a:r>
            <a:endParaRPr lang="en-US"/>
          </a:p>
        </p:txBody>
      </p:sp>
    </p:spTree>
    <p:extLst>
      <p:ext uri="{BB962C8B-B14F-4D97-AF65-F5344CB8AC3E}">
        <p14:creationId xmlns:p14="http://schemas.microsoft.com/office/powerpoint/2010/main" val="28213685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C8908E2-EE49-44D2-9428-A28D2312A8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grpSp>
        <p:nvGrpSpPr>
          <p:cNvPr id="11" name="Group 10">
            <a:extLst>
              <a:ext uri="{FF2B5EF4-FFF2-40B4-BE49-F238E27FC236}">
                <a16:creationId xmlns:a16="http://schemas.microsoft.com/office/drawing/2014/main" id="{5D1A9D8B-3117-4D9D-BDA4-DD81895098B0}"/>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7467600" cy="6858000"/>
            <a:chOff x="7467600" y="0"/>
            <a:chExt cx="4724400" cy="6858000"/>
          </a:xfrm>
        </p:grpSpPr>
        <p:sp>
          <p:nvSpPr>
            <p:cNvPr id="12" name="Rectangle 11">
              <a:extLst>
                <a:ext uri="{FF2B5EF4-FFF2-40B4-BE49-F238E27FC236}">
                  <a16:creationId xmlns:a16="http://schemas.microsoft.com/office/drawing/2014/main" id="{A7877B25-8C10-4C8D-BC88-BF3C557F8FF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467600" y="0"/>
              <a:ext cx="4724400" cy="6858000"/>
            </a:xfrm>
            <a:prstGeom prst="rect">
              <a:avLst/>
            </a:prstGeom>
            <a:solidFill>
              <a:schemeClr val="accent5">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54F0DD86-96CD-4F5F-BA4D-FFC17F2D6C4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467600" y="0"/>
              <a:ext cx="4724400" cy="6858000"/>
            </a:xfrm>
            <a:prstGeom prst="rect">
              <a:avLst/>
            </a:prstGeom>
            <a:solidFill>
              <a:schemeClr val="accent6">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5" name="Freeform: Shape 14">
            <a:extLst>
              <a:ext uri="{FF2B5EF4-FFF2-40B4-BE49-F238E27FC236}">
                <a16:creationId xmlns:a16="http://schemas.microsoft.com/office/drawing/2014/main" id="{BD92035A-AA2F-4CD8-A556-1CE8BDEC75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369701" cy="6858000"/>
          </a:xfrm>
          <a:custGeom>
            <a:avLst/>
            <a:gdLst>
              <a:gd name="connsiteX0" fmla="*/ 369702 w 7467600"/>
              <a:gd name="connsiteY0" fmla="*/ 6712169 h 6858000"/>
              <a:gd name="connsiteX1" fmla="*/ 366575 w 7467600"/>
              <a:gd name="connsiteY1" fmla="*/ 6715556 h 6858000"/>
              <a:gd name="connsiteX2" fmla="*/ 371637 w 7467600"/>
              <a:gd name="connsiteY2" fmla="*/ 6713954 h 6858000"/>
              <a:gd name="connsiteX3" fmla="*/ 7090188 w 7467600"/>
              <a:gd name="connsiteY3" fmla="*/ 6584365 h 6858000"/>
              <a:gd name="connsiteX4" fmla="*/ 7440138 w 7467600"/>
              <a:gd name="connsiteY4" fmla="*/ 6622648 h 6858000"/>
              <a:gd name="connsiteX5" fmla="*/ 7467600 w 7467600"/>
              <a:gd name="connsiteY5" fmla="*/ 6628217 h 6858000"/>
              <a:gd name="connsiteX6" fmla="*/ 7467600 w 7467600"/>
              <a:gd name="connsiteY6" fmla="*/ 6668575 h 6858000"/>
              <a:gd name="connsiteX7" fmla="*/ 7392322 w 7467600"/>
              <a:gd name="connsiteY7" fmla="*/ 6658238 h 6858000"/>
              <a:gd name="connsiteX8" fmla="*/ 7467600 w 7467600"/>
              <a:gd name="connsiteY8" fmla="*/ 6683873 h 6858000"/>
              <a:gd name="connsiteX9" fmla="*/ 7467600 w 7467600"/>
              <a:gd name="connsiteY9" fmla="*/ 6714215 h 6858000"/>
              <a:gd name="connsiteX10" fmla="*/ 7447383 w 7467600"/>
              <a:gd name="connsiteY10" fmla="*/ 6707202 h 6858000"/>
              <a:gd name="connsiteX11" fmla="*/ 7289862 w 7467600"/>
              <a:gd name="connsiteY11" fmla="*/ 6659827 h 6858000"/>
              <a:gd name="connsiteX12" fmla="*/ 7434024 w 7467600"/>
              <a:gd name="connsiteY12" fmla="*/ 6722130 h 6858000"/>
              <a:gd name="connsiteX13" fmla="*/ 7467600 w 7467600"/>
              <a:gd name="connsiteY13" fmla="*/ 6736157 h 6858000"/>
              <a:gd name="connsiteX14" fmla="*/ 7467600 w 7467600"/>
              <a:gd name="connsiteY14" fmla="*/ 6767913 h 6858000"/>
              <a:gd name="connsiteX15" fmla="*/ 7271814 w 7467600"/>
              <a:gd name="connsiteY15" fmla="*/ 6684601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7090188 w 7467600"/>
              <a:gd name="connsiteY21" fmla="*/ 6584365 h 6858000"/>
              <a:gd name="connsiteX22" fmla="*/ 1019354 w 7467600"/>
              <a:gd name="connsiteY22" fmla="*/ 6315006 h 6858000"/>
              <a:gd name="connsiteX23" fmla="*/ 441046 w 7467600"/>
              <a:gd name="connsiteY23" fmla="*/ 6691153 h 6858000"/>
              <a:gd name="connsiteX24" fmla="*/ 1019354 w 7467600"/>
              <a:gd name="connsiteY24" fmla="*/ 6315006 h 6858000"/>
              <a:gd name="connsiteX25" fmla="*/ 991680 w 7467600"/>
              <a:gd name="connsiteY25" fmla="*/ 6298413 h 6858000"/>
              <a:gd name="connsiteX26" fmla="*/ 409060 w 7467600"/>
              <a:gd name="connsiteY26" fmla="*/ 6671470 h 6858000"/>
              <a:gd name="connsiteX27" fmla="*/ 991680 w 7467600"/>
              <a:gd name="connsiteY27" fmla="*/ 6298413 h 6858000"/>
              <a:gd name="connsiteX28" fmla="*/ 103333 w 7467600"/>
              <a:gd name="connsiteY28" fmla="*/ 5699602 h 6858000"/>
              <a:gd name="connsiteX29" fmla="*/ 233938 w 7467600"/>
              <a:gd name="connsiteY29" fmla="*/ 5809416 h 6858000"/>
              <a:gd name="connsiteX30" fmla="*/ 883580 w 7467600"/>
              <a:gd name="connsiteY30" fmla="*/ 6180710 h 6858000"/>
              <a:gd name="connsiteX31" fmla="*/ 487337 w 7467600"/>
              <a:gd name="connsiteY31" fmla="*/ 5950182 h 6858000"/>
              <a:gd name="connsiteX32" fmla="*/ 354051 w 7467600"/>
              <a:gd name="connsiteY32" fmla="*/ 5854912 h 6858000"/>
              <a:gd name="connsiteX33" fmla="*/ 195436 w 7467600"/>
              <a:gd name="connsiteY33" fmla="*/ 5755068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6861797 w 7467600"/>
              <a:gd name="connsiteY74" fmla="*/ 5419899 h 6858000"/>
              <a:gd name="connsiteX75" fmla="*/ 6879594 w 7467600"/>
              <a:gd name="connsiteY75" fmla="*/ 5424547 h 6858000"/>
              <a:gd name="connsiteX76" fmla="*/ 7379510 w 7467600"/>
              <a:gd name="connsiteY76" fmla="*/ 5755454 h 6858000"/>
              <a:gd name="connsiteX77" fmla="*/ 7467600 w 7467600"/>
              <a:gd name="connsiteY77" fmla="*/ 5845526 h 6858000"/>
              <a:gd name="connsiteX78" fmla="*/ 7467600 w 7467600"/>
              <a:gd name="connsiteY78" fmla="*/ 5925131 h 6858000"/>
              <a:gd name="connsiteX79" fmla="*/ 7271900 w 7467600"/>
              <a:gd name="connsiteY79" fmla="*/ 5734551 h 6858000"/>
              <a:gd name="connsiteX80" fmla="*/ 7015907 w 7467600"/>
              <a:gd name="connsiteY80" fmla="*/ 5541548 h 6858000"/>
              <a:gd name="connsiteX81" fmla="*/ 7259646 w 7467600"/>
              <a:gd name="connsiteY81" fmla="*/ 5765985 h 6858000"/>
              <a:gd name="connsiteX82" fmla="*/ 7467600 w 7467600"/>
              <a:gd name="connsiteY82" fmla="*/ 5971257 h 6858000"/>
              <a:gd name="connsiteX83" fmla="*/ 7467600 w 7467600"/>
              <a:gd name="connsiteY83" fmla="*/ 6012219 h 6858000"/>
              <a:gd name="connsiteX84" fmla="*/ 7240170 w 7467600"/>
              <a:gd name="connsiteY84" fmla="*/ 5787985 h 6858000"/>
              <a:gd name="connsiteX85" fmla="*/ 6946849 w 7467600"/>
              <a:gd name="connsiteY85" fmla="*/ 5523271 h 6858000"/>
              <a:gd name="connsiteX86" fmla="*/ 6946972 w 7467600"/>
              <a:gd name="connsiteY86" fmla="*/ 5526491 h 6858000"/>
              <a:gd name="connsiteX87" fmla="*/ 7105827 w 7467600"/>
              <a:gd name="connsiteY87" fmla="*/ 5718700 h 6858000"/>
              <a:gd name="connsiteX88" fmla="*/ 7126431 w 7467600"/>
              <a:gd name="connsiteY88" fmla="*/ 5737872 h 6858000"/>
              <a:gd name="connsiteX89" fmla="*/ 7356878 w 7467600"/>
              <a:gd name="connsiteY89" fmla="*/ 5981332 h 6858000"/>
              <a:gd name="connsiteX90" fmla="*/ 7467600 w 7467600"/>
              <a:gd name="connsiteY90" fmla="*/ 6117703 h 6858000"/>
              <a:gd name="connsiteX91" fmla="*/ 7467600 w 7467600"/>
              <a:gd name="connsiteY91" fmla="*/ 6163634 h 6858000"/>
              <a:gd name="connsiteX92" fmla="*/ 7403637 w 7467600"/>
              <a:gd name="connsiteY92" fmla="*/ 6083957 h 6858000"/>
              <a:gd name="connsiteX93" fmla="*/ 7254615 w 7467600"/>
              <a:gd name="connsiteY93" fmla="*/ 5911918 h 6858000"/>
              <a:gd name="connsiteX94" fmla="*/ 7312589 w 7467600"/>
              <a:gd name="connsiteY94" fmla="*/ 5982309 h 6858000"/>
              <a:gd name="connsiteX95" fmla="*/ 7448321 w 7467600"/>
              <a:gd name="connsiteY95" fmla="*/ 6190991 h 6858000"/>
              <a:gd name="connsiteX96" fmla="*/ 7467600 w 7467600"/>
              <a:gd name="connsiteY96" fmla="*/ 6221686 h 6858000"/>
              <a:gd name="connsiteX97" fmla="*/ 7467600 w 7467600"/>
              <a:gd name="connsiteY97" fmla="*/ 6334256 h 6858000"/>
              <a:gd name="connsiteX98" fmla="*/ 7454976 w 7467600"/>
              <a:gd name="connsiteY98" fmla="*/ 6318297 h 6858000"/>
              <a:gd name="connsiteX99" fmla="*/ 7042773 w 7467600"/>
              <a:gd name="connsiteY99" fmla="*/ 5734011 h 6858000"/>
              <a:gd name="connsiteX100" fmla="*/ 6844835 w 7467600"/>
              <a:gd name="connsiteY100" fmla="*/ 5424988 h 6858000"/>
              <a:gd name="connsiteX101" fmla="*/ 6861797 w 7467600"/>
              <a:gd name="connsiteY101" fmla="*/ 5419899 h 6858000"/>
              <a:gd name="connsiteX102" fmla="*/ 1456157 w 7467600"/>
              <a:gd name="connsiteY102" fmla="*/ 5371404 h 6858000"/>
              <a:gd name="connsiteX103" fmla="*/ 1244432 w 7467600"/>
              <a:gd name="connsiteY103" fmla="*/ 5385601 h 6858000"/>
              <a:gd name="connsiteX104" fmla="*/ 973990 w 7467600"/>
              <a:gd name="connsiteY104" fmla="*/ 5424940 h 6858000"/>
              <a:gd name="connsiteX105" fmla="*/ 1103809 w 7467600"/>
              <a:gd name="connsiteY105" fmla="*/ 5433720 h 6858000"/>
              <a:gd name="connsiteX106" fmla="*/ 1123454 w 7467600"/>
              <a:gd name="connsiteY106" fmla="*/ 5435727 h 6858000"/>
              <a:gd name="connsiteX107" fmla="*/ 1737017 w 7467600"/>
              <a:gd name="connsiteY107" fmla="*/ 5452183 h 6858000"/>
              <a:gd name="connsiteX108" fmla="*/ 1824397 w 7467600"/>
              <a:gd name="connsiteY108" fmla="*/ 5447757 h 6858000"/>
              <a:gd name="connsiteX109" fmla="*/ 2070059 w 7467600"/>
              <a:gd name="connsiteY109" fmla="*/ 5441660 h 6858000"/>
              <a:gd name="connsiteX110" fmla="*/ 1456157 w 7467600"/>
              <a:gd name="connsiteY110" fmla="*/ 5371404 h 6858000"/>
              <a:gd name="connsiteX111" fmla="*/ 4988186 w 7467600"/>
              <a:gd name="connsiteY111" fmla="*/ 5216467 h 6858000"/>
              <a:gd name="connsiteX112" fmla="*/ 4777334 w 7467600"/>
              <a:gd name="connsiteY112" fmla="*/ 5406072 h 6858000"/>
              <a:gd name="connsiteX113" fmla="*/ 4718341 w 7467600"/>
              <a:gd name="connsiteY113" fmla="*/ 5468043 h 6858000"/>
              <a:gd name="connsiteX114" fmla="*/ 4604655 w 7467600"/>
              <a:gd name="connsiteY114" fmla="*/ 5583434 h 6858000"/>
              <a:gd name="connsiteX115" fmla="*/ 4565074 w 7467600"/>
              <a:gd name="connsiteY115" fmla="*/ 5618550 h 6858000"/>
              <a:gd name="connsiteX116" fmla="*/ 4988186 w 7467600"/>
              <a:gd name="connsiteY116" fmla="*/ 5216467 h 6858000"/>
              <a:gd name="connsiteX117" fmla="*/ 4978032 w 7467600"/>
              <a:gd name="connsiteY117" fmla="*/ 5183809 h 6858000"/>
              <a:gd name="connsiteX118" fmla="*/ 4463413 w 7467600"/>
              <a:gd name="connsiteY118" fmla="*/ 5615162 h 6858000"/>
              <a:gd name="connsiteX119" fmla="*/ 4358134 w 7467600"/>
              <a:gd name="connsiteY119" fmla="*/ 5742791 h 6858000"/>
              <a:gd name="connsiteX120" fmla="*/ 4376219 w 7467600"/>
              <a:gd name="connsiteY120" fmla="*/ 5729027 h 6858000"/>
              <a:gd name="connsiteX121" fmla="*/ 4582340 w 7467600"/>
              <a:gd name="connsiteY121" fmla="*/ 5561037 h 6858000"/>
              <a:gd name="connsiteX122" fmla="*/ 4694684 w 7467600"/>
              <a:gd name="connsiteY122" fmla="*/ 5447098 h 6858000"/>
              <a:gd name="connsiteX123" fmla="*/ 4754123 w 7467600"/>
              <a:gd name="connsiteY123" fmla="*/ 5384643 h 6858000"/>
              <a:gd name="connsiteX124" fmla="*/ 4978032 w 7467600"/>
              <a:gd name="connsiteY124" fmla="*/ 5183809 h 6858000"/>
              <a:gd name="connsiteX125" fmla="*/ 7133363 w 7467600"/>
              <a:gd name="connsiteY125" fmla="*/ 5050246 h 6858000"/>
              <a:gd name="connsiteX126" fmla="*/ 7450656 w 7467600"/>
              <a:gd name="connsiteY126" fmla="*/ 5134750 h 6858000"/>
              <a:gd name="connsiteX127" fmla="*/ 7467600 w 7467600"/>
              <a:gd name="connsiteY127" fmla="*/ 5142496 h 6858000"/>
              <a:gd name="connsiteX128" fmla="*/ 7467600 w 7467600"/>
              <a:gd name="connsiteY128" fmla="*/ 5158623 h 6858000"/>
              <a:gd name="connsiteX129" fmla="*/ 7427076 w 7467600"/>
              <a:gd name="connsiteY129" fmla="*/ 5142684 h 6858000"/>
              <a:gd name="connsiteX130" fmla="*/ 7467600 w 7467600"/>
              <a:gd name="connsiteY130" fmla="*/ 5164774 h 6858000"/>
              <a:gd name="connsiteX131" fmla="*/ 7467600 w 7467600"/>
              <a:gd name="connsiteY131" fmla="*/ 5199146 h 6858000"/>
              <a:gd name="connsiteX132" fmla="*/ 7391022 w 7467600"/>
              <a:gd name="connsiteY132" fmla="*/ 5158141 h 6858000"/>
              <a:gd name="connsiteX133" fmla="*/ 7312201 w 7467600"/>
              <a:gd name="connsiteY133" fmla="*/ 5128278 h 6858000"/>
              <a:gd name="connsiteX134" fmla="*/ 7343603 w 7467600"/>
              <a:gd name="connsiteY134" fmla="*/ 5149746 h 6858000"/>
              <a:gd name="connsiteX135" fmla="*/ 7467600 w 7467600"/>
              <a:gd name="connsiteY135" fmla="*/ 5241225 h 6858000"/>
              <a:gd name="connsiteX136" fmla="*/ 7467600 w 7467600"/>
              <a:gd name="connsiteY136" fmla="*/ 5277736 h 6858000"/>
              <a:gd name="connsiteX137" fmla="*/ 7327465 w 7467600"/>
              <a:gd name="connsiteY137" fmla="*/ 5174181 h 6858000"/>
              <a:gd name="connsiteX138" fmla="*/ 7244057 w 7467600"/>
              <a:gd name="connsiteY138" fmla="*/ 5124233 h 6858000"/>
              <a:gd name="connsiteX139" fmla="*/ 7353035 w 7467600"/>
              <a:gd name="connsiteY139" fmla="*/ 5197318 h 6858000"/>
              <a:gd name="connsiteX140" fmla="*/ 7467600 w 7467600"/>
              <a:gd name="connsiteY140" fmla="*/ 5297634 h 6858000"/>
              <a:gd name="connsiteX141" fmla="*/ 7467600 w 7467600"/>
              <a:gd name="connsiteY141" fmla="*/ 5361850 h 6858000"/>
              <a:gd name="connsiteX142" fmla="*/ 7368569 w 7467600"/>
              <a:gd name="connsiteY142" fmla="*/ 5270182 h 6858000"/>
              <a:gd name="connsiteX143" fmla="*/ 7131946 w 7467600"/>
              <a:gd name="connsiteY143" fmla="*/ 5075653 h 6858000"/>
              <a:gd name="connsiteX144" fmla="*/ 7133363 w 7467600"/>
              <a:gd name="connsiteY144" fmla="*/ 5050246 h 6858000"/>
              <a:gd name="connsiteX145" fmla="*/ 1903353 w 7467600"/>
              <a:gd name="connsiteY145" fmla="*/ 5044827 h 6858000"/>
              <a:gd name="connsiteX146" fmla="*/ 1936931 w 7467600"/>
              <a:gd name="connsiteY146" fmla="*/ 5093954 h 6858000"/>
              <a:gd name="connsiteX147" fmla="*/ 2195868 w 7467600"/>
              <a:gd name="connsiteY147" fmla="*/ 5396574 h 6858000"/>
              <a:gd name="connsiteX148" fmla="*/ 2088852 w 7467600"/>
              <a:gd name="connsiteY148" fmla="*/ 5166123 h 6858000"/>
              <a:gd name="connsiteX149" fmla="*/ 1958241 w 7467600"/>
              <a:gd name="connsiteY149" fmla="*/ 5067955 h 6858000"/>
              <a:gd name="connsiteX150" fmla="*/ 1903353 w 7467600"/>
              <a:gd name="connsiteY150" fmla="*/ 5044827 h 6858000"/>
              <a:gd name="connsiteX151" fmla="*/ 1979378 w 7467600"/>
              <a:gd name="connsiteY151" fmla="*/ 4769504 h 6858000"/>
              <a:gd name="connsiteX152" fmla="*/ 2882120 w 7467600"/>
              <a:gd name="connsiteY152" fmla="*/ 5064547 h 6858000"/>
              <a:gd name="connsiteX153" fmla="*/ 2793103 w 7467600"/>
              <a:gd name="connsiteY153" fmla="*/ 5039699 h 6858000"/>
              <a:gd name="connsiteX154" fmla="*/ 2770041 w 7467600"/>
              <a:gd name="connsiteY154" fmla="*/ 5033634 h 6858000"/>
              <a:gd name="connsiteX155" fmla="*/ 1979378 w 7467600"/>
              <a:gd name="connsiteY155" fmla="*/ 4769504 h 6858000"/>
              <a:gd name="connsiteX156" fmla="*/ 1927410 w 7467600"/>
              <a:gd name="connsiteY156" fmla="*/ 4716164 h 6858000"/>
              <a:gd name="connsiteX157" fmla="*/ 1959587 w 7467600"/>
              <a:gd name="connsiteY157" fmla="*/ 4728849 h 6858000"/>
              <a:gd name="connsiteX158" fmla="*/ 2777707 w 7467600"/>
              <a:gd name="connsiteY158" fmla="*/ 5003991 h 6858000"/>
              <a:gd name="connsiteX159" fmla="*/ 2800768 w 7467600"/>
              <a:gd name="connsiteY159" fmla="*/ 5010056 h 6858000"/>
              <a:gd name="connsiteX160" fmla="*/ 2879408 w 7467600"/>
              <a:gd name="connsiteY160" fmla="*/ 5031590 h 6858000"/>
              <a:gd name="connsiteX161" fmla="*/ 2862295 w 7467600"/>
              <a:gd name="connsiteY161" fmla="*/ 5022958 h 6858000"/>
              <a:gd name="connsiteX162" fmla="*/ 2813343 w 7467600"/>
              <a:gd name="connsiteY162" fmla="*/ 4998369 h 6858000"/>
              <a:gd name="connsiteX163" fmla="*/ 2646245 w 7467600"/>
              <a:gd name="connsiteY163" fmla="*/ 4930999 h 6858000"/>
              <a:gd name="connsiteX164" fmla="*/ 1999243 w 7467600"/>
              <a:gd name="connsiteY164" fmla="*/ 4730524 h 6858000"/>
              <a:gd name="connsiteX165" fmla="*/ 1979527 w 7467600"/>
              <a:gd name="connsiteY165" fmla="*/ 4726651 h 6858000"/>
              <a:gd name="connsiteX166" fmla="*/ 1997014 w 7467600"/>
              <a:gd name="connsiteY166" fmla="*/ 4698007 h 6858000"/>
              <a:gd name="connsiteX167" fmla="*/ 2005458 w 7467600"/>
              <a:gd name="connsiteY167" fmla="*/ 4699540 h 6858000"/>
              <a:gd name="connsiteX168" fmla="*/ 2657186 w 7467600"/>
              <a:gd name="connsiteY168" fmla="*/ 4901687 h 6858000"/>
              <a:gd name="connsiteX169" fmla="*/ 2826662 w 7467600"/>
              <a:gd name="connsiteY169" fmla="*/ 4970362 h 6858000"/>
              <a:gd name="connsiteX170" fmla="*/ 2876100 w 7467600"/>
              <a:gd name="connsiteY170" fmla="*/ 4995397 h 6858000"/>
              <a:gd name="connsiteX171" fmla="*/ 3042600 w 7467600"/>
              <a:gd name="connsiteY171" fmla="*/ 5059532 h 6858000"/>
              <a:gd name="connsiteX172" fmla="*/ 1997014 w 7467600"/>
              <a:gd name="connsiteY172" fmla="*/ 4698007 h 6858000"/>
              <a:gd name="connsiteX173" fmla="*/ 2305292 w 7467600"/>
              <a:gd name="connsiteY173" fmla="*/ 4219492 h 6858000"/>
              <a:gd name="connsiteX174" fmla="*/ 3360922 w 7467600"/>
              <a:gd name="connsiteY174" fmla="*/ 4529373 h 6858000"/>
              <a:gd name="connsiteX175" fmla="*/ 3492420 w 7467600"/>
              <a:gd name="connsiteY175" fmla="*/ 4510145 h 6858000"/>
              <a:gd name="connsiteX176" fmla="*/ 3364086 w 7467600"/>
              <a:gd name="connsiteY176" fmla="*/ 4480340 h 6858000"/>
              <a:gd name="connsiteX177" fmla="*/ 3225818 w 7467600"/>
              <a:gd name="connsiteY177" fmla="*/ 4411822 h 6858000"/>
              <a:gd name="connsiteX178" fmla="*/ 3129696 w 7467600"/>
              <a:gd name="connsiteY178" fmla="*/ 4360704 h 6858000"/>
              <a:gd name="connsiteX179" fmla="*/ 2814545 w 7467600"/>
              <a:gd name="connsiteY179" fmla="*/ 4282955 h 6858000"/>
              <a:gd name="connsiteX180" fmla="*/ 2305292 w 7467600"/>
              <a:gd name="connsiteY180" fmla="*/ 4219492 h 6858000"/>
              <a:gd name="connsiteX181" fmla="*/ 2626982 w 7467600"/>
              <a:gd name="connsiteY181" fmla="*/ 4206450 h 6858000"/>
              <a:gd name="connsiteX182" fmla="*/ 2490617 w 7467600"/>
              <a:gd name="connsiteY182" fmla="*/ 4206951 h 6858000"/>
              <a:gd name="connsiteX183" fmla="*/ 2819869 w 7467600"/>
              <a:gd name="connsiteY183" fmla="*/ 4252936 h 6858000"/>
              <a:gd name="connsiteX184" fmla="*/ 3143018 w 7467600"/>
              <a:gd name="connsiteY184" fmla="*/ 4332698 h 6858000"/>
              <a:gd name="connsiteX185" fmla="*/ 3241520 w 7467600"/>
              <a:gd name="connsiteY185" fmla="*/ 4385112 h 6858000"/>
              <a:gd name="connsiteX186" fmla="*/ 3374575 w 7467600"/>
              <a:gd name="connsiteY186" fmla="*/ 4451517 h 6858000"/>
              <a:gd name="connsiteX187" fmla="*/ 3505221 w 7467600"/>
              <a:gd name="connsiteY187" fmla="*/ 4480757 h 6858000"/>
              <a:gd name="connsiteX188" fmla="*/ 2626982 w 7467600"/>
              <a:gd name="connsiteY188" fmla="*/ 4206450 h 6858000"/>
              <a:gd name="connsiteX189" fmla="*/ 1310106 w 7467600"/>
              <a:gd name="connsiteY189" fmla="*/ 3943217 h 6858000"/>
              <a:gd name="connsiteX190" fmla="*/ 854994 w 7467600"/>
              <a:gd name="connsiteY190" fmla="*/ 4399136 h 6858000"/>
              <a:gd name="connsiteX191" fmla="*/ 742462 w 7467600"/>
              <a:gd name="connsiteY191" fmla="*/ 4594648 h 6858000"/>
              <a:gd name="connsiteX192" fmla="*/ 820602 w 7467600"/>
              <a:gd name="connsiteY192" fmla="*/ 4485915 h 6858000"/>
              <a:gd name="connsiteX193" fmla="*/ 878295 w 7467600"/>
              <a:gd name="connsiteY193" fmla="*/ 4403594 h 6858000"/>
              <a:gd name="connsiteX194" fmla="*/ 1240607 w 7467600"/>
              <a:gd name="connsiteY194" fmla="*/ 4010401 h 6858000"/>
              <a:gd name="connsiteX195" fmla="*/ 1423113 w 7467600"/>
              <a:gd name="connsiteY195" fmla="*/ 3874565 h 6858000"/>
              <a:gd name="connsiteX196" fmla="*/ 1260565 w 7467600"/>
              <a:gd name="connsiteY196" fmla="*/ 4031982 h 6858000"/>
              <a:gd name="connsiteX197" fmla="*/ 901900 w 7467600"/>
              <a:gd name="connsiteY197" fmla="*/ 4421236 h 6858000"/>
              <a:gd name="connsiteX198" fmla="*/ 845044 w 7467600"/>
              <a:gd name="connsiteY198" fmla="*/ 4502436 h 6858000"/>
              <a:gd name="connsiteX199" fmla="*/ 685926 w 7467600"/>
              <a:gd name="connsiteY199" fmla="*/ 4703069 h 6858000"/>
              <a:gd name="connsiteX200" fmla="*/ 684248 w 7467600"/>
              <a:gd name="connsiteY200" fmla="*/ 4706721 h 6858000"/>
              <a:gd name="connsiteX201" fmla="*/ 1423113 w 7467600"/>
              <a:gd name="connsiteY201" fmla="*/ 3874565 h 6858000"/>
              <a:gd name="connsiteX202" fmla="*/ 3316479 w 7467600"/>
              <a:gd name="connsiteY202" fmla="*/ 3872136 h 6858000"/>
              <a:gd name="connsiteX203" fmla="*/ 3546806 w 7467600"/>
              <a:gd name="connsiteY203" fmla="*/ 4356139 h 6858000"/>
              <a:gd name="connsiteX204" fmla="*/ 3364433 w 7467600"/>
              <a:gd name="connsiteY204" fmla="*/ 3953121 h 6858000"/>
              <a:gd name="connsiteX205" fmla="*/ 3291335 w 7467600"/>
              <a:gd name="connsiteY205" fmla="*/ 3767420 h 6858000"/>
              <a:gd name="connsiteX206" fmla="*/ 3390805 w 7467600"/>
              <a:gd name="connsiteY206" fmla="*/ 3937163 h 6858000"/>
              <a:gd name="connsiteX207" fmla="*/ 3579062 w 7467600"/>
              <a:gd name="connsiteY207" fmla="*/ 4359040 h 6858000"/>
              <a:gd name="connsiteX208" fmla="*/ 3467355 w 7467600"/>
              <a:gd name="connsiteY208" fmla="*/ 3988130 h 6858000"/>
              <a:gd name="connsiteX209" fmla="*/ 3310753 w 7467600"/>
              <a:gd name="connsiteY209" fmla="*/ 3787140 h 6858000"/>
              <a:gd name="connsiteX210" fmla="*/ 3291335 w 7467600"/>
              <a:gd name="connsiteY210" fmla="*/ 3767420 h 6858000"/>
              <a:gd name="connsiteX211" fmla="*/ 1635889 w 7467600"/>
              <a:gd name="connsiteY211" fmla="*/ 3709494 h 6858000"/>
              <a:gd name="connsiteX212" fmla="*/ 1634800 w 7467600"/>
              <a:gd name="connsiteY212" fmla="*/ 3731111 h 6858000"/>
              <a:gd name="connsiteX213" fmla="*/ 1635889 w 7467600"/>
              <a:gd name="connsiteY213" fmla="*/ 3709494 h 6858000"/>
              <a:gd name="connsiteX214" fmla="*/ 1510397 w 7467600"/>
              <a:gd name="connsiteY214" fmla="*/ 3684705 h 6858000"/>
              <a:gd name="connsiteX215" fmla="*/ 1146550 w 7467600"/>
              <a:gd name="connsiteY215" fmla="*/ 3802012 h 6858000"/>
              <a:gd name="connsiteX216" fmla="*/ 698834 w 7467600"/>
              <a:gd name="connsiteY216" fmla="*/ 3952272 h 6858000"/>
              <a:gd name="connsiteX217" fmla="*/ 34256 w 7467600"/>
              <a:gd name="connsiteY217" fmla="*/ 4347603 h 6858000"/>
              <a:gd name="connsiteX218" fmla="*/ 527241 w 7467600"/>
              <a:gd name="connsiteY218" fmla="*/ 4065078 h 6858000"/>
              <a:gd name="connsiteX219" fmla="*/ 1510397 w 7467600"/>
              <a:gd name="connsiteY219" fmla="*/ 3684705 h 6858000"/>
              <a:gd name="connsiteX220" fmla="*/ 1313114 w 7467600"/>
              <a:gd name="connsiteY220" fmla="*/ 3655216 h 6858000"/>
              <a:gd name="connsiteX221" fmla="*/ 1109304 w 7467600"/>
              <a:gd name="connsiteY221" fmla="*/ 3669030 h 6858000"/>
              <a:gd name="connsiteX222" fmla="*/ 8129 w 7467600"/>
              <a:gd name="connsiteY222" fmla="*/ 4330519 h 6858000"/>
              <a:gd name="connsiteX223" fmla="*/ 687572 w 7467600"/>
              <a:gd name="connsiteY223" fmla="*/ 3925629 h 6858000"/>
              <a:gd name="connsiteX224" fmla="*/ 1138365 w 7467600"/>
              <a:gd name="connsiteY224" fmla="*/ 3774515 h 6858000"/>
              <a:gd name="connsiteX225" fmla="*/ 1505579 w 7467600"/>
              <a:gd name="connsiteY225" fmla="*/ 3655526 h 6858000"/>
              <a:gd name="connsiteX226" fmla="*/ 1313114 w 7467600"/>
              <a:gd name="connsiteY226" fmla="*/ 3655216 h 6858000"/>
              <a:gd name="connsiteX227" fmla="*/ 3655073 w 7467600"/>
              <a:gd name="connsiteY227" fmla="*/ 3650884 h 6858000"/>
              <a:gd name="connsiteX228" fmla="*/ 3989938 w 7467600"/>
              <a:gd name="connsiteY228" fmla="*/ 3991685 h 6858000"/>
              <a:gd name="connsiteX229" fmla="*/ 4393907 w 7467600"/>
              <a:gd name="connsiteY229" fmla="*/ 4261258 h 6858000"/>
              <a:gd name="connsiteX230" fmla="*/ 4648051 w 7467600"/>
              <a:gd name="connsiteY230" fmla="*/ 4374051 h 6858000"/>
              <a:gd name="connsiteX231" fmla="*/ 4383389 w 7467600"/>
              <a:gd name="connsiteY231" fmla="*/ 4184369 h 6858000"/>
              <a:gd name="connsiteX232" fmla="*/ 4165508 w 7467600"/>
              <a:gd name="connsiteY232" fmla="*/ 4035196 h 6858000"/>
              <a:gd name="connsiteX233" fmla="*/ 4068162 w 7467600"/>
              <a:gd name="connsiteY233" fmla="*/ 3953394 h 6858000"/>
              <a:gd name="connsiteX234" fmla="*/ 3981416 w 7467600"/>
              <a:gd name="connsiteY234" fmla="*/ 3880482 h 6858000"/>
              <a:gd name="connsiteX235" fmla="*/ 3800147 w 7467600"/>
              <a:gd name="connsiteY235" fmla="*/ 3749872 h 6858000"/>
              <a:gd name="connsiteX236" fmla="*/ 3670252 w 7467600"/>
              <a:gd name="connsiteY236" fmla="*/ 3622798 h 6858000"/>
              <a:gd name="connsiteX237" fmla="*/ 3817258 w 7467600"/>
              <a:gd name="connsiteY237" fmla="*/ 3723577 h 6858000"/>
              <a:gd name="connsiteX238" fmla="*/ 4000461 w 7467600"/>
              <a:gd name="connsiteY238" fmla="*/ 3855966 h 6858000"/>
              <a:gd name="connsiteX239" fmla="*/ 4088180 w 7467600"/>
              <a:gd name="connsiteY239" fmla="*/ 3929774 h 6858000"/>
              <a:gd name="connsiteX240" fmla="*/ 4184555 w 7467600"/>
              <a:gd name="connsiteY240" fmla="*/ 4010683 h 6858000"/>
              <a:gd name="connsiteX241" fmla="*/ 4399563 w 7467600"/>
              <a:gd name="connsiteY241" fmla="*/ 4158106 h 6858000"/>
              <a:gd name="connsiteX242" fmla="*/ 4684469 w 7467600"/>
              <a:gd name="connsiteY242" fmla="*/ 4364680 h 6858000"/>
              <a:gd name="connsiteX243" fmla="*/ 4690271 w 7467600"/>
              <a:gd name="connsiteY243" fmla="*/ 4370034 h 6858000"/>
              <a:gd name="connsiteX244" fmla="*/ 4136093 w 7467600"/>
              <a:gd name="connsiteY244" fmla="*/ 3858466 h 6858000"/>
              <a:gd name="connsiteX245" fmla="*/ 3670252 w 7467600"/>
              <a:gd name="connsiteY245" fmla="*/ 3622798 h 6858000"/>
              <a:gd name="connsiteX246" fmla="*/ 4440129 w 7467600"/>
              <a:gd name="connsiteY246" fmla="*/ 3448571 h 6858000"/>
              <a:gd name="connsiteX247" fmla="*/ 4856525 w 7467600"/>
              <a:gd name="connsiteY247" fmla="*/ 3915351 h 6858000"/>
              <a:gd name="connsiteX248" fmla="*/ 5059055 w 7467600"/>
              <a:gd name="connsiteY248" fmla="*/ 4108918 h 6858000"/>
              <a:gd name="connsiteX249" fmla="*/ 5290070 w 7467600"/>
              <a:gd name="connsiteY249" fmla="*/ 4263619 h 6858000"/>
              <a:gd name="connsiteX250" fmla="*/ 4834991 w 7467600"/>
              <a:gd name="connsiteY250" fmla="*/ 3830985 h 6858000"/>
              <a:gd name="connsiteX251" fmla="*/ 4440129 w 7467600"/>
              <a:gd name="connsiteY251" fmla="*/ 3448571 h 6858000"/>
              <a:gd name="connsiteX252" fmla="*/ 4441737 w 7467600"/>
              <a:gd name="connsiteY252" fmla="*/ 3399734 h 6858000"/>
              <a:gd name="connsiteX253" fmla="*/ 4431236 w 7467600"/>
              <a:gd name="connsiteY253" fmla="*/ 3400954 h 6858000"/>
              <a:gd name="connsiteX254" fmla="*/ 4557150 w 7467600"/>
              <a:gd name="connsiteY254" fmla="*/ 3510023 h 6858000"/>
              <a:gd name="connsiteX255" fmla="*/ 4856936 w 7467600"/>
              <a:gd name="connsiteY255" fmla="*/ 3809146 h 6858000"/>
              <a:gd name="connsiteX256" fmla="*/ 5111996 w 7467600"/>
              <a:gd name="connsiteY256" fmla="*/ 4065759 h 6858000"/>
              <a:gd name="connsiteX257" fmla="*/ 5388878 w 7467600"/>
              <a:gd name="connsiteY257" fmla="*/ 4300185 h 6858000"/>
              <a:gd name="connsiteX258" fmla="*/ 5425556 w 7467600"/>
              <a:gd name="connsiteY258" fmla="*/ 4308967 h 6858000"/>
              <a:gd name="connsiteX259" fmla="*/ 4943646 w 7467600"/>
              <a:gd name="connsiteY259" fmla="*/ 3822916 h 6858000"/>
              <a:gd name="connsiteX260" fmla="*/ 4594837 w 7467600"/>
              <a:gd name="connsiteY260" fmla="*/ 3532274 h 6858000"/>
              <a:gd name="connsiteX261" fmla="*/ 4441737 w 7467600"/>
              <a:gd name="connsiteY261" fmla="*/ 3399734 h 6858000"/>
              <a:gd name="connsiteX262" fmla="*/ 5425834 w 7467600"/>
              <a:gd name="connsiteY262" fmla="*/ 3162785 h 6858000"/>
              <a:gd name="connsiteX263" fmla="*/ 5401644 w 7467600"/>
              <a:gd name="connsiteY263" fmla="*/ 3617847 h 6858000"/>
              <a:gd name="connsiteX264" fmla="*/ 5467256 w 7467600"/>
              <a:gd name="connsiteY264" fmla="*/ 4175494 h 6858000"/>
              <a:gd name="connsiteX265" fmla="*/ 5448069 w 7467600"/>
              <a:gd name="connsiteY265" fmla="*/ 3567554 h 6858000"/>
              <a:gd name="connsiteX266" fmla="*/ 1318687 w 7467600"/>
              <a:gd name="connsiteY266" fmla="*/ 3113840 h 6858000"/>
              <a:gd name="connsiteX267" fmla="*/ 1066793 w 7467600"/>
              <a:gd name="connsiteY267" fmla="*/ 3212171 h 6858000"/>
              <a:gd name="connsiteX268" fmla="*/ 993319 w 7467600"/>
              <a:gd name="connsiteY268" fmla="*/ 3247648 h 6858000"/>
              <a:gd name="connsiteX269" fmla="*/ 853081 w 7467600"/>
              <a:gd name="connsiteY269" fmla="*/ 3312410 h 6858000"/>
              <a:gd name="connsiteX270" fmla="*/ 805957 w 7467600"/>
              <a:gd name="connsiteY270" fmla="*/ 3330443 h 6858000"/>
              <a:gd name="connsiteX271" fmla="*/ 1318687 w 7467600"/>
              <a:gd name="connsiteY271" fmla="*/ 3113840 h 6858000"/>
              <a:gd name="connsiteX272" fmla="*/ 5453702 w 7467600"/>
              <a:gd name="connsiteY272" fmla="*/ 3090882 h 6858000"/>
              <a:gd name="connsiteX273" fmla="*/ 5480135 w 7467600"/>
              <a:gd name="connsiteY273" fmla="*/ 3565802 h 6858000"/>
              <a:gd name="connsiteX274" fmla="*/ 5499023 w 7467600"/>
              <a:gd name="connsiteY274" fmla="*/ 4166310 h 6858000"/>
              <a:gd name="connsiteX275" fmla="*/ 5547022 w 7467600"/>
              <a:gd name="connsiteY275" fmla="*/ 3607838 h 6858000"/>
              <a:gd name="connsiteX276" fmla="*/ 5515964 w 7467600"/>
              <a:gd name="connsiteY276" fmla="*/ 3378541 h 6858000"/>
              <a:gd name="connsiteX277" fmla="*/ 5453702 w 7467600"/>
              <a:gd name="connsiteY277" fmla="*/ 3090882 h 6858000"/>
              <a:gd name="connsiteX278" fmla="*/ 1238695 w 7467600"/>
              <a:gd name="connsiteY278" fmla="*/ 3076820 h 6858000"/>
              <a:gd name="connsiteX279" fmla="*/ 716371 w 7467600"/>
              <a:gd name="connsiteY279" fmla="*/ 3293249 h 6858000"/>
              <a:gd name="connsiteX280" fmla="*/ 579522 w 7467600"/>
              <a:gd name="connsiteY280" fmla="*/ 3371759 h 6858000"/>
              <a:gd name="connsiteX281" fmla="*/ 600288 w 7467600"/>
              <a:gd name="connsiteY281" fmla="*/ 3365555 h 6858000"/>
              <a:gd name="connsiteX282" fmla="*/ 840692 w 7467600"/>
              <a:gd name="connsiteY282" fmla="*/ 3284921 h 6858000"/>
              <a:gd name="connsiteX283" fmla="*/ 979248 w 7467600"/>
              <a:gd name="connsiteY283" fmla="*/ 3221003 h 6858000"/>
              <a:gd name="connsiteX284" fmla="*/ 1053282 w 7467600"/>
              <a:gd name="connsiteY284" fmla="*/ 3185247 h 6858000"/>
              <a:gd name="connsiteX285" fmla="*/ 1320603 w 7467600"/>
              <a:gd name="connsiteY285" fmla="*/ 3081281 h 6858000"/>
              <a:gd name="connsiteX286" fmla="*/ 1238695 w 7467600"/>
              <a:gd name="connsiteY286" fmla="*/ 3076820 h 6858000"/>
              <a:gd name="connsiteX287" fmla="*/ 5425627 w 7467600"/>
              <a:gd name="connsiteY287" fmla="*/ 2954192 h 6858000"/>
              <a:gd name="connsiteX288" fmla="*/ 5470770 w 7467600"/>
              <a:gd name="connsiteY288" fmla="*/ 3005435 h 6858000"/>
              <a:gd name="connsiteX289" fmla="*/ 5519779 w 7467600"/>
              <a:gd name="connsiteY289" fmla="*/ 4359223 h 6858000"/>
              <a:gd name="connsiteX290" fmla="*/ 5520293 w 7467600"/>
              <a:gd name="connsiteY290" fmla="*/ 4360602 h 6858000"/>
              <a:gd name="connsiteX291" fmla="*/ 5767221 w 7467600"/>
              <a:gd name="connsiteY291" fmla="*/ 4665564 h 6858000"/>
              <a:gd name="connsiteX292" fmla="*/ 6937169 w 7467600"/>
              <a:gd name="connsiteY292" fmla="*/ 4815941 h 6858000"/>
              <a:gd name="connsiteX293" fmla="*/ 6953922 w 7467600"/>
              <a:gd name="connsiteY293" fmla="*/ 4890068 h 6858000"/>
              <a:gd name="connsiteX294" fmla="*/ 6071359 w 7467600"/>
              <a:gd name="connsiteY294" fmla="*/ 4770770 h 6858000"/>
              <a:gd name="connsiteX295" fmla="*/ 6038839 w 7467600"/>
              <a:gd name="connsiteY295" fmla="*/ 4764474 h 6858000"/>
              <a:gd name="connsiteX296" fmla="*/ 6038706 w 7467600"/>
              <a:gd name="connsiteY296" fmla="*/ 4763847 h 6858000"/>
              <a:gd name="connsiteX297" fmla="*/ 6037784 w 7467600"/>
              <a:gd name="connsiteY297" fmla="*/ 4764270 h 6858000"/>
              <a:gd name="connsiteX298" fmla="*/ 6038839 w 7467600"/>
              <a:gd name="connsiteY298" fmla="*/ 4764474 h 6858000"/>
              <a:gd name="connsiteX299" fmla="*/ 6040338 w 7467600"/>
              <a:gd name="connsiteY299" fmla="*/ 4771418 h 6858000"/>
              <a:gd name="connsiteX300" fmla="*/ 6024488 w 7467600"/>
              <a:gd name="connsiteY300" fmla="*/ 4809903 h 6858000"/>
              <a:gd name="connsiteX301" fmla="*/ 5599771 w 7467600"/>
              <a:gd name="connsiteY301" fmla="*/ 5509652 h 6858000"/>
              <a:gd name="connsiteX302" fmla="*/ 5548843 w 7467600"/>
              <a:gd name="connsiteY302" fmla="*/ 5563845 h 6858000"/>
              <a:gd name="connsiteX303" fmla="*/ 5940952 w 7467600"/>
              <a:gd name="connsiteY303" fmla="*/ 6250028 h 6858000"/>
              <a:gd name="connsiteX304" fmla="*/ 6043441 w 7467600"/>
              <a:gd name="connsiteY304" fmla="*/ 6665847 h 6858000"/>
              <a:gd name="connsiteX305" fmla="*/ 6093432 w 7467600"/>
              <a:gd name="connsiteY305" fmla="*/ 6858000 h 6858000"/>
              <a:gd name="connsiteX306" fmla="*/ 6034344 w 7467600"/>
              <a:gd name="connsiteY306" fmla="*/ 6858000 h 6858000"/>
              <a:gd name="connsiteX307" fmla="*/ 6026679 w 7467600"/>
              <a:gd name="connsiteY307" fmla="*/ 6836959 h 6858000"/>
              <a:gd name="connsiteX308" fmla="*/ 5800441 w 7467600"/>
              <a:gd name="connsiteY308" fmla="*/ 6335286 h 6858000"/>
              <a:gd name="connsiteX309" fmla="*/ 5526562 w 7467600"/>
              <a:gd name="connsiteY309" fmla="*/ 5705388 h 6858000"/>
              <a:gd name="connsiteX310" fmla="*/ 5519640 w 7467600"/>
              <a:gd name="connsiteY310" fmla="*/ 5683774 h 6858000"/>
              <a:gd name="connsiteX311" fmla="*/ 5844559 w 7467600"/>
              <a:gd name="connsiteY311" fmla="*/ 6553349 h 6858000"/>
              <a:gd name="connsiteX312" fmla="*/ 5975994 w 7467600"/>
              <a:gd name="connsiteY312" fmla="*/ 6858000 h 6858000"/>
              <a:gd name="connsiteX313" fmla="*/ 5898547 w 7467600"/>
              <a:gd name="connsiteY313" fmla="*/ 6858000 h 6858000"/>
              <a:gd name="connsiteX314" fmla="*/ 5682041 w 7467600"/>
              <a:gd name="connsiteY314" fmla="*/ 6355860 h 6858000"/>
              <a:gd name="connsiteX315" fmla="*/ 5461758 w 7467600"/>
              <a:gd name="connsiteY315" fmla="*/ 5820220 h 6858000"/>
              <a:gd name="connsiteX316" fmla="*/ 5237282 w 7467600"/>
              <a:gd name="connsiteY316" fmla="*/ 6579086 h 6858000"/>
              <a:gd name="connsiteX317" fmla="*/ 5115009 w 7467600"/>
              <a:gd name="connsiteY317" fmla="*/ 6858000 h 6858000"/>
              <a:gd name="connsiteX318" fmla="*/ 5028074 w 7467600"/>
              <a:gd name="connsiteY318" fmla="*/ 6858000 h 6858000"/>
              <a:gd name="connsiteX319" fmla="*/ 5079508 w 7467600"/>
              <a:gd name="connsiteY319" fmla="*/ 6749074 h 6858000"/>
              <a:gd name="connsiteX320" fmla="*/ 5371846 w 7467600"/>
              <a:gd name="connsiteY320" fmla="*/ 5924413 h 6858000"/>
              <a:gd name="connsiteX321" fmla="*/ 5270512 w 7467600"/>
              <a:gd name="connsiteY321" fmla="*/ 6138975 h 6858000"/>
              <a:gd name="connsiteX322" fmla="*/ 5062409 w 7467600"/>
              <a:gd name="connsiteY322" fmla="*/ 6653544 h 6858000"/>
              <a:gd name="connsiteX323" fmla="*/ 5036628 w 7467600"/>
              <a:gd name="connsiteY323" fmla="*/ 6754247 h 6858000"/>
              <a:gd name="connsiteX324" fmla="*/ 5009112 w 7467600"/>
              <a:gd name="connsiteY324" fmla="*/ 6858000 h 6858000"/>
              <a:gd name="connsiteX325" fmla="*/ 4976679 w 7467600"/>
              <a:gd name="connsiteY325" fmla="*/ 6858000 h 6858000"/>
              <a:gd name="connsiteX326" fmla="*/ 5006537 w 7467600"/>
              <a:gd name="connsiteY326" fmla="*/ 6747068 h 6858000"/>
              <a:gd name="connsiteX327" fmla="*/ 5032723 w 7467600"/>
              <a:gd name="connsiteY327" fmla="*/ 6644957 h 6858000"/>
              <a:gd name="connsiteX328" fmla="*/ 5242949 w 7467600"/>
              <a:gd name="connsiteY328" fmla="*/ 6125175 h 6858000"/>
              <a:gd name="connsiteX329" fmla="*/ 5286321 w 7467600"/>
              <a:gd name="connsiteY329" fmla="*/ 6033555 h 6858000"/>
              <a:gd name="connsiteX330" fmla="*/ 5008210 w 7467600"/>
              <a:gd name="connsiteY330" fmla="*/ 6649194 h 6858000"/>
              <a:gd name="connsiteX331" fmla="*/ 4986321 w 7467600"/>
              <a:gd name="connsiteY331" fmla="*/ 6765687 h 6858000"/>
              <a:gd name="connsiteX332" fmla="*/ 4973474 w 7467600"/>
              <a:gd name="connsiteY332" fmla="*/ 6858000 h 6858000"/>
              <a:gd name="connsiteX333" fmla="*/ 4907178 w 7467600"/>
              <a:gd name="connsiteY333" fmla="*/ 6858000 h 6858000"/>
              <a:gd name="connsiteX334" fmla="*/ 4910810 w 7467600"/>
              <a:gd name="connsiteY334" fmla="*/ 6829660 h 6858000"/>
              <a:gd name="connsiteX335" fmla="*/ 4987461 w 7467600"/>
              <a:gd name="connsiteY335" fmla="*/ 6432994 h 6858000"/>
              <a:gd name="connsiteX336" fmla="*/ 5179262 w 7467600"/>
              <a:gd name="connsiteY336" fmla="*/ 6035044 h 6858000"/>
              <a:gd name="connsiteX337" fmla="*/ 4689678 w 7467600"/>
              <a:gd name="connsiteY337" fmla="*/ 6440241 h 6858000"/>
              <a:gd name="connsiteX338" fmla="*/ 4477543 w 7467600"/>
              <a:gd name="connsiteY338" fmla="*/ 6674836 h 6858000"/>
              <a:gd name="connsiteX339" fmla="*/ 4329957 w 7467600"/>
              <a:gd name="connsiteY339" fmla="*/ 6858000 h 6858000"/>
              <a:gd name="connsiteX340" fmla="*/ 4218595 w 7467600"/>
              <a:gd name="connsiteY340" fmla="*/ 6858000 h 6858000"/>
              <a:gd name="connsiteX341" fmla="*/ 4368888 w 7467600"/>
              <a:gd name="connsiteY341" fmla="*/ 6668412 h 6858000"/>
              <a:gd name="connsiteX342" fmla="*/ 4563091 w 7467600"/>
              <a:gd name="connsiteY342" fmla="*/ 6442508 h 6858000"/>
              <a:gd name="connsiteX343" fmla="*/ 5387324 w 7467600"/>
              <a:gd name="connsiteY343" fmla="*/ 5705830 h 6858000"/>
              <a:gd name="connsiteX344" fmla="*/ 5073620 w 7467600"/>
              <a:gd name="connsiteY344" fmla="*/ 5955437 h 6858000"/>
              <a:gd name="connsiteX345" fmla="*/ 4689789 w 7467600"/>
              <a:gd name="connsiteY345" fmla="*/ 6268382 h 6858000"/>
              <a:gd name="connsiteX346" fmla="*/ 4418722 w 7467600"/>
              <a:gd name="connsiteY346" fmla="*/ 6570886 h 6858000"/>
              <a:gd name="connsiteX347" fmla="*/ 4214944 w 7467600"/>
              <a:gd name="connsiteY347" fmla="*/ 6858000 h 6858000"/>
              <a:gd name="connsiteX348" fmla="*/ 4177898 w 7467600"/>
              <a:gd name="connsiteY348" fmla="*/ 6858000 h 6858000"/>
              <a:gd name="connsiteX349" fmla="*/ 4391597 w 7467600"/>
              <a:gd name="connsiteY349" fmla="*/ 6556370 h 6858000"/>
              <a:gd name="connsiteX350" fmla="*/ 4668889 w 7467600"/>
              <a:gd name="connsiteY350" fmla="*/ 6246399 h 6858000"/>
              <a:gd name="connsiteX351" fmla="*/ 5055427 w 7467600"/>
              <a:gd name="connsiteY351" fmla="*/ 5931476 h 6858000"/>
              <a:gd name="connsiteX352" fmla="*/ 5371814 w 7467600"/>
              <a:gd name="connsiteY352" fmla="*/ 5678975 h 6858000"/>
              <a:gd name="connsiteX353" fmla="*/ 4987918 w 7467600"/>
              <a:gd name="connsiteY353" fmla="*/ 5838701 h 6858000"/>
              <a:gd name="connsiteX354" fmla="*/ 4317146 w 7467600"/>
              <a:gd name="connsiteY354" fmla="*/ 6587716 h 6858000"/>
              <a:gd name="connsiteX355" fmla="*/ 4171627 w 7467600"/>
              <a:gd name="connsiteY355" fmla="*/ 6858000 h 6858000"/>
              <a:gd name="connsiteX356" fmla="*/ 4081585 w 7467600"/>
              <a:gd name="connsiteY356" fmla="*/ 6858000 h 6858000"/>
              <a:gd name="connsiteX357" fmla="*/ 4238603 w 7467600"/>
              <a:gd name="connsiteY357" fmla="*/ 6559341 h 6858000"/>
              <a:gd name="connsiteX358" fmla="*/ 4778333 w 7467600"/>
              <a:gd name="connsiteY358" fmla="*/ 5873626 h 6858000"/>
              <a:gd name="connsiteX359" fmla="*/ 5414185 w 7467600"/>
              <a:gd name="connsiteY359" fmla="*/ 5573882 h 6858000"/>
              <a:gd name="connsiteX360" fmla="*/ 5959648 w 7467600"/>
              <a:gd name="connsiteY360" fmla="*/ 4760797 h 6858000"/>
              <a:gd name="connsiteX361" fmla="*/ 5355019 w 7467600"/>
              <a:gd name="connsiteY361" fmla="*/ 4734672 h 6858000"/>
              <a:gd name="connsiteX362" fmla="*/ 5083565 w 7467600"/>
              <a:gd name="connsiteY362" fmla="*/ 5179121 h 6858000"/>
              <a:gd name="connsiteX363" fmla="*/ 4713577 w 7467600"/>
              <a:gd name="connsiteY363" fmla="*/ 5616803 h 6858000"/>
              <a:gd name="connsiteX364" fmla="*/ 3989559 w 7467600"/>
              <a:gd name="connsiteY364" fmla="*/ 6145945 h 6858000"/>
              <a:gd name="connsiteX365" fmla="*/ 3939824 w 7467600"/>
              <a:gd name="connsiteY365" fmla="*/ 6066900 h 6858000"/>
              <a:gd name="connsiteX366" fmla="*/ 4584537 w 7467600"/>
              <a:gd name="connsiteY366" fmla="*/ 5324826 h 6858000"/>
              <a:gd name="connsiteX367" fmla="*/ 5037105 w 7467600"/>
              <a:gd name="connsiteY367" fmla="*/ 5088765 h 6858000"/>
              <a:gd name="connsiteX368" fmla="*/ 5039930 w 7467600"/>
              <a:gd name="connsiteY368" fmla="*/ 5089585 h 6858000"/>
              <a:gd name="connsiteX369" fmla="*/ 5263764 w 7467600"/>
              <a:gd name="connsiteY369" fmla="*/ 4735525 h 6858000"/>
              <a:gd name="connsiteX370" fmla="*/ 4086300 w 7467600"/>
              <a:gd name="connsiteY370" fmla="*/ 4884599 h 6858000"/>
              <a:gd name="connsiteX371" fmla="*/ 4085485 w 7467600"/>
              <a:gd name="connsiteY371" fmla="*/ 4899070 h 6858000"/>
              <a:gd name="connsiteX372" fmla="*/ 3871915 w 7467600"/>
              <a:gd name="connsiteY372" fmla="*/ 5253645 h 6858000"/>
              <a:gd name="connsiteX373" fmla="*/ 3799374 w 7467600"/>
              <a:gd name="connsiteY373" fmla="*/ 5466127 h 6858000"/>
              <a:gd name="connsiteX374" fmla="*/ 3498850 w 7467600"/>
              <a:gd name="connsiteY374" fmla="*/ 6661888 h 6858000"/>
              <a:gd name="connsiteX375" fmla="*/ 3399216 w 7467600"/>
              <a:gd name="connsiteY375" fmla="*/ 6858000 h 6858000"/>
              <a:gd name="connsiteX376" fmla="*/ 3303688 w 7467600"/>
              <a:gd name="connsiteY376" fmla="*/ 6858000 h 6858000"/>
              <a:gd name="connsiteX377" fmla="*/ 3391774 w 7467600"/>
              <a:gd name="connsiteY377" fmla="*/ 6697181 h 6858000"/>
              <a:gd name="connsiteX378" fmla="*/ 3735540 w 7467600"/>
              <a:gd name="connsiteY378" fmla="*/ 5546923 h 6858000"/>
              <a:gd name="connsiteX379" fmla="*/ 3729438 w 7467600"/>
              <a:gd name="connsiteY379" fmla="*/ 5569058 h 6858000"/>
              <a:gd name="connsiteX380" fmla="*/ 3707782 w 7467600"/>
              <a:gd name="connsiteY380" fmla="*/ 5644908 h 6858000"/>
              <a:gd name="connsiteX381" fmla="*/ 3583827 w 7467600"/>
              <a:gd name="connsiteY381" fmla="*/ 6039215 h 6858000"/>
              <a:gd name="connsiteX382" fmla="*/ 3547861 w 7467600"/>
              <a:gd name="connsiteY382" fmla="*/ 6129609 h 6858000"/>
              <a:gd name="connsiteX383" fmla="*/ 3490905 w 7467600"/>
              <a:gd name="connsiteY383" fmla="*/ 6277660 h 6858000"/>
              <a:gd name="connsiteX384" fmla="*/ 3455859 w 7467600"/>
              <a:gd name="connsiteY384" fmla="*/ 6391301 h 6858000"/>
              <a:gd name="connsiteX385" fmla="*/ 3429112 w 7467600"/>
              <a:gd name="connsiteY385" fmla="*/ 6479469 h 6858000"/>
              <a:gd name="connsiteX386" fmla="*/ 3304862 w 7467600"/>
              <a:gd name="connsiteY386" fmla="*/ 6796476 h 6858000"/>
              <a:gd name="connsiteX387" fmla="*/ 3276071 w 7467600"/>
              <a:gd name="connsiteY387" fmla="*/ 6858000 h 6858000"/>
              <a:gd name="connsiteX388" fmla="*/ 3240805 w 7467600"/>
              <a:gd name="connsiteY388" fmla="*/ 6858000 h 6858000"/>
              <a:gd name="connsiteX389" fmla="*/ 3275917 w 7467600"/>
              <a:gd name="connsiteY389" fmla="*/ 6783192 h 6858000"/>
              <a:gd name="connsiteX390" fmla="*/ 3399358 w 7467600"/>
              <a:gd name="connsiteY390" fmla="*/ 6469011 h 6858000"/>
              <a:gd name="connsiteX391" fmla="*/ 3425650 w 7467600"/>
              <a:gd name="connsiteY391" fmla="*/ 6381333 h 6858000"/>
              <a:gd name="connsiteX392" fmla="*/ 3460661 w 7467600"/>
              <a:gd name="connsiteY392" fmla="*/ 6266763 h 6858000"/>
              <a:gd name="connsiteX393" fmla="*/ 3518021 w 7467600"/>
              <a:gd name="connsiteY393" fmla="*/ 6117298 h 6858000"/>
              <a:gd name="connsiteX394" fmla="*/ 3554035 w 7467600"/>
              <a:gd name="connsiteY394" fmla="*/ 6027832 h 6858000"/>
              <a:gd name="connsiteX395" fmla="*/ 3677174 w 7467600"/>
              <a:gd name="connsiteY395" fmla="*/ 5636351 h 6858000"/>
              <a:gd name="connsiteX396" fmla="*/ 3698819 w 7467600"/>
              <a:gd name="connsiteY396" fmla="*/ 5560503 h 6858000"/>
              <a:gd name="connsiteX397" fmla="*/ 3702094 w 7467600"/>
              <a:gd name="connsiteY397" fmla="*/ 5549194 h 6858000"/>
              <a:gd name="connsiteX398" fmla="*/ 3398355 w 7467600"/>
              <a:gd name="connsiteY398" fmla="*/ 6094603 h 6858000"/>
              <a:gd name="connsiteX399" fmla="*/ 3193941 w 7467600"/>
              <a:gd name="connsiteY399" fmla="*/ 6798775 h 6858000"/>
              <a:gd name="connsiteX400" fmla="*/ 3184140 w 7467600"/>
              <a:gd name="connsiteY400" fmla="*/ 6858000 h 6858000"/>
              <a:gd name="connsiteX401" fmla="*/ 3099978 w 7467600"/>
              <a:gd name="connsiteY401" fmla="*/ 6858000 h 6858000"/>
              <a:gd name="connsiteX402" fmla="*/ 3101556 w 7467600"/>
              <a:gd name="connsiteY402" fmla="*/ 6843337 h 6858000"/>
              <a:gd name="connsiteX403" fmla="*/ 3370162 w 7467600"/>
              <a:gd name="connsiteY403" fmla="*/ 5785550 h 6858000"/>
              <a:gd name="connsiteX404" fmla="*/ 3746477 w 7467600"/>
              <a:gd name="connsiteY404" fmla="*/ 5377889 h 6858000"/>
              <a:gd name="connsiteX405" fmla="*/ 3863399 w 7467600"/>
              <a:gd name="connsiteY405" fmla="*/ 5087257 h 6858000"/>
              <a:gd name="connsiteX406" fmla="*/ 3968712 w 7467600"/>
              <a:gd name="connsiteY406" fmla="*/ 4913989 h 6858000"/>
              <a:gd name="connsiteX407" fmla="*/ 2792390 w 7467600"/>
              <a:gd name="connsiteY407" fmla="*/ 5382974 h 6858000"/>
              <a:gd name="connsiteX408" fmla="*/ 2714982 w 7467600"/>
              <a:gd name="connsiteY408" fmla="*/ 5427051 h 6858000"/>
              <a:gd name="connsiteX409" fmla="*/ 2813361 w 7467600"/>
              <a:gd name="connsiteY409" fmla="*/ 6023912 h 6858000"/>
              <a:gd name="connsiteX410" fmla="*/ 2688430 w 7467600"/>
              <a:gd name="connsiteY410" fmla="*/ 6801564 h 6858000"/>
              <a:gd name="connsiteX411" fmla="*/ 2629626 w 7467600"/>
              <a:gd name="connsiteY411" fmla="*/ 6763394 h 6858000"/>
              <a:gd name="connsiteX412" fmla="*/ 2565328 w 7467600"/>
              <a:gd name="connsiteY412" fmla="*/ 5516399 h 6858000"/>
              <a:gd name="connsiteX413" fmla="*/ 1922999 w 7467600"/>
              <a:gd name="connsiteY413" fmla="*/ 5980343 h 6858000"/>
              <a:gd name="connsiteX414" fmla="*/ 1950261 w 7467600"/>
              <a:gd name="connsiteY414" fmla="*/ 6405858 h 6858000"/>
              <a:gd name="connsiteX415" fmla="*/ 2365554 w 7467600"/>
              <a:gd name="connsiteY415" fmla="*/ 6759107 h 6858000"/>
              <a:gd name="connsiteX416" fmla="*/ 2424142 w 7467600"/>
              <a:gd name="connsiteY416" fmla="*/ 6858000 h 6858000"/>
              <a:gd name="connsiteX417" fmla="*/ 2395994 w 7467600"/>
              <a:gd name="connsiteY417" fmla="*/ 6858000 h 6858000"/>
              <a:gd name="connsiteX418" fmla="*/ 2392863 w 7467600"/>
              <a:gd name="connsiteY418" fmla="*/ 6852964 h 6858000"/>
              <a:gd name="connsiteX419" fmla="*/ 2017589 w 7467600"/>
              <a:gd name="connsiteY419" fmla="*/ 6493982 h 6858000"/>
              <a:gd name="connsiteX420" fmla="*/ 2147336 w 7467600"/>
              <a:gd name="connsiteY420" fmla="*/ 6594052 h 6858000"/>
              <a:gd name="connsiteX421" fmla="*/ 2207047 w 7467600"/>
              <a:gd name="connsiteY421" fmla="*/ 6654540 h 6858000"/>
              <a:gd name="connsiteX422" fmla="*/ 2299106 w 7467600"/>
              <a:gd name="connsiteY422" fmla="*/ 6778931 h 6858000"/>
              <a:gd name="connsiteX423" fmla="*/ 2314430 w 7467600"/>
              <a:gd name="connsiteY423" fmla="*/ 6801144 h 6858000"/>
              <a:gd name="connsiteX424" fmla="*/ 2352406 w 7467600"/>
              <a:gd name="connsiteY424" fmla="*/ 6858000 h 6858000"/>
              <a:gd name="connsiteX425" fmla="*/ 2314492 w 7467600"/>
              <a:gd name="connsiteY425" fmla="*/ 6858000 h 6858000"/>
              <a:gd name="connsiteX426" fmla="*/ 2288095 w 7467600"/>
              <a:gd name="connsiteY426" fmla="*/ 6818030 h 6858000"/>
              <a:gd name="connsiteX427" fmla="*/ 2272768 w 7467600"/>
              <a:gd name="connsiteY427" fmla="*/ 6795822 h 6858000"/>
              <a:gd name="connsiteX428" fmla="*/ 2182715 w 7467600"/>
              <a:gd name="connsiteY428" fmla="*/ 6675071 h 6858000"/>
              <a:gd name="connsiteX429" fmla="*/ 2032061 w 7467600"/>
              <a:gd name="connsiteY429" fmla="*/ 6541380 h 6858000"/>
              <a:gd name="connsiteX430" fmla="*/ 2257220 w 7467600"/>
              <a:gd name="connsiteY430" fmla="*/ 6826257 h 6858000"/>
              <a:gd name="connsiteX431" fmla="*/ 2281324 w 7467600"/>
              <a:gd name="connsiteY431" fmla="*/ 6858000 h 6858000"/>
              <a:gd name="connsiteX432" fmla="*/ 2242860 w 7467600"/>
              <a:gd name="connsiteY432" fmla="*/ 6858000 h 6858000"/>
              <a:gd name="connsiteX433" fmla="*/ 2232818 w 7467600"/>
              <a:gd name="connsiteY433" fmla="*/ 6844926 h 6858000"/>
              <a:gd name="connsiteX434" fmla="*/ 1990172 w 7467600"/>
              <a:gd name="connsiteY434" fmla="*/ 6542121 h 6858000"/>
              <a:gd name="connsiteX435" fmla="*/ 2124090 w 7467600"/>
              <a:gd name="connsiteY435" fmla="*/ 6761017 h 6858000"/>
              <a:gd name="connsiteX436" fmla="*/ 2200380 w 7467600"/>
              <a:gd name="connsiteY436" fmla="*/ 6858000 h 6858000"/>
              <a:gd name="connsiteX437" fmla="*/ 2147507 w 7467600"/>
              <a:gd name="connsiteY437" fmla="*/ 6858000 h 6858000"/>
              <a:gd name="connsiteX438" fmla="*/ 2070668 w 7467600"/>
              <a:gd name="connsiteY438" fmla="*/ 6761520 h 6858000"/>
              <a:gd name="connsiteX439" fmla="*/ 1975142 w 7467600"/>
              <a:gd name="connsiteY439" fmla="*/ 6585570 h 6858000"/>
              <a:gd name="connsiteX440" fmla="*/ 2050035 w 7467600"/>
              <a:gd name="connsiteY440" fmla="*/ 6813345 h 6858000"/>
              <a:gd name="connsiteX441" fmla="*/ 2063025 w 7467600"/>
              <a:gd name="connsiteY441" fmla="*/ 6858000 h 6858000"/>
              <a:gd name="connsiteX442" fmla="*/ 2021675 w 7467600"/>
              <a:gd name="connsiteY442" fmla="*/ 6858000 h 6858000"/>
              <a:gd name="connsiteX443" fmla="*/ 2019308 w 7467600"/>
              <a:gd name="connsiteY443" fmla="*/ 6847118 h 6858000"/>
              <a:gd name="connsiteX444" fmla="*/ 1938835 w 7467600"/>
              <a:gd name="connsiteY444" fmla="*/ 6551160 h 6858000"/>
              <a:gd name="connsiteX445" fmla="*/ 1953230 w 7467600"/>
              <a:gd name="connsiteY445" fmla="*/ 6759699 h 6858000"/>
              <a:gd name="connsiteX446" fmla="*/ 1956763 w 7467600"/>
              <a:gd name="connsiteY446" fmla="*/ 6778191 h 6858000"/>
              <a:gd name="connsiteX447" fmla="*/ 1967925 w 7467600"/>
              <a:gd name="connsiteY447" fmla="*/ 6858000 h 6858000"/>
              <a:gd name="connsiteX448" fmla="*/ 1936622 w 7467600"/>
              <a:gd name="connsiteY448" fmla="*/ 6858000 h 6858000"/>
              <a:gd name="connsiteX449" fmla="*/ 1926261 w 7467600"/>
              <a:gd name="connsiteY449" fmla="*/ 6784064 h 6858000"/>
              <a:gd name="connsiteX450" fmla="*/ 1922724 w 7467600"/>
              <a:gd name="connsiteY450" fmla="*/ 6765577 h 6858000"/>
              <a:gd name="connsiteX451" fmla="*/ 1904650 w 7467600"/>
              <a:gd name="connsiteY451" fmla="*/ 6639616 h 6858000"/>
              <a:gd name="connsiteX452" fmla="*/ 1885273 w 7467600"/>
              <a:gd name="connsiteY452" fmla="*/ 6858000 h 6858000"/>
              <a:gd name="connsiteX453" fmla="*/ 1854363 w 7467600"/>
              <a:gd name="connsiteY453" fmla="*/ 6858000 h 6858000"/>
              <a:gd name="connsiteX454" fmla="*/ 1880391 w 7467600"/>
              <a:gd name="connsiteY454" fmla="*/ 6603796 h 6858000"/>
              <a:gd name="connsiteX455" fmla="*/ 1818273 w 7467600"/>
              <a:gd name="connsiteY455" fmla="*/ 6715729 h 6858000"/>
              <a:gd name="connsiteX456" fmla="*/ 1794691 w 7467600"/>
              <a:gd name="connsiteY456" fmla="*/ 6843239 h 6858000"/>
              <a:gd name="connsiteX457" fmla="*/ 1794914 w 7467600"/>
              <a:gd name="connsiteY457" fmla="*/ 6858000 h 6858000"/>
              <a:gd name="connsiteX458" fmla="*/ 1746128 w 7467600"/>
              <a:gd name="connsiteY458" fmla="*/ 6858000 h 6858000"/>
              <a:gd name="connsiteX459" fmla="*/ 1753934 w 7467600"/>
              <a:gd name="connsiteY459" fmla="*/ 6724796 h 6858000"/>
              <a:gd name="connsiteX460" fmla="*/ 1792053 w 7467600"/>
              <a:gd name="connsiteY460" fmla="*/ 6572396 h 6858000"/>
              <a:gd name="connsiteX461" fmla="*/ 1862248 w 7467600"/>
              <a:gd name="connsiteY461" fmla="*/ 6266397 h 6858000"/>
              <a:gd name="connsiteX462" fmla="*/ 1862250 w 7467600"/>
              <a:gd name="connsiteY462" fmla="*/ 6033531 h 6858000"/>
              <a:gd name="connsiteX463" fmla="*/ 1211999 w 7467600"/>
              <a:gd name="connsiteY463" fmla="*/ 6683610 h 6858000"/>
              <a:gd name="connsiteX464" fmla="*/ 1213266 w 7467600"/>
              <a:gd name="connsiteY464" fmla="*/ 6691947 h 6858000"/>
              <a:gd name="connsiteX465" fmla="*/ 1203370 w 7467600"/>
              <a:gd name="connsiteY465" fmla="*/ 6850676 h 6858000"/>
              <a:gd name="connsiteX466" fmla="*/ 1203671 w 7467600"/>
              <a:gd name="connsiteY466" fmla="*/ 6858000 h 6858000"/>
              <a:gd name="connsiteX467" fmla="*/ 1143180 w 7467600"/>
              <a:gd name="connsiteY467" fmla="*/ 6858000 h 6858000"/>
              <a:gd name="connsiteX468" fmla="*/ 1142176 w 7467600"/>
              <a:gd name="connsiteY468" fmla="*/ 6766045 h 6858000"/>
              <a:gd name="connsiteX469" fmla="*/ 1067484 w 7467600"/>
              <a:gd name="connsiteY469" fmla="*/ 6858000 h 6858000"/>
              <a:gd name="connsiteX470" fmla="*/ 953928 w 7467600"/>
              <a:gd name="connsiteY470" fmla="*/ 6858000 h 6858000"/>
              <a:gd name="connsiteX471" fmla="*/ 959715 w 7467600"/>
              <a:gd name="connsiteY471" fmla="*/ 6850185 h 6858000"/>
              <a:gd name="connsiteX472" fmla="*/ 1483788 w 7467600"/>
              <a:gd name="connsiteY472" fmla="*/ 6259174 h 6858000"/>
              <a:gd name="connsiteX473" fmla="*/ 1100671 w 7467600"/>
              <a:gd name="connsiteY473" fmla="*/ 6252137 h 6858000"/>
              <a:gd name="connsiteX474" fmla="*/ 1090144 w 7467600"/>
              <a:gd name="connsiteY474" fmla="*/ 6256748 h 6858000"/>
              <a:gd name="connsiteX475" fmla="*/ 1095872 w 7467600"/>
              <a:gd name="connsiteY475" fmla="*/ 6271892 h 6858000"/>
              <a:gd name="connsiteX476" fmla="*/ 262785 w 7467600"/>
              <a:gd name="connsiteY476" fmla="*/ 6845450 h 6858000"/>
              <a:gd name="connsiteX477" fmla="*/ 209968 w 7467600"/>
              <a:gd name="connsiteY477" fmla="*/ 6770713 h 6858000"/>
              <a:gd name="connsiteX478" fmla="*/ 873460 w 7467600"/>
              <a:gd name="connsiteY478" fmla="*/ 6253768 h 6858000"/>
              <a:gd name="connsiteX479" fmla="*/ 192686 w 7467600"/>
              <a:gd name="connsiteY479" fmla="*/ 5849257 h 6858000"/>
              <a:gd name="connsiteX480" fmla="*/ 4696 w 7467600"/>
              <a:gd name="connsiteY480" fmla="*/ 5697668 h 6858000"/>
              <a:gd name="connsiteX481" fmla="*/ 0 w 7467600"/>
              <a:gd name="connsiteY481" fmla="*/ 5689984 h 6858000"/>
              <a:gd name="connsiteX482" fmla="*/ 0 w 7467600"/>
              <a:gd name="connsiteY482" fmla="*/ 5513472 h 6858000"/>
              <a:gd name="connsiteX483" fmla="*/ 174101 w 7467600"/>
              <a:gd name="connsiteY483" fmla="*/ 5620277 h 6858000"/>
              <a:gd name="connsiteX484" fmla="*/ 891800 w 7467600"/>
              <a:gd name="connsiteY484" fmla="*/ 6036935 h 6858000"/>
              <a:gd name="connsiteX485" fmla="*/ 1072219 w 7467600"/>
              <a:gd name="connsiteY485" fmla="*/ 6169443 h 6858000"/>
              <a:gd name="connsiteX486" fmla="*/ 1074117 w 7467600"/>
              <a:gd name="connsiteY486" fmla="*/ 6170301 h 6858000"/>
              <a:gd name="connsiteX487" fmla="*/ 1083114 w 7467600"/>
              <a:gd name="connsiteY487" fmla="*/ 6174131 h 6858000"/>
              <a:gd name="connsiteX488" fmla="*/ 1543010 w 7467600"/>
              <a:gd name="connsiteY488" fmla="*/ 6191140 h 6858000"/>
              <a:gd name="connsiteX489" fmla="*/ 1551080 w 7467600"/>
              <a:gd name="connsiteY489" fmla="*/ 6195006 h 6858000"/>
              <a:gd name="connsiteX490" fmla="*/ 2345443 w 7467600"/>
              <a:gd name="connsiteY490" fmla="*/ 5549882 h 6858000"/>
              <a:gd name="connsiteX491" fmla="*/ 1721499 w 7467600"/>
              <a:gd name="connsiteY491" fmla="*/ 5599969 h 6858000"/>
              <a:gd name="connsiteX492" fmla="*/ 767716 w 7467600"/>
              <a:gd name="connsiteY492" fmla="*/ 5472768 h 6858000"/>
              <a:gd name="connsiteX493" fmla="*/ 722147 w 7467600"/>
              <a:gd name="connsiteY493" fmla="*/ 5393091 h 6858000"/>
              <a:gd name="connsiteX494" fmla="*/ 1485552 w 7467600"/>
              <a:gd name="connsiteY494" fmla="*/ 5313202 h 6858000"/>
              <a:gd name="connsiteX495" fmla="*/ 2143004 w 7467600"/>
              <a:gd name="connsiteY495" fmla="*/ 5402420 h 6858000"/>
              <a:gd name="connsiteX496" fmla="*/ 1933391 w 7467600"/>
              <a:gd name="connsiteY496" fmla="*/ 5156971 h 6858000"/>
              <a:gd name="connsiteX497" fmla="*/ 1827118 w 7467600"/>
              <a:gd name="connsiteY497" fmla="*/ 4968410 h 6858000"/>
              <a:gd name="connsiteX498" fmla="*/ 1837349 w 7467600"/>
              <a:gd name="connsiteY498" fmla="*/ 4956357 h 6858000"/>
              <a:gd name="connsiteX499" fmla="*/ 2162835 w 7467600"/>
              <a:gd name="connsiteY499" fmla="*/ 5187853 h 6858000"/>
              <a:gd name="connsiteX500" fmla="*/ 2257167 w 7467600"/>
              <a:gd name="connsiteY500" fmla="*/ 5462123 h 6858000"/>
              <a:gd name="connsiteX501" fmla="*/ 2261598 w 7467600"/>
              <a:gd name="connsiteY501" fmla="*/ 5467998 h 6858000"/>
              <a:gd name="connsiteX502" fmla="*/ 2437177 w 7467600"/>
              <a:gd name="connsiteY502" fmla="*/ 5479608 h 6858000"/>
              <a:gd name="connsiteX503" fmla="*/ 2445247 w 7467600"/>
              <a:gd name="connsiteY503" fmla="*/ 5483476 h 6858000"/>
              <a:gd name="connsiteX504" fmla="*/ 2743626 w 7467600"/>
              <a:gd name="connsiteY504" fmla="*/ 5304819 h 6858000"/>
              <a:gd name="connsiteX505" fmla="*/ 3048102 w 7467600"/>
              <a:gd name="connsiteY505" fmla="*/ 5150595 h 6858000"/>
              <a:gd name="connsiteX506" fmla="*/ 1799414 w 7467600"/>
              <a:gd name="connsiteY506" fmla="*/ 4694732 h 6858000"/>
              <a:gd name="connsiteX507" fmla="*/ 1771735 w 7467600"/>
              <a:gd name="connsiteY507" fmla="*/ 4619929 h 6858000"/>
              <a:gd name="connsiteX508" fmla="*/ 3104273 w 7467600"/>
              <a:gd name="connsiteY508" fmla="*/ 5076159 h 6858000"/>
              <a:gd name="connsiteX509" fmla="*/ 3113245 w 7467600"/>
              <a:gd name="connsiteY509" fmla="*/ 5090705 h 6858000"/>
              <a:gd name="connsiteX510" fmla="*/ 3126294 w 7467600"/>
              <a:gd name="connsiteY510" fmla="*/ 5114400 h 6858000"/>
              <a:gd name="connsiteX511" fmla="*/ 3937433 w 7467600"/>
              <a:gd name="connsiteY511" fmla="*/ 4830473 h 6858000"/>
              <a:gd name="connsiteX512" fmla="*/ 3590475 w 7467600"/>
              <a:gd name="connsiteY512" fmla="*/ 4597974 h 6858000"/>
              <a:gd name="connsiteX513" fmla="*/ 3100264 w 7467600"/>
              <a:gd name="connsiteY513" fmla="*/ 4579845 h 6858000"/>
              <a:gd name="connsiteX514" fmla="*/ 2183576 w 7467600"/>
              <a:gd name="connsiteY514" fmla="*/ 4227150 h 6858000"/>
              <a:gd name="connsiteX515" fmla="*/ 2151029 w 7467600"/>
              <a:gd name="connsiteY515" fmla="*/ 4146947 h 6858000"/>
              <a:gd name="connsiteX516" fmla="*/ 3563434 w 7467600"/>
              <a:gd name="connsiteY516" fmla="*/ 4469115 h 6858000"/>
              <a:gd name="connsiteX517" fmla="*/ 3177952 w 7467600"/>
              <a:gd name="connsiteY517" fmla="*/ 3657386 h 6858000"/>
              <a:gd name="connsiteX518" fmla="*/ 3189263 w 7467600"/>
              <a:gd name="connsiteY518" fmla="*/ 3625726 h 6858000"/>
              <a:gd name="connsiteX519" fmla="*/ 3560912 w 7467600"/>
              <a:gd name="connsiteY519" fmla="*/ 4079863 h 6858000"/>
              <a:gd name="connsiteX520" fmla="*/ 3626636 w 7467600"/>
              <a:gd name="connsiteY520" fmla="*/ 4512230 h 6858000"/>
              <a:gd name="connsiteX521" fmla="*/ 3653088 w 7467600"/>
              <a:gd name="connsiteY521" fmla="*/ 4521417 h 6858000"/>
              <a:gd name="connsiteX522" fmla="*/ 3988128 w 7467600"/>
              <a:gd name="connsiteY522" fmla="*/ 4817267 h 6858000"/>
              <a:gd name="connsiteX523" fmla="*/ 4830582 w 7467600"/>
              <a:gd name="connsiteY523" fmla="*/ 4676000 h 6858000"/>
              <a:gd name="connsiteX524" fmla="*/ 4830100 w 7467600"/>
              <a:gd name="connsiteY524" fmla="*/ 4675554 h 6858000"/>
              <a:gd name="connsiteX525" fmla="*/ 4036318 w 7467600"/>
              <a:gd name="connsiteY525" fmla="*/ 4147013 h 6858000"/>
              <a:gd name="connsiteX526" fmla="*/ 3432098 w 7467600"/>
              <a:gd name="connsiteY526" fmla="*/ 3537312 h 6858000"/>
              <a:gd name="connsiteX527" fmla="*/ 3446761 w 7467600"/>
              <a:gd name="connsiteY527" fmla="*/ 3461278 h 6858000"/>
              <a:gd name="connsiteX528" fmla="*/ 4419733 w 7467600"/>
              <a:gd name="connsiteY528" fmla="*/ 3963555 h 6858000"/>
              <a:gd name="connsiteX529" fmla="*/ 4781371 w 7467600"/>
              <a:gd name="connsiteY529" fmla="*/ 4458604 h 6858000"/>
              <a:gd name="connsiteX530" fmla="*/ 4780440 w 7467600"/>
              <a:gd name="connsiteY530" fmla="*/ 4470290 h 6858000"/>
              <a:gd name="connsiteX531" fmla="*/ 4898954 w 7467600"/>
              <a:gd name="connsiteY531" fmla="*/ 4662092 h 6858000"/>
              <a:gd name="connsiteX532" fmla="*/ 4900699 w 7467600"/>
              <a:gd name="connsiteY532" fmla="*/ 4670867 h 6858000"/>
              <a:gd name="connsiteX533" fmla="*/ 5714511 w 7467600"/>
              <a:gd name="connsiteY533" fmla="*/ 4663483 h 6858000"/>
              <a:gd name="connsiteX534" fmla="*/ 5464793 w 7467600"/>
              <a:gd name="connsiteY534" fmla="*/ 4393556 h 6858000"/>
              <a:gd name="connsiteX535" fmla="*/ 5461897 w 7467600"/>
              <a:gd name="connsiteY535" fmla="*/ 4390879 h 6858000"/>
              <a:gd name="connsiteX536" fmla="*/ 4294126 w 7467600"/>
              <a:gd name="connsiteY536" fmla="*/ 3303048 h 6858000"/>
              <a:gd name="connsiteX537" fmla="*/ 4305321 w 7467600"/>
              <a:gd name="connsiteY537" fmla="*/ 3256953 h 6858000"/>
              <a:gd name="connsiteX538" fmla="*/ 4949299 w 7467600"/>
              <a:gd name="connsiteY538" fmla="*/ 3766336 h 6858000"/>
              <a:gd name="connsiteX539" fmla="*/ 5291452 w 7467600"/>
              <a:gd name="connsiteY539" fmla="*/ 4076801 h 6858000"/>
              <a:gd name="connsiteX540" fmla="*/ 5434998 w 7467600"/>
              <a:gd name="connsiteY540" fmla="*/ 4254100 h 6858000"/>
              <a:gd name="connsiteX541" fmla="*/ 5351015 w 7467600"/>
              <a:gd name="connsiteY541" fmla="*/ 3760989 h 6858000"/>
              <a:gd name="connsiteX542" fmla="*/ 5413780 w 7467600"/>
              <a:gd name="connsiteY542" fmla="*/ 2966265 h 6858000"/>
              <a:gd name="connsiteX543" fmla="*/ 5425627 w 7467600"/>
              <a:gd name="connsiteY543" fmla="*/ 2954192 h 6858000"/>
              <a:gd name="connsiteX544" fmla="*/ 6604735 w 7467600"/>
              <a:gd name="connsiteY544" fmla="*/ 2041381 h 6858000"/>
              <a:gd name="connsiteX545" fmla="*/ 7204487 w 7467600"/>
              <a:gd name="connsiteY545" fmla="*/ 2742112 h 6858000"/>
              <a:gd name="connsiteX546" fmla="*/ 7131592 w 7467600"/>
              <a:gd name="connsiteY546" fmla="*/ 2672096 h 6858000"/>
              <a:gd name="connsiteX547" fmla="*/ 6996344 w 7467600"/>
              <a:gd name="connsiteY547" fmla="*/ 2518310 h 6858000"/>
              <a:gd name="connsiteX548" fmla="*/ 6735495 w 7467600"/>
              <a:gd name="connsiteY548" fmla="*/ 2196890 h 6858000"/>
              <a:gd name="connsiteX549" fmla="*/ 6721901 w 7467600"/>
              <a:gd name="connsiteY549" fmla="*/ 2179274 h 6858000"/>
              <a:gd name="connsiteX550" fmla="*/ 6604735 w 7467600"/>
              <a:gd name="connsiteY550" fmla="*/ 2041381 h 6858000"/>
              <a:gd name="connsiteX551" fmla="*/ 6591670 w 7467600"/>
              <a:gd name="connsiteY551" fmla="*/ 1988277 h 6858000"/>
              <a:gd name="connsiteX552" fmla="*/ 6747349 w 7467600"/>
              <a:gd name="connsiteY552" fmla="*/ 2160069 h 6858000"/>
              <a:gd name="connsiteX553" fmla="*/ 6760943 w 7467600"/>
              <a:gd name="connsiteY553" fmla="*/ 2177686 h 6858000"/>
              <a:gd name="connsiteX554" fmla="*/ 7021065 w 7467600"/>
              <a:gd name="connsiteY554" fmla="*/ 2498102 h 6858000"/>
              <a:gd name="connsiteX555" fmla="*/ 7155223 w 7467600"/>
              <a:gd name="connsiteY555" fmla="*/ 2650386 h 6858000"/>
              <a:gd name="connsiteX556" fmla="*/ 7203167 w 7467600"/>
              <a:gd name="connsiteY556" fmla="*/ 2697288 h 6858000"/>
              <a:gd name="connsiteX557" fmla="*/ 6937703 w 7467600"/>
              <a:gd name="connsiteY557" fmla="*/ 2321981 h 6858000"/>
              <a:gd name="connsiteX558" fmla="*/ 6591670 w 7467600"/>
              <a:gd name="connsiteY558" fmla="*/ 1988277 h 6858000"/>
              <a:gd name="connsiteX559" fmla="*/ 5798671 w 7467600"/>
              <a:gd name="connsiteY559" fmla="*/ 1981601 h 6858000"/>
              <a:gd name="connsiteX560" fmla="*/ 5754709 w 7467600"/>
              <a:gd name="connsiteY560" fmla="*/ 2071454 h 6858000"/>
              <a:gd name="connsiteX561" fmla="*/ 5763044 w 7467600"/>
              <a:gd name="connsiteY561" fmla="*/ 2842206 h 6858000"/>
              <a:gd name="connsiteX562" fmla="*/ 5764974 w 7467600"/>
              <a:gd name="connsiteY562" fmla="*/ 2799609 h 6858000"/>
              <a:gd name="connsiteX563" fmla="*/ 5767665 w 7467600"/>
              <a:gd name="connsiteY563" fmla="*/ 2666409 h 6858000"/>
              <a:gd name="connsiteX564" fmla="*/ 5763055 w 7467600"/>
              <a:gd name="connsiteY564" fmla="*/ 2579705 h 6858000"/>
              <a:gd name="connsiteX565" fmla="*/ 5758079 w 7467600"/>
              <a:gd name="connsiteY565" fmla="*/ 2492508 h 6858000"/>
              <a:gd name="connsiteX566" fmla="*/ 5779325 w 7467600"/>
              <a:gd name="connsiteY566" fmla="*/ 2197069 h 6858000"/>
              <a:gd name="connsiteX567" fmla="*/ 5798671 w 7467600"/>
              <a:gd name="connsiteY567" fmla="*/ 1981601 h 6858000"/>
              <a:gd name="connsiteX568" fmla="*/ 5829202 w 7467600"/>
              <a:gd name="connsiteY568" fmla="*/ 1971679 h 6858000"/>
              <a:gd name="connsiteX569" fmla="*/ 5809558 w 7467600"/>
              <a:gd name="connsiteY569" fmla="*/ 2198043 h 6858000"/>
              <a:gd name="connsiteX570" fmla="*/ 5788653 w 7467600"/>
              <a:gd name="connsiteY570" fmla="*/ 2489430 h 6858000"/>
              <a:gd name="connsiteX571" fmla="*/ 5793439 w 7467600"/>
              <a:gd name="connsiteY571" fmla="*/ 2575235 h 6858000"/>
              <a:gd name="connsiteX572" fmla="*/ 5796837 w 7467600"/>
              <a:gd name="connsiteY572" fmla="*/ 2637633 h 6858000"/>
              <a:gd name="connsiteX573" fmla="*/ 5818614 w 7467600"/>
              <a:gd name="connsiteY573" fmla="*/ 2473055 h 6858000"/>
              <a:gd name="connsiteX574" fmla="*/ 5829202 w 7467600"/>
              <a:gd name="connsiteY574" fmla="*/ 1971679 h 6858000"/>
              <a:gd name="connsiteX575" fmla="*/ 5911389 w 7467600"/>
              <a:gd name="connsiteY575" fmla="*/ 1898371 h 6858000"/>
              <a:gd name="connsiteX576" fmla="*/ 6237627 w 7467600"/>
              <a:gd name="connsiteY576" fmla="*/ 2231921 h 6858000"/>
              <a:gd name="connsiteX577" fmla="*/ 5911389 w 7467600"/>
              <a:gd name="connsiteY577" fmla="*/ 1898371 h 6858000"/>
              <a:gd name="connsiteX578" fmla="*/ 6944437 w 7467600"/>
              <a:gd name="connsiteY578" fmla="*/ 1575402 h 6858000"/>
              <a:gd name="connsiteX579" fmla="*/ 6304730 w 7467600"/>
              <a:gd name="connsiteY579" fmla="*/ 1766654 h 6858000"/>
              <a:gd name="connsiteX580" fmla="*/ 6944437 w 7467600"/>
              <a:gd name="connsiteY580" fmla="*/ 1575402 h 6858000"/>
              <a:gd name="connsiteX581" fmla="*/ 7019523 w 7467600"/>
              <a:gd name="connsiteY581" fmla="*/ 1519450 h 6858000"/>
              <a:gd name="connsiteX582" fmla="*/ 6298091 w 7467600"/>
              <a:gd name="connsiteY582" fmla="*/ 1737122 h 6858000"/>
              <a:gd name="connsiteX583" fmla="*/ 7019523 w 7467600"/>
              <a:gd name="connsiteY583" fmla="*/ 1519450 h 6858000"/>
              <a:gd name="connsiteX584" fmla="*/ 2399523 w 7467600"/>
              <a:gd name="connsiteY584" fmla="*/ 1428234 h 6858000"/>
              <a:gd name="connsiteX585" fmla="*/ 2224982 w 7467600"/>
              <a:gd name="connsiteY585" fmla="*/ 1826201 h 6858000"/>
              <a:gd name="connsiteX586" fmla="*/ 2096099 w 7467600"/>
              <a:gd name="connsiteY586" fmla="*/ 2345900 h 6858000"/>
              <a:gd name="connsiteX587" fmla="*/ 2283317 w 7467600"/>
              <a:gd name="connsiteY587" fmla="*/ 1796925 h 6858000"/>
              <a:gd name="connsiteX588" fmla="*/ 2448558 w 7467600"/>
              <a:gd name="connsiteY588" fmla="*/ 1373435 h 6858000"/>
              <a:gd name="connsiteX589" fmla="*/ 2312521 w 7467600"/>
              <a:gd name="connsiteY589" fmla="*/ 1806140 h 6858000"/>
              <a:gd name="connsiteX590" fmla="*/ 2127533 w 7467600"/>
              <a:gd name="connsiteY590" fmla="*/ 2348380 h 6858000"/>
              <a:gd name="connsiteX591" fmla="*/ 2358080 w 7467600"/>
              <a:gd name="connsiteY591" fmla="*/ 1866134 h 6858000"/>
              <a:gd name="connsiteX592" fmla="*/ 2407436 w 7467600"/>
              <a:gd name="connsiteY592" fmla="*/ 1651070 h 6858000"/>
              <a:gd name="connsiteX593" fmla="*/ 2448558 w 7467600"/>
              <a:gd name="connsiteY593" fmla="*/ 1373435 h 6858000"/>
              <a:gd name="connsiteX594" fmla="*/ 278707 w 7467600"/>
              <a:gd name="connsiteY594" fmla="*/ 1352270 h 6858000"/>
              <a:gd name="connsiteX595" fmla="*/ 321570 w 7467600"/>
              <a:gd name="connsiteY595" fmla="*/ 1861610 h 6858000"/>
              <a:gd name="connsiteX596" fmla="*/ 294281 w 7467600"/>
              <a:gd name="connsiteY596" fmla="*/ 1440658 h 6858000"/>
              <a:gd name="connsiteX597" fmla="*/ 1423821 w 7467600"/>
              <a:gd name="connsiteY597" fmla="*/ 1351958 h 6858000"/>
              <a:gd name="connsiteX598" fmla="*/ 1638521 w 7467600"/>
              <a:gd name="connsiteY598" fmla="*/ 1908470 h 6858000"/>
              <a:gd name="connsiteX599" fmla="*/ 1754199 w 7467600"/>
              <a:gd name="connsiteY599" fmla="*/ 2149284 h 6858000"/>
              <a:gd name="connsiteX600" fmla="*/ 1908359 w 7467600"/>
              <a:gd name="connsiteY600" fmla="*/ 2364988 h 6858000"/>
              <a:gd name="connsiteX601" fmla="*/ 1647661 w 7467600"/>
              <a:gd name="connsiteY601" fmla="*/ 1825945 h 6858000"/>
              <a:gd name="connsiteX602" fmla="*/ 1423821 w 7467600"/>
              <a:gd name="connsiteY602" fmla="*/ 1351958 h 6858000"/>
              <a:gd name="connsiteX603" fmla="*/ 1431890 w 7467600"/>
              <a:gd name="connsiteY603" fmla="*/ 1306475 h 6858000"/>
              <a:gd name="connsiteX604" fmla="*/ 1507597 w 7467600"/>
              <a:gd name="connsiteY604" fmla="*/ 1446132 h 6858000"/>
              <a:gd name="connsiteX605" fmla="*/ 1674586 w 7467600"/>
              <a:gd name="connsiteY605" fmla="*/ 1813832 h 6858000"/>
              <a:gd name="connsiteX606" fmla="*/ 1815950 w 7467600"/>
              <a:gd name="connsiteY606" fmla="*/ 2128564 h 6858000"/>
              <a:gd name="connsiteX607" fmla="*/ 1984242 w 7467600"/>
              <a:gd name="connsiteY607" fmla="*/ 2430829 h 6858000"/>
              <a:gd name="connsiteX608" fmla="*/ 2014023 w 7467600"/>
              <a:gd name="connsiteY608" fmla="*/ 2450995 h 6858000"/>
              <a:gd name="connsiteX609" fmla="*/ 1747337 w 7467600"/>
              <a:gd name="connsiteY609" fmla="*/ 1855264 h 6858000"/>
              <a:gd name="connsiteX610" fmla="*/ 1533749 w 7467600"/>
              <a:gd name="connsiteY610" fmla="*/ 1478656 h 6858000"/>
              <a:gd name="connsiteX611" fmla="*/ 1431890 w 7467600"/>
              <a:gd name="connsiteY611" fmla="*/ 1306475 h 6858000"/>
              <a:gd name="connsiteX612" fmla="*/ 5052692 w 7467600"/>
              <a:gd name="connsiteY612" fmla="*/ 1292994 h 6858000"/>
              <a:gd name="connsiteX613" fmla="*/ 5200661 w 7467600"/>
              <a:gd name="connsiteY613" fmla="*/ 1635186 h 6858000"/>
              <a:gd name="connsiteX614" fmla="*/ 5297138 w 7467600"/>
              <a:gd name="connsiteY614" fmla="*/ 1906351 h 6858000"/>
              <a:gd name="connsiteX615" fmla="*/ 5052692 w 7467600"/>
              <a:gd name="connsiteY615" fmla="*/ 1292994 h 6858000"/>
              <a:gd name="connsiteX616" fmla="*/ 5009948 w 7467600"/>
              <a:gd name="connsiteY616" fmla="*/ 1273619 h 6858000"/>
              <a:gd name="connsiteX617" fmla="*/ 5121777 w 7467600"/>
              <a:gd name="connsiteY617" fmla="*/ 1654213 h 6858000"/>
              <a:gd name="connsiteX618" fmla="*/ 5293545 w 7467600"/>
              <a:gd name="connsiteY618" fmla="*/ 2072247 h 6858000"/>
              <a:gd name="connsiteX619" fmla="*/ 5294042 w 7467600"/>
              <a:gd name="connsiteY619" fmla="*/ 2065019 h 6858000"/>
              <a:gd name="connsiteX620" fmla="*/ 5171936 w 7467600"/>
              <a:gd name="connsiteY620" fmla="*/ 1647613 h 6858000"/>
              <a:gd name="connsiteX621" fmla="*/ 5009948 w 7467600"/>
              <a:gd name="connsiteY621" fmla="*/ 1273619 h 6858000"/>
              <a:gd name="connsiteX622" fmla="*/ 655236 w 7467600"/>
              <a:gd name="connsiteY622" fmla="*/ 1268632 h 6858000"/>
              <a:gd name="connsiteX623" fmla="*/ 839521 w 7467600"/>
              <a:gd name="connsiteY623" fmla="*/ 1685315 h 6858000"/>
              <a:gd name="connsiteX624" fmla="*/ 1109416 w 7467600"/>
              <a:gd name="connsiteY624" fmla="*/ 2061663 h 6858000"/>
              <a:gd name="connsiteX625" fmla="*/ 1298300 w 7467600"/>
              <a:gd name="connsiteY625" fmla="*/ 2247742 h 6858000"/>
              <a:gd name="connsiteX626" fmla="*/ 1125871 w 7467600"/>
              <a:gd name="connsiteY626" fmla="*/ 1989513 h 6858000"/>
              <a:gd name="connsiteX627" fmla="*/ 981574 w 7467600"/>
              <a:gd name="connsiteY627" fmla="*/ 1783157 h 6858000"/>
              <a:gd name="connsiteX628" fmla="*/ 922198 w 7467600"/>
              <a:gd name="connsiteY628" fmla="*/ 1677437 h 6858000"/>
              <a:gd name="connsiteX629" fmla="*/ 869293 w 7467600"/>
              <a:gd name="connsiteY629" fmla="*/ 1583214 h 6858000"/>
              <a:gd name="connsiteX630" fmla="*/ 751431 w 7467600"/>
              <a:gd name="connsiteY630" fmla="*/ 1405731 h 6858000"/>
              <a:gd name="connsiteX631" fmla="*/ 6516292 w 7467600"/>
              <a:gd name="connsiteY631" fmla="*/ 1263064 h 6858000"/>
              <a:gd name="connsiteX632" fmla="*/ 5736320 w 7467600"/>
              <a:gd name="connsiteY632" fmla="*/ 1501803 h 6858000"/>
              <a:gd name="connsiteX633" fmla="*/ 6516292 w 7467600"/>
              <a:gd name="connsiteY633" fmla="*/ 1263064 h 6858000"/>
              <a:gd name="connsiteX634" fmla="*/ 291466 w 7467600"/>
              <a:gd name="connsiteY634" fmla="*/ 1250369 h 6858000"/>
              <a:gd name="connsiteX635" fmla="*/ 323180 w 7467600"/>
              <a:gd name="connsiteY635" fmla="*/ 1435283 h 6858000"/>
              <a:gd name="connsiteX636" fmla="*/ 349381 w 7467600"/>
              <a:gd name="connsiteY636" fmla="*/ 1875041 h 6858000"/>
              <a:gd name="connsiteX637" fmla="*/ 374363 w 7467600"/>
              <a:gd name="connsiteY637" fmla="*/ 1506494 h 6858000"/>
              <a:gd name="connsiteX638" fmla="*/ 302168 w 7467600"/>
              <a:gd name="connsiteY638" fmla="*/ 1274495 h 6858000"/>
              <a:gd name="connsiteX639" fmla="*/ 291466 w 7467600"/>
              <a:gd name="connsiteY639" fmla="*/ 1250369 h 6858000"/>
              <a:gd name="connsiteX640" fmla="*/ 678222 w 7467600"/>
              <a:gd name="connsiteY640" fmla="*/ 1248670 h 6858000"/>
              <a:gd name="connsiteX641" fmla="*/ 775536 w 7467600"/>
              <a:gd name="connsiteY641" fmla="*/ 1388015 h 6858000"/>
              <a:gd name="connsiteX642" fmla="*/ 894529 w 7467600"/>
              <a:gd name="connsiteY642" fmla="*/ 1567739 h 6858000"/>
              <a:gd name="connsiteX643" fmla="*/ 948000 w 7467600"/>
              <a:gd name="connsiteY643" fmla="*/ 1663088 h 6858000"/>
              <a:gd name="connsiteX644" fmla="*/ 1006812 w 7467600"/>
              <a:gd name="connsiteY644" fmla="*/ 1767683 h 6858000"/>
              <a:gd name="connsiteX645" fmla="*/ 1149133 w 7467600"/>
              <a:gd name="connsiteY645" fmla="*/ 1971513 h 6858000"/>
              <a:gd name="connsiteX646" fmla="*/ 1333952 w 7467600"/>
              <a:gd name="connsiteY646" fmla="*/ 2251620 h 6858000"/>
              <a:gd name="connsiteX647" fmla="*/ 1337329 w 7467600"/>
              <a:gd name="connsiteY647" fmla="*/ 2258350 h 6858000"/>
              <a:gd name="connsiteX648" fmla="*/ 1014726 w 7467600"/>
              <a:gd name="connsiteY648" fmla="*/ 1615556 h 6858000"/>
              <a:gd name="connsiteX649" fmla="*/ 678222 w 7467600"/>
              <a:gd name="connsiteY649" fmla="*/ 1248670 h 6858000"/>
              <a:gd name="connsiteX650" fmla="*/ 6691602 w 7467600"/>
              <a:gd name="connsiteY650" fmla="*/ 1140573 h 6858000"/>
              <a:gd name="connsiteX651" fmla="*/ 6571100 w 7467600"/>
              <a:gd name="connsiteY651" fmla="*/ 1183662 h 6858000"/>
              <a:gd name="connsiteX652" fmla="*/ 6241687 w 7467600"/>
              <a:gd name="connsiteY652" fmla="*/ 1257600 h 6858000"/>
              <a:gd name="connsiteX653" fmla="*/ 5693009 w 7467600"/>
              <a:gd name="connsiteY653" fmla="*/ 1478256 h 6858000"/>
              <a:gd name="connsiteX654" fmla="*/ 6548420 w 7467600"/>
              <a:gd name="connsiteY654" fmla="*/ 1214599 h 6858000"/>
              <a:gd name="connsiteX655" fmla="*/ 6605473 w 7467600"/>
              <a:gd name="connsiteY655" fmla="*/ 1184686 h 6858000"/>
              <a:gd name="connsiteX656" fmla="*/ 6691602 w 7467600"/>
              <a:gd name="connsiteY656" fmla="*/ 1140573 h 6858000"/>
              <a:gd name="connsiteX657" fmla="*/ 4002475 w 7467600"/>
              <a:gd name="connsiteY657" fmla="*/ 1037802 h 6858000"/>
              <a:gd name="connsiteX658" fmla="*/ 4000324 w 7467600"/>
              <a:gd name="connsiteY658" fmla="*/ 1039362 h 6858000"/>
              <a:gd name="connsiteX659" fmla="*/ 4002862 w 7467600"/>
              <a:gd name="connsiteY659" fmla="*/ 1042866 h 6858000"/>
              <a:gd name="connsiteX660" fmla="*/ 4002475 w 7467600"/>
              <a:gd name="connsiteY660" fmla="*/ 1037802 h 6858000"/>
              <a:gd name="connsiteX661" fmla="*/ 506322 w 7467600"/>
              <a:gd name="connsiteY661" fmla="*/ 1020997 h 6858000"/>
              <a:gd name="connsiteX662" fmla="*/ 533068 w 7467600"/>
              <a:gd name="connsiteY662" fmla="*/ 1029409 h 6858000"/>
              <a:gd name="connsiteX663" fmla="*/ 1232525 w 7467600"/>
              <a:gd name="connsiteY663" fmla="*/ 1804675 h 6858000"/>
              <a:gd name="connsiteX664" fmla="*/ 1388858 w 7467600"/>
              <a:gd name="connsiteY664" fmla="*/ 2368011 h 6858000"/>
              <a:gd name="connsiteX665" fmla="*/ 1384098 w 7467600"/>
              <a:gd name="connsiteY665" fmla="*/ 2378125 h 6858000"/>
              <a:gd name="connsiteX666" fmla="*/ 1425393 w 7467600"/>
              <a:gd name="connsiteY666" fmla="*/ 2589124 h 6858000"/>
              <a:gd name="connsiteX667" fmla="*/ 1424001 w 7467600"/>
              <a:gd name="connsiteY667" fmla="*/ 2597541 h 6858000"/>
              <a:gd name="connsiteX668" fmla="*/ 2152729 w 7467600"/>
              <a:gd name="connsiteY668" fmla="*/ 2864487 h 6858000"/>
              <a:gd name="connsiteX669" fmla="*/ 2020609 w 7467600"/>
              <a:gd name="connsiteY669" fmla="*/ 2539671 h 6858000"/>
              <a:gd name="connsiteX670" fmla="*/ 2018920 w 7467600"/>
              <a:gd name="connsiteY670" fmla="*/ 2536309 h 6858000"/>
              <a:gd name="connsiteX671" fmla="*/ 1342441 w 7467600"/>
              <a:gd name="connsiteY671" fmla="*/ 1173017 h 6858000"/>
              <a:gd name="connsiteX672" fmla="*/ 1367925 w 7467600"/>
              <a:gd name="connsiteY672" fmla="*/ 1135648 h 6858000"/>
              <a:gd name="connsiteX673" fmla="*/ 1771401 w 7467600"/>
              <a:gd name="connsiteY673" fmla="*/ 1806673 h 6858000"/>
              <a:gd name="connsiteX674" fmla="*/ 1972385 w 7467600"/>
              <a:gd name="connsiteY674" fmla="*/ 2198735 h 6858000"/>
              <a:gd name="connsiteX675" fmla="*/ 2040892 w 7467600"/>
              <a:gd name="connsiteY675" fmla="*/ 2405205 h 6858000"/>
              <a:gd name="connsiteX676" fmla="*/ 2131689 w 7467600"/>
              <a:gd name="connsiteY676" fmla="*/ 1936926 h 6858000"/>
              <a:gd name="connsiteX677" fmla="*/ 2454820 w 7467600"/>
              <a:gd name="connsiteY677" fmla="*/ 1248808 h 6858000"/>
              <a:gd name="connsiteX678" fmla="*/ 2492512 w 7467600"/>
              <a:gd name="connsiteY678" fmla="*/ 1302920 h 6858000"/>
              <a:gd name="connsiteX679" fmla="*/ 2081216 w 7467600"/>
              <a:gd name="connsiteY679" fmla="*/ 2527513 h 6858000"/>
              <a:gd name="connsiteX680" fmla="*/ 2081211 w 7467600"/>
              <a:gd name="connsiteY680" fmla="*/ 2528916 h 6858000"/>
              <a:gd name="connsiteX681" fmla="*/ 2199067 w 7467600"/>
              <a:gd name="connsiteY681" fmla="*/ 2884061 h 6858000"/>
              <a:gd name="connsiteX682" fmla="*/ 3192586 w 7467600"/>
              <a:gd name="connsiteY682" fmla="*/ 3411496 h 6858000"/>
              <a:gd name="connsiteX683" fmla="*/ 3182620 w 7467600"/>
              <a:gd name="connsiteY683" fmla="*/ 3483279 h 6858000"/>
              <a:gd name="connsiteX684" fmla="*/ 2435119 w 7467600"/>
              <a:gd name="connsiteY684" fmla="*/ 3080173 h 6858000"/>
              <a:gd name="connsiteX685" fmla="*/ 2410152 w 7467600"/>
              <a:gd name="connsiteY685" fmla="*/ 3063751 h 6858000"/>
              <a:gd name="connsiteX686" fmla="*/ 2408099 w 7467600"/>
              <a:gd name="connsiteY686" fmla="*/ 3064403 h 6858000"/>
              <a:gd name="connsiteX687" fmla="*/ 2407218 w 7467600"/>
              <a:gd name="connsiteY687" fmla="*/ 3070324 h 6858000"/>
              <a:gd name="connsiteX688" fmla="*/ 2380138 w 7467600"/>
              <a:gd name="connsiteY688" fmla="*/ 3099341 h 6858000"/>
              <a:gd name="connsiteX689" fmla="*/ 1765923 w 7467600"/>
              <a:gd name="connsiteY689" fmla="*/ 3581043 h 6858000"/>
              <a:gd name="connsiteX690" fmla="*/ 1702258 w 7467600"/>
              <a:gd name="connsiteY690" fmla="*/ 3612286 h 6858000"/>
              <a:gd name="connsiteX691" fmla="*/ 1538370 w 7467600"/>
              <a:gd name="connsiteY691" fmla="*/ 3811804 h 6858000"/>
              <a:gd name="connsiteX692" fmla="*/ 542867 w 7467600"/>
              <a:gd name="connsiteY692" fmla="*/ 4944092 h 6858000"/>
              <a:gd name="connsiteX693" fmla="*/ 515800 w 7467600"/>
              <a:gd name="connsiteY693" fmla="*/ 4862180 h 6858000"/>
              <a:gd name="connsiteX694" fmla="*/ 909145 w 7467600"/>
              <a:gd name="connsiteY694" fmla="*/ 4199225 h 6858000"/>
              <a:gd name="connsiteX695" fmla="*/ 1214067 w 7467600"/>
              <a:gd name="connsiteY695" fmla="*/ 3908561 h 6858000"/>
              <a:gd name="connsiteX696" fmla="*/ 640967 w 7467600"/>
              <a:gd name="connsiteY696" fmla="*/ 4105601 h 6858000"/>
              <a:gd name="connsiteX697" fmla="*/ 112563 w 7467600"/>
              <a:gd name="connsiteY697" fmla="*/ 4396952 h 6858000"/>
              <a:gd name="connsiteX698" fmla="*/ 0 w 7467600"/>
              <a:gd name="connsiteY698" fmla="*/ 4466006 h 6858000"/>
              <a:gd name="connsiteX699" fmla="*/ 0 w 7467600"/>
              <a:gd name="connsiteY699" fmla="*/ 4233763 h 6858000"/>
              <a:gd name="connsiteX700" fmla="*/ 36881 w 7467600"/>
              <a:gd name="connsiteY700" fmla="*/ 4200118 h 6858000"/>
              <a:gd name="connsiteX701" fmla="*/ 910534 w 7467600"/>
              <a:gd name="connsiteY701" fmla="*/ 3629753 h 6858000"/>
              <a:gd name="connsiteX702" fmla="*/ 1578717 w 7467600"/>
              <a:gd name="connsiteY702" fmla="*/ 3575982 h 6858000"/>
              <a:gd name="connsiteX703" fmla="*/ 2338780 w 7467600"/>
              <a:gd name="connsiteY703" fmla="*/ 3033725 h 6858000"/>
              <a:gd name="connsiteX704" fmla="*/ 1807991 w 7467600"/>
              <a:gd name="connsiteY704" fmla="*/ 2807184 h 6858000"/>
              <a:gd name="connsiteX705" fmla="*/ 1416358 w 7467600"/>
              <a:gd name="connsiteY705" fmla="*/ 3112571 h 6858000"/>
              <a:gd name="connsiteX706" fmla="*/ 939066 w 7467600"/>
              <a:gd name="connsiteY706" fmla="*/ 3378798 h 6858000"/>
              <a:gd name="connsiteX707" fmla="*/ 115099 w 7467600"/>
              <a:gd name="connsiteY707" fmla="*/ 3607650 h 6858000"/>
              <a:gd name="connsiteX708" fmla="*/ 97284 w 7467600"/>
              <a:gd name="connsiteY708" fmla="*/ 3520393 h 6858000"/>
              <a:gd name="connsiteX709" fmla="*/ 922050 w 7467600"/>
              <a:gd name="connsiteY709" fmla="*/ 3074867 h 6858000"/>
              <a:gd name="connsiteX710" fmla="*/ 1405265 w 7467600"/>
              <a:gd name="connsiteY710" fmla="*/ 3016319 h 6858000"/>
              <a:gd name="connsiteX711" fmla="*/ 1407512 w 7467600"/>
              <a:gd name="connsiteY711" fmla="*/ 3018001 h 6858000"/>
              <a:gd name="connsiteX712" fmla="*/ 1726266 w 7467600"/>
              <a:gd name="connsiteY712" fmla="*/ 2777274 h 6858000"/>
              <a:gd name="connsiteX713" fmla="*/ 625390 w 7467600"/>
              <a:gd name="connsiteY713" fmla="*/ 2514541 h 6858000"/>
              <a:gd name="connsiteX714" fmla="*/ 619799 w 7467600"/>
              <a:gd name="connsiteY714" fmla="*/ 2527180 h 6858000"/>
              <a:gd name="connsiteX715" fmla="*/ 310030 w 7467600"/>
              <a:gd name="connsiteY715" fmla="*/ 2771818 h 6858000"/>
              <a:gd name="connsiteX716" fmla="*/ 173877 w 7467600"/>
              <a:gd name="connsiteY716" fmla="*/ 2937056 h 6858000"/>
              <a:gd name="connsiteX717" fmla="*/ 77889 w 7467600"/>
              <a:gd name="connsiteY717" fmla="*/ 3138440 h 6858000"/>
              <a:gd name="connsiteX718" fmla="*/ 0 w 7467600"/>
              <a:gd name="connsiteY718" fmla="*/ 3271395 h 6858000"/>
              <a:gd name="connsiteX719" fmla="*/ 0 w 7467600"/>
              <a:gd name="connsiteY719" fmla="*/ 3153002 h 6858000"/>
              <a:gd name="connsiteX720" fmla="*/ 2386 w 7467600"/>
              <a:gd name="connsiteY720" fmla="*/ 3149203 h 6858000"/>
              <a:gd name="connsiteX721" fmla="*/ 89753 w 7467600"/>
              <a:gd name="connsiteY721" fmla="*/ 2987702 h 6858000"/>
              <a:gd name="connsiteX722" fmla="*/ 76869 w 7467600"/>
              <a:gd name="connsiteY722" fmla="*/ 3005404 h 6858000"/>
              <a:gd name="connsiteX723" fmla="*/ 32049 w 7467600"/>
              <a:gd name="connsiteY723" fmla="*/ 3065814 h 6858000"/>
              <a:gd name="connsiteX724" fmla="*/ 0 w 7467600"/>
              <a:gd name="connsiteY724" fmla="*/ 3108744 h 6858000"/>
              <a:gd name="connsiteX725" fmla="*/ 0 w 7467600"/>
              <a:gd name="connsiteY725" fmla="*/ 3058059 h 6858000"/>
              <a:gd name="connsiteX726" fmla="*/ 7610 w 7467600"/>
              <a:gd name="connsiteY726" fmla="*/ 3047889 h 6858000"/>
              <a:gd name="connsiteX727" fmla="*/ 52419 w 7467600"/>
              <a:gd name="connsiteY727" fmla="*/ 2987479 h 6858000"/>
              <a:gd name="connsiteX728" fmla="*/ 59142 w 7467600"/>
              <a:gd name="connsiteY728" fmla="*/ 2978488 h 6858000"/>
              <a:gd name="connsiteX729" fmla="*/ 0 w 7467600"/>
              <a:gd name="connsiteY729" fmla="*/ 3015334 h 6858000"/>
              <a:gd name="connsiteX730" fmla="*/ 0 w 7467600"/>
              <a:gd name="connsiteY730" fmla="*/ 2914286 h 6858000"/>
              <a:gd name="connsiteX731" fmla="*/ 36383 w 7467600"/>
              <a:gd name="connsiteY731" fmla="*/ 2901128 h 6858000"/>
              <a:gd name="connsiteX732" fmla="*/ 156329 w 7467600"/>
              <a:gd name="connsiteY732" fmla="*/ 2840533 h 6858000"/>
              <a:gd name="connsiteX733" fmla="*/ 358355 w 7467600"/>
              <a:gd name="connsiteY733" fmla="*/ 2620471 h 6858000"/>
              <a:gd name="connsiteX734" fmla="*/ 510577 w 7467600"/>
              <a:gd name="connsiteY734" fmla="*/ 2501244 h 6858000"/>
              <a:gd name="connsiteX735" fmla="*/ 211967 w 7467600"/>
              <a:gd name="connsiteY735" fmla="*/ 2479171 h 6858000"/>
              <a:gd name="connsiteX736" fmla="*/ 0 w 7467600"/>
              <a:gd name="connsiteY736" fmla="*/ 2476398 h 6858000"/>
              <a:gd name="connsiteX737" fmla="*/ 0 w 7467600"/>
              <a:gd name="connsiteY737" fmla="*/ 2389189 h 6858000"/>
              <a:gd name="connsiteX738" fmla="*/ 103062 w 7467600"/>
              <a:gd name="connsiteY738" fmla="*/ 2389518 h 6858000"/>
              <a:gd name="connsiteX739" fmla="*/ 510734 w 7467600"/>
              <a:gd name="connsiteY739" fmla="*/ 2416201 h 6858000"/>
              <a:gd name="connsiteX740" fmla="*/ 279257 w 7467600"/>
              <a:gd name="connsiteY740" fmla="*/ 2092102 h 6858000"/>
              <a:gd name="connsiteX741" fmla="*/ 65265 w 7467600"/>
              <a:gd name="connsiteY741" fmla="*/ 2006049 h 6858000"/>
              <a:gd name="connsiteX742" fmla="*/ 0 w 7467600"/>
              <a:gd name="connsiteY742" fmla="*/ 1982532 h 6858000"/>
              <a:gd name="connsiteX743" fmla="*/ 0 w 7467600"/>
              <a:gd name="connsiteY743" fmla="*/ 1912789 h 6858000"/>
              <a:gd name="connsiteX744" fmla="*/ 97460 w 7467600"/>
              <a:gd name="connsiteY744" fmla="*/ 1953725 h 6858000"/>
              <a:gd name="connsiteX745" fmla="*/ 221272 w 7467600"/>
              <a:gd name="connsiteY745" fmla="*/ 1980766 h 6858000"/>
              <a:gd name="connsiteX746" fmla="*/ 116765 w 7467600"/>
              <a:gd name="connsiteY746" fmla="*/ 1911033 h 6858000"/>
              <a:gd name="connsiteX747" fmla="*/ 16405 w 7467600"/>
              <a:gd name="connsiteY747" fmla="*/ 1803412 h 6858000"/>
              <a:gd name="connsiteX748" fmla="*/ 0 w 7467600"/>
              <a:gd name="connsiteY748" fmla="*/ 1784777 h 6858000"/>
              <a:gd name="connsiteX749" fmla="*/ 0 w 7467600"/>
              <a:gd name="connsiteY749" fmla="*/ 1740082 h 6858000"/>
              <a:gd name="connsiteX750" fmla="*/ 39394 w 7467600"/>
              <a:gd name="connsiteY750" fmla="*/ 1784856 h 6858000"/>
              <a:gd name="connsiteX751" fmla="*/ 135813 w 7467600"/>
              <a:gd name="connsiteY751" fmla="*/ 1888838 h 6858000"/>
              <a:gd name="connsiteX752" fmla="*/ 242575 w 7467600"/>
              <a:gd name="connsiteY752" fmla="*/ 1958841 h 6858000"/>
              <a:gd name="connsiteX753" fmla="*/ 82197 w 7467600"/>
              <a:gd name="connsiteY753" fmla="*/ 1754826 h 6858000"/>
              <a:gd name="connsiteX754" fmla="*/ 0 w 7467600"/>
              <a:gd name="connsiteY754" fmla="*/ 1679650 h 6858000"/>
              <a:gd name="connsiteX755" fmla="*/ 0 w 7467600"/>
              <a:gd name="connsiteY755" fmla="*/ 1602463 h 6858000"/>
              <a:gd name="connsiteX756" fmla="*/ 84689 w 7467600"/>
              <a:gd name="connsiteY756" fmla="*/ 1677442 h 6858000"/>
              <a:gd name="connsiteX757" fmla="*/ 298437 w 7467600"/>
              <a:gd name="connsiteY757" fmla="*/ 1968019 h 6858000"/>
              <a:gd name="connsiteX758" fmla="*/ 227269 w 7467600"/>
              <a:gd name="connsiteY758" fmla="*/ 1114064 h 6858000"/>
              <a:gd name="connsiteX759" fmla="*/ 248003 w 7467600"/>
              <a:gd name="connsiteY759" fmla="*/ 1089613 h 6858000"/>
              <a:gd name="connsiteX760" fmla="*/ 427020 w 7467600"/>
              <a:gd name="connsiteY760" fmla="*/ 1619803 h 6858000"/>
              <a:gd name="connsiteX761" fmla="*/ 340345 w 7467600"/>
              <a:gd name="connsiteY761" fmla="*/ 2027739 h 6858000"/>
              <a:gd name="connsiteX762" fmla="*/ 360865 w 7467600"/>
              <a:gd name="connsiteY762" fmla="*/ 2044827 h 6858000"/>
              <a:gd name="connsiteX763" fmla="*/ 560414 w 7467600"/>
              <a:gd name="connsiteY763" fmla="*/ 2421457 h 6858000"/>
              <a:gd name="connsiteX764" fmla="*/ 1359703 w 7467600"/>
              <a:gd name="connsiteY764" fmla="*/ 2578554 h 6858000"/>
              <a:gd name="connsiteX765" fmla="*/ 1359422 w 7467600"/>
              <a:gd name="connsiteY765" fmla="*/ 2577994 h 6858000"/>
              <a:gd name="connsiteX766" fmla="*/ 828701 w 7467600"/>
              <a:gd name="connsiteY766" fmla="*/ 1839520 h 6858000"/>
              <a:gd name="connsiteX767" fmla="*/ 494427 w 7467600"/>
              <a:gd name="connsiteY767" fmla="*/ 1092333 h 6858000"/>
              <a:gd name="connsiteX768" fmla="*/ 506322 w 7467600"/>
              <a:gd name="connsiteY768" fmla="*/ 1020997 h 6858000"/>
              <a:gd name="connsiteX769" fmla="*/ 4570198 w 7467600"/>
              <a:gd name="connsiteY769" fmla="*/ 978081 h 6858000"/>
              <a:gd name="connsiteX770" fmla="*/ 4523691 w 7467600"/>
              <a:gd name="connsiteY770" fmla="*/ 1127776 h 6858000"/>
              <a:gd name="connsiteX771" fmla="*/ 4509875 w 7467600"/>
              <a:gd name="connsiteY771" fmla="*/ 1167552 h 6858000"/>
              <a:gd name="connsiteX772" fmla="*/ 4478168 w 7467600"/>
              <a:gd name="connsiteY772" fmla="*/ 1260735 h 6858000"/>
              <a:gd name="connsiteX773" fmla="*/ 4409309 w 7467600"/>
              <a:gd name="connsiteY773" fmla="*/ 1666996 h 6858000"/>
              <a:gd name="connsiteX774" fmla="*/ 4370031 w 7467600"/>
              <a:gd name="connsiteY774" fmla="*/ 1955666 h 6858000"/>
              <a:gd name="connsiteX775" fmla="*/ 4570198 w 7467600"/>
              <a:gd name="connsiteY775" fmla="*/ 978081 h 6858000"/>
              <a:gd name="connsiteX776" fmla="*/ 4557898 w 7467600"/>
              <a:gd name="connsiteY776" fmla="*/ 900011 h 6858000"/>
              <a:gd name="connsiteX777" fmla="*/ 4344840 w 7467600"/>
              <a:gd name="connsiteY777" fmla="*/ 1922038 h 6858000"/>
              <a:gd name="connsiteX778" fmla="*/ 4378710 w 7467600"/>
              <a:gd name="connsiteY778" fmla="*/ 1665516 h 6858000"/>
              <a:gd name="connsiteX779" fmla="*/ 4448798 w 7467600"/>
              <a:gd name="connsiteY779" fmla="*/ 1253024 h 6858000"/>
              <a:gd name="connsiteX780" fmla="*/ 4480315 w 7467600"/>
              <a:gd name="connsiteY780" fmla="*/ 1158454 h 6858000"/>
              <a:gd name="connsiteX781" fmla="*/ 4494133 w 7467600"/>
              <a:gd name="connsiteY781" fmla="*/ 1118676 h 6858000"/>
              <a:gd name="connsiteX782" fmla="*/ 4557898 w 7467600"/>
              <a:gd name="connsiteY782" fmla="*/ 900011 h 6858000"/>
              <a:gd name="connsiteX783" fmla="*/ 5870151 w 7467600"/>
              <a:gd name="connsiteY783" fmla="*/ 898890 h 6858000"/>
              <a:gd name="connsiteX784" fmla="*/ 5861335 w 7467600"/>
              <a:gd name="connsiteY784" fmla="*/ 899177 h 6858000"/>
              <a:gd name="connsiteX785" fmla="*/ 5843702 w 7467600"/>
              <a:gd name="connsiteY785" fmla="*/ 899748 h 6858000"/>
              <a:gd name="connsiteX786" fmla="*/ 5651107 w 7467600"/>
              <a:gd name="connsiteY786" fmla="*/ 920306 h 6858000"/>
              <a:gd name="connsiteX787" fmla="*/ 5459407 w 7467600"/>
              <a:gd name="connsiteY787" fmla="*/ 940975 h 6858000"/>
              <a:gd name="connsiteX788" fmla="*/ 5374846 w 7467600"/>
              <a:gd name="connsiteY788" fmla="*/ 941988 h 6858000"/>
              <a:gd name="connsiteX789" fmla="*/ 5256105 w 7467600"/>
              <a:gd name="connsiteY789" fmla="*/ 945632 h 6858000"/>
              <a:gd name="connsiteX790" fmla="*/ 5107071 w 7467600"/>
              <a:gd name="connsiteY790" fmla="*/ 969720 h 6858000"/>
              <a:gd name="connsiteX791" fmla="*/ 4998681 w 7467600"/>
              <a:gd name="connsiteY791" fmla="*/ 988771 h 6858000"/>
              <a:gd name="connsiteX792" fmla="*/ 5870151 w 7467600"/>
              <a:gd name="connsiteY792" fmla="*/ 898890 h 6858000"/>
              <a:gd name="connsiteX793" fmla="*/ 5504425 w 7467600"/>
              <a:gd name="connsiteY793" fmla="*/ 848067 h 6858000"/>
              <a:gd name="connsiteX794" fmla="*/ 4968849 w 7467600"/>
              <a:gd name="connsiteY794" fmla="*/ 962318 h 6858000"/>
              <a:gd name="connsiteX795" fmla="*/ 5104039 w 7467600"/>
              <a:gd name="connsiteY795" fmla="*/ 940634 h 6858000"/>
              <a:gd name="connsiteX796" fmla="*/ 5256311 w 7467600"/>
              <a:gd name="connsiteY796" fmla="*/ 916490 h 6858000"/>
              <a:gd name="connsiteX797" fmla="*/ 5377381 w 7467600"/>
              <a:gd name="connsiteY797" fmla="*/ 912671 h 6858000"/>
              <a:gd name="connsiteX798" fmla="*/ 5460148 w 7467600"/>
              <a:gd name="connsiteY798" fmla="*/ 911442 h 6858000"/>
              <a:gd name="connsiteX799" fmla="*/ 5648971 w 7467600"/>
              <a:gd name="connsiteY799" fmla="*/ 891331 h 6858000"/>
              <a:gd name="connsiteX800" fmla="*/ 5844807 w 7467600"/>
              <a:gd name="connsiteY800" fmla="*/ 870718 h 6858000"/>
              <a:gd name="connsiteX801" fmla="*/ 5862975 w 7467600"/>
              <a:gd name="connsiteY801" fmla="*/ 869756 h 6858000"/>
              <a:gd name="connsiteX802" fmla="*/ 5920887 w 7467600"/>
              <a:gd name="connsiteY802" fmla="*/ 865929 h 6858000"/>
              <a:gd name="connsiteX803" fmla="*/ 5504425 w 7467600"/>
              <a:gd name="connsiteY803" fmla="*/ 848067 h 6858000"/>
              <a:gd name="connsiteX804" fmla="*/ 3607114 w 7467600"/>
              <a:gd name="connsiteY804" fmla="*/ 467441 h 6858000"/>
              <a:gd name="connsiteX805" fmla="*/ 3296242 w 7467600"/>
              <a:gd name="connsiteY805" fmla="*/ 807991 h 6858000"/>
              <a:gd name="connsiteX806" fmla="*/ 3174674 w 7467600"/>
              <a:gd name="connsiteY806" fmla="*/ 919759 h 6858000"/>
              <a:gd name="connsiteX807" fmla="*/ 3042978 w 7467600"/>
              <a:gd name="connsiteY807" fmla="*/ 1054894 h 6858000"/>
              <a:gd name="connsiteX808" fmla="*/ 2968914 w 7467600"/>
              <a:gd name="connsiteY808" fmla="*/ 1133756 h 6858000"/>
              <a:gd name="connsiteX809" fmla="*/ 3103823 w 7467600"/>
              <a:gd name="connsiteY809" fmla="*/ 1026814 h 6858000"/>
              <a:gd name="connsiteX810" fmla="*/ 3607114 w 7467600"/>
              <a:gd name="connsiteY810" fmla="*/ 467441 h 6858000"/>
              <a:gd name="connsiteX811" fmla="*/ 3744487 w 7467600"/>
              <a:gd name="connsiteY811" fmla="*/ 383136 h 6858000"/>
              <a:gd name="connsiteX812" fmla="*/ 3970213 w 7467600"/>
              <a:gd name="connsiteY812" fmla="*/ 995559 h 6858000"/>
              <a:gd name="connsiteX813" fmla="*/ 3744487 w 7467600"/>
              <a:gd name="connsiteY813" fmla="*/ 383136 h 6858000"/>
              <a:gd name="connsiteX814" fmla="*/ 3624562 w 7467600"/>
              <a:gd name="connsiteY814" fmla="*/ 367041 h 6858000"/>
              <a:gd name="connsiteX815" fmla="*/ 3489712 w 7467600"/>
              <a:gd name="connsiteY815" fmla="*/ 485386 h 6858000"/>
              <a:gd name="connsiteX816" fmla="*/ 3182994 w 7467600"/>
              <a:gd name="connsiteY816" fmla="*/ 828265 h 6858000"/>
              <a:gd name="connsiteX817" fmla="*/ 2892114 w 7467600"/>
              <a:gd name="connsiteY817" fmla="*/ 1172635 h 6858000"/>
              <a:gd name="connsiteX818" fmla="*/ 3021459 w 7467600"/>
              <a:gd name="connsiteY818" fmla="*/ 1035385 h 6858000"/>
              <a:gd name="connsiteX819" fmla="*/ 3153873 w 7467600"/>
              <a:gd name="connsiteY819" fmla="*/ 898971 h 6858000"/>
              <a:gd name="connsiteX820" fmla="*/ 3276511 w 7467600"/>
              <a:gd name="connsiteY820" fmla="*/ 786423 h 6858000"/>
              <a:gd name="connsiteX821" fmla="*/ 3584154 w 7467600"/>
              <a:gd name="connsiteY821" fmla="*/ 448218 h 6858000"/>
              <a:gd name="connsiteX822" fmla="*/ 3624562 w 7467600"/>
              <a:gd name="connsiteY822" fmla="*/ 367041 h 6858000"/>
              <a:gd name="connsiteX823" fmla="*/ 3766672 w 7467600"/>
              <a:gd name="connsiteY823" fmla="*/ 359429 h 6858000"/>
              <a:gd name="connsiteX824" fmla="*/ 3996338 w 7467600"/>
              <a:gd name="connsiteY824" fmla="*/ 968237 h 6858000"/>
              <a:gd name="connsiteX825" fmla="*/ 3766672 w 7467600"/>
              <a:gd name="connsiteY825" fmla="*/ 359429 h 6858000"/>
              <a:gd name="connsiteX826" fmla="*/ 5805386 w 7467600"/>
              <a:gd name="connsiteY826" fmla="*/ 239240 h 6858000"/>
              <a:gd name="connsiteX827" fmla="*/ 5736947 w 7467600"/>
              <a:gd name="connsiteY827" fmla="*/ 261367 h 6858000"/>
              <a:gd name="connsiteX828" fmla="*/ 5427012 w 7467600"/>
              <a:gd name="connsiteY828" fmla="*/ 311272 h 6858000"/>
              <a:gd name="connsiteX829" fmla="*/ 5147818 w 7467600"/>
              <a:gd name="connsiteY829" fmla="*/ 322112 h 6858000"/>
              <a:gd name="connsiteX830" fmla="*/ 5060854 w 7467600"/>
              <a:gd name="connsiteY830" fmla="*/ 311882 h 6858000"/>
              <a:gd name="connsiteX831" fmla="*/ 4945989 w 7467600"/>
              <a:gd name="connsiteY831" fmla="*/ 300516 h 6858000"/>
              <a:gd name="connsiteX832" fmla="*/ 5410479 w 7467600"/>
              <a:gd name="connsiteY832" fmla="*/ 348434 h 6858000"/>
              <a:gd name="connsiteX833" fmla="*/ 5805386 w 7467600"/>
              <a:gd name="connsiteY833" fmla="*/ 239240 h 6858000"/>
              <a:gd name="connsiteX834" fmla="*/ 7467600 w 7467600"/>
              <a:gd name="connsiteY834" fmla="*/ 163142 h 6858000"/>
              <a:gd name="connsiteX835" fmla="*/ 7467600 w 7467600"/>
              <a:gd name="connsiteY835" fmla="*/ 789215 h 6858000"/>
              <a:gd name="connsiteX836" fmla="*/ 7451412 w 7467600"/>
              <a:gd name="connsiteY836" fmla="*/ 799572 h 6858000"/>
              <a:gd name="connsiteX837" fmla="*/ 7419999 w 7467600"/>
              <a:gd name="connsiteY837" fmla="*/ 774360 h 6858000"/>
              <a:gd name="connsiteX838" fmla="*/ 7429067 w 7467600"/>
              <a:gd name="connsiteY838" fmla="*/ 402737 h 6858000"/>
              <a:gd name="connsiteX839" fmla="*/ 5905192 w 7467600"/>
              <a:gd name="connsiteY839" fmla="*/ 163079 h 6858000"/>
              <a:gd name="connsiteX840" fmla="*/ 5865655 w 7467600"/>
              <a:gd name="connsiteY840" fmla="*/ 171901 h 6858000"/>
              <a:gd name="connsiteX841" fmla="*/ 5259740 w 7467600"/>
              <a:gd name="connsiteY841" fmla="*/ 257013 h 6858000"/>
              <a:gd name="connsiteX842" fmla="*/ 5208466 w 7467600"/>
              <a:gd name="connsiteY842" fmla="*/ 257550 h 6858000"/>
              <a:gd name="connsiteX843" fmla="*/ 4980204 w 7467600"/>
              <a:gd name="connsiteY843" fmla="*/ 271903 h 6858000"/>
              <a:gd name="connsiteX844" fmla="*/ 5068068 w 7467600"/>
              <a:gd name="connsiteY844" fmla="*/ 282244 h 6858000"/>
              <a:gd name="connsiteX845" fmla="*/ 5153231 w 7467600"/>
              <a:gd name="connsiteY845" fmla="*/ 292240 h 6858000"/>
              <a:gd name="connsiteX846" fmla="*/ 5426491 w 7467600"/>
              <a:gd name="connsiteY846" fmla="*/ 281128 h 6858000"/>
              <a:gd name="connsiteX847" fmla="*/ 5731212 w 7467600"/>
              <a:gd name="connsiteY847" fmla="*/ 231951 h 6858000"/>
              <a:gd name="connsiteX848" fmla="*/ 5905192 w 7467600"/>
              <a:gd name="connsiteY848" fmla="*/ 163079 h 6858000"/>
              <a:gd name="connsiteX849" fmla="*/ 5944437 w 7467600"/>
              <a:gd name="connsiteY849" fmla="*/ 113829 h 6858000"/>
              <a:gd name="connsiteX850" fmla="*/ 5825032 w 7467600"/>
              <a:gd name="connsiteY850" fmla="*/ 146405 h 6858000"/>
              <a:gd name="connsiteX851" fmla="*/ 4955599 w 7467600"/>
              <a:gd name="connsiteY851" fmla="*/ 247008 h 6858000"/>
              <a:gd name="connsiteX852" fmla="*/ 5210104 w 7467600"/>
              <a:gd name="connsiteY852" fmla="*/ 228123 h 6858000"/>
              <a:gd name="connsiteX853" fmla="*/ 5261015 w 7467600"/>
              <a:gd name="connsiteY853" fmla="*/ 227087 h 6858000"/>
              <a:gd name="connsiteX854" fmla="*/ 5861181 w 7467600"/>
              <a:gd name="connsiteY854" fmla="*/ 143093 h 6858000"/>
              <a:gd name="connsiteX855" fmla="*/ 5961252 w 7467600"/>
              <a:gd name="connsiteY855" fmla="*/ 114820 h 6858000"/>
              <a:gd name="connsiteX856" fmla="*/ 5944437 w 7467600"/>
              <a:gd name="connsiteY856" fmla="*/ 113829 h 6858000"/>
              <a:gd name="connsiteX857" fmla="*/ 3882765 w 7467600"/>
              <a:gd name="connsiteY857" fmla="*/ 0 h 6858000"/>
              <a:gd name="connsiteX858" fmla="*/ 3995099 w 7467600"/>
              <a:gd name="connsiteY858" fmla="*/ 0 h 6858000"/>
              <a:gd name="connsiteX859" fmla="*/ 4163818 w 7467600"/>
              <a:gd name="connsiteY859" fmla="*/ 234104 h 6858000"/>
              <a:gd name="connsiteX860" fmla="*/ 4172099 w 7467600"/>
              <a:gd name="connsiteY860" fmla="*/ 234207 h 6858000"/>
              <a:gd name="connsiteX861" fmla="*/ 4784282 w 7467600"/>
              <a:gd name="connsiteY861" fmla="*/ 276561 h 6858000"/>
              <a:gd name="connsiteX862" fmla="*/ 4801687 w 7467600"/>
              <a:gd name="connsiteY862" fmla="*/ 267764 h 6858000"/>
              <a:gd name="connsiteX863" fmla="*/ 6082788 w 7467600"/>
              <a:gd name="connsiteY863" fmla="*/ 64119 h 6858000"/>
              <a:gd name="connsiteX864" fmla="*/ 6099442 w 7467600"/>
              <a:gd name="connsiteY864" fmla="*/ 82568 h 6858000"/>
              <a:gd name="connsiteX865" fmla="*/ 4804137 w 7467600"/>
              <a:gd name="connsiteY865" fmla="*/ 320931 h 6858000"/>
              <a:gd name="connsiteX866" fmla="*/ 4227047 w 7467600"/>
              <a:gd name="connsiteY866" fmla="*/ 313415 h 6858000"/>
              <a:gd name="connsiteX867" fmla="*/ 4346041 w 7467600"/>
              <a:gd name="connsiteY867" fmla="*/ 456086 h 6858000"/>
              <a:gd name="connsiteX868" fmla="*/ 4870967 w 7467600"/>
              <a:gd name="connsiteY868" fmla="*/ 963061 h 6858000"/>
              <a:gd name="connsiteX869" fmla="*/ 4889647 w 7467600"/>
              <a:gd name="connsiteY869" fmla="*/ 957147 h 6858000"/>
              <a:gd name="connsiteX870" fmla="*/ 5422504 w 7467600"/>
              <a:gd name="connsiteY870" fmla="*/ 805191 h 6858000"/>
              <a:gd name="connsiteX871" fmla="*/ 6087656 w 7467600"/>
              <a:gd name="connsiteY871" fmla="*/ 826703 h 6858000"/>
              <a:gd name="connsiteX872" fmla="*/ 6058717 w 7467600"/>
              <a:gd name="connsiteY872" fmla="*/ 865992 h 6858000"/>
              <a:gd name="connsiteX873" fmla="*/ 4974153 w 7467600"/>
              <a:gd name="connsiteY873" fmla="*/ 1045456 h 6858000"/>
              <a:gd name="connsiteX874" fmla="*/ 5627835 w 7467600"/>
              <a:gd name="connsiteY874" fmla="*/ 1472077 h 6858000"/>
              <a:gd name="connsiteX875" fmla="*/ 5629817 w 7467600"/>
              <a:gd name="connsiteY875" fmla="*/ 1471412 h 6858000"/>
              <a:gd name="connsiteX876" fmla="*/ 5634124 w 7467600"/>
              <a:gd name="connsiteY876" fmla="*/ 1470572 h 6858000"/>
              <a:gd name="connsiteX877" fmla="*/ 5755832 w 7467600"/>
              <a:gd name="connsiteY877" fmla="*/ 1383886 h 6858000"/>
              <a:gd name="connsiteX878" fmla="*/ 6014186 w 7467600"/>
              <a:gd name="connsiteY878" fmla="*/ 1279799 h 6858000"/>
              <a:gd name="connsiteX879" fmla="*/ 6901619 w 7467600"/>
              <a:gd name="connsiteY879" fmla="*/ 1047874 h 6858000"/>
              <a:gd name="connsiteX880" fmla="*/ 6931566 w 7467600"/>
              <a:gd name="connsiteY880" fmla="*/ 1062034 h 6858000"/>
              <a:gd name="connsiteX881" fmla="*/ 5790982 w 7467600"/>
              <a:gd name="connsiteY881" fmla="*/ 1561380 h 6858000"/>
              <a:gd name="connsiteX882" fmla="*/ 6188971 w 7467600"/>
              <a:gd name="connsiteY882" fmla="*/ 1755168 h 6858000"/>
              <a:gd name="connsiteX883" fmla="*/ 6202446 w 7467600"/>
              <a:gd name="connsiteY883" fmla="*/ 1752268 h 6858000"/>
              <a:gd name="connsiteX884" fmla="*/ 7179560 w 7467600"/>
              <a:gd name="connsiteY884" fmla="*/ 1467551 h 6858000"/>
              <a:gd name="connsiteX885" fmla="*/ 7158730 w 7467600"/>
              <a:gd name="connsiteY885" fmla="*/ 1507835 h 6858000"/>
              <a:gd name="connsiteX886" fmla="*/ 6326959 w 7467600"/>
              <a:gd name="connsiteY886" fmla="*/ 1817686 h 6858000"/>
              <a:gd name="connsiteX887" fmla="*/ 6537433 w 7467600"/>
              <a:gd name="connsiteY887" fmla="*/ 1907790 h 6858000"/>
              <a:gd name="connsiteX888" fmla="*/ 6550221 w 7467600"/>
              <a:gd name="connsiteY888" fmla="*/ 1910729 h 6858000"/>
              <a:gd name="connsiteX889" fmla="*/ 6964438 w 7467600"/>
              <a:gd name="connsiteY889" fmla="*/ 2209505 h 6858000"/>
              <a:gd name="connsiteX890" fmla="*/ 7367862 w 7467600"/>
              <a:gd name="connsiteY890" fmla="*/ 2806833 h 6858000"/>
              <a:gd name="connsiteX891" fmla="*/ 7364329 w 7467600"/>
              <a:gd name="connsiteY891" fmla="*/ 2826907 h 6858000"/>
              <a:gd name="connsiteX892" fmla="*/ 7290545 w 7467600"/>
              <a:gd name="connsiteY892" fmla="*/ 2850663 h 6858000"/>
              <a:gd name="connsiteX893" fmla="*/ 6472036 w 7467600"/>
              <a:gd name="connsiteY893" fmla="*/ 1959003 h 6858000"/>
              <a:gd name="connsiteX894" fmla="*/ 5792897 w 7467600"/>
              <a:gd name="connsiteY894" fmla="*/ 1647747 h 6858000"/>
              <a:gd name="connsiteX895" fmla="*/ 5842751 w 7467600"/>
              <a:gd name="connsiteY895" fmla="*/ 1816112 h 6858000"/>
              <a:gd name="connsiteX896" fmla="*/ 5847424 w 7467600"/>
              <a:gd name="connsiteY896" fmla="*/ 1815776 h 6858000"/>
              <a:gd name="connsiteX897" fmla="*/ 6399821 w 7467600"/>
              <a:gd name="connsiteY897" fmla="*/ 2344799 h 6858000"/>
              <a:gd name="connsiteX898" fmla="*/ 6323232 w 7467600"/>
              <a:gd name="connsiteY898" fmla="*/ 2389634 h 6858000"/>
              <a:gd name="connsiteX899" fmla="*/ 5942958 w 7467600"/>
              <a:gd name="connsiteY899" fmla="*/ 2077708 h 6858000"/>
              <a:gd name="connsiteX900" fmla="*/ 5921559 w 7467600"/>
              <a:gd name="connsiteY900" fmla="*/ 2378596 h 6858000"/>
              <a:gd name="connsiteX901" fmla="*/ 5817651 w 7467600"/>
              <a:gd name="connsiteY901" fmla="*/ 3023919 h 6858000"/>
              <a:gd name="connsiteX902" fmla="*/ 5729634 w 7467600"/>
              <a:gd name="connsiteY902" fmla="*/ 3051849 h 6858000"/>
              <a:gd name="connsiteX903" fmla="*/ 5611018 w 7467600"/>
              <a:gd name="connsiteY903" fmla="*/ 2316769 h 6858000"/>
              <a:gd name="connsiteX904" fmla="*/ 5687608 w 7467600"/>
              <a:gd name="connsiteY904" fmla="*/ 2039972 h 6858000"/>
              <a:gd name="connsiteX905" fmla="*/ 5657554 w 7467600"/>
              <a:gd name="connsiteY905" fmla="*/ 1576445 h 6858000"/>
              <a:gd name="connsiteX906" fmla="*/ 5150475 w 7467600"/>
              <a:gd name="connsiteY906" fmla="*/ 1274012 h 6858000"/>
              <a:gd name="connsiteX907" fmla="*/ 5349142 w 7467600"/>
              <a:gd name="connsiteY907" fmla="*/ 2204405 h 6858000"/>
              <a:gd name="connsiteX908" fmla="*/ 5262214 w 7467600"/>
              <a:gd name="connsiteY908" fmla="*/ 2233836 h 6858000"/>
              <a:gd name="connsiteX909" fmla="*/ 4981539 w 7467600"/>
              <a:gd name="connsiteY909" fmla="*/ 1542201 h 6858000"/>
              <a:gd name="connsiteX910" fmla="*/ 4958461 w 7467600"/>
              <a:gd name="connsiteY910" fmla="*/ 1136957 h 6858000"/>
              <a:gd name="connsiteX911" fmla="*/ 4655015 w 7467600"/>
              <a:gd name="connsiteY911" fmla="*/ 891426 h 6858000"/>
              <a:gd name="connsiteX912" fmla="*/ 4348002 w 7467600"/>
              <a:gd name="connsiteY912" fmla="*/ 2205895 h 6858000"/>
              <a:gd name="connsiteX913" fmla="*/ 4262250 w 7467600"/>
              <a:gd name="connsiteY913" fmla="*/ 2219972 h 6858000"/>
              <a:gd name="connsiteX914" fmla="*/ 4550611 w 7467600"/>
              <a:gd name="connsiteY914" fmla="*/ 817540 h 6858000"/>
              <a:gd name="connsiteX915" fmla="*/ 4564418 w 7467600"/>
              <a:gd name="connsiteY915" fmla="*/ 808293 h 6858000"/>
              <a:gd name="connsiteX916" fmla="*/ 4266388 w 7467600"/>
              <a:gd name="connsiteY916" fmla="*/ 500083 h 6858000"/>
              <a:gd name="connsiteX917" fmla="*/ 4032842 w 7467600"/>
              <a:gd name="connsiteY917" fmla="*/ 211809 h 6858000"/>
              <a:gd name="connsiteX918" fmla="*/ 3721337 w 7467600"/>
              <a:gd name="connsiteY918" fmla="*/ 0 h 6858000"/>
              <a:gd name="connsiteX919" fmla="*/ 3797544 w 7467600"/>
              <a:gd name="connsiteY919" fmla="*/ 0 h 6858000"/>
              <a:gd name="connsiteX920" fmla="*/ 3775734 w 7467600"/>
              <a:gd name="connsiteY920" fmla="*/ 95131 h 6858000"/>
              <a:gd name="connsiteX921" fmla="*/ 3724807 w 7467600"/>
              <a:gd name="connsiteY921" fmla="*/ 272257 h 6858000"/>
              <a:gd name="connsiteX922" fmla="*/ 3726844 w 7467600"/>
              <a:gd name="connsiteY922" fmla="*/ 282988 h 6858000"/>
              <a:gd name="connsiteX923" fmla="*/ 3742664 w 7467600"/>
              <a:gd name="connsiteY923" fmla="*/ 279918 h 6858000"/>
              <a:gd name="connsiteX924" fmla="*/ 4103910 w 7467600"/>
              <a:gd name="connsiteY924" fmla="*/ 1161917 h 6858000"/>
              <a:gd name="connsiteX925" fmla="*/ 4020269 w 7467600"/>
              <a:gd name="connsiteY925" fmla="*/ 1200406 h 6858000"/>
              <a:gd name="connsiteX926" fmla="*/ 3674882 w 7467600"/>
              <a:gd name="connsiteY926" fmla="*/ 488524 h 6858000"/>
              <a:gd name="connsiteX927" fmla="*/ 3132682 w 7467600"/>
              <a:gd name="connsiteY927" fmla="*/ 1072284 h 6858000"/>
              <a:gd name="connsiteX928" fmla="*/ 2716346 w 7467600"/>
              <a:gd name="connsiteY928" fmla="*/ 1276376 h 6858000"/>
              <a:gd name="connsiteX929" fmla="*/ 2716772 w 7467600"/>
              <a:gd name="connsiteY929" fmla="*/ 1255462 h 6858000"/>
              <a:gd name="connsiteX930" fmla="*/ 3471096 w 7467600"/>
              <a:gd name="connsiteY930" fmla="*/ 437072 h 6858000"/>
              <a:gd name="connsiteX931" fmla="*/ 3639057 w 7467600"/>
              <a:gd name="connsiteY931" fmla="*/ 286334 h 6858000"/>
              <a:gd name="connsiteX932" fmla="*/ 3640309 w 7467600"/>
              <a:gd name="connsiteY932" fmla="*/ 284664 h 6858000"/>
              <a:gd name="connsiteX933" fmla="*/ 3646022 w 7467600"/>
              <a:gd name="connsiteY933" fmla="*/ 276711 h 6858000"/>
              <a:gd name="connsiteX934" fmla="*/ 3707943 w 7467600"/>
              <a:gd name="connsiteY934" fmla="*/ 65958 h 6858000"/>
              <a:gd name="connsiteX935" fmla="*/ 2867960 w 7467600"/>
              <a:gd name="connsiteY935" fmla="*/ 0 h 6858000"/>
              <a:gd name="connsiteX936" fmla="*/ 2926351 w 7467600"/>
              <a:gd name="connsiteY936" fmla="*/ 0 h 6858000"/>
              <a:gd name="connsiteX937" fmla="*/ 2902823 w 7467600"/>
              <a:gd name="connsiteY937" fmla="*/ 262929 h 6858000"/>
              <a:gd name="connsiteX938" fmla="*/ 2940663 w 7467600"/>
              <a:gd name="connsiteY938" fmla="*/ 140884 h 6858000"/>
              <a:gd name="connsiteX939" fmla="*/ 2947039 w 7467600"/>
              <a:gd name="connsiteY939" fmla="*/ 122524 h 6858000"/>
              <a:gd name="connsiteX940" fmla="*/ 2984316 w 7467600"/>
              <a:gd name="connsiteY940" fmla="*/ 0 h 6858000"/>
              <a:gd name="connsiteX941" fmla="*/ 3016114 w 7467600"/>
              <a:gd name="connsiteY941" fmla="*/ 0 h 6858000"/>
              <a:gd name="connsiteX942" fmla="*/ 2979949 w 7467600"/>
              <a:gd name="connsiteY942" fmla="*/ 119274 h 6858000"/>
              <a:gd name="connsiteX943" fmla="*/ 3023879 w 7467600"/>
              <a:gd name="connsiteY943" fmla="*/ 0 h 6858000"/>
              <a:gd name="connsiteX944" fmla="*/ 3105400 w 7467600"/>
              <a:gd name="connsiteY944" fmla="*/ 0 h 6858000"/>
              <a:gd name="connsiteX945" fmla="*/ 3094669 w 7467600"/>
              <a:gd name="connsiteY945" fmla="*/ 30308 h 6858000"/>
              <a:gd name="connsiteX946" fmla="*/ 2901945 w 7467600"/>
              <a:gd name="connsiteY946" fmla="*/ 466538 h 6858000"/>
              <a:gd name="connsiteX947" fmla="*/ 2815209 w 7467600"/>
              <a:gd name="connsiteY947" fmla="*/ 497361 h 6858000"/>
              <a:gd name="connsiteX948" fmla="*/ 2844845 w 7467600"/>
              <a:gd name="connsiteY948" fmla="*/ 127638 h 6858000"/>
              <a:gd name="connsiteX949" fmla="*/ 1057230 w 7467600"/>
              <a:gd name="connsiteY949" fmla="*/ 0 h 6858000"/>
              <a:gd name="connsiteX950" fmla="*/ 1111003 w 7467600"/>
              <a:gd name="connsiteY950" fmla="*/ 0 h 6858000"/>
              <a:gd name="connsiteX951" fmla="*/ 1125553 w 7467600"/>
              <a:gd name="connsiteY951" fmla="*/ 52588 h 6858000"/>
              <a:gd name="connsiteX952" fmla="*/ 1304276 w 7467600"/>
              <a:gd name="connsiteY952" fmla="*/ 476275 h 6858000"/>
              <a:gd name="connsiteX953" fmla="*/ 1492066 w 7467600"/>
              <a:gd name="connsiteY953" fmla="*/ 886333 h 6858000"/>
              <a:gd name="connsiteX954" fmla="*/ 1423698 w 7467600"/>
              <a:gd name="connsiteY954" fmla="*/ 710817 h 6858000"/>
              <a:gd name="connsiteX955" fmla="*/ 1357609 w 7467600"/>
              <a:gd name="connsiteY955" fmla="*/ 532892 h 6858000"/>
              <a:gd name="connsiteX956" fmla="*/ 1309550 w 7467600"/>
              <a:gd name="connsiteY956" fmla="*/ 374031 h 6858000"/>
              <a:gd name="connsiteX957" fmla="*/ 1193673 w 7467600"/>
              <a:gd name="connsiteY957" fmla="*/ 49533 h 6858000"/>
              <a:gd name="connsiteX958" fmla="*/ 1164391 w 7467600"/>
              <a:gd name="connsiteY958" fmla="*/ 0 h 6858000"/>
              <a:gd name="connsiteX959" fmla="*/ 1200666 w 7467600"/>
              <a:gd name="connsiteY959" fmla="*/ 0 h 6858000"/>
              <a:gd name="connsiteX960" fmla="*/ 1223408 w 7467600"/>
              <a:gd name="connsiteY960" fmla="*/ 38996 h 6858000"/>
              <a:gd name="connsiteX961" fmla="*/ 1339635 w 7467600"/>
              <a:gd name="connsiteY961" fmla="*/ 365517 h 6858000"/>
              <a:gd name="connsiteX962" fmla="*/ 1387469 w 7467600"/>
              <a:gd name="connsiteY962" fmla="*/ 523079 h 6858000"/>
              <a:gd name="connsiteX963" fmla="*/ 1452685 w 7467600"/>
              <a:gd name="connsiteY963" fmla="*/ 699806 h 6858000"/>
              <a:gd name="connsiteX964" fmla="*/ 1492092 w 7467600"/>
              <a:gd name="connsiteY964" fmla="*/ 800424 h 6858000"/>
              <a:gd name="connsiteX965" fmla="*/ 1455302 w 7467600"/>
              <a:gd name="connsiteY965" fmla="*/ 632913 h 6858000"/>
              <a:gd name="connsiteX966" fmla="*/ 1222336 w 7467600"/>
              <a:gd name="connsiteY966" fmla="*/ 9480 h 6858000"/>
              <a:gd name="connsiteX967" fmla="*/ 1214634 w 7467600"/>
              <a:gd name="connsiteY967" fmla="*/ 0 h 6858000"/>
              <a:gd name="connsiteX968" fmla="*/ 1289827 w 7467600"/>
              <a:gd name="connsiteY968" fmla="*/ 0 h 6858000"/>
              <a:gd name="connsiteX969" fmla="*/ 1321076 w 7467600"/>
              <a:gd name="connsiteY969" fmla="*/ 59722 h 6858000"/>
              <a:gd name="connsiteX970" fmla="*/ 1512579 w 7467600"/>
              <a:gd name="connsiteY970" fmla="*/ 626441 h 6858000"/>
              <a:gd name="connsiteX971" fmla="*/ 1506076 w 7467600"/>
              <a:gd name="connsiteY971" fmla="*/ 1089289 h 6858000"/>
              <a:gd name="connsiteX972" fmla="*/ 1486346 w 7467600"/>
              <a:gd name="connsiteY972" fmla="*/ 1079919 h 6858000"/>
              <a:gd name="connsiteX973" fmla="*/ 1070511 w 7467600"/>
              <a:gd name="connsiteY973" fmla="*/ 48609 h 6858000"/>
              <a:gd name="connsiteX974" fmla="*/ 43151 w 7467600"/>
              <a:gd name="connsiteY974" fmla="*/ 0 h 6858000"/>
              <a:gd name="connsiteX975" fmla="*/ 95283 w 7467600"/>
              <a:gd name="connsiteY975" fmla="*/ 0 h 6858000"/>
              <a:gd name="connsiteX976" fmla="*/ 300708 w 7467600"/>
              <a:gd name="connsiteY976" fmla="*/ 154571 h 6858000"/>
              <a:gd name="connsiteX977" fmla="*/ 530414 w 7467600"/>
              <a:gd name="connsiteY977" fmla="*/ 354673 h 6858000"/>
              <a:gd name="connsiteX978" fmla="*/ 333785 w 7467600"/>
              <a:gd name="connsiteY978" fmla="*/ 161564 h 6858000"/>
              <a:gd name="connsiteX979" fmla="*/ 147005 w 7467600"/>
              <a:gd name="connsiteY979" fmla="*/ 0 h 6858000"/>
              <a:gd name="connsiteX980" fmla="*/ 272509 w 7467600"/>
              <a:gd name="connsiteY980" fmla="*/ 0 h 6858000"/>
              <a:gd name="connsiteX981" fmla="*/ 326276 w 7467600"/>
              <a:gd name="connsiteY981" fmla="*/ 45847 h 6858000"/>
              <a:gd name="connsiteX982" fmla="*/ 823759 w 7467600"/>
              <a:gd name="connsiteY982" fmla="*/ 574145 h 6858000"/>
              <a:gd name="connsiteX983" fmla="*/ 811254 w 7467600"/>
              <a:gd name="connsiteY983" fmla="*/ 665546 h 6858000"/>
              <a:gd name="connsiteX984" fmla="*/ 154042 w 7467600"/>
              <a:gd name="connsiteY984" fmla="*/ 261522 h 6858000"/>
              <a:gd name="connsiteX985" fmla="*/ 13550 w 7467600"/>
              <a:gd name="connsiteY985" fmla="*/ 158423 h 6858000"/>
              <a:gd name="connsiteX986" fmla="*/ 0 w 7467600"/>
              <a:gd name="connsiteY986" fmla="*/ 146618 h 6858000"/>
              <a:gd name="connsiteX987" fmla="*/ 0 w 7467600"/>
              <a:gd name="connsiteY987" fmla="*/ 59161 h 6858000"/>
              <a:gd name="connsiteX988" fmla="*/ 45427 w 7467600"/>
              <a:gd name="connsiteY988" fmla="*/ 101078 h 6858000"/>
              <a:gd name="connsiteX989" fmla="*/ 630103 w 7467600"/>
              <a:gd name="connsiteY989" fmla="*/ 485885 h 6858000"/>
              <a:gd name="connsiteX990" fmla="*/ 532040 w 7467600"/>
              <a:gd name="connsiteY990" fmla="*/ 399359 h 6858000"/>
              <a:gd name="connsiteX991" fmla="*/ 517618 w 7467600"/>
              <a:gd name="connsiteY991" fmla="*/ 385726 h 6858000"/>
              <a:gd name="connsiteX992" fmla="*/ 285074 w 7467600"/>
              <a:gd name="connsiteY992" fmla="*/ 182755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133363 w 7467600"/>
              <a:gd name="connsiteY127" fmla="*/ 5050246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7327465 w 7467600"/>
              <a:gd name="connsiteY139" fmla="*/ 5174181 h 6858000"/>
              <a:gd name="connsiteX140" fmla="*/ 7244057 w 7467600"/>
              <a:gd name="connsiteY140" fmla="*/ 5124233 h 6858000"/>
              <a:gd name="connsiteX141" fmla="*/ 7353035 w 7467600"/>
              <a:gd name="connsiteY141" fmla="*/ 5197318 h 6858000"/>
              <a:gd name="connsiteX142" fmla="*/ 7467600 w 7467600"/>
              <a:gd name="connsiteY142" fmla="*/ 5297634 h 6858000"/>
              <a:gd name="connsiteX143" fmla="*/ 7467600 w 7467600"/>
              <a:gd name="connsiteY143" fmla="*/ 5361850 h 6858000"/>
              <a:gd name="connsiteX144" fmla="*/ 7368569 w 7467600"/>
              <a:gd name="connsiteY144" fmla="*/ 5270182 h 6858000"/>
              <a:gd name="connsiteX145" fmla="*/ 7131946 w 7467600"/>
              <a:gd name="connsiteY145" fmla="*/ 5075653 h 6858000"/>
              <a:gd name="connsiteX146" fmla="*/ 7133363 w 7467600"/>
              <a:gd name="connsiteY146" fmla="*/ 5050246 h 6858000"/>
              <a:gd name="connsiteX147" fmla="*/ 1903353 w 7467600"/>
              <a:gd name="connsiteY147" fmla="*/ 5044827 h 6858000"/>
              <a:gd name="connsiteX148" fmla="*/ 1936931 w 7467600"/>
              <a:gd name="connsiteY148" fmla="*/ 5093954 h 6858000"/>
              <a:gd name="connsiteX149" fmla="*/ 2195868 w 7467600"/>
              <a:gd name="connsiteY149" fmla="*/ 5396574 h 6858000"/>
              <a:gd name="connsiteX150" fmla="*/ 2088852 w 7467600"/>
              <a:gd name="connsiteY150" fmla="*/ 5166123 h 6858000"/>
              <a:gd name="connsiteX151" fmla="*/ 1958241 w 7467600"/>
              <a:gd name="connsiteY151" fmla="*/ 5067955 h 6858000"/>
              <a:gd name="connsiteX152" fmla="*/ 1903353 w 7467600"/>
              <a:gd name="connsiteY152" fmla="*/ 5044827 h 6858000"/>
              <a:gd name="connsiteX153" fmla="*/ 1979378 w 7467600"/>
              <a:gd name="connsiteY153" fmla="*/ 4769504 h 6858000"/>
              <a:gd name="connsiteX154" fmla="*/ 2882120 w 7467600"/>
              <a:gd name="connsiteY154" fmla="*/ 5064547 h 6858000"/>
              <a:gd name="connsiteX155" fmla="*/ 2793103 w 7467600"/>
              <a:gd name="connsiteY155" fmla="*/ 5039699 h 6858000"/>
              <a:gd name="connsiteX156" fmla="*/ 2770041 w 7467600"/>
              <a:gd name="connsiteY156" fmla="*/ 5033634 h 6858000"/>
              <a:gd name="connsiteX157" fmla="*/ 1979378 w 7467600"/>
              <a:gd name="connsiteY157" fmla="*/ 4769504 h 6858000"/>
              <a:gd name="connsiteX158" fmla="*/ 1927410 w 7467600"/>
              <a:gd name="connsiteY158" fmla="*/ 4716164 h 6858000"/>
              <a:gd name="connsiteX159" fmla="*/ 1959587 w 7467600"/>
              <a:gd name="connsiteY159" fmla="*/ 4728849 h 6858000"/>
              <a:gd name="connsiteX160" fmla="*/ 2777707 w 7467600"/>
              <a:gd name="connsiteY160" fmla="*/ 5003991 h 6858000"/>
              <a:gd name="connsiteX161" fmla="*/ 2800768 w 7467600"/>
              <a:gd name="connsiteY161" fmla="*/ 5010056 h 6858000"/>
              <a:gd name="connsiteX162" fmla="*/ 2879408 w 7467600"/>
              <a:gd name="connsiteY162" fmla="*/ 5031590 h 6858000"/>
              <a:gd name="connsiteX163" fmla="*/ 2862295 w 7467600"/>
              <a:gd name="connsiteY163" fmla="*/ 5022958 h 6858000"/>
              <a:gd name="connsiteX164" fmla="*/ 2813343 w 7467600"/>
              <a:gd name="connsiteY164" fmla="*/ 4998369 h 6858000"/>
              <a:gd name="connsiteX165" fmla="*/ 2646245 w 7467600"/>
              <a:gd name="connsiteY165" fmla="*/ 4930999 h 6858000"/>
              <a:gd name="connsiteX166" fmla="*/ 1999243 w 7467600"/>
              <a:gd name="connsiteY166" fmla="*/ 4730524 h 6858000"/>
              <a:gd name="connsiteX167" fmla="*/ 1979527 w 7467600"/>
              <a:gd name="connsiteY167" fmla="*/ 4726651 h 6858000"/>
              <a:gd name="connsiteX168" fmla="*/ 1927410 w 7467600"/>
              <a:gd name="connsiteY168" fmla="*/ 4716164 h 6858000"/>
              <a:gd name="connsiteX169" fmla="*/ 1997014 w 7467600"/>
              <a:gd name="connsiteY169" fmla="*/ 4698007 h 6858000"/>
              <a:gd name="connsiteX170" fmla="*/ 2005458 w 7467600"/>
              <a:gd name="connsiteY170" fmla="*/ 4699540 h 6858000"/>
              <a:gd name="connsiteX171" fmla="*/ 2657186 w 7467600"/>
              <a:gd name="connsiteY171" fmla="*/ 4901687 h 6858000"/>
              <a:gd name="connsiteX172" fmla="*/ 2826662 w 7467600"/>
              <a:gd name="connsiteY172" fmla="*/ 4970362 h 6858000"/>
              <a:gd name="connsiteX173" fmla="*/ 2876100 w 7467600"/>
              <a:gd name="connsiteY173" fmla="*/ 4995397 h 6858000"/>
              <a:gd name="connsiteX174" fmla="*/ 3042600 w 7467600"/>
              <a:gd name="connsiteY174" fmla="*/ 5059532 h 6858000"/>
              <a:gd name="connsiteX175" fmla="*/ 1997014 w 7467600"/>
              <a:gd name="connsiteY175" fmla="*/ 4698007 h 6858000"/>
              <a:gd name="connsiteX176" fmla="*/ 2305292 w 7467600"/>
              <a:gd name="connsiteY176" fmla="*/ 4219492 h 6858000"/>
              <a:gd name="connsiteX177" fmla="*/ 3360922 w 7467600"/>
              <a:gd name="connsiteY177" fmla="*/ 4529373 h 6858000"/>
              <a:gd name="connsiteX178" fmla="*/ 3492420 w 7467600"/>
              <a:gd name="connsiteY178" fmla="*/ 4510145 h 6858000"/>
              <a:gd name="connsiteX179" fmla="*/ 3364086 w 7467600"/>
              <a:gd name="connsiteY179" fmla="*/ 4480340 h 6858000"/>
              <a:gd name="connsiteX180" fmla="*/ 3225818 w 7467600"/>
              <a:gd name="connsiteY180" fmla="*/ 4411822 h 6858000"/>
              <a:gd name="connsiteX181" fmla="*/ 3129696 w 7467600"/>
              <a:gd name="connsiteY181" fmla="*/ 4360704 h 6858000"/>
              <a:gd name="connsiteX182" fmla="*/ 2814545 w 7467600"/>
              <a:gd name="connsiteY182" fmla="*/ 4282955 h 6858000"/>
              <a:gd name="connsiteX183" fmla="*/ 2305292 w 7467600"/>
              <a:gd name="connsiteY183" fmla="*/ 4219492 h 6858000"/>
              <a:gd name="connsiteX184" fmla="*/ 2626982 w 7467600"/>
              <a:gd name="connsiteY184" fmla="*/ 4206450 h 6858000"/>
              <a:gd name="connsiteX185" fmla="*/ 2490617 w 7467600"/>
              <a:gd name="connsiteY185" fmla="*/ 4206951 h 6858000"/>
              <a:gd name="connsiteX186" fmla="*/ 2819869 w 7467600"/>
              <a:gd name="connsiteY186" fmla="*/ 4252936 h 6858000"/>
              <a:gd name="connsiteX187" fmla="*/ 3143018 w 7467600"/>
              <a:gd name="connsiteY187" fmla="*/ 4332698 h 6858000"/>
              <a:gd name="connsiteX188" fmla="*/ 3241520 w 7467600"/>
              <a:gd name="connsiteY188" fmla="*/ 4385112 h 6858000"/>
              <a:gd name="connsiteX189" fmla="*/ 3374575 w 7467600"/>
              <a:gd name="connsiteY189" fmla="*/ 4451517 h 6858000"/>
              <a:gd name="connsiteX190" fmla="*/ 3505221 w 7467600"/>
              <a:gd name="connsiteY190" fmla="*/ 4480757 h 6858000"/>
              <a:gd name="connsiteX191" fmla="*/ 2626982 w 7467600"/>
              <a:gd name="connsiteY191" fmla="*/ 4206450 h 6858000"/>
              <a:gd name="connsiteX192" fmla="*/ 1310106 w 7467600"/>
              <a:gd name="connsiteY192" fmla="*/ 3943217 h 6858000"/>
              <a:gd name="connsiteX193" fmla="*/ 854994 w 7467600"/>
              <a:gd name="connsiteY193" fmla="*/ 4399136 h 6858000"/>
              <a:gd name="connsiteX194" fmla="*/ 742462 w 7467600"/>
              <a:gd name="connsiteY194" fmla="*/ 4594648 h 6858000"/>
              <a:gd name="connsiteX195" fmla="*/ 820602 w 7467600"/>
              <a:gd name="connsiteY195" fmla="*/ 4485915 h 6858000"/>
              <a:gd name="connsiteX196" fmla="*/ 878295 w 7467600"/>
              <a:gd name="connsiteY196" fmla="*/ 4403594 h 6858000"/>
              <a:gd name="connsiteX197" fmla="*/ 1240607 w 7467600"/>
              <a:gd name="connsiteY197" fmla="*/ 4010401 h 6858000"/>
              <a:gd name="connsiteX198" fmla="*/ 1310106 w 7467600"/>
              <a:gd name="connsiteY198" fmla="*/ 3943217 h 6858000"/>
              <a:gd name="connsiteX199" fmla="*/ 1423113 w 7467600"/>
              <a:gd name="connsiteY199" fmla="*/ 3874565 h 6858000"/>
              <a:gd name="connsiteX200" fmla="*/ 1260565 w 7467600"/>
              <a:gd name="connsiteY200" fmla="*/ 4031982 h 6858000"/>
              <a:gd name="connsiteX201" fmla="*/ 901900 w 7467600"/>
              <a:gd name="connsiteY201" fmla="*/ 4421236 h 6858000"/>
              <a:gd name="connsiteX202" fmla="*/ 845044 w 7467600"/>
              <a:gd name="connsiteY202" fmla="*/ 4502436 h 6858000"/>
              <a:gd name="connsiteX203" fmla="*/ 685926 w 7467600"/>
              <a:gd name="connsiteY203" fmla="*/ 4703069 h 6858000"/>
              <a:gd name="connsiteX204" fmla="*/ 684248 w 7467600"/>
              <a:gd name="connsiteY204" fmla="*/ 4706721 h 6858000"/>
              <a:gd name="connsiteX205" fmla="*/ 1423113 w 7467600"/>
              <a:gd name="connsiteY205" fmla="*/ 3874565 h 6858000"/>
              <a:gd name="connsiteX206" fmla="*/ 3316479 w 7467600"/>
              <a:gd name="connsiteY206" fmla="*/ 3872136 h 6858000"/>
              <a:gd name="connsiteX207" fmla="*/ 3546806 w 7467600"/>
              <a:gd name="connsiteY207" fmla="*/ 4356139 h 6858000"/>
              <a:gd name="connsiteX208" fmla="*/ 3364433 w 7467600"/>
              <a:gd name="connsiteY208" fmla="*/ 3953121 h 6858000"/>
              <a:gd name="connsiteX209" fmla="*/ 3316479 w 7467600"/>
              <a:gd name="connsiteY209" fmla="*/ 3872136 h 6858000"/>
              <a:gd name="connsiteX210" fmla="*/ 3291335 w 7467600"/>
              <a:gd name="connsiteY210" fmla="*/ 3767420 h 6858000"/>
              <a:gd name="connsiteX211" fmla="*/ 3390805 w 7467600"/>
              <a:gd name="connsiteY211" fmla="*/ 3937163 h 6858000"/>
              <a:gd name="connsiteX212" fmla="*/ 3579062 w 7467600"/>
              <a:gd name="connsiteY212" fmla="*/ 4359040 h 6858000"/>
              <a:gd name="connsiteX213" fmla="*/ 3467355 w 7467600"/>
              <a:gd name="connsiteY213" fmla="*/ 3988130 h 6858000"/>
              <a:gd name="connsiteX214" fmla="*/ 3310753 w 7467600"/>
              <a:gd name="connsiteY214" fmla="*/ 3787140 h 6858000"/>
              <a:gd name="connsiteX215" fmla="*/ 3291335 w 7467600"/>
              <a:gd name="connsiteY215" fmla="*/ 3767420 h 6858000"/>
              <a:gd name="connsiteX216" fmla="*/ 1635889 w 7467600"/>
              <a:gd name="connsiteY216" fmla="*/ 3709494 h 6858000"/>
              <a:gd name="connsiteX217" fmla="*/ 1634800 w 7467600"/>
              <a:gd name="connsiteY217" fmla="*/ 3731111 h 6858000"/>
              <a:gd name="connsiteX218" fmla="*/ 1635889 w 7467600"/>
              <a:gd name="connsiteY218" fmla="*/ 3709494 h 6858000"/>
              <a:gd name="connsiteX219" fmla="*/ 1510397 w 7467600"/>
              <a:gd name="connsiteY219" fmla="*/ 3684705 h 6858000"/>
              <a:gd name="connsiteX220" fmla="*/ 1146550 w 7467600"/>
              <a:gd name="connsiteY220" fmla="*/ 3802012 h 6858000"/>
              <a:gd name="connsiteX221" fmla="*/ 698834 w 7467600"/>
              <a:gd name="connsiteY221" fmla="*/ 3952272 h 6858000"/>
              <a:gd name="connsiteX222" fmla="*/ 34256 w 7467600"/>
              <a:gd name="connsiteY222" fmla="*/ 4347603 h 6858000"/>
              <a:gd name="connsiteX223" fmla="*/ 527241 w 7467600"/>
              <a:gd name="connsiteY223" fmla="*/ 4065078 h 6858000"/>
              <a:gd name="connsiteX224" fmla="*/ 1510397 w 7467600"/>
              <a:gd name="connsiteY224" fmla="*/ 3684705 h 6858000"/>
              <a:gd name="connsiteX225" fmla="*/ 1313114 w 7467600"/>
              <a:gd name="connsiteY225" fmla="*/ 3655216 h 6858000"/>
              <a:gd name="connsiteX226" fmla="*/ 1109304 w 7467600"/>
              <a:gd name="connsiteY226" fmla="*/ 3669030 h 6858000"/>
              <a:gd name="connsiteX227" fmla="*/ 8129 w 7467600"/>
              <a:gd name="connsiteY227" fmla="*/ 4330519 h 6858000"/>
              <a:gd name="connsiteX228" fmla="*/ 687572 w 7467600"/>
              <a:gd name="connsiteY228" fmla="*/ 3925629 h 6858000"/>
              <a:gd name="connsiteX229" fmla="*/ 1138365 w 7467600"/>
              <a:gd name="connsiteY229" fmla="*/ 3774515 h 6858000"/>
              <a:gd name="connsiteX230" fmla="*/ 1505579 w 7467600"/>
              <a:gd name="connsiteY230" fmla="*/ 3655526 h 6858000"/>
              <a:gd name="connsiteX231" fmla="*/ 1313114 w 7467600"/>
              <a:gd name="connsiteY231" fmla="*/ 3655216 h 6858000"/>
              <a:gd name="connsiteX232" fmla="*/ 3655073 w 7467600"/>
              <a:gd name="connsiteY232" fmla="*/ 3650884 h 6858000"/>
              <a:gd name="connsiteX233" fmla="*/ 3989938 w 7467600"/>
              <a:gd name="connsiteY233" fmla="*/ 3991685 h 6858000"/>
              <a:gd name="connsiteX234" fmla="*/ 4393907 w 7467600"/>
              <a:gd name="connsiteY234" fmla="*/ 4261258 h 6858000"/>
              <a:gd name="connsiteX235" fmla="*/ 4648051 w 7467600"/>
              <a:gd name="connsiteY235" fmla="*/ 4374051 h 6858000"/>
              <a:gd name="connsiteX236" fmla="*/ 4383389 w 7467600"/>
              <a:gd name="connsiteY236" fmla="*/ 4184369 h 6858000"/>
              <a:gd name="connsiteX237" fmla="*/ 4165508 w 7467600"/>
              <a:gd name="connsiteY237" fmla="*/ 4035196 h 6858000"/>
              <a:gd name="connsiteX238" fmla="*/ 4068162 w 7467600"/>
              <a:gd name="connsiteY238" fmla="*/ 3953394 h 6858000"/>
              <a:gd name="connsiteX239" fmla="*/ 3981416 w 7467600"/>
              <a:gd name="connsiteY239" fmla="*/ 3880482 h 6858000"/>
              <a:gd name="connsiteX240" fmla="*/ 3800147 w 7467600"/>
              <a:gd name="connsiteY240" fmla="*/ 3749872 h 6858000"/>
              <a:gd name="connsiteX241" fmla="*/ 3655073 w 7467600"/>
              <a:gd name="connsiteY241" fmla="*/ 3650884 h 6858000"/>
              <a:gd name="connsiteX242" fmla="*/ 3670252 w 7467600"/>
              <a:gd name="connsiteY242" fmla="*/ 3622798 h 6858000"/>
              <a:gd name="connsiteX243" fmla="*/ 3817258 w 7467600"/>
              <a:gd name="connsiteY243" fmla="*/ 3723577 h 6858000"/>
              <a:gd name="connsiteX244" fmla="*/ 4000461 w 7467600"/>
              <a:gd name="connsiteY244" fmla="*/ 3855966 h 6858000"/>
              <a:gd name="connsiteX245" fmla="*/ 4088180 w 7467600"/>
              <a:gd name="connsiteY245" fmla="*/ 3929774 h 6858000"/>
              <a:gd name="connsiteX246" fmla="*/ 4184555 w 7467600"/>
              <a:gd name="connsiteY246" fmla="*/ 4010683 h 6858000"/>
              <a:gd name="connsiteX247" fmla="*/ 4399563 w 7467600"/>
              <a:gd name="connsiteY247" fmla="*/ 4158106 h 6858000"/>
              <a:gd name="connsiteX248" fmla="*/ 4684469 w 7467600"/>
              <a:gd name="connsiteY248" fmla="*/ 4364680 h 6858000"/>
              <a:gd name="connsiteX249" fmla="*/ 4690271 w 7467600"/>
              <a:gd name="connsiteY249" fmla="*/ 4370034 h 6858000"/>
              <a:gd name="connsiteX250" fmla="*/ 4136093 w 7467600"/>
              <a:gd name="connsiteY250" fmla="*/ 3858466 h 6858000"/>
              <a:gd name="connsiteX251" fmla="*/ 3670252 w 7467600"/>
              <a:gd name="connsiteY251" fmla="*/ 3622798 h 6858000"/>
              <a:gd name="connsiteX252" fmla="*/ 4440129 w 7467600"/>
              <a:gd name="connsiteY252" fmla="*/ 3448571 h 6858000"/>
              <a:gd name="connsiteX253" fmla="*/ 4856525 w 7467600"/>
              <a:gd name="connsiteY253" fmla="*/ 3915351 h 6858000"/>
              <a:gd name="connsiteX254" fmla="*/ 5059055 w 7467600"/>
              <a:gd name="connsiteY254" fmla="*/ 4108918 h 6858000"/>
              <a:gd name="connsiteX255" fmla="*/ 5290070 w 7467600"/>
              <a:gd name="connsiteY255" fmla="*/ 4263619 h 6858000"/>
              <a:gd name="connsiteX256" fmla="*/ 4834991 w 7467600"/>
              <a:gd name="connsiteY256" fmla="*/ 3830985 h 6858000"/>
              <a:gd name="connsiteX257" fmla="*/ 4440129 w 7467600"/>
              <a:gd name="connsiteY257" fmla="*/ 3448571 h 6858000"/>
              <a:gd name="connsiteX258" fmla="*/ 4441737 w 7467600"/>
              <a:gd name="connsiteY258" fmla="*/ 3399734 h 6858000"/>
              <a:gd name="connsiteX259" fmla="*/ 4431236 w 7467600"/>
              <a:gd name="connsiteY259" fmla="*/ 3400954 h 6858000"/>
              <a:gd name="connsiteX260" fmla="*/ 4557150 w 7467600"/>
              <a:gd name="connsiteY260" fmla="*/ 3510023 h 6858000"/>
              <a:gd name="connsiteX261" fmla="*/ 4856936 w 7467600"/>
              <a:gd name="connsiteY261" fmla="*/ 3809146 h 6858000"/>
              <a:gd name="connsiteX262" fmla="*/ 5111996 w 7467600"/>
              <a:gd name="connsiteY262" fmla="*/ 4065759 h 6858000"/>
              <a:gd name="connsiteX263" fmla="*/ 5388878 w 7467600"/>
              <a:gd name="connsiteY263" fmla="*/ 4300185 h 6858000"/>
              <a:gd name="connsiteX264" fmla="*/ 5425556 w 7467600"/>
              <a:gd name="connsiteY264" fmla="*/ 4308967 h 6858000"/>
              <a:gd name="connsiteX265" fmla="*/ 4943646 w 7467600"/>
              <a:gd name="connsiteY265" fmla="*/ 3822916 h 6858000"/>
              <a:gd name="connsiteX266" fmla="*/ 4594837 w 7467600"/>
              <a:gd name="connsiteY266" fmla="*/ 3532274 h 6858000"/>
              <a:gd name="connsiteX267" fmla="*/ 4441737 w 7467600"/>
              <a:gd name="connsiteY267" fmla="*/ 3399734 h 6858000"/>
              <a:gd name="connsiteX268" fmla="*/ 5425834 w 7467600"/>
              <a:gd name="connsiteY268" fmla="*/ 3162785 h 6858000"/>
              <a:gd name="connsiteX269" fmla="*/ 5401644 w 7467600"/>
              <a:gd name="connsiteY269" fmla="*/ 3617847 h 6858000"/>
              <a:gd name="connsiteX270" fmla="*/ 5467256 w 7467600"/>
              <a:gd name="connsiteY270" fmla="*/ 4175494 h 6858000"/>
              <a:gd name="connsiteX271" fmla="*/ 5448069 w 7467600"/>
              <a:gd name="connsiteY271" fmla="*/ 3567554 h 6858000"/>
              <a:gd name="connsiteX272" fmla="*/ 5425834 w 7467600"/>
              <a:gd name="connsiteY272" fmla="*/ 3162785 h 6858000"/>
              <a:gd name="connsiteX273" fmla="*/ 1318687 w 7467600"/>
              <a:gd name="connsiteY273" fmla="*/ 3113840 h 6858000"/>
              <a:gd name="connsiteX274" fmla="*/ 1066793 w 7467600"/>
              <a:gd name="connsiteY274" fmla="*/ 3212171 h 6858000"/>
              <a:gd name="connsiteX275" fmla="*/ 993319 w 7467600"/>
              <a:gd name="connsiteY275" fmla="*/ 3247648 h 6858000"/>
              <a:gd name="connsiteX276" fmla="*/ 853081 w 7467600"/>
              <a:gd name="connsiteY276" fmla="*/ 3312410 h 6858000"/>
              <a:gd name="connsiteX277" fmla="*/ 805957 w 7467600"/>
              <a:gd name="connsiteY277" fmla="*/ 3330443 h 6858000"/>
              <a:gd name="connsiteX278" fmla="*/ 1318687 w 7467600"/>
              <a:gd name="connsiteY278" fmla="*/ 3113840 h 6858000"/>
              <a:gd name="connsiteX279" fmla="*/ 5453702 w 7467600"/>
              <a:gd name="connsiteY279" fmla="*/ 3090882 h 6858000"/>
              <a:gd name="connsiteX280" fmla="*/ 5480135 w 7467600"/>
              <a:gd name="connsiteY280" fmla="*/ 3565802 h 6858000"/>
              <a:gd name="connsiteX281" fmla="*/ 5499023 w 7467600"/>
              <a:gd name="connsiteY281" fmla="*/ 4166310 h 6858000"/>
              <a:gd name="connsiteX282" fmla="*/ 5547022 w 7467600"/>
              <a:gd name="connsiteY282" fmla="*/ 3607838 h 6858000"/>
              <a:gd name="connsiteX283" fmla="*/ 5515964 w 7467600"/>
              <a:gd name="connsiteY283" fmla="*/ 3378541 h 6858000"/>
              <a:gd name="connsiteX284" fmla="*/ 5453702 w 7467600"/>
              <a:gd name="connsiteY284" fmla="*/ 3090882 h 6858000"/>
              <a:gd name="connsiteX285" fmla="*/ 1238695 w 7467600"/>
              <a:gd name="connsiteY285" fmla="*/ 3076820 h 6858000"/>
              <a:gd name="connsiteX286" fmla="*/ 716371 w 7467600"/>
              <a:gd name="connsiteY286" fmla="*/ 3293249 h 6858000"/>
              <a:gd name="connsiteX287" fmla="*/ 579522 w 7467600"/>
              <a:gd name="connsiteY287" fmla="*/ 3371759 h 6858000"/>
              <a:gd name="connsiteX288" fmla="*/ 600288 w 7467600"/>
              <a:gd name="connsiteY288" fmla="*/ 3365555 h 6858000"/>
              <a:gd name="connsiteX289" fmla="*/ 840692 w 7467600"/>
              <a:gd name="connsiteY289" fmla="*/ 3284921 h 6858000"/>
              <a:gd name="connsiteX290" fmla="*/ 979248 w 7467600"/>
              <a:gd name="connsiteY290" fmla="*/ 3221003 h 6858000"/>
              <a:gd name="connsiteX291" fmla="*/ 1053282 w 7467600"/>
              <a:gd name="connsiteY291" fmla="*/ 3185247 h 6858000"/>
              <a:gd name="connsiteX292" fmla="*/ 1320603 w 7467600"/>
              <a:gd name="connsiteY292" fmla="*/ 3081281 h 6858000"/>
              <a:gd name="connsiteX293" fmla="*/ 1238695 w 7467600"/>
              <a:gd name="connsiteY293" fmla="*/ 3076820 h 6858000"/>
              <a:gd name="connsiteX294" fmla="*/ 5425627 w 7467600"/>
              <a:gd name="connsiteY294" fmla="*/ 2954192 h 6858000"/>
              <a:gd name="connsiteX295" fmla="*/ 5470770 w 7467600"/>
              <a:gd name="connsiteY295" fmla="*/ 3005435 h 6858000"/>
              <a:gd name="connsiteX296" fmla="*/ 5519779 w 7467600"/>
              <a:gd name="connsiteY296" fmla="*/ 4359223 h 6858000"/>
              <a:gd name="connsiteX297" fmla="*/ 5520293 w 7467600"/>
              <a:gd name="connsiteY297" fmla="*/ 4360602 h 6858000"/>
              <a:gd name="connsiteX298" fmla="*/ 5767221 w 7467600"/>
              <a:gd name="connsiteY298" fmla="*/ 4665564 h 6858000"/>
              <a:gd name="connsiteX299" fmla="*/ 6937169 w 7467600"/>
              <a:gd name="connsiteY299" fmla="*/ 4815941 h 6858000"/>
              <a:gd name="connsiteX300" fmla="*/ 6953922 w 7467600"/>
              <a:gd name="connsiteY300" fmla="*/ 4890068 h 6858000"/>
              <a:gd name="connsiteX301" fmla="*/ 6071359 w 7467600"/>
              <a:gd name="connsiteY301" fmla="*/ 4770770 h 6858000"/>
              <a:gd name="connsiteX302" fmla="*/ 6038839 w 7467600"/>
              <a:gd name="connsiteY302" fmla="*/ 4764474 h 6858000"/>
              <a:gd name="connsiteX303" fmla="*/ 6038706 w 7467600"/>
              <a:gd name="connsiteY303" fmla="*/ 4763847 h 6858000"/>
              <a:gd name="connsiteX304" fmla="*/ 6037784 w 7467600"/>
              <a:gd name="connsiteY304" fmla="*/ 4764270 h 6858000"/>
              <a:gd name="connsiteX305" fmla="*/ 6038839 w 7467600"/>
              <a:gd name="connsiteY305" fmla="*/ 4764474 h 6858000"/>
              <a:gd name="connsiteX306" fmla="*/ 6040338 w 7467600"/>
              <a:gd name="connsiteY306" fmla="*/ 4771418 h 6858000"/>
              <a:gd name="connsiteX307" fmla="*/ 6024488 w 7467600"/>
              <a:gd name="connsiteY307" fmla="*/ 4809903 h 6858000"/>
              <a:gd name="connsiteX308" fmla="*/ 5599771 w 7467600"/>
              <a:gd name="connsiteY308" fmla="*/ 5509652 h 6858000"/>
              <a:gd name="connsiteX309" fmla="*/ 5548843 w 7467600"/>
              <a:gd name="connsiteY309" fmla="*/ 5563845 h 6858000"/>
              <a:gd name="connsiteX310" fmla="*/ 5940952 w 7467600"/>
              <a:gd name="connsiteY310" fmla="*/ 6250028 h 6858000"/>
              <a:gd name="connsiteX311" fmla="*/ 6043441 w 7467600"/>
              <a:gd name="connsiteY311" fmla="*/ 6665847 h 6858000"/>
              <a:gd name="connsiteX312" fmla="*/ 6093432 w 7467600"/>
              <a:gd name="connsiteY312" fmla="*/ 6858000 h 6858000"/>
              <a:gd name="connsiteX313" fmla="*/ 6034344 w 7467600"/>
              <a:gd name="connsiteY313" fmla="*/ 6858000 h 6858000"/>
              <a:gd name="connsiteX314" fmla="*/ 6026679 w 7467600"/>
              <a:gd name="connsiteY314" fmla="*/ 6836959 h 6858000"/>
              <a:gd name="connsiteX315" fmla="*/ 5800441 w 7467600"/>
              <a:gd name="connsiteY315" fmla="*/ 6335286 h 6858000"/>
              <a:gd name="connsiteX316" fmla="*/ 5526562 w 7467600"/>
              <a:gd name="connsiteY316" fmla="*/ 5705388 h 6858000"/>
              <a:gd name="connsiteX317" fmla="*/ 5519640 w 7467600"/>
              <a:gd name="connsiteY317" fmla="*/ 5683774 h 6858000"/>
              <a:gd name="connsiteX318" fmla="*/ 5844559 w 7467600"/>
              <a:gd name="connsiteY318" fmla="*/ 6553349 h 6858000"/>
              <a:gd name="connsiteX319" fmla="*/ 5975994 w 7467600"/>
              <a:gd name="connsiteY319" fmla="*/ 6858000 h 6858000"/>
              <a:gd name="connsiteX320" fmla="*/ 5898547 w 7467600"/>
              <a:gd name="connsiteY320" fmla="*/ 6858000 h 6858000"/>
              <a:gd name="connsiteX321" fmla="*/ 5682041 w 7467600"/>
              <a:gd name="connsiteY321" fmla="*/ 6355860 h 6858000"/>
              <a:gd name="connsiteX322" fmla="*/ 5461758 w 7467600"/>
              <a:gd name="connsiteY322" fmla="*/ 5820220 h 6858000"/>
              <a:gd name="connsiteX323" fmla="*/ 5237282 w 7467600"/>
              <a:gd name="connsiteY323" fmla="*/ 6579086 h 6858000"/>
              <a:gd name="connsiteX324" fmla="*/ 5115009 w 7467600"/>
              <a:gd name="connsiteY324" fmla="*/ 6858000 h 6858000"/>
              <a:gd name="connsiteX325" fmla="*/ 5028074 w 7467600"/>
              <a:gd name="connsiteY325" fmla="*/ 6858000 h 6858000"/>
              <a:gd name="connsiteX326" fmla="*/ 5079508 w 7467600"/>
              <a:gd name="connsiteY326" fmla="*/ 6749074 h 6858000"/>
              <a:gd name="connsiteX327" fmla="*/ 5371846 w 7467600"/>
              <a:gd name="connsiteY327" fmla="*/ 5924413 h 6858000"/>
              <a:gd name="connsiteX328" fmla="*/ 5270512 w 7467600"/>
              <a:gd name="connsiteY328" fmla="*/ 6138975 h 6858000"/>
              <a:gd name="connsiteX329" fmla="*/ 5062409 w 7467600"/>
              <a:gd name="connsiteY329" fmla="*/ 6653544 h 6858000"/>
              <a:gd name="connsiteX330" fmla="*/ 5036628 w 7467600"/>
              <a:gd name="connsiteY330" fmla="*/ 6754247 h 6858000"/>
              <a:gd name="connsiteX331" fmla="*/ 5009112 w 7467600"/>
              <a:gd name="connsiteY331" fmla="*/ 6858000 h 6858000"/>
              <a:gd name="connsiteX332" fmla="*/ 4976679 w 7467600"/>
              <a:gd name="connsiteY332" fmla="*/ 6858000 h 6858000"/>
              <a:gd name="connsiteX333" fmla="*/ 5006537 w 7467600"/>
              <a:gd name="connsiteY333" fmla="*/ 6747068 h 6858000"/>
              <a:gd name="connsiteX334" fmla="*/ 5032723 w 7467600"/>
              <a:gd name="connsiteY334" fmla="*/ 6644957 h 6858000"/>
              <a:gd name="connsiteX335" fmla="*/ 5242949 w 7467600"/>
              <a:gd name="connsiteY335" fmla="*/ 6125175 h 6858000"/>
              <a:gd name="connsiteX336" fmla="*/ 5286321 w 7467600"/>
              <a:gd name="connsiteY336" fmla="*/ 6033555 h 6858000"/>
              <a:gd name="connsiteX337" fmla="*/ 5008210 w 7467600"/>
              <a:gd name="connsiteY337" fmla="*/ 6649194 h 6858000"/>
              <a:gd name="connsiteX338" fmla="*/ 4986321 w 7467600"/>
              <a:gd name="connsiteY338" fmla="*/ 6765687 h 6858000"/>
              <a:gd name="connsiteX339" fmla="*/ 4973474 w 7467600"/>
              <a:gd name="connsiteY339" fmla="*/ 6858000 h 6858000"/>
              <a:gd name="connsiteX340" fmla="*/ 4907178 w 7467600"/>
              <a:gd name="connsiteY340" fmla="*/ 6858000 h 6858000"/>
              <a:gd name="connsiteX341" fmla="*/ 4910810 w 7467600"/>
              <a:gd name="connsiteY341" fmla="*/ 6829660 h 6858000"/>
              <a:gd name="connsiteX342" fmla="*/ 4987461 w 7467600"/>
              <a:gd name="connsiteY342" fmla="*/ 6432994 h 6858000"/>
              <a:gd name="connsiteX343" fmla="*/ 5179262 w 7467600"/>
              <a:gd name="connsiteY343" fmla="*/ 6035044 h 6858000"/>
              <a:gd name="connsiteX344" fmla="*/ 4689678 w 7467600"/>
              <a:gd name="connsiteY344" fmla="*/ 6440241 h 6858000"/>
              <a:gd name="connsiteX345" fmla="*/ 4477543 w 7467600"/>
              <a:gd name="connsiteY345" fmla="*/ 6674836 h 6858000"/>
              <a:gd name="connsiteX346" fmla="*/ 4329957 w 7467600"/>
              <a:gd name="connsiteY346" fmla="*/ 6858000 h 6858000"/>
              <a:gd name="connsiteX347" fmla="*/ 4218595 w 7467600"/>
              <a:gd name="connsiteY347" fmla="*/ 6858000 h 6858000"/>
              <a:gd name="connsiteX348" fmla="*/ 4368888 w 7467600"/>
              <a:gd name="connsiteY348" fmla="*/ 6668412 h 6858000"/>
              <a:gd name="connsiteX349" fmla="*/ 4563091 w 7467600"/>
              <a:gd name="connsiteY349" fmla="*/ 6442508 h 6858000"/>
              <a:gd name="connsiteX350" fmla="*/ 5387324 w 7467600"/>
              <a:gd name="connsiteY350" fmla="*/ 5705830 h 6858000"/>
              <a:gd name="connsiteX351" fmla="*/ 5073620 w 7467600"/>
              <a:gd name="connsiteY351" fmla="*/ 5955437 h 6858000"/>
              <a:gd name="connsiteX352" fmla="*/ 4689789 w 7467600"/>
              <a:gd name="connsiteY352" fmla="*/ 6268382 h 6858000"/>
              <a:gd name="connsiteX353" fmla="*/ 4418722 w 7467600"/>
              <a:gd name="connsiteY353" fmla="*/ 6570886 h 6858000"/>
              <a:gd name="connsiteX354" fmla="*/ 4214944 w 7467600"/>
              <a:gd name="connsiteY354" fmla="*/ 6858000 h 6858000"/>
              <a:gd name="connsiteX355" fmla="*/ 4177898 w 7467600"/>
              <a:gd name="connsiteY355" fmla="*/ 6858000 h 6858000"/>
              <a:gd name="connsiteX356" fmla="*/ 4391597 w 7467600"/>
              <a:gd name="connsiteY356" fmla="*/ 6556370 h 6858000"/>
              <a:gd name="connsiteX357" fmla="*/ 4668889 w 7467600"/>
              <a:gd name="connsiteY357" fmla="*/ 6246399 h 6858000"/>
              <a:gd name="connsiteX358" fmla="*/ 5055427 w 7467600"/>
              <a:gd name="connsiteY358" fmla="*/ 5931476 h 6858000"/>
              <a:gd name="connsiteX359" fmla="*/ 5371814 w 7467600"/>
              <a:gd name="connsiteY359" fmla="*/ 5678975 h 6858000"/>
              <a:gd name="connsiteX360" fmla="*/ 4987918 w 7467600"/>
              <a:gd name="connsiteY360" fmla="*/ 5838701 h 6858000"/>
              <a:gd name="connsiteX361" fmla="*/ 4317146 w 7467600"/>
              <a:gd name="connsiteY361" fmla="*/ 6587716 h 6858000"/>
              <a:gd name="connsiteX362" fmla="*/ 4171627 w 7467600"/>
              <a:gd name="connsiteY362" fmla="*/ 6858000 h 6858000"/>
              <a:gd name="connsiteX363" fmla="*/ 4081585 w 7467600"/>
              <a:gd name="connsiteY363" fmla="*/ 6858000 h 6858000"/>
              <a:gd name="connsiteX364" fmla="*/ 4238603 w 7467600"/>
              <a:gd name="connsiteY364" fmla="*/ 6559341 h 6858000"/>
              <a:gd name="connsiteX365" fmla="*/ 4778333 w 7467600"/>
              <a:gd name="connsiteY365" fmla="*/ 5873626 h 6858000"/>
              <a:gd name="connsiteX366" fmla="*/ 5414185 w 7467600"/>
              <a:gd name="connsiteY366" fmla="*/ 5573882 h 6858000"/>
              <a:gd name="connsiteX367" fmla="*/ 5959648 w 7467600"/>
              <a:gd name="connsiteY367" fmla="*/ 4760797 h 6858000"/>
              <a:gd name="connsiteX368" fmla="*/ 5355019 w 7467600"/>
              <a:gd name="connsiteY368" fmla="*/ 4734672 h 6858000"/>
              <a:gd name="connsiteX369" fmla="*/ 5083565 w 7467600"/>
              <a:gd name="connsiteY369" fmla="*/ 5179121 h 6858000"/>
              <a:gd name="connsiteX370" fmla="*/ 4713577 w 7467600"/>
              <a:gd name="connsiteY370" fmla="*/ 5616803 h 6858000"/>
              <a:gd name="connsiteX371" fmla="*/ 3989559 w 7467600"/>
              <a:gd name="connsiteY371" fmla="*/ 6145945 h 6858000"/>
              <a:gd name="connsiteX372" fmla="*/ 3939824 w 7467600"/>
              <a:gd name="connsiteY372" fmla="*/ 6066900 h 6858000"/>
              <a:gd name="connsiteX373" fmla="*/ 4584537 w 7467600"/>
              <a:gd name="connsiteY373" fmla="*/ 5324826 h 6858000"/>
              <a:gd name="connsiteX374" fmla="*/ 5037105 w 7467600"/>
              <a:gd name="connsiteY374" fmla="*/ 5088765 h 6858000"/>
              <a:gd name="connsiteX375" fmla="*/ 5039930 w 7467600"/>
              <a:gd name="connsiteY375" fmla="*/ 5089585 h 6858000"/>
              <a:gd name="connsiteX376" fmla="*/ 5263764 w 7467600"/>
              <a:gd name="connsiteY376" fmla="*/ 4735525 h 6858000"/>
              <a:gd name="connsiteX377" fmla="*/ 4086300 w 7467600"/>
              <a:gd name="connsiteY377" fmla="*/ 4884599 h 6858000"/>
              <a:gd name="connsiteX378" fmla="*/ 4085485 w 7467600"/>
              <a:gd name="connsiteY378" fmla="*/ 4899070 h 6858000"/>
              <a:gd name="connsiteX379" fmla="*/ 3871915 w 7467600"/>
              <a:gd name="connsiteY379" fmla="*/ 5253645 h 6858000"/>
              <a:gd name="connsiteX380" fmla="*/ 3799374 w 7467600"/>
              <a:gd name="connsiteY380" fmla="*/ 5466127 h 6858000"/>
              <a:gd name="connsiteX381" fmla="*/ 3498850 w 7467600"/>
              <a:gd name="connsiteY381" fmla="*/ 6661888 h 6858000"/>
              <a:gd name="connsiteX382" fmla="*/ 3399216 w 7467600"/>
              <a:gd name="connsiteY382" fmla="*/ 6858000 h 6858000"/>
              <a:gd name="connsiteX383" fmla="*/ 3303688 w 7467600"/>
              <a:gd name="connsiteY383" fmla="*/ 6858000 h 6858000"/>
              <a:gd name="connsiteX384" fmla="*/ 3391774 w 7467600"/>
              <a:gd name="connsiteY384" fmla="*/ 6697181 h 6858000"/>
              <a:gd name="connsiteX385" fmla="*/ 3735540 w 7467600"/>
              <a:gd name="connsiteY385" fmla="*/ 5546923 h 6858000"/>
              <a:gd name="connsiteX386" fmla="*/ 3729438 w 7467600"/>
              <a:gd name="connsiteY386" fmla="*/ 5569058 h 6858000"/>
              <a:gd name="connsiteX387" fmla="*/ 3707782 w 7467600"/>
              <a:gd name="connsiteY387" fmla="*/ 5644908 h 6858000"/>
              <a:gd name="connsiteX388" fmla="*/ 3583827 w 7467600"/>
              <a:gd name="connsiteY388" fmla="*/ 6039215 h 6858000"/>
              <a:gd name="connsiteX389" fmla="*/ 3547861 w 7467600"/>
              <a:gd name="connsiteY389" fmla="*/ 6129609 h 6858000"/>
              <a:gd name="connsiteX390" fmla="*/ 3490905 w 7467600"/>
              <a:gd name="connsiteY390" fmla="*/ 6277660 h 6858000"/>
              <a:gd name="connsiteX391" fmla="*/ 3455859 w 7467600"/>
              <a:gd name="connsiteY391" fmla="*/ 6391301 h 6858000"/>
              <a:gd name="connsiteX392" fmla="*/ 3429112 w 7467600"/>
              <a:gd name="connsiteY392" fmla="*/ 6479469 h 6858000"/>
              <a:gd name="connsiteX393" fmla="*/ 3304862 w 7467600"/>
              <a:gd name="connsiteY393" fmla="*/ 6796476 h 6858000"/>
              <a:gd name="connsiteX394" fmla="*/ 3276071 w 7467600"/>
              <a:gd name="connsiteY394" fmla="*/ 6858000 h 6858000"/>
              <a:gd name="connsiteX395" fmla="*/ 3240805 w 7467600"/>
              <a:gd name="connsiteY395" fmla="*/ 6858000 h 6858000"/>
              <a:gd name="connsiteX396" fmla="*/ 3275917 w 7467600"/>
              <a:gd name="connsiteY396" fmla="*/ 6783192 h 6858000"/>
              <a:gd name="connsiteX397" fmla="*/ 3399358 w 7467600"/>
              <a:gd name="connsiteY397" fmla="*/ 6469011 h 6858000"/>
              <a:gd name="connsiteX398" fmla="*/ 3425650 w 7467600"/>
              <a:gd name="connsiteY398" fmla="*/ 6381333 h 6858000"/>
              <a:gd name="connsiteX399" fmla="*/ 3460661 w 7467600"/>
              <a:gd name="connsiteY399" fmla="*/ 6266763 h 6858000"/>
              <a:gd name="connsiteX400" fmla="*/ 3518021 w 7467600"/>
              <a:gd name="connsiteY400" fmla="*/ 6117298 h 6858000"/>
              <a:gd name="connsiteX401" fmla="*/ 3554035 w 7467600"/>
              <a:gd name="connsiteY401" fmla="*/ 6027832 h 6858000"/>
              <a:gd name="connsiteX402" fmla="*/ 3677174 w 7467600"/>
              <a:gd name="connsiteY402" fmla="*/ 5636351 h 6858000"/>
              <a:gd name="connsiteX403" fmla="*/ 3698819 w 7467600"/>
              <a:gd name="connsiteY403" fmla="*/ 5560503 h 6858000"/>
              <a:gd name="connsiteX404" fmla="*/ 3702094 w 7467600"/>
              <a:gd name="connsiteY404" fmla="*/ 5549194 h 6858000"/>
              <a:gd name="connsiteX405" fmla="*/ 3398355 w 7467600"/>
              <a:gd name="connsiteY405" fmla="*/ 6094603 h 6858000"/>
              <a:gd name="connsiteX406" fmla="*/ 3193941 w 7467600"/>
              <a:gd name="connsiteY406" fmla="*/ 6798775 h 6858000"/>
              <a:gd name="connsiteX407" fmla="*/ 3184140 w 7467600"/>
              <a:gd name="connsiteY407" fmla="*/ 6858000 h 6858000"/>
              <a:gd name="connsiteX408" fmla="*/ 3099978 w 7467600"/>
              <a:gd name="connsiteY408" fmla="*/ 6858000 h 6858000"/>
              <a:gd name="connsiteX409" fmla="*/ 3101556 w 7467600"/>
              <a:gd name="connsiteY409" fmla="*/ 6843337 h 6858000"/>
              <a:gd name="connsiteX410" fmla="*/ 3370162 w 7467600"/>
              <a:gd name="connsiteY410" fmla="*/ 5785550 h 6858000"/>
              <a:gd name="connsiteX411" fmla="*/ 3746477 w 7467600"/>
              <a:gd name="connsiteY411" fmla="*/ 5377889 h 6858000"/>
              <a:gd name="connsiteX412" fmla="*/ 3863399 w 7467600"/>
              <a:gd name="connsiteY412" fmla="*/ 5087257 h 6858000"/>
              <a:gd name="connsiteX413" fmla="*/ 3968712 w 7467600"/>
              <a:gd name="connsiteY413" fmla="*/ 4913989 h 6858000"/>
              <a:gd name="connsiteX414" fmla="*/ 2792390 w 7467600"/>
              <a:gd name="connsiteY414" fmla="*/ 5382974 h 6858000"/>
              <a:gd name="connsiteX415" fmla="*/ 2714982 w 7467600"/>
              <a:gd name="connsiteY415" fmla="*/ 5427051 h 6858000"/>
              <a:gd name="connsiteX416" fmla="*/ 2813361 w 7467600"/>
              <a:gd name="connsiteY416" fmla="*/ 6023912 h 6858000"/>
              <a:gd name="connsiteX417" fmla="*/ 2688430 w 7467600"/>
              <a:gd name="connsiteY417" fmla="*/ 6801564 h 6858000"/>
              <a:gd name="connsiteX418" fmla="*/ 2629626 w 7467600"/>
              <a:gd name="connsiteY418" fmla="*/ 6763394 h 6858000"/>
              <a:gd name="connsiteX419" fmla="*/ 2565328 w 7467600"/>
              <a:gd name="connsiteY419" fmla="*/ 5516399 h 6858000"/>
              <a:gd name="connsiteX420" fmla="*/ 1922999 w 7467600"/>
              <a:gd name="connsiteY420" fmla="*/ 5980343 h 6858000"/>
              <a:gd name="connsiteX421" fmla="*/ 1950261 w 7467600"/>
              <a:gd name="connsiteY421" fmla="*/ 6405858 h 6858000"/>
              <a:gd name="connsiteX422" fmla="*/ 2365554 w 7467600"/>
              <a:gd name="connsiteY422" fmla="*/ 6759107 h 6858000"/>
              <a:gd name="connsiteX423" fmla="*/ 2424142 w 7467600"/>
              <a:gd name="connsiteY423" fmla="*/ 6858000 h 6858000"/>
              <a:gd name="connsiteX424" fmla="*/ 2395994 w 7467600"/>
              <a:gd name="connsiteY424" fmla="*/ 6858000 h 6858000"/>
              <a:gd name="connsiteX425" fmla="*/ 2392863 w 7467600"/>
              <a:gd name="connsiteY425" fmla="*/ 6852964 h 6858000"/>
              <a:gd name="connsiteX426" fmla="*/ 2017589 w 7467600"/>
              <a:gd name="connsiteY426" fmla="*/ 6493982 h 6858000"/>
              <a:gd name="connsiteX427" fmla="*/ 2147336 w 7467600"/>
              <a:gd name="connsiteY427" fmla="*/ 6594052 h 6858000"/>
              <a:gd name="connsiteX428" fmla="*/ 2207047 w 7467600"/>
              <a:gd name="connsiteY428" fmla="*/ 6654540 h 6858000"/>
              <a:gd name="connsiteX429" fmla="*/ 2299106 w 7467600"/>
              <a:gd name="connsiteY429" fmla="*/ 6778931 h 6858000"/>
              <a:gd name="connsiteX430" fmla="*/ 2314430 w 7467600"/>
              <a:gd name="connsiteY430" fmla="*/ 6801144 h 6858000"/>
              <a:gd name="connsiteX431" fmla="*/ 2352406 w 7467600"/>
              <a:gd name="connsiteY431" fmla="*/ 6858000 h 6858000"/>
              <a:gd name="connsiteX432" fmla="*/ 2314492 w 7467600"/>
              <a:gd name="connsiteY432" fmla="*/ 6858000 h 6858000"/>
              <a:gd name="connsiteX433" fmla="*/ 2288095 w 7467600"/>
              <a:gd name="connsiteY433" fmla="*/ 6818030 h 6858000"/>
              <a:gd name="connsiteX434" fmla="*/ 2272768 w 7467600"/>
              <a:gd name="connsiteY434" fmla="*/ 6795822 h 6858000"/>
              <a:gd name="connsiteX435" fmla="*/ 2182715 w 7467600"/>
              <a:gd name="connsiteY435" fmla="*/ 6675071 h 6858000"/>
              <a:gd name="connsiteX436" fmla="*/ 2032061 w 7467600"/>
              <a:gd name="connsiteY436" fmla="*/ 6541380 h 6858000"/>
              <a:gd name="connsiteX437" fmla="*/ 2257220 w 7467600"/>
              <a:gd name="connsiteY437" fmla="*/ 6826257 h 6858000"/>
              <a:gd name="connsiteX438" fmla="*/ 2281324 w 7467600"/>
              <a:gd name="connsiteY438" fmla="*/ 6858000 h 6858000"/>
              <a:gd name="connsiteX439" fmla="*/ 2242860 w 7467600"/>
              <a:gd name="connsiteY439" fmla="*/ 6858000 h 6858000"/>
              <a:gd name="connsiteX440" fmla="*/ 2232818 w 7467600"/>
              <a:gd name="connsiteY440" fmla="*/ 6844926 h 6858000"/>
              <a:gd name="connsiteX441" fmla="*/ 1990172 w 7467600"/>
              <a:gd name="connsiteY441" fmla="*/ 6542121 h 6858000"/>
              <a:gd name="connsiteX442" fmla="*/ 2124090 w 7467600"/>
              <a:gd name="connsiteY442" fmla="*/ 6761017 h 6858000"/>
              <a:gd name="connsiteX443" fmla="*/ 2200380 w 7467600"/>
              <a:gd name="connsiteY443" fmla="*/ 6858000 h 6858000"/>
              <a:gd name="connsiteX444" fmla="*/ 2147507 w 7467600"/>
              <a:gd name="connsiteY444" fmla="*/ 6858000 h 6858000"/>
              <a:gd name="connsiteX445" fmla="*/ 2070668 w 7467600"/>
              <a:gd name="connsiteY445" fmla="*/ 6761520 h 6858000"/>
              <a:gd name="connsiteX446" fmla="*/ 1975142 w 7467600"/>
              <a:gd name="connsiteY446" fmla="*/ 6585570 h 6858000"/>
              <a:gd name="connsiteX447" fmla="*/ 2050035 w 7467600"/>
              <a:gd name="connsiteY447" fmla="*/ 6813345 h 6858000"/>
              <a:gd name="connsiteX448" fmla="*/ 2063025 w 7467600"/>
              <a:gd name="connsiteY448" fmla="*/ 6858000 h 6858000"/>
              <a:gd name="connsiteX449" fmla="*/ 2021675 w 7467600"/>
              <a:gd name="connsiteY449" fmla="*/ 6858000 h 6858000"/>
              <a:gd name="connsiteX450" fmla="*/ 2019308 w 7467600"/>
              <a:gd name="connsiteY450" fmla="*/ 6847118 h 6858000"/>
              <a:gd name="connsiteX451" fmla="*/ 1938835 w 7467600"/>
              <a:gd name="connsiteY451" fmla="*/ 6551160 h 6858000"/>
              <a:gd name="connsiteX452" fmla="*/ 1953230 w 7467600"/>
              <a:gd name="connsiteY452" fmla="*/ 6759699 h 6858000"/>
              <a:gd name="connsiteX453" fmla="*/ 1956763 w 7467600"/>
              <a:gd name="connsiteY453" fmla="*/ 6778191 h 6858000"/>
              <a:gd name="connsiteX454" fmla="*/ 1967925 w 7467600"/>
              <a:gd name="connsiteY454" fmla="*/ 6858000 h 6858000"/>
              <a:gd name="connsiteX455" fmla="*/ 1936622 w 7467600"/>
              <a:gd name="connsiteY455" fmla="*/ 6858000 h 6858000"/>
              <a:gd name="connsiteX456" fmla="*/ 1926261 w 7467600"/>
              <a:gd name="connsiteY456" fmla="*/ 6784064 h 6858000"/>
              <a:gd name="connsiteX457" fmla="*/ 1922724 w 7467600"/>
              <a:gd name="connsiteY457" fmla="*/ 6765577 h 6858000"/>
              <a:gd name="connsiteX458" fmla="*/ 1904650 w 7467600"/>
              <a:gd name="connsiteY458" fmla="*/ 6639616 h 6858000"/>
              <a:gd name="connsiteX459" fmla="*/ 1885273 w 7467600"/>
              <a:gd name="connsiteY459" fmla="*/ 6858000 h 6858000"/>
              <a:gd name="connsiteX460" fmla="*/ 1854363 w 7467600"/>
              <a:gd name="connsiteY460" fmla="*/ 6858000 h 6858000"/>
              <a:gd name="connsiteX461" fmla="*/ 1880391 w 7467600"/>
              <a:gd name="connsiteY461" fmla="*/ 6603796 h 6858000"/>
              <a:gd name="connsiteX462" fmla="*/ 1818273 w 7467600"/>
              <a:gd name="connsiteY462" fmla="*/ 6715729 h 6858000"/>
              <a:gd name="connsiteX463" fmla="*/ 1794691 w 7467600"/>
              <a:gd name="connsiteY463" fmla="*/ 6843239 h 6858000"/>
              <a:gd name="connsiteX464" fmla="*/ 1794914 w 7467600"/>
              <a:gd name="connsiteY464" fmla="*/ 6858000 h 6858000"/>
              <a:gd name="connsiteX465" fmla="*/ 1746128 w 7467600"/>
              <a:gd name="connsiteY465" fmla="*/ 6858000 h 6858000"/>
              <a:gd name="connsiteX466" fmla="*/ 1753934 w 7467600"/>
              <a:gd name="connsiteY466" fmla="*/ 6724796 h 6858000"/>
              <a:gd name="connsiteX467" fmla="*/ 1792053 w 7467600"/>
              <a:gd name="connsiteY467" fmla="*/ 6572396 h 6858000"/>
              <a:gd name="connsiteX468" fmla="*/ 1862248 w 7467600"/>
              <a:gd name="connsiteY468" fmla="*/ 6266397 h 6858000"/>
              <a:gd name="connsiteX469" fmla="*/ 1862250 w 7467600"/>
              <a:gd name="connsiteY469" fmla="*/ 6033531 h 6858000"/>
              <a:gd name="connsiteX470" fmla="*/ 1211999 w 7467600"/>
              <a:gd name="connsiteY470" fmla="*/ 6683610 h 6858000"/>
              <a:gd name="connsiteX471" fmla="*/ 1213266 w 7467600"/>
              <a:gd name="connsiteY471" fmla="*/ 6691947 h 6858000"/>
              <a:gd name="connsiteX472" fmla="*/ 1203370 w 7467600"/>
              <a:gd name="connsiteY472" fmla="*/ 6850676 h 6858000"/>
              <a:gd name="connsiteX473" fmla="*/ 1203671 w 7467600"/>
              <a:gd name="connsiteY473" fmla="*/ 6858000 h 6858000"/>
              <a:gd name="connsiteX474" fmla="*/ 1143180 w 7467600"/>
              <a:gd name="connsiteY474" fmla="*/ 6858000 h 6858000"/>
              <a:gd name="connsiteX475" fmla="*/ 1142176 w 7467600"/>
              <a:gd name="connsiteY475" fmla="*/ 6766045 h 6858000"/>
              <a:gd name="connsiteX476" fmla="*/ 1067484 w 7467600"/>
              <a:gd name="connsiteY476" fmla="*/ 6858000 h 6858000"/>
              <a:gd name="connsiteX477" fmla="*/ 953928 w 7467600"/>
              <a:gd name="connsiteY477" fmla="*/ 6858000 h 6858000"/>
              <a:gd name="connsiteX478" fmla="*/ 959715 w 7467600"/>
              <a:gd name="connsiteY478" fmla="*/ 6850185 h 6858000"/>
              <a:gd name="connsiteX479" fmla="*/ 1483788 w 7467600"/>
              <a:gd name="connsiteY479" fmla="*/ 6259174 h 6858000"/>
              <a:gd name="connsiteX480" fmla="*/ 1100671 w 7467600"/>
              <a:gd name="connsiteY480" fmla="*/ 6252137 h 6858000"/>
              <a:gd name="connsiteX481" fmla="*/ 1090144 w 7467600"/>
              <a:gd name="connsiteY481" fmla="*/ 6256748 h 6858000"/>
              <a:gd name="connsiteX482" fmla="*/ 1095872 w 7467600"/>
              <a:gd name="connsiteY482" fmla="*/ 6271892 h 6858000"/>
              <a:gd name="connsiteX483" fmla="*/ 262785 w 7467600"/>
              <a:gd name="connsiteY483" fmla="*/ 6845450 h 6858000"/>
              <a:gd name="connsiteX484" fmla="*/ 209968 w 7467600"/>
              <a:gd name="connsiteY484" fmla="*/ 6770713 h 6858000"/>
              <a:gd name="connsiteX485" fmla="*/ 873460 w 7467600"/>
              <a:gd name="connsiteY485" fmla="*/ 6253768 h 6858000"/>
              <a:gd name="connsiteX486" fmla="*/ 192686 w 7467600"/>
              <a:gd name="connsiteY486" fmla="*/ 5849257 h 6858000"/>
              <a:gd name="connsiteX487" fmla="*/ 4696 w 7467600"/>
              <a:gd name="connsiteY487" fmla="*/ 5697668 h 6858000"/>
              <a:gd name="connsiteX488" fmla="*/ 0 w 7467600"/>
              <a:gd name="connsiteY488" fmla="*/ 5689984 h 6858000"/>
              <a:gd name="connsiteX489" fmla="*/ 0 w 7467600"/>
              <a:gd name="connsiteY489" fmla="*/ 5513472 h 6858000"/>
              <a:gd name="connsiteX490" fmla="*/ 174101 w 7467600"/>
              <a:gd name="connsiteY490" fmla="*/ 5620277 h 6858000"/>
              <a:gd name="connsiteX491" fmla="*/ 891800 w 7467600"/>
              <a:gd name="connsiteY491" fmla="*/ 6036935 h 6858000"/>
              <a:gd name="connsiteX492" fmla="*/ 1072219 w 7467600"/>
              <a:gd name="connsiteY492" fmla="*/ 6169443 h 6858000"/>
              <a:gd name="connsiteX493" fmla="*/ 1074117 w 7467600"/>
              <a:gd name="connsiteY493" fmla="*/ 6170301 h 6858000"/>
              <a:gd name="connsiteX494" fmla="*/ 1083114 w 7467600"/>
              <a:gd name="connsiteY494" fmla="*/ 6174131 h 6858000"/>
              <a:gd name="connsiteX495" fmla="*/ 1543010 w 7467600"/>
              <a:gd name="connsiteY495" fmla="*/ 6191140 h 6858000"/>
              <a:gd name="connsiteX496" fmla="*/ 1551080 w 7467600"/>
              <a:gd name="connsiteY496" fmla="*/ 6195006 h 6858000"/>
              <a:gd name="connsiteX497" fmla="*/ 2345443 w 7467600"/>
              <a:gd name="connsiteY497" fmla="*/ 5549882 h 6858000"/>
              <a:gd name="connsiteX498" fmla="*/ 1721499 w 7467600"/>
              <a:gd name="connsiteY498" fmla="*/ 5599969 h 6858000"/>
              <a:gd name="connsiteX499" fmla="*/ 767716 w 7467600"/>
              <a:gd name="connsiteY499" fmla="*/ 5472768 h 6858000"/>
              <a:gd name="connsiteX500" fmla="*/ 722147 w 7467600"/>
              <a:gd name="connsiteY500" fmla="*/ 5393091 h 6858000"/>
              <a:gd name="connsiteX501" fmla="*/ 1485552 w 7467600"/>
              <a:gd name="connsiteY501" fmla="*/ 5313202 h 6858000"/>
              <a:gd name="connsiteX502" fmla="*/ 2143004 w 7467600"/>
              <a:gd name="connsiteY502" fmla="*/ 5402420 h 6858000"/>
              <a:gd name="connsiteX503" fmla="*/ 1933391 w 7467600"/>
              <a:gd name="connsiteY503" fmla="*/ 5156971 h 6858000"/>
              <a:gd name="connsiteX504" fmla="*/ 1827118 w 7467600"/>
              <a:gd name="connsiteY504" fmla="*/ 4968410 h 6858000"/>
              <a:gd name="connsiteX505" fmla="*/ 1837349 w 7467600"/>
              <a:gd name="connsiteY505" fmla="*/ 4956357 h 6858000"/>
              <a:gd name="connsiteX506" fmla="*/ 2162835 w 7467600"/>
              <a:gd name="connsiteY506" fmla="*/ 5187853 h 6858000"/>
              <a:gd name="connsiteX507" fmla="*/ 2257167 w 7467600"/>
              <a:gd name="connsiteY507" fmla="*/ 5462123 h 6858000"/>
              <a:gd name="connsiteX508" fmla="*/ 2261598 w 7467600"/>
              <a:gd name="connsiteY508" fmla="*/ 5467998 h 6858000"/>
              <a:gd name="connsiteX509" fmla="*/ 2437177 w 7467600"/>
              <a:gd name="connsiteY509" fmla="*/ 5479608 h 6858000"/>
              <a:gd name="connsiteX510" fmla="*/ 2445247 w 7467600"/>
              <a:gd name="connsiteY510" fmla="*/ 5483476 h 6858000"/>
              <a:gd name="connsiteX511" fmla="*/ 2743626 w 7467600"/>
              <a:gd name="connsiteY511" fmla="*/ 5304819 h 6858000"/>
              <a:gd name="connsiteX512" fmla="*/ 3048102 w 7467600"/>
              <a:gd name="connsiteY512" fmla="*/ 5150595 h 6858000"/>
              <a:gd name="connsiteX513" fmla="*/ 1799414 w 7467600"/>
              <a:gd name="connsiteY513" fmla="*/ 4694732 h 6858000"/>
              <a:gd name="connsiteX514" fmla="*/ 1771735 w 7467600"/>
              <a:gd name="connsiteY514" fmla="*/ 4619929 h 6858000"/>
              <a:gd name="connsiteX515" fmla="*/ 3104273 w 7467600"/>
              <a:gd name="connsiteY515" fmla="*/ 5076159 h 6858000"/>
              <a:gd name="connsiteX516" fmla="*/ 3113245 w 7467600"/>
              <a:gd name="connsiteY516" fmla="*/ 5090705 h 6858000"/>
              <a:gd name="connsiteX517" fmla="*/ 3126294 w 7467600"/>
              <a:gd name="connsiteY517" fmla="*/ 5114400 h 6858000"/>
              <a:gd name="connsiteX518" fmla="*/ 3937433 w 7467600"/>
              <a:gd name="connsiteY518" fmla="*/ 4830473 h 6858000"/>
              <a:gd name="connsiteX519" fmla="*/ 3590475 w 7467600"/>
              <a:gd name="connsiteY519" fmla="*/ 4597974 h 6858000"/>
              <a:gd name="connsiteX520" fmla="*/ 3100264 w 7467600"/>
              <a:gd name="connsiteY520" fmla="*/ 4579845 h 6858000"/>
              <a:gd name="connsiteX521" fmla="*/ 2183576 w 7467600"/>
              <a:gd name="connsiteY521" fmla="*/ 4227150 h 6858000"/>
              <a:gd name="connsiteX522" fmla="*/ 2151029 w 7467600"/>
              <a:gd name="connsiteY522" fmla="*/ 4146947 h 6858000"/>
              <a:gd name="connsiteX523" fmla="*/ 3563434 w 7467600"/>
              <a:gd name="connsiteY523" fmla="*/ 4469115 h 6858000"/>
              <a:gd name="connsiteX524" fmla="*/ 3177952 w 7467600"/>
              <a:gd name="connsiteY524" fmla="*/ 3657386 h 6858000"/>
              <a:gd name="connsiteX525" fmla="*/ 3189263 w 7467600"/>
              <a:gd name="connsiteY525" fmla="*/ 3625726 h 6858000"/>
              <a:gd name="connsiteX526" fmla="*/ 3560912 w 7467600"/>
              <a:gd name="connsiteY526" fmla="*/ 4079863 h 6858000"/>
              <a:gd name="connsiteX527" fmla="*/ 3626636 w 7467600"/>
              <a:gd name="connsiteY527" fmla="*/ 4512230 h 6858000"/>
              <a:gd name="connsiteX528" fmla="*/ 3653088 w 7467600"/>
              <a:gd name="connsiteY528" fmla="*/ 4521417 h 6858000"/>
              <a:gd name="connsiteX529" fmla="*/ 3988128 w 7467600"/>
              <a:gd name="connsiteY529" fmla="*/ 4817267 h 6858000"/>
              <a:gd name="connsiteX530" fmla="*/ 4830582 w 7467600"/>
              <a:gd name="connsiteY530" fmla="*/ 4676000 h 6858000"/>
              <a:gd name="connsiteX531" fmla="*/ 4830100 w 7467600"/>
              <a:gd name="connsiteY531" fmla="*/ 4675554 h 6858000"/>
              <a:gd name="connsiteX532" fmla="*/ 4036318 w 7467600"/>
              <a:gd name="connsiteY532" fmla="*/ 4147013 h 6858000"/>
              <a:gd name="connsiteX533" fmla="*/ 3432098 w 7467600"/>
              <a:gd name="connsiteY533" fmla="*/ 3537312 h 6858000"/>
              <a:gd name="connsiteX534" fmla="*/ 3446761 w 7467600"/>
              <a:gd name="connsiteY534" fmla="*/ 3461278 h 6858000"/>
              <a:gd name="connsiteX535" fmla="*/ 4419733 w 7467600"/>
              <a:gd name="connsiteY535" fmla="*/ 3963555 h 6858000"/>
              <a:gd name="connsiteX536" fmla="*/ 4781371 w 7467600"/>
              <a:gd name="connsiteY536" fmla="*/ 4458604 h 6858000"/>
              <a:gd name="connsiteX537" fmla="*/ 4780440 w 7467600"/>
              <a:gd name="connsiteY537" fmla="*/ 4470290 h 6858000"/>
              <a:gd name="connsiteX538" fmla="*/ 4898954 w 7467600"/>
              <a:gd name="connsiteY538" fmla="*/ 4662092 h 6858000"/>
              <a:gd name="connsiteX539" fmla="*/ 4900699 w 7467600"/>
              <a:gd name="connsiteY539" fmla="*/ 4670867 h 6858000"/>
              <a:gd name="connsiteX540" fmla="*/ 5714511 w 7467600"/>
              <a:gd name="connsiteY540" fmla="*/ 4663483 h 6858000"/>
              <a:gd name="connsiteX541" fmla="*/ 5464793 w 7467600"/>
              <a:gd name="connsiteY541" fmla="*/ 4393556 h 6858000"/>
              <a:gd name="connsiteX542" fmla="*/ 5461897 w 7467600"/>
              <a:gd name="connsiteY542" fmla="*/ 4390879 h 6858000"/>
              <a:gd name="connsiteX543" fmla="*/ 4294126 w 7467600"/>
              <a:gd name="connsiteY543" fmla="*/ 3303048 h 6858000"/>
              <a:gd name="connsiteX544" fmla="*/ 4305321 w 7467600"/>
              <a:gd name="connsiteY544" fmla="*/ 3256953 h 6858000"/>
              <a:gd name="connsiteX545" fmla="*/ 4949299 w 7467600"/>
              <a:gd name="connsiteY545" fmla="*/ 3766336 h 6858000"/>
              <a:gd name="connsiteX546" fmla="*/ 5291452 w 7467600"/>
              <a:gd name="connsiteY546" fmla="*/ 4076801 h 6858000"/>
              <a:gd name="connsiteX547" fmla="*/ 5434998 w 7467600"/>
              <a:gd name="connsiteY547" fmla="*/ 4254100 h 6858000"/>
              <a:gd name="connsiteX548" fmla="*/ 5351015 w 7467600"/>
              <a:gd name="connsiteY548" fmla="*/ 3760989 h 6858000"/>
              <a:gd name="connsiteX549" fmla="*/ 5413780 w 7467600"/>
              <a:gd name="connsiteY549" fmla="*/ 2966265 h 6858000"/>
              <a:gd name="connsiteX550" fmla="*/ 5425627 w 7467600"/>
              <a:gd name="connsiteY550" fmla="*/ 2954192 h 6858000"/>
              <a:gd name="connsiteX551" fmla="*/ 6604735 w 7467600"/>
              <a:gd name="connsiteY551" fmla="*/ 2041381 h 6858000"/>
              <a:gd name="connsiteX552" fmla="*/ 7204487 w 7467600"/>
              <a:gd name="connsiteY552" fmla="*/ 2742112 h 6858000"/>
              <a:gd name="connsiteX553" fmla="*/ 7131592 w 7467600"/>
              <a:gd name="connsiteY553" fmla="*/ 2672096 h 6858000"/>
              <a:gd name="connsiteX554" fmla="*/ 6996344 w 7467600"/>
              <a:gd name="connsiteY554" fmla="*/ 2518310 h 6858000"/>
              <a:gd name="connsiteX555" fmla="*/ 6735495 w 7467600"/>
              <a:gd name="connsiteY555" fmla="*/ 2196890 h 6858000"/>
              <a:gd name="connsiteX556" fmla="*/ 6721901 w 7467600"/>
              <a:gd name="connsiteY556" fmla="*/ 2179274 h 6858000"/>
              <a:gd name="connsiteX557" fmla="*/ 6604735 w 7467600"/>
              <a:gd name="connsiteY557" fmla="*/ 2041381 h 6858000"/>
              <a:gd name="connsiteX558" fmla="*/ 6591670 w 7467600"/>
              <a:gd name="connsiteY558" fmla="*/ 1988277 h 6858000"/>
              <a:gd name="connsiteX559" fmla="*/ 6747349 w 7467600"/>
              <a:gd name="connsiteY559" fmla="*/ 2160069 h 6858000"/>
              <a:gd name="connsiteX560" fmla="*/ 6760943 w 7467600"/>
              <a:gd name="connsiteY560" fmla="*/ 2177686 h 6858000"/>
              <a:gd name="connsiteX561" fmla="*/ 7021065 w 7467600"/>
              <a:gd name="connsiteY561" fmla="*/ 2498102 h 6858000"/>
              <a:gd name="connsiteX562" fmla="*/ 7155223 w 7467600"/>
              <a:gd name="connsiteY562" fmla="*/ 2650386 h 6858000"/>
              <a:gd name="connsiteX563" fmla="*/ 7203167 w 7467600"/>
              <a:gd name="connsiteY563" fmla="*/ 2697288 h 6858000"/>
              <a:gd name="connsiteX564" fmla="*/ 6937703 w 7467600"/>
              <a:gd name="connsiteY564" fmla="*/ 2321981 h 6858000"/>
              <a:gd name="connsiteX565" fmla="*/ 6591670 w 7467600"/>
              <a:gd name="connsiteY565" fmla="*/ 1988277 h 6858000"/>
              <a:gd name="connsiteX566" fmla="*/ 5798671 w 7467600"/>
              <a:gd name="connsiteY566" fmla="*/ 1981601 h 6858000"/>
              <a:gd name="connsiteX567" fmla="*/ 5754709 w 7467600"/>
              <a:gd name="connsiteY567" fmla="*/ 2071454 h 6858000"/>
              <a:gd name="connsiteX568" fmla="*/ 5763044 w 7467600"/>
              <a:gd name="connsiteY568" fmla="*/ 2842206 h 6858000"/>
              <a:gd name="connsiteX569" fmla="*/ 5764974 w 7467600"/>
              <a:gd name="connsiteY569" fmla="*/ 2799609 h 6858000"/>
              <a:gd name="connsiteX570" fmla="*/ 5767665 w 7467600"/>
              <a:gd name="connsiteY570" fmla="*/ 2666409 h 6858000"/>
              <a:gd name="connsiteX571" fmla="*/ 5763055 w 7467600"/>
              <a:gd name="connsiteY571" fmla="*/ 2579705 h 6858000"/>
              <a:gd name="connsiteX572" fmla="*/ 5758079 w 7467600"/>
              <a:gd name="connsiteY572" fmla="*/ 2492508 h 6858000"/>
              <a:gd name="connsiteX573" fmla="*/ 5779325 w 7467600"/>
              <a:gd name="connsiteY573" fmla="*/ 2197069 h 6858000"/>
              <a:gd name="connsiteX574" fmla="*/ 5798671 w 7467600"/>
              <a:gd name="connsiteY574" fmla="*/ 1981601 h 6858000"/>
              <a:gd name="connsiteX575" fmla="*/ 5829202 w 7467600"/>
              <a:gd name="connsiteY575" fmla="*/ 1971679 h 6858000"/>
              <a:gd name="connsiteX576" fmla="*/ 5809558 w 7467600"/>
              <a:gd name="connsiteY576" fmla="*/ 2198043 h 6858000"/>
              <a:gd name="connsiteX577" fmla="*/ 5788653 w 7467600"/>
              <a:gd name="connsiteY577" fmla="*/ 2489430 h 6858000"/>
              <a:gd name="connsiteX578" fmla="*/ 5793439 w 7467600"/>
              <a:gd name="connsiteY578" fmla="*/ 2575235 h 6858000"/>
              <a:gd name="connsiteX579" fmla="*/ 5796837 w 7467600"/>
              <a:gd name="connsiteY579" fmla="*/ 2637633 h 6858000"/>
              <a:gd name="connsiteX580" fmla="*/ 5818614 w 7467600"/>
              <a:gd name="connsiteY580" fmla="*/ 2473055 h 6858000"/>
              <a:gd name="connsiteX581" fmla="*/ 5829202 w 7467600"/>
              <a:gd name="connsiteY581" fmla="*/ 1971679 h 6858000"/>
              <a:gd name="connsiteX582" fmla="*/ 5911389 w 7467600"/>
              <a:gd name="connsiteY582" fmla="*/ 1898371 h 6858000"/>
              <a:gd name="connsiteX583" fmla="*/ 6237627 w 7467600"/>
              <a:gd name="connsiteY583" fmla="*/ 2231921 h 6858000"/>
              <a:gd name="connsiteX584" fmla="*/ 5911389 w 7467600"/>
              <a:gd name="connsiteY584" fmla="*/ 1898371 h 6858000"/>
              <a:gd name="connsiteX585" fmla="*/ 6944437 w 7467600"/>
              <a:gd name="connsiteY585" fmla="*/ 1575402 h 6858000"/>
              <a:gd name="connsiteX586" fmla="*/ 6304730 w 7467600"/>
              <a:gd name="connsiteY586" fmla="*/ 1766654 h 6858000"/>
              <a:gd name="connsiteX587" fmla="*/ 6944437 w 7467600"/>
              <a:gd name="connsiteY587" fmla="*/ 1575402 h 6858000"/>
              <a:gd name="connsiteX588" fmla="*/ 7019523 w 7467600"/>
              <a:gd name="connsiteY588" fmla="*/ 1519450 h 6858000"/>
              <a:gd name="connsiteX589" fmla="*/ 6298091 w 7467600"/>
              <a:gd name="connsiteY589" fmla="*/ 1737122 h 6858000"/>
              <a:gd name="connsiteX590" fmla="*/ 7019523 w 7467600"/>
              <a:gd name="connsiteY590" fmla="*/ 1519450 h 6858000"/>
              <a:gd name="connsiteX591" fmla="*/ 2399523 w 7467600"/>
              <a:gd name="connsiteY591" fmla="*/ 1428234 h 6858000"/>
              <a:gd name="connsiteX592" fmla="*/ 2224982 w 7467600"/>
              <a:gd name="connsiteY592" fmla="*/ 1826201 h 6858000"/>
              <a:gd name="connsiteX593" fmla="*/ 2096099 w 7467600"/>
              <a:gd name="connsiteY593" fmla="*/ 2345900 h 6858000"/>
              <a:gd name="connsiteX594" fmla="*/ 2283317 w 7467600"/>
              <a:gd name="connsiteY594" fmla="*/ 1796925 h 6858000"/>
              <a:gd name="connsiteX595" fmla="*/ 2399523 w 7467600"/>
              <a:gd name="connsiteY595" fmla="*/ 1428234 h 6858000"/>
              <a:gd name="connsiteX596" fmla="*/ 2448558 w 7467600"/>
              <a:gd name="connsiteY596" fmla="*/ 1373435 h 6858000"/>
              <a:gd name="connsiteX597" fmla="*/ 2312521 w 7467600"/>
              <a:gd name="connsiteY597" fmla="*/ 1806140 h 6858000"/>
              <a:gd name="connsiteX598" fmla="*/ 2127533 w 7467600"/>
              <a:gd name="connsiteY598" fmla="*/ 2348380 h 6858000"/>
              <a:gd name="connsiteX599" fmla="*/ 2358080 w 7467600"/>
              <a:gd name="connsiteY599" fmla="*/ 1866134 h 6858000"/>
              <a:gd name="connsiteX600" fmla="*/ 2407436 w 7467600"/>
              <a:gd name="connsiteY600" fmla="*/ 1651070 h 6858000"/>
              <a:gd name="connsiteX601" fmla="*/ 2448558 w 7467600"/>
              <a:gd name="connsiteY601" fmla="*/ 1373435 h 6858000"/>
              <a:gd name="connsiteX602" fmla="*/ 278707 w 7467600"/>
              <a:gd name="connsiteY602" fmla="*/ 1352270 h 6858000"/>
              <a:gd name="connsiteX603" fmla="*/ 321570 w 7467600"/>
              <a:gd name="connsiteY603" fmla="*/ 1861610 h 6858000"/>
              <a:gd name="connsiteX604" fmla="*/ 294281 w 7467600"/>
              <a:gd name="connsiteY604" fmla="*/ 1440658 h 6858000"/>
              <a:gd name="connsiteX605" fmla="*/ 278707 w 7467600"/>
              <a:gd name="connsiteY605" fmla="*/ 1352270 h 6858000"/>
              <a:gd name="connsiteX606" fmla="*/ 1423821 w 7467600"/>
              <a:gd name="connsiteY606" fmla="*/ 1351958 h 6858000"/>
              <a:gd name="connsiteX607" fmla="*/ 1638521 w 7467600"/>
              <a:gd name="connsiteY607" fmla="*/ 1908470 h 6858000"/>
              <a:gd name="connsiteX608" fmla="*/ 1754199 w 7467600"/>
              <a:gd name="connsiteY608" fmla="*/ 2149284 h 6858000"/>
              <a:gd name="connsiteX609" fmla="*/ 1908359 w 7467600"/>
              <a:gd name="connsiteY609" fmla="*/ 2364988 h 6858000"/>
              <a:gd name="connsiteX610" fmla="*/ 1647661 w 7467600"/>
              <a:gd name="connsiteY610" fmla="*/ 1825945 h 6858000"/>
              <a:gd name="connsiteX611" fmla="*/ 1423821 w 7467600"/>
              <a:gd name="connsiteY611" fmla="*/ 1351958 h 6858000"/>
              <a:gd name="connsiteX612" fmla="*/ 1431890 w 7467600"/>
              <a:gd name="connsiteY612" fmla="*/ 1306475 h 6858000"/>
              <a:gd name="connsiteX613" fmla="*/ 1507597 w 7467600"/>
              <a:gd name="connsiteY613" fmla="*/ 1446132 h 6858000"/>
              <a:gd name="connsiteX614" fmla="*/ 1674586 w 7467600"/>
              <a:gd name="connsiteY614" fmla="*/ 1813832 h 6858000"/>
              <a:gd name="connsiteX615" fmla="*/ 1815950 w 7467600"/>
              <a:gd name="connsiteY615" fmla="*/ 2128564 h 6858000"/>
              <a:gd name="connsiteX616" fmla="*/ 1984242 w 7467600"/>
              <a:gd name="connsiteY616" fmla="*/ 2430829 h 6858000"/>
              <a:gd name="connsiteX617" fmla="*/ 2014023 w 7467600"/>
              <a:gd name="connsiteY617" fmla="*/ 2450995 h 6858000"/>
              <a:gd name="connsiteX618" fmla="*/ 1747337 w 7467600"/>
              <a:gd name="connsiteY618" fmla="*/ 1855264 h 6858000"/>
              <a:gd name="connsiteX619" fmla="*/ 1533749 w 7467600"/>
              <a:gd name="connsiteY619" fmla="*/ 1478656 h 6858000"/>
              <a:gd name="connsiteX620" fmla="*/ 1431890 w 7467600"/>
              <a:gd name="connsiteY620" fmla="*/ 1306475 h 6858000"/>
              <a:gd name="connsiteX621" fmla="*/ 5052692 w 7467600"/>
              <a:gd name="connsiteY621" fmla="*/ 1292994 h 6858000"/>
              <a:gd name="connsiteX622" fmla="*/ 5200661 w 7467600"/>
              <a:gd name="connsiteY622" fmla="*/ 1635186 h 6858000"/>
              <a:gd name="connsiteX623" fmla="*/ 5297138 w 7467600"/>
              <a:gd name="connsiteY623" fmla="*/ 1906351 h 6858000"/>
              <a:gd name="connsiteX624" fmla="*/ 5052692 w 7467600"/>
              <a:gd name="connsiteY624" fmla="*/ 1292994 h 6858000"/>
              <a:gd name="connsiteX625" fmla="*/ 5009948 w 7467600"/>
              <a:gd name="connsiteY625" fmla="*/ 1273619 h 6858000"/>
              <a:gd name="connsiteX626" fmla="*/ 5121777 w 7467600"/>
              <a:gd name="connsiteY626" fmla="*/ 1654213 h 6858000"/>
              <a:gd name="connsiteX627" fmla="*/ 5293545 w 7467600"/>
              <a:gd name="connsiteY627" fmla="*/ 2072247 h 6858000"/>
              <a:gd name="connsiteX628" fmla="*/ 5294042 w 7467600"/>
              <a:gd name="connsiteY628" fmla="*/ 2065019 h 6858000"/>
              <a:gd name="connsiteX629" fmla="*/ 5171936 w 7467600"/>
              <a:gd name="connsiteY629" fmla="*/ 1647613 h 6858000"/>
              <a:gd name="connsiteX630" fmla="*/ 5009948 w 7467600"/>
              <a:gd name="connsiteY630" fmla="*/ 1273619 h 6858000"/>
              <a:gd name="connsiteX631" fmla="*/ 655236 w 7467600"/>
              <a:gd name="connsiteY631" fmla="*/ 1268632 h 6858000"/>
              <a:gd name="connsiteX632" fmla="*/ 839521 w 7467600"/>
              <a:gd name="connsiteY632" fmla="*/ 1685315 h 6858000"/>
              <a:gd name="connsiteX633" fmla="*/ 1109416 w 7467600"/>
              <a:gd name="connsiteY633" fmla="*/ 2061663 h 6858000"/>
              <a:gd name="connsiteX634" fmla="*/ 1298300 w 7467600"/>
              <a:gd name="connsiteY634" fmla="*/ 2247742 h 6858000"/>
              <a:gd name="connsiteX635" fmla="*/ 1125871 w 7467600"/>
              <a:gd name="connsiteY635" fmla="*/ 1989513 h 6858000"/>
              <a:gd name="connsiteX636" fmla="*/ 981574 w 7467600"/>
              <a:gd name="connsiteY636" fmla="*/ 1783157 h 6858000"/>
              <a:gd name="connsiteX637" fmla="*/ 922198 w 7467600"/>
              <a:gd name="connsiteY637" fmla="*/ 1677437 h 6858000"/>
              <a:gd name="connsiteX638" fmla="*/ 869293 w 7467600"/>
              <a:gd name="connsiteY638" fmla="*/ 1583214 h 6858000"/>
              <a:gd name="connsiteX639" fmla="*/ 751431 w 7467600"/>
              <a:gd name="connsiteY639" fmla="*/ 1405731 h 6858000"/>
              <a:gd name="connsiteX640" fmla="*/ 655236 w 7467600"/>
              <a:gd name="connsiteY640" fmla="*/ 1268632 h 6858000"/>
              <a:gd name="connsiteX641" fmla="*/ 6516292 w 7467600"/>
              <a:gd name="connsiteY641" fmla="*/ 1263064 h 6858000"/>
              <a:gd name="connsiteX642" fmla="*/ 5736320 w 7467600"/>
              <a:gd name="connsiteY642" fmla="*/ 1501803 h 6858000"/>
              <a:gd name="connsiteX643" fmla="*/ 6516292 w 7467600"/>
              <a:gd name="connsiteY643" fmla="*/ 1263064 h 6858000"/>
              <a:gd name="connsiteX644" fmla="*/ 291466 w 7467600"/>
              <a:gd name="connsiteY644" fmla="*/ 1250369 h 6858000"/>
              <a:gd name="connsiteX645" fmla="*/ 323180 w 7467600"/>
              <a:gd name="connsiteY645" fmla="*/ 1435283 h 6858000"/>
              <a:gd name="connsiteX646" fmla="*/ 349381 w 7467600"/>
              <a:gd name="connsiteY646" fmla="*/ 1875041 h 6858000"/>
              <a:gd name="connsiteX647" fmla="*/ 374363 w 7467600"/>
              <a:gd name="connsiteY647" fmla="*/ 1506494 h 6858000"/>
              <a:gd name="connsiteX648" fmla="*/ 302168 w 7467600"/>
              <a:gd name="connsiteY648" fmla="*/ 1274495 h 6858000"/>
              <a:gd name="connsiteX649" fmla="*/ 291466 w 7467600"/>
              <a:gd name="connsiteY649" fmla="*/ 1250369 h 6858000"/>
              <a:gd name="connsiteX650" fmla="*/ 678222 w 7467600"/>
              <a:gd name="connsiteY650" fmla="*/ 1248670 h 6858000"/>
              <a:gd name="connsiteX651" fmla="*/ 775536 w 7467600"/>
              <a:gd name="connsiteY651" fmla="*/ 1388015 h 6858000"/>
              <a:gd name="connsiteX652" fmla="*/ 894529 w 7467600"/>
              <a:gd name="connsiteY652" fmla="*/ 1567739 h 6858000"/>
              <a:gd name="connsiteX653" fmla="*/ 948000 w 7467600"/>
              <a:gd name="connsiteY653" fmla="*/ 1663088 h 6858000"/>
              <a:gd name="connsiteX654" fmla="*/ 1006812 w 7467600"/>
              <a:gd name="connsiteY654" fmla="*/ 1767683 h 6858000"/>
              <a:gd name="connsiteX655" fmla="*/ 1149133 w 7467600"/>
              <a:gd name="connsiteY655" fmla="*/ 1971513 h 6858000"/>
              <a:gd name="connsiteX656" fmla="*/ 1333952 w 7467600"/>
              <a:gd name="connsiteY656" fmla="*/ 2251620 h 6858000"/>
              <a:gd name="connsiteX657" fmla="*/ 1337329 w 7467600"/>
              <a:gd name="connsiteY657" fmla="*/ 2258350 h 6858000"/>
              <a:gd name="connsiteX658" fmla="*/ 1014726 w 7467600"/>
              <a:gd name="connsiteY658" fmla="*/ 1615556 h 6858000"/>
              <a:gd name="connsiteX659" fmla="*/ 678222 w 7467600"/>
              <a:gd name="connsiteY659" fmla="*/ 1248670 h 6858000"/>
              <a:gd name="connsiteX660" fmla="*/ 6691602 w 7467600"/>
              <a:gd name="connsiteY660" fmla="*/ 1140573 h 6858000"/>
              <a:gd name="connsiteX661" fmla="*/ 6571100 w 7467600"/>
              <a:gd name="connsiteY661" fmla="*/ 1183662 h 6858000"/>
              <a:gd name="connsiteX662" fmla="*/ 6241687 w 7467600"/>
              <a:gd name="connsiteY662" fmla="*/ 1257600 h 6858000"/>
              <a:gd name="connsiteX663" fmla="*/ 5693009 w 7467600"/>
              <a:gd name="connsiteY663" fmla="*/ 1478256 h 6858000"/>
              <a:gd name="connsiteX664" fmla="*/ 6548420 w 7467600"/>
              <a:gd name="connsiteY664" fmla="*/ 1214599 h 6858000"/>
              <a:gd name="connsiteX665" fmla="*/ 6605473 w 7467600"/>
              <a:gd name="connsiteY665" fmla="*/ 1184686 h 6858000"/>
              <a:gd name="connsiteX666" fmla="*/ 6691602 w 7467600"/>
              <a:gd name="connsiteY666" fmla="*/ 1140573 h 6858000"/>
              <a:gd name="connsiteX667" fmla="*/ 4002475 w 7467600"/>
              <a:gd name="connsiteY667" fmla="*/ 1037802 h 6858000"/>
              <a:gd name="connsiteX668" fmla="*/ 4000324 w 7467600"/>
              <a:gd name="connsiteY668" fmla="*/ 1039362 h 6858000"/>
              <a:gd name="connsiteX669" fmla="*/ 4002862 w 7467600"/>
              <a:gd name="connsiteY669" fmla="*/ 1042866 h 6858000"/>
              <a:gd name="connsiteX670" fmla="*/ 4002475 w 7467600"/>
              <a:gd name="connsiteY670" fmla="*/ 1037802 h 6858000"/>
              <a:gd name="connsiteX671" fmla="*/ 506322 w 7467600"/>
              <a:gd name="connsiteY671" fmla="*/ 1020997 h 6858000"/>
              <a:gd name="connsiteX672" fmla="*/ 533068 w 7467600"/>
              <a:gd name="connsiteY672" fmla="*/ 1029409 h 6858000"/>
              <a:gd name="connsiteX673" fmla="*/ 1232525 w 7467600"/>
              <a:gd name="connsiteY673" fmla="*/ 1804675 h 6858000"/>
              <a:gd name="connsiteX674" fmla="*/ 1388858 w 7467600"/>
              <a:gd name="connsiteY674" fmla="*/ 2368011 h 6858000"/>
              <a:gd name="connsiteX675" fmla="*/ 1384098 w 7467600"/>
              <a:gd name="connsiteY675" fmla="*/ 2378125 h 6858000"/>
              <a:gd name="connsiteX676" fmla="*/ 1425393 w 7467600"/>
              <a:gd name="connsiteY676" fmla="*/ 2589124 h 6858000"/>
              <a:gd name="connsiteX677" fmla="*/ 1424001 w 7467600"/>
              <a:gd name="connsiteY677" fmla="*/ 2597541 h 6858000"/>
              <a:gd name="connsiteX678" fmla="*/ 2152729 w 7467600"/>
              <a:gd name="connsiteY678" fmla="*/ 2864487 h 6858000"/>
              <a:gd name="connsiteX679" fmla="*/ 2020609 w 7467600"/>
              <a:gd name="connsiteY679" fmla="*/ 2539671 h 6858000"/>
              <a:gd name="connsiteX680" fmla="*/ 2018920 w 7467600"/>
              <a:gd name="connsiteY680" fmla="*/ 2536309 h 6858000"/>
              <a:gd name="connsiteX681" fmla="*/ 1342441 w 7467600"/>
              <a:gd name="connsiteY681" fmla="*/ 1173017 h 6858000"/>
              <a:gd name="connsiteX682" fmla="*/ 1367925 w 7467600"/>
              <a:gd name="connsiteY682" fmla="*/ 1135648 h 6858000"/>
              <a:gd name="connsiteX683" fmla="*/ 1771401 w 7467600"/>
              <a:gd name="connsiteY683" fmla="*/ 1806673 h 6858000"/>
              <a:gd name="connsiteX684" fmla="*/ 1972385 w 7467600"/>
              <a:gd name="connsiteY684" fmla="*/ 2198735 h 6858000"/>
              <a:gd name="connsiteX685" fmla="*/ 2040892 w 7467600"/>
              <a:gd name="connsiteY685" fmla="*/ 2405205 h 6858000"/>
              <a:gd name="connsiteX686" fmla="*/ 2131689 w 7467600"/>
              <a:gd name="connsiteY686" fmla="*/ 1936926 h 6858000"/>
              <a:gd name="connsiteX687" fmla="*/ 2454820 w 7467600"/>
              <a:gd name="connsiteY687" fmla="*/ 1248808 h 6858000"/>
              <a:gd name="connsiteX688" fmla="*/ 2492512 w 7467600"/>
              <a:gd name="connsiteY688" fmla="*/ 1302920 h 6858000"/>
              <a:gd name="connsiteX689" fmla="*/ 2081216 w 7467600"/>
              <a:gd name="connsiteY689" fmla="*/ 2527513 h 6858000"/>
              <a:gd name="connsiteX690" fmla="*/ 2081211 w 7467600"/>
              <a:gd name="connsiteY690" fmla="*/ 2528916 h 6858000"/>
              <a:gd name="connsiteX691" fmla="*/ 2199067 w 7467600"/>
              <a:gd name="connsiteY691" fmla="*/ 2884061 h 6858000"/>
              <a:gd name="connsiteX692" fmla="*/ 3192586 w 7467600"/>
              <a:gd name="connsiteY692" fmla="*/ 3411496 h 6858000"/>
              <a:gd name="connsiteX693" fmla="*/ 3182620 w 7467600"/>
              <a:gd name="connsiteY693" fmla="*/ 3483279 h 6858000"/>
              <a:gd name="connsiteX694" fmla="*/ 2435119 w 7467600"/>
              <a:gd name="connsiteY694" fmla="*/ 3080173 h 6858000"/>
              <a:gd name="connsiteX695" fmla="*/ 2410152 w 7467600"/>
              <a:gd name="connsiteY695" fmla="*/ 3063751 h 6858000"/>
              <a:gd name="connsiteX696" fmla="*/ 2408099 w 7467600"/>
              <a:gd name="connsiteY696" fmla="*/ 3064403 h 6858000"/>
              <a:gd name="connsiteX697" fmla="*/ 2407218 w 7467600"/>
              <a:gd name="connsiteY697" fmla="*/ 3070324 h 6858000"/>
              <a:gd name="connsiteX698" fmla="*/ 2380138 w 7467600"/>
              <a:gd name="connsiteY698" fmla="*/ 3099341 h 6858000"/>
              <a:gd name="connsiteX699" fmla="*/ 1765923 w 7467600"/>
              <a:gd name="connsiteY699" fmla="*/ 3581043 h 6858000"/>
              <a:gd name="connsiteX700" fmla="*/ 1702258 w 7467600"/>
              <a:gd name="connsiteY700" fmla="*/ 3612286 h 6858000"/>
              <a:gd name="connsiteX701" fmla="*/ 1538370 w 7467600"/>
              <a:gd name="connsiteY701" fmla="*/ 3811804 h 6858000"/>
              <a:gd name="connsiteX702" fmla="*/ 542867 w 7467600"/>
              <a:gd name="connsiteY702" fmla="*/ 4944092 h 6858000"/>
              <a:gd name="connsiteX703" fmla="*/ 515800 w 7467600"/>
              <a:gd name="connsiteY703" fmla="*/ 4862180 h 6858000"/>
              <a:gd name="connsiteX704" fmla="*/ 909145 w 7467600"/>
              <a:gd name="connsiteY704" fmla="*/ 4199225 h 6858000"/>
              <a:gd name="connsiteX705" fmla="*/ 1214067 w 7467600"/>
              <a:gd name="connsiteY705" fmla="*/ 3908561 h 6858000"/>
              <a:gd name="connsiteX706" fmla="*/ 640967 w 7467600"/>
              <a:gd name="connsiteY706" fmla="*/ 4105601 h 6858000"/>
              <a:gd name="connsiteX707" fmla="*/ 112563 w 7467600"/>
              <a:gd name="connsiteY707" fmla="*/ 4396952 h 6858000"/>
              <a:gd name="connsiteX708" fmla="*/ 0 w 7467600"/>
              <a:gd name="connsiteY708" fmla="*/ 4466006 h 6858000"/>
              <a:gd name="connsiteX709" fmla="*/ 0 w 7467600"/>
              <a:gd name="connsiteY709" fmla="*/ 4233763 h 6858000"/>
              <a:gd name="connsiteX710" fmla="*/ 36881 w 7467600"/>
              <a:gd name="connsiteY710" fmla="*/ 4200118 h 6858000"/>
              <a:gd name="connsiteX711" fmla="*/ 910534 w 7467600"/>
              <a:gd name="connsiteY711" fmla="*/ 3629753 h 6858000"/>
              <a:gd name="connsiteX712" fmla="*/ 1578717 w 7467600"/>
              <a:gd name="connsiteY712" fmla="*/ 3575982 h 6858000"/>
              <a:gd name="connsiteX713" fmla="*/ 2338780 w 7467600"/>
              <a:gd name="connsiteY713" fmla="*/ 3033725 h 6858000"/>
              <a:gd name="connsiteX714" fmla="*/ 1807991 w 7467600"/>
              <a:gd name="connsiteY714" fmla="*/ 2807184 h 6858000"/>
              <a:gd name="connsiteX715" fmla="*/ 1416358 w 7467600"/>
              <a:gd name="connsiteY715" fmla="*/ 3112571 h 6858000"/>
              <a:gd name="connsiteX716" fmla="*/ 939066 w 7467600"/>
              <a:gd name="connsiteY716" fmla="*/ 3378798 h 6858000"/>
              <a:gd name="connsiteX717" fmla="*/ 115099 w 7467600"/>
              <a:gd name="connsiteY717" fmla="*/ 3607650 h 6858000"/>
              <a:gd name="connsiteX718" fmla="*/ 97284 w 7467600"/>
              <a:gd name="connsiteY718" fmla="*/ 3520393 h 6858000"/>
              <a:gd name="connsiteX719" fmla="*/ 922050 w 7467600"/>
              <a:gd name="connsiteY719" fmla="*/ 3074867 h 6858000"/>
              <a:gd name="connsiteX720" fmla="*/ 1405265 w 7467600"/>
              <a:gd name="connsiteY720" fmla="*/ 3016319 h 6858000"/>
              <a:gd name="connsiteX721" fmla="*/ 1407512 w 7467600"/>
              <a:gd name="connsiteY721" fmla="*/ 3018001 h 6858000"/>
              <a:gd name="connsiteX722" fmla="*/ 1726266 w 7467600"/>
              <a:gd name="connsiteY722" fmla="*/ 2777274 h 6858000"/>
              <a:gd name="connsiteX723" fmla="*/ 625390 w 7467600"/>
              <a:gd name="connsiteY723" fmla="*/ 2514541 h 6858000"/>
              <a:gd name="connsiteX724" fmla="*/ 619799 w 7467600"/>
              <a:gd name="connsiteY724" fmla="*/ 2527180 h 6858000"/>
              <a:gd name="connsiteX725" fmla="*/ 310030 w 7467600"/>
              <a:gd name="connsiteY725" fmla="*/ 2771818 h 6858000"/>
              <a:gd name="connsiteX726" fmla="*/ 173877 w 7467600"/>
              <a:gd name="connsiteY726" fmla="*/ 2937056 h 6858000"/>
              <a:gd name="connsiteX727" fmla="*/ 77889 w 7467600"/>
              <a:gd name="connsiteY727" fmla="*/ 3138440 h 6858000"/>
              <a:gd name="connsiteX728" fmla="*/ 0 w 7467600"/>
              <a:gd name="connsiteY728" fmla="*/ 3271395 h 6858000"/>
              <a:gd name="connsiteX729" fmla="*/ 0 w 7467600"/>
              <a:gd name="connsiteY729" fmla="*/ 3153002 h 6858000"/>
              <a:gd name="connsiteX730" fmla="*/ 2386 w 7467600"/>
              <a:gd name="connsiteY730" fmla="*/ 3149203 h 6858000"/>
              <a:gd name="connsiteX731" fmla="*/ 89753 w 7467600"/>
              <a:gd name="connsiteY731" fmla="*/ 2987702 h 6858000"/>
              <a:gd name="connsiteX732" fmla="*/ 76869 w 7467600"/>
              <a:gd name="connsiteY732" fmla="*/ 3005404 h 6858000"/>
              <a:gd name="connsiteX733" fmla="*/ 32049 w 7467600"/>
              <a:gd name="connsiteY733" fmla="*/ 3065814 h 6858000"/>
              <a:gd name="connsiteX734" fmla="*/ 0 w 7467600"/>
              <a:gd name="connsiteY734" fmla="*/ 3108744 h 6858000"/>
              <a:gd name="connsiteX735" fmla="*/ 0 w 7467600"/>
              <a:gd name="connsiteY735" fmla="*/ 3058059 h 6858000"/>
              <a:gd name="connsiteX736" fmla="*/ 7610 w 7467600"/>
              <a:gd name="connsiteY736" fmla="*/ 3047889 h 6858000"/>
              <a:gd name="connsiteX737" fmla="*/ 52419 w 7467600"/>
              <a:gd name="connsiteY737" fmla="*/ 2987479 h 6858000"/>
              <a:gd name="connsiteX738" fmla="*/ 59142 w 7467600"/>
              <a:gd name="connsiteY738" fmla="*/ 2978488 h 6858000"/>
              <a:gd name="connsiteX739" fmla="*/ 0 w 7467600"/>
              <a:gd name="connsiteY739" fmla="*/ 3015334 h 6858000"/>
              <a:gd name="connsiteX740" fmla="*/ 0 w 7467600"/>
              <a:gd name="connsiteY740" fmla="*/ 2914286 h 6858000"/>
              <a:gd name="connsiteX741" fmla="*/ 36383 w 7467600"/>
              <a:gd name="connsiteY741" fmla="*/ 2901128 h 6858000"/>
              <a:gd name="connsiteX742" fmla="*/ 156329 w 7467600"/>
              <a:gd name="connsiteY742" fmla="*/ 2840533 h 6858000"/>
              <a:gd name="connsiteX743" fmla="*/ 358355 w 7467600"/>
              <a:gd name="connsiteY743" fmla="*/ 2620471 h 6858000"/>
              <a:gd name="connsiteX744" fmla="*/ 510577 w 7467600"/>
              <a:gd name="connsiteY744" fmla="*/ 2501244 h 6858000"/>
              <a:gd name="connsiteX745" fmla="*/ 211967 w 7467600"/>
              <a:gd name="connsiteY745" fmla="*/ 2479171 h 6858000"/>
              <a:gd name="connsiteX746" fmla="*/ 0 w 7467600"/>
              <a:gd name="connsiteY746" fmla="*/ 2476398 h 6858000"/>
              <a:gd name="connsiteX747" fmla="*/ 0 w 7467600"/>
              <a:gd name="connsiteY747" fmla="*/ 2389189 h 6858000"/>
              <a:gd name="connsiteX748" fmla="*/ 103062 w 7467600"/>
              <a:gd name="connsiteY748" fmla="*/ 2389518 h 6858000"/>
              <a:gd name="connsiteX749" fmla="*/ 510734 w 7467600"/>
              <a:gd name="connsiteY749" fmla="*/ 2416201 h 6858000"/>
              <a:gd name="connsiteX750" fmla="*/ 279257 w 7467600"/>
              <a:gd name="connsiteY750" fmla="*/ 2092102 h 6858000"/>
              <a:gd name="connsiteX751" fmla="*/ 65265 w 7467600"/>
              <a:gd name="connsiteY751" fmla="*/ 2006049 h 6858000"/>
              <a:gd name="connsiteX752" fmla="*/ 0 w 7467600"/>
              <a:gd name="connsiteY752" fmla="*/ 1982532 h 6858000"/>
              <a:gd name="connsiteX753" fmla="*/ 0 w 7467600"/>
              <a:gd name="connsiteY753" fmla="*/ 1912789 h 6858000"/>
              <a:gd name="connsiteX754" fmla="*/ 97460 w 7467600"/>
              <a:gd name="connsiteY754" fmla="*/ 1953725 h 6858000"/>
              <a:gd name="connsiteX755" fmla="*/ 221272 w 7467600"/>
              <a:gd name="connsiteY755" fmla="*/ 1980766 h 6858000"/>
              <a:gd name="connsiteX756" fmla="*/ 116765 w 7467600"/>
              <a:gd name="connsiteY756" fmla="*/ 1911033 h 6858000"/>
              <a:gd name="connsiteX757" fmla="*/ 16405 w 7467600"/>
              <a:gd name="connsiteY757" fmla="*/ 1803412 h 6858000"/>
              <a:gd name="connsiteX758" fmla="*/ 0 w 7467600"/>
              <a:gd name="connsiteY758" fmla="*/ 1784777 h 6858000"/>
              <a:gd name="connsiteX759" fmla="*/ 0 w 7467600"/>
              <a:gd name="connsiteY759" fmla="*/ 1740082 h 6858000"/>
              <a:gd name="connsiteX760" fmla="*/ 39394 w 7467600"/>
              <a:gd name="connsiteY760" fmla="*/ 1784856 h 6858000"/>
              <a:gd name="connsiteX761" fmla="*/ 135813 w 7467600"/>
              <a:gd name="connsiteY761" fmla="*/ 1888838 h 6858000"/>
              <a:gd name="connsiteX762" fmla="*/ 242575 w 7467600"/>
              <a:gd name="connsiteY762" fmla="*/ 1958841 h 6858000"/>
              <a:gd name="connsiteX763" fmla="*/ 82197 w 7467600"/>
              <a:gd name="connsiteY763" fmla="*/ 1754826 h 6858000"/>
              <a:gd name="connsiteX764" fmla="*/ 0 w 7467600"/>
              <a:gd name="connsiteY764" fmla="*/ 1679650 h 6858000"/>
              <a:gd name="connsiteX765" fmla="*/ 0 w 7467600"/>
              <a:gd name="connsiteY765" fmla="*/ 1602463 h 6858000"/>
              <a:gd name="connsiteX766" fmla="*/ 84689 w 7467600"/>
              <a:gd name="connsiteY766" fmla="*/ 1677442 h 6858000"/>
              <a:gd name="connsiteX767" fmla="*/ 298437 w 7467600"/>
              <a:gd name="connsiteY767" fmla="*/ 1968019 h 6858000"/>
              <a:gd name="connsiteX768" fmla="*/ 227269 w 7467600"/>
              <a:gd name="connsiteY768" fmla="*/ 1114064 h 6858000"/>
              <a:gd name="connsiteX769" fmla="*/ 248003 w 7467600"/>
              <a:gd name="connsiteY769" fmla="*/ 1089613 h 6858000"/>
              <a:gd name="connsiteX770" fmla="*/ 427020 w 7467600"/>
              <a:gd name="connsiteY770" fmla="*/ 1619803 h 6858000"/>
              <a:gd name="connsiteX771" fmla="*/ 340345 w 7467600"/>
              <a:gd name="connsiteY771" fmla="*/ 2027739 h 6858000"/>
              <a:gd name="connsiteX772" fmla="*/ 360865 w 7467600"/>
              <a:gd name="connsiteY772" fmla="*/ 2044827 h 6858000"/>
              <a:gd name="connsiteX773" fmla="*/ 560414 w 7467600"/>
              <a:gd name="connsiteY773" fmla="*/ 2421457 h 6858000"/>
              <a:gd name="connsiteX774" fmla="*/ 1359703 w 7467600"/>
              <a:gd name="connsiteY774" fmla="*/ 2578554 h 6858000"/>
              <a:gd name="connsiteX775" fmla="*/ 1359422 w 7467600"/>
              <a:gd name="connsiteY775" fmla="*/ 2577994 h 6858000"/>
              <a:gd name="connsiteX776" fmla="*/ 828701 w 7467600"/>
              <a:gd name="connsiteY776" fmla="*/ 1839520 h 6858000"/>
              <a:gd name="connsiteX777" fmla="*/ 494427 w 7467600"/>
              <a:gd name="connsiteY777" fmla="*/ 1092333 h 6858000"/>
              <a:gd name="connsiteX778" fmla="*/ 506322 w 7467600"/>
              <a:gd name="connsiteY778" fmla="*/ 1020997 h 6858000"/>
              <a:gd name="connsiteX779" fmla="*/ 4570198 w 7467600"/>
              <a:gd name="connsiteY779" fmla="*/ 978081 h 6858000"/>
              <a:gd name="connsiteX780" fmla="*/ 4523691 w 7467600"/>
              <a:gd name="connsiteY780" fmla="*/ 1127776 h 6858000"/>
              <a:gd name="connsiteX781" fmla="*/ 4509875 w 7467600"/>
              <a:gd name="connsiteY781" fmla="*/ 1167552 h 6858000"/>
              <a:gd name="connsiteX782" fmla="*/ 4478168 w 7467600"/>
              <a:gd name="connsiteY782" fmla="*/ 1260735 h 6858000"/>
              <a:gd name="connsiteX783" fmla="*/ 4409309 w 7467600"/>
              <a:gd name="connsiteY783" fmla="*/ 1666996 h 6858000"/>
              <a:gd name="connsiteX784" fmla="*/ 4370031 w 7467600"/>
              <a:gd name="connsiteY784" fmla="*/ 1955666 h 6858000"/>
              <a:gd name="connsiteX785" fmla="*/ 4570198 w 7467600"/>
              <a:gd name="connsiteY785" fmla="*/ 978081 h 6858000"/>
              <a:gd name="connsiteX786" fmla="*/ 4557898 w 7467600"/>
              <a:gd name="connsiteY786" fmla="*/ 900011 h 6858000"/>
              <a:gd name="connsiteX787" fmla="*/ 4344840 w 7467600"/>
              <a:gd name="connsiteY787" fmla="*/ 1922038 h 6858000"/>
              <a:gd name="connsiteX788" fmla="*/ 4378710 w 7467600"/>
              <a:gd name="connsiteY788" fmla="*/ 1665516 h 6858000"/>
              <a:gd name="connsiteX789" fmla="*/ 4448798 w 7467600"/>
              <a:gd name="connsiteY789" fmla="*/ 1253024 h 6858000"/>
              <a:gd name="connsiteX790" fmla="*/ 4480315 w 7467600"/>
              <a:gd name="connsiteY790" fmla="*/ 1158454 h 6858000"/>
              <a:gd name="connsiteX791" fmla="*/ 4494133 w 7467600"/>
              <a:gd name="connsiteY791" fmla="*/ 1118676 h 6858000"/>
              <a:gd name="connsiteX792" fmla="*/ 4557898 w 7467600"/>
              <a:gd name="connsiteY792" fmla="*/ 900011 h 6858000"/>
              <a:gd name="connsiteX793" fmla="*/ 5870151 w 7467600"/>
              <a:gd name="connsiteY793" fmla="*/ 898890 h 6858000"/>
              <a:gd name="connsiteX794" fmla="*/ 5861335 w 7467600"/>
              <a:gd name="connsiteY794" fmla="*/ 899177 h 6858000"/>
              <a:gd name="connsiteX795" fmla="*/ 5843702 w 7467600"/>
              <a:gd name="connsiteY795" fmla="*/ 899748 h 6858000"/>
              <a:gd name="connsiteX796" fmla="*/ 5651107 w 7467600"/>
              <a:gd name="connsiteY796" fmla="*/ 920306 h 6858000"/>
              <a:gd name="connsiteX797" fmla="*/ 5459407 w 7467600"/>
              <a:gd name="connsiteY797" fmla="*/ 940975 h 6858000"/>
              <a:gd name="connsiteX798" fmla="*/ 5374846 w 7467600"/>
              <a:gd name="connsiteY798" fmla="*/ 941988 h 6858000"/>
              <a:gd name="connsiteX799" fmla="*/ 5256105 w 7467600"/>
              <a:gd name="connsiteY799" fmla="*/ 945632 h 6858000"/>
              <a:gd name="connsiteX800" fmla="*/ 5107071 w 7467600"/>
              <a:gd name="connsiteY800" fmla="*/ 969720 h 6858000"/>
              <a:gd name="connsiteX801" fmla="*/ 4998681 w 7467600"/>
              <a:gd name="connsiteY801" fmla="*/ 988771 h 6858000"/>
              <a:gd name="connsiteX802" fmla="*/ 5870151 w 7467600"/>
              <a:gd name="connsiteY802" fmla="*/ 898890 h 6858000"/>
              <a:gd name="connsiteX803" fmla="*/ 5504425 w 7467600"/>
              <a:gd name="connsiteY803" fmla="*/ 848067 h 6858000"/>
              <a:gd name="connsiteX804" fmla="*/ 4968849 w 7467600"/>
              <a:gd name="connsiteY804" fmla="*/ 962318 h 6858000"/>
              <a:gd name="connsiteX805" fmla="*/ 5104039 w 7467600"/>
              <a:gd name="connsiteY805" fmla="*/ 940634 h 6858000"/>
              <a:gd name="connsiteX806" fmla="*/ 5256311 w 7467600"/>
              <a:gd name="connsiteY806" fmla="*/ 916490 h 6858000"/>
              <a:gd name="connsiteX807" fmla="*/ 5377381 w 7467600"/>
              <a:gd name="connsiteY807" fmla="*/ 912671 h 6858000"/>
              <a:gd name="connsiteX808" fmla="*/ 5460148 w 7467600"/>
              <a:gd name="connsiteY808" fmla="*/ 911442 h 6858000"/>
              <a:gd name="connsiteX809" fmla="*/ 5648971 w 7467600"/>
              <a:gd name="connsiteY809" fmla="*/ 891331 h 6858000"/>
              <a:gd name="connsiteX810" fmla="*/ 5844807 w 7467600"/>
              <a:gd name="connsiteY810" fmla="*/ 870718 h 6858000"/>
              <a:gd name="connsiteX811" fmla="*/ 5862975 w 7467600"/>
              <a:gd name="connsiteY811" fmla="*/ 869756 h 6858000"/>
              <a:gd name="connsiteX812" fmla="*/ 5920887 w 7467600"/>
              <a:gd name="connsiteY812" fmla="*/ 865929 h 6858000"/>
              <a:gd name="connsiteX813" fmla="*/ 5504425 w 7467600"/>
              <a:gd name="connsiteY813" fmla="*/ 848067 h 6858000"/>
              <a:gd name="connsiteX814" fmla="*/ 3607114 w 7467600"/>
              <a:gd name="connsiteY814" fmla="*/ 467441 h 6858000"/>
              <a:gd name="connsiteX815" fmla="*/ 3296242 w 7467600"/>
              <a:gd name="connsiteY815" fmla="*/ 807991 h 6858000"/>
              <a:gd name="connsiteX816" fmla="*/ 3174674 w 7467600"/>
              <a:gd name="connsiteY816" fmla="*/ 919759 h 6858000"/>
              <a:gd name="connsiteX817" fmla="*/ 3042978 w 7467600"/>
              <a:gd name="connsiteY817" fmla="*/ 1054894 h 6858000"/>
              <a:gd name="connsiteX818" fmla="*/ 2968914 w 7467600"/>
              <a:gd name="connsiteY818" fmla="*/ 1133756 h 6858000"/>
              <a:gd name="connsiteX819" fmla="*/ 3103823 w 7467600"/>
              <a:gd name="connsiteY819" fmla="*/ 1026814 h 6858000"/>
              <a:gd name="connsiteX820" fmla="*/ 3607114 w 7467600"/>
              <a:gd name="connsiteY820" fmla="*/ 467441 h 6858000"/>
              <a:gd name="connsiteX821" fmla="*/ 3744487 w 7467600"/>
              <a:gd name="connsiteY821" fmla="*/ 383136 h 6858000"/>
              <a:gd name="connsiteX822" fmla="*/ 3970213 w 7467600"/>
              <a:gd name="connsiteY822" fmla="*/ 995559 h 6858000"/>
              <a:gd name="connsiteX823" fmla="*/ 3744487 w 7467600"/>
              <a:gd name="connsiteY823" fmla="*/ 383136 h 6858000"/>
              <a:gd name="connsiteX824" fmla="*/ 3624562 w 7467600"/>
              <a:gd name="connsiteY824" fmla="*/ 367041 h 6858000"/>
              <a:gd name="connsiteX825" fmla="*/ 3489712 w 7467600"/>
              <a:gd name="connsiteY825" fmla="*/ 485386 h 6858000"/>
              <a:gd name="connsiteX826" fmla="*/ 3182994 w 7467600"/>
              <a:gd name="connsiteY826" fmla="*/ 828265 h 6858000"/>
              <a:gd name="connsiteX827" fmla="*/ 2892114 w 7467600"/>
              <a:gd name="connsiteY827" fmla="*/ 1172635 h 6858000"/>
              <a:gd name="connsiteX828" fmla="*/ 3021459 w 7467600"/>
              <a:gd name="connsiteY828" fmla="*/ 1035385 h 6858000"/>
              <a:gd name="connsiteX829" fmla="*/ 3153873 w 7467600"/>
              <a:gd name="connsiteY829" fmla="*/ 898971 h 6858000"/>
              <a:gd name="connsiteX830" fmla="*/ 3276511 w 7467600"/>
              <a:gd name="connsiteY830" fmla="*/ 786423 h 6858000"/>
              <a:gd name="connsiteX831" fmla="*/ 3584154 w 7467600"/>
              <a:gd name="connsiteY831" fmla="*/ 448218 h 6858000"/>
              <a:gd name="connsiteX832" fmla="*/ 3624562 w 7467600"/>
              <a:gd name="connsiteY832" fmla="*/ 367041 h 6858000"/>
              <a:gd name="connsiteX833" fmla="*/ 3766672 w 7467600"/>
              <a:gd name="connsiteY833" fmla="*/ 359429 h 6858000"/>
              <a:gd name="connsiteX834" fmla="*/ 3996338 w 7467600"/>
              <a:gd name="connsiteY834" fmla="*/ 968237 h 6858000"/>
              <a:gd name="connsiteX835" fmla="*/ 3766672 w 7467600"/>
              <a:gd name="connsiteY835" fmla="*/ 359429 h 6858000"/>
              <a:gd name="connsiteX836" fmla="*/ 5805386 w 7467600"/>
              <a:gd name="connsiteY836" fmla="*/ 239240 h 6858000"/>
              <a:gd name="connsiteX837" fmla="*/ 5736947 w 7467600"/>
              <a:gd name="connsiteY837" fmla="*/ 261367 h 6858000"/>
              <a:gd name="connsiteX838" fmla="*/ 5427012 w 7467600"/>
              <a:gd name="connsiteY838" fmla="*/ 311272 h 6858000"/>
              <a:gd name="connsiteX839" fmla="*/ 5147818 w 7467600"/>
              <a:gd name="connsiteY839" fmla="*/ 322112 h 6858000"/>
              <a:gd name="connsiteX840" fmla="*/ 5060854 w 7467600"/>
              <a:gd name="connsiteY840" fmla="*/ 311882 h 6858000"/>
              <a:gd name="connsiteX841" fmla="*/ 4945989 w 7467600"/>
              <a:gd name="connsiteY841" fmla="*/ 300516 h 6858000"/>
              <a:gd name="connsiteX842" fmla="*/ 5410479 w 7467600"/>
              <a:gd name="connsiteY842" fmla="*/ 348434 h 6858000"/>
              <a:gd name="connsiteX843" fmla="*/ 5805386 w 7467600"/>
              <a:gd name="connsiteY843" fmla="*/ 239240 h 6858000"/>
              <a:gd name="connsiteX844" fmla="*/ 7429067 w 7467600"/>
              <a:gd name="connsiteY844" fmla="*/ 402737 h 6858000"/>
              <a:gd name="connsiteX845" fmla="*/ 7467600 w 7467600"/>
              <a:gd name="connsiteY845" fmla="*/ 789215 h 6858000"/>
              <a:gd name="connsiteX846" fmla="*/ 7451412 w 7467600"/>
              <a:gd name="connsiteY846" fmla="*/ 799572 h 6858000"/>
              <a:gd name="connsiteX847" fmla="*/ 7419999 w 7467600"/>
              <a:gd name="connsiteY847" fmla="*/ 774360 h 6858000"/>
              <a:gd name="connsiteX848" fmla="*/ 7429067 w 7467600"/>
              <a:gd name="connsiteY848" fmla="*/ 402737 h 6858000"/>
              <a:gd name="connsiteX849" fmla="*/ 5905192 w 7467600"/>
              <a:gd name="connsiteY849" fmla="*/ 163079 h 6858000"/>
              <a:gd name="connsiteX850" fmla="*/ 5865655 w 7467600"/>
              <a:gd name="connsiteY850" fmla="*/ 171901 h 6858000"/>
              <a:gd name="connsiteX851" fmla="*/ 5259740 w 7467600"/>
              <a:gd name="connsiteY851" fmla="*/ 257013 h 6858000"/>
              <a:gd name="connsiteX852" fmla="*/ 5208466 w 7467600"/>
              <a:gd name="connsiteY852" fmla="*/ 257550 h 6858000"/>
              <a:gd name="connsiteX853" fmla="*/ 4980204 w 7467600"/>
              <a:gd name="connsiteY853" fmla="*/ 271903 h 6858000"/>
              <a:gd name="connsiteX854" fmla="*/ 5068068 w 7467600"/>
              <a:gd name="connsiteY854" fmla="*/ 282244 h 6858000"/>
              <a:gd name="connsiteX855" fmla="*/ 5153231 w 7467600"/>
              <a:gd name="connsiteY855" fmla="*/ 292240 h 6858000"/>
              <a:gd name="connsiteX856" fmla="*/ 5426491 w 7467600"/>
              <a:gd name="connsiteY856" fmla="*/ 281128 h 6858000"/>
              <a:gd name="connsiteX857" fmla="*/ 5731212 w 7467600"/>
              <a:gd name="connsiteY857" fmla="*/ 231951 h 6858000"/>
              <a:gd name="connsiteX858" fmla="*/ 5905192 w 7467600"/>
              <a:gd name="connsiteY858" fmla="*/ 163079 h 6858000"/>
              <a:gd name="connsiteX859" fmla="*/ 5944437 w 7467600"/>
              <a:gd name="connsiteY859" fmla="*/ 113829 h 6858000"/>
              <a:gd name="connsiteX860" fmla="*/ 5825032 w 7467600"/>
              <a:gd name="connsiteY860" fmla="*/ 146405 h 6858000"/>
              <a:gd name="connsiteX861" fmla="*/ 4955599 w 7467600"/>
              <a:gd name="connsiteY861" fmla="*/ 247008 h 6858000"/>
              <a:gd name="connsiteX862" fmla="*/ 5210104 w 7467600"/>
              <a:gd name="connsiteY862" fmla="*/ 228123 h 6858000"/>
              <a:gd name="connsiteX863" fmla="*/ 5261015 w 7467600"/>
              <a:gd name="connsiteY863" fmla="*/ 227087 h 6858000"/>
              <a:gd name="connsiteX864" fmla="*/ 5861181 w 7467600"/>
              <a:gd name="connsiteY864" fmla="*/ 143093 h 6858000"/>
              <a:gd name="connsiteX865" fmla="*/ 5961252 w 7467600"/>
              <a:gd name="connsiteY865" fmla="*/ 114820 h 6858000"/>
              <a:gd name="connsiteX866" fmla="*/ 5944437 w 7467600"/>
              <a:gd name="connsiteY866" fmla="*/ 113829 h 6858000"/>
              <a:gd name="connsiteX867" fmla="*/ 3882765 w 7467600"/>
              <a:gd name="connsiteY867" fmla="*/ 0 h 6858000"/>
              <a:gd name="connsiteX868" fmla="*/ 3995099 w 7467600"/>
              <a:gd name="connsiteY868" fmla="*/ 0 h 6858000"/>
              <a:gd name="connsiteX869" fmla="*/ 4163818 w 7467600"/>
              <a:gd name="connsiteY869" fmla="*/ 234104 h 6858000"/>
              <a:gd name="connsiteX870" fmla="*/ 4172099 w 7467600"/>
              <a:gd name="connsiteY870" fmla="*/ 234207 h 6858000"/>
              <a:gd name="connsiteX871" fmla="*/ 4784282 w 7467600"/>
              <a:gd name="connsiteY871" fmla="*/ 276561 h 6858000"/>
              <a:gd name="connsiteX872" fmla="*/ 4801687 w 7467600"/>
              <a:gd name="connsiteY872" fmla="*/ 267764 h 6858000"/>
              <a:gd name="connsiteX873" fmla="*/ 6082788 w 7467600"/>
              <a:gd name="connsiteY873" fmla="*/ 64119 h 6858000"/>
              <a:gd name="connsiteX874" fmla="*/ 6099442 w 7467600"/>
              <a:gd name="connsiteY874" fmla="*/ 82568 h 6858000"/>
              <a:gd name="connsiteX875" fmla="*/ 4804137 w 7467600"/>
              <a:gd name="connsiteY875" fmla="*/ 320931 h 6858000"/>
              <a:gd name="connsiteX876" fmla="*/ 4227047 w 7467600"/>
              <a:gd name="connsiteY876" fmla="*/ 313415 h 6858000"/>
              <a:gd name="connsiteX877" fmla="*/ 4346041 w 7467600"/>
              <a:gd name="connsiteY877" fmla="*/ 456086 h 6858000"/>
              <a:gd name="connsiteX878" fmla="*/ 4870967 w 7467600"/>
              <a:gd name="connsiteY878" fmla="*/ 963061 h 6858000"/>
              <a:gd name="connsiteX879" fmla="*/ 4889647 w 7467600"/>
              <a:gd name="connsiteY879" fmla="*/ 957147 h 6858000"/>
              <a:gd name="connsiteX880" fmla="*/ 5422504 w 7467600"/>
              <a:gd name="connsiteY880" fmla="*/ 805191 h 6858000"/>
              <a:gd name="connsiteX881" fmla="*/ 6087656 w 7467600"/>
              <a:gd name="connsiteY881" fmla="*/ 826703 h 6858000"/>
              <a:gd name="connsiteX882" fmla="*/ 6058717 w 7467600"/>
              <a:gd name="connsiteY882" fmla="*/ 865992 h 6858000"/>
              <a:gd name="connsiteX883" fmla="*/ 4974153 w 7467600"/>
              <a:gd name="connsiteY883" fmla="*/ 1045456 h 6858000"/>
              <a:gd name="connsiteX884" fmla="*/ 5627835 w 7467600"/>
              <a:gd name="connsiteY884" fmla="*/ 1472077 h 6858000"/>
              <a:gd name="connsiteX885" fmla="*/ 5629817 w 7467600"/>
              <a:gd name="connsiteY885" fmla="*/ 1471412 h 6858000"/>
              <a:gd name="connsiteX886" fmla="*/ 5634124 w 7467600"/>
              <a:gd name="connsiteY886" fmla="*/ 1470572 h 6858000"/>
              <a:gd name="connsiteX887" fmla="*/ 5755832 w 7467600"/>
              <a:gd name="connsiteY887" fmla="*/ 1383886 h 6858000"/>
              <a:gd name="connsiteX888" fmla="*/ 6014186 w 7467600"/>
              <a:gd name="connsiteY888" fmla="*/ 1279799 h 6858000"/>
              <a:gd name="connsiteX889" fmla="*/ 6901619 w 7467600"/>
              <a:gd name="connsiteY889" fmla="*/ 1047874 h 6858000"/>
              <a:gd name="connsiteX890" fmla="*/ 6931566 w 7467600"/>
              <a:gd name="connsiteY890" fmla="*/ 1062034 h 6858000"/>
              <a:gd name="connsiteX891" fmla="*/ 5790982 w 7467600"/>
              <a:gd name="connsiteY891" fmla="*/ 1561380 h 6858000"/>
              <a:gd name="connsiteX892" fmla="*/ 6188971 w 7467600"/>
              <a:gd name="connsiteY892" fmla="*/ 1755168 h 6858000"/>
              <a:gd name="connsiteX893" fmla="*/ 6202446 w 7467600"/>
              <a:gd name="connsiteY893" fmla="*/ 1752268 h 6858000"/>
              <a:gd name="connsiteX894" fmla="*/ 7179560 w 7467600"/>
              <a:gd name="connsiteY894" fmla="*/ 1467551 h 6858000"/>
              <a:gd name="connsiteX895" fmla="*/ 7158730 w 7467600"/>
              <a:gd name="connsiteY895" fmla="*/ 1507835 h 6858000"/>
              <a:gd name="connsiteX896" fmla="*/ 6326959 w 7467600"/>
              <a:gd name="connsiteY896" fmla="*/ 1817686 h 6858000"/>
              <a:gd name="connsiteX897" fmla="*/ 6537433 w 7467600"/>
              <a:gd name="connsiteY897" fmla="*/ 1907790 h 6858000"/>
              <a:gd name="connsiteX898" fmla="*/ 6550221 w 7467600"/>
              <a:gd name="connsiteY898" fmla="*/ 1910729 h 6858000"/>
              <a:gd name="connsiteX899" fmla="*/ 6964438 w 7467600"/>
              <a:gd name="connsiteY899" fmla="*/ 2209505 h 6858000"/>
              <a:gd name="connsiteX900" fmla="*/ 7367862 w 7467600"/>
              <a:gd name="connsiteY900" fmla="*/ 2806833 h 6858000"/>
              <a:gd name="connsiteX901" fmla="*/ 7364329 w 7467600"/>
              <a:gd name="connsiteY901" fmla="*/ 2826907 h 6858000"/>
              <a:gd name="connsiteX902" fmla="*/ 7290545 w 7467600"/>
              <a:gd name="connsiteY902" fmla="*/ 2850663 h 6858000"/>
              <a:gd name="connsiteX903" fmla="*/ 6472036 w 7467600"/>
              <a:gd name="connsiteY903" fmla="*/ 1959003 h 6858000"/>
              <a:gd name="connsiteX904" fmla="*/ 5792897 w 7467600"/>
              <a:gd name="connsiteY904" fmla="*/ 1647747 h 6858000"/>
              <a:gd name="connsiteX905" fmla="*/ 5842751 w 7467600"/>
              <a:gd name="connsiteY905" fmla="*/ 1816112 h 6858000"/>
              <a:gd name="connsiteX906" fmla="*/ 5847424 w 7467600"/>
              <a:gd name="connsiteY906" fmla="*/ 1815776 h 6858000"/>
              <a:gd name="connsiteX907" fmla="*/ 6399821 w 7467600"/>
              <a:gd name="connsiteY907" fmla="*/ 2344799 h 6858000"/>
              <a:gd name="connsiteX908" fmla="*/ 6323232 w 7467600"/>
              <a:gd name="connsiteY908" fmla="*/ 2389634 h 6858000"/>
              <a:gd name="connsiteX909" fmla="*/ 5942958 w 7467600"/>
              <a:gd name="connsiteY909" fmla="*/ 2077708 h 6858000"/>
              <a:gd name="connsiteX910" fmla="*/ 5921559 w 7467600"/>
              <a:gd name="connsiteY910" fmla="*/ 2378596 h 6858000"/>
              <a:gd name="connsiteX911" fmla="*/ 5817651 w 7467600"/>
              <a:gd name="connsiteY911" fmla="*/ 3023919 h 6858000"/>
              <a:gd name="connsiteX912" fmla="*/ 5729634 w 7467600"/>
              <a:gd name="connsiteY912" fmla="*/ 3051849 h 6858000"/>
              <a:gd name="connsiteX913" fmla="*/ 5611018 w 7467600"/>
              <a:gd name="connsiteY913" fmla="*/ 2316769 h 6858000"/>
              <a:gd name="connsiteX914" fmla="*/ 5687608 w 7467600"/>
              <a:gd name="connsiteY914" fmla="*/ 2039972 h 6858000"/>
              <a:gd name="connsiteX915" fmla="*/ 5657554 w 7467600"/>
              <a:gd name="connsiteY915" fmla="*/ 1576445 h 6858000"/>
              <a:gd name="connsiteX916" fmla="*/ 5150475 w 7467600"/>
              <a:gd name="connsiteY916" fmla="*/ 1274012 h 6858000"/>
              <a:gd name="connsiteX917" fmla="*/ 5349142 w 7467600"/>
              <a:gd name="connsiteY917" fmla="*/ 2204405 h 6858000"/>
              <a:gd name="connsiteX918" fmla="*/ 5262214 w 7467600"/>
              <a:gd name="connsiteY918" fmla="*/ 2233836 h 6858000"/>
              <a:gd name="connsiteX919" fmla="*/ 4981539 w 7467600"/>
              <a:gd name="connsiteY919" fmla="*/ 1542201 h 6858000"/>
              <a:gd name="connsiteX920" fmla="*/ 4958461 w 7467600"/>
              <a:gd name="connsiteY920" fmla="*/ 1136957 h 6858000"/>
              <a:gd name="connsiteX921" fmla="*/ 4655015 w 7467600"/>
              <a:gd name="connsiteY921" fmla="*/ 891426 h 6858000"/>
              <a:gd name="connsiteX922" fmla="*/ 4348002 w 7467600"/>
              <a:gd name="connsiteY922" fmla="*/ 2205895 h 6858000"/>
              <a:gd name="connsiteX923" fmla="*/ 4262250 w 7467600"/>
              <a:gd name="connsiteY923" fmla="*/ 2219972 h 6858000"/>
              <a:gd name="connsiteX924" fmla="*/ 4550611 w 7467600"/>
              <a:gd name="connsiteY924" fmla="*/ 817540 h 6858000"/>
              <a:gd name="connsiteX925" fmla="*/ 4564418 w 7467600"/>
              <a:gd name="connsiteY925" fmla="*/ 808293 h 6858000"/>
              <a:gd name="connsiteX926" fmla="*/ 4266388 w 7467600"/>
              <a:gd name="connsiteY926" fmla="*/ 500083 h 6858000"/>
              <a:gd name="connsiteX927" fmla="*/ 4032842 w 7467600"/>
              <a:gd name="connsiteY927" fmla="*/ 211809 h 6858000"/>
              <a:gd name="connsiteX928" fmla="*/ 3882765 w 7467600"/>
              <a:gd name="connsiteY928" fmla="*/ 0 h 6858000"/>
              <a:gd name="connsiteX929" fmla="*/ 3721337 w 7467600"/>
              <a:gd name="connsiteY929" fmla="*/ 0 h 6858000"/>
              <a:gd name="connsiteX930" fmla="*/ 3797544 w 7467600"/>
              <a:gd name="connsiteY930" fmla="*/ 0 h 6858000"/>
              <a:gd name="connsiteX931" fmla="*/ 3775734 w 7467600"/>
              <a:gd name="connsiteY931" fmla="*/ 95131 h 6858000"/>
              <a:gd name="connsiteX932" fmla="*/ 3724807 w 7467600"/>
              <a:gd name="connsiteY932" fmla="*/ 272257 h 6858000"/>
              <a:gd name="connsiteX933" fmla="*/ 3726844 w 7467600"/>
              <a:gd name="connsiteY933" fmla="*/ 282988 h 6858000"/>
              <a:gd name="connsiteX934" fmla="*/ 3742664 w 7467600"/>
              <a:gd name="connsiteY934" fmla="*/ 279918 h 6858000"/>
              <a:gd name="connsiteX935" fmla="*/ 4103910 w 7467600"/>
              <a:gd name="connsiteY935" fmla="*/ 1161917 h 6858000"/>
              <a:gd name="connsiteX936" fmla="*/ 4020269 w 7467600"/>
              <a:gd name="connsiteY936" fmla="*/ 1200406 h 6858000"/>
              <a:gd name="connsiteX937" fmla="*/ 3674882 w 7467600"/>
              <a:gd name="connsiteY937" fmla="*/ 488524 h 6858000"/>
              <a:gd name="connsiteX938" fmla="*/ 3132682 w 7467600"/>
              <a:gd name="connsiteY938" fmla="*/ 1072284 h 6858000"/>
              <a:gd name="connsiteX939" fmla="*/ 2716346 w 7467600"/>
              <a:gd name="connsiteY939" fmla="*/ 1276376 h 6858000"/>
              <a:gd name="connsiteX940" fmla="*/ 2716772 w 7467600"/>
              <a:gd name="connsiteY940" fmla="*/ 1255462 h 6858000"/>
              <a:gd name="connsiteX941" fmla="*/ 3471096 w 7467600"/>
              <a:gd name="connsiteY941" fmla="*/ 437072 h 6858000"/>
              <a:gd name="connsiteX942" fmla="*/ 3639057 w 7467600"/>
              <a:gd name="connsiteY942" fmla="*/ 286334 h 6858000"/>
              <a:gd name="connsiteX943" fmla="*/ 3640309 w 7467600"/>
              <a:gd name="connsiteY943" fmla="*/ 284664 h 6858000"/>
              <a:gd name="connsiteX944" fmla="*/ 3646022 w 7467600"/>
              <a:gd name="connsiteY944" fmla="*/ 276711 h 6858000"/>
              <a:gd name="connsiteX945" fmla="*/ 3707943 w 7467600"/>
              <a:gd name="connsiteY945" fmla="*/ 65958 h 6858000"/>
              <a:gd name="connsiteX946" fmla="*/ 3721337 w 7467600"/>
              <a:gd name="connsiteY946" fmla="*/ 0 h 6858000"/>
              <a:gd name="connsiteX947" fmla="*/ 2867960 w 7467600"/>
              <a:gd name="connsiteY947" fmla="*/ 0 h 6858000"/>
              <a:gd name="connsiteX948" fmla="*/ 2926351 w 7467600"/>
              <a:gd name="connsiteY948" fmla="*/ 0 h 6858000"/>
              <a:gd name="connsiteX949" fmla="*/ 2902823 w 7467600"/>
              <a:gd name="connsiteY949" fmla="*/ 262929 h 6858000"/>
              <a:gd name="connsiteX950" fmla="*/ 2940663 w 7467600"/>
              <a:gd name="connsiteY950" fmla="*/ 140884 h 6858000"/>
              <a:gd name="connsiteX951" fmla="*/ 2947039 w 7467600"/>
              <a:gd name="connsiteY951" fmla="*/ 122524 h 6858000"/>
              <a:gd name="connsiteX952" fmla="*/ 2984316 w 7467600"/>
              <a:gd name="connsiteY952" fmla="*/ 0 h 6858000"/>
              <a:gd name="connsiteX953" fmla="*/ 3016114 w 7467600"/>
              <a:gd name="connsiteY953" fmla="*/ 0 h 6858000"/>
              <a:gd name="connsiteX954" fmla="*/ 2979949 w 7467600"/>
              <a:gd name="connsiteY954" fmla="*/ 119274 h 6858000"/>
              <a:gd name="connsiteX955" fmla="*/ 3023879 w 7467600"/>
              <a:gd name="connsiteY955" fmla="*/ 0 h 6858000"/>
              <a:gd name="connsiteX956" fmla="*/ 3105400 w 7467600"/>
              <a:gd name="connsiteY956" fmla="*/ 0 h 6858000"/>
              <a:gd name="connsiteX957" fmla="*/ 3094669 w 7467600"/>
              <a:gd name="connsiteY957" fmla="*/ 30308 h 6858000"/>
              <a:gd name="connsiteX958" fmla="*/ 2901945 w 7467600"/>
              <a:gd name="connsiteY958" fmla="*/ 466538 h 6858000"/>
              <a:gd name="connsiteX959" fmla="*/ 2815209 w 7467600"/>
              <a:gd name="connsiteY959" fmla="*/ 497361 h 6858000"/>
              <a:gd name="connsiteX960" fmla="*/ 2844845 w 7467600"/>
              <a:gd name="connsiteY960" fmla="*/ 127638 h 6858000"/>
              <a:gd name="connsiteX961" fmla="*/ 2867960 w 7467600"/>
              <a:gd name="connsiteY961" fmla="*/ 0 h 6858000"/>
              <a:gd name="connsiteX962" fmla="*/ 1057230 w 7467600"/>
              <a:gd name="connsiteY962" fmla="*/ 0 h 6858000"/>
              <a:gd name="connsiteX963" fmla="*/ 1111003 w 7467600"/>
              <a:gd name="connsiteY963" fmla="*/ 0 h 6858000"/>
              <a:gd name="connsiteX964" fmla="*/ 1125553 w 7467600"/>
              <a:gd name="connsiteY964" fmla="*/ 52588 h 6858000"/>
              <a:gd name="connsiteX965" fmla="*/ 1304276 w 7467600"/>
              <a:gd name="connsiteY965" fmla="*/ 476275 h 6858000"/>
              <a:gd name="connsiteX966" fmla="*/ 1492066 w 7467600"/>
              <a:gd name="connsiteY966" fmla="*/ 886333 h 6858000"/>
              <a:gd name="connsiteX967" fmla="*/ 1423698 w 7467600"/>
              <a:gd name="connsiteY967" fmla="*/ 710817 h 6858000"/>
              <a:gd name="connsiteX968" fmla="*/ 1357609 w 7467600"/>
              <a:gd name="connsiteY968" fmla="*/ 532892 h 6858000"/>
              <a:gd name="connsiteX969" fmla="*/ 1309550 w 7467600"/>
              <a:gd name="connsiteY969" fmla="*/ 374031 h 6858000"/>
              <a:gd name="connsiteX970" fmla="*/ 1193673 w 7467600"/>
              <a:gd name="connsiteY970" fmla="*/ 49533 h 6858000"/>
              <a:gd name="connsiteX971" fmla="*/ 1164391 w 7467600"/>
              <a:gd name="connsiteY971" fmla="*/ 0 h 6858000"/>
              <a:gd name="connsiteX972" fmla="*/ 1200666 w 7467600"/>
              <a:gd name="connsiteY972" fmla="*/ 0 h 6858000"/>
              <a:gd name="connsiteX973" fmla="*/ 1223408 w 7467600"/>
              <a:gd name="connsiteY973" fmla="*/ 38996 h 6858000"/>
              <a:gd name="connsiteX974" fmla="*/ 1339635 w 7467600"/>
              <a:gd name="connsiteY974" fmla="*/ 365517 h 6858000"/>
              <a:gd name="connsiteX975" fmla="*/ 1387469 w 7467600"/>
              <a:gd name="connsiteY975" fmla="*/ 523079 h 6858000"/>
              <a:gd name="connsiteX976" fmla="*/ 1452685 w 7467600"/>
              <a:gd name="connsiteY976" fmla="*/ 699806 h 6858000"/>
              <a:gd name="connsiteX977" fmla="*/ 1492092 w 7467600"/>
              <a:gd name="connsiteY977" fmla="*/ 800424 h 6858000"/>
              <a:gd name="connsiteX978" fmla="*/ 1455302 w 7467600"/>
              <a:gd name="connsiteY978" fmla="*/ 632913 h 6858000"/>
              <a:gd name="connsiteX979" fmla="*/ 1222336 w 7467600"/>
              <a:gd name="connsiteY979" fmla="*/ 9480 h 6858000"/>
              <a:gd name="connsiteX980" fmla="*/ 1214634 w 7467600"/>
              <a:gd name="connsiteY980" fmla="*/ 0 h 6858000"/>
              <a:gd name="connsiteX981" fmla="*/ 1289827 w 7467600"/>
              <a:gd name="connsiteY981" fmla="*/ 0 h 6858000"/>
              <a:gd name="connsiteX982" fmla="*/ 1321076 w 7467600"/>
              <a:gd name="connsiteY982" fmla="*/ 59722 h 6858000"/>
              <a:gd name="connsiteX983" fmla="*/ 1512579 w 7467600"/>
              <a:gd name="connsiteY983" fmla="*/ 626441 h 6858000"/>
              <a:gd name="connsiteX984" fmla="*/ 1506076 w 7467600"/>
              <a:gd name="connsiteY984" fmla="*/ 1089289 h 6858000"/>
              <a:gd name="connsiteX985" fmla="*/ 1486346 w 7467600"/>
              <a:gd name="connsiteY985" fmla="*/ 1079919 h 6858000"/>
              <a:gd name="connsiteX986" fmla="*/ 1070511 w 7467600"/>
              <a:gd name="connsiteY986" fmla="*/ 48609 h 6858000"/>
              <a:gd name="connsiteX987" fmla="*/ 1057230 w 7467600"/>
              <a:gd name="connsiteY987" fmla="*/ 0 h 6858000"/>
              <a:gd name="connsiteX988" fmla="*/ 43151 w 7467600"/>
              <a:gd name="connsiteY988" fmla="*/ 0 h 6858000"/>
              <a:gd name="connsiteX989" fmla="*/ 95283 w 7467600"/>
              <a:gd name="connsiteY989" fmla="*/ 0 h 6858000"/>
              <a:gd name="connsiteX990" fmla="*/ 300708 w 7467600"/>
              <a:gd name="connsiteY990" fmla="*/ 154571 h 6858000"/>
              <a:gd name="connsiteX991" fmla="*/ 530414 w 7467600"/>
              <a:gd name="connsiteY991" fmla="*/ 354673 h 6858000"/>
              <a:gd name="connsiteX992" fmla="*/ 333785 w 7467600"/>
              <a:gd name="connsiteY992" fmla="*/ 161564 h 6858000"/>
              <a:gd name="connsiteX993" fmla="*/ 147005 w 7467600"/>
              <a:gd name="connsiteY993" fmla="*/ 0 h 6858000"/>
              <a:gd name="connsiteX994" fmla="*/ 272509 w 7467600"/>
              <a:gd name="connsiteY994" fmla="*/ 0 h 6858000"/>
              <a:gd name="connsiteX995" fmla="*/ 326276 w 7467600"/>
              <a:gd name="connsiteY995" fmla="*/ 45847 h 6858000"/>
              <a:gd name="connsiteX996" fmla="*/ 823759 w 7467600"/>
              <a:gd name="connsiteY996" fmla="*/ 574145 h 6858000"/>
              <a:gd name="connsiteX997" fmla="*/ 811254 w 7467600"/>
              <a:gd name="connsiteY997" fmla="*/ 665546 h 6858000"/>
              <a:gd name="connsiteX998" fmla="*/ 154042 w 7467600"/>
              <a:gd name="connsiteY998" fmla="*/ 261522 h 6858000"/>
              <a:gd name="connsiteX999" fmla="*/ 13550 w 7467600"/>
              <a:gd name="connsiteY999" fmla="*/ 158423 h 6858000"/>
              <a:gd name="connsiteX1000" fmla="*/ 0 w 7467600"/>
              <a:gd name="connsiteY1000" fmla="*/ 146618 h 6858000"/>
              <a:gd name="connsiteX1001" fmla="*/ 0 w 7467600"/>
              <a:gd name="connsiteY1001" fmla="*/ 59161 h 6858000"/>
              <a:gd name="connsiteX1002" fmla="*/ 45427 w 7467600"/>
              <a:gd name="connsiteY1002" fmla="*/ 101078 h 6858000"/>
              <a:gd name="connsiteX1003" fmla="*/ 630103 w 7467600"/>
              <a:gd name="connsiteY1003" fmla="*/ 485885 h 6858000"/>
              <a:gd name="connsiteX1004" fmla="*/ 532040 w 7467600"/>
              <a:gd name="connsiteY1004" fmla="*/ 399359 h 6858000"/>
              <a:gd name="connsiteX1005" fmla="*/ 517618 w 7467600"/>
              <a:gd name="connsiteY1005" fmla="*/ 385726 h 6858000"/>
              <a:gd name="connsiteX1006" fmla="*/ 285074 w 7467600"/>
              <a:gd name="connsiteY1006" fmla="*/ 182755 h 6858000"/>
              <a:gd name="connsiteX1007" fmla="*/ 43151 w 7467600"/>
              <a:gd name="connsiteY1007"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133363 w 7467600"/>
              <a:gd name="connsiteY127" fmla="*/ 5050246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7327465 w 7467600"/>
              <a:gd name="connsiteY139" fmla="*/ 5174181 h 6858000"/>
              <a:gd name="connsiteX140" fmla="*/ 7244057 w 7467600"/>
              <a:gd name="connsiteY140" fmla="*/ 5124233 h 6858000"/>
              <a:gd name="connsiteX141" fmla="*/ 7353035 w 7467600"/>
              <a:gd name="connsiteY141" fmla="*/ 5197318 h 6858000"/>
              <a:gd name="connsiteX142" fmla="*/ 7467600 w 7467600"/>
              <a:gd name="connsiteY142" fmla="*/ 5297634 h 6858000"/>
              <a:gd name="connsiteX143" fmla="*/ 7467600 w 7467600"/>
              <a:gd name="connsiteY143" fmla="*/ 5361850 h 6858000"/>
              <a:gd name="connsiteX144" fmla="*/ 7368569 w 7467600"/>
              <a:gd name="connsiteY144" fmla="*/ 5270182 h 6858000"/>
              <a:gd name="connsiteX145" fmla="*/ 7131946 w 7467600"/>
              <a:gd name="connsiteY145" fmla="*/ 5075653 h 6858000"/>
              <a:gd name="connsiteX146" fmla="*/ 7133363 w 7467600"/>
              <a:gd name="connsiteY146" fmla="*/ 5050246 h 6858000"/>
              <a:gd name="connsiteX147" fmla="*/ 1903353 w 7467600"/>
              <a:gd name="connsiteY147" fmla="*/ 5044827 h 6858000"/>
              <a:gd name="connsiteX148" fmla="*/ 1936931 w 7467600"/>
              <a:gd name="connsiteY148" fmla="*/ 5093954 h 6858000"/>
              <a:gd name="connsiteX149" fmla="*/ 2195868 w 7467600"/>
              <a:gd name="connsiteY149" fmla="*/ 5396574 h 6858000"/>
              <a:gd name="connsiteX150" fmla="*/ 2088852 w 7467600"/>
              <a:gd name="connsiteY150" fmla="*/ 5166123 h 6858000"/>
              <a:gd name="connsiteX151" fmla="*/ 1958241 w 7467600"/>
              <a:gd name="connsiteY151" fmla="*/ 5067955 h 6858000"/>
              <a:gd name="connsiteX152" fmla="*/ 1903353 w 7467600"/>
              <a:gd name="connsiteY152" fmla="*/ 5044827 h 6858000"/>
              <a:gd name="connsiteX153" fmla="*/ 1979378 w 7467600"/>
              <a:gd name="connsiteY153" fmla="*/ 4769504 h 6858000"/>
              <a:gd name="connsiteX154" fmla="*/ 2882120 w 7467600"/>
              <a:gd name="connsiteY154" fmla="*/ 5064547 h 6858000"/>
              <a:gd name="connsiteX155" fmla="*/ 2793103 w 7467600"/>
              <a:gd name="connsiteY155" fmla="*/ 5039699 h 6858000"/>
              <a:gd name="connsiteX156" fmla="*/ 2770041 w 7467600"/>
              <a:gd name="connsiteY156" fmla="*/ 5033634 h 6858000"/>
              <a:gd name="connsiteX157" fmla="*/ 1979378 w 7467600"/>
              <a:gd name="connsiteY157" fmla="*/ 4769504 h 6858000"/>
              <a:gd name="connsiteX158" fmla="*/ 1927410 w 7467600"/>
              <a:gd name="connsiteY158" fmla="*/ 4716164 h 6858000"/>
              <a:gd name="connsiteX159" fmla="*/ 1959587 w 7467600"/>
              <a:gd name="connsiteY159" fmla="*/ 4728849 h 6858000"/>
              <a:gd name="connsiteX160" fmla="*/ 2777707 w 7467600"/>
              <a:gd name="connsiteY160" fmla="*/ 5003991 h 6858000"/>
              <a:gd name="connsiteX161" fmla="*/ 2800768 w 7467600"/>
              <a:gd name="connsiteY161" fmla="*/ 5010056 h 6858000"/>
              <a:gd name="connsiteX162" fmla="*/ 2879408 w 7467600"/>
              <a:gd name="connsiteY162" fmla="*/ 5031590 h 6858000"/>
              <a:gd name="connsiteX163" fmla="*/ 2862295 w 7467600"/>
              <a:gd name="connsiteY163" fmla="*/ 5022958 h 6858000"/>
              <a:gd name="connsiteX164" fmla="*/ 2813343 w 7467600"/>
              <a:gd name="connsiteY164" fmla="*/ 4998369 h 6858000"/>
              <a:gd name="connsiteX165" fmla="*/ 2646245 w 7467600"/>
              <a:gd name="connsiteY165" fmla="*/ 4930999 h 6858000"/>
              <a:gd name="connsiteX166" fmla="*/ 1999243 w 7467600"/>
              <a:gd name="connsiteY166" fmla="*/ 4730524 h 6858000"/>
              <a:gd name="connsiteX167" fmla="*/ 1979527 w 7467600"/>
              <a:gd name="connsiteY167" fmla="*/ 4726651 h 6858000"/>
              <a:gd name="connsiteX168" fmla="*/ 1927410 w 7467600"/>
              <a:gd name="connsiteY168" fmla="*/ 4716164 h 6858000"/>
              <a:gd name="connsiteX169" fmla="*/ 1997014 w 7467600"/>
              <a:gd name="connsiteY169" fmla="*/ 4698007 h 6858000"/>
              <a:gd name="connsiteX170" fmla="*/ 2005458 w 7467600"/>
              <a:gd name="connsiteY170" fmla="*/ 4699540 h 6858000"/>
              <a:gd name="connsiteX171" fmla="*/ 2657186 w 7467600"/>
              <a:gd name="connsiteY171" fmla="*/ 4901687 h 6858000"/>
              <a:gd name="connsiteX172" fmla="*/ 2826662 w 7467600"/>
              <a:gd name="connsiteY172" fmla="*/ 4970362 h 6858000"/>
              <a:gd name="connsiteX173" fmla="*/ 2876100 w 7467600"/>
              <a:gd name="connsiteY173" fmla="*/ 4995397 h 6858000"/>
              <a:gd name="connsiteX174" fmla="*/ 3042600 w 7467600"/>
              <a:gd name="connsiteY174" fmla="*/ 5059532 h 6858000"/>
              <a:gd name="connsiteX175" fmla="*/ 1997014 w 7467600"/>
              <a:gd name="connsiteY175" fmla="*/ 4698007 h 6858000"/>
              <a:gd name="connsiteX176" fmla="*/ 2305292 w 7467600"/>
              <a:gd name="connsiteY176" fmla="*/ 4219492 h 6858000"/>
              <a:gd name="connsiteX177" fmla="*/ 3360922 w 7467600"/>
              <a:gd name="connsiteY177" fmla="*/ 4529373 h 6858000"/>
              <a:gd name="connsiteX178" fmla="*/ 3492420 w 7467600"/>
              <a:gd name="connsiteY178" fmla="*/ 4510145 h 6858000"/>
              <a:gd name="connsiteX179" fmla="*/ 3364086 w 7467600"/>
              <a:gd name="connsiteY179" fmla="*/ 4480340 h 6858000"/>
              <a:gd name="connsiteX180" fmla="*/ 3225818 w 7467600"/>
              <a:gd name="connsiteY180" fmla="*/ 4411822 h 6858000"/>
              <a:gd name="connsiteX181" fmla="*/ 3129696 w 7467600"/>
              <a:gd name="connsiteY181" fmla="*/ 4360704 h 6858000"/>
              <a:gd name="connsiteX182" fmla="*/ 2814545 w 7467600"/>
              <a:gd name="connsiteY182" fmla="*/ 4282955 h 6858000"/>
              <a:gd name="connsiteX183" fmla="*/ 2305292 w 7467600"/>
              <a:gd name="connsiteY183" fmla="*/ 4219492 h 6858000"/>
              <a:gd name="connsiteX184" fmla="*/ 2626982 w 7467600"/>
              <a:gd name="connsiteY184" fmla="*/ 4206450 h 6858000"/>
              <a:gd name="connsiteX185" fmla="*/ 2490617 w 7467600"/>
              <a:gd name="connsiteY185" fmla="*/ 4206951 h 6858000"/>
              <a:gd name="connsiteX186" fmla="*/ 2819869 w 7467600"/>
              <a:gd name="connsiteY186" fmla="*/ 4252936 h 6858000"/>
              <a:gd name="connsiteX187" fmla="*/ 3143018 w 7467600"/>
              <a:gd name="connsiteY187" fmla="*/ 4332698 h 6858000"/>
              <a:gd name="connsiteX188" fmla="*/ 3241520 w 7467600"/>
              <a:gd name="connsiteY188" fmla="*/ 4385112 h 6858000"/>
              <a:gd name="connsiteX189" fmla="*/ 3374575 w 7467600"/>
              <a:gd name="connsiteY189" fmla="*/ 4451517 h 6858000"/>
              <a:gd name="connsiteX190" fmla="*/ 3505221 w 7467600"/>
              <a:gd name="connsiteY190" fmla="*/ 4480757 h 6858000"/>
              <a:gd name="connsiteX191" fmla="*/ 2626982 w 7467600"/>
              <a:gd name="connsiteY191" fmla="*/ 4206450 h 6858000"/>
              <a:gd name="connsiteX192" fmla="*/ 1310106 w 7467600"/>
              <a:gd name="connsiteY192" fmla="*/ 3943217 h 6858000"/>
              <a:gd name="connsiteX193" fmla="*/ 854994 w 7467600"/>
              <a:gd name="connsiteY193" fmla="*/ 4399136 h 6858000"/>
              <a:gd name="connsiteX194" fmla="*/ 742462 w 7467600"/>
              <a:gd name="connsiteY194" fmla="*/ 4594648 h 6858000"/>
              <a:gd name="connsiteX195" fmla="*/ 820602 w 7467600"/>
              <a:gd name="connsiteY195" fmla="*/ 4485915 h 6858000"/>
              <a:gd name="connsiteX196" fmla="*/ 878295 w 7467600"/>
              <a:gd name="connsiteY196" fmla="*/ 4403594 h 6858000"/>
              <a:gd name="connsiteX197" fmla="*/ 1240607 w 7467600"/>
              <a:gd name="connsiteY197" fmla="*/ 4010401 h 6858000"/>
              <a:gd name="connsiteX198" fmla="*/ 1310106 w 7467600"/>
              <a:gd name="connsiteY198" fmla="*/ 3943217 h 6858000"/>
              <a:gd name="connsiteX199" fmla="*/ 1423113 w 7467600"/>
              <a:gd name="connsiteY199" fmla="*/ 3874565 h 6858000"/>
              <a:gd name="connsiteX200" fmla="*/ 1260565 w 7467600"/>
              <a:gd name="connsiteY200" fmla="*/ 4031982 h 6858000"/>
              <a:gd name="connsiteX201" fmla="*/ 901900 w 7467600"/>
              <a:gd name="connsiteY201" fmla="*/ 4421236 h 6858000"/>
              <a:gd name="connsiteX202" fmla="*/ 845044 w 7467600"/>
              <a:gd name="connsiteY202" fmla="*/ 4502436 h 6858000"/>
              <a:gd name="connsiteX203" fmla="*/ 685926 w 7467600"/>
              <a:gd name="connsiteY203" fmla="*/ 4703069 h 6858000"/>
              <a:gd name="connsiteX204" fmla="*/ 684248 w 7467600"/>
              <a:gd name="connsiteY204" fmla="*/ 4706721 h 6858000"/>
              <a:gd name="connsiteX205" fmla="*/ 1423113 w 7467600"/>
              <a:gd name="connsiteY205" fmla="*/ 3874565 h 6858000"/>
              <a:gd name="connsiteX206" fmla="*/ 3316479 w 7467600"/>
              <a:gd name="connsiteY206" fmla="*/ 3872136 h 6858000"/>
              <a:gd name="connsiteX207" fmla="*/ 3546806 w 7467600"/>
              <a:gd name="connsiteY207" fmla="*/ 4356139 h 6858000"/>
              <a:gd name="connsiteX208" fmla="*/ 3364433 w 7467600"/>
              <a:gd name="connsiteY208" fmla="*/ 3953121 h 6858000"/>
              <a:gd name="connsiteX209" fmla="*/ 3316479 w 7467600"/>
              <a:gd name="connsiteY209" fmla="*/ 3872136 h 6858000"/>
              <a:gd name="connsiteX210" fmla="*/ 3291335 w 7467600"/>
              <a:gd name="connsiteY210" fmla="*/ 3767420 h 6858000"/>
              <a:gd name="connsiteX211" fmla="*/ 3390805 w 7467600"/>
              <a:gd name="connsiteY211" fmla="*/ 3937163 h 6858000"/>
              <a:gd name="connsiteX212" fmla="*/ 3579062 w 7467600"/>
              <a:gd name="connsiteY212" fmla="*/ 4359040 h 6858000"/>
              <a:gd name="connsiteX213" fmla="*/ 3467355 w 7467600"/>
              <a:gd name="connsiteY213" fmla="*/ 3988130 h 6858000"/>
              <a:gd name="connsiteX214" fmla="*/ 3310753 w 7467600"/>
              <a:gd name="connsiteY214" fmla="*/ 3787140 h 6858000"/>
              <a:gd name="connsiteX215" fmla="*/ 3291335 w 7467600"/>
              <a:gd name="connsiteY215" fmla="*/ 3767420 h 6858000"/>
              <a:gd name="connsiteX216" fmla="*/ 1635889 w 7467600"/>
              <a:gd name="connsiteY216" fmla="*/ 3709494 h 6858000"/>
              <a:gd name="connsiteX217" fmla="*/ 1634800 w 7467600"/>
              <a:gd name="connsiteY217" fmla="*/ 3731111 h 6858000"/>
              <a:gd name="connsiteX218" fmla="*/ 1635889 w 7467600"/>
              <a:gd name="connsiteY218" fmla="*/ 3709494 h 6858000"/>
              <a:gd name="connsiteX219" fmla="*/ 1510397 w 7467600"/>
              <a:gd name="connsiteY219" fmla="*/ 3684705 h 6858000"/>
              <a:gd name="connsiteX220" fmla="*/ 1146550 w 7467600"/>
              <a:gd name="connsiteY220" fmla="*/ 3802012 h 6858000"/>
              <a:gd name="connsiteX221" fmla="*/ 698834 w 7467600"/>
              <a:gd name="connsiteY221" fmla="*/ 3952272 h 6858000"/>
              <a:gd name="connsiteX222" fmla="*/ 34256 w 7467600"/>
              <a:gd name="connsiteY222" fmla="*/ 4347603 h 6858000"/>
              <a:gd name="connsiteX223" fmla="*/ 527241 w 7467600"/>
              <a:gd name="connsiteY223" fmla="*/ 4065078 h 6858000"/>
              <a:gd name="connsiteX224" fmla="*/ 1510397 w 7467600"/>
              <a:gd name="connsiteY224" fmla="*/ 3684705 h 6858000"/>
              <a:gd name="connsiteX225" fmla="*/ 1313114 w 7467600"/>
              <a:gd name="connsiteY225" fmla="*/ 3655216 h 6858000"/>
              <a:gd name="connsiteX226" fmla="*/ 1109304 w 7467600"/>
              <a:gd name="connsiteY226" fmla="*/ 3669030 h 6858000"/>
              <a:gd name="connsiteX227" fmla="*/ 8129 w 7467600"/>
              <a:gd name="connsiteY227" fmla="*/ 4330519 h 6858000"/>
              <a:gd name="connsiteX228" fmla="*/ 687572 w 7467600"/>
              <a:gd name="connsiteY228" fmla="*/ 3925629 h 6858000"/>
              <a:gd name="connsiteX229" fmla="*/ 1138365 w 7467600"/>
              <a:gd name="connsiteY229" fmla="*/ 3774515 h 6858000"/>
              <a:gd name="connsiteX230" fmla="*/ 1505579 w 7467600"/>
              <a:gd name="connsiteY230" fmla="*/ 3655526 h 6858000"/>
              <a:gd name="connsiteX231" fmla="*/ 1313114 w 7467600"/>
              <a:gd name="connsiteY231" fmla="*/ 3655216 h 6858000"/>
              <a:gd name="connsiteX232" fmla="*/ 3655073 w 7467600"/>
              <a:gd name="connsiteY232" fmla="*/ 3650884 h 6858000"/>
              <a:gd name="connsiteX233" fmla="*/ 3989938 w 7467600"/>
              <a:gd name="connsiteY233" fmla="*/ 3991685 h 6858000"/>
              <a:gd name="connsiteX234" fmla="*/ 4393907 w 7467600"/>
              <a:gd name="connsiteY234" fmla="*/ 4261258 h 6858000"/>
              <a:gd name="connsiteX235" fmla="*/ 4648051 w 7467600"/>
              <a:gd name="connsiteY235" fmla="*/ 4374051 h 6858000"/>
              <a:gd name="connsiteX236" fmla="*/ 4383389 w 7467600"/>
              <a:gd name="connsiteY236" fmla="*/ 4184369 h 6858000"/>
              <a:gd name="connsiteX237" fmla="*/ 4165508 w 7467600"/>
              <a:gd name="connsiteY237" fmla="*/ 4035196 h 6858000"/>
              <a:gd name="connsiteX238" fmla="*/ 4068162 w 7467600"/>
              <a:gd name="connsiteY238" fmla="*/ 3953394 h 6858000"/>
              <a:gd name="connsiteX239" fmla="*/ 3981416 w 7467600"/>
              <a:gd name="connsiteY239" fmla="*/ 3880482 h 6858000"/>
              <a:gd name="connsiteX240" fmla="*/ 3800147 w 7467600"/>
              <a:gd name="connsiteY240" fmla="*/ 3749872 h 6858000"/>
              <a:gd name="connsiteX241" fmla="*/ 3655073 w 7467600"/>
              <a:gd name="connsiteY241" fmla="*/ 3650884 h 6858000"/>
              <a:gd name="connsiteX242" fmla="*/ 3670252 w 7467600"/>
              <a:gd name="connsiteY242" fmla="*/ 3622798 h 6858000"/>
              <a:gd name="connsiteX243" fmla="*/ 3817258 w 7467600"/>
              <a:gd name="connsiteY243" fmla="*/ 3723577 h 6858000"/>
              <a:gd name="connsiteX244" fmla="*/ 4000461 w 7467600"/>
              <a:gd name="connsiteY244" fmla="*/ 3855966 h 6858000"/>
              <a:gd name="connsiteX245" fmla="*/ 4088180 w 7467600"/>
              <a:gd name="connsiteY245" fmla="*/ 3929774 h 6858000"/>
              <a:gd name="connsiteX246" fmla="*/ 4184555 w 7467600"/>
              <a:gd name="connsiteY246" fmla="*/ 4010683 h 6858000"/>
              <a:gd name="connsiteX247" fmla="*/ 4399563 w 7467600"/>
              <a:gd name="connsiteY247" fmla="*/ 4158106 h 6858000"/>
              <a:gd name="connsiteX248" fmla="*/ 4684469 w 7467600"/>
              <a:gd name="connsiteY248" fmla="*/ 4364680 h 6858000"/>
              <a:gd name="connsiteX249" fmla="*/ 4690271 w 7467600"/>
              <a:gd name="connsiteY249" fmla="*/ 4370034 h 6858000"/>
              <a:gd name="connsiteX250" fmla="*/ 4136093 w 7467600"/>
              <a:gd name="connsiteY250" fmla="*/ 3858466 h 6858000"/>
              <a:gd name="connsiteX251" fmla="*/ 3670252 w 7467600"/>
              <a:gd name="connsiteY251" fmla="*/ 3622798 h 6858000"/>
              <a:gd name="connsiteX252" fmla="*/ 4440129 w 7467600"/>
              <a:gd name="connsiteY252" fmla="*/ 3448571 h 6858000"/>
              <a:gd name="connsiteX253" fmla="*/ 4856525 w 7467600"/>
              <a:gd name="connsiteY253" fmla="*/ 3915351 h 6858000"/>
              <a:gd name="connsiteX254" fmla="*/ 5059055 w 7467600"/>
              <a:gd name="connsiteY254" fmla="*/ 4108918 h 6858000"/>
              <a:gd name="connsiteX255" fmla="*/ 5290070 w 7467600"/>
              <a:gd name="connsiteY255" fmla="*/ 4263619 h 6858000"/>
              <a:gd name="connsiteX256" fmla="*/ 4834991 w 7467600"/>
              <a:gd name="connsiteY256" fmla="*/ 3830985 h 6858000"/>
              <a:gd name="connsiteX257" fmla="*/ 4440129 w 7467600"/>
              <a:gd name="connsiteY257" fmla="*/ 3448571 h 6858000"/>
              <a:gd name="connsiteX258" fmla="*/ 4441737 w 7467600"/>
              <a:gd name="connsiteY258" fmla="*/ 3399734 h 6858000"/>
              <a:gd name="connsiteX259" fmla="*/ 4431236 w 7467600"/>
              <a:gd name="connsiteY259" fmla="*/ 3400954 h 6858000"/>
              <a:gd name="connsiteX260" fmla="*/ 4557150 w 7467600"/>
              <a:gd name="connsiteY260" fmla="*/ 3510023 h 6858000"/>
              <a:gd name="connsiteX261" fmla="*/ 4856936 w 7467600"/>
              <a:gd name="connsiteY261" fmla="*/ 3809146 h 6858000"/>
              <a:gd name="connsiteX262" fmla="*/ 5111996 w 7467600"/>
              <a:gd name="connsiteY262" fmla="*/ 4065759 h 6858000"/>
              <a:gd name="connsiteX263" fmla="*/ 5388878 w 7467600"/>
              <a:gd name="connsiteY263" fmla="*/ 4300185 h 6858000"/>
              <a:gd name="connsiteX264" fmla="*/ 5425556 w 7467600"/>
              <a:gd name="connsiteY264" fmla="*/ 4308967 h 6858000"/>
              <a:gd name="connsiteX265" fmla="*/ 4943646 w 7467600"/>
              <a:gd name="connsiteY265" fmla="*/ 3822916 h 6858000"/>
              <a:gd name="connsiteX266" fmla="*/ 4594837 w 7467600"/>
              <a:gd name="connsiteY266" fmla="*/ 3532274 h 6858000"/>
              <a:gd name="connsiteX267" fmla="*/ 4441737 w 7467600"/>
              <a:gd name="connsiteY267" fmla="*/ 3399734 h 6858000"/>
              <a:gd name="connsiteX268" fmla="*/ 5425834 w 7467600"/>
              <a:gd name="connsiteY268" fmla="*/ 3162785 h 6858000"/>
              <a:gd name="connsiteX269" fmla="*/ 5401644 w 7467600"/>
              <a:gd name="connsiteY269" fmla="*/ 3617847 h 6858000"/>
              <a:gd name="connsiteX270" fmla="*/ 5467256 w 7467600"/>
              <a:gd name="connsiteY270" fmla="*/ 4175494 h 6858000"/>
              <a:gd name="connsiteX271" fmla="*/ 5448069 w 7467600"/>
              <a:gd name="connsiteY271" fmla="*/ 3567554 h 6858000"/>
              <a:gd name="connsiteX272" fmla="*/ 5425834 w 7467600"/>
              <a:gd name="connsiteY272" fmla="*/ 3162785 h 6858000"/>
              <a:gd name="connsiteX273" fmla="*/ 1318687 w 7467600"/>
              <a:gd name="connsiteY273" fmla="*/ 3113840 h 6858000"/>
              <a:gd name="connsiteX274" fmla="*/ 1066793 w 7467600"/>
              <a:gd name="connsiteY274" fmla="*/ 3212171 h 6858000"/>
              <a:gd name="connsiteX275" fmla="*/ 993319 w 7467600"/>
              <a:gd name="connsiteY275" fmla="*/ 3247648 h 6858000"/>
              <a:gd name="connsiteX276" fmla="*/ 853081 w 7467600"/>
              <a:gd name="connsiteY276" fmla="*/ 3312410 h 6858000"/>
              <a:gd name="connsiteX277" fmla="*/ 805957 w 7467600"/>
              <a:gd name="connsiteY277" fmla="*/ 3330443 h 6858000"/>
              <a:gd name="connsiteX278" fmla="*/ 1318687 w 7467600"/>
              <a:gd name="connsiteY278" fmla="*/ 3113840 h 6858000"/>
              <a:gd name="connsiteX279" fmla="*/ 5453702 w 7467600"/>
              <a:gd name="connsiteY279" fmla="*/ 3090882 h 6858000"/>
              <a:gd name="connsiteX280" fmla="*/ 5480135 w 7467600"/>
              <a:gd name="connsiteY280" fmla="*/ 3565802 h 6858000"/>
              <a:gd name="connsiteX281" fmla="*/ 5499023 w 7467600"/>
              <a:gd name="connsiteY281" fmla="*/ 4166310 h 6858000"/>
              <a:gd name="connsiteX282" fmla="*/ 5547022 w 7467600"/>
              <a:gd name="connsiteY282" fmla="*/ 3607838 h 6858000"/>
              <a:gd name="connsiteX283" fmla="*/ 5515964 w 7467600"/>
              <a:gd name="connsiteY283" fmla="*/ 3378541 h 6858000"/>
              <a:gd name="connsiteX284" fmla="*/ 5453702 w 7467600"/>
              <a:gd name="connsiteY284" fmla="*/ 3090882 h 6858000"/>
              <a:gd name="connsiteX285" fmla="*/ 1238695 w 7467600"/>
              <a:gd name="connsiteY285" fmla="*/ 3076820 h 6858000"/>
              <a:gd name="connsiteX286" fmla="*/ 716371 w 7467600"/>
              <a:gd name="connsiteY286" fmla="*/ 3293249 h 6858000"/>
              <a:gd name="connsiteX287" fmla="*/ 579522 w 7467600"/>
              <a:gd name="connsiteY287" fmla="*/ 3371759 h 6858000"/>
              <a:gd name="connsiteX288" fmla="*/ 600288 w 7467600"/>
              <a:gd name="connsiteY288" fmla="*/ 3365555 h 6858000"/>
              <a:gd name="connsiteX289" fmla="*/ 840692 w 7467600"/>
              <a:gd name="connsiteY289" fmla="*/ 3284921 h 6858000"/>
              <a:gd name="connsiteX290" fmla="*/ 979248 w 7467600"/>
              <a:gd name="connsiteY290" fmla="*/ 3221003 h 6858000"/>
              <a:gd name="connsiteX291" fmla="*/ 1053282 w 7467600"/>
              <a:gd name="connsiteY291" fmla="*/ 3185247 h 6858000"/>
              <a:gd name="connsiteX292" fmla="*/ 1320603 w 7467600"/>
              <a:gd name="connsiteY292" fmla="*/ 3081281 h 6858000"/>
              <a:gd name="connsiteX293" fmla="*/ 1238695 w 7467600"/>
              <a:gd name="connsiteY293" fmla="*/ 3076820 h 6858000"/>
              <a:gd name="connsiteX294" fmla="*/ 5425627 w 7467600"/>
              <a:gd name="connsiteY294" fmla="*/ 2954192 h 6858000"/>
              <a:gd name="connsiteX295" fmla="*/ 5470770 w 7467600"/>
              <a:gd name="connsiteY295" fmla="*/ 3005435 h 6858000"/>
              <a:gd name="connsiteX296" fmla="*/ 5519779 w 7467600"/>
              <a:gd name="connsiteY296" fmla="*/ 4359223 h 6858000"/>
              <a:gd name="connsiteX297" fmla="*/ 5520293 w 7467600"/>
              <a:gd name="connsiteY297" fmla="*/ 4360602 h 6858000"/>
              <a:gd name="connsiteX298" fmla="*/ 5767221 w 7467600"/>
              <a:gd name="connsiteY298" fmla="*/ 4665564 h 6858000"/>
              <a:gd name="connsiteX299" fmla="*/ 6937169 w 7467600"/>
              <a:gd name="connsiteY299" fmla="*/ 4815941 h 6858000"/>
              <a:gd name="connsiteX300" fmla="*/ 6953922 w 7467600"/>
              <a:gd name="connsiteY300" fmla="*/ 4890068 h 6858000"/>
              <a:gd name="connsiteX301" fmla="*/ 6071359 w 7467600"/>
              <a:gd name="connsiteY301" fmla="*/ 4770770 h 6858000"/>
              <a:gd name="connsiteX302" fmla="*/ 6038839 w 7467600"/>
              <a:gd name="connsiteY302" fmla="*/ 4764474 h 6858000"/>
              <a:gd name="connsiteX303" fmla="*/ 6038706 w 7467600"/>
              <a:gd name="connsiteY303" fmla="*/ 4763847 h 6858000"/>
              <a:gd name="connsiteX304" fmla="*/ 6037784 w 7467600"/>
              <a:gd name="connsiteY304" fmla="*/ 4764270 h 6858000"/>
              <a:gd name="connsiteX305" fmla="*/ 6038839 w 7467600"/>
              <a:gd name="connsiteY305" fmla="*/ 4764474 h 6858000"/>
              <a:gd name="connsiteX306" fmla="*/ 6040338 w 7467600"/>
              <a:gd name="connsiteY306" fmla="*/ 4771418 h 6858000"/>
              <a:gd name="connsiteX307" fmla="*/ 6024488 w 7467600"/>
              <a:gd name="connsiteY307" fmla="*/ 4809903 h 6858000"/>
              <a:gd name="connsiteX308" fmla="*/ 5599771 w 7467600"/>
              <a:gd name="connsiteY308" fmla="*/ 5509652 h 6858000"/>
              <a:gd name="connsiteX309" fmla="*/ 5548843 w 7467600"/>
              <a:gd name="connsiteY309" fmla="*/ 5563845 h 6858000"/>
              <a:gd name="connsiteX310" fmla="*/ 5940952 w 7467600"/>
              <a:gd name="connsiteY310" fmla="*/ 6250028 h 6858000"/>
              <a:gd name="connsiteX311" fmla="*/ 6043441 w 7467600"/>
              <a:gd name="connsiteY311" fmla="*/ 6665847 h 6858000"/>
              <a:gd name="connsiteX312" fmla="*/ 6093432 w 7467600"/>
              <a:gd name="connsiteY312" fmla="*/ 6858000 h 6858000"/>
              <a:gd name="connsiteX313" fmla="*/ 6034344 w 7467600"/>
              <a:gd name="connsiteY313" fmla="*/ 6858000 h 6858000"/>
              <a:gd name="connsiteX314" fmla="*/ 6026679 w 7467600"/>
              <a:gd name="connsiteY314" fmla="*/ 6836959 h 6858000"/>
              <a:gd name="connsiteX315" fmla="*/ 5800441 w 7467600"/>
              <a:gd name="connsiteY315" fmla="*/ 6335286 h 6858000"/>
              <a:gd name="connsiteX316" fmla="*/ 5526562 w 7467600"/>
              <a:gd name="connsiteY316" fmla="*/ 5705388 h 6858000"/>
              <a:gd name="connsiteX317" fmla="*/ 5519640 w 7467600"/>
              <a:gd name="connsiteY317" fmla="*/ 5683774 h 6858000"/>
              <a:gd name="connsiteX318" fmla="*/ 5844559 w 7467600"/>
              <a:gd name="connsiteY318" fmla="*/ 6553349 h 6858000"/>
              <a:gd name="connsiteX319" fmla="*/ 5975994 w 7467600"/>
              <a:gd name="connsiteY319" fmla="*/ 6858000 h 6858000"/>
              <a:gd name="connsiteX320" fmla="*/ 5898547 w 7467600"/>
              <a:gd name="connsiteY320" fmla="*/ 6858000 h 6858000"/>
              <a:gd name="connsiteX321" fmla="*/ 5682041 w 7467600"/>
              <a:gd name="connsiteY321" fmla="*/ 6355860 h 6858000"/>
              <a:gd name="connsiteX322" fmla="*/ 5461758 w 7467600"/>
              <a:gd name="connsiteY322" fmla="*/ 5820220 h 6858000"/>
              <a:gd name="connsiteX323" fmla="*/ 5237282 w 7467600"/>
              <a:gd name="connsiteY323" fmla="*/ 6579086 h 6858000"/>
              <a:gd name="connsiteX324" fmla="*/ 5115009 w 7467600"/>
              <a:gd name="connsiteY324" fmla="*/ 6858000 h 6858000"/>
              <a:gd name="connsiteX325" fmla="*/ 5028074 w 7467600"/>
              <a:gd name="connsiteY325" fmla="*/ 6858000 h 6858000"/>
              <a:gd name="connsiteX326" fmla="*/ 5079508 w 7467600"/>
              <a:gd name="connsiteY326" fmla="*/ 6749074 h 6858000"/>
              <a:gd name="connsiteX327" fmla="*/ 5371846 w 7467600"/>
              <a:gd name="connsiteY327" fmla="*/ 5924413 h 6858000"/>
              <a:gd name="connsiteX328" fmla="*/ 5270512 w 7467600"/>
              <a:gd name="connsiteY328" fmla="*/ 6138975 h 6858000"/>
              <a:gd name="connsiteX329" fmla="*/ 5062409 w 7467600"/>
              <a:gd name="connsiteY329" fmla="*/ 6653544 h 6858000"/>
              <a:gd name="connsiteX330" fmla="*/ 5036628 w 7467600"/>
              <a:gd name="connsiteY330" fmla="*/ 6754247 h 6858000"/>
              <a:gd name="connsiteX331" fmla="*/ 5009112 w 7467600"/>
              <a:gd name="connsiteY331" fmla="*/ 6858000 h 6858000"/>
              <a:gd name="connsiteX332" fmla="*/ 4976679 w 7467600"/>
              <a:gd name="connsiteY332" fmla="*/ 6858000 h 6858000"/>
              <a:gd name="connsiteX333" fmla="*/ 5006537 w 7467600"/>
              <a:gd name="connsiteY333" fmla="*/ 6747068 h 6858000"/>
              <a:gd name="connsiteX334" fmla="*/ 5032723 w 7467600"/>
              <a:gd name="connsiteY334" fmla="*/ 6644957 h 6858000"/>
              <a:gd name="connsiteX335" fmla="*/ 5242949 w 7467600"/>
              <a:gd name="connsiteY335" fmla="*/ 6125175 h 6858000"/>
              <a:gd name="connsiteX336" fmla="*/ 5286321 w 7467600"/>
              <a:gd name="connsiteY336" fmla="*/ 6033555 h 6858000"/>
              <a:gd name="connsiteX337" fmla="*/ 5008210 w 7467600"/>
              <a:gd name="connsiteY337" fmla="*/ 6649194 h 6858000"/>
              <a:gd name="connsiteX338" fmla="*/ 4986321 w 7467600"/>
              <a:gd name="connsiteY338" fmla="*/ 6765687 h 6858000"/>
              <a:gd name="connsiteX339" fmla="*/ 4973474 w 7467600"/>
              <a:gd name="connsiteY339" fmla="*/ 6858000 h 6858000"/>
              <a:gd name="connsiteX340" fmla="*/ 4907178 w 7467600"/>
              <a:gd name="connsiteY340" fmla="*/ 6858000 h 6858000"/>
              <a:gd name="connsiteX341" fmla="*/ 4910810 w 7467600"/>
              <a:gd name="connsiteY341" fmla="*/ 6829660 h 6858000"/>
              <a:gd name="connsiteX342" fmla="*/ 4987461 w 7467600"/>
              <a:gd name="connsiteY342" fmla="*/ 6432994 h 6858000"/>
              <a:gd name="connsiteX343" fmla="*/ 5179262 w 7467600"/>
              <a:gd name="connsiteY343" fmla="*/ 6035044 h 6858000"/>
              <a:gd name="connsiteX344" fmla="*/ 4689678 w 7467600"/>
              <a:gd name="connsiteY344" fmla="*/ 6440241 h 6858000"/>
              <a:gd name="connsiteX345" fmla="*/ 4477543 w 7467600"/>
              <a:gd name="connsiteY345" fmla="*/ 6674836 h 6858000"/>
              <a:gd name="connsiteX346" fmla="*/ 4329957 w 7467600"/>
              <a:gd name="connsiteY346" fmla="*/ 6858000 h 6858000"/>
              <a:gd name="connsiteX347" fmla="*/ 4218595 w 7467600"/>
              <a:gd name="connsiteY347" fmla="*/ 6858000 h 6858000"/>
              <a:gd name="connsiteX348" fmla="*/ 4368888 w 7467600"/>
              <a:gd name="connsiteY348" fmla="*/ 6668412 h 6858000"/>
              <a:gd name="connsiteX349" fmla="*/ 4563091 w 7467600"/>
              <a:gd name="connsiteY349" fmla="*/ 6442508 h 6858000"/>
              <a:gd name="connsiteX350" fmla="*/ 5387324 w 7467600"/>
              <a:gd name="connsiteY350" fmla="*/ 5705830 h 6858000"/>
              <a:gd name="connsiteX351" fmla="*/ 5073620 w 7467600"/>
              <a:gd name="connsiteY351" fmla="*/ 5955437 h 6858000"/>
              <a:gd name="connsiteX352" fmla="*/ 4689789 w 7467600"/>
              <a:gd name="connsiteY352" fmla="*/ 6268382 h 6858000"/>
              <a:gd name="connsiteX353" fmla="*/ 4418722 w 7467600"/>
              <a:gd name="connsiteY353" fmla="*/ 6570886 h 6858000"/>
              <a:gd name="connsiteX354" fmla="*/ 4214944 w 7467600"/>
              <a:gd name="connsiteY354" fmla="*/ 6858000 h 6858000"/>
              <a:gd name="connsiteX355" fmla="*/ 4177898 w 7467600"/>
              <a:gd name="connsiteY355" fmla="*/ 6858000 h 6858000"/>
              <a:gd name="connsiteX356" fmla="*/ 4391597 w 7467600"/>
              <a:gd name="connsiteY356" fmla="*/ 6556370 h 6858000"/>
              <a:gd name="connsiteX357" fmla="*/ 4668889 w 7467600"/>
              <a:gd name="connsiteY357" fmla="*/ 6246399 h 6858000"/>
              <a:gd name="connsiteX358" fmla="*/ 5055427 w 7467600"/>
              <a:gd name="connsiteY358" fmla="*/ 5931476 h 6858000"/>
              <a:gd name="connsiteX359" fmla="*/ 5371814 w 7467600"/>
              <a:gd name="connsiteY359" fmla="*/ 5678975 h 6858000"/>
              <a:gd name="connsiteX360" fmla="*/ 4987918 w 7467600"/>
              <a:gd name="connsiteY360" fmla="*/ 5838701 h 6858000"/>
              <a:gd name="connsiteX361" fmla="*/ 4317146 w 7467600"/>
              <a:gd name="connsiteY361" fmla="*/ 6587716 h 6858000"/>
              <a:gd name="connsiteX362" fmla="*/ 4171627 w 7467600"/>
              <a:gd name="connsiteY362" fmla="*/ 6858000 h 6858000"/>
              <a:gd name="connsiteX363" fmla="*/ 4081585 w 7467600"/>
              <a:gd name="connsiteY363" fmla="*/ 6858000 h 6858000"/>
              <a:gd name="connsiteX364" fmla="*/ 4238603 w 7467600"/>
              <a:gd name="connsiteY364" fmla="*/ 6559341 h 6858000"/>
              <a:gd name="connsiteX365" fmla="*/ 4778333 w 7467600"/>
              <a:gd name="connsiteY365" fmla="*/ 5873626 h 6858000"/>
              <a:gd name="connsiteX366" fmla="*/ 5414185 w 7467600"/>
              <a:gd name="connsiteY366" fmla="*/ 5573882 h 6858000"/>
              <a:gd name="connsiteX367" fmla="*/ 5959648 w 7467600"/>
              <a:gd name="connsiteY367" fmla="*/ 4760797 h 6858000"/>
              <a:gd name="connsiteX368" fmla="*/ 5355019 w 7467600"/>
              <a:gd name="connsiteY368" fmla="*/ 4734672 h 6858000"/>
              <a:gd name="connsiteX369" fmla="*/ 5083565 w 7467600"/>
              <a:gd name="connsiteY369" fmla="*/ 5179121 h 6858000"/>
              <a:gd name="connsiteX370" fmla="*/ 4713577 w 7467600"/>
              <a:gd name="connsiteY370" fmla="*/ 5616803 h 6858000"/>
              <a:gd name="connsiteX371" fmla="*/ 3989559 w 7467600"/>
              <a:gd name="connsiteY371" fmla="*/ 6145945 h 6858000"/>
              <a:gd name="connsiteX372" fmla="*/ 3939824 w 7467600"/>
              <a:gd name="connsiteY372" fmla="*/ 6066900 h 6858000"/>
              <a:gd name="connsiteX373" fmla="*/ 4584537 w 7467600"/>
              <a:gd name="connsiteY373" fmla="*/ 5324826 h 6858000"/>
              <a:gd name="connsiteX374" fmla="*/ 5037105 w 7467600"/>
              <a:gd name="connsiteY374" fmla="*/ 5088765 h 6858000"/>
              <a:gd name="connsiteX375" fmla="*/ 5039930 w 7467600"/>
              <a:gd name="connsiteY375" fmla="*/ 5089585 h 6858000"/>
              <a:gd name="connsiteX376" fmla="*/ 5263764 w 7467600"/>
              <a:gd name="connsiteY376" fmla="*/ 4735525 h 6858000"/>
              <a:gd name="connsiteX377" fmla="*/ 4086300 w 7467600"/>
              <a:gd name="connsiteY377" fmla="*/ 4884599 h 6858000"/>
              <a:gd name="connsiteX378" fmla="*/ 4085485 w 7467600"/>
              <a:gd name="connsiteY378" fmla="*/ 4899070 h 6858000"/>
              <a:gd name="connsiteX379" fmla="*/ 3871915 w 7467600"/>
              <a:gd name="connsiteY379" fmla="*/ 5253645 h 6858000"/>
              <a:gd name="connsiteX380" fmla="*/ 3799374 w 7467600"/>
              <a:gd name="connsiteY380" fmla="*/ 5466127 h 6858000"/>
              <a:gd name="connsiteX381" fmla="*/ 3498850 w 7467600"/>
              <a:gd name="connsiteY381" fmla="*/ 6661888 h 6858000"/>
              <a:gd name="connsiteX382" fmla="*/ 3399216 w 7467600"/>
              <a:gd name="connsiteY382" fmla="*/ 6858000 h 6858000"/>
              <a:gd name="connsiteX383" fmla="*/ 3303688 w 7467600"/>
              <a:gd name="connsiteY383" fmla="*/ 6858000 h 6858000"/>
              <a:gd name="connsiteX384" fmla="*/ 3391774 w 7467600"/>
              <a:gd name="connsiteY384" fmla="*/ 6697181 h 6858000"/>
              <a:gd name="connsiteX385" fmla="*/ 3735540 w 7467600"/>
              <a:gd name="connsiteY385" fmla="*/ 5546923 h 6858000"/>
              <a:gd name="connsiteX386" fmla="*/ 3729438 w 7467600"/>
              <a:gd name="connsiteY386" fmla="*/ 5569058 h 6858000"/>
              <a:gd name="connsiteX387" fmla="*/ 3707782 w 7467600"/>
              <a:gd name="connsiteY387" fmla="*/ 5644908 h 6858000"/>
              <a:gd name="connsiteX388" fmla="*/ 3583827 w 7467600"/>
              <a:gd name="connsiteY388" fmla="*/ 6039215 h 6858000"/>
              <a:gd name="connsiteX389" fmla="*/ 3547861 w 7467600"/>
              <a:gd name="connsiteY389" fmla="*/ 6129609 h 6858000"/>
              <a:gd name="connsiteX390" fmla="*/ 3490905 w 7467600"/>
              <a:gd name="connsiteY390" fmla="*/ 6277660 h 6858000"/>
              <a:gd name="connsiteX391" fmla="*/ 3455859 w 7467600"/>
              <a:gd name="connsiteY391" fmla="*/ 6391301 h 6858000"/>
              <a:gd name="connsiteX392" fmla="*/ 3429112 w 7467600"/>
              <a:gd name="connsiteY392" fmla="*/ 6479469 h 6858000"/>
              <a:gd name="connsiteX393" fmla="*/ 3304862 w 7467600"/>
              <a:gd name="connsiteY393" fmla="*/ 6796476 h 6858000"/>
              <a:gd name="connsiteX394" fmla="*/ 3276071 w 7467600"/>
              <a:gd name="connsiteY394" fmla="*/ 6858000 h 6858000"/>
              <a:gd name="connsiteX395" fmla="*/ 3240805 w 7467600"/>
              <a:gd name="connsiteY395" fmla="*/ 6858000 h 6858000"/>
              <a:gd name="connsiteX396" fmla="*/ 3275917 w 7467600"/>
              <a:gd name="connsiteY396" fmla="*/ 6783192 h 6858000"/>
              <a:gd name="connsiteX397" fmla="*/ 3399358 w 7467600"/>
              <a:gd name="connsiteY397" fmla="*/ 6469011 h 6858000"/>
              <a:gd name="connsiteX398" fmla="*/ 3425650 w 7467600"/>
              <a:gd name="connsiteY398" fmla="*/ 6381333 h 6858000"/>
              <a:gd name="connsiteX399" fmla="*/ 3460661 w 7467600"/>
              <a:gd name="connsiteY399" fmla="*/ 6266763 h 6858000"/>
              <a:gd name="connsiteX400" fmla="*/ 3518021 w 7467600"/>
              <a:gd name="connsiteY400" fmla="*/ 6117298 h 6858000"/>
              <a:gd name="connsiteX401" fmla="*/ 3554035 w 7467600"/>
              <a:gd name="connsiteY401" fmla="*/ 6027832 h 6858000"/>
              <a:gd name="connsiteX402" fmla="*/ 3677174 w 7467600"/>
              <a:gd name="connsiteY402" fmla="*/ 5636351 h 6858000"/>
              <a:gd name="connsiteX403" fmla="*/ 3698819 w 7467600"/>
              <a:gd name="connsiteY403" fmla="*/ 5560503 h 6858000"/>
              <a:gd name="connsiteX404" fmla="*/ 3702094 w 7467600"/>
              <a:gd name="connsiteY404" fmla="*/ 5549194 h 6858000"/>
              <a:gd name="connsiteX405" fmla="*/ 3398355 w 7467600"/>
              <a:gd name="connsiteY405" fmla="*/ 6094603 h 6858000"/>
              <a:gd name="connsiteX406" fmla="*/ 3193941 w 7467600"/>
              <a:gd name="connsiteY406" fmla="*/ 6798775 h 6858000"/>
              <a:gd name="connsiteX407" fmla="*/ 3184140 w 7467600"/>
              <a:gd name="connsiteY407" fmla="*/ 6858000 h 6858000"/>
              <a:gd name="connsiteX408" fmla="*/ 3099978 w 7467600"/>
              <a:gd name="connsiteY408" fmla="*/ 6858000 h 6858000"/>
              <a:gd name="connsiteX409" fmla="*/ 3101556 w 7467600"/>
              <a:gd name="connsiteY409" fmla="*/ 6843337 h 6858000"/>
              <a:gd name="connsiteX410" fmla="*/ 3370162 w 7467600"/>
              <a:gd name="connsiteY410" fmla="*/ 5785550 h 6858000"/>
              <a:gd name="connsiteX411" fmla="*/ 3746477 w 7467600"/>
              <a:gd name="connsiteY411" fmla="*/ 5377889 h 6858000"/>
              <a:gd name="connsiteX412" fmla="*/ 3863399 w 7467600"/>
              <a:gd name="connsiteY412" fmla="*/ 5087257 h 6858000"/>
              <a:gd name="connsiteX413" fmla="*/ 3968712 w 7467600"/>
              <a:gd name="connsiteY413" fmla="*/ 4913989 h 6858000"/>
              <a:gd name="connsiteX414" fmla="*/ 2792390 w 7467600"/>
              <a:gd name="connsiteY414" fmla="*/ 5382974 h 6858000"/>
              <a:gd name="connsiteX415" fmla="*/ 2714982 w 7467600"/>
              <a:gd name="connsiteY415" fmla="*/ 5427051 h 6858000"/>
              <a:gd name="connsiteX416" fmla="*/ 2813361 w 7467600"/>
              <a:gd name="connsiteY416" fmla="*/ 6023912 h 6858000"/>
              <a:gd name="connsiteX417" fmla="*/ 2688430 w 7467600"/>
              <a:gd name="connsiteY417" fmla="*/ 6801564 h 6858000"/>
              <a:gd name="connsiteX418" fmla="*/ 2629626 w 7467600"/>
              <a:gd name="connsiteY418" fmla="*/ 6763394 h 6858000"/>
              <a:gd name="connsiteX419" fmla="*/ 2565328 w 7467600"/>
              <a:gd name="connsiteY419" fmla="*/ 5516399 h 6858000"/>
              <a:gd name="connsiteX420" fmla="*/ 1922999 w 7467600"/>
              <a:gd name="connsiteY420" fmla="*/ 5980343 h 6858000"/>
              <a:gd name="connsiteX421" fmla="*/ 1950261 w 7467600"/>
              <a:gd name="connsiteY421" fmla="*/ 6405858 h 6858000"/>
              <a:gd name="connsiteX422" fmla="*/ 2365554 w 7467600"/>
              <a:gd name="connsiteY422" fmla="*/ 6759107 h 6858000"/>
              <a:gd name="connsiteX423" fmla="*/ 2424142 w 7467600"/>
              <a:gd name="connsiteY423" fmla="*/ 6858000 h 6858000"/>
              <a:gd name="connsiteX424" fmla="*/ 2395994 w 7467600"/>
              <a:gd name="connsiteY424" fmla="*/ 6858000 h 6858000"/>
              <a:gd name="connsiteX425" fmla="*/ 2392863 w 7467600"/>
              <a:gd name="connsiteY425" fmla="*/ 6852964 h 6858000"/>
              <a:gd name="connsiteX426" fmla="*/ 2017589 w 7467600"/>
              <a:gd name="connsiteY426" fmla="*/ 6493982 h 6858000"/>
              <a:gd name="connsiteX427" fmla="*/ 2147336 w 7467600"/>
              <a:gd name="connsiteY427" fmla="*/ 6594052 h 6858000"/>
              <a:gd name="connsiteX428" fmla="*/ 2207047 w 7467600"/>
              <a:gd name="connsiteY428" fmla="*/ 6654540 h 6858000"/>
              <a:gd name="connsiteX429" fmla="*/ 2299106 w 7467600"/>
              <a:gd name="connsiteY429" fmla="*/ 6778931 h 6858000"/>
              <a:gd name="connsiteX430" fmla="*/ 2314430 w 7467600"/>
              <a:gd name="connsiteY430" fmla="*/ 6801144 h 6858000"/>
              <a:gd name="connsiteX431" fmla="*/ 2352406 w 7467600"/>
              <a:gd name="connsiteY431" fmla="*/ 6858000 h 6858000"/>
              <a:gd name="connsiteX432" fmla="*/ 2314492 w 7467600"/>
              <a:gd name="connsiteY432" fmla="*/ 6858000 h 6858000"/>
              <a:gd name="connsiteX433" fmla="*/ 2288095 w 7467600"/>
              <a:gd name="connsiteY433" fmla="*/ 6818030 h 6858000"/>
              <a:gd name="connsiteX434" fmla="*/ 2272768 w 7467600"/>
              <a:gd name="connsiteY434" fmla="*/ 6795822 h 6858000"/>
              <a:gd name="connsiteX435" fmla="*/ 2182715 w 7467600"/>
              <a:gd name="connsiteY435" fmla="*/ 6675071 h 6858000"/>
              <a:gd name="connsiteX436" fmla="*/ 2032061 w 7467600"/>
              <a:gd name="connsiteY436" fmla="*/ 6541380 h 6858000"/>
              <a:gd name="connsiteX437" fmla="*/ 2257220 w 7467600"/>
              <a:gd name="connsiteY437" fmla="*/ 6826257 h 6858000"/>
              <a:gd name="connsiteX438" fmla="*/ 2281324 w 7467600"/>
              <a:gd name="connsiteY438" fmla="*/ 6858000 h 6858000"/>
              <a:gd name="connsiteX439" fmla="*/ 2242860 w 7467600"/>
              <a:gd name="connsiteY439" fmla="*/ 6858000 h 6858000"/>
              <a:gd name="connsiteX440" fmla="*/ 2232818 w 7467600"/>
              <a:gd name="connsiteY440" fmla="*/ 6844926 h 6858000"/>
              <a:gd name="connsiteX441" fmla="*/ 1990172 w 7467600"/>
              <a:gd name="connsiteY441" fmla="*/ 6542121 h 6858000"/>
              <a:gd name="connsiteX442" fmla="*/ 2124090 w 7467600"/>
              <a:gd name="connsiteY442" fmla="*/ 6761017 h 6858000"/>
              <a:gd name="connsiteX443" fmla="*/ 2200380 w 7467600"/>
              <a:gd name="connsiteY443" fmla="*/ 6858000 h 6858000"/>
              <a:gd name="connsiteX444" fmla="*/ 2147507 w 7467600"/>
              <a:gd name="connsiteY444" fmla="*/ 6858000 h 6858000"/>
              <a:gd name="connsiteX445" fmla="*/ 2070668 w 7467600"/>
              <a:gd name="connsiteY445" fmla="*/ 6761520 h 6858000"/>
              <a:gd name="connsiteX446" fmla="*/ 1975142 w 7467600"/>
              <a:gd name="connsiteY446" fmla="*/ 6585570 h 6858000"/>
              <a:gd name="connsiteX447" fmla="*/ 2050035 w 7467600"/>
              <a:gd name="connsiteY447" fmla="*/ 6813345 h 6858000"/>
              <a:gd name="connsiteX448" fmla="*/ 2063025 w 7467600"/>
              <a:gd name="connsiteY448" fmla="*/ 6858000 h 6858000"/>
              <a:gd name="connsiteX449" fmla="*/ 2021675 w 7467600"/>
              <a:gd name="connsiteY449" fmla="*/ 6858000 h 6858000"/>
              <a:gd name="connsiteX450" fmla="*/ 2019308 w 7467600"/>
              <a:gd name="connsiteY450" fmla="*/ 6847118 h 6858000"/>
              <a:gd name="connsiteX451" fmla="*/ 1938835 w 7467600"/>
              <a:gd name="connsiteY451" fmla="*/ 6551160 h 6858000"/>
              <a:gd name="connsiteX452" fmla="*/ 1953230 w 7467600"/>
              <a:gd name="connsiteY452" fmla="*/ 6759699 h 6858000"/>
              <a:gd name="connsiteX453" fmla="*/ 1956763 w 7467600"/>
              <a:gd name="connsiteY453" fmla="*/ 6778191 h 6858000"/>
              <a:gd name="connsiteX454" fmla="*/ 1967925 w 7467600"/>
              <a:gd name="connsiteY454" fmla="*/ 6858000 h 6858000"/>
              <a:gd name="connsiteX455" fmla="*/ 1936622 w 7467600"/>
              <a:gd name="connsiteY455" fmla="*/ 6858000 h 6858000"/>
              <a:gd name="connsiteX456" fmla="*/ 1926261 w 7467600"/>
              <a:gd name="connsiteY456" fmla="*/ 6784064 h 6858000"/>
              <a:gd name="connsiteX457" fmla="*/ 1922724 w 7467600"/>
              <a:gd name="connsiteY457" fmla="*/ 6765577 h 6858000"/>
              <a:gd name="connsiteX458" fmla="*/ 1904650 w 7467600"/>
              <a:gd name="connsiteY458" fmla="*/ 6639616 h 6858000"/>
              <a:gd name="connsiteX459" fmla="*/ 1885273 w 7467600"/>
              <a:gd name="connsiteY459" fmla="*/ 6858000 h 6858000"/>
              <a:gd name="connsiteX460" fmla="*/ 1854363 w 7467600"/>
              <a:gd name="connsiteY460" fmla="*/ 6858000 h 6858000"/>
              <a:gd name="connsiteX461" fmla="*/ 1880391 w 7467600"/>
              <a:gd name="connsiteY461" fmla="*/ 6603796 h 6858000"/>
              <a:gd name="connsiteX462" fmla="*/ 1818273 w 7467600"/>
              <a:gd name="connsiteY462" fmla="*/ 6715729 h 6858000"/>
              <a:gd name="connsiteX463" fmla="*/ 1794691 w 7467600"/>
              <a:gd name="connsiteY463" fmla="*/ 6843239 h 6858000"/>
              <a:gd name="connsiteX464" fmla="*/ 1794914 w 7467600"/>
              <a:gd name="connsiteY464" fmla="*/ 6858000 h 6858000"/>
              <a:gd name="connsiteX465" fmla="*/ 1746128 w 7467600"/>
              <a:gd name="connsiteY465" fmla="*/ 6858000 h 6858000"/>
              <a:gd name="connsiteX466" fmla="*/ 1753934 w 7467600"/>
              <a:gd name="connsiteY466" fmla="*/ 6724796 h 6858000"/>
              <a:gd name="connsiteX467" fmla="*/ 1792053 w 7467600"/>
              <a:gd name="connsiteY467" fmla="*/ 6572396 h 6858000"/>
              <a:gd name="connsiteX468" fmla="*/ 1862248 w 7467600"/>
              <a:gd name="connsiteY468" fmla="*/ 6266397 h 6858000"/>
              <a:gd name="connsiteX469" fmla="*/ 1862250 w 7467600"/>
              <a:gd name="connsiteY469" fmla="*/ 6033531 h 6858000"/>
              <a:gd name="connsiteX470" fmla="*/ 1211999 w 7467600"/>
              <a:gd name="connsiteY470" fmla="*/ 6683610 h 6858000"/>
              <a:gd name="connsiteX471" fmla="*/ 1213266 w 7467600"/>
              <a:gd name="connsiteY471" fmla="*/ 6691947 h 6858000"/>
              <a:gd name="connsiteX472" fmla="*/ 1203370 w 7467600"/>
              <a:gd name="connsiteY472" fmla="*/ 6850676 h 6858000"/>
              <a:gd name="connsiteX473" fmla="*/ 1203671 w 7467600"/>
              <a:gd name="connsiteY473" fmla="*/ 6858000 h 6858000"/>
              <a:gd name="connsiteX474" fmla="*/ 1143180 w 7467600"/>
              <a:gd name="connsiteY474" fmla="*/ 6858000 h 6858000"/>
              <a:gd name="connsiteX475" fmla="*/ 1142176 w 7467600"/>
              <a:gd name="connsiteY475" fmla="*/ 6766045 h 6858000"/>
              <a:gd name="connsiteX476" fmla="*/ 1067484 w 7467600"/>
              <a:gd name="connsiteY476" fmla="*/ 6858000 h 6858000"/>
              <a:gd name="connsiteX477" fmla="*/ 953928 w 7467600"/>
              <a:gd name="connsiteY477" fmla="*/ 6858000 h 6858000"/>
              <a:gd name="connsiteX478" fmla="*/ 959715 w 7467600"/>
              <a:gd name="connsiteY478" fmla="*/ 6850185 h 6858000"/>
              <a:gd name="connsiteX479" fmla="*/ 1483788 w 7467600"/>
              <a:gd name="connsiteY479" fmla="*/ 6259174 h 6858000"/>
              <a:gd name="connsiteX480" fmla="*/ 1100671 w 7467600"/>
              <a:gd name="connsiteY480" fmla="*/ 6252137 h 6858000"/>
              <a:gd name="connsiteX481" fmla="*/ 1090144 w 7467600"/>
              <a:gd name="connsiteY481" fmla="*/ 6256748 h 6858000"/>
              <a:gd name="connsiteX482" fmla="*/ 1095872 w 7467600"/>
              <a:gd name="connsiteY482" fmla="*/ 6271892 h 6858000"/>
              <a:gd name="connsiteX483" fmla="*/ 262785 w 7467600"/>
              <a:gd name="connsiteY483" fmla="*/ 6845450 h 6858000"/>
              <a:gd name="connsiteX484" fmla="*/ 209968 w 7467600"/>
              <a:gd name="connsiteY484" fmla="*/ 6770713 h 6858000"/>
              <a:gd name="connsiteX485" fmla="*/ 873460 w 7467600"/>
              <a:gd name="connsiteY485" fmla="*/ 6253768 h 6858000"/>
              <a:gd name="connsiteX486" fmla="*/ 192686 w 7467600"/>
              <a:gd name="connsiteY486" fmla="*/ 5849257 h 6858000"/>
              <a:gd name="connsiteX487" fmla="*/ 4696 w 7467600"/>
              <a:gd name="connsiteY487" fmla="*/ 5697668 h 6858000"/>
              <a:gd name="connsiteX488" fmla="*/ 0 w 7467600"/>
              <a:gd name="connsiteY488" fmla="*/ 5689984 h 6858000"/>
              <a:gd name="connsiteX489" fmla="*/ 0 w 7467600"/>
              <a:gd name="connsiteY489" fmla="*/ 5513472 h 6858000"/>
              <a:gd name="connsiteX490" fmla="*/ 174101 w 7467600"/>
              <a:gd name="connsiteY490" fmla="*/ 5620277 h 6858000"/>
              <a:gd name="connsiteX491" fmla="*/ 891800 w 7467600"/>
              <a:gd name="connsiteY491" fmla="*/ 6036935 h 6858000"/>
              <a:gd name="connsiteX492" fmla="*/ 1072219 w 7467600"/>
              <a:gd name="connsiteY492" fmla="*/ 6169443 h 6858000"/>
              <a:gd name="connsiteX493" fmla="*/ 1074117 w 7467600"/>
              <a:gd name="connsiteY493" fmla="*/ 6170301 h 6858000"/>
              <a:gd name="connsiteX494" fmla="*/ 1083114 w 7467600"/>
              <a:gd name="connsiteY494" fmla="*/ 6174131 h 6858000"/>
              <a:gd name="connsiteX495" fmla="*/ 1543010 w 7467600"/>
              <a:gd name="connsiteY495" fmla="*/ 6191140 h 6858000"/>
              <a:gd name="connsiteX496" fmla="*/ 1551080 w 7467600"/>
              <a:gd name="connsiteY496" fmla="*/ 6195006 h 6858000"/>
              <a:gd name="connsiteX497" fmla="*/ 2345443 w 7467600"/>
              <a:gd name="connsiteY497" fmla="*/ 5549882 h 6858000"/>
              <a:gd name="connsiteX498" fmla="*/ 1721499 w 7467600"/>
              <a:gd name="connsiteY498" fmla="*/ 5599969 h 6858000"/>
              <a:gd name="connsiteX499" fmla="*/ 767716 w 7467600"/>
              <a:gd name="connsiteY499" fmla="*/ 5472768 h 6858000"/>
              <a:gd name="connsiteX500" fmla="*/ 722147 w 7467600"/>
              <a:gd name="connsiteY500" fmla="*/ 5393091 h 6858000"/>
              <a:gd name="connsiteX501" fmla="*/ 1485552 w 7467600"/>
              <a:gd name="connsiteY501" fmla="*/ 5313202 h 6858000"/>
              <a:gd name="connsiteX502" fmla="*/ 2143004 w 7467600"/>
              <a:gd name="connsiteY502" fmla="*/ 5402420 h 6858000"/>
              <a:gd name="connsiteX503" fmla="*/ 1933391 w 7467600"/>
              <a:gd name="connsiteY503" fmla="*/ 5156971 h 6858000"/>
              <a:gd name="connsiteX504" fmla="*/ 1827118 w 7467600"/>
              <a:gd name="connsiteY504" fmla="*/ 4968410 h 6858000"/>
              <a:gd name="connsiteX505" fmla="*/ 1837349 w 7467600"/>
              <a:gd name="connsiteY505" fmla="*/ 4956357 h 6858000"/>
              <a:gd name="connsiteX506" fmla="*/ 2162835 w 7467600"/>
              <a:gd name="connsiteY506" fmla="*/ 5187853 h 6858000"/>
              <a:gd name="connsiteX507" fmla="*/ 2257167 w 7467600"/>
              <a:gd name="connsiteY507" fmla="*/ 5462123 h 6858000"/>
              <a:gd name="connsiteX508" fmla="*/ 2261598 w 7467600"/>
              <a:gd name="connsiteY508" fmla="*/ 5467998 h 6858000"/>
              <a:gd name="connsiteX509" fmla="*/ 2437177 w 7467600"/>
              <a:gd name="connsiteY509" fmla="*/ 5479608 h 6858000"/>
              <a:gd name="connsiteX510" fmla="*/ 2445247 w 7467600"/>
              <a:gd name="connsiteY510" fmla="*/ 5483476 h 6858000"/>
              <a:gd name="connsiteX511" fmla="*/ 2743626 w 7467600"/>
              <a:gd name="connsiteY511" fmla="*/ 5304819 h 6858000"/>
              <a:gd name="connsiteX512" fmla="*/ 3048102 w 7467600"/>
              <a:gd name="connsiteY512" fmla="*/ 5150595 h 6858000"/>
              <a:gd name="connsiteX513" fmla="*/ 1799414 w 7467600"/>
              <a:gd name="connsiteY513" fmla="*/ 4694732 h 6858000"/>
              <a:gd name="connsiteX514" fmla="*/ 1771735 w 7467600"/>
              <a:gd name="connsiteY514" fmla="*/ 4619929 h 6858000"/>
              <a:gd name="connsiteX515" fmla="*/ 3104273 w 7467600"/>
              <a:gd name="connsiteY515" fmla="*/ 5076159 h 6858000"/>
              <a:gd name="connsiteX516" fmla="*/ 3113245 w 7467600"/>
              <a:gd name="connsiteY516" fmla="*/ 5090705 h 6858000"/>
              <a:gd name="connsiteX517" fmla="*/ 3126294 w 7467600"/>
              <a:gd name="connsiteY517" fmla="*/ 5114400 h 6858000"/>
              <a:gd name="connsiteX518" fmla="*/ 3937433 w 7467600"/>
              <a:gd name="connsiteY518" fmla="*/ 4830473 h 6858000"/>
              <a:gd name="connsiteX519" fmla="*/ 3590475 w 7467600"/>
              <a:gd name="connsiteY519" fmla="*/ 4597974 h 6858000"/>
              <a:gd name="connsiteX520" fmla="*/ 3100264 w 7467600"/>
              <a:gd name="connsiteY520" fmla="*/ 4579845 h 6858000"/>
              <a:gd name="connsiteX521" fmla="*/ 2183576 w 7467600"/>
              <a:gd name="connsiteY521" fmla="*/ 4227150 h 6858000"/>
              <a:gd name="connsiteX522" fmla="*/ 2151029 w 7467600"/>
              <a:gd name="connsiteY522" fmla="*/ 4146947 h 6858000"/>
              <a:gd name="connsiteX523" fmla="*/ 3563434 w 7467600"/>
              <a:gd name="connsiteY523" fmla="*/ 4469115 h 6858000"/>
              <a:gd name="connsiteX524" fmla="*/ 3177952 w 7467600"/>
              <a:gd name="connsiteY524" fmla="*/ 3657386 h 6858000"/>
              <a:gd name="connsiteX525" fmla="*/ 3189263 w 7467600"/>
              <a:gd name="connsiteY525" fmla="*/ 3625726 h 6858000"/>
              <a:gd name="connsiteX526" fmla="*/ 3560912 w 7467600"/>
              <a:gd name="connsiteY526" fmla="*/ 4079863 h 6858000"/>
              <a:gd name="connsiteX527" fmla="*/ 3626636 w 7467600"/>
              <a:gd name="connsiteY527" fmla="*/ 4512230 h 6858000"/>
              <a:gd name="connsiteX528" fmla="*/ 3653088 w 7467600"/>
              <a:gd name="connsiteY528" fmla="*/ 4521417 h 6858000"/>
              <a:gd name="connsiteX529" fmla="*/ 3988128 w 7467600"/>
              <a:gd name="connsiteY529" fmla="*/ 4817267 h 6858000"/>
              <a:gd name="connsiteX530" fmla="*/ 4830582 w 7467600"/>
              <a:gd name="connsiteY530" fmla="*/ 4676000 h 6858000"/>
              <a:gd name="connsiteX531" fmla="*/ 4830100 w 7467600"/>
              <a:gd name="connsiteY531" fmla="*/ 4675554 h 6858000"/>
              <a:gd name="connsiteX532" fmla="*/ 4036318 w 7467600"/>
              <a:gd name="connsiteY532" fmla="*/ 4147013 h 6858000"/>
              <a:gd name="connsiteX533" fmla="*/ 3432098 w 7467600"/>
              <a:gd name="connsiteY533" fmla="*/ 3537312 h 6858000"/>
              <a:gd name="connsiteX534" fmla="*/ 3446761 w 7467600"/>
              <a:gd name="connsiteY534" fmla="*/ 3461278 h 6858000"/>
              <a:gd name="connsiteX535" fmla="*/ 4419733 w 7467600"/>
              <a:gd name="connsiteY535" fmla="*/ 3963555 h 6858000"/>
              <a:gd name="connsiteX536" fmla="*/ 4781371 w 7467600"/>
              <a:gd name="connsiteY536" fmla="*/ 4458604 h 6858000"/>
              <a:gd name="connsiteX537" fmla="*/ 4780440 w 7467600"/>
              <a:gd name="connsiteY537" fmla="*/ 4470290 h 6858000"/>
              <a:gd name="connsiteX538" fmla="*/ 4898954 w 7467600"/>
              <a:gd name="connsiteY538" fmla="*/ 4662092 h 6858000"/>
              <a:gd name="connsiteX539" fmla="*/ 4900699 w 7467600"/>
              <a:gd name="connsiteY539" fmla="*/ 4670867 h 6858000"/>
              <a:gd name="connsiteX540" fmla="*/ 5714511 w 7467600"/>
              <a:gd name="connsiteY540" fmla="*/ 4663483 h 6858000"/>
              <a:gd name="connsiteX541" fmla="*/ 5464793 w 7467600"/>
              <a:gd name="connsiteY541" fmla="*/ 4393556 h 6858000"/>
              <a:gd name="connsiteX542" fmla="*/ 5461897 w 7467600"/>
              <a:gd name="connsiteY542" fmla="*/ 4390879 h 6858000"/>
              <a:gd name="connsiteX543" fmla="*/ 4294126 w 7467600"/>
              <a:gd name="connsiteY543" fmla="*/ 3303048 h 6858000"/>
              <a:gd name="connsiteX544" fmla="*/ 4305321 w 7467600"/>
              <a:gd name="connsiteY544" fmla="*/ 3256953 h 6858000"/>
              <a:gd name="connsiteX545" fmla="*/ 4949299 w 7467600"/>
              <a:gd name="connsiteY545" fmla="*/ 3766336 h 6858000"/>
              <a:gd name="connsiteX546" fmla="*/ 5291452 w 7467600"/>
              <a:gd name="connsiteY546" fmla="*/ 4076801 h 6858000"/>
              <a:gd name="connsiteX547" fmla="*/ 5434998 w 7467600"/>
              <a:gd name="connsiteY547" fmla="*/ 4254100 h 6858000"/>
              <a:gd name="connsiteX548" fmla="*/ 5351015 w 7467600"/>
              <a:gd name="connsiteY548" fmla="*/ 3760989 h 6858000"/>
              <a:gd name="connsiteX549" fmla="*/ 5413780 w 7467600"/>
              <a:gd name="connsiteY549" fmla="*/ 2966265 h 6858000"/>
              <a:gd name="connsiteX550" fmla="*/ 5425627 w 7467600"/>
              <a:gd name="connsiteY550" fmla="*/ 2954192 h 6858000"/>
              <a:gd name="connsiteX551" fmla="*/ 6604735 w 7467600"/>
              <a:gd name="connsiteY551" fmla="*/ 2041381 h 6858000"/>
              <a:gd name="connsiteX552" fmla="*/ 7204487 w 7467600"/>
              <a:gd name="connsiteY552" fmla="*/ 2742112 h 6858000"/>
              <a:gd name="connsiteX553" fmla="*/ 7131592 w 7467600"/>
              <a:gd name="connsiteY553" fmla="*/ 2672096 h 6858000"/>
              <a:gd name="connsiteX554" fmla="*/ 6996344 w 7467600"/>
              <a:gd name="connsiteY554" fmla="*/ 2518310 h 6858000"/>
              <a:gd name="connsiteX555" fmla="*/ 6735495 w 7467600"/>
              <a:gd name="connsiteY555" fmla="*/ 2196890 h 6858000"/>
              <a:gd name="connsiteX556" fmla="*/ 6721901 w 7467600"/>
              <a:gd name="connsiteY556" fmla="*/ 2179274 h 6858000"/>
              <a:gd name="connsiteX557" fmla="*/ 6604735 w 7467600"/>
              <a:gd name="connsiteY557" fmla="*/ 2041381 h 6858000"/>
              <a:gd name="connsiteX558" fmla="*/ 6591670 w 7467600"/>
              <a:gd name="connsiteY558" fmla="*/ 1988277 h 6858000"/>
              <a:gd name="connsiteX559" fmla="*/ 6747349 w 7467600"/>
              <a:gd name="connsiteY559" fmla="*/ 2160069 h 6858000"/>
              <a:gd name="connsiteX560" fmla="*/ 6760943 w 7467600"/>
              <a:gd name="connsiteY560" fmla="*/ 2177686 h 6858000"/>
              <a:gd name="connsiteX561" fmla="*/ 7021065 w 7467600"/>
              <a:gd name="connsiteY561" fmla="*/ 2498102 h 6858000"/>
              <a:gd name="connsiteX562" fmla="*/ 7155223 w 7467600"/>
              <a:gd name="connsiteY562" fmla="*/ 2650386 h 6858000"/>
              <a:gd name="connsiteX563" fmla="*/ 7203167 w 7467600"/>
              <a:gd name="connsiteY563" fmla="*/ 2697288 h 6858000"/>
              <a:gd name="connsiteX564" fmla="*/ 6937703 w 7467600"/>
              <a:gd name="connsiteY564" fmla="*/ 2321981 h 6858000"/>
              <a:gd name="connsiteX565" fmla="*/ 6591670 w 7467600"/>
              <a:gd name="connsiteY565" fmla="*/ 1988277 h 6858000"/>
              <a:gd name="connsiteX566" fmla="*/ 5798671 w 7467600"/>
              <a:gd name="connsiteY566" fmla="*/ 1981601 h 6858000"/>
              <a:gd name="connsiteX567" fmla="*/ 5754709 w 7467600"/>
              <a:gd name="connsiteY567" fmla="*/ 2071454 h 6858000"/>
              <a:gd name="connsiteX568" fmla="*/ 5763044 w 7467600"/>
              <a:gd name="connsiteY568" fmla="*/ 2842206 h 6858000"/>
              <a:gd name="connsiteX569" fmla="*/ 5764974 w 7467600"/>
              <a:gd name="connsiteY569" fmla="*/ 2799609 h 6858000"/>
              <a:gd name="connsiteX570" fmla="*/ 5767665 w 7467600"/>
              <a:gd name="connsiteY570" fmla="*/ 2666409 h 6858000"/>
              <a:gd name="connsiteX571" fmla="*/ 5763055 w 7467600"/>
              <a:gd name="connsiteY571" fmla="*/ 2579705 h 6858000"/>
              <a:gd name="connsiteX572" fmla="*/ 5758079 w 7467600"/>
              <a:gd name="connsiteY572" fmla="*/ 2492508 h 6858000"/>
              <a:gd name="connsiteX573" fmla="*/ 5779325 w 7467600"/>
              <a:gd name="connsiteY573" fmla="*/ 2197069 h 6858000"/>
              <a:gd name="connsiteX574" fmla="*/ 5798671 w 7467600"/>
              <a:gd name="connsiteY574" fmla="*/ 1981601 h 6858000"/>
              <a:gd name="connsiteX575" fmla="*/ 5829202 w 7467600"/>
              <a:gd name="connsiteY575" fmla="*/ 1971679 h 6858000"/>
              <a:gd name="connsiteX576" fmla="*/ 5809558 w 7467600"/>
              <a:gd name="connsiteY576" fmla="*/ 2198043 h 6858000"/>
              <a:gd name="connsiteX577" fmla="*/ 5788653 w 7467600"/>
              <a:gd name="connsiteY577" fmla="*/ 2489430 h 6858000"/>
              <a:gd name="connsiteX578" fmla="*/ 5793439 w 7467600"/>
              <a:gd name="connsiteY578" fmla="*/ 2575235 h 6858000"/>
              <a:gd name="connsiteX579" fmla="*/ 5796837 w 7467600"/>
              <a:gd name="connsiteY579" fmla="*/ 2637633 h 6858000"/>
              <a:gd name="connsiteX580" fmla="*/ 5818614 w 7467600"/>
              <a:gd name="connsiteY580" fmla="*/ 2473055 h 6858000"/>
              <a:gd name="connsiteX581" fmla="*/ 5829202 w 7467600"/>
              <a:gd name="connsiteY581" fmla="*/ 1971679 h 6858000"/>
              <a:gd name="connsiteX582" fmla="*/ 5911389 w 7467600"/>
              <a:gd name="connsiteY582" fmla="*/ 1898371 h 6858000"/>
              <a:gd name="connsiteX583" fmla="*/ 6237627 w 7467600"/>
              <a:gd name="connsiteY583" fmla="*/ 2231921 h 6858000"/>
              <a:gd name="connsiteX584" fmla="*/ 5911389 w 7467600"/>
              <a:gd name="connsiteY584" fmla="*/ 1898371 h 6858000"/>
              <a:gd name="connsiteX585" fmla="*/ 6944437 w 7467600"/>
              <a:gd name="connsiteY585" fmla="*/ 1575402 h 6858000"/>
              <a:gd name="connsiteX586" fmla="*/ 6304730 w 7467600"/>
              <a:gd name="connsiteY586" fmla="*/ 1766654 h 6858000"/>
              <a:gd name="connsiteX587" fmla="*/ 6944437 w 7467600"/>
              <a:gd name="connsiteY587" fmla="*/ 1575402 h 6858000"/>
              <a:gd name="connsiteX588" fmla="*/ 7019523 w 7467600"/>
              <a:gd name="connsiteY588" fmla="*/ 1519450 h 6858000"/>
              <a:gd name="connsiteX589" fmla="*/ 6298091 w 7467600"/>
              <a:gd name="connsiteY589" fmla="*/ 1737122 h 6858000"/>
              <a:gd name="connsiteX590" fmla="*/ 7019523 w 7467600"/>
              <a:gd name="connsiteY590" fmla="*/ 1519450 h 6858000"/>
              <a:gd name="connsiteX591" fmla="*/ 2399523 w 7467600"/>
              <a:gd name="connsiteY591" fmla="*/ 1428234 h 6858000"/>
              <a:gd name="connsiteX592" fmla="*/ 2224982 w 7467600"/>
              <a:gd name="connsiteY592" fmla="*/ 1826201 h 6858000"/>
              <a:gd name="connsiteX593" fmla="*/ 2096099 w 7467600"/>
              <a:gd name="connsiteY593" fmla="*/ 2345900 h 6858000"/>
              <a:gd name="connsiteX594" fmla="*/ 2283317 w 7467600"/>
              <a:gd name="connsiteY594" fmla="*/ 1796925 h 6858000"/>
              <a:gd name="connsiteX595" fmla="*/ 2399523 w 7467600"/>
              <a:gd name="connsiteY595" fmla="*/ 1428234 h 6858000"/>
              <a:gd name="connsiteX596" fmla="*/ 2448558 w 7467600"/>
              <a:gd name="connsiteY596" fmla="*/ 1373435 h 6858000"/>
              <a:gd name="connsiteX597" fmla="*/ 2312521 w 7467600"/>
              <a:gd name="connsiteY597" fmla="*/ 1806140 h 6858000"/>
              <a:gd name="connsiteX598" fmla="*/ 2127533 w 7467600"/>
              <a:gd name="connsiteY598" fmla="*/ 2348380 h 6858000"/>
              <a:gd name="connsiteX599" fmla="*/ 2358080 w 7467600"/>
              <a:gd name="connsiteY599" fmla="*/ 1866134 h 6858000"/>
              <a:gd name="connsiteX600" fmla="*/ 2407436 w 7467600"/>
              <a:gd name="connsiteY600" fmla="*/ 1651070 h 6858000"/>
              <a:gd name="connsiteX601" fmla="*/ 2448558 w 7467600"/>
              <a:gd name="connsiteY601" fmla="*/ 1373435 h 6858000"/>
              <a:gd name="connsiteX602" fmla="*/ 278707 w 7467600"/>
              <a:gd name="connsiteY602" fmla="*/ 1352270 h 6858000"/>
              <a:gd name="connsiteX603" fmla="*/ 321570 w 7467600"/>
              <a:gd name="connsiteY603" fmla="*/ 1861610 h 6858000"/>
              <a:gd name="connsiteX604" fmla="*/ 294281 w 7467600"/>
              <a:gd name="connsiteY604" fmla="*/ 1440658 h 6858000"/>
              <a:gd name="connsiteX605" fmla="*/ 278707 w 7467600"/>
              <a:gd name="connsiteY605" fmla="*/ 1352270 h 6858000"/>
              <a:gd name="connsiteX606" fmla="*/ 1423821 w 7467600"/>
              <a:gd name="connsiteY606" fmla="*/ 1351958 h 6858000"/>
              <a:gd name="connsiteX607" fmla="*/ 1638521 w 7467600"/>
              <a:gd name="connsiteY607" fmla="*/ 1908470 h 6858000"/>
              <a:gd name="connsiteX608" fmla="*/ 1754199 w 7467600"/>
              <a:gd name="connsiteY608" fmla="*/ 2149284 h 6858000"/>
              <a:gd name="connsiteX609" fmla="*/ 1908359 w 7467600"/>
              <a:gd name="connsiteY609" fmla="*/ 2364988 h 6858000"/>
              <a:gd name="connsiteX610" fmla="*/ 1647661 w 7467600"/>
              <a:gd name="connsiteY610" fmla="*/ 1825945 h 6858000"/>
              <a:gd name="connsiteX611" fmla="*/ 1423821 w 7467600"/>
              <a:gd name="connsiteY611" fmla="*/ 1351958 h 6858000"/>
              <a:gd name="connsiteX612" fmla="*/ 1431890 w 7467600"/>
              <a:gd name="connsiteY612" fmla="*/ 1306475 h 6858000"/>
              <a:gd name="connsiteX613" fmla="*/ 1507597 w 7467600"/>
              <a:gd name="connsiteY613" fmla="*/ 1446132 h 6858000"/>
              <a:gd name="connsiteX614" fmla="*/ 1674586 w 7467600"/>
              <a:gd name="connsiteY614" fmla="*/ 1813832 h 6858000"/>
              <a:gd name="connsiteX615" fmla="*/ 1815950 w 7467600"/>
              <a:gd name="connsiteY615" fmla="*/ 2128564 h 6858000"/>
              <a:gd name="connsiteX616" fmla="*/ 1984242 w 7467600"/>
              <a:gd name="connsiteY616" fmla="*/ 2430829 h 6858000"/>
              <a:gd name="connsiteX617" fmla="*/ 2014023 w 7467600"/>
              <a:gd name="connsiteY617" fmla="*/ 2450995 h 6858000"/>
              <a:gd name="connsiteX618" fmla="*/ 1747337 w 7467600"/>
              <a:gd name="connsiteY618" fmla="*/ 1855264 h 6858000"/>
              <a:gd name="connsiteX619" fmla="*/ 1533749 w 7467600"/>
              <a:gd name="connsiteY619" fmla="*/ 1478656 h 6858000"/>
              <a:gd name="connsiteX620" fmla="*/ 1431890 w 7467600"/>
              <a:gd name="connsiteY620" fmla="*/ 1306475 h 6858000"/>
              <a:gd name="connsiteX621" fmla="*/ 5052692 w 7467600"/>
              <a:gd name="connsiteY621" fmla="*/ 1292994 h 6858000"/>
              <a:gd name="connsiteX622" fmla="*/ 5200661 w 7467600"/>
              <a:gd name="connsiteY622" fmla="*/ 1635186 h 6858000"/>
              <a:gd name="connsiteX623" fmla="*/ 5297138 w 7467600"/>
              <a:gd name="connsiteY623" fmla="*/ 1906351 h 6858000"/>
              <a:gd name="connsiteX624" fmla="*/ 5052692 w 7467600"/>
              <a:gd name="connsiteY624" fmla="*/ 1292994 h 6858000"/>
              <a:gd name="connsiteX625" fmla="*/ 5009948 w 7467600"/>
              <a:gd name="connsiteY625" fmla="*/ 1273619 h 6858000"/>
              <a:gd name="connsiteX626" fmla="*/ 5121777 w 7467600"/>
              <a:gd name="connsiteY626" fmla="*/ 1654213 h 6858000"/>
              <a:gd name="connsiteX627" fmla="*/ 5293545 w 7467600"/>
              <a:gd name="connsiteY627" fmla="*/ 2072247 h 6858000"/>
              <a:gd name="connsiteX628" fmla="*/ 5294042 w 7467600"/>
              <a:gd name="connsiteY628" fmla="*/ 2065019 h 6858000"/>
              <a:gd name="connsiteX629" fmla="*/ 5171936 w 7467600"/>
              <a:gd name="connsiteY629" fmla="*/ 1647613 h 6858000"/>
              <a:gd name="connsiteX630" fmla="*/ 5009948 w 7467600"/>
              <a:gd name="connsiteY630" fmla="*/ 1273619 h 6858000"/>
              <a:gd name="connsiteX631" fmla="*/ 655236 w 7467600"/>
              <a:gd name="connsiteY631" fmla="*/ 1268632 h 6858000"/>
              <a:gd name="connsiteX632" fmla="*/ 839521 w 7467600"/>
              <a:gd name="connsiteY632" fmla="*/ 1685315 h 6858000"/>
              <a:gd name="connsiteX633" fmla="*/ 1109416 w 7467600"/>
              <a:gd name="connsiteY633" fmla="*/ 2061663 h 6858000"/>
              <a:gd name="connsiteX634" fmla="*/ 1298300 w 7467600"/>
              <a:gd name="connsiteY634" fmla="*/ 2247742 h 6858000"/>
              <a:gd name="connsiteX635" fmla="*/ 1125871 w 7467600"/>
              <a:gd name="connsiteY635" fmla="*/ 1989513 h 6858000"/>
              <a:gd name="connsiteX636" fmla="*/ 981574 w 7467600"/>
              <a:gd name="connsiteY636" fmla="*/ 1783157 h 6858000"/>
              <a:gd name="connsiteX637" fmla="*/ 922198 w 7467600"/>
              <a:gd name="connsiteY637" fmla="*/ 1677437 h 6858000"/>
              <a:gd name="connsiteX638" fmla="*/ 869293 w 7467600"/>
              <a:gd name="connsiteY638" fmla="*/ 1583214 h 6858000"/>
              <a:gd name="connsiteX639" fmla="*/ 751431 w 7467600"/>
              <a:gd name="connsiteY639" fmla="*/ 1405731 h 6858000"/>
              <a:gd name="connsiteX640" fmla="*/ 655236 w 7467600"/>
              <a:gd name="connsiteY640" fmla="*/ 1268632 h 6858000"/>
              <a:gd name="connsiteX641" fmla="*/ 6516292 w 7467600"/>
              <a:gd name="connsiteY641" fmla="*/ 1263064 h 6858000"/>
              <a:gd name="connsiteX642" fmla="*/ 5736320 w 7467600"/>
              <a:gd name="connsiteY642" fmla="*/ 1501803 h 6858000"/>
              <a:gd name="connsiteX643" fmla="*/ 6516292 w 7467600"/>
              <a:gd name="connsiteY643" fmla="*/ 1263064 h 6858000"/>
              <a:gd name="connsiteX644" fmla="*/ 291466 w 7467600"/>
              <a:gd name="connsiteY644" fmla="*/ 1250369 h 6858000"/>
              <a:gd name="connsiteX645" fmla="*/ 323180 w 7467600"/>
              <a:gd name="connsiteY645" fmla="*/ 1435283 h 6858000"/>
              <a:gd name="connsiteX646" fmla="*/ 349381 w 7467600"/>
              <a:gd name="connsiteY646" fmla="*/ 1875041 h 6858000"/>
              <a:gd name="connsiteX647" fmla="*/ 374363 w 7467600"/>
              <a:gd name="connsiteY647" fmla="*/ 1506494 h 6858000"/>
              <a:gd name="connsiteX648" fmla="*/ 302168 w 7467600"/>
              <a:gd name="connsiteY648" fmla="*/ 1274495 h 6858000"/>
              <a:gd name="connsiteX649" fmla="*/ 291466 w 7467600"/>
              <a:gd name="connsiteY649" fmla="*/ 1250369 h 6858000"/>
              <a:gd name="connsiteX650" fmla="*/ 678222 w 7467600"/>
              <a:gd name="connsiteY650" fmla="*/ 1248670 h 6858000"/>
              <a:gd name="connsiteX651" fmla="*/ 775536 w 7467600"/>
              <a:gd name="connsiteY651" fmla="*/ 1388015 h 6858000"/>
              <a:gd name="connsiteX652" fmla="*/ 894529 w 7467600"/>
              <a:gd name="connsiteY652" fmla="*/ 1567739 h 6858000"/>
              <a:gd name="connsiteX653" fmla="*/ 948000 w 7467600"/>
              <a:gd name="connsiteY653" fmla="*/ 1663088 h 6858000"/>
              <a:gd name="connsiteX654" fmla="*/ 1006812 w 7467600"/>
              <a:gd name="connsiteY654" fmla="*/ 1767683 h 6858000"/>
              <a:gd name="connsiteX655" fmla="*/ 1149133 w 7467600"/>
              <a:gd name="connsiteY655" fmla="*/ 1971513 h 6858000"/>
              <a:gd name="connsiteX656" fmla="*/ 1333952 w 7467600"/>
              <a:gd name="connsiteY656" fmla="*/ 2251620 h 6858000"/>
              <a:gd name="connsiteX657" fmla="*/ 1337329 w 7467600"/>
              <a:gd name="connsiteY657" fmla="*/ 2258350 h 6858000"/>
              <a:gd name="connsiteX658" fmla="*/ 1014726 w 7467600"/>
              <a:gd name="connsiteY658" fmla="*/ 1615556 h 6858000"/>
              <a:gd name="connsiteX659" fmla="*/ 678222 w 7467600"/>
              <a:gd name="connsiteY659" fmla="*/ 1248670 h 6858000"/>
              <a:gd name="connsiteX660" fmla="*/ 6691602 w 7467600"/>
              <a:gd name="connsiteY660" fmla="*/ 1140573 h 6858000"/>
              <a:gd name="connsiteX661" fmla="*/ 6571100 w 7467600"/>
              <a:gd name="connsiteY661" fmla="*/ 1183662 h 6858000"/>
              <a:gd name="connsiteX662" fmla="*/ 6241687 w 7467600"/>
              <a:gd name="connsiteY662" fmla="*/ 1257600 h 6858000"/>
              <a:gd name="connsiteX663" fmla="*/ 5693009 w 7467600"/>
              <a:gd name="connsiteY663" fmla="*/ 1478256 h 6858000"/>
              <a:gd name="connsiteX664" fmla="*/ 6548420 w 7467600"/>
              <a:gd name="connsiteY664" fmla="*/ 1214599 h 6858000"/>
              <a:gd name="connsiteX665" fmla="*/ 6605473 w 7467600"/>
              <a:gd name="connsiteY665" fmla="*/ 1184686 h 6858000"/>
              <a:gd name="connsiteX666" fmla="*/ 6691602 w 7467600"/>
              <a:gd name="connsiteY666" fmla="*/ 1140573 h 6858000"/>
              <a:gd name="connsiteX667" fmla="*/ 4002475 w 7467600"/>
              <a:gd name="connsiteY667" fmla="*/ 1037802 h 6858000"/>
              <a:gd name="connsiteX668" fmla="*/ 4000324 w 7467600"/>
              <a:gd name="connsiteY668" fmla="*/ 1039362 h 6858000"/>
              <a:gd name="connsiteX669" fmla="*/ 4002862 w 7467600"/>
              <a:gd name="connsiteY669" fmla="*/ 1042866 h 6858000"/>
              <a:gd name="connsiteX670" fmla="*/ 4002475 w 7467600"/>
              <a:gd name="connsiteY670" fmla="*/ 1037802 h 6858000"/>
              <a:gd name="connsiteX671" fmla="*/ 506322 w 7467600"/>
              <a:gd name="connsiteY671" fmla="*/ 1020997 h 6858000"/>
              <a:gd name="connsiteX672" fmla="*/ 533068 w 7467600"/>
              <a:gd name="connsiteY672" fmla="*/ 1029409 h 6858000"/>
              <a:gd name="connsiteX673" fmla="*/ 1232525 w 7467600"/>
              <a:gd name="connsiteY673" fmla="*/ 1804675 h 6858000"/>
              <a:gd name="connsiteX674" fmla="*/ 1388858 w 7467600"/>
              <a:gd name="connsiteY674" fmla="*/ 2368011 h 6858000"/>
              <a:gd name="connsiteX675" fmla="*/ 1384098 w 7467600"/>
              <a:gd name="connsiteY675" fmla="*/ 2378125 h 6858000"/>
              <a:gd name="connsiteX676" fmla="*/ 1425393 w 7467600"/>
              <a:gd name="connsiteY676" fmla="*/ 2589124 h 6858000"/>
              <a:gd name="connsiteX677" fmla="*/ 1424001 w 7467600"/>
              <a:gd name="connsiteY677" fmla="*/ 2597541 h 6858000"/>
              <a:gd name="connsiteX678" fmla="*/ 2152729 w 7467600"/>
              <a:gd name="connsiteY678" fmla="*/ 2864487 h 6858000"/>
              <a:gd name="connsiteX679" fmla="*/ 2020609 w 7467600"/>
              <a:gd name="connsiteY679" fmla="*/ 2539671 h 6858000"/>
              <a:gd name="connsiteX680" fmla="*/ 2018920 w 7467600"/>
              <a:gd name="connsiteY680" fmla="*/ 2536309 h 6858000"/>
              <a:gd name="connsiteX681" fmla="*/ 1342441 w 7467600"/>
              <a:gd name="connsiteY681" fmla="*/ 1173017 h 6858000"/>
              <a:gd name="connsiteX682" fmla="*/ 1367925 w 7467600"/>
              <a:gd name="connsiteY682" fmla="*/ 1135648 h 6858000"/>
              <a:gd name="connsiteX683" fmla="*/ 1771401 w 7467600"/>
              <a:gd name="connsiteY683" fmla="*/ 1806673 h 6858000"/>
              <a:gd name="connsiteX684" fmla="*/ 1972385 w 7467600"/>
              <a:gd name="connsiteY684" fmla="*/ 2198735 h 6858000"/>
              <a:gd name="connsiteX685" fmla="*/ 2040892 w 7467600"/>
              <a:gd name="connsiteY685" fmla="*/ 2405205 h 6858000"/>
              <a:gd name="connsiteX686" fmla="*/ 2131689 w 7467600"/>
              <a:gd name="connsiteY686" fmla="*/ 1936926 h 6858000"/>
              <a:gd name="connsiteX687" fmla="*/ 2454820 w 7467600"/>
              <a:gd name="connsiteY687" fmla="*/ 1248808 h 6858000"/>
              <a:gd name="connsiteX688" fmla="*/ 2492512 w 7467600"/>
              <a:gd name="connsiteY688" fmla="*/ 1302920 h 6858000"/>
              <a:gd name="connsiteX689" fmla="*/ 2081216 w 7467600"/>
              <a:gd name="connsiteY689" fmla="*/ 2527513 h 6858000"/>
              <a:gd name="connsiteX690" fmla="*/ 2081211 w 7467600"/>
              <a:gd name="connsiteY690" fmla="*/ 2528916 h 6858000"/>
              <a:gd name="connsiteX691" fmla="*/ 2199067 w 7467600"/>
              <a:gd name="connsiteY691" fmla="*/ 2884061 h 6858000"/>
              <a:gd name="connsiteX692" fmla="*/ 3192586 w 7467600"/>
              <a:gd name="connsiteY692" fmla="*/ 3411496 h 6858000"/>
              <a:gd name="connsiteX693" fmla="*/ 3182620 w 7467600"/>
              <a:gd name="connsiteY693" fmla="*/ 3483279 h 6858000"/>
              <a:gd name="connsiteX694" fmla="*/ 2435119 w 7467600"/>
              <a:gd name="connsiteY694" fmla="*/ 3080173 h 6858000"/>
              <a:gd name="connsiteX695" fmla="*/ 2410152 w 7467600"/>
              <a:gd name="connsiteY695" fmla="*/ 3063751 h 6858000"/>
              <a:gd name="connsiteX696" fmla="*/ 2408099 w 7467600"/>
              <a:gd name="connsiteY696" fmla="*/ 3064403 h 6858000"/>
              <a:gd name="connsiteX697" fmla="*/ 2407218 w 7467600"/>
              <a:gd name="connsiteY697" fmla="*/ 3070324 h 6858000"/>
              <a:gd name="connsiteX698" fmla="*/ 2380138 w 7467600"/>
              <a:gd name="connsiteY698" fmla="*/ 3099341 h 6858000"/>
              <a:gd name="connsiteX699" fmla="*/ 1765923 w 7467600"/>
              <a:gd name="connsiteY699" fmla="*/ 3581043 h 6858000"/>
              <a:gd name="connsiteX700" fmla="*/ 1702258 w 7467600"/>
              <a:gd name="connsiteY700" fmla="*/ 3612286 h 6858000"/>
              <a:gd name="connsiteX701" fmla="*/ 1538370 w 7467600"/>
              <a:gd name="connsiteY701" fmla="*/ 3811804 h 6858000"/>
              <a:gd name="connsiteX702" fmla="*/ 542867 w 7467600"/>
              <a:gd name="connsiteY702" fmla="*/ 4944092 h 6858000"/>
              <a:gd name="connsiteX703" fmla="*/ 515800 w 7467600"/>
              <a:gd name="connsiteY703" fmla="*/ 4862180 h 6858000"/>
              <a:gd name="connsiteX704" fmla="*/ 909145 w 7467600"/>
              <a:gd name="connsiteY704" fmla="*/ 4199225 h 6858000"/>
              <a:gd name="connsiteX705" fmla="*/ 1214067 w 7467600"/>
              <a:gd name="connsiteY705" fmla="*/ 3908561 h 6858000"/>
              <a:gd name="connsiteX706" fmla="*/ 640967 w 7467600"/>
              <a:gd name="connsiteY706" fmla="*/ 4105601 h 6858000"/>
              <a:gd name="connsiteX707" fmla="*/ 112563 w 7467600"/>
              <a:gd name="connsiteY707" fmla="*/ 4396952 h 6858000"/>
              <a:gd name="connsiteX708" fmla="*/ 0 w 7467600"/>
              <a:gd name="connsiteY708" fmla="*/ 4466006 h 6858000"/>
              <a:gd name="connsiteX709" fmla="*/ 0 w 7467600"/>
              <a:gd name="connsiteY709" fmla="*/ 4233763 h 6858000"/>
              <a:gd name="connsiteX710" fmla="*/ 36881 w 7467600"/>
              <a:gd name="connsiteY710" fmla="*/ 4200118 h 6858000"/>
              <a:gd name="connsiteX711" fmla="*/ 910534 w 7467600"/>
              <a:gd name="connsiteY711" fmla="*/ 3629753 h 6858000"/>
              <a:gd name="connsiteX712" fmla="*/ 1578717 w 7467600"/>
              <a:gd name="connsiteY712" fmla="*/ 3575982 h 6858000"/>
              <a:gd name="connsiteX713" fmla="*/ 2338780 w 7467600"/>
              <a:gd name="connsiteY713" fmla="*/ 3033725 h 6858000"/>
              <a:gd name="connsiteX714" fmla="*/ 1807991 w 7467600"/>
              <a:gd name="connsiteY714" fmla="*/ 2807184 h 6858000"/>
              <a:gd name="connsiteX715" fmla="*/ 1416358 w 7467600"/>
              <a:gd name="connsiteY715" fmla="*/ 3112571 h 6858000"/>
              <a:gd name="connsiteX716" fmla="*/ 939066 w 7467600"/>
              <a:gd name="connsiteY716" fmla="*/ 3378798 h 6858000"/>
              <a:gd name="connsiteX717" fmla="*/ 115099 w 7467600"/>
              <a:gd name="connsiteY717" fmla="*/ 3607650 h 6858000"/>
              <a:gd name="connsiteX718" fmla="*/ 97284 w 7467600"/>
              <a:gd name="connsiteY718" fmla="*/ 3520393 h 6858000"/>
              <a:gd name="connsiteX719" fmla="*/ 922050 w 7467600"/>
              <a:gd name="connsiteY719" fmla="*/ 3074867 h 6858000"/>
              <a:gd name="connsiteX720" fmla="*/ 1405265 w 7467600"/>
              <a:gd name="connsiteY720" fmla="*/ 3016319 h 6858000"/>
              <a:gd name="connsiteX721" fmla="*/ 1407512 w 7467600"/>
              <a:gd name="connsiteY721" fmla="*/ 3018001 h 6858000"/>
              <a:gd name="connsiteX722" fmla="*/ 1726266 w 7467600"/>
              <a:gd name="connsiteY722" fmla="*/ 2777274 h 6858000"/>
              <a:gd name="connsiteX723" fmla="*/ 625390 w 7467600"/>
              <a:gd name="connsiteY723" fmla="*/ 2514541 h 6858000"/>
              <a:gd name="connsiteX724" fmla="*/ 619799 w 7467600"/>
              <a:gd name="connsiteY724" fmla="*/ 2527180 h 6858000"/>
              <a:gd name="connsiteX725" fmla="*/ 310030 w 7467600"/>
              <a:gd name="connsiteY725" fmla="*/ 2771818 h 6858000"/>
              <a:gd name="connsiteX726" fmla="*/ 173877 w 7467600"/>
              <a:gd name="connsiteY726" fmla="*/ 2937056 h 6858000"/>
              <a:gd name="connsiteX727" fmla="*/ 77889 w 7467600"/>
              <a:gd name="connsiteY727" fmla="*/ 3138440 h 6858000"/>
              <a:gd name="connsiteX728" fmla="*/ 0 w 7467600"/>
              <a:gd name="connsiteY728" fmla="*/ 3271395 h 6858000"/>
              <a:gd name="connsiteX729" fmla="*/ 0 w 7467600"/>
              <a:gd name="connsiteY729" fmla="*/ 3153002 h 6858000"/>
              <a:gd name="connsiteX730" fmla="*/ 2386 w 7467600"/>
              <a:gd name="connsiteY730" fmla="*/ 3149203 h 6858000"/>
              <a:gd name="connsiteX731" fmla="*/ 89753 w 7467600"/>
              <a:gd name="connsiteY731" fmla="*/ 2987702 h 6858000"/>
              <a:gd name="connsiteX732" fmla="*/ 76869 w 7467600"/>
              <a:gd name="connsiteY732" fmla="*/ 3005404 h 6858000"/>
              <a:gd name="connsiteX733" fmla="*/ 32049 w 7467600"/>
              <a:gd name="connsiteY733" fmla="*/ 3065814 h 6858000"/>
              <a:gd name="connsiteX734" fmla="*/ 0 w 7467600"/>
              <a:gd name="connsiteY734" fmla="*/ 3108744 h 6858000"/>
              <a:gd name="connsiteX735" fmla="*/ 0 w 7467600"/>
              <a:gd name="connsiteY735" fmla="*/ 3058059 h 6858000"/>
              <a:gd name="connsiteX736" fmla="*/ 7610 w 7467600"/>
              <a:gd name="connsiteY736" fmla="*/ 3047889 h 6858000"/>
              <a:gd name="connsiteX737" fmla="*/ 52419 w 7467600"/>
              <a:gd name="connsiteY737" fmla="*/ 2987479 h 6858000"/>
              <a:gd name="connsiteX738" fmla="*/ 59142 w 7467600"/>
              <a:gd name="connsiteY738" fmla="*/ 2978488 h 6858000"/>
              <a:gd name="connsiteX739" fmla="*/ 0 w 7467600"/>
              <a:gd name="connsiteY739" fmla="*/ 3015334 h 6858000"/>
              <a:gd name="connsiteX740" fmla="*/ 0 w 7467600"/>
              <a:gd name="connsiteY740" fmla="*/ 2914286 h 6858000"/>
              <a:gd name="connsiteX741" fmla="*/ 36383 w 7467600"/>
              <a:gd name="connsiteY741" fmla="*/ 2901128 h 6858000"/>
              <a:gd name="connsiteX742" fmla="*/ 156329 w 7467600"/>
              <a:gd name="connsiteY742" fmla="*/ 2840533 h 6858000"/>
              <a:gd name="connsiteX743" fmla="*/ 358355 w 7467600"/>
              <a:gd name="connsiteY743" fmla="*/ 2620471 h 6858000"/>
              <a:gd name="connsiteX744" fmla="*/ 510577 w 7467600"/>
              <a:gd name="connsiteY744" fmla="*/ 2501244 h 6858000"/>
              <a:gd name="connsiteX745" fmla="*/ 211967 w 7467600"/>
              <a:gd name="connsiteY745" fmla="*/ 2479171 h 6858000"/>
              <a:gd name="connsiteX746" fmla="*/ 0 w 7467600"/>
              <a:gd name="connsiteY746" fmla="*/ 2476398 h 6858000"/>
              <a:gd name="connsiteX747" fmla="*/ 0 w 7467600"/>
              <a:gd name="connsiteY747" fmla="*/ 2389189 h 6858000"/>
              <a:gd name="connsiteX748" fmla="*/ 103062 w 7467600"/>
              <a:gd name="connsiteY748" fmla="*/ 2389518 h 6858000"/>
              <a:gd name="connsiteX749" fmla="*/ 510734 w 7467600"/>
              <a:gd name="connsiteY749" fmla="*/ 2416201 h 6858000"/>
              <a:gd name="connsiteX750" fmla="*/ 279257 w 7467600"/>
              <a:gd name="connsiteY750" fmla="*/ 2092102 h 6858000"/>
              <a:gd name="connsiteX751" fmla="*/ 65265 w 7467600"/>
              <a:gd name="connsiteY751" fmla="*/ 2006049 h 6858000"/>
              <a:gd name="connsiteX752" fmla="*/ 0 w 7467600"/>
              <a:gd name="connsiteY752" fmla="*/ 1982532 h 6858000"/>
              <a:gd name="connsiteX753" fmla="*/ 0 w 7467600"/>
              <a:gd name="connsiteY753" fmla="*/ 1912789 h 6858000"/>
              <a:gd name="connsiteX754" fmla="*/ 97460 w 7467600"/>
              <a:gd name="connsiteY754" fmla="*/ 1953725 h 6858000"/>
              <a:gd name="connsiteX755" fmla="*/ 221272 w 7467600"/>
              <a:gd name="connsiteY755" fmla="*/ 1980766 h 6858000"/>
              <a:gd name="connsiteX756" fmla="*/ 116765 w 7467600"/>
              <a:gd name="connsiteY756" fmla="*/ 1911033 h 6858000"/>
              <a:gd name="connsiteX757" fmla="*/ 16405 w 7467600"/>
              <a:gd name="connsiteY757" fmla="*/ 1803412 h 6858000"/>
              <a:gd name="connsiteX758" fmla="*/ 0 w 7467600"/>
              <a:gd name="connsiteY758" fmla="*/ 1784777 h 6858000"/>
              <a:gd name="connsiteX759" fmla="*/ 0 w 7467600"/>
              <a:gd name="connsiteY759" fmla="*/ 1740082 h 6858000"/>
              <a:gd name="connsiteX760" fmla="*/ 39394 w 7467600"/>
              <a:gd name="connsiteY760" fmla="*/ 1784856 h 6858000"/>
              <a:gd name="connsiteX761" fmla="*/ 135813 w 7467600"/>
              <a:gd name="connsiteY761" fmla="*/ 1888838 h 6858000"/>
              <a:gd name="connsiteX762" fmla="*/ 242575 w 7467600"/>
              <a:gd name="connsiteY762" fmla="*/ 1958841 h 6858000"/>
              <a:gd name="connsiteX763" fmla="*/ 82197 w 7467600"/>
              <a:gd name="connsiteY763" fmla="*/ 1754826 h 6858000"/>
              <a:gd name="connsiteX764" fmla="*/ 0 w 7467600"/>
              <a:gd name="connsiteY764" fmla="*/ 1679650 h 6858000"/>
              <a:gd name="connsiteX765" fmla="*/ 0 w 7467600"/>
              <a:gd name="connsiteY765" fmla="*/ 1602463 h 6858000"/>
              <a:gd name="connsiteX766" fmla="*/ 84689 w 7467600"/>
              <a:gd name="connsiteY766" fmla="*/ 1677442 h 6858000"/>
              <a:gd name="connsiteX767" fmla="*/ 298437 w 7467600"/>
              <a:gd name="connsiteY767" fmla="*/ 1968019 h 6858000"/>
              <a:gd name="connsiteX768" fmla="*/ 227269 w 7467600"/>
              <a:gd name="connsiteY768" fmla="*/ 1114064 h 6858000"/>
              <a:gd name="connsiteX769" fmla="*/ 248003 w 7467600"/>
              <a:gd name="connsiteY769" fmla="*/ 1089613 h 6858000"/>
              <a:gd name="connsiteX770" fmla="*/ 427020 w 7467600"/>
              <a:gd name="connsiteY770" fmla="*/ 1619803 h 6858000"/>
              <a:gd name="connsiteX771" fmla="*/ 340345 w 7467600"/>
              <a:gd name="connsiteY771" fmla="*/ 2027739 h 6858000"/>
              <a:gd name="connsiteX772" fmla="*/ 360865 w 7467600"/>
              <a:gd name="connsiteY772" fmla="*/ 2044827 h 6858000"/>
              <a:gd name="connsiteX773" fmla="*/ 560414 w 7467600"/>
              <a:gd name="connsiteY773" fmla="*/ 2421457 h 6858000"/>
              <a:gd name="connsiteX774" fmla="*/ 1359703 w 7467600"/>
              <a:gd name="connsiteY774" fmla="*/ 2578554 h 6858000"/>
              <a:gd name="connsiteX775" fmla="*/ 1359422 w 7467600"/>
              <a:gd name="connsiteY775" fmla="*/ 2577994 h 6858000"/>
              <a:gd name="connsiteX776" fmla="*/ 828701 w 7467600"/>
              <a:gd name="connsiteY776" fmla="*/ 1839520 h 6858000"/>
              <a:gd name="connsiteX777" fmla="*/ 494427 w 7467600"/>
              <a:gd name="connsiteY777" fmla="*/ 1092333 h 6858000"/>
              <a:gd name="connsiteX778" fmla="*/ 506322 w 7467600"/>
              <a:gd name="connsiteY778" fmla="*/ 1020997 h 6858000"/>
              <a:gd name="connsiteX779" fmla="*/ 4570198 w 7467600"/>
              <a:gd name="connsiteY779" fmla="*/ 978081 h 6858000"/>
              <a:gd name="connsiteX780" fmla="*/ 4523691 w 7467600"/>
              <a:gd name="connsiteY780" fmla="*/ 1127776 h 6858000"/>
              <a:gd name="connsiteX781" fmla="*/ 4509875 w 7467600"/>
              <a:gd name="connsiteY781" fmla="*/ 1167552 h 6858000"/>
              <a:gd name="connsiteX782" fmla="*/ 4478168 w 7467600"/>
              <a:gd name="connsiteY782" fmla="*/ 1260735 h 6858000"/>
              <a:gd name="connsiteX783" fmla="*/ 4409309 w 7467600"/>
              <a:gd name="connsiteY783" fmla="*/ 1666996 h 6858000"/>
              <a:gd name="connsiteX784" fmla="*/ 4370031 w 7467600"/>
              <a:gd name="connsiteY784" fmla="*/ 1955666 h 6858000"/>
              <a:gd name="connsiteX785" fmla="*/ 4570198 w 7467600"/>
              <a:gd name="connsiteY785" fmla="*/ 978081 h 6858000"/>
              <a:gd name="connsiteX786" fmla="*/ 4557898 w 7467600"/>
              <a:gd name="connsiteY786" fmla="*/ 900011 h 6858000"/>
              <a:gd name="connsiteX787" fmla="*/ 4344840 w 7467600"/>
              <a:gd name="connsiteY787" fmla="*/ 1922038 h 6858000"/>
              <a:gd name="connsiteX788" fmla="*/ 4378710 w 7467600"/>
              <a:gd name="connsiteY788" fmla="*/ 1665516 h 6858000"/>
              <a:gd name="connsiteX789" fmla="*/ 4448798 w 7467600"/>
              <a:gd name="connsiteY789" fmla="*/ 1253024 h 6858000"/>
              <a:gd name="connsiteX790" fmla="*/ 4480315 w 7467600"/>
              <a:gd name="connsiteY790" fmla="*/ 1158454 h 6858000"/>
              <a:gd name="connsiteX791" fmla="*/ 4494133 w 7467600"/>
              <a:gd name="connsiteY791" fmla="*/ 1118676 h 6858000"/>
              <a:gd name="connsiteX792" fmla="*/ 4557898 w 7467600"/>
              <a:gd name="connsiteY792" fmla="*/ 900011 h 6858000"/>
              <a:gd name="connsiteX793" fmla="*/ 5870151 w 7467600"/>
              <a:gd name="connsiteY793" fmla="*/ 898890 h 6858000"/>
              <a:gd name="connsiteX794" fmla="*/ 5861335 w 7467600"/>
              <a:gd name="connsiteY794" fmla="*/ 899177 h 6858000"/>
              <a:gd name="connsiteX795" fmla="*/ 5843702 w 7467600"/>
              <a:gd name="connsiteY795" fmla="*/ 899748 h 6858000"/>
              <a:gd name="connsiteX796" fmla="*/ 5651107 w 7467600"/>
              <a:gd name="connsiteY796" fmla="*/ 920306 h 6858000"/>
              <a:gd name="connsiteX797" fmla="*/ 5459407 w 7467600"/>
              <a:gd name="connsiteY797" fmla="*/ 940975 h 6858000"/>
              <a:gd name="connsiteX798" fmla="*/ 5374846 w 7467600"/>
              <a:gd name="connsiteY798" fmla="*/ 941988 h 6858000"/>
              <a:gd name="connsiteX799" fmla="*/ 5256105 w 7467600"/>
              <a:gd name="connsiteY799" fmla="*/ 945632 h 6858000"/>
              <a:gd name="connsiteX800" fmla="*/ 5107071 w 7467600"/>
              <a:gd name="connsiteY800" fmla="*/ 969720 h 6858000"/>
              <a:gd name="connsiteX801" fmla="*/ 4998681 w 7467600"/>
              <a:gd name="connsiteY801" fmla="*/ 988771 h 6858000"/>
              <a:gd name="connsiteX802" fmla="*/ 5870151 w 7467600"/>
              <a:gd name="connsiteY802" fmla="*/ 898890 h 6858000"/>
              <a:gd name="connsiteX803" fmla="*/ 5504425 w 7467600"/>
              <a:gd name="connsiteY803" fmla="*/ 848067 h 6858000"/>
              <a:gd name="connsiteX804" fmla="*/ 4968849 w 7467600"/>
              <a:gd name="connsiteY804" fmla="*/ 962318 h 6858000"/>
              <a:gd name="connsiteX805" fmla="*/ 5104039 w 7467600"/>
              <a:gd name="connsiteY805" fmla="*/ 940634 h 6858000"/>
              <a:gd name="connsiteX806" fmla="*/ 5256311 w 7467600"/>
              <a:gd name="connsiteY806" fmla="*/ 916490 h 6858000"/>
              <a:gd name="connsiteX807" fmla="*/ 5377381 w 7467600"/>
              <a:gd name="connsiteY807" fmla="*/ 912671 h 6858000"/>
              <a:gd name="connsiteX808" fmla="*/ 5460148 w 7467600"/>
              <a:gd name="connsiteY808" fmla="*/ 911442 h 6858000"/>
              <a:gd name="connsiteX809" fmla="*/ 5648971 w 7467600"/>
              <a:gd name="connsiteY809" fmla="*/ 891331 h 6858000"/>
              <a:gd name="connsiteX810" fmla="*/ 5844807 w 7467600"/>
              <a:gd name="connsiteY810" fmla="*/ 870718 h 6858000"/>
              <a:gd name="connsiteX811" fmla="*/ 5862975 w 7467600"/>
              <a:gd name="connsiteY811" fmla="*/ 869756 h 6858000"/>
              <a:gd name="connsiteX812" fmla="*/ 5920887 w 7467600"/>
              <a:gd name="connsiteY812" fmla="*/ 865929 h 6858000"/>
              <a:gd name="connsiteX813" fmla="*/ 5504425 w 7467600"/>
              <a:gd name="connsiteY813" fmla="*/ 848067 h 6858000"/>
              <a:gd name="connsiteX814" fmla="*/ 3607114 w 7467600"/>
              <a:gd name="connsiteY814" fmla="*/ 467441 h 6858000"/>
              <a:gd name="connsiteX815" fmla="*/ 3296242 w 7467600"/>
              <a:gd name="connsiteY815" fmla="*/ 807991 h 6858000"/>
              <a:gd name="connsiteX816" fmla="*/ 3174674 w 7467600"/>
              <a:gd name="connsiteY816" fmla="*/ 919759 h 6858000"/>
              <a:gd name="connsiteX817" fmla="*/ 3042978 w 7467600"/>
              <a:gd name="connsiteY817" fmla="*/ 1054894 h 6858000"/>
              <a:gd name="connsiteX818" fmla="*/ 2968914 w 7467600"/>
              <a:gd name="connsiteY818" fmla="*/ 1133756 h 6858000"/>
              <a:gd name="connsiteX819" fmla="*/ 3103823 w 7467600"/>
              <a:gd name="connsiteY819" fmla="*/ 1026814 h 6858000"/>
              <a:gd name="connsiteX820" fmla="*/ 3607114 w 7467600"/>
              <a:gd name="connsiteY820" fmla="*/ 467441 h 6858000"/>
              <a:gd name="connsiteX821" fmla="*/ 3744487 w 7467600"/>
              <a:gd name="connsiteY821" fmla="*/ 383136 h 6858000"/>
              <a:gd name="connsiteX822" fmla="*/ 3970213 w 7467600"/>
              <a:gd name="connsiteY822" fmla="*/ 995559 h 6858000"/>
              <a:gd name="connsiteX823" fmla="*/ 3744487 w 7467600"/>
              <a:gd name="connsiteY823" fmla="*/ 383136 h 6858000"/>
              <a:gd name="connsiteX824" fmla="*/ 3624562 w 7467600"/>
              <a:gd name="connsiteY824" fmla="*/ 367041 h 6858000"/>
              <a:gd name="connsiteX825" fmla="*/ 3489712 w 7467600"/>
              <a:gd name="connsiteY825" fmla="*/ 485386 h 6858000"/>
              <a:gd name="connsiteX826" fmla="*/ 3182994 w 7467600"/>
              <a:gd name="connsiteY826" fmla="*/ 828265 h 6858000"/>
              <a:gd name="connsiteX827" fmla="*/ 2892114 w 7467600"/>
              <a:gd name="connsiteY827" fmla="*/ 1172635 h 6858000"/>
              <a:gd name="connsiteX828" fmla="*/ 3021459 w 7467600"/>
              <a:gd name="connsiteY828" fmla="*/ 1035385 h 6858000"/>
              <a:gd name="connsiteX829" fmla="*/ 3153873 w 7467600"/>
              <a:gd name="connsiteY829" fmla="*/ 898971 h 6858000"/>
              <a:gd name="connsiteX830" fmla="*/ 3276511 w 7467600"/>
              <a:gd name="connsiteY830" fmla="*/ 786423 h 6858000"/>
              <a:gd name="connsiteX831" fmla="*/ 3584154 w 7467600"/>
              <a:gd name="connsiteY831" fmla="*/ 448218 h 6858000"/>
              <a:gd name="connsiteX832" fmla="*/ 3624562 w 7467600"/>
              <a:gd name="connsiteY832" fmla="*/ 367041 h 6858000"/>
              <a:gd name="connsiteX833" fmla="*/ 3766672 w 7467600"/>
              <a:gd name="connsiteY833" fmla="*/ 359429 h 6858000"/>
              <a:gd name="connsiteX834" fmla="*/ 3996338 w 7467600"/>
              <a:gd name="connsiteY834" fmla="*/ 968237 h 6858000"/>
              <a:gd name="connsiteX835" fmla="*/ 3766672 w 7467600"/>
              <a:gd name="connsiteY835" fmla="*/ 359429 h 6858000"/>
              <a:gd name="connsiteX836" fmla="*/ 5805386 w 7467600"/>
              <a:gd name="connsiteY836" fmla="*/ 239240 h 6858000"/>
              <a:gd name="connsiteX837" fmla="*/ 5736947 w 7467600"/>
              <a:gd name="connsiteY837" fmla="*/ 261367 h 6858000"/>
              <a:gd name="connsiteX838" fmla="*/ 5427012 w 7467600"/>
              <a:gd name="connsiteY838" fmla="*/ 311272 h 6858000"/>
              <a:gd name="connsiteX839" fmla="*/ 5147818 w 7467600"/>
              <a:gd name="connsiteY839" fmla="*/ 322112 h 6858000"/>
              <a:gd name="connsiteX840" fmla="*/ 5060854 w 7467600"/>
              <a:gd name="connsiteY840" fmla="*/ 311882 h 6858000"/>
              <a:gd name="connsiteX841" fmla="*/ 4945989 w 7467600"/>
              <a:gd name="connsiteY841" fmla="*/ 300516 h 6858000"/>
              <a:gd name="connsiteX842" fmla="*/ 5410479 w 7467600"/>
              <a:gd name="connsiteY842" fmla="*/ 348434 h 6858000"/>
              <a:gd name="connsiteX843" fmla="*/ 5805386 w 7467600"/>
              <a:gd name="connsiteY843" fmla="*/ 239240 h 6858000"/>
              <a:gd name="connsiteX844" fmla="*/ 7419999 w 7467600"/>
              <a:gd name="connsiteY844" fmla="*/ 774360 h 6858000"/>
              <a:gd name="connsiteX845" fmla="*/ 7467600 w 7467600"/>
              <a:gd name="connsiteY845" fmla="*/ 789215 h 6858000"/>
              <a:gd name="connsiteX846" fmla="*/ 7451412 w 7467600"/>
              <a:gd name="connsiteY846" fmla="*/ 799572 h 6858000"/>
              <a:gd name="connsiteX847" fmla="*/ 7419999 w 7467600"/>
              <a:gd name="connsiteY847" fmla="*/ 774360 h 6858000"/>
              <a:gd name="connsiteX848" fmla="*/ 5905192 w 7467600"/>
              <a:gd name="connsiteY848" fmla="*/ 163079 h 6858000"/>
              <a:gd name="connsiteX849" fmla="*/ 5865655 w 7467600"/>
              <a:gd name="connsiteY849" fmla="*/ 171901 h 6858000"/>
              <a:gd name="connsiteX850" fmla="*/ 5259740 w 7467600"/>
              <a:gd name="connsiteY850" fmla="*/ 257013 h 6858000"/>
              <a:gd name="connsiteX851" fmla="*/ 5208466 w 7467600"/>
              <a:gd name="connsiteY851" fmla="*/ 257550 h 6858000"/>
              <a:gd name="connsiteX852" fmla="*/ 4980204 w 7467600"/>
              <a:gd name="connsiteY852" fmla="*/ 271903 h 6858000"/>
              <a:gd name="connsiteX853" fmla="*/ 5068068 w 7467600"/>
              <a:gd name="connsiteY853" fmla="*/ 282244 h 6858000"/>
              <a:gd name="connsiteX854" fmla="*/ 5153231 w 7467600"/>
              <a:gd name="connsiteY854" fmla="*/ 292240 h 6858000"/>
              <a:gd name="connsiteX855" fmla="*/ 5426491 w 7467600"/>
              <a:gd name="connsiteY855" fmla="*/ 281128 h 6858000"/>
              <a:gd name="connsiteX856" fmla="*/ 5731212 w 7467600"/>
              <a:gd name="connsiteY856" fmla="*/ 231951 h 6858000"/>
              <a:gd name="connsiteX857" fmla="*/ 5905192 w 7467600"/>
              <a:gd name="connsiteY857" fmla="*/ 163079 h 6858000"/>
              <a:gd name="connsiteX858" fmla="*/ 5944437 w 7467600"/>
              <a:gd name="connsiteY858" fmla="*/ 113829 h 6858000"/>
              <a:gd name="connsiteX859" fmla="*/ 5825032 w 7467600"/>
              <a:gd name="connsiteY859" fmla="*/ 146405 h 6858000"/>
              <a:gd name="connsiteX860" fmla="*/ 4955599 w 7467600"/>
              <a:gd name="connsiteY860" fmla="*/ 247008 h 6858000"/>
              <a:gd name="connsiteX861" fmla="*/ 5210104 w 7467600"/>
              <a:gd name="connsiteY861" fmla="*/ 228123 h 6858000"/>
              <a:gd name="connsiteX862" fmla="*/ 5261015 w 7467600"/>
              <a:gd name="connsiteY862" fmla="*/ 227087 h 6858000"/>
              <a:gd name="connsiteX863" fmla="*/ 5861181 w 7467600"/>
              <a:gd name="connsiteY863" fmla="*/ 143093 h 6858000"/>
              <a:gd name="connsiteX864" fmla="*/ 5961252 w 7467600"/>
              <a:gd name="connsiteY864" fmla="*/ 114820 h 6858000"/>
              <a:gd name="connsiteX865" fmla="*/ 5944437 w 7467600"/>
              <a:gd name="connsiteY865" fmla="*/ 113829 h 6858000"/>
              <a:gd name="connsiteX866" fmla="*/ 3882765 w 7467600"/>
              <a:gd name="connsiteY866" fmla="*/ 0 h 6858000"/>
              <a:gd name="connsiteX867" fmla="*/ 3995099 w 7467600"/>
              <a:gd name="connsiteY867" fmla="*/ 0 h 6858000"/>
              <a:gd name="connsiteX868" fmla="*/ 4163818 w 7467600"/>
              <a:gd name="connsiteY868" fmla="*/ 234104 h 6858000"/>
              <a:gd name="connsiteX869" fmla="*/ 4172099 w 7467600"/>
              <a:gd name="connsiteY869" fmla="*/ 234207 h 6858000"/>
              <a:gd name="connsiteX870" fmla="*/ 4784282 w 7467600"/>
              <a:gd name="connsiteY870" fmla="*/ 276561 h 6858000"/>
              <a:gd name="connsiteX871" fmla="*/ 4801687 w 7467600"/>
              <a:gd name="connsiteY871" fmla="*/ 267764 h 6858000"/>
              <a:gd name="connsiteX872" fmla="*/ 6082788 w 7467600"/>
              <a:gd name="connsiteY872" fmla="*/ 64119 h 6858000"/>
              <a:gd name="connsiteX873" fmla="*/ 6099442 w 7467600"/>
              <a:gd name="connsiteY873" fmla="*/ 82568 h 6858000"/>
              <a:gd name="connsiteX874" fmla="*/ 4804137 w 7467600"/>
              <a:gd name="connsiteY874" fmla="*/ 320931 h 6858000"/>
              <a:gd name="connsiteX875" fmla="*/ 4227047 w 7467600"/>
              <a:gd name="connsiteY875" fmla="*/ 313415 h 6858000"/>
              <a:gd name="connsiteX876" fmla="*/ 4346041 w 7467600"/>
              <a:gd name="connsiteY876" fmla="*/ 456086 h 6858000"/>
              <a:gd name="connsiteX877" fmla="*/ 4870967 w 7467600"/>
              <a:gd name="connsiteY877" fmla="*/ 963061 h 6858000"/>
              <a:gd name="connsiteX878" fmla="*/ 4889647 w 7467600"/>
              <a:gd name="connsiteY878" fmla="*/ 957147 h 6858000"/>
              <a:gd name="connsiteX879" fmla="*/ 5422504 w 7467600"/>
              <a:gd name="connsiteY879" fmla="*/ 805191 h 6858000"/>
              <a:gd name="connsiteX880" fmla="*/ 6087656 w 7467600"/>
              <a:gd name="connsiteY880" fmla="*/ 826703 h 6858000"/>
              <a:gd name="connsiteX881" fmla="*/ 6058717 w 7467600"/>
              <a:gd name="connsiteY881" fmla="*/ 865992 h 6858000"/>
              <a:gd name="connsiteX882" fmla="*/ 4974153 w 7467600"/>
              <a:gd name="connsiteY882" fmla="*/ 1045456 h 6858000"/>
              <a:gd name="connsiteX883" fmla="*/ 5627835 w 7467600"/>
              <a:gd name="connsiteY883" fmla="*/ 1472077 h 6858000"/>
              <a:gd name="connsiteX884" fmla="*/ 5629817 w 7467600"/>
              <a:gd name="connsiteY884" fmla="*/ 1471412 h 6858000"/>
              <a:gd name="connsiteX885" fmla="*/ 5634124 w 7467600"/>
              <a:gd name="connsiteY885" fmla="*/ 1470572 h 6858000"/>
              <a:gd name="connsiteX886" fmla="*/ 5755832 w 7467600"/>
              <a:gd name="connsiteY886" fmla="*/ 1383886 h 6858000"/>
              <a:gd name="connsiteX887" fmla="*/ 6014186 w 7467600"/>
              <a:gd name="connsiteY887" fmla="*/ 1279799 h 6858000"/>
              <a:gd name="connsiteX888" fmla="*/ 6901619 w 7467600"/>
              <a:gd name="connsiteY888" fmla="*/ 1047874 h 6858000"/>
              <a:gd name="connsiteX889" fmla="*/ 6931566 w 7467600"/>
              <a:gd name="connsiteY889" fmla="*/ 1062034 h 6858000"/>
              <a:gd name="connsiteX890" fmla="*/ 5790982 w 7467600"/>
              <a:gd name="connsiteY890" fmla="*/ 1561380 h 6858000"/>
              <a:gd name="connsiteX891" fmla="*/ 6188971 w 7467600"/>
              <a:gd name="connsiteY891" fmla="*/ 1755168 h 6858000"/>
              <a:gd name="connsiteX892" fmla="*/ 6202446 w 7467600"/>
              <a:gd name="connsiteY892" fmla="*/ 1752268 h 6858000"/>
              <a:gd name="connsiteX893" fmla="*/ 7179560 w 7467600"/>
              <a:gd name="connsiteY893" fmla="*/ 1467551 h 6858000"/>
              <a:gd name="connsiteX894" fmla="*/ 7158730 w 7467600"/>
              <a:gd name="connsiteY894" fmla="*/ 1507835 h 6858000"/>
              <a:gd name="connsiteX895" fmla="*/ 6326959 w 7467600"/>
              <a:gd name="connsiteY895" fmla="*/ 1817686 h 6858000"/>
              <a:gd name="connsiteX896" fmla="*/ 6537433 w 7467600"/>
              <a:gd name="connsiteY896" fmla="*/ 1907790 h 6858000"/>
              <a:gd name="connsiteX897" fmla="*/ 6550221 w 7467600"/>
              <a:gd name="connsiteY897" fmla="*/ 1910729 h 6858000"/>
              <a:gd name="connsiteX898" fmla="*/ 6964438 w 7467600"/>
              <a:gd name="connsiteY898" fmla="*/ 2209505 h 6858000"/>
              <a:gd name="connsiteX899" fmla="*/ 7367862 w 7467600"/>
              <a:gd name="connsiteY899" fmla="*/ 2806833 h 6858000"/>
              <a:gd name="connsiteX900" fmla="*/ 7364329 w 7467600"/>
              <a:gd name="connsiteY900" fmla="*/ 2826907 h 6858000"/>
              <a:gd name="connsiteX901" fmla="*/ 7290545 w 7467600"/>
              <a:gd name="connsiteY901" fmla="*/ 2850663 h 6858000"/>
              <a:gd name="connsiteX902" fmla="*/ 6472036 w 7467600"/>
              <a:gd name="connsiteY902" fmla="*/ 1959003 h 6858000"/>
              <a:gd name="connsiteX903" fmla="*/ 5792897 w 7467600"/>
              <a:gd name="connsiteY903" fmla="*/ 1647747 h 6858000"/>
              <a:gd name="connsiteX904" fmla="*/ 5842751 w 7467600"/>
              <a:gd name="connsiteY904" fmla="*/ 1816112 h 6858000"/>
              <a:gd name="connsiteX905" fmla="*/ 5847424 w 7467600"/>
              <a:gd name="connsiteY905" fmla="*/ 1815776 h 6858000"/>
              <a:gd name="connsiteX906" fmla="*/ 6399821 w 7467600"/>
              <a:gd name="connsiteY906" fmla="*/ 2344799 h 6858000"/>
              <a:gd name="connsiteX907" fmla="*/ 6323232 w 7467600"/>
              <a:gd name="connsiteY907" fmla="*/ 2389634 h 6858000"/>
              <a:gd name="connsiteX908" fmla="*/ 5942958 w 7467600"/>
              <a:gd name="connsiteY908" fmla="*/ 2077708 h 6858000"/>
              <a:gd name="connsiteX909" fmla="*/ 5921559 w 7467600"/>
              <a:gd name="connsiteY909" fmla="*/ 2378596 h 6858000"/>
              <a:gd name="connsiteX910" fmla="*/ 5817651 w 7467600"/>
              <a:gd name="connsiteY910" fmla="*/ 3023919 h 6858000"/>
              <a:gd name="connsiteX911" fmla="*/ 5729634 w 7467600"/>
              <a:gd name="connsiteY911" fmla="*/ 3051849 h 6858000"/>
              <a:gd name="connsiteX912" fmla="*/ 5611018 w 7467600"/>
              <a:gd name="connsiteY912" fmla="*/ 2316769 h 6858000"/>
              <a:gd name="connsiteX913" fmla="*/ 5687608 w 7467600"/>
              <a:gd name="connsiteY913" fmla="*/ 2039972 h 6858000"/>
              <a:gd name="connsiteX914" fmla="*/ 5657554 w 7467600"/>
              <a:gd name="connsiteY914" fmla="*/ 1576445 h 6858000"/>
              <a:gd name="connsiteX915" fmla="*/ 5150475 w 7467600"/>
              <a:gd name="connsiteY915" fmla="*/ 1274012 h 6858000"/>
              <a:gd name="connsiteX916" fmla="*/ 5349142 w 7467600"/>
              <a:gd name="connsiteY916" fmla="*/ 2204405 h 6858000"/>
              <a:gd name="connsiteX917" fmla="*/ 5262214 w 7467600"/>
              <a:gd name="connsiteY917" fmla="*/ 2233836 h 6858000"/>
              <a:gd name="connsiteX918" fmla="*/ 4981539 w 7467600"/>
              <a:gd name="connsiteY918" fmla="*/ 1542201 h 6858000"/>
              <a:gd name="connsiteX919" fmla="*/ 4958461 w 7467600"/>
              <a:gd name="connsiteY919" fmla="*/ 1136957 h 6858000"/>
              <a:gd name="connsiteX920" fmla="*/ 4655015 w 7467600"/>
              <a:gd name="connsiteY920" fmla="*/ 891426 h 6858000"/>
              <a:gd name="connsiteX921" fmla="*/ 4348002 w 7467600"/>
              <a:gd name="connsiteY921" fmla="*/ 2205895 h 6858000"/>
              <a:gd name="connsiteX922" fmla="*/ 4262250 w 7467600"/>
              <a:gd name="connsiteY922" fmla="*/ 2219972 h 6858000"/>
              <a:gd name="connsiteX923" fmla="*/ 4550611 w 7467600"/>
              <a:gd name="connsiteY923" fmla="*/ 817540 h 6858000"/>
              <a:gd name="connsiteX924" fmla="*/ 4564418 w 7467600"/>
              <a:gd name="connsiteY924" fmla="*/ 808293 h 6858000"/>
              <a:gd name="connsiteX925" fmla="*/ 4266388 w 7467600"/>
              <a:gd name="connsiteY925" fmla="*/ 500083 h 6858000"/>
              <a:gd name="connsiteX926" fmla="*/ 4032842 w 7467600"/>
              <a:gd name="connsiteY926" fmla="*/ 211809 h 6858000"/>
              <a:gd name="connsiteX927" fmla="*/ 3882765 w 7467600"/>
              <a:gd name="connsiteY927" fmla="*/ 0 h 6858000"/>
              <a:gd name="connsiteX928" fmla="*/ 3721337 w 7467600"/>
              <a:gd name="connsiteY928" fmla="*/ 0 h 6858000"/>
              <a:gd name="connsiteX929" fmla="*/ 3797544 w 7467600"/>
              <a:gd name="connsiteY929" fmla="*/ 0 h 6858000"/>
              <a:gd name="connsiteX930" fmla="*/ 3775734 w 7467600"/>
              <a:gd name="connsiteY930" fmla="*/ 95131 h 6858000"/>
              <a:gd name="connsiteX931" fmla="*/ 3724807 w 7467600"/>
              <a:gd name="connsiteY931" fmla="*/ 272257 h 6858000"/>
              <a:gd name="connsiteX932" fmla="*/ 3726844 w 7467600"/>
              <a:gd name="connsiteY932" fmla="*/ 282988 h 6858000"/>
              <a:gd name="connsiteX933" fmla="*/ 3742664 w 7467600"/>
              <a:gd name="connsiteY933" fmla="*/ 279918 h 6858000"/>
              <a:gd name="connsiteX934" fmla="*/ 4103910 w 7467600"/>
              <a:gd name="connsiteY934" fmla="*/ 1161917 h 6858000"/>
              <a:gd name="connsiteX935" fmla="*/ 4020269 w 7467600"/>
              <a:gd name="connsiteY935" fmla="*/ 1200406 h 6858000"/>
              <a:gd name="connsiteX936" fmla="*/ 3674882 w 7467600"/>
              <a:gd name="connsiteY936" fmla="*/ 488524 h 6858000"/>
              <a:gd name="connsiteX937" fmla="*/ 3132682 w 7467600"/>
              <a:gd name="connsiteY937" fmla="*/ 1072284 h 6858000"/>
              <a:gd name="connsiteX938" fmla="*/ 2716346 w 7467600"/>
              <a:gd name="connsiteY938" fmla="*/ 1276376 h 6858000"/>
              <a:gd name="connsiteX939" fmla="*/ 2716772 w 7467600"/>
              <a:gd name="connsiteY939" fmla="*/ 1255462 h 6858000"/>
              <a:gd name="connsiteX940" fmla="*/ 3471096 w 7467600"/>
              <a:gd name="connsiteY940" fmla="*/ 437072 h 6858000"/>
              <a:gd name="connsiteX941" fmla="*/ 3639057 w 7467600"/>
              <a:gd name="connsiteY941" fmla="*/ 286334 h 6858000"/>
              <a:gd name="connsiteX942" fmla="*/ 3640309 w 7467600"/>
              <a:gd name="connsiteY942" fmla="*/ 284664 h 6858000"/>
              <a:gd name="connsiteX943" fmla="*/ 3646022 w 7467600"/>
              <a:gd name="connsiteY943" fmla="*/ 276711 h 6858000"/>
              <a:gd name="connsiteX944" fmla="*/ 3707943 w 7467600"/>
              <a:gd name="connsiteY944" fmla="*/ 65958 h 6858000"/>
              <a:gd name="connsiteX945" fmla="*/ 3721337 w 7467600"/>
              <a:gd name="connsiteY945" fmla="*/ 0 h 6858000"/>
              <a:gd name="connsiteX946" fmla="*/ 2867960 w 7467600"/>
              <a:gd name="connsiteY946" fmla="*/ 0 h 6858000"/>
              <a:gd name="connsiteX947" fmla="*/ 2926351 w 7467600"/>
              <a:gd name="connsiteY947" fmla="*/ 0 h 6858000"/>
              <a:gd name="connsiteX948" fmla="*/ 2902823 w 7467600"/>
              <a:gd name="connsiteY948" fmla="*/ 262929 h 6858000"/>
              <a:gd name="connsiteX949" fmla="*/ 2940663 w 7467600"/>
              <a:gd name="connsiteY949" fmla="*/ 140884 h 6858000"/>
              <a:gd name="connsiteX950" fmla="*/ 2947039 w 7467600"/>
              <a:gd name="connsiteY950" fmla="*/ 122524 h 6858000"/>
              <a:gd name="connsiteX951" fmla="*/ 2984316 w 7467600"/>
              <a:gd name="connsiteY951" fmla="*/ 0 h 6858000"/>
              <a:gd name="connsiteX952" fmla="*/ 3016114 w 7467600"/>
              <a:gd name="connsiteY952" fmla="*/ 0 h 6858000"/>
              <a:gd name="connsiteX953" fmla="*/ 2979949 w 7467600"/>
              <a:gd name="connsiteY953" fmla="*/ 119274 h 6858000"/>
              <a:gd name="connsiteX954" fmla="*/ 3023879 w 7467600"/>
              <a:gd name="connsiteY954" fmla="*/ 0 h 6858000"/>
              <a:gd name="connsiteX955" fmla="*/ 3105400 w 7467600"/>
              <a:gd name="connsiteY955" fmla="*/ 0 h 6858000"/>
              <a:gd name="connsiteX956" fmla="*/ 3094669 w 7467600"/>
              <a:gd name="connsiteY956" fmla="*/ 30308 h 6858000"/>
              <a:gd name="connsiteX957" fmla="*/ 2901945 w 7467600"/>
              <a:gd name="connsiteY957" fmla="*/ 466538 h 6858000"/>
              <a:gd name="connsiteX958" fmla="*/ 2815209 w 7467600"/>
              <a:gd name="connsiteY958" fmla="*/ 497361 h 6858000"/>
              <a:gd name="connsiteX959" fmla="*/ 2844845 w 7467600"/>
              <a:gd name="connsiteY959" fmla="*/ 127638 h 6858000"/>
              <a:gd name="connsiteX960" fmla="*/ 2867960 w 7467600"/>
              <a:gd name="connsiteY960" fmla="*/ 0 h 6858000"/>
              <a:gd name="connsiteX961" fmla="*/ 1057230 w 7467600"/>
              <a:gd name="connsiteY961" fmla="*/ 0 h 6858000"/>
              <a:gd name="connsiteX962" fmla="*/ 1111003 w 7467600"/>
              <a:gd name="connsiteY962" fmla="*/ 0 h 6858000"/>
              <a:gd name="connsiteX963" fmla="*/ 1125553 w 7467600"/>
              <a:gd name="connsiteY963" fmla="*/ 52588 h 6858000"/>
              <a:gd name="connsiteX964" fmla="*/ 1304276 w 7467600"/>
              <a:gd name="connsiteY964" fmla="*/ 476275 h 6858000"/>
              <a:gd name="connsiteX965" fmla="*/ 1492066 w 7467600"/>
              <a:gd name="connsiteY965" fmla="*/ 886333 h 6858000"/>
              <a:gd name="connsiteX966" fmla="*/ 1423698 w 7467600"/>
              <a:gd name="connsiteY966" fmla="*/ 710817 h 6858000"/>
              <a:gd name="connsiteX967" fmla="*/ 1357609 w 7467600"/>
              <a:gd name="connsiteY967" fmla="*/ 532892 h 6858000"/>
              <a:gd name="connsiteX968" fmla="*/ 1309550 w 7467600"/>
              <a:gd name="connsiteY968" fmla="*/ 374031 h 6858000"/>
              <a:gd name="connsiteX969" fmla="*/ 1193673 w 7467600"/>
              <a:gd name="connsiteY969" fmla="*/ 49533 h 6858000"/>
              <a:gd name="connsiteX970" fmla="*/ 1164391 w 7467600"/>
              <a:gd name="connsiteY970" fmla="*/ 0 h 6858000"/>
              <a:gd name="connsiteX971" fmla="*/ 1200666 w 7467600"/>
              <a:gd name="connsiteY971" fmla="*/ 0 h 6858000"/>
              <a:gd name="connsiteX972" fmla="*/ 1223408 w 7467600"/>
              <a:gd name="connsiteY972" fmla="*/ 38996 h 6858000"/>
              <a:gd name="connsiteX973" fmla="*/ 1339635 w 7467600"/>
              <a:gd name="connsiteY973" fmla="*/ 365517 h 6858000"/>
              <a:gd name="connsiteX974" fmla="*/ 1387469 w 7467600"/>
              <a:gd name="connsiteY974" fmla="*/ 523079 h 6858000"/>
              <a:gd name="connsiteX975" fmla="*/ 1452685 w 7467600"/>
              <a:gd name="connsiteY975" fmla="*/ 699806 h 6858000"/>
              <a:gd name="connsiteX976" fmla="*/ 1492092 w 7467600"/>
              <a:gd name="connsiteY976" fmla="*/ 800424 h 6858000"/>
              <a:gd name="connsiteX977" fmla="*/ 1455302 w 7467600"/>
              <a:gd name="connsiteY977" fmla="*/ 632913 h 6858000"/>
              <a:gd name="connsiteX978" fmla="*/ 1222336 w 7467600"/>
              <a:gd name="connsiteY978" fmla="*/ 9480 h 6858000"/>
              <a:gd name="connsiteX979" fmla="*/ 1214634 w 7467600"/>
              <a:gd name="connsiteY979" fmla="*/ 0 h 6858000"/>
              <a:gd name="connsiteX980" fmla="*/ 1289827 w 7467600"/>
              <a:gd name="connsiteY980" fmla="*/ 0 h 6858000"/>
              <a:gd name="connsiteX981" fmla="*/ 1321076 w 7467600"/>
              <a:gd name="connsiteY981" fmla="*/ 59722 h 6858000"/>
              <a:gd name="connsiteX982" fmla="*/ 1512579 w 7467600"/>
              <a:gd name="connsiteY982" fmla="*/ 626441 h 6858000"/>
              <a:gd name="connsiteX983" fmla="*/ 1506076 w 7467600"/>
              <a:gd name="connsiteY983" fmla="*/ 1089289 h 6858000"/>
              <a:gd name="connsiteX984" fmla="*/ 1486346 w 7467600"/>
              <a:gd name="connsiteY984" fmla="*/ 1079919 h 6858000"/>
              <a:gd name="connsiteX985" fmla="*/ 1070511 w 7467600"/>
              <a:gd name="connsiteY985" fmla="*/ 48609 h 6858000"/>
              <a:gd name="connsiteX986" fmla="*/ 1057230 w 7467600"/>
              <a:gd name="connsiteY986" fmla="*/ 0 h 6858000"/>
              <a:gd name="connsiteX987" fmla="*/ 43151 w 7467600"/>
              <a:gd name="connsiteY987" fmla="*/ 0 h 6858000"/>
              <a:gd name="connsiteX988" fmla="*/ 95283 w 7467600"/>
              <a:gd name="connsiteY988" fmla="*/ 0 h 6858000"/>
              <a:gd name="connsiteX989" fmla="*/ 300708 w 7467600"/>
              <a:gd name="connsiteY989" fmla="*/ 154571 h 6858000"/>
              <a:gd name="connsiteX990" fmla="*/ 530414 w 7467600"/>
              <a:gd name="connsiteY990" fmla="*/ 354673 h 6858000"/>
              <a:gd name="connsiteX991" fmla="*/ 333785 w 7467600"/>
              <a:gd name="connsiteY991" fmla="*/ 161564 h 6858000"/>
              <a:gd name="connsiteX992" fmla="*/ 147005 w 7467600"/>
              <a:gd name="connsiteY992" fmla="*/ 0 h 6858000"/>
              <a:gd name="connsiteX993" fmla="*/ 272509 w 7467600"/>
              <a:gd name="connsiteY993" fmla="*/ 0 h 6858000"/>
              <a:gd name="connsiteX994" fmla="*/ 326276 w 7467600"/>
              <a:gd name="connsiteY994" fmla="*/ 45847 h 6858000"/>
              <a:gd name="connsiteX995" fmla="*/ 823759 w 7467600"/>
              <a:gd name="connsiteY995" fmla="*/ 574145 h 6858000"/>
              <a:gd name="connsiteX996" fmla="*/ 811254 w 7467600"/>
              <a:gd name="connsiteY996" fmla="*/ 665546 h 6858000"/>
              <a:gd name="connsiteX997" fmla="*/ 154042 w 7467600"/>
              <a:gd name="connsiteY997" fmla="*/ 261522 h 6858000"/>
              <a:gd name="connsiteX998" fmla="*/ 13550 w 7467600"/>
              <a:gd name="connsiteY998" fmla="*/ 158423 h 6858000"/>
              <a:gd name="connsiteX999" fmla="*/ 0 w 7467600"/>
              <a:gd name="connsiteY999" fmla="*/ 146618 h 6858000"/>
              <a:gd name="connsiteX1000" fmla="*/ 0 w 7467600"/>
              <a:gd name="connsiteY1000" fmla="*/ 59161 h 6858000"/>
              <a:gd name="connsiteX1001" fmla="*/ 45427 w 7467600"/>
              <a:gd name="connsiteY1001" fmla="*/ 101078 h 6858000"/>
              <a:gd name="connsiteX1002" fmla="*/ 630103 w 7467600"/>
              <a:gd name="connsiteY1002" fmla="*/ 485885 h 6858000"/>
              <a:gd name="connsiteX1003" fmla="*/ 532040 w 7467600"/>
              <a:gd name="connsiteY1003" fmla="*/ 399359 h 6858000"/>
              <a:gd name="connsiteX1004" fmla="*/ 517618 w 7467600"/>
              <a:gd name="connsiteY1004" fmla="*/ 385726 h 6858000"/>
              <a:gd name="connsiteX1005" fmla="*/ 285074 w 7467600"/>
              <a:gd name="connsiteY1005" fmla="*/ 182755 h 6858000"/>
              <a:gd name="connsiteX1006" fmla="*/ 43151 w 7467600"/>
              <a:gd name="connsiteY1006"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133363 w 7467600"/>
              <a:gd name="connsiteY127" fmla="*/ 5050246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7327465 w 7467600"/>
              <a:gd name="connsiteY139" fmla="*/ 5174181 h 6858000"/>
              <a:gd name="connsiteX140" fmla="*/ 7244057 w 7467600"/>
              <a:gd name="connsiteY140" fmla="*/ 5124233 h 6858000"/>
              <a:gd name="connsiteX141" fmla="*/ 7353035 w 7467600"/>
              <a:gd name="connsiteY141" fmla="*/ 5197318 h 6858000"/>
              <a:gd name="connsiteX142" fmla="*/ 7467600 w 7467600"/>
              <a:gd name="connsiteY142" fmla="*/ 5297634 h 6858000"/>
              <a:gd name="connsiteX143" fmla="*/ 7467600 w 7467600"/>
              <a:gd name="connsiteY143" fmla="*/ 5361850 h 6858000"/>
              <a:gd name="connsiteX144" fmla="*/ 7368569 w 7467600"/>
              <a:gd name="connsiteY144" fmla="*/ 5270182 h 6858000"/>
              <a:gd name="connsiteX145" fmla="*/ 7131946 w 7467600"/>
              <a:gd name="connsiteY145" fmla="*/ 5075653 h 6858000"/>
              <a:gd name="connsiteX146" fmla="*/ 7133363 w 7467600"/>
              <a:gd name="connsiteY146" fmla="*/ 5050246 h 6858000"/>
              <a:gd name="connsiteX147" fmla="*/ 1903353 w 7467600"/>
              <a:gd name="connsiteY147" fmla="*/ 5044827 h 6858000"/>
              <a:gd name="connsiteX148" fmla="*/ 1936931 w 7467600"/>
              <a:gd name="connsiteY148" fmla="*/ 5093954 h 6858000"/>
              <a:gd name="connsiteX149" fmla="*/ 2195868 w 7467600"/>
              <a:gd name="connsiteY149" fmla="*/ 5396574 h 6858000"/>
              <a:gd name="connsiteX150" fmla="*/ 2088852 w 7467600"/>
              <a:gd name="connsiteY150" fmla="*/ 5166123 h 6858000"/>
              <a:gd name="connsiteX151" fmla="*/ 1958241 w 7467600"/>
              <a:gd name="connsiteY151" fmla="*/ 5067955 h 6858000"/>
              <a:gd name="connsiteX152" fmla="*/ 1903353 w 7467600"/>
              <a:gd name="connsiteY152" fmla="*/ 5044827 h 6858000"/>
              <a:gd name="connsiteX153" fmla="*/ 1979378 w 7467600"/>
              <a:gd name="connsiteY153" fmla="*/ 4769504 h 6858000"/>
              <a:gd name="connsiteX154" fmla="*/ 2882120 w 7467600"/>
              <a:gd name="connsiteY154" fmla="*/ 5064547 h 6858000"/>
              <a:gd name="connsiteX155" fmla="*/ 2793103 w 7467600"/>
              <a:gd name="connsiteY155" fmla="*/ 5039699 h 6858000"/>
              <a:gd name="connsiteX156" fmla="*/ 2770041 w 7467600"/>
              <a:gd name="connsiteY156" fmla="*/ 5033634 h 6858000"/>
              <a:gd name="connsiteX157" fmla="*/ 1979378 w 7467600"/>
              <a:gd name="connsiteY157" fmla="*/ 4769504 h 6858000"/>
              <a:gd name="connsiteX158" fmla="*/ 1927410 w 7467600"/>
              <a:gd name="connsiteY158" fmla="*/ 4716164 h 6858000"/>
              <a:gd name="connsiteX159" fmla="*/ 1959587 w 7467600"/>
              <a:gd name="connsiteY159" fmla="*/ 4728849 h 6858000"/>
              <a:gd name="connsiteX160" fmla="*/ 2777707 w 7467600"/>
              <a:gd name="connsiteY160" fmla="*/ 5003991 h 6858000"/>
              <a:gd name="connsiteX161" fmla="*/ 2800768 w 7467600"/>
              <a:gd name="connsiteY161" fmla="*/ 5010056 h 6858000"/>
              <a:gd name="connsiteX162" fmla="*/ 2879408 w 7467600"/>
              <a:gd name="connsiteY162" fmla="*/ 5031590 h 6858000"/>
              <a:gd name="connsiteX163" fmla="*/ 2862295 w 7467600"/>
              <a:gd name="connsiteY163" fmla="*/ 5022958 h 6858000"/>
              <a:gd name="connsiteX164" fmla="*/ 2813343 w 7467600"/>
              <a:gd name="connsiteY164" fmla="*/ 4998369 h 6858000"/>
              <a:gd name="connsiteX165" fmla="*/ 2646245 w 7467600"/>
              <a:gd name="connsiteY165" fmla="*/ 4930999 h 6858000"/>
              <a:gd name="connsiteX166" fmla="*/ 1999243 w 7467600"/>
              <a:gd name="connsiteY166" fmla="*/ 4730524 h 6858000"/>
              <a:gd name="connsiteX167" fmla="*/ 1979527 w 7467600"/>
              <a:gd name="connsiteY167" fmla="*/ 4726651 h 6858000"/>
              <a:gd name="connsiteX168" fmla="*/ 1927410 w 7467600"/>
              <a:gd name="connsiteY168" fmla="*/ 4716164 h 6858000"/>
              <a:gd name="connsiteX169" fmla="*/ 1997014 w 7467600"/>
              <a:gd name="connsiteY169" fmla="*/ 4698007 h 6858000"/>
              <a:gd name="connsiteX170" fmla="*/ 2005458 w 7467600"/>
              <a:gd name="connsiteY170" fmla="*/ 4699540 h 6858000"/>
              <a:gd name="connsiteX171" fmla="*/ 2657186 w 7467600"/>
              <a:gd name="connsiteY171" fmla="*/ 4901687 h 6858000"/>
              <a:gd name="connsiteX172" fmla="*/ 2826662 w 7467600"/>
              <a:gd name="connsiteY172" fmla="*/ 4970362 h 6858000"/>
              <a:gd name="connsiteX173" fmla="*/ 2876100 w 7467600"/>
              <a:gd name="connsiteY173" fmla="*/ 4995397 h 6858000"/>
              <a:gd name="connsiteX174" fmla="*/ 3042600 w 7467600"/>
              <a:gd name="connsiteY174" fmla="*/ 5059532 h 6858000"/>
              <a:gd name="connsiteX175" fmla="*/ 1997014 w 7467600"/>
              <a:gd name="connsiteY175" fmla="*/ 4698007 h 6858000"/>
              <a:gd name="connsiteX176" fmla="*/ 2305292 w 7467600"/>
              <a:gd name="connsiteY176" fmla="*/ 4219492 h 6858000"/>
              <a:gd name="connsiteX177" fmla="*/ 3360922 w 7467600"/>
              <a:gd name="connsiteY177" fmla="*/ 4529373 h 6858000"/>
              <a:gd name="connsiteX178" fmla="*/ 3492420 w 7467600"/>
              <a:gd name="connsiteY178" fmla="*/ 4510145 h 6858000"/>
              <a:gd name="connsiteX179" fmla="*/ 3364086 w 7467600"/>
              <a:gd name="connsiteY179" fmla="*/ 4480340 h 6858000"/>
              <a:gd name="connsiteX180" fmla="*/ 3225818 w 7467600"/>
              <a:gd name="connsiteY180" fmla="*/ 4411822 h 6858000"/>
              <a:gd name="connsiteX181" fmla="*/ 3129696 w 7467600"/>
              <a:gd name="connsiteY181" fmla="*/ 4360704 h 6858000"/>
              <a:gd name="connsiteX182" fmla="*/ 2814545 w 7467600"/>
              <a:gd name="connsiteY182" fmla="*/ 4282955 h 6858000"/>
              <a:gd name="connsiteX183" fmla="*/ 2305292 w 7467600"/>
              <a:gd name="connsiteY183" fmla="*/ 4219492 h 6858000"/>
              <a:gd name="connsiteX184" fmla="*/ 2626982 w 7467600"/>
              <a:gd name="connsiteY184" fmla="*/ 4206450 h 6858000"/>
              <a:gd name="connsiteX185" fmla="*/ 2490617 w 7467600"/>
              <a:gd name="connsiteY185" fmla="*/ 4206951 h 6858000"/>
              <a:gd name="connsiteX186" fmla="*/ 2819869 w 7467600"/>
              <a:gd name="connsiteY186" fmla="*/ 4252936 h 6858000"/>
              <a:gd name="connsiteX187" fmla="*/ 3143018 w 7467600"/>
              <a:gd name="connsiteY187" fmla="*/ 4332698 h 6858000"/>
              <a:gd name="connsiteX188" fmla="*/ 3241520 w 7467600"/>
              <a:gd name="connsiteY188" fmla="*/ 4385112 h 6858000"/>
              <a:gd name="connsiteX189" fmla="*/ 3374575 w 7467600"/>
              <a:gd name="connsiteY189" fmla="*/ 4451517 h 6858000"/>
              <a:gd name="connsiteX190" fmla="*/ 3505221 w 7467600"/>
              <a:gd name="connsiteY190" fmla="*/ 4480757 h 6858000"/>
              <a:gd name="connsiteX191" fmla="*/ 2626982 w 7467600"/>
              <a:gd name="connsiteY191" fmla="*/ 4206450 h 6858000"/>
              <a:gd name="connsiteX192" fmla="*/ 1310106 w 7467600"/>
              <a:gd name="connsiteY192" fmla="*/ 3943217 h 6858000"/>
              <a:gd name="connsiteX193" fmla="*/ 854994 w 7467600"/>
              <a:gd name="connsiteY193" fmla="*/ 4399136 h 6858000"/>
              <a:gd name="connsiteX194" fmla="*/ 742462 w 7467600"/>
              <a:gd name="connsiteY194" fmla="*/ 4594648 h 6858000"/>
              <a:gd name="connsiteX195" fmla="*/ 820602 w 7467600"/>
              <a:gd name="connsiteY195" fmla="*/ 4485915 h 6858000"/>
              <a:gd name="connsiteX196" fmla="*/ 878295 w 7467600"/>
              <a:gd name="connsiteY196" fmla="*/ 4403594 h 6858000"/>
              <a:gd name="connsiteX197" fmla="*/ 1240607 w 7467600"/>
              <a:gd name="connsiteY197" fmla="*/ 4010401 h 6858000"/>
              <a:gd name="connsiteX198" fmla="*/ 1310106 w 7467600"/>
              <a:gd name="connsiteY198" fmla="*/ 3943217 h 6858000"/>
              <a:gd name="connsiteX199" fmla="*/ 1423113 w 7467600"/>
              <a:gd name="connsiteY199" fmla="*/ 3874565 h 6858000"/>
              <a:gd name="connsiteX200" fmla="*/ 1260565 w 7467600"/>
              <a:gd name="connsiteY200" fmla="*/ 4031982 h 6858000"/>
              <a:gd name="connsiteX201" fmla="*/ 901900 w 7467600"/>
              <a:gd name="connsiteY201" fmla="*/ 4421236 h 6858000"/>
              <a:gd name="connsiteX202" fmla="*/ 845044 w 7467600"/>
              <a:gd name="connsiteY202" fmla="*/ 4502436 h 6858000"/>
              <a:gd name="connsiteX203" fmla="*/ 685926 w 7467600"/>
              <a:gd name="connsiteY203" fmla="*/ 4703069 h 6858000"/>
              <a:gd name="connsiteX204" fmla="*/ 684248 w 7467600"/>
              <a:gd name="connsiteY204" fmla="*/ 4706721 h 6858000"/>
              <a:gd name="connsiteX205" fmla="*/ 1423113 w 7467600"/>
              <a:gd name="connsiteY205" fmla="*/ 3874565 h 6858000"/>
              <a:gd name="connsiteX206" fmla="*/ 3316479 w 7467600"/>
              <a:gd name="connsiteY206" fmla="*/ 3872136 h 6858000"/>
              <a:gd name="connsiteX207" fmla="*/ 3546806 w 7467600"/>
              <a:gd name="connsiteY207" fmla="*/ 4356139 h 6858000"/>
              <a:gd name="connsiteX208" fmla="*/ 3364433 w 7467600"/>
              <a:gd name="connsiteY208" fmla="*/ 3953121 h 6858000"/>
              <a:gd name="connsiteX209" fmla="*/ 3316479 w 7467600"/>
              <a:gd name="connsiteY209" fmla="*/ 3872136 h 6858000"/>
              <a:gd name="connsiteX210" fmla="*/ 3291335 w 7467600"/>
              <a:gd name="connsiteY210" fmla="*/ 3767420 h 6858000"/>
              <a:gd name="connsiteX211" fmla="*/ 3390805 w 7467600"/>
              <a:gd name="connsiteY211" fmla="*/ 3937163 h 6858000"/>
              <a:gd name="connsiteX212" fmla="*/ 3579062 w 7467600"/>
              <a:gd name="connsiteY212" fmla="*/ 4359040 h 6858000"/>
              <a:gd name="connsiteX213" fmla="*/ 3467355 w 7467600"/>
              <a:gd name="connsiteY213" fmla="*/ 3988130 h 6858000"/>
              <a:gd name="connsiteX214" fmla="*/ 3310753 w 7467600"/>
              <a:gd name="connsiteY214" fmla="*/ 3787140 h 6858000"/>
              <a:gd name="connsiteX215" fmla="*/ 3291335 w 7467600"/>
              <a:gd name="connsiteY215" fmla="*/ 3767420 h 6858000"/>
              <a:gd name="connsiteX216" fmla="*/ 1635889 w 7467600"/>
              <a:gd name="connsiteY216" fmla="*/ 3709494 h 6858000"/>
              <a:gd name="connsiteX217" fmla="*/ 1634800 w 7467600"/>
              <a:gd name="connsiteY217" fmla="*/ 3731111 h 6858000"/>
              <a:gd name="connsiteX218" fmla="*/ 1635889 w 7467600"/>
              <a:gd name="connsiteY218" fmla="*/ 3709494 h 6858000"/>
              <a:gd name="connsiteX219" fmla="*/ 1510397 w 7467600"/>
              <a:gd name="connsiteY219" fmla="*/ 3684705 h 6858000"/>
              <a:gd name="connsiteX220" fmla="*/ 1146550 w 7467600"/>
              <a:gd name="connsiteY220" fmla="*/ 3802012 h 6858000"/>
              <a:gd name="connsiteX221" fmla="*/ 698834 w 7467600"/>
              <a:gd name="connsiteY221" fmla="*/ 3952272 h 6858000"/>
              <a:gd name="connsiteX222" fmla="*/ 34256 w 7467600"/>
              <a:gd name="connsiteY222" fmla="*/ 4347603 h 6858000"/>
              <a:gd name="connsiteX223" fmla="*/ 527241 w 7467600"/>
              <a:gd name="connsiteY223" fmla="*/ 4065078 h 6858000"/>
              <a:gd name="connsiteX224" fmla="*/ 1510397 w 7467600"/>
              <a:gd name="connsiteY224" fmla="*/ 3684705 h 6858000"/>
              <a:gd name="connsiteX225" fmla="*/ 1313114 w 7467600"/>
              <a:gd name="connsiteY225" fmla="*/ 3655216 h 6858000"/>
              <a:gd name="connsiteX226" fmla="*/ 1109304 w 7467600"/>
              <a:gd name="connsiteY226" fmla="*/ 3669030 h 6858000"/>
              <a:gd name="connsiteX227" fmla="*/ 8129 w 7467600"/>
              <a:gd name="connsiteY227" fmla="*/ 4330519 h 6858000"/>
              <a:gd name="connsiteX228" fmla="*/ 687572 w 7467600"/>
              <a:gd name="connsiteY228" fmla="*/ 3925629 h 6858000"/>
              <a:gd name="connsiteX229" fmla="*/ 1138365 w 7467600"/>
              <a:gd name="connsiteY229" fmla="*/ 3774515 h 6858000"/>
              <a:gd name="connsiteX230" fmla="*/ 1505579 w 7467600"/>
              <a:gd name="connsiteY230" fmla="*/ 3655526 h 6858000"/>
              <a:gd name="connsiteX231" fmla="*/ 1313114 w 7467600"/>
              <a:gd name="connsiteY231" fmla="*/ 3655216 h 6858000"/>
              <a:gd name="connsiteX232" fmla="*/ 3655073 w 7467600"/>
              <a:gd name="connsiteY232" fmla="*/ 3650884 h 6858000"/>
              <a:gd name="connsiteX233" fmla="*/ 3989938 w 7467600"/>
              <a:gd name="connsiteY233" fmla="*/ 3991685 h 6858000"/>
              <a:gd name="connsiteX234" fmla="*/ 4393907 w 7467600"/>
              <a:gd name="connsiteY234" fmla="*/ 4261258 h 6858000"/>
              <a:gd name="connsiteX235" fmla="*/ 4648051 w 7467600"/>
              <a:gd name="connsiteY235" fmla="*/ 4374051 h 6858000"/>
              <a:gd name="connsiteX236" fmla="*/ 4383389 w 7467600"/>
              <a:gd name="connsiteY236" fmla="*/ 4184369 h 6858000"/>
              <a:gd name="connsiteX237" fmla="*/ 4165508 w 7467600"/>
              <a:gd name="connsiteY237" fmla="*/ 4035196 h 6858000"/>
              <a:gd name="connsiteX238" fmla="*/ 4068162 w 7467600"/>
              <a:gd name="connsiteY238" fmla="*/ 3953394 h 6858000"/>
              <a:gd name="connsiteX239" fmla="*/ 3981416 w 7467600"/>
              <a:gd name="connsiteY239" fmla="*/ 3880482 h 6858000"/>
              <a:gd name="connsiteX240" fmla="*/ 3800147 w 7467600"/>
              <a:gd name="connsiteY240" fmla="*/ 3749872 h 6858000"/>
              <a:gd name="connsiteX241" fmla="*/ 3655073 w 7467600"/>
              <a:gd name="connsiteY241" fmla="*/ 3650884 h 6858000"/>
              <a:gd name="connsiteX242" fmla="*/ 3670252 w 7467600"/>
              <a:gd name="connsiteY242" fmla="*/ 3622798 h 6858000"/>
              <a:gd name="connsiteX243" fmla="*/ 3817258 w 7467600"/>
              <a:gd name="connsiteY243" fmla="*/ 3723577 h 6858000"/>
              <a:gd name="connsiteX244" fmla="*/ 4000461 w 7467600"/>
              <a:gd name="connsiteY244" fmla="*/ 3855966 h 6858000"/>
              <a:gd name="connsiteX245" fmla="*/ 4088180 w 7467600"/>
              <a:gd name="connsiteY245" fmla="*/ 3929774 h 6858000"/>
              <a:gd name="connsiteX246" fmla="*/ 4184555 w 7467600"/>
              <a:gd name="connsiteY246" fmla="*/ 4010683 h 6858000"/>
              <a:gd name="connsiteX247" fmla="*/ 4399563 w 7467600"/>
              <a:gd name="connsiteY247" fmla="*/ 4158106 h 6858000"/>
              <a:gd name="connsiteX248" fmla="*/ 4684469 w 7467600"/>
              <a:gd name="connsiteY248" fmla="*/ 4364680 h 6858000"/>
              <a:gd name="connsiteX249" fmla="*/ 4690271 w 7467600"/>
              <a:gd name="connsiteY249" fmla="*/ 4370034 h 6858000"/>
              <a:gd name="connsiteX250" fmla="*/ 4136093 w 7467600"/>
              <a:gd name="connsiteY250" fmla="*/ 3858466 h 6858000"/>
              <a:gd name="connsiteX251" fmla="*/ 3670252 w 7467600"/>
              <a:gd name="connsiteY251" fmla="*/ 3622798 h 6858000"/>
              <a:gd name="connsiteX252" fmla="*/ 4440129 w 7467600"/>
              <a:gd name="connsiteY252" fmla="*/ 3448571 h 6858000"/>
              <a:gd name="connsiteX253" fmla="*/ 4856525 w 7467600"/>
              <a:gd name="connsiteY253" fmla="*/ 3915351 h 6858000"/>
              <a:gd name="connsiteX254" fmla="*/ 5059055 w 7467600"/>
              <a:gd name="connsiteY254" fmla="*/ 4108918 h 6858000"/>
              <a:gd name="connsiteX255" fmla="*/ 5290070 w 7467600"/>
              <a:gd name="connsiteY255" fmla="*/ 4263619 h 6858000"/>
              <a:gd name="connsiteX256" fmla="*/ 4834991 w 7467600"/>
              <a:gd name="connsiteY256" fmla="*/ 3830985 h 6858000"/>
              <a:gd name="connsiteX257" fmla="*/ 4440129 w 7467600"/>
              <a:gd name="connsiteY257" fmla="*/ 3448571 h 6858000"/>
              <a:gd name="connsiteX258" fmla="*/ 4441737 w 7467600"/>
              <a:gd name="connsiteY258" fmla="*/ 3399734 h 6858000"/>
              <a:gd name="connsiteX259" fmla="*/ 4431236 w 7467600"/>
              <a:gd name="connsiteY259" fmla="*/ 3400954 h 6858000"/>
              <a:gd name="connsiteX260" fmla="*/ 4557150 w 7467600"/>
              <a:gd name="connsiteY260" fmla="*/ 3510023 h 6858000"/>
              <a:gd name="connsiteX261" fmla="*/ 4856936 w 7467600"/>
              <a:gd name="connsiteY261" fmla="*/ 3809146 h 6858000"/>
              <a:gd name="connsiteX262" fmla="*/ 5111996 w 7467600"/>
              <a:gd name="connsiteY262" fmla="*/ 4065759 h 6858000"/>
              <a:gd name="connsiteX263" fmla="*/ 5388878 w 7467600"/>
              <a:gd name="connsiteY263" fmla="*/ 4300185 h 6858000"/>
              <a:gd name="connsiteX264" fmla="*/ 5425556 w 7467600"/>
              <a:gd name="connsiteY264" fmla="*/ 4308967 h 6858000"/>
              <a:gd name="connsiteX265" fmla="*/ 4943646 w 7467600"/>
              <a:gd name="connsiteY265" fmla="*/ 3822916 h 6858000"/>
              <a:gd name="connsiteX266" fmla="*/ 4594837 w 7467600"/>
              <a:gd name="connsiteY266" fmla="*/ 3532274 h 6858000"/>
              <a:gd name="connsiteX267" fmla="*/ 4441737 w 7467600"/>
              <a:gd name="connsiteY267" fmla="*/ 3399734 h 6858000"/>
              <a:gd name="connsiteX268" fmla="*/ 5425834 w 7467600"/>
              <a:gd name="connsiteY268" fmla="*/ 3162785 h 6858000"/>
              <a:gd name="connsiteX269" fmla="*/ 5401644 w 7467600"/>
              <a:gd name="connsiteY269" fmla="*/ 3617847 h 6858000"/>
              <a:gd name="connsiteX270" fmla="*/ 5467256 w 7467600"/>
              <a:gd name="connsiteY270" fmla="*/ 4175494 h 6858000"/>
              <a:gd name="connsiteX271" fmla="*/ 5448069 w 7467600"/>
              <a:gd name="connsiteY271" fmla="*/ 3567554 h 6858000"/>
              <a:gd name="connsiteX272" fmla="*/ 5425834 w 7467600"/>
              <a:gd name="connsiteY272" fmla="*/ 3162785 h 6858000"/>
              <a:gd name="connsiteX273" fmla="*/ 1318687 w 7467600"/>
              <a:gd name="connsiteY273" fmla="*/ 3113840 h 6858000"/>
              <a:gd name="connsiteX274" fmla="*/ 1066793 w 7467600"/>
              <a:gd name="connsiteY274" fmla="*/ 3212171 h 6858000"/>
              <a:gd name="connsiteX275" fmla="*/ 993319 w 7467600"/>
              <a:gd name="connsiteY275" fmla="*/ 3247648 h 6858000"/>
              <a:gd name="connsiteX276" fmla="*/ 853081 w 7467600"/>
              <a:gd name="connsiteY276" fmla="*/ 3312410 h 6858000"/>
              <a:gd name="connsiteX277" fmla="*/ 805957 w 7467600"/>
              <a:gd name="connsiteY277" fmla="*/ 3330443 h 6858000"/>
              <a:gd name="connsiteX278" fmla="*/ 1318687 w 7467600"/>
              <a:gd name="connsiteY278" fmla="*/ 3113840 h 6858000"/>
              <a:gd name="connsiteX279" fmla="*/ 5453702 w 7467600"/>
              <a:gd name="connsiteY279" fmla="*/ 3090882 h 6858000"/>
              <a:gd name="connsiteX280" fmla="*/ 5480135 w 7467600"/>
              <a:gd name="connsiteY280" fmla="*/ 3565802 h 6858000"/>
              <a:gd name="connsiteX281" fmla="*/ 5499023 w 7467600"/>
              <a:gd name="connsiteY281" fmla="*/ 4166310 h 6858000"/>
              <a:gd name="connsiteX282" fmla="*/ 5547022 w 7467600"/>
              <a:gd name="connsiteY282" fmla="*/ 3607838 h 6858000"/>
              <a:gd name="connsiteX283" fmla="*/ 5515964 w 7467600"/>
              <a:gd name="connsiteY283" fmla="*/ 3378541 h 6858000"/>
              <a:gd name="connsiteX284" fmla="*/ 5453702 w 7467600"/>
              <a:gd name="connsiteY284" fmla="*/ 3090882 h 6858000"/>
              <a:gd name="connsiteX285" fmla="*/ 1238695 w 7467600"/>
              <a:gd name="connsiteY285" fmla="*/ 3076820 h 6858000"/>
              <a:gd name="connsiteX286" fmla="*/ 716371 w 7467600"/>
              <a:gd name="connsiteY286" fmla="*/ 3293249 h 6858000"/>
              <a:gd name="connsiteX287" fmla="*/ 579522 w 7467600"/>
              <a:gd name="connsiteY287" fmla="*/ 3371759 h 6858000"/>
              <a:gd name="connsiteX288" fmla="*/ 600288 w 7467600"/>
              <a:gd name="connsiteY288" fmla="*/ 3365555 h 6858000"/>
              <a:gd name="connsiteX289" fmla="*/ 840692 w 7467600"/>
              <a:gd name="connsiteY289" fmla="*/ 3284921 h 6858000"/>
              <a:gd name="connsiteX290" fmla="*/ 979248 w 7467600"/>
              <a:gd name="connsiteY290" fmla="*/ 3221003 h 6858000"/>
              <a:gd name="connsiteX291" fmla="*/ 1053282 w 7467600"/>
              <a:gd name="connsiteY291" fmla="*/ 3185247 h 6858000"/>
              <a:gd name="connsiteX292" fmla="*/ 1320603 w 7467600"/>
              <a:gd name="connsiteY292" fmla="*/ 3081281 h 6858000"/>
              <a:gd name="connsiteX293" fmla="*/ 1238695 w 7467600"/>
              <a:gd name="connsiteY293" fmla="*/ 3076820 h 6858000"/>
              <a:gd name="connsiteX294" fmla="*/ 5425627 w 7467600"/>
              <a:gd name="connsiteY294" fmla="*/ 2954192 h 6858000"/>
              <a:gd name="connsiteX295" fmla="*/ 5470770 w 7467600"/>
              <a:gd name="connsiteY295" fmla="*/ 3005435 h 6858000"/>
              <a:gd name="connsiteX296" fmla="*/ 5519779 w 7467600"/>
              <a:gd name="connsiteY296" fmla="*/ 4359223 h 6858000"/>
              <a:gd name="connsiteX297" fmla="*/ 5520293 w 7467600"/>
              <a:gd name="connsiteY297" fmla="*/ 4360602 h 6858000"/>
              <a:gd name="connsiteX298" fmla="*/ 5767221 w 7467600"/>
              <a:gd name="connsiteY298" fmla="*/ 4665564 h 6858000"/>
              <a:gd name="connsiteX299" fmla="*/ 6937169 w 7467600"/>
              <a:gd name="connsiteY299" fmla="*/ 4815941 h 6858000"/>
              <a:gd name="connsiteX300" fmla="*/ 6953922 w 7467600"/>
              <a:gd name="connsiteY300" fmla="*/ 4890068 h 6858000"/>
              <a:gd name="connsiteX301" fmla="*/ 6071359 w 7467600"/>
              <a:gd name="connsiteY301" fmla="*/ 4770770 h 6858000"/>
              <a:gd name="connsiteX302" fmla="*/ 6038839 w 7467600"/>
              <a:gd name="connsiteY302" fmla="*/ 4764474 h 6858000"/>
              <a:gd name="connsiteX303" fmla="*/ 6038706 w 7467600"/>
              <a:gd name="connsiteY303" fmla="*/ 4763847 h 6858000"/>
              <a:gd name="connsiteX304" fmla="*/ 6037784 w 7467600"/>
              <a:gd name="connsiteY304" fmla="*/ 4764270 h 6858000"/>
              <a:gd name="connsiteX305" fmla="*/ 6038839 w 7467600"/>
              <a:gd name="connsiteY305" fmla="*/ 4764474 h 6858000"/>
              <a:gd name="connsiteX306" fmla="*/ 6040338 w 7467600"/>
              <a:gd name="connsiteY306" fmla="*/ 4771418 h 6858000"/>
              <a:gd name="connsiteX307" fmla="*/ 6024488 w 7467600"/>
              <a:gd name="connsiteY307" fmla="*/ 4809903 h 6858000"/>
              <a:gd name="connsiteX308" fmla="*/ 5599771 w 7467600"/>
              <a:gd name="connsiteY308" fmla="*/ 5509652 h 6858000"/>
              <a:gd name="connsiteX309" fmla="*/ 5548843 w 7467600"/>
              <a:gd name="connsiteY309" fmla="*/ 5563845 h 6858000"/>
              <a:gd name="connsiteX310" fmla="*/ 5940952 w 7467600"/>
              <a:gd name="connsiteY310" fmla="*/ 6250028 h 6858000"/>
              <a:gd name="connsiteX311" fmla="*/ 6043441 w 7467600"/>
              <a:gd name="connsiteY311" fmla="*/ 6665847 h 6858000"/>
              <a:gd name="connsiteX312" fmla="*/ 6093432 w 7467600"/>
              <a:gd name="connsiteY312" fmla="*/ 6858000 h 6858000"/>
              <a:gd name="connsiteX313" fmla="*/ 6034344 w 7467600"/>
              <a:gd name="connsiteY313" fmla="*/ 6858000 h 6858000"/>
              <a:gd name="connsiteX314" fmla="*/ 6026679 w 7467600"/>
              <a:gd name="connsiteY314" fmla="*/ 6836959 h 6858000"/>
              <a:gd name="connsiteX315" fmla="*/ 5800441 w 7467600"/>
              <a:gd name="connsiteY315" fmla="*/ 6335286 h 6858000"/>
              <a:gd name="connsiteX316" fmla="*/ 5526562 w 7467600"/>
              <a:gd name="connsiteY316" fmla="*/ 5705388 h 6858000"/>
              <a:gd name="connsiteX317" fmla="*/ 5519640 w 7467600"/>
              <a:gd name="connsiteY317" fmla="*/ 5683774 h 6858000"/>
              <a:gd name="connsiteX318" fmla="*/ 5844559 w 7467600"/>
              <a:gd name="connsiteY318" fmla="*/ 6553349 h 6858000"/>
              <a:gd name="connsiteX319" fmla="*/ 5975994 w 7467600"/>
              <a:gd name="connsiteY319" fmla="*/ 6858000 h 6858000"/>
              <a:gd name="connsiteX320" fmla="*/ 5898547 w 7467600"/>
              <a:gd name="connsiteY320" fmla="*/ 6858000 h 6858000"/>
              <a:gd name="connsiteX321" fmla="*/ 5682041 w 7467600"/>
              <a:gd name="connsiteY321" fmla="*/ 6355860 h 6858000"/>
              <a:gd name="connsiteX322" fmla="*/ 5461758 w 7467600"/>
              <a:gd name="connsiteY322" fmla="*/ 5820220 h 6858000"/>
              <a:gd name="connsiteX323" fmla="*/ 5237282 w 7467600"/>
              <a:gd name="connsiteY323" fmla="*/ 6579086 h 6858000"/>
              <a:gd name="connsiteX324" fmla="*/ 5115009 w 7467600"/>
              <a:gd name="connsiteY324" fmla="*/ 6858000 h 6858000"/>
              <a:gd name="connsiteX325" fmla="*/ 5028074 w 7467600"/>
              <a:gd name="connsiteY325" fmla="*/ 6858000 h 6858000"/>
              <a:gd name="connsiteX326" fmla="*/ 5079508 w 7467600"/>
              <a:gd name="connsiteY326" fmla="*/ 6749074 h 6858000"/>
              <a:gd name="connsiteX327" fmla="*/ 5371846 w 7467600"/>
              <a:gd name="connsiteY327" fmla="*/ 5924413 h 6858000"/>
              <a:gd name="connsiteX328" fmla="*/ 5270512 w 7467600"/>
              <a:gd name="connsiteY328" fmla="*/ 6138975 h 6858000"/>
              <a:gd name="connsiteX329" fmla="*/ 5062409 w 7467600"/>
              <a:gd name="connsiteY329" fmla="*/ 6653544 h 6858000"/>
              <a:gd name="connsiteX330" fmla="*/ 5036628 w 7467600"/>
              <a:gd name="connsiteY330" fmla="*/ 6754247 h 6858000"/>
              <a:gd name="connsiteX331" fmla="*/ 5009112 w 7467600"/>
              <a:gd name="connsiteY331" fmla="*/ 6858000 h 6858000"/>
              <a:gd name="connsiteX332" fmla="*/ 4976679 w 7467600"/>
              <a:gd name="connsiteY332" fmla="*/ 6858000 h 6858000"/>
              <a:gd name="connsiteX333" fmla="*/ 5006537 w 7467600"/>
              <a:gd name="connsiteY333" fmla="*/ 6747068 h 6858000"/>
              <a:gd name="connsiteX334" fmla="*/ 5032723 w 7467600"/>
              <a:gd name="connsiteY334" fmla="*/ 6644957 h 6858000"/>
              <a:gd name="connsiteX335" fmla="*/ 5242949 w 7467600"/>
              <a:gd name="connsiteY335" fmla="*/ 6125175 h 6858000"/>
              <a:gd name="connsiteX336" fmla="*/ 5286321 w 7467600"/>
              <a:gd name="connsiteY336" fmla="*/ 6033555 h 6858000"/>
              <a:gd name="connsiteX337" fmla="*/ 5008210 w 7467600"/>
              <a:gd name="connsiteY337" fmla="*/ 6649194 h 6858000"/>
              <a:gd name="connsiteX338" fmla="*/ 4986321 w 7467600"/>
              <a:gd name="connsiteY338" fmla="*/ 6765687 h 6858000"/>
              <a:gd name="connsiteX339" fmla="*/ 4973474 w 7467600"/>
              <a:gd name="connsiteY339" fmla="*/ 6858000 h 6858000"/>
              <a:gd name="connsiteX340" fmla="*/ 4907178 w 7467600"/>
              <a:gd name="connsiteY340" fmla="*/ 6858000 h 6858000"/>
              <a:gd name="connsiteX341" fmla="*/ 4910810 w 7467600"/>
              <a:gd name="connsiteY341" fmla="*/ 6829660 h 6858000"/>
              <a:gd name="connsiteX342" fmla="*/ 4987461 w 7467600"/>
              <a:gd name="connsiteY342" fmla="*/ 6432994 h 6858000"/>
              <a:gd name="connsiteX343" fmla="*/ 5179262 w 7467600"/>
              <a:gd name="connsiteY343" fmla="*/ 6035044 h 6858000"/>
              <a:gd name="connsiteX344" fmla="*/ 4689678 w 7467600"/>
              <a:gd name="connsiteY344" fmla="*/ 6440241 h 6858000"/>
              <a:gd name="connsiteX345" fmla="*/ 4477543 w 7467600"/>
              <a:gd name="connsiteY345" fmla="*/ 6674836 h 6858000"/>
              <a:gd name="connsiteX346" fmla="*/ 4329957 w 7467600"/>
              <a:gd name="connsiteY346" fmla="*/ 6858000 h 6858000"/>
              <a:gd name="connsiteX347" fmla="*/ 4218595 w 7467600"/>
              <a:gd name="connsiteY347" fmla="*/ 6858000 h 6858000"/>
              <a:gd name="connsiteX348" fmla="*/ 4368888 w 7467600"/>
              <a:gd name="connsiteY348" fmla="*/ 6668412 h 6858000"/>
              <a:gd name="connsiteX349" fmla="*/ 4563091 w 7467600"/>
              <a:gd name="connsiteY349" fmla="*/ 6442508 h 6858000"/>
              <a:gd name="connsiteX350" fmla="*/ 5387324 w 7467600"/>
              <a:gd name="connsiteY350" fmla="*/ 5705830 h 6858000"/>
              <a:gd name="connsiteX351" fmla="*/ 5073620 w 7467600"/>
              <a:gd name="connsiteY351" fmla="*/ 5955437 h 6858000"/>
              <a:gd name="connsiteX352" fmla="*/ 4689789 w 7467600"/>
              <a:gd name="connsiteY352" fmla="*/ 6268382 h 6858000"/>
              <a:gd name="connsiteX353" fmla="*/ 4418722 w 7467600"/>
              <a:gd name="connsiteY353" fmla="*/ 6570886 h 6858000"/>
              <a:gd name="connsiteX354" fmla="*/ 4214944 w 7467600"/>
              <a:gd name="connsiteY354" fmla="*/ 6858000 h 6858000"/>
              <a:gd name="connsiteX355" fmla="*/ 4177898 w 7467600"/>
              <a:gd name="connsiteY355" fmla="*/ 6858000 h 6858000"/>
              <a:gd name="connsiteX356" fmla="*/ 4391597 w 7467600"/>
              <a:gd name="connsiteY356" fmla="*/ 6556370 h 6858000"/>
              <a:gd name="connsiteX357" fmla="*/ 4668889 w 7467600"/>
              <a:gd name="connsiteY357" fmla="*/ 6246399 h 6858000"/>
              <a:gd name="connsiteX358" fmla="*/ 5055427 w 7467600"/>
              <a:gd name="connsiteY358" fmla="*/ 5931476 h 6858000"/>
              <a:gd name="connsiteX359" fmla="*/ 5371814 w 7467600"/>
              <a:gd name="connsiteY359" fmla="*/ 5678975 h 6858000"/>
              <a:gd name="connsiteX360" fmla="*/ 4987918 w 7467600"/>
              <a:gd name="connsiteY360" fmla="*/ 5838701 h 6858000"/>
              <a:gd name="connsiteX361" fmla="*/ 4317146 w 7467600"/>
              <a:gd name="connsiteY361" fmla="*/ 6587716 h 6858000"/>
              <a:gd name="connsiteX362" fmla="*/ 4171627 w 7467600"/>
              <a:gd name="connsiteY362" fmla="*/ 6858000 h 6858000"/>
              <a:gd name="connsiteX363" fmla="*/ 4081585 w 7467600"/>
              <a:gd name="connsiteY363" fmla="*/ 6858000 h 6858000"/>
              <a:gd name="connsiteX364" fmla="*/ 4238603 w 7467600"/>
              <a:gd name="connsiteY364" fmla="*/ 6559341 h 6858000"/>
              <a:gd name="connsiteX365" fmla="*/ 4778333 w 7467600"/>
              <a:gd name="connsiteY365" fmla="*/ 5873626 h 6858000"/>
              <a:gd name="connsiteX366" fmla="*/ 5414185 w 7467600"/>
              <a:gd name="connsiteY366" fmla="*/ 5573882 h 6858000"/>
              <a:gd name="connsiteX367" fmla="*/ 5959648 w 7467600"/>
              <a:gd name="connsiteY367" fmla="*/ 4760797 h 6858000"/>
              <a:gd name="connsiteX368" fmla="*/ 5355019 w 7467600"/>
              <a:gd name="connsiteY368" fmla="*/ 4734672 h 6858000"/>
              <a:gd name="connsiteX369" fmla="*/ 5083565 w 7467600"/>
              <a:gd name="connsiteY369" fmla="*/ 5179121 h 6858000"/>
              <a:gd name="connsiteX370" fmla="*/ 4713577 w 7467600"/>
              <a:gd name="connsiteY370" fmla="*/ 5616803 h 6858000"/>
              <a:gd name="connsiteX371" fmla="*/ 3989559 w 7467600"/>
              <a:gd name="connsiteY371" fmla="*/ 6145945 h 6858000"/>
              <a:gd name="connsiteX372" fmla="*/ 3939824 w 7467600"/>
              <a:gd name="connsiteY372" fmla="*/ 6066900 h 6858000"/>
              <a:gd name="connsiteX373" fmla="*/ 4584537 w 7467600"/>
              <a:gd name="connsiteY373" fmla="*/ 5324826 h 6858000"/>
              <a:gd name="connsiteX374" fmla="*/ 5037105 w 7467600"/>
              <a:gd name="connsiteY374" fmla="*/ 5088765 h 6858000"/>
              <a:gd name="connsiteX375" fmla="*/ 5039930 w 7467600"/>
              <a:gd name="connsiteY375" fmla="*/ 5089585 h 6858000"/>
              <a:gd name="connsiteX376" fmla="*/ 5263764 w 7467600"/>
              <a:gd name="connsiteY376" fmla="*/ 4735525 h 6858000"/>
              <a:gd name="connsiteX377" fmla="*/ 4086300 w 7467600"/>
              <a:gd name="connsiteY377" fmla="*/ 4884599 h 6858000"/>
              <a:gd name="connsiteX378" fmla="*/ 4085485 w 7467600"/>
              <a:gd name="connsiteY378" fmla="*/ 4899070 h 6858000"/>
              <a:gd name="connsiteX379" fmla="*/ 3871915 w 7467600"/>
              <a:gd name="connsiteY379" fmla="*/ 5253645 h 6858000"/>
              <a:gd name="connsiteX380" fmla="*/ 3799374 w 7467600"/>
              <a:gd name="connsiteY380" fmla="*/ 5466127 h 6858000"/>
              <a:gd name="connsiteX381" fmla="*/ 3498850 w 7467600"/>
              <a:gd name="connsiteY381" fmla="*/ 6661888 h 6858000"/>
              <a:gd name="connsiteX382" fmla="*/ 3399216 w 7467600"/>
              <a:gd name="connsiteY382" fmla="*/ 6858000 h 6858000"/>
              <a:gd name="connsiteX383" fmla="*/ 3303688 w 7467600"/>
              <a:gd name="connsiteY383" fmla="*/ 6858000 h 6858000"/>
              <a:gd name="connsiteX384" fmla="*/ 3391774 w 7467600"/>
              <a:gd name="connsiteY384" fmla="*/ 6697181 h 6858000"/>
              <a:gd name="connsiteX385" fmla="*/ 3735540 w 7467600"/>
              <a:gd name="connsiteY385" fmla="*/ 5546923 h 6858000"/>
              <a:gd name="connsiteX386" fmla="*/ 3729438 w 7467600"/>
              <a:gd name="connsiteY386" fmla="*/ 5569058 h 6858000"/>
              <a:gd name="connsiteX387" fmla="*/ 3707782 w 7467600"/>
              <a:gd name="connsiteY387" fmla="*/ 5644908 h 6858000"/>
              <a:gd name="connsiteX388" fmla="*/ 3583827 w 7467600"/>
              <a:gd name="connsiteY388" fmla="*/ 6039215 h 6858000"/>
              <a:gd name="connsiteX389" fmla="*/ 3547861 w 7467600"/>
              <a:gd name="connsiteY389" fmla="*/ 6129609 h 6858000"/>
              <a:gd name="connsiteX390" fmla="*/ 3490905 w 7467600"/>
              <a:gd name="connsiteY390" fmla="*/ 6277660 h 6858000"/>
              <a:gd name="connsiteX391" fmla="*/ 3455859 w 7467600"/>
              <a:gd name="connsiteY391" fmla="*/ 6391301 h 6858000"/>
              <a:gd name="connsiteX392" fmla="*/ 3429112 w 7467600"/>
              <a:gd name="connsiteY392" fmla="*/ 6479469 h 6858000"/>
              <a:gd name="connsiteX393" fmla="*/ 3304862 w 7467600"/>
              <a:gd name="connsiteY393" fmla="*/ 6796476 h 6858000"/>
              <a:gd name="connsiteX394" fmla="*/ 3276071 w 7467600"/>
              <a:gd name="connsiteY394" fmla="*/ 6858000 h 6858000"/>
              <a:gd name="connsiteX395" fmla="*/ 3240805 w 7467600"/>
              <a:gd name="connsiteY395" fmla="*/ 6858000 h 6858000"/>
              <a:gd name="connsiteX396" fmla="*/ 3275917 w 7467600"/>
              <a:gd name="connsiteY396" fmla="*/ 6783192 h 6858000"/>
              <a:gd name="connsiteX397" fmla="*/ 3399358 w 7467600"/>
              <a:gd name="connsiteY397" fmla="*/ 6469011 h 6858000"/>
              <a:gd name="connsiteX398" fmla="*/ 3425650 w 7467600"/>
              <a:gd name="connsiteY398" fmla="*/ 6381333 h 6858000"/>
              <a:gd name="connsiteX399" fmla="*/ 3460661 w 7467600"/>
              <a:gd name="connsiteY399" fmla="*/ 6266763 h 6858000"/>
              <a:gd name="connsiteX400" fmla="*/ 3518021 w 7467600"/>
              <a:gd name="connsiteY400" fmla="*/ 6117298 h 6858000"/>
              <a:gd name="connsiteX401" fmla="*/ 3554035 w 7467600"/>
              <a:gd name="connsiteY401" fmla="*/ 6027832 h 6858000"/>
              <a:gd name="connsiteX402" fmla="*/ 3677174 w 7467600"/>
              <a:gd name="connsiteY402" fmla="*/ 5636351 h 6858000"/>
              <a:gd name="connsiteX403" fmla="*/ 3698819 w 7467600"/>
              <a:gd name="connsiteY403" fmla="*/ 5560503 h 6858000"/>
              <a:gd name="connsiteX404" fmla="*/ 3702094 w 7467600"/>
              <a:gd name="connsiteY404" fmla="*/ 5549194 h 6858000"/>
              <a:gd name="connsiteX405" fmla="*/ 3398355 w 7467600"/>
              <a:gd name="connsiteY405" fmla="*/ 6094603 h 6858000"/>
              <a:gd name="connsiteX406" fmla="*/ 3193941 w 7467600"/>
              <a:gd name="connsiteY406" fmla="*/ 6798775 h 6858000"/>
              <a:gd name="connsiteX407" fmla="*/ 3184140 w 7467600"/>
              <a:gd name="connsiteY407" fmla="*/ 6858000 h 6858000"/>
              <a:gd name="connsiteX408" fmla="*/ 3099978 w 7467600"/>
              <a:gd name="connsiteY408" fmla="*/ 6858000 h 6858000"/>
              <a:gd name="connsiteX409" fmla="*/ 3101556 w 7467600"/>
              <a:gd name="connsiteY409" fmla="*/ 6843337 h 6858000"/>
              <a:gd name="connsiteX410" fmla="*/ 3370162 w 7467600"/>
              <a:gd name="connsiteY410" fmla="*/ 5785550 h 6858000"/>
              <a:gd name="connsiteX411" fmla="*/ 3746477 w 7467600"/>
              <a:gd name="connsiteY411" fmla="*/ 5377889 h 6858000"/>
              <a:gd name="connsiteX412" fmla="*/ 3863399 w 7467600"/>
              <a:gd name="connsiteY412" fmla="*/ 5087257 h 6858000"/>
              <a:gd name="connsiteX413" fmla="*/ 3968712 w 7467600"/>
              <a:gd name="connsiteY413" fmla="*/ 4913989 h 6858000"/>
              <a:gd name="connsiteX414" fmla="*/ 2792390 w 7467600"/>
              <a:gd name="connsiteY414" fmla="*/ 5382974 h 6858000"/>
              <a:gd name="connsiteX415" fmla="*/ 2714982 w 7467600"/>
              <a:gd name="connsiteY415" fmla="*/ 5427051 h 6858000"/>
              <a:gd name="connsiteX416" fmla="*/ 2813361 w 7467600"/>
              <a:gd name="connsiteY416" fmla="*/ 6023912 h 6858000"/>
              <a:gd name="connsiteX417" fmla="*/ 2688430 w 7467600"/>
              <a:gd name="connsiteY417" fmla="*/ 6801564 h 6858000"/>
              <a:gd name="connsiteX418" fmla="*/ 2629626 w 7467600"/>
              <a:gd name="connsiteY418" fmla="*/ 6763394 h 6858000"/>
              <a:gd name="connsiteX419" fmla="*/ 2565328 w 7467600"/>
              <a:gd name="connsiteY419" fmla="*/ 5516399 h 6858000"/>
              <a:gd name="connsiteX420" fmla="*/ 1922999 w 7467600"/>
              <a:gd name="connsiteY420" fmla="*/ 5980343 h 6858000"/>
              <a:gd name="connsiteX421" fmla="*/ 1950261 w 7467600"/>
              <a:gd name="connsiteY421" fmla="*/ 6405858 h 6858000"/>
              <a:gd name="connsiteX422" fmla="*/ 2365554 w 7467600"/>
              <a:gd name="connsiteY422" fmla="*/ 6759107 h 6858000"/>
              <a:gd name="connsiteX423" fmla="*/ 2424142 w 7467600"/>
              <a:gd name="connsiteY423" fmla="*/ 6858000 h 6858000"/>
              <a:gd name="connsiteX424" fmla="*/ 2395994 w 7467600"/>
              <a:gd name="connsiteY424" fmla="*/ 6858000 h 6858000"/>
              <a:gd name="connsiteX425" fmla="*/ 2392863 w 7467600"/>
              <a:gd name="connsiteY425" fmla="*/ 6852964 h 6858000"/>
              <a:gd name="connsiteX426" fmla="*/ 2017589 w 7467600"/>
              <a:gd name="connsiteY426" fmla="*/ 6493982 h 6858000"/>
              <a:gd name="connsiteX427" fmla="*/ 2147336 w 7467600"/>
              <a:gd name="connsiteY427" fmla="*/ 6594052 h 6858000"/>
              <a:gd name="connsiteX428" fmla="*/ 2207047 w 7467600"/>
              <a:gd name="connsiteY428" fmla="*/ 6654540 h 6858000"/>
              <a:gd name="connsiteX429" fmla="*/ 2299106 w 7467600"/>
              <a:gd name="connsiteY429" fmla="*/ 6778931 h 6858000"/>
              <a:gd name="connsiteX430" fmla="*/ 2314430 w 7467600"/>
              <a:gd name="connsiteY430" fmla="*/ 6801144 h 6858000"/>
              <a:gd name="connsiteX431" fmla="*/ 2352406 w 7467600"/>
              <a:gd name="connsiteY431" fmla="*/ 6858000 h 6858000"/>
              <a:gd name="connsiteX432" fmla="*/ 2314492 w 7467600"/>
              <a:gd name="connsiteY432" fmla="*/ 6858000 h 6858000"/>
              <a:gd name="connsiteX433" fmla="*/ 2288095 w 7467600"/>
              <a:gd name="connsiteY433" fmla="*/ 6818030 h 6858000"/>
              <a:gd name="connsiteX434" fmla="*/ 2272768 w 7467600"/>
              <a:gd name="connsiteY434" fmla="*/ 6795822 h 6858000"/>
              <a:gd name="connsiteX435" fmla="*/ 2182715 w 7467600"/>
              <a:gd name="connsiteY435" fmla="*/ 6675071 h 6858000"/>
              <a:gd name="connsiteX436" fmla="*/ 2032061 w 7467600"/>
              <a:gd name="connsiteY436" fmla="*/ 6541380 h 6858000"/>
              <a:gd name="connsiteX437" fmla="*/ 2257220 w 7467600"/>
              <a:gd name="connsiteY437" fmla="*/ 6826257 h 6858000"/>
              <a:gd name="connsiteX438" fmla="*/ 2281324 w 7467600"/>
              <a:gd name="connsiteY438" fmla="*/ 6858000 h 6858000"/>
              <a:gd name="connsiteX439" fmla="*/ 2242860 w 7467600"/>
              <a:gd name="connsiteY439" fmla="*/ 6858000 h 6858000"/>
              <a:gd name="connsiteX440" fmla="*/ 2232818 w 7467600"/>
              <a:gd name="connsiteY440" fmla="*/ 6844926 h 6858000"/>
              <a:gd name="connsiteX441" fmla="*/ 1990172 w 7467600"/>
              <a:gd name="connsiteY441" fmla="*/ 6542121 h 6858000"/>
              <a:gd name="connsiteX442" fmla="*/ 2124090 w 7467600"/>
              <a:gd name="connsiteY442" fmla="*/ 6761017 h 6858000"/>
              <a:gd name="connsiteX443" fmla="*/ 2200380 w 7467600"/>
              <a:gd name="connsiteY443" fmla="*/ 6858000 h 6858000"/>
              <a:gd name="connsiteX444" fmla="*/ 2147507 w 7467600"/>
              <a:gd name="connsiteY444" fmla="*/ 6858000 h 6858000"/>
              <a:gd name="connsiteX445" fmla="*/ 2070668 w 7467600"/>
              <a:gd name="connsiteY445" fmla="*/ 6761520 h 6858000"/>
              <a:gd name="connsiteX446" fmla="*/ 1975142 w 7467600"/>
              <a:gd name="connsiteY446" fmla="*/ 6585570 h 6858000"/>
              <a:gd name="connsiteX447" fmla="*/ 2050035 w 7467600"/>
              <a:gd name="connsiteY447" fmla="*/ 6813345 h 6858000"/>
              <a:gd name="connsiteX448" fmla="*/ 2063025 w 7467600"/>
              <a:gd name="connsiteY448" fmla="*/ 6858000 h 6858000"/>
              <a:gd name="connsiteX449" fmla="*/ 2021675 w 7467600"/>
              <a:gd name="connsiteY449" fmla="*/ 6858000 h 6858000"/>
              <a:gd name="connsiteX450" fmla="*/ 2019308 w 7467600"/>
              <a:gd name="connsiteY450" fmla="*/ 6847118 h 6858000"/>
              <a:gd name="connsiteX451" fmla="*/ 1938835 w 7467600"/>
              <a:gd name="connsiteY451" fmla="*/ 6551160 h 6858000"/>
              <a:gd name="connsiteX452" fmla="*/ 1953230 w 7467600"/>
              <a:gd name="connsiteY452" fmla="*/ 6759699 h 6858000"/>
              <a:gd name="connsiteX453" fmla="*/ 1956763 w 7467600"/>
              <a:gd name="connsiteY453" fmla="*/ 6778191 h 6858000"/>
              <a:gd name="connsiteX454" fmla="*/ 1967925 w 7467600"/>
              <a:gd name="connsiteY454" fmla="*/ 6858000 h 6858000"/>
              <a:gd name="connsiteX455" fmla="*/ 1936622 w 7467600"/>
              <a:gd name="connsiteY455" fmla="*/ 6858000 h 6858000"/>
              <a:gd name="connsiteX456" fmla="*/ 1926261 w 7467600"/>
              <a:gd name="connsiteY456" fmla="*/ 6784064 h 6858000"/>
              <a:gd name="connsiteX457" fmla="*/ 1922724 w 7467600"/>
              <a:gd name="connsiteY457" fmla="*/ 6765577 h 6858000"/>
              <a:gd name="connsiteX458" fmla="*/ 1904650 w 7467600"/>
              <a:gd name="connsiteY458" fmla="*/ 6639616 h 6858000"/>
              <a:gd name="connsiteX459" fmla="*/ 1885273 w 7467600"/>
              <a:gd name="connsiteY459" fmla="*/ 6858000 h 6858000"/>
              <a:gd name="connsiteX460" fmla="*/ 1854363 w 7467600"/>
              <a:gd name="connsiteY460" fmla="*/ 6858000 h 6858000"/>
              <a:gd name="connsiteX461" fmla="*/ 1880391 w 7467600"/>
              <a:gd name="connsiteY461" fmla="*/ 6603796 h 6858000"/>
              <a:gd name="connsiteX462" fmla="*/ 1818273 w 7467600"/>
              <a:gd name="connsiteY462" fmla="*/ 6715729 h 6858000"/>
              <a:gd name="connsiteX463" fmla="*/ 1794691 w 7467600"/>
              <a:gd name="connsiteY463" fmla="*/ 6843239 h 6858000"/>
              <a:gd name="connsiteX464" fmla="*/ 1794914 w 7467600"/>
              <a:gd name="connsiteY464" fmla="*/ 6858000 h 6858000"/>
              <a:gd name="connsiteX465" fmla="*/ 1746128 w 7467600"/>
              <a:gd name="connsiteY465" fmla="*/ 6858000 h 6858000"/>
              <a:gd name="connsiteX466" fmla="*/ 1753934 w 7467600"/>
              <a:gd name="connsiteY466" fmla="*/ 6724796 h 6858000"/>
              <a:gd name="connsiteX467" fmla="*/ 1792053 w 7467600"/>
              <a:gd name="connsiteY467" fmla="*/ 6572396 h 6858000"/>
              <a:gd name="connsiteX468" fmla="*/ 1862248 w 7467600"/>
              <a:gd name="connsiteY468" fmla="*/ 6266397 h 6858000"/>
              <a:gd name="connsiteX469" fmla="*/ 1862250 w 7467600"/>
              <a:gd name="connsiteY469" fmla="*/ 6033531 h 6858000"/>
              <a:gd name="connsiteX470" fmla="*/ 1211999 w 7467600"/>
              <a:gd name="connsiteY470" fmla="*/ 6683610 h 6858000"/>
              <a:gd name="connsiteX471" fmla="*/ 1213266 w 7467600"/>
              <a:gd name="connsiteY471" fmla="*/ 6691947 h 6858000"/>
              <a:gd name="connsiteX472" fmla="*/ 1203370 w 7467600"/>
              <a:gd name="connsiteY472" fmla="*/ 6850676 h 6858000"/>
              <a:gd name="connsiteX473" fmla="*/ 1203671 w 7467600"/>
              <a:gd name="connsiteY473" fmla="*/ 6858000 h 6858000"/>
              <a:gd name="connsiteX474" fmla="*/ 1143180 w 7467600"/>
              <a:gd name="connsiteY474" fmla="*/ 6858000 h 6858000"/>
              <a:gd name="connsiteX475" fmla="*/ 1142176 w 7467600"/>
              <a:gd name="connsiteY475" fmla="*/ 6766045 h 6858000"/>
              <a:gd name="connsiteX476" fmla="*/ 1067484 w 7467600"/>
              <a:gd name="connsiteY476" fmla="*/ 6858000 h 6858000"/>
              <a:gd name="connsiteX477" fmla="*/ 953928 w 7467600"/>
              <a:gd name="connsiteY477" fmla="*/ 6858000 h 6858000"/>
              <a:gd name="connsiteX478" fmla="*/ 959715 w 7467600"/>
              <a:gd name="connsiteY478" fmla="*/ 6850185 h 6858000"/>
              <a:gd name="connsiteX479" fmla="*/ 1483788 w 7467600"/>
              <a:gd name="connsiteY479" fmla="*/ 6259174 h 6858000"/>
              <a:gd name="connsiteX480" fmla="*/ 1100671 w 7467600"/>
              <a:gd name="connsiteY480" fmla="*/ 6252137 h 6858000"/>
              <a:gd name="connsiteX481" fmla="*/ 1090144 w 7467600"/>
              <a:gd name="connsiteY481" fmla="*/ 6256748 h 6858000"/>
              <a:gd name="connsiteX482" fmla="*/ 1095872 w 7467600"/>
              <a:gd name="connsiteY482" fmla="*/ 6271892 h 6858000"/>
              <a:gd name="connsiteX483" fmla="*/ 262785 w 7467600"/>
              <a:gd name="connsiteY483" fmla="*/ 6845450 h 6858000"/>
              <a:gd name="connsiteX484" fmla="*/ 209968 w 7467600"/>
              <a:gd name="connsiteY484" fmla="*/ 6770713 h 6858000"/>
              <a:gd name="connsiteX485" fmla="*/ 873460 w 7467600"/>
              <a:gd name="connsiteY485" fmla="*/ 6253768 h 6858000"/>
              <a:gd name="connsiteX486" fmla="*/ 192686 w 7467600"/>
              <a:gd name="connsiteY486" fmla="*/ 5849257 h 6858000"/>
              <a:gd name="connsiteX487" fmla="*/ 4696 w 7467600"/>
              <a:gd name="connsiteY487" fmla="*/ 5697668 h 6858000"/>
              <a:gd name="connsiteX488" fmla="*/ 0 w 7467600"/>
              <a:gd name="connsiteY488" fmla="*/ 5689984 h 6858000"/>
              <a:gd name="connsiteX489" fmla="*/ 0 w 7467600"/>
              <a:gd name="connsiteY489" fmla="*/ 5513472 h 6858000"/>
              <a:gd name="connsiteX490" fmla="*/ 174101 w 7467600"/>
              <a:gd name="connsiteY490" fmla="*/ 5620277 h 6858000"/>
              <a:gd name="connsiteX491" fmla="*/ 891800 w 7467600"/>
              <a:gd name="connsiteY491" fmla="*/ 6036935 h 6858000"/>
              <a:gd name="connsiteX492" fmla="*/ 1072219 w 7467600"/>
              <a:gd name="connsiteY492" fmla="*/ 6169443 h 6858000"/>
              <a:gd name="connsiteX493" fmla="*/ 1074117 w 7467600"/>
              <a:gd name="connsiteY493" fmla="*/ 6170301 h 6858000"/>
              <a:gd name="connsiteX494" fmla="*/ 1083114 w 7467600"/>
              <a:gd name="connsiteY494" fmla="*/ 6174131 h 6858000"/>
              <a:gd name="connsiteX495" fmla="*/ 1543010 w 7467600"/>
              <a:gd name="connsiteY495" fmla="*/ 6191140 h 6858000"/>
              <a:gd name="connsiteX496" fmla="*/ 1551080 w 7467600"/>
              <a:gd name="connsiteY496" fmla="*/ 6195006 h 6858000"/>
              <a:gd name="connsiteX497" fmla="*/ 2345443 w 7467600"/>
              <a:gd name="connsiteY497" fmla="*/ 5549882 h 6858000"/>
              <a:gd name="connsiteX498" fmla="*/ 1721499 w 7467600"/>
              <a:gd name="connsiteY498" fmla="*/ 5599969 h 6858000"/>
              <a:gd name="connsiteX499" fmla="*/ 767716 w 7467600"/>
              <a:gd name="connsiteY499" fmla="*/ 5472768 h 6858000"/>
              <a:gd name="connsiteX500" fmla="*/ 722147 w 7467600"/>
              <a:gd name="connsiteY500" fmla="*/ 5393091 h 6858000"/>
              <a:gd name="connsiteX501" fmla="*/ 1485552 w 7467600"/>
              <a:gd name="connsiteY501" fmla="*/ 5313202 h 6858000"/>
              <a:gd name="connsiteX502" fmla="*/ 2143004 w 7467600"/>
              <a:gd name="connsiteY502" fmla="*/ 5402420 h 6858000"/>
              <a:gd name="connsiteX503" fmla="*/ 1933391 w 7467600"/>
              <a:gd name="connsiteY503" fmla="*/ 5156971 h 6858000"/>
              <a:gd name="connsiteX504" fmla="*/ 1827118 w 7467600"/>
              <a:gd name="connsiteY504" fmla="*/ 4968410 h 6858000"/>
              <a:gd name="connsiteX505" fmla="*/ 1837349 w 7467600"/>
              <a:gd name="connsiteY505" fmla="*/ 4956357 h 6858000"/>
              <a:gd name="connsiteX506" fmla="*/ 2162835 w 7467600"/>
              <a:gd name="connsiteY506" fmla="*/ 5187853 h 6858000"/>
              <a:gd name="connsiteX507" fmla="*/ 2257167 w 7467600"/>
              <a:gd name="connsiteY507" fmla="*/ 5462123 h 6858000"/>
              <a:gd name="connsiteX508" fmla="*/ 2261598 w 7467600"/>
              <a:gd name="connsiteY508" fmla="*/ 5467998 h 6858000"/>
              <a:gd name="connsiteX509" fmla="*/ 2437177 w 7467600"/>
              <a:gd name="connsiteY509" fmla="*/ 5479608 h 6858000"/>
              <a:gd name="connsiteX510" fmla="*/ 2445247 w 7467600"/>
              <a:gd name="connsiteY510" fmla="*/ 5483476 h 6858000"/>
              <a:gd name="connsiteX511" fmla="*/ 2743626 w 7467600"/>
              <a:gd name="connsiteY511" fmla="*/ 5304819 h 6858000"/>
              <a:gd name="connsiteX512" fmla="*/ 3048102 w 7467600"/>
              <a:gd name="connsiteY512" fmla="*/ 5150595 h 6858000"/>
              <a:gd name="connsiteX513" fmla="*/ 1799414 w 7467600"/>
              <a:gd name="connsiteY513" fmla="*/ 4694732 h 6858000"/>
              <a:gd name="connsiteX514" fmla="*/ 1771735 w 7467600"/>
              <a:gd name="connsiteY514" fmla="*/ 4619929 h 6858000"/>
              <a:gd name="connsiteX515" fmla="*/ 3104273 w 7467600"/>
              <a:gd name="connsiteY515" fmla="*/ 5076159 h 6858000"/>
              <a:gd name="connsiteX516" fmla="*/ 3113245 w 7467600"/>
              <a:gd name="connsiteY516" fmla="*/ 5090705 h 6858000"/>
              <a:gd name="connsiteX517" fmla="*/ 3126294 w 7467600"/>
              <a:gd name="connsiteY517" fmla="*/ 5114400 h 6858000"/>
              <a:gd name="connsiteX518" fmla="*/ 3937433 w 7467600"/>
              <a:gd name="connsiteY518" fmla="*/ 4830473 h 6858000"/>
              <a:gd name="connsiteX519" fmla="*/ 3590475 w 7467600"/>
              <a:gd name="connsiteY519" fmla="*/ 4597974 h 6858000"/>
              <a:gd name="connsiteX520" fmla="*/ 3100264 w 7467600"/>
              <a:gd name="connsiteY520" fmla="*/ 4579845 h 6858000"/>
              <a:gd name="connsiteX521" fmla="*/ 2183576 w 7467600"/>
              <a:gd name="connsiteY521" fmla="*/ 4227150 h 6858000"/>
              <a:gd name="connsiteX522" fmla="*/ 2151029 w 7467600"/>
              <a:gd name="connsiteY522" fmla="*/ 4146947 h 6858000"/>
              <a:gd name="connsiteX523" fmla="*/ 3563434 w 7467600"/>
              <a:gd name="connsiteY523" fmla="*/ 4469115 h 6858000"/>
              <a:gd name="connsiteX524" fmla="*/ 3177952 w 7467600"/>
              <a:gd name="connsiteY524" fmla="*/ 3657386 h 6858000"/>
              <a:gd name="connsiteX525" fmla="*/ 3189263 w 7467600"/>
              <a:gd name="connsiteY525" fmla="*/ 3625726 h 6858000"/>
              <a:gd name="connsiteX526" fmla="*/ 3560912 w 7467600"/>
              <a:gd name="connsiteY526" fmla="*/ 4079863 h 6858000"/>
              <a:gd name="connsiteX527" fmla="*/ 3626636 w 7467600"/>
              <a:gd name="connsiteY527" fmla="*/ 4512230 h 6858000"/>
              <a:gd name="connsiteX528" fmla="*/ 3653088 w 7467600"/>
              <a:gd name="connsiteY528" fmla="*/ 4521417 h 6858000"/>
              <a:gd name="connsiteX529" fmla="*/ 3988128 w 7467600"/>
              <a:gd name="connsiteY529" fmla="*/ 4817267 h 6858000"/>
              <a:gd name="connsiteX530" fmla="*/ 4830582 w 7467600"/>
              <a:gd name="connsiteY530" fmla="*/ 4676000 h 6858000"/>
              <a:gd name="connsiteX531" fmla="*/ 4830100 w 7467600"/>
              <a:gd name="connsiteY531" fmla="*/ 4675554 h 6858000"/>
              <a:gd name="connsiteX532" fmla="*/ 4036318 w 7467600"/>
              <a:gd name="connsiteY532" fmla="*/ 4147013 h 6858000"/>
              <a:gd name="connsiteX533" fmla="*/ 3432098 w 7467600"/>
              <a:gd name="connsiteY533" fmla="*/ 3537312 h 6858000"/>
              <a:gd name="connsiteX534" fmla="*/ 3446761 w 7467600"/>
              <a:gd name="connsiteY534" fmla="*/ 3461278 h 6858000"/>
              <a:gd name="connsiteX535" fmla="*/ 4419733 w 7467600"/>
              <a:gd name="connsiteY535" fmla="*/ 3963555 h 6858000"/>
              <a:gd name="connsiteX536" fmla="*/ 4781371 w 7467600"/>
              <a:gd name="connsiteY536" fmla="*/ 4458604 h 6858000"/>
              <a:gd name="connsiteX537" fmla="*/ 4780440 w 7467600"/>
              <a:gd name="connsiteY537" fmla="*/ 4470290 h 6858000"/>
              <a:gd name="connsiteX538" fmla="*/ 4898954 w 7467600"/>
              <a:gd name="connsiteY538" fmla="*/ 4662092 h 6858000"/>
              <a:gd name="connsiteX539" fmla="*/ 4900699 w 7467600"/>
              <a:gd name="connsiteY539" fmla="*/ 4670867 h 6858000"/>
              <a:gd name="connsiteX540" fmla="*/ 5714511 w 7467600"/>
              <a:gd name="connsiteY540" fmla="*/ 4663483 h 6858000"/>
              <a:gd name="connsiteX541" fmla="*/ 5464793 w 7467600"/>
              <a:gd name="connsiteY541" fmla="*/ 4393556 h 6858000"/>
              <a:gd name="connsiteX542" fmla="*/ 5461897 w 7467600"/>
              <a:gd name="connsiteY542" fmla="*/ 4390879 h 6858000"/>
              <a:gd name="connsiteX543" fmla="*/ 4294126 w 7467600"/>
              <a:gd name="connsiteY543" fmla="*/ 3303048 h 6858000"/>
              <a:gd name="connsiteX544" fmla="*/ 4305321 w 7467600"/>
              <a:gd name="connsiteY544" fmla="*/ 3256953 h 6858000"/>
              <a:gd name="connsiteX545" fmla="*/ 4949299 w 7467600"/>
              <a:gd name="connsiteY545" fmla="*/ 3766336 h 6858000"/>
              <a:gd name="connsiteX546" fmla="*/ 5291452 w 7467600"/>
              <a:gd name="connsiteY546" fmla="*/ 4076801 h 6858000"/>
              <a:gd name="connsiteX547" fmla="*/ 5434998 w 7467600"/>
              <a:gd name="connsiteY547" fmla="*/ 4254100 h 6858000"/>
              <a:gd name="connsiteX548" fmla="*/ 5351015 w 7467600"/>
              <a:gd name="connsiteY548" fmla="*/ 3760989 h 6858000"/>
              <a:gd name="connsiteX549" fmla="*/ 5413780 w 7467600"/>
              <a:gd name="connsiteY549" fmla="*/ 2966265 h 6858000"/>
              <a:gd name="connsiteX550" fmla="*/ 5425627 w 7467600"/>
              <a:gd name="connsiteY550" fmla="*/ 2954192 h 6858000"/>
              <a:gd name="connsiteX551" fmla="*/ 6604735 w 7467600"/>
              <a:gd name="connsiteY551" fmla="*/ 2041381 h 6858000"/>
              <a:gd name="connsiteX552" fmla="*/ 7204487 w 7467600"/>
              <a:gd name="connsiteY552" fmla="*/ 2742112 h 6858000"/>
              <a:gd name="connsiteX553" fmla="*/ 7131592 w 7467600"/>
              <a:gd name="connsiteY553" fmla="*/ 2672096 h 6858000"/>
              <a:gd name="connsiteX554" fmla="*/ 6996344 w 7467600"/>
              <a:gd name="connsiteY554" fmla="*/ 2518310 h 6858000"/>
              <a:gd name="connsiteX555" fmla="*/ 6735495 w 7467600"/>
              <a:gd name="connsiteY555" fmla="*/ 2196890 h 6858000"/>
              <a:gd name="connsiteX556" fmla="*/ 6721901 w 7467600"/>
              <a:gd name="connsiteY556" fmla="*/ 2179274 h 6858000"/>
              <a:gd name="connsiteX557" fmla="*/ 6604735 w 7467600"/>
              <a:gd name="connsiteY557" fmla="*/ 2041381 h 6858000"/>
              <a:gd name="connsiteX558" fmla="*/ 6591670 w 7467600"/>
              <a:gd name="connsiteY558" fmla="*/ 1988277 h 6858000"/>
              <a:gd name="connsiteX559" fmla="*/ 6747349 w 7467600"/>
              <a:gd name="connsiteY559" fmla="*/ 2160069 h 6858000"/>
              <a:gd name="connsiteX560" fmla="*/ 6760943 w 7467600"/>
              <a:gd name="connsiteY560" fmla="*/ 2177686 h 6858000"/>
              <a:gd name="connsiteX561" fmla="*/ 7021065 w 7467600"/>
              <a:gd name="connsiteY561" fmla="*/ 2498102 h 6858000"/>
              <a:gd name="connsiteX562" fmla="*/ 7155223 w 7467600"/>
              <a:gd name="connsiteY562" fmla="*/ 2650386 h 6858000"/>
              <a:gd name="connsiteX563" fmla="*/ 7203167 w 7467600"/>
              <a:gd name="connsiteY563" fmla="*/ 2697288 h 6858000"/>
              <a:gd name="connsiteX564" fmla="*/ 6937703 w 7467600"/>
              <a:gd name="connsiteY564" fmla="*/ 2321981 h 6858000"/>
              <a:gd name="connsiteX565" fmla="*/ 6591670 w 7467600"/>
              <a:gd name="connsiteY565" fmla="*/ 1988277 h 6858000"/>
              <a:gd name="connsiteX566" fmla="*/ 5798671 w 7467600"/>
              <a:gd name="connsiteY566" fmla="*/ 1981601 h 6858000"/>
              <a:gd name="connsiteX567" fmla="*/ 5754709 w 7467600"/>
              <a:gd name="connsiteY567" fmla="*/ 2071454 h 6858000"/>
              <a:gd name="connsiteX568" fmla="*/ 5763044 w 7467600"/>
              <a:gd name="connsiteY568" fmla="*/ 2842206 h 6858000"/>
              <a:gd name="connsiteX569" fmla="*/ 5764974 w 7467600"/>
              <a:gd name="connsiteY569" fmla="*/ 2799609 h 6858000"/>
              <a:gd name="connsiteX570" fmla="*/ 5767665 w 7467600"/>
              <a:gd name="connsiteY570" fmla="*/ 2666409 h 6858000"/>
              <a:gd name="connsiteX571" fmla="*/ 5763055 w 7467600"/>
              <a:gd name="connsiteY571" fmla="*/ 2579705 h 6858000"/>
              <a:gd name="connsiteX572" fmla="*/ 5758079 w 7467600"/>
              <a:gd name="connsiteY572" fmla="*/ 2492508 h 6858000"/>
              <a:gd name="connsiteX573" fmla="*/ 5779325 w 7467600"/>
              <a:gd name="connsiteY573" fmla="*/ 2197069 h 6858000"/>
              <a:gd name="connsiteX574" fmla="*/ 5798671 w 7467600"/>
              <a:gd name="connsiteY574" fmla="*/ 1981601 h 6858000"/>
              <a:gd name="connsiteX575" fmla="*/ 5829202 w 7467600"/>
              <a:gd name="connsiteY575" fmla="*/ 1971679 h 6858000"/>
              <a:gd name="connsiteX576" fmla="*/ 5809558 w 7467600"/>
              <a:gd name="connsiteY576" fmla="*/ 2198043 h 6858000"/>
              <a:gd name="connsiteX577" fmla="*/ 5788653 w 7467600"/>
              <a:gd name="connsiteY577" fmla="*/ 2489430 h 6858000"/>
              <a:gd name="connsiteX578" fmla="*/ 5793439 w 7467600"/>
              <a:gd name="connsiteY578" fmla="*/ 2575235 h 6858000"/>
              <a:gd name="connsiteX579" fmla="*/ 5796837 w 7467600"/>
              <a:gd name="connsiteY579" fmla="*/ 2637633 h 6858000"/>
              <a:gd name="connsiteX580" fmla="*/ 5818614 w 7467600"/>
              <a:gd name="connsiteY580" fmla="*/ 2473055 h 6858000"/>
              <a:gd name="connsiteX581" fmla="*/ 5829202 w 7467600"/>
              <a:gd name="connsiteY581" fmla="*/ 1971679 h 6858000"/>
              <a:gd name="connsiteX582" fmla="*/ 5911389 w 7467600"/>
              <a:gd name="connsiteY582" fmla="*/ 1898371 h 6858000"/>
              <a:gd name="connsiteX583" fmla="*/ 6237627 w 7467600"/>
              <a:gd name="connsiteY583" fmla="*/ 2231921 h 6858000"/>
              <a:gd name="connsiteX584" fmla="*/ 5911389 w 7467600"/>
              <a:gd name="connsiteY584" fmla="*/ 1898371 h 6858000"/>
              <a:gd name="connsiteX585" fmla="*/ 6944437 w 7467600"/>
              <a:gd name="connsiteY585" fmla="*/ 1575402 h 6858000"/>
              <a:gd name="connsiteX586" fmla="*/ 6304730 w 7467600"/>
              <a:gd name="connsiteY586" fmla="*/ 1766654 h 6858000"/>
              <a:gd name="connsiteX587" fmla="*/ 6944437 w 7467600"/>
              <a:gd name="connsiteY587" fmla="*/ 1575402 h 6858000"/>
              <a:gd name="connsiteX588" fmla="*/ 7019523 w 7467600"/>
              <a:gd name="connsiteY588" fmla="*/ 1519450 h 6858000"/>
              <a:gd name="connsiteX589" fmla="*/ 6298091 w 7467600"/>
              <a:gd name="connsiteY589" fmla="*/ 1737122 h 6858000"/>
              <a:gd name="connsiteX590" fmla="*/ 7019523 w 7467600"/>
              <a:gd name="connsiteY590" fmla="*/ 1519450 h 6858000"/>
              <a:gd name="connsiteX591" fmla="*/ 2399523 w 7467600"/>
              <a:gd name="connsiteY591" fmla="*/ 1428234 h 6858000"/>
              <a:gd name="connsiteX592" fmla="*/ 2224982 w 7467600"/>
              <a:gd name="connsiteY592" fmla="*/ 1826201 h 6858000"/>
              <a:gd name="connsiteX593" fmla="*/ 2096099 w 7467600"/>
              <a:gd name="connsiteY593" fmla="*/ 2345900 h 6858000"/>
              <a:gd name="connsiteX594" fmla="*/ 2283317 w 7467600"/>
              <a:gd name="connsiteY594" fmla="*/ 1796925 h 6858000"/>
              <a:gd name="connsiteX595" fmla="*/ 2399523 w 7467600"/>
              <a:gd name="connsiteY595" fmla="*/ 1428234 h 6858000"/>
              <a:gd name="connsiteX596" fmla="*/ 2448558 w 7467600"/>
              <a:gd name="connsiteY596" fmla="*/ 1373435 h 6858000"/>
              <a:gd name="connsiteX597" fmla="*/ 2312521 w 7467600"/>
              <a:gd name="connsiteY597" fmla="*/ 1806140 h 6858000"/>
              <a:gd name="connsiteX598" fmla="*/ 2127533 w 7467600"/>
              <a:gd name="connsiteY598" fmla="*/ 2348380 h 6858000"/>
              <a:gd name="connsiteX599" fmla="*/ 2358080 w 7467600"/>
              <a:gd name="connsiteY599" fmla="*/ 1866134 h 6858000"/>
              <a:gd name="connsiteX600" fmla="*/ 2407436 w 7467600"/>
              <a:gd name="connsiteY600" fmla="*/ 1651070 h 6858000"/>
              <a:gd name="connsiteX601" fmla="*/ 2448558 w 7467600"/>
              <a:gd name="connsiteY601" fmla="*/ 1373435 h 6858000"/>
              <a:gd name="connsiteX602" fmla="*/ 278707 w 7467600"/>
              <a:gd name="connsiteY602" fmla="*/ 1352270 h 6858000"/>
              <a:gd name="connsiteX603" fmla="*/ 321570 w 7467600"/>
              <a:gd name="connsiteY603" fmla="*/ 1861610 h 6858000"/>
              <a:gd name="connsiteX604" fmla="*/ 294281 w 7467600"/>
              <a:gd name="connsiteY604" fmla="*/ 1440658 h 6858000"/>
              <a:gd name="connsiteX605" fmla="*/ 278707 w 7467600"/>
              <a:gd name="connsiteY605" fmla="*/ 1352270 h 6858000"/>
              <a:gd name="connsiteX606" fmla="*/ 1423821 w 7467600"/>
              <a:gd name="connsiteY606" fmla="*/ 1351958 h 6858000"/>
              <a:gd name="connsiteX607" fmla="*/ 1638521 w 7467600"/>
              <a:gd name="connsiteY607" fmla="*/ 1908470 h 6858000"/>
              <a:gd name="connsiteX608" fmla="*/ 1754199 w 7467600"/>
              <a:gd name="connsiteY608" fmla="*/ 2149284 h 6858000"/>
              <a:gd name="connsiteX609" fmla="*/ 1908359 w 7467600"/>
              <a:gd name="connsiteY609" fmla="*/ 2364988 h 6858000"/>
              <a:gd name="connsiteX610" fmla="*/ 1647661 w 7467600"/>
              <a:gd name="connsiteY610" fmla="*/ 1825945 h 6858000"/>
              <a:gd name="connsiteX611" fmla="*/ 1423821 w 7467600"/>
              <a:gd name="connsiteY611" fmla="*/ 1351958 h 6858000"/>
              <a:gd name="connsiteX612" fmla="*/ 1431890 w 7467600"/>
              <a:gd name="connsiteY612" fmla="*/ 1306475 h 6858000"/>
              <a:gd name="connsiteX613" fmla="*/ 1507597 w 7467600"/>
              <a:gd name="connsiteY613" fmla="*/ 1446132 h 6858000"/>
              <a:gd name="connsiteX614" fmla="*/ 1674586 w 7467600"/>
              <a:gd name="connsiteY614" fmla="*/ 1813832 h 6858000"/>
              <a:gd name="connsiteX615" fmla="*/ 1815950 w 7467600"/>
              <a:gd name="connsiteY615" fmla="*/ 2128564 h 6858000"/>
              <a:gd name="connsiteX616" fmla="*/ 1984242 w 7467600"/>
              <a:gd name="connsiteY616" fmla="*/ 2430829 h 6858000"/>
              <a:gd name="connsiteX617" fmla="*/ 2014023 w 7467600"/>
              <a:gd name="connsiteY617" fmla="*/ 2450995 h 6858000"/>
              <a:gd name="connsiteX618" fmla="*/ 1747337 w 7467600"/>
              <a:gd name="connsiteY618" fmla="*/ 1855264 h 6858000"/>
              <a:gd name="connsiteX619" fmla="*/ 1533749 w 7467600"/>
              <a:gd name="connsiteY619" fmla="*/ 1478656 h 6858000"/>
              <a:gd name="connsiteX620" fmla="*/ 1431890 w 7467600"/>
              <a:gd name="connsiteY620" fmla="*/ 1306475 h 6858000"/>
              <a:gd name="connsiteX621" fmla="*/ 5052692 w 7467600"/>
              <a:gd name="connsiteY621" fmla="*/ 1292994 h 6858000"/>
              <a:gd name="connsiteX622" fmla="*/ 5200661 w 7467600"/>
              <a:gd name="connsiteY622" fmla="*/ 1635186 h 6858000"/>
              <a:gd name="connsiteX623" fmla="*/ 5297138 w 7467600"/>
              <a:gd name="connsiteY623" fmla="*/ 1906351 h 6858000"/>
              <a:gd name="connsiteX624" fmla="*/ 5052692 w 7467600"/>
              <a:gd name="connsiteY624" fmla="*/ 1292994 h 6858000"/>
              <a:gd name="connsiteX625" fmla="*/ 5009948 w 7467600"/>
              <a:gd name="connsiteY625" fmla="*/ 1273619 h 6858000"/>
              <a:gd name="connsiteX626" fmla="*/ 5121777 w 7467600"/>
              <a:gd name="connsiteY626" fmla="*/ 1654213 h 6858000"/>
              <a:gd name="connsiteX627" fmla="*/ 5293545 w 7467600"/>
              <a:gd name="connsiteY627" fmla="*/ 2072247 h 6858000"/>
              <a:gd name="connsiteX628" fmla="*/ 5294042 w 7467600"/>
              <a:gd name="connsiteY628" fmla="*/ 2065019 h 6858000"/>
              <a:gd name="connsiteX629" fmla="*/ 5171936 w 7467600"/>
              <a:gd name="connsiteY629" fmla="*/ 1647613 h 6858000"/>
              <a:gd name="connsiteX630" fmla="*/ 5009948 w 7467600"/>
              <a:gd name="connsiteY630" fmla="*/ 1273619 h 6858000"/>
              <a:gd name="connsiteX631" fmla="*/ 655236 w 7467600"/>
              <a:gd name="connsiteY631" fmla="*/ 1268632 h 6858000"/>
              <a:gd name="connsiteX632" fmla="*/ 839521 w 7467600"/>
              <a:gd name="connsiteY632" fmla="*/ 1685315 h 6858000"/>
              <a:gd name="connsiteX633" fmla="*/ 1109416 w 7467600"/>
              <a:gd name="connsiteY633" fmla="*/ 2061663 h 6858000"/>
              <a:gd name="connsiteX634" fmla="*/ 1298300 w 7467600"/>
              <a:gd name="connsiteY634" fmla="*/ 2247742 h 6858000"/>
              <a:gd name="connsiteX635" fmla="*/ 1125871 w 7467600"/>
              <a:gd name="connsiteY635" fmla="*/ 1989513 h 6858000"/>
              <a:gd name="connsiteX636" fmla="*/ 981574 w 7467600"/>
              <a:gd name="connsiteY636" fmla="*/ 1783157 h 6858000"/>
              <a:gd name="connsiteX637" fmla="*/ 922198 w 7467600"/>
              <a:gd name="connsiteY637" fmla="*/ 1677437 h 6858000"/>
              <a:gd name="connsiteX638" fmla="*/ 869293 w 7467600"/>
              <a:gd name="connsiteY638" fmla="*/ 1583214 h 6858000"/>
              <a:gd name="connsiteX639" fmla="*/ 751431 w 7467600"/>
              <a:gd name="connsiteY639" fmla="*/ 1405731 h 6858000"/>
              <a:gd name="connsiteX640" fmla="*/ 655236 w 7467600"/>
              <a:gd name="connsiteY640" fmla="*/ 1268632 h 6858000"/>
              <a:gd name="connsiteX641" fmla="*/ 6516292 w 7467600"/>
              <a:gd name="connsiteY641" fmla="*/ 1263064 h 6858000"/>
              <a:gd name="connsiteX642" fmla="*/ 5736320 w 7467600"/>
              <a:gd name="connsiteY642" fmla="*/ 1501803 h 6858000"/>
              <a:gd name="connsiteX643" fmla="*/ 6516292 w 7467600"/>
              <a:gd name="connsiteY643" fmla="*/ 1263064 h 6858000"/>
              <a:gd name="connsiteX644" fmla="*/ 291466 w 7467600"/>
              <a:gd name="connsiteY644" fmla="*/ 1250369 h 6858000"/>
              <a:gd name="connsiteX645" fmla="*/ 323180 w 7467600"/>
              <a:gd name="connsiteY645" fmla="*/ 1435283 h 6858000"/>
              <a:gd name="connsiteX646" fmla="*/ 349381 w 7467600"/>
              <a:gd name="connsiteY646" fmla="*/ 1875041 h 6858000"/>
              <a:gd name="connsiteX647" fmla="*/ 374363 w 7467600"/>
              <a:gd name="connsiteY647" fmla="*/ 1506494 h 6858000"/>
              <a:gd name="connsiteX648" fmla="*/ 302168 w 7467600"/>
              <a:gd name="connsiteY648" fmla="*/ 1274495 h 6858000"/>
              <a:gd name="connsiteX649" fmla="*/ 291466 w 7467600"/>
              <a:gd name="connsiteY649" fmla="*/ 1250369 h 6858000"/>
              <a:gd name="connsiteX650" fmla="*/ 678222 w 7467600"/>
              <a:gd name="connsiteY650" fmla="*/ 1248670 h 6858000"/>
              <a:gd name="connsiteX651" fmla="*/ 775536 w 7467600"/>
              <a:gd name="connsiteY651" fmla="*/ 1388015 h 6858000"/>
              <a:gd name="connsiteX652" fmla="*/ 894529 w 7467600"/>
              <a:gd name="connsiteY652" fmla="*/ 1567739 h 6858000"/>
              <a:gd name="connsiteX653" fmla="*/ 948000 w 7467600"/>
              <a:gd name="connsiteY653" fmla="*/ 1663088 h 6858000"/>
              <a:gd name="connsiteX654" fmla="*/ 1006812 w 7467600"/>
              <a:gd name="connsiteY654" fmla="*/ 1767683 h 6858000"/>
              <a:gd name="connsiteX655" fmla="*/ 1149133 w 7467600"/>
              <a:gd name="connsiteY655" fmla="*/ 1971513 h 6858000"/>
              <a:gd name="connsiteX656" fmla="*/ 1333952 w 7467600"/>
              <a:gd name="connsiteY656" fmla="*/ 2251620 h 6858000"/>
              <a:gd name="connsiteX657" fmla="*/ 1337329 w 7467600"/>
              <a:gd name="connsiteY657" fmla="*/ 2258350 h 6858000"/>
              <a:gd name="connsiteX658" fmla="*/ 1014726 w 7467600"/>
              <a:gd name="connsiteY658" fmla="*/ 1615556 h 6858000"/>
              <a:gd name="connsiteX659" fmla="*/ 678222 w 7467600"/>
              <a:gd name="connsiteY659" fmla="*/ 1248670 h 6858000"/>
              <a:gd name="connsiteX660" fmla="*/ 6691602 w 7467600"/>
              <a:gd name="connsiteY660" fmla="*/ 1140573 h 6858000"/>
              <a:gd name="connsiteX661" fmla="*/ 6571100 w 7467600"/>
              <a:gd name="connsiteY661" fmla="*/ 1183662 h 6858000"/>
              <a:gd name="connsiteX662" fmla="*/ 6241687 w 7467600"/>
              <a:gd name="connsiteY662" fmla="*/ 1257600 h 6858000"/>
              <a:gd name="connsiteX663" fmla="*/ 5693009 w 7467600"/>
              <a:gd name="connsiteY663" fmla="*/ 1478256 h 6858000"/>
              <a:gd name="connsiteX664" fmla="*/ 6548420 w 7467600"/>
              <a:gd name="connsiteY664" fmla="*/ 1214599 h 6858000"/>
              <a:gd name="connsiteX665" fmla="*/ 6605473 w 7467600"/>
              <a:gd name="connsiteY665" fmla="*/ 1184686 h 6858000"/>
              <a:gd name="connsiteX666" fmla="*/ 6691602 w 7467600"/>
              <a:gd name="connsiteY666" fmla="*/ 1140573 h 6858000"/>
              <a:gd name="connsiteX667" fmla="*/ 4002475 w 7467600"/>
              <a:gd name="connsiteY667" fmla="*/ 1037802 h 6858000"/>
              <a:gd name="connsiteX668" fmla="*/ 4000324 w 7467600"/>
              <a:gd name="connsiteY668" fmla="*/ 1039362 h 6858000"/>
              <a:gd name="connsiteX669" fmla="*/ 4002862 w 7467600"/>
              <a:gd name="connsiteY669" fmla="*/ 1042866 h 6858000"/>
              <a:gd name="connsiteX670" fmla="*/ 4002475 w 7467600"/>
              <a:gd name="connsiteY670" fmla="*/ 1037802 h 6858000"/>
              <a:gd name="connsiteX671" fmla="*/ 506322 w 7467600"/>
              <a:gd name="connsiteY671" fmla="*/ 1020997 h 6858000"/>
              <a:gd name="connsiteX672" fmla="*/ 533068 w 7467600"/>
              <a:gd name="connsiteY672" fmla="*/ 1029409 h 6858000"/>
              <a:gd name="connsiteX673" fmla="*/ 1232525 w 7467600"/>
              <a:gd name="connsiteY673" fmla="*/ 1804675 h 6858000"/>
              <a:gd name="connsiteX674" fmla="*/ 1388858 w 7467600"/>
              <a:gd name="connsiteY674" fmla="*/ 2368011 h 6858000"/>
              <a:gd name="connsiteX675" fmla="*/ 1384098 w 7467600"/>
              <a:gd name="connsiteY675" fmla="*/ 2378125 h 6858000"/>
              <a:gd name="connsiteX676" fmla="*/ 1425393 w 7467600"/>
              <a:gd name="connsiteY676" fmla="*/ 2589124 h 6858000"/>
              <a:gd name="connsiteX677" fmla="*/ 1424001 w 7467600"/>
              <a:gd name="connsiteY677" fmla="*/ 2597541 h 6858000"/>
              <a:gd name="connsiteX678" fmla="*/ 2152729 w 7467600"/>
              <a:gd name="connsiteY678" fmla="*/ 2864487 h 6858000"/>
              <a:gd name="connsiteX679" fmla="*/ 2020609 w 7467600"/>
              <a:gd name="connsiteY679" fmla="*/ 2539671 h 6858000"/>
              <a:gd name="connsiteX680" fmla="*/ 2018920 w 7467600"/>
              <a:gd name="connsiteY680" fmla="*/ 2536309 h 6858000"/>
              <a:gd name="connsiteX681" fmla="*/ 1342441 w 7467600"/>
              <a:gd name="connsiteY681" fmla="*/ 1173017 h 6858000"/>
              <a:gd name="connsiteX682" fmla="*/ 1367925 w 7467600"/>
              <a:gd name="connsiteY682" fmla="*/ 1135648 h 6858000"/>
              <a:gd name="connsiteX683" fmla="*/ 1771401 w 7467600"/>
              <a:gd name="connsiteY683" fmla="*/ 1806673 h 6858000"/>
              <a:gd name="connsiteX684" fmla="*/ 1972385 w 7467600"/>
              <a:gd name="connsiteY684" fmla="*/ 2198735 h 6858000"/>
              <a:gd name="connsiteX685" fmla="*/ 2040892 w 7467600"/>
              <a:gd name="connsiteY685" fmla="*/ 2405205 h 6858000"/>
              <a:gd name="connsiteX686" fmla="*/ 2131689 w 7467600"/>
              <a:gd name="connsiteY686" fmla="*/ 1936926 h 6858000"/>
              <a:gd name="connsiteX687" fmla="*/ 2454820 w 7467600"/>
              <a:gd name="connsiteY687" fmla="*/ 1248808 h 6858000"/>
              <a:gd name="connsiteX688" fmla="*/ 2492512 w 7467600"/>
              <a:gd name="connsiteY688" fmla="*/ 1302920 h 6858000"/>
              <a:gd name="connsiteX689" fmla="*/ 2081216 w 7467600"/>
              <a:gd name="connsiteY689" fmla="*/ 2527513 h 6858000"/>
              <a:gd name="connsiteX690" fmla="*/ 2081211 w 7467600"/>
              <a:gd name="connsiteY690" fmla="*/ 2528916 h 6858000"/>
              <a:gd name="connsiteX691" fmla="*/ 2199067 w 7467600"/>
              <a:gd name="connsiteY691" fmla="*/ 2884061 h 6858000"/>
              <a:gd name="connsiteX692" fmla="*/ 3192586 w 7467600"/>
              <a:gd name="connsiteY692" fmla="*/ 3411496 h 6858000"/>
              <a:gd name="connsiteX693" fmla="*/ 3182620 w 7467600"/>
              <a:gd name="connsiteY693" fmla="*/ 3483279 h 6858000"/>
              <a:gd name="connsiteX694" fmla="*/ 2435119 w 7467600"/>
              <a:gd name="connsiteY694" fmla="*/ 3080173 h 6858000"/>
              <a:gd name="connsiteX695" fmla="*/ 2410152 w 7467600"/>
              <a:gd name="connsiteY695" fmla="*/ 3063751 h 6858000"/>
              <a:gd name="connsiteX696" fmla="*/ 2408099 w 7467600"/>
              <a:gd name="connsiteY696" fmla="*/ 3064403 h 6858000"/>
              <a:gd name="connsiteX697" fmla="*/ 2407218 w 7467600"/>
              <a:gd name="connsiteY697" fmla="*/ 3070324 h 6858000"/>
              <a:gd name="connsiteX698" fmla="*/ 2380138 w 7467600"/>
              <a:gd name="connsiteY698" fmla="*/ 3099341 h 6858000"/>
              <a:gd name="connsiteX699" fmla="*/ 1765923 w 7467600"/>
              <a:gd name="connsiteY699" fmla="*/ 3581043 h 6858000"/>
              <a:gd name="connsiteX700" fmla="*/ 1702258 w 7467600"/>
              <a:gd name="connsiteY700" fmla="*/ 3612286 h 6858000"/>
              <a:gd name="connsiteX701" fmla="*/ 1538370 w 7467600"/>
              <a:gd name="connsiteY701" fmla="*/ 3811804 h 6858000"/>
              <a:gd name="connsiteX702" fmla="*/ 542867 w 7467600"/>
              <a:gd name="connsiteY702" fmla="*/ 4944092 h 6858000"/>
              <a:gd name="connsiteX703" fmla="*/ 515800 w 7467600"/>
              <a:gd name="connsiteY703" fmla="*/ 4862180 h 6858000"/>
              <a:gd name="connsiteX704" fmla="*/ 909145 w 7467600"/>
              <a:gd name="connsiteY704" fmla="*/ 4199225 h 6858000"/>
              <a:gd name="connsiteX705" fmla="*/ 1214067 w 7467600"/>
              <a:gd name="connsiteY705" fmla="*/ 3908561 h 6858000"/>
              <a:gd name="connsiteX706" fmla="*/ 640967 w 7467600"/>
              <a:gd name="connsiteY706" fmla="*/ 4105601 h 6858000"/>
              <a:gd name="connsiteX707" fmla="*/ 112563 w 7467600"/>
              <a:gd name="connsiteY707" fmla="*/ 4396952 h 6858000"/>
              <a:gd name="connsiteX708" fmla="*/ 0 w 7467600"/>
              <a:gd name="connsiteY708" fmla="*/ 4466006 h 6858000"/>
              <a:gd name="connsiteX709" fmla="*/ 0 w 7467600"/>
              <a:gd name="connsiteY709" fmla="*/ 4233763 h 6858000"/>
              <a:gd name="connsiteX710" fmla="*/ 36881 w 7467600"/>
              <a:gd name="connsiteY710" fmla="*/ 4200118 h 6858000"/>
              <a:gd name="connsiteX711" fmla="*/ 910534 w 7467600"/>
              <a:gd name="connsiteY711" fmla="*/ 3629753 h 6858000"/>
              <a:gd name="connsiteX712" fmla="*/ 1578717 w 7467600"/>
              <a:gd name="connsiteY712" fmla="*/ 3575982 h 6858000"/>
              <a:gd name="connsiteX713" fmla="*/ 2338780 w 7467600"/>
              <a:gd name="connsiteY713" fmla="*/ 3033725 h 6858000"/>
              <a:gd name="connsiteX714" fmla="*/ 1807991 w 7467600"/>
              <a:gd name="connsiteY714" fmla="*/ 2807184 h 6858000"/>
              <a:gd name="connsiteX715" fmla="*/ 1416358 w 7467600"/>
              <a:gd name="connsiteY715" fmla="*/ 3112571 h 6858000"/>
              <a:gd name="connsiteX716" fmla="*/ 939066 w 7467600"/>
              <a:gd name="connsiteY716" fmla="*/ 3378798 h 6858000"/>
              <a:gd name="connsiteX717" fmla="*/ 115099 w 7467600"/>
              <a:gd name="connsiteY717" fmla="*/ 3607650 h 6858000"/>
              <a:gd name="connsiteX718" fmla="*/ 97284 w 7467600"/>
              <a:gd name="connsiteY718" fmla="*/ 3520393 h 6858000"/>
              <a:gd name="connsiteX719" fmla="*/ 922050 w 7467600"/>
              <a:gd name="connsiteY719" fmla="*/ 3074867 h 6858000"/>
              <a:gd name="connsiteX720" fmla="*/ 1405265 w 7467600"/>
              <a:gd name="connsiteY720" fmla="*/ 3016319 h 6858000"/>
              <a:gd name="connsiteX721" fmla="*/ 1407512 w 7467600"/>
              <a:gd name="connsiteY721" fmla="*/ 3018001 h 6858000"/>
              <a:gd name="connsiteX722" fmla="*/ 1726266 w 7467600"/>
              <a:gd name="connsiteY722" fmla="*/ 2777274 h 6858000"/>
              <a:gd name="connsiteX723" fmla="*/ 625390 w 7467600"/>
              <a:gd name="connsiteY723" fmla="*/ 2514541 h 6858000"/>
              <a:gd name="connsiteX724" fmla="*/ 619799 w 7467600"/>
              <a:gd name="connsiteY724" fmla="*/ 2527180 h 6858000"/>
              <a:gd name="connsiteX725" fmla="*/ 310030 w 7467600"/>
              <a:gd name="connsiteY725" fmla="*/ 2771818 h 6858000"/>
              <a:gd name="connsiteX726" fmla="*/ 173877 w 7467600"/>
              <a:gd name="connsiteY726" fmla="*/ 2937056 h 6858000"/>
              <a:gd name="connsiteX727" fmla="*/ 77889 w 7467600"/>
              <a:gd name="connsiteY727" fmla="*/ 3138440 h 6858000"/>
              <a:gd name="connsiteX728" fmla="*/ 0 w 7467600"/>
              <a:gd name="connsiteY728" fmla="*/ 3271395 h 6858000"/>
              <a:gd name="connsiteX729" fmla="*/ 0 w 7467600"/>
              <a:gd name="connsiteY729" fmla="*/ 3153002 h 6858000"/>
              <a:gd name="connsiteX730" fmla="*/ 2386 w 7467600"/>
              <a:gd name="connsiteY730" fmla="*/ 3149203 h 6858000"/>
              <a:gd name="connsiteX731" fmla="*/ 89753 w 7467600"/>
              <a:gd name="connsiteY731" fmla="*/ 2987702 h 6858000"/>
              <a:gd name="connsiteX732" fmla="*/ 76869 w 7467600"/>
              <a:gd name="connsiteY732" fmla="*/ 3005404 h 6858000"/>
              <a:gd name="connsiteX733" fmla="*/ 32049 w 7467600"/>
              <a:gd name="connsiteY733" fmla="*/ 3065814 h 6858000"/>
              <a:gd name="connsiteX734" fmla="*/ 0 w 7467600"/>
              <a:gd name="connsiteY734" fmla="*/ 3108744 h 6858000"/>
              <a:gd name="connsiteX735" fmla="*/ 0 w 7467600"/>
              <a:gd name="connsiteY735" fmla="*/ 3058059 h 6858000"/>
              <a:gd name="connsiteX736" fmla="*/ 7610 w 7467600"/>
              <a:gd name="connsiteY736" fmla="*/ 3047889 h 6858000"/>
              <a:gd name="connsiteX737" fmla="*/ 52419 w 7467600"/>
              <a:gd name="connsiteY737" fmla="*/ 2987479 h 6858000"/>
              <a:gd name="connsiteX738" fmla="*/ 59142 w 7467600"/>
              <a:gd name="connsiteY738" fmla="*/ 2978488 h 6858000"/>
              <a:gd name="connsiteX739" fmla="*/ 0 w 7467600"/>
              <a:gd name="connsiteY739" fmla="*/ 3015334 h 6858000"/>
              <a:gd name="connsiteX740" fmla="*/ 0 w 7467600"/>
              <a:gd name="connsiteY740" fmla="*/ 2914286 h 6858000"/>
              <a:gd name="connsiteX741" fmla="*/ 36383 w 7467600"/>
              <a:gd name="connsiteY741" fmla="*/ 2901128 h 6858000"/>
              <a:gd name="connsiteX742" fmla="*/ 156329 w 7467600"/>
              <a:gd name="connsiteY742" fmla="*/ 2840533 h 6858000"/>
              <a:gd name="connsiteX743" fmla="*/ 358355 w 7467600"/>
              <a:gd name="connsiteY743" fmla="*/ 2620471 h 6858000"/>
              <a:gd name="connsiteX744" fmla="*/ 510577 w 7467600"/>
              <a:gd name="connsiteY744" fmla="*/ 2501244 h 6858000"/>
              <a:gd name="connsiteX745" fmla="*/ 211967 w 7467600"/>
              <a:gd name="connsiteY745" fmla="*/ 2479171 h 6858000"/>
              <a:gd name="connsiteX746" fmla="*/ 0 w 7467600"/>
              <a:gd name="connsiteY746" fmla="*/ 2476398 h 6858000"/>
              <a:gd name="connsiteX747" fmla="*/ 0 w 7467600"/>
              <a:gd name="connsiteY747" fmla="*/ 2389189 h 6858000"/>
              <a:gd name="connsiteX748" fmla="*/ 103062 w 7467600"/>
              <a:gd name="connsiteY748" fmla="*/ 2389518 h 6858000"/>
              <a:gd name="connsiteX749" fmla="*/ 510734 w 7467600"/>
              <a:gd name="connsiteY749" fmla="*/ 2416201 h 6858000"/>
              <a:gd name="connsiteX750" fmla="*/ 279257 w 7467600"/>
              <a:gd name="connsiteY750" fmla="*/ 2092102 h 6858000"/>
              <a:gd name="connsiteX751" fmla="*/ 65265 w 7467600"/>
              <a:gd name="connsiteY751" fmla="*/ 2006049 h 6858000"/>
              <a:gd name="connsiteX752" fmla="*/ 0 w 7467600"/>
              <a:gd name="connsiteY752" fmla="*/ 1982532 h 6858000"/>
              <a:gd name="connsiteX753" fmla="*/ 0 w 7467600"/>
              <a:gd name="connsiteY753" fmla="*/ 1912789 h 6858000"/>
              <a:gd name="connsiteX754" fmla="*/ 97460 w 7467600"/>
              <a:gd name="connsiteY754" fmla="*/ 1953725 h 6858000"/>
              <a:gd name="connsiteX755" fmla="*/ 221272 w 7467600"/>
              <a:gd name="connsiteY755" fmla="*/ 1980766 h 6858000"/>
              <a:gd name="connsiteX756" fmla="*/ 116765 w 7467600"/>
              <a:gd name="connsiteY756" fmla="*/ 1911033 h 6858000"/>
              <a:gd name="connsiteX757" fmla="*/ 16405 w 7467600"/>
              <a:gd name="connsiteY757" fmla="*/ 1803412 h 6858000"/>
              <a:gd name="connsiteX758" fmla="*/ 0 w 7467600"/>
              <a:gd name="connsiteY758" fmla="*/ 1784777 h 6858000"/>
              <a:gd name="connsiteX759" fmla="*/ 0 w 7467600"/>
              <a:gd name="connsiteY759" fmla="*/ 1740082 h 6858000"/>
              <a:gd name="connsiteX760" fmla="*/ 39394 w 7467600"/>
              <a:gd name="connsiteY760" fmla="*/ 1784856 h 6858000"/>
              <a:gd name="connsiteX761" fmla="*/ 135813 w 7467600"/>
              <a:gd name="connsiteY761" fmla="*/ 1888838 h 6858000"/>
              <a:gd name="connsiteX762" fmla="*/ 242575 w 7467600"/>
              <a:gd name="connsiteY762" fmla="*/ 1958841 h 6858000"/>
              <a:gd name="connsiteX763" fmla="*/ 82197 w 7467600"/>
              <a:gd name="connsiteY763" fmla="*/ 1754826 h 6858000"/>
              <a:gd name="connsiteX764" fmla="*/ 0 w 7467600"/>
              <a:gd name="connsiteY764" fmla="*/ 1679650 h 6858000"/>
              <a:gd name="connsiteX765" fmla="*/ 0 w 7467600"/>
              <a:gd name="connsiteY765" fmla="*/ 1602463 h 6858000"/>
              <a:gd name="connsiteX766" fmla="*/ 84689 w 7467600"/>
              <a:gd name="connsiteY766" fmla="*/ 1677442 h 6858000"/>
              <a:gd name="connsiteX767" fmla="*/ 298437 w 7467600"/>
              <a:gd name="connsiteY767" fmla="*/ 1968019 h 6858000"/>
              <a:gd name="connsiteX768" fmla="*/ 227269 w 7467600"/>
              <a:gd name="connsiteY768" fmla="*/ 1114064 h 6858000"/>
              <a:gd name="connsiteX769" fmla="*/ 248003 w 7467600"/>
              <a:gd name="connsiteY769" fmla="*/ 1089613 h 6858000"/>
              <a:gd name="connsiteX770" fmla="*/ 427020 w 7467600"/>
              <a:gd name="connsiteY770" fmla="*/ 1619803 h 6858000"/>
              <a:gd name="connsiteX771" fmla="*/ 340345 w 7467600"/>
              <a:gd name="connsiteY771" fmla="*/ 2027739 h 6858000"/>
              <a:gd name="connsiteX772" fmla="*/ 360865 w 7467600"/>
              <a:gd name="connsiteY772" fmla="*/ 2044827 h 6858000"/>
              <a:gd name="connsiteX773" fmla="*/ 560414 w 7467600"/>
              <a:gd name="connsiteY773" fmla="*/ 2421457 h 6858000"/>
              <a:gd name="connsiteX774" fmla="*/ 1359703 w 7467600"/>
              <a:gd name="connsiteY774" fmla="*/ 2578554 h 6858000"/>
              <a:gd name="connsiteX775" fmla="*/ 1359422 w 7467600"/>
              <a:gd name="connsiteY775" fmla="*/ 2577994 h 6858000"/>
              <a:gd name="connsiteX776" fmla="*/ 828701 w 7467600"/>
              <a:gd name="connsiteY776" fmla="*/ 1839520 h 6858000"/>
              <a:gd name="connsiteX777" fmla="*/ 494427 w 7467600"/>
              <a:gd name="connsiteY777" fmla="*/ 1092333 h 6858000"/>
              <a:gd name="connsiteX778" fmla="*/ 506322 w 7467600"/>
              <a:gd name="connsiteY778" fmla="*/ 1020997 h 6858000"/>
              <a:gd name="connsiteX779" fmla="*/ 4570198 w 7467600"/>
              <a:gd name="connsiteY779" fmla="*/ 978081 h 6858000"/>
              <a:gd name="connsiteX780" fmla="*/ 4523691 w 7467600"/>
              <a:gd name="connsiteY780" fmla="*/ 1127776 h 6858000"/>
              <a:gd name="connsiteX781" fmla="*/ 4509875 w 7467600"/>
              <a:gd name="connsiteY781" fmla="*/ 1167552 h 6858000"/>
              <a:gd name="connsiteX782" fmla="*/ 4478168 w 7467600"/>
              <a:gd name="connsiteY782" fmla="*/ 1260735 h 6858000"/>
              <a:gd name="connsiteX783" fmla="*/ 4409309 w 7467600"/>
              <a:gd name="connsiteY783" fmla="*/ 1666996 h 6858000"/>
              <a:gd name="connsiteX784" fmla="*/ 4370031 w 7467600"/>
              <a:gd name="connsiteY784" fmla="*/ 1955666 h 6858000"/>
              <a:gd name="connsiteX785" fmla="*/ 4570198 w 7467600"/>
              <a:gd name="connsiteY785" fmla="*/ 978081 h 6858000"/>
              <a:gd name="connsiteX786" fmla="*/ 4557898 w 7467600"/>
              <a:gd name="connsiteY786" fmla="*/ 900011 h 6858000"/>
              <a:gd name="connsiteX787" fmla="*/ 4344840 w 7467600"/>
              <a:gd name="connsiteY787" fmla="*/ 1922038 h 6858000"/>
              <a:gd name="connsiteX788" fmla="*/ 4378710 w 7467600"/>
              <a:gd name="connsiteY788" fmla="*/ 1665516 h 6858000"/>
              <a:gd name="connsiteX789" fmla="*/ 4448798 w 7467600"/>
              <a:gd name="connsiteY789" fmla="*/ 1253024 h 6858000"/>
              <a:gd name="connsiteX790" fmla="*/ 4480315 w 7467600"/>
              <a:gd name="connsiteY790" fmla="*/ 1158454 h 6858000"/>
              <a:gd name="connsiteX791" fmla="*/ 4494133 w 7467600"/>
              <a:gd name="connsiteY791" fmla="*/ 1118676 h 6858000"/>
              <a:gd name="connsiteX792" fmla="*/ 4557898 w 7467600"/>
              <a:gd name="connsiteY792" fmla="*/ 900011 h 6858000"/>
              <a:gd name="connsiteX793" fmla="*/ 5870151 w 7467600"/>
              <a:gd name="connsiteY793" fmla="*/ 898890 h 6858000"/>
              <a:gd name="connsiteX794" fmla="*/ 5861335 w 7467600"/>
              <a:gd name="connsiteY794" fmla="*/ 899177 h 6858000"/>
              <a:gd name="connsiteX795" fmla="*/ 5843702 w 7467600"/>
              <a:gd name="connsiteY795" fmla="*/ 899748 h 6858000"/>
              <a:gd name="connsiteX796" fmla="*/ 5651107 w 7467600"/>
              <a:gd name="connsiteY796" fmla="*/ 920306 h 6858000"/>
              <a:gd name="connsiteX797" fmla="*/ 5459407 w 7467600"/>
              <a:gd name="connsiteY797" fmla="*/ 940975 h 6858000"/>
              <a:gd name="connsiteX798" fmla="*/ 5374846 w 7467600"/>
              <a:gd name="connsiteY798" fmla="*/ 941988 h 6858000"/>
              <a:gd name="connsiteX799" fmla="*/ 5256105 w 7467600"/>
              <a:gd name="connsiteY799" fmla="*/ 945632 h 6858000"/>
              <a:gd name="connsiteX800" fmla="*/ 5107071 w 7467600"/>
              <a:gd name="connsiteY800" fmla="*/ 969720 h 6858000"/>
              <a:gd name="connsiteX801" fmla="*/ 4998681 w 7467600"/>
              <a:gd name="connsiteY801" fmla="*/ 988771 h 6858000"/>
              <a:gd name="connsiteX802" fmla="*/ 5870151 w 7467600"/>
              <a:gd name="connsiteY802" fmla="*/ 898890 h 6858000"/>
              <a:gd name="connsiteX803" fmla="*/ 5504425 w 7467600"/>
              <a:gd name="connsiteY803" fmla="*/ 848067 h 6858000"/>
              <a:gd name="connsiteX804" fmla="*/ 4968849 w 7467600"/>
              <a:gd name="connsiteY804" fmla="*/ 962318 h 6858000"/>
              <a:gd name="connsiteX805" fmla="*/ 5104039 w 7467600"/>
              <a:gd name="connsiteY805" fmla="*/ 940634 h 6858000"/>
              <a:gd name="connsiteX806" fmla="*/ 5256311 w 7467600"/>
              <a:gd name="connsiteY806" fmla="*/ 916490 h 6858000"/>
              <a:gd name="connsiteX807" fmla="*/ 5377381 w 7467600"/>
              <a:gd name="connsiteY807" fmla="*/ 912671 h 6858000"/>
              <a:gd name="connsiteX808" fmla="*/ 5460148 w 7467600"/>
              <a:gd name="connsiteY808" fmla="*/ 911442 h 6858000"/>
              <a:gd name="connsiteX809" fmla="*/ 5648971 w 7467600"/>
              <a:gd name="connsiteY809" fmla="*/ 891331 h 6858000"/>
              <a:gd name="connsiteX810" fmla="*/ 5844807 w 7467600"/>
              <a:gd name="connsiteY810" fmla="*/ 870718 h 6858000"/>
              <a:gd name="connsiteX811" fmla="*/ 5862975 w 7467600"/>
              <a:gd name="connsiteY811" fmla="*/ 869756 h 6858000"/>
              <a:gd name="connsiteX812" fmla="*/ 5920887 w 7467600"/>
              <a:gd name="connsiteY812" fmla="*/ 865929 h 6858000"/>
              <a:gd name="connsiteX813" fmla="*/ 5504425 w 7467600"/>
              <a:gd name="connsiteY813" fmla="*/ 848067 h 6858000"/>
              <a:gd name="connsiteX814" fmla="*/ 3607114 w 7467600"/>
              <a:gd name="connsiteY814" fmla="*/ 467441 h 6858000"/>
              <a:gd name="connsiteX815" fmla="*/ 3296242 w 7467600"/>
              <a:gd name="connsiteY815" fmla="*/ 807991 h 6858000"/>
              <a:gd name="connsiteX816" fmla="*/ 3174674 w 7467600"/>
              <a:gd name="connsiteY816" fmla="*/ 919759 h 6858000"/>
              <a:gd name="connsiteX817" fmla="*/ 3042978 w 7467600"/>
              <a:gd name="connsiteY817" fmla="*/ 1054894 h 6858000"/>
              <a:gd name="connsiteX818" fmla="*/ 2968914 w 7467600"/>
              <a:gd name="connsiteY818" fmla="*/ 1133756 h 6858000"/>
              <a:gd name="connsiteX819" fmla="*/ 3103823 w 7467600"/>
              <a:gd name="connsiteY819" fmla="*/ 1026814 h 6858000"/>
              <a:gd name="connsiteX820" fmla="*/ 3607114 w 7467600"/>
              <a:gd name="connsiteY820" fmla="*/ 467441 h 6858000"/>
              <a:gd name="connsiteX821" fmla="*/ 3744487 w 7467600"/>
              <a:gd name="connsiteY821" fmla="*/ 383136 h 6858000"/>
              <a:gd name="connsiteX822" fmla="*/ 3970213 w 7467600"/>
              <a:gd name="connsiteY822" fmla="*/ 995559 h 6858000"/>
              <a:gd name="connsiteX823" fmla="*/ 3744487 w 7467600"/>
              <a:gd name="connsiteY823" fmla="*/ 383136 h 6858000"/>
              <a:gd name="connsiteX824" fmla="*/ 3624562 w 7467600"/>
              <a:gd name="connsiteY824" fmla="*/ 367041 h 6858000"/>
              <a:gd name="connsiteX825" fmla="*/ 3489712 w 7467600"/>
              <a:gd name="connsiteY825" fmla="*/ 485386 h 6858000"/>
              <a:gd name="connsiteX826" fmla="*/ 3182994 w 7467600"/>
              <a:gd name="connsiteY826" fmla="*/ 828265 h 6858000"/>
              <a:gd name="connsiteX827" fmla="*/ 2892114 w 7467600"/>
              <a:gd name="connsiteY827" fmla="*/ 1172635 h 6858000"/>
              <a:gd name="connsiteX828" fmla="*/ 3021459 w 7467600"/>
              <a:gd name="connsiteY828" fmla="*/ 1035385 h 6858000"/>
              <a:gd name="connsiteX829" fmla="*/ 3153873 w 7467600"/>
              <a:gd name="connsiteY829" fmla="*/ 898971 h 6858000"/>
              <a:gd name="connsiteX830" fmla="*/ 3276511 w 7467600"/>
              <a:gd name="connsiteY830" fmla="*/ 786423 h 6858000"/>
              <a:gd name="connsiteX831" fmla="*/ 3584154 w 7467600"/>
              <a:gd name="connsiteY831" fmla="*/ 448218 h 6858000"/>
              <a:gd name="connsiteX832" fmla="*/ 3624562 w 7467600"/>
              <a:gd name="connsiteY832" fmla="*/ 367041 h 6858000"/>
              <a:gd name="connsiteX833" fmla="*/ 3766672 w 7467600"/>
              <a:gd name="connsiteY833" fmla="*/ 359429 h 6858000"/>
              <a:gd name="connsiteX834" fmla="*/ 3996338 w 7467600"/>
              <a:gd name="connsiteY834" fmla="*/ 968237 h 6858000"/>
              <a:gd name="connsiteX835" fmla="*/ 3766672 w 7467600"/>
              <a:gd name="connsiteY835" fmla="*/ 359429 h 6858000"/>
              <a:gd name="connsiteX836" fmla="*/ 5805386 w 7467600"/>
              <a:gd name="connsiteY836" fmla="*/ 239240 h 6858000"/>
              <a:gd name="connsiteX837" fmla="*/ 5736947 w 7467600"/>
              <a:gd name="connsiteY837" fmla="*/ 261367 h 6858000"/>
              <a:gd name="connsiteX838" fmla="*/ 5427012 w 7467600"/>
              <a:gd name="connsiteY838" fmla="*/ 311272 h 6858000"/>
              <a:gd name="connsiteX839" fmla="*/ 5147818 w 7467600"/>
              <a:gd name="connsiteY839" fmla="*/ 322112 h 6858000"/>
              <a:gd name="connsiteX840" fmla="*/ 5060854 w 7467600"/>
              <a:gd name="connsiteY840" fmla="*/ 311882 h 6858000"/>
              <a:gd name="connsiteX841" fmla="*/ 4945989 w 7467600"/>
              <a:gd name="connsiteY841" fmla="*/ 300516 h 6858000"/>
              <a:gd name="connsiteX842" fmla="*/ 5410479 w 7467600"/>
              <a:gd name="connsiteY842" fmla="*/ 348434 h 6858000"/>
              <a:gd name="connsiteX843" fmla="*/ 5805386 w 7467600"/>
              <a:gd name="connsiteY843" fmla="*/ 239240 h 6858000"/>
              <a:gd name="connsiteX844" fmla="*/ 7451412 w 7467600"/>
              <a:gd name="connsiteY844" fmla="*/ 799572 h 6858000"/>
              <a:gd name="connsiteX845" fmla="*/ 7467600 w 7467600"/>
              <a:gd name="connsiteY845" fmla="*/ 789215 h 6858000"/>
              <a:gd name="connsiteX846" fmla="*/ 7451412 w 7467600"/>
              <a:gd name="connsiteY846" fmla="*/ 799572 h 6858000"/>
              <a:gd name="connsiteX847" fmla="*/ 5905192 w 7467600"/>
              <a:gd name="connsiteY847" fmla="*/ 163079 h 6858000"/>
              <a:gd name="connsiteX848" fmla="*/ 5865655 w 7467600"/>
              <a:gd name="connsiteY848" fmla="*/ 171901 h 6858000"/>
              <a:gd name="connsiteX849" fmla="*/ 5259740 w 7467600"/>
              <a:gd name="connsiteY849" fmla="*/ 257013 h 6858000"/>
              <a:gd name="connsiteX850" fmla="*/ 5208466 w 7467600"/>
              <a:gd name="connsiteY850" fmla="*/ 257550 h 6858000"/>
              <a:gd name="connsiteX851" fmla="*/ 4980204 w 7467600"/>
              <a:gd name="connsiteY851" fmla="*/ 271903 h 6858000"/>
              <a:gd name="connsiteX852" fmla="*/ 5068068 w 7467600"/>
              <a:gd name="connsiteY852" fmla="*/ 282244 h 6858000"/>
              <a:gd name="connsiteX853" fmla="*/ 5153231 w 7467600"/>
              <a:gd name="connsiteY853" fmla="*/ 292240 h 6858000"/>
              <a:gd name="connsiteX854" fmla="*/ 5426491 w 7467600"/>
              <a:gd name="connsiteY854" fmla="*/ 281128 h 6858000"/>
              <a:gd name="connsiteX855" fmla="*/ 5731212 w 7467600"/>
              <a:gd name="connsiteY855" fmla="*/ 231951 h 6858000"/>
              <a:gd name="connsiteX856" fmla="*/ 5905192 w 7467600"/>
              <a:gd name="connsiteY856" fmla="*/ 163079 h 6858000"/>
              <a:gd name="connsiteX857" fmla="*/ 5944437 w 7467600"/>
              <a:gd name="connsiteY857" fmla="*/ 113829 h 6858000"/>
              <a:gd name="connsiteX858" fmla="*/ 5825032 w 7467600"/>
              <a:gd name="connsiteY858" fmla="*/ 146405 h 6858000"/>
              <a:gd name="connsiteX859" fmla="*/ 4955599 w 7467600"/>
              <a:gd name="connsiteY859" fmla="*/ 247008 h 6858000"/>
              <a:gd name="connsiteX860" fmla="*/ 5210104 w 7467600"/>
              <a:gd name="connsiteY860" fmla="*/ 228123 h 6858000"/>
              <a:gd name="connsiteX861" fmla="*/ 5261015 w 7467600"/>
              <a:gd name="connsiteY861" fmla="*/ 227087 h 6858000"/>
              <a:gd name="connsiteX862" fmla="*/ 5861181 w 7467600"/>
              <a:gd name="connsiteY862" fmla="*/ 143093 h 6858000"/>
              <a:gd name="connsiteX863" fmla="*/ 5961252 w 7467600"/>
              <a:gd name="connsiteY863" fmla="*/ 114820 h 6858000"/>
              <a:gd name="connsiteX864" fmla="*/ 5944437 w 7467600"/>
              <a:gd name="connsiteY864" fmla="*/ 113829 h 6858000"/>
              <a:gd name="connsiteX865" fmla="*/ 3882765 w 7467600"/>
              <a:gd name="connsiteY865" fmla="*/ 0 h 6858000"/>
              <a:gd name="connsiteX866" fmla="*/ 3995099 w 7467600"/>
              <a:gd name="connsiteY866" fmla="*/ 0 h 6858000"/>
              <a:gd name="connsiteX867" fmla="*/ 4163818 w 7467600"/>
              <a:gd name="connsiteY867" fmla="*/ 234104 h 6858000"/>
              <a:gd name="connsiteX868" fmla="*/ 4172099 w 7467600"/>
              <a:gd name="connsiteY868" fmla="*/ 234207 h 6858000"/>
              <a:gd name="connsiteX869" fmla="*/ 4784282 w 7467600"/>
              <a:gd name="connsiteY869" fmla="*/ 276561 h 6858000"/>
              <a:gd name="connsiteX870" fmla="*/ 4801687 w 7467600"/>
              <a:gd name="connsiteY870" fmla="*/ 267764 h 6858000"/>
              <a:gd name="connsiteX871" fmla="*/ 6082788 w 7467600"/>
              <a:gd name="connsiteY871" fmla="*/ 64119 h 6858000"/>
              <a:gd name="connsiteX872" fmla="*/ 6099442 w 7467600"/>
              <a:gd name="connsiteY872" fmla="*/ 82568 h 6858000"/>
              <a:gd name="connsiteX873" fmla="*/ 4804137 w 7467600"/>
              <a:gd name="connsiteY873" fmla="*/ 320931 h 6858000"/>
              <a:gd name="connsiteX874" fmla="*/ 4227047 w 7467600"/>
              <a:gd name="connsiteY874" fmla="*/ 313415 h 6858000"/>
              <a:gd name="connsiteX875" fmla="*/ 4346041 w 7467600"/>
              <a:gd name="connsiteY875" fmla="*/ 456086 h 6858000"/>
              <a:gd name="connsiteX876" fmla="*/ 4870967 w 7467600"/>
              <a:gd name="connsiteY876" fmla="*/ 963061 h 6858000"/>
              <a:gd name="connsiteX877" fmla="*/ 4889647 w 7467600"/>
              <a:gd name="connsiteY877" fmla="*/ 957147 h 6858000"/>
              <a:gd name="connsiteX878" fmla="*/ 5422504 w 7467600"/>
              <a:gd name="connsiteY878" fmla="*/ 805191 h 6858000"/>
              <a:gd name="connsiteX879" fmla="*/ 6087656 w 7467600"/>
              <a:gd name="connsiteY879" fmla="*/ 826703 h 6858000"/>
              <a:gd name="connsiteX880" fmla="*/ 6058717 w 7467600"/>
              <a:gd name="connsiteY880" fmla="*/ 865992 h 6858000"/>
              <a:gd name="connsiteX881" fmla="*/ 4974153 w 7467600"/>
              <a:gd name="connsiteY881" fmla="*/ 1045456 h 6858000"/>
              <a:gd name="connsiteX882" fmla="*/ 5627835 w 7467600"/>
              <a:gd name="connsiteY882" fmla="*/ 1472077 h 6858000"/>
              <a:gd name="connsiteX883" fmla="*/ 5629817 w 7467600"/>
              <a:gd name="connsiteY883" fmla="*/ 1471412 h 6858000"/>
              <a:gd name="connsiteX884" fmla="*/ 5634124 w 7467600"/>
              <a:gd name="connsiteY884" fmla="*/ 1470572 h 6858000"/>
              <a:gd name="connsiteX885" fmla="*/ 5755832 w 7467600"/>
              <a:gd name="connsiteY885" fmla="*/ 1383886 h 6858000"/>
              <a:gd name="connsiteX886" fmla="*/ 6014186 w 7467600"/>
              <a:gd name="connsiteY886" fmla="*/ 1279799 h 6858000"/>
              <a:gd name="connsiteX887" fmla="*/ 6901619 w 7467600"/>
              <a:gd name="connsiteY887" fmla="*/ 1047874 h 6858000"/>
              <a:gd name="connsiteX888" fmla="*/ 6931566 w 7467600"/>
              <a:gd name="connsiteY888" fmla="*/ 1062034 h 6858000"/>
              <a:gd name="connsiteX889" fmla="*/ 5790982 w 7467600"/>
              <a:gd name="connsiteY889" fmla="*/ 1561380 h 6858000"/>
              <a:gd name="connsiteX890" fmla="*/ 6188971 w 7467600"/>
              <a:gd name="connsiteY890" fmla="*/ 1755168 h 6858000"/>
              <a:gd name="connsiteX891" fmla="*/ 6202446 w 7467600"/>
              <a:gd name="connsiteY891" fmla="*/ 1752268 h 6858000"/>
              <a:gd name="connsiteX892" fmla="*/ 7179560 w 7467600"/>
              <a:gd name="connsiteY892" fmla="*/ 1467551 h 6858000"/>
              <a:gd name="connsiteX893" fmla="*/ 7158730 w 7467600"/>
              <a:gd name="connsiteY893" fmla="*/ 1507835 h 6858000"/>
              <a:gd name="connsiteX894" fmla="*/ 6326959 w 7467600"/>
              <a:gd name="connsiteY894" fmla="*/ 1817686 h 6858000"/>
              <a:gd name="connsiteX895" fmla="*/ 6537433 w 7467600"/>
              <a:gd name="connsiteY895" fmla="*/ 1907790 h 6858000"/>
              <a:gd name="connsiteX896" fmla="*/ 6550221 w 7467600"/>
              <a:gd name="connsiteY896" fmla="*/ 1910729 h 6858000"/>
              <a:gd name="connsiteX897" fmla="*/ 6964438 w 7467600"/>
              <a:gd name="connsiteY897" fmla="*/ 2209505 h 6858000"/>
              <a:gd name="connsiteX898" fmla="*/ 7367862 w 7467600"/>
              <a:gd name="connsiteY898" fmla="*/ 2806833 h 6858000"/>
              <a:gd name="connsiteX899" fmla="*/ 7364329 w 7467600"/>
              <a:gd name="connsiteY899" fmla="*/ 2826907 h 6858000"/>
              <a:gd name="connsiteX900" fmla="*/ 7290545 w 7467600"/>
              <a:gd name="connsiteY900" fmla="*/ 2850663 h 6858000"/>
              <a:gd name="connsiteX901" fmla="*/ 6472036 w 7467600"/>
              <a:gd name="connsiteY901" fmla="*/ 1959003 h 6858000"/>
              <a:gd name="connsiteX902" fmla="*/ 5792897 w 7467600"/>
              <a:gd name="connsiteY902" fmla="*/ 1647747 h 6858000"/>
              <a:gd name="connsiteX903" fmla="*/ 5842751 w 7467600"/>
              <a:gd name="connsiteY903" fmla="*/ 1816112 h 6858000"/>
              <a:gd name="connsiteX904" fmla="*/ 5847424 w 7467600"/>
              <a:gd name="connsiteY904" fmla="*/ 1815776 h 6858000"/>
              <a:gd name="connsiteX905" fmla="*/ 6399821 w 7467600"/>
              <a:gd name="connsiteY905" fmla="*/ 2344799 h 6858000"/>
              <a:gd name="connsiteX906" fmla="*/ 6323232 w 7467600"/>
              <a:gd name="connsiteY906" fmla="*/ 2389634 h 6858000"/>
              <a:gd name="connsiteX907" fmla="*/ 5942958 w 7467600"/>
              <a:gd name="connsiteY907" fmla="*/ 2077708 h 6858000"/>
              <a:gd name="connsiteX908" fmla="*/ 5921559 w 7467600"/>
              <a:gd name="connsiteY908" fmla="*/ 2378596 h 6858000"/>
              <a:gd name="connsiteX909" fmla="*/ 5817651 w 7467600"/>
              <a:gd name="connsiteY909" fmla="*/ 3023919 h 6858000"/>
              <a:gd name="connsiteX910" fmla="*/ 5729634 w 7467600"/>
              <a:gd name="connsiteY910" fmla="*/ 3051849 h 6858000"/>
              <a:gd name="connsiteX911" fmla="*/ 5611018 w 7467600"/>
              <a:gd name="connsiteY911" fmla="*/ 2316769 h 6858000"/>
              <a:gd name="connsiteX912" fmla="*/ 5687608 w 7467600"/>
              <a:gd name="connsiteY912" fmla="*/ 2039972 h 6858000"/>
              <a:gd name="connsiteX913" fmla="*/ 5657554 w 7467600"/>
              <a:gd name="connsiteY913" fmla="*/ 1576445 h 6858000"/>
              <a:gd name="connsiteX914" fmla="*/ 5150475 w 7467600"/>
              <a:gd name="connsiteY914" fmla="*/ 1274012 h 6858000"/>
              <a:gd name="connsiteX915" fmla="*/ 5349142 w 7467600"/>
              <a:gd name="connsiteY915" fmla="*/ 2204405 h 6858000"/>
              <a:gd name="connsiteX916" fmla="*/ 5262214 w 7467600"/>
              <a:gd name="connsiteY916" fmla="*/ 2233836 h 6858000"/>
              <a:gd name="connsiteX917" fmla="*/ 4981539 w 7467600"/>
              <a:gd name="connsiteY917" fmla="*/ 1542201 h 6858000"/>
              <a:gd name="connsiteX918" fmla="*/ 4958461 w 7467600"/>
              <a:gd name="connsiteY918" fmla="*/ 1136957 h 6858000"/>
              <a:gd name="connsiteX919" fmla="*/ 4655015 w 7467600"/>
              <a:gd name="connsiteY919" fmla="*/ 891426 h 6858000"/>
              <a:gd name="connsiteX920" fmla="*/ 4348002 w 7467600"/>
              <a:gd name="connsiteY920" fmla="*/ 2205895 h 6858000"/>
              <a:gd name="connsiteX921" fmla="*/ 4262250 w 7467600"/>
              <a:gd name="connsiteY921" fmla="*/ 2219972 h 6858000"/>
              <a:gd name="connsiteX922" fmla="*/ 4550611 w 7467600"/>
              <a:gd name="connsiteY922" fmla="*/ 817540 h 6858000"/>
              <a:gd name="connsiteX923" fmla="*/ 4564418 w 7467600"/>
              <a:gd name="connsiteY923" fmla="*/ 808293 h 6858000"/>
              <a:gd name="connsiteX924" fmla="*/ 4266388 w 7467600"/>
              <a:gd name="connsiteY924" fmla="*/ 500083 h 6858000"/>
              <a:gd name="connsiteX925" fmla="*/ 4032842 w 7467600"/>
              <a:gd name="connsiteY925" fmla="*/ 211809 h 6858000"/>
              <a:gd name="connsiteX926" fmla="*/ 3882765 w 7467600"/>
              <a:gd name="connsiteY926" fmla="*/ 0 h 6858000"/>
              <a:gd name="connsiteX927" fmla="*/ 3721337 w 7467600"/>
              <a:gd name="connsiteY927" fmla="*/ 0 h 6858000"/>
              <a:gd name="connsiteX928" fmla="*/ 3797544 w 7467600"/>
              <a:gd name="connsiteY928" fmla="*/ 0 h 6858000"/>
              <a:gd name="connsiteX929" fmla="*/ 3775734 w 7467600"/>
              <a:gd name="connsiteY929" fmla="*/ 95131 h 6858000"/>
              <a:gd name="connsiteX930" fmla="*/ 3724807 w 7467600"/>
              <a:gd name="connsiteY930" fmla="*/ 272257 h 6858000"/>
              <a:gd name="connsiteX931" fmla="*/ 3726844 w 7467600"/>
              <a:gd name="connsiteY931" fmla="*/ 282988 h 6858000"/>
              <a:gd name="connsiteX932" fmla="*/ 3742664 w 7467600"/>
              <a:gd name="connsiteY932" fmla="*/ 279918 h 6858000"/>
              <a:gd name="connsiteX933" fmla="*/ 4103910 w 7467600"/>
              <a:gd name="connsiteY933" fmla="*/ 1161917 h 6858000"/>
              <a:gd name="connsiteX934" fmla="*/ 4020269 w 7467600"/>
              <a:gd name="connsiteY934" fmla="*/ 1200406 h 6858000"/>
              <a:gd name="connsiteX935" fmla="*/ 3674882 w 7467600"/>
              <a:gd name="connsiteY935" fmla="*/ 488524 h 6858000"/>
              <a:gd name="connsiteX936" fmla="*/ 3132682 w 7467600"/>
              <a:gd name="connsiteY936" fmla="*/ 1072284 h 6858000"/>
              <a:gd name="connsiteX937" fmla="*/ 2716346 w 7467600"/>
              <a:gd name="connsiteY937" fmla="*/ 1276376 h 6858000"/>
              <a:gd name="connsiteX938" fmla="*/ 2716772 w 7467600"/>
              <a:gd name="connsiteY938" fmla="*/ 1255462 h 6858000"/>
              <a:gd name="connsiteX939" fmla="*/ 3471096 w 7467600"/>
              <a:gd name="connsiteY939" fmla="*/ 437072 h 6858000"/>
              <a:gd name="connsiteX940" fmla="*/ 3639057 w 7467600"/>
              <a:gd name="connsiteY940" fmla="*/ 286334 h 6858000"/>
              <a:gd name="connsiteX941" fmla="*/ 3640309 w 7467600"/>
              <a:gd name="connsiteY941" fmla="*/ 284664 h 6858000"/>
              <a:gd name="connsiteX942" fmla="*/ 3646022 w 7467600"/>
              <a:gd name="connsiteY942" fmla="*/ 276711 h 6858000"/>
              <a:gd name="connsiteX943" fmla="*/ 3707943 w 7467600"/>
              <a:gd name="connsiteY943" fmla="*/ 65958 h 6858000"/>
              <a:gd name="connsiteX944" fmla="*/ 3721337 w 7467600"/>
              <a:gd name="connsiteY944" fmla="*/ 0 h 6858000"/>
              <a:gd name="connsiteX945" fmla="*/ 2867960 w 7467600"/>
              <a:gd name="connsiteY945" fmla="*/ 0 h 6858000"/>
              <a:gd name="connsiteX946" fmla="*/ 2926351 w 7467600"/>
              <a:gd name="connsiteY946" fmla="*/ 0 h 6858000"/>
              <a:gd name="connsiteX947" fmla="*/ 2902823 w 7467600"/>
              <a:gd name="connsiteY947" fmla="*/ 262929 h 6858000"/>
              <a:gd name="connsiteX948" fmla="*/ 2940663 w 7467600"/>
              <a:gd name="connsiteY948" fmla="*/ 140884 h 6858000"/>
              <a:gd name="connsiteX949" fmla="*/ 2947039 w 7467600"/>
              <a:gd name="connsiteY949" fmla="*/ 122524 h 6858000"/>
              <a:gd name="connsiteX950" fmla="*/ 2984316 w 7467600"/>
              <a:gd name="connsiteY950" fmla="*/ 0 h 6858000"/>
              <a:gd name="connsiteX951" fmla="*/ 3016114 w 7467600"/>
              <a:gd name="connsiteY951" fmla="*/ 0 h 6858000"/>
              <a:gd name="connsiteX952" fmla="*/ 2979949 w 7467600"/>
              <a:gd name="connsiteY952" fmla="*/ 119274 h 6858000"/>
              <a:gd name="connsiteX953" fmla="*/ 3023879 w 7467600"/>
              <a:gd name="connsiteY953" fmla="*/ 0 h 6858000"/>
              <a:gd name="connsiteX954" fmla="*/ 3105400 w 7467600"/>
              <a:gd name="connsiteY954" fmla="*/ 0 h 6858000"/>
              <a:gd name="connsiteX955" fmla="*/ 3094669 w 7467600"/>
              <a:gd name="connsiteY955" fmla="*/ 30308 h 6858000"/>
              <a:gd name="connsiteX956" fmla="*/ 2901945 w 7467600"/>
              <a:gd name="connsiteY956" fmla="*/ 466538 h 6858000"/>
              <a:gd name="connsiteX957" fmla="*/ 2815209 w 7467600"/>
              <a:gd name="connsiteY957" fmla="*/ 497361 h 6858000"/>
              <a:gd name="connsiteX958" fmla="*/ 2844845 w 7467600"/>
              <a:gd name="connsiteY958" fmla="*/ 127638 h 6858000"/>
              <a:gd name="connsiteX959" fmla="*/ 2867960 w 7467600"/>
              <a:gd name="connsiteY959" fmla="*/ 0 h 6858000"/>
              <a:gd name="connsiteX960" fmla="*/ 1057230 w 7467600"/>
              <a:gd name="connsiteY960" fmla="*/ 0 h 6858000"/>
              <a:gd name="connsiteX961" fmla="*/ 1111003 w 7467600"/>
              <a:gd name="connsiteY961" fmla="*/ 0 h 6858000"/>
              <a:gd name="connsiteX962" fmla="*/ 1125553 w 7467600"/>
              <a:gd name="connsiteY962" fmla="*/ 52588 h 6858000"/>
              <a:gd name="connsiteX963" fmla="*/ 1304276 w 7467600"/>
              <a:gd name="connsiteY963" fmla="*/ 476275 h 6858000"/>
              <a:gd name="connsiteX964" fmla="*/ 1492066 w 7467600"/>
              <a:gd name="connsiteY964" fmla="*/ 886333 h 6858000"/>
              <a:gd name="connsiteX965" fmla="*/ 1423698 w 7467600"/>
              <a:gd name="connsiteY965" fmla="*/ 710817 h 6858000"/>
              <a:gd name="connsiteX966" fmla="*/ 1357609 w 7467600"/>
              <a:gd name="connsiteY966" fmla="*/ 532892 h 6858000"/>
              <a:gd name="connsiteX967" fmla="*/ 1309550 w 7467600"/>
              <a:gd name="connsiteY967" fmla="*/ 374031 h 6858000"/>
              <a:gd name="connsiteX968" fmla="*/ 1193673 w 7467600"/>
              <a:gd name="connsiteY968" fmla="*/ 49533 h 6858000"/>
              <a:gd name="connsiteX969" fmla="*/ 1164391 w 7467600"/>
              <a:gd name="connsiteY969" fmla="*/ 0 h 6858000"/>
              <a:gd name="connsiteX970" fmla="*/ 1200666 w 7467600"/>
              <a:gd name="connsiteY970" fmla="*/ 0 h 6858000"/>
              <a:gd name="connsiteX971" fmla="*/ 1223408 w 7467600"/>
              <a:gd name="connsiteY971" fmla="*/ 38996 h 6858000"/>
              <a:gd name="connsiteX972" fmla="*/ 1339635 w 7467600"/>
              <a:gd name="connsiteY972" fmla="*/ 365517 h 6858000"/>
              <a:gd name="connsiteX973" fmla="*/ 1387469 w 7467600"/>
              <a:gd name="connsiteY973" fmla="*/ 523079 h 6858000"/>
              <a:gd name="connsiteX974" fmla="*/ 1452685 w 7467600"/>
              <a:gd name="connsiteY974" fmla="*/ 699806 h 6858000"/>
              <a:gd name="connsiteX975" fmla="*/ 1492092 w 7467600"/>
              <a:gd name="connsiteY975" fmla="*/ 800424 h 6858000"/>
              <a:gd name="connsiteX976" fmla="*/ 1455302 w 7467600"/>
              <a:gd name="connsiteY976" fmla="*/ 632913 h 6858000"/>
              <a:gd name="connsiteX977" fmla="*/ 1222336 w 7467600"/>
              <a:gd name="connsiteY977" fmla="*/ 9480 h 6858000"/>
              <a:gd name="connsiteX978" fmla="*/ 1214634 w 7467600"/>
              <a:gd name="connsiteY978" fmla="*/ 0 h 6858000"/>
              <a:gd name="connsiteX979" fmla="*/ 1289827 w 7467600"/>
              <a:gd name="connsiteY979" fmla="*/ 0 h 6858000"/>
              <a:gd name="connsiteX980" fmla="*/ 1321076 w 7467600"/>
              <a:gd name="connsiteY980" fmla="*/ 59722 h 6858000"/>
              <a:gd name="connsiteX981" fmla="*/ 1512579 w 7467600"/>
              <a:gd name="connsiteY981" fmla="*/ 626441 h 6858000"/>
              <a:gd name="connsiteX982" fmla="*/ 1506076 w 7467600"/>
              <a:gd name="connsiteY982" fmla="*/ 1089289 h 6858000"/>
              <a:gd name="connsiteX983" fmla="*/ 1486346 w 7467600"/>
              <a:gd name="connsiteY983" fmla="*/ 1079919 h 6858000"/>
              <a:gd name="connsiteX984" fmla="*/ 1070511 w 7467600"/>
              <a:gd name="connsiteY984" fmla="*/ 48609 h 6858000"/>
              <a:gd name="connsiteX985" fmla="*/ 1057230 w 7467600"/>
              <a:gd name="connsiteY985" fmla="*/ 0 h 6858000"/>
              <a:gd name="connsiteX986" fmla="*/ 43151 w 7467600"/>
              <a:gd name="connsiteY986" fmla="*/ 0 h 6858000"/>
              <a:gd name="connsiteX987" fmla="*/ 95283 w 7467600"/>
              <a:gd name="connsiteY987" fmla="*/ 0 h 6858000"/>
              <a:gd name="connsiteX988" fmla="*/ 300708 w 7467600"/>
              <a:gd name="connsiteY988" fmla="*/ 154571 h 6858000"/>
              <a:gd name="connsiteX989" fmla="*/ 530414 w 7467600"/>
              <a:gd name="connsiteY989" fmla="*/ 354673 h 6858000"/>
              <a:gd name="connsiteX990" fmla="*/ 333785 w 7467600"/>
              <a:gd name="connsiteY990" fmla="*/ 161564 h 6858000"/>
              <a:gd name="connsiteX991" fmla="*/ 147005 w 7467600"/>
              <a:gd name="connsiteY991" fmla="*/ 0 h 6858000"/>
              <a:gd name="connsiteX992" fmla="*/ 272509 w 7467600"/>
              <a:gd name="connsiteY992" fmla="*/ 0 h 6858000"/>
              <a:gd name="connsiteX993" fmla="*/ 326276 w 7467600"/>
              <a:gd name="connsiteY993" fmla="*/ 45847 h 6858000"/>
              <a:gd name="connsiteX994" fmla="*/ 823759 w 7467600"/>
              <a:gd name="connsiteY994" fmla="*/ 574145 h 6858000"/>
              <a:gd name="connsiteX995" fmla="*/ 811254 w 7467600"/>
              <a:gd name="connsiteY995" fmla="*/ 665546 h 6858000"/>
              <a:gd name="connsiteX996" fmla="*/ 154042 w 7467600"/>
              <a:gd name="connsiteY996" fmla="*/ 261522 h 6858000"/>
              <a:gd name="connsiteX997" fmla="*/ 13550 w 7467600"/>
              <a:gd name="connsiteY997" fmla="*/ 158423 h 6858000"/>
              <a:gd name="connsiteX998" fmla="*/ 0 w 7467600"/>
              <a:gd name="connsiteY998" fmla="*/ 146618 h 6858000"/>
              <a:gd name="connsiteX999" fmla="*/ 0 w 7467600"/>
              <a:gd name="connsiteY999" fmla="*/ 59161 h 6858000"/>
              <a:gd name="connsiteX1000" fmla="*/ 45427 w 7467600"/>
              <a:gd name="connsiteY1000" fmla="*/ 101078 h 6858000"/>
              <a:gd name="connsiteX1001" fmla="*/ 630103 w 7467600"/>
              <a:gd name="connsiteY1001" fmla="*/ 485885 h 6858000"/>
              <a:gd name="connsiteX1002" fmla="*/ 532040 w 7467600"/>
              <a:gd name="connsiteY1002" fmla="*/ 399359 h 6858000"/>
              <a:gd name="connsiteX1003" fmla="*/ 517618 w 7467600"/>
              <a:gd name="connsiteY1003" fmla="*/ 385726 h 6858000"/>
              <a:gd name="connsiteX1004" fmla="*/ 285074 w 7467600"/>
              <a:gd name="connsiteY1004" fmla="*/ 182755 h 6858000"/>
              <a:gd name="connsiteX1005" fmla="*/ 43151 w 7467600"/>
              <a:gd name="connsiteY1005"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133363 w 7467600"/>
              <a:gd name="connsiteY127" fmla="*/ 5050246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7327465 w 7467600"/>
              <a:gd name="connsiteY139" fmla="*/ 5174181 h 6858000"/>
              <a:gd name="connsiteX140" fmla="*/ 7244057 w 7467600"/>
              <a:gd name="connsiteY140" fmla="*/ 5124233 h 6858000"/>
              <a:gd name="connsiteX141" fmla="*/ 7353035 w 7467600"/>
              <a:gd name="connsiteY141" fmla="*/ 5197318 h 6858000"/>
              <a:gd name="connsiteX142" fmla="*/ 7467600 w 7467600"/>
              <a:gd name="connsiteY142" fmla="*/ 5297634 h 6858000"/>
              <a:gd name="connsiteX143" fmla="*/ 7467600 w 7467600"/>
              <a:gd name="connsiteY143" fmla="*/ 5361850 h 6858000"/>
              <a:gd name="connsiteX144" fmla="*/ 7368569 w 7467600"/>
              <a:gd name="connsiteY144" fmla="*/ 5270182 h 6858000"/>
              <a:gd name="connsiteX145" fmla="*/ 7131946 w 7467600"/>
              <a:gd name="connsiteY145" fmla="*/ 5075653 h 6858000"/>
              <a:gd name="connsiteX146" fmla="*/ 7133363 w 7467600"/>
              <a:gd name="connsiteY146" fmla="*/ 5050246 h 6858000"/>
              <a:gd name="connsiteX147" fmla="*/ 1903353 w 7467600"/>
              <a:gd name="connsiteY147" fmla="*/ 5044827 h 6858000"/>
              <a:gd name="connsiteX148" fmla="*/ 1936931 w 7467600"/>
              <a:gd name="connsiteY148" fmla="*/ 5093954 h 6858000"/>
              <a:gd name="connsiteX149" fmla="*/ 2195868 w 7467600"/>
              <a:gd name="connsiteY149" fmla="*/ 5396574 h 6858000"/>
              <a:gd name="connsiteX150" fmla="*/ 2088852 w 7467600"/>
              <a:gd name="connsiteY150" fmla="*/ 5166123 h 6858000"/>
              <a:gd name="connsiteX151" fmla="*/ 1958241 w 7467600"/>
              <a:gd name="connsiteY151" fmla="*/ 5067955 h 6858000"/>
              <a:gd name="connsiteX152" fmla="*/ 1903353 w 7467600"/>
              <a:gd name="connsiteY152" fmla="*/ 5044827 h 6858000"/>
              <a:gd name="connsiteX153" fmla="*/ 1979378 w 7467600"/>
              <a:gd name="connsiteY153" fmla="*/ 4769504 h 6858000"/>
              <a:gd name="connsiteX154" fmla="*/ 2882120 w 7467600"/>
              <a:gd name="connsiteY154" fmla="*/ 5064547 h 6858000"/>
              <a:gd name="connsiteX155" fmla="*/ 2793103 w 7467600"/>
              <a:gd name="connsiteY155" fmla="*/ 5039699 h 6858000"/>
              <a:gd name="connsiteX156" fmla="*/ 2770041 w 7467600"/>
              <a:gd name="connsiteY156" fmla="*/ 5033634 h 6858000"/>
              <a:gd name="connsiteX157" fmla="*/ 1979378 w 7467600"/>
              <a:gd name="connsiteY157" fmla="*/ 4769504 h 6858000"/>
              <a:gd name="connsiteX158" fmla="*/ 1927410 w 7467600"/>
              <a:gd name="connsiteY158" fmla="*/ 4716164 h 6858000"/>
              <a:gd name="connsiteX159" fmla="*/ 1959587 w 7467600"/>
              <a:gd name="connsiteY159" fmla="*/ 4728849 h 6858000"/>
              <a:gd name="connsiteX160" fmla="*/ 2777707 w 7467600"/>
              <a:gd name="connsiteY160" fmla="*/ 5003991 h 6858000"/>
              <a:gd name="connsiteX161" fmla="*/ 2800768 w 7467600"/>
              <a:gd name="connsiteY161" fmla="*/ 5010056 h 6858000"/>
              <a:gd name="connsiteX162" fmla="*/ 2879408 w 7467600"/>
              <a:gd name="connsiteY162" fmla="*/ 5031590 h 6858000"/>
              <a:gd name="connsiteX163" fmla="*/ 2862295 w 7467600"/>
              <a:gd name="connsiteY163" fmla="*/ 5022958 h 6858000"/>
              <a:gd name="connsiteX164" fmla="*/ 2813343 w 7467600"/>
              <a:gd name="connsiteY164" fmla="*/ 4998369 h 6858000"/>
              <a:gd name="connsiteX165" fmla="*/ 2646245 w 7467600"/>
              <a:gd name="connsiteY165" fmla="*/ 4930999 h 6858000"/>
              <a:gd name="connsiteX166" fmla="*/ 1999243 w 7467600"/>
              <a:gd name="connsiteY166" fmla="*/ 4730524 h 6858000"/>
              <a:gd name="connsiteX167" fmla="*/ 1979527 w 7467600"/>
              <a:gd name="connsiteY167" fmla="*/ 4726651 h 6858000"/>
              <a:gd name="connsiteX168" fmla="*/ 1927410 w 7467600"/>
              <a:gd name="connsiteY168" fmla="*/ 4716164 h 6858000"/>
              <a:gd name="connsiteX169" fmla="*/ 1997014 w 7467600"/>
              <a:gd name="connsiteY169" fmla="*/ 4698007 h 6858000"/>
              <a:gd name="connsiteX170" fmla="*/ 2005458 w 7467600"/>
              <a:gd name="connsiteY170" fmla="*/ 4699540 h 6858000"/>
              <a:gd name="connsiteX171" fmla="*/ 2657186 w 7467600"/>
              <a:gd name="connsiteY171" fmla="*/ 4901687 h 6858000"/>
              <a:gd name="connsiteX172" fmla="*/ 2826662 w 7467600"/>
              <a:gd name="connsiteY172" fmla="*/ 4970362 h 6858000"/>
              <a:gd name="connsiteX173" fmla="*/ 2876100 w 7467600"/>
              <a:gd name="connsiteY173" fmla="*/ 4995397 h 6858000"/>
              <a:gd name="connsiteX174" fmla="*/ 3042600 w 7467600"/>
              <a:gd name="connsiteY174" fmla="*/ 5059532 h 6858000"/>
              <a:gd name="connsiteX175" fmla="*/ 1997014 w 7467600"/>
              <a:gd name="connsiteY175" fmla="*/ 4698007 h 6858000"/>
              <a:gd name="connsiteX176" fmla="*/ 2305292 w 7467600"/>
              <a:gd name="connsiteY176" fmla="*/ 4219492 h 6858000"/>
              <a:gd name="connsiteX177" fmla="*/ 3360922 w 7467600"/>
              <a:gd name="connsiteY177" fmla="*/ 4529373 h 6858000"/>
              <a:gd name="connsiteX178" fmla="*/ 3492420 w 7467600"/>
              <a:gd name="connsiteY178" fmla="*/ 4510145 h 6858000"/>
              <a:gd name="connsiteX179" fmla="*/ 3364086 w 7467600"/>
              <a:gd name="connsiteY179" fmla="*/ 4480340 h 6858000"/>
              <a:gd name="connsiteX180" fmla="*/ 3225818 w 7467600"/>
              <a:gd name="connsiteY180" fmla="*/ 4411822 h 6858000"/>
              <a:gd name="connsiteX181" fmla="*/ 3129696 w 7467600"/>
              <a:gd name="connsiteY181" fmla="*/ 4360704 h 6858000"/>
              <a:gd name="connsiteX182" fmla="*/ 2814545 w 7467600"/>
              <a:gd name="connsiteY182" fmla="*/ 4282955 h 6858000"/>
              <a:gd name="connsiteX183" fmla="*/ 2305292 w 7467600"/>
              <a:gd name="connsiteY183" fmla="*/ 4219492 h 6858000"/>
              <a:gd name="connsiteX184" fmla="*/ 2626982 w 7467600"/>
              <a:gd name="connsiteY184" fmla="*/ 4206450 h 6858000"/>
              <a:gd name="connsiteX185" fmla="*/ 2490617 w 7467600"/>
              <a:gd name="connsiteY185" fmla="*/ 4206951 h 6858000"/>
              <a:gd name="connsiteX186" fmla="*/ 2819869 w 7467600"/>
              <a:gd name="connsiteY186" fmla="*/ 4252936 h 6858000"/>
              <a:gd name="connsiteX187" fmla="*/ 3143018 w 7467600"/>
              <a:gd name="connsiteY187" fmla="*/ 4332698 h 6858000"/>
              <a:gd name="connsiteX188" fmla="*/ 3241520 w 7467600"/>
              <a:gd name="connsiteY188" fmla="*/ 4385112 h 6858000"/>
              <a:gd name="connsiteX189" fmla="*/ 3374575 w 7467600"/>
              <a:gd name="connsiteY189" fmla="*/ 4451517 h 6858000"/>
              <a:gd name="connsiteX190" fmla="*/ 3505221 w 7467600"/>
              <a:gd name="connsiteY190" fmla="*/ 4480757 h 6858000"/>
              <a:gd name="connsiteX191" fmla="*/ 2626982 w 7467600"/>
              <a:gd name="connsiteY191" fmla="*/ 4206450 h 6858000"/>
              <a:gd name="connsiteX192" fmla="*/ 1310106 w 7467600"/>
              <a:gd name="connsiteY192" fmla="*/ 3943217 h 6858000"/>
              <a:gd name="connsiteX193" fmla="*/ 854994 w 7467600"/>
              <a:gd name="connsiteY193" fmla="*/ 4399136 h 6858000"/>
              <a:gd name="connsiteX194" fmla="*/ 742462 w 7467600"/>
              <a:gd name="connsiteY194" fmla="*/ 4594648 h 6858000"/>
              <a:gd name="connsiteX195" fmla="*/ 820602 w 7467600"/>
              <a:gd name="connsiteY195" fmla="*/ 4485915 h 6858000"/>
              <a:gd name="connsiteX196" fmla="*/ 878295 w 7467600"/>
              <a:gd name="connsiteY196" fmla="*/ 4403594 h 6858000"/>
              <a:gd name="connsiteX197" fmla="*/ 1240607 w 7467600"/>
              <a:gd name="connsiteY197" fmla="*/ 4010401 h 6858000"/>
              <a:gd name="connsiteX198" fmla="*/ 1310106 w 7467600"/>
              <a:gd name="connsiteY198" fmla="*/ 3943217 h 6858000"/>
              <a:gd name="connsiteX199" fmla="*/ 1423113 w 7467600"/>
              <a:gd name="connsiteY199" fmla="*/ 3874565 h 6858000"/>
              <a:gd name="connsiteX200" fmla="*/ 1260565 w 7467600"/>
              <a:gd name="connsiteY200" fmla="*/ 4031982 h 6858000"/>
              <a:gd name="connsiteX201" fmla="*/ 901900 w 7467600"/>
              <a:gd name="connsiteY201" fmla="*/ 4421236 h 6858000"/>
              <a:gd name="connsiteX202" fmla="*/ 845044 w 7467600"/>
              <a:gd name="connsiteY202" fmla="*/ 4502436 h 6858000"/>
              <a:gd name="connsiteX203" fmla="*/ 685926 w 7467600"/>
              <a:gd name="connsiteY203" fmla="*/ 4703069 h 6858000"/>
              <a:gd name="connsiteX204" fmla="*/ 684248 w 7467600"/>
              <a:gd name="connsiteY204" fmla="*/ 4706721 h 6858000"/>
              <a:gd name="connsiteX205" fmla="*/ 1423113 w 7467600"/>
              <a:gd name="connsiteY205" fmla="*/ 3874565 h 6858000"/>
              <a:gd name="connsiteX206" fmla="*/ 3316479 w 7467600"/>
              <a:gd name="connsiteY206" fmla="*/ 3872136 h 6858000"/>
              <a:gd name="connsiteX207" fmla="*/ 3546806 w 7467600"/>
              <a:gd name="connsiteY207" fmla="*/ 4356139 h 6858000"/>
              <a:gd name="connsiteX208" fmla="*/ 3364433 w 7467600"/>
              <a:gd name="connsiteY208" fmla="*/ 3953121 h 6858000"/>
              <a:gd name="connsiteX209" fmla="*/ 3316479 w 7467600"/>
              <a:gd name="connsiteY209" fmla="*/ 3872136 h 6858000"/>
              <a:gd name="connsiteX210" fmla="*/ 3291335 w 7467600"/>
              <a:gd name="connsiteY210" fmla="*/ 3767420 h 6858000"/>
              <a:gd name="connsiteX211" fmla="*/ 3390805 w 7467600"/>
              <a:gd name="connsiteY211" fmla="*/ 3937163 h 6858000"/>
              <a:gd name="connsiteX212" fmla="*/ 3579062 w 7467600"/>
              <a:gd name="connsiteY212" fmla="*/ 4359040 h 6858000"/>
              <a:gd name="connsiteX213" fmla="*/ 3467355 w 7467600"/>
              <a:gd name="connsiteY213" fmla="*/ 3988130 h 6858000"/>
              <a:gd name="connsiteX214" fmla="*/ 3310753 w 7467600"/>
              <a:gd name="connsiteY214" fmla="*/ 3787140 h 6858000"/>
              <a:gd name="connsiteX215" fmla="*/ 3291335 w 7467600"/>
              <a:gd name="connsiteY215" fmla="*/ 3767420 h 6858000"/>
              <a:gd name="connsiteX216" fmla="*/ 1635889 w 7467600"/>
              <a:gd name="connsiteY216" fmla="*/ 3709494 h 6858000"/>
              <a:gd name="connsiteX217" fmla="*/ 1634800 w 7467600"/>
              <a:gd name="connsiteY217" fmla="*/ 3731111 h 6858000"/>
              <a:gd name="connsiteX218" fmla="*/ 1635889 w 7467600"/>
              <a:gd name="connsiteY218" fmla="*/ 3709494 h 6858000"/>
              <a:gd name="connsiteX219" fmla="*/ 1510397 w 7467600"/>
              <a:gd name="connsiteY219" fmla="*/ 3684705 h 6858000"/>
              <a:gd name="connsiteX220" fmla="*/ 1146550 w 7467600"/>
              <a:gd name="connsiteY220" fmla="*/ 3802012 h 6858000"/>
              <a:gd name="connsiteX221" fmla="*/ 698834 w 7467600"/>
              <a:gd name="connsiteY221" fmla="*/ 3952272 h 6858000"/>
              <a:gd name="connsiteX222" fmla="*/ 34256 w 7467600"/>
              <a:gd name="connsiteY222" fmla="*/ 4347603 h 6858000"/>
              <a:gd name="connsiteX223" fmla="*/ 527241 w 7467600"/>
              <a:gd name="connsiteY223" fmla="*/ 4065078 h 6858000"/>
              <a:gd name="connsiteX224" fmla="*/ 1510397 w 7467600"/>
              <a:gd name="connsiteY224" fmla="*/ 3684705 h 6858000"/>
              <a:gd name="connsiteX225" fmla="*/ 1313114 w 7467600"/>
              <a:gd name="connsiteY225" fmla="*/ 3655216 h 6858000"/>
              <a:gd name="connsiteX226" fmla="*/ 1109304 w 7467600"/>
              <a:gd name="connsiteY226" fmla="*/ 3669030 h 6858000"/>
              <a:gd name="connsiteX227" fmla="*/ 8129 w 7467600"/>
              <a:gd name="connsiteY227" fmla="*/ 4330519 h 6858000"/>
              <a:gd name="connsiteX228" fmla="*/ 687572 w 7467600"/>
              <a:gd name="connsiteY228" fmla="*/ 3925629 h 6858000"/>
              <a:gd name="connsiteX229" fmla="*/ 1138365 w 7467600"/>
              <a:gd name="connsiteY229" fmla="*/ 3774515 h 6858000"/>
              <a:gd name="connsiteX230" fmla="*/ 1505579 w 7467600"/>
              <a:gd name="connsiteY230" fmla="*/ 3655526 h 6858000"/>
              <a:gd name="connsiteX231" fmla="*/ 1313114 w 7467600"/>
              <a:gd name="connsiteY231" fmla="*/ 3655216 h 6858000"/>
              <a:gd name="connsiteX232" fmla="*/ 3655073 w 7467600"/>
              <a:gd name="connsiteY232" fmla="*/ 3650884 h 6858000"/>
              <a:gd name="connsiteX233" fmla="*/ 3989938 w 7467600"/>
              <a:gd name="connsiteY233" fmla="*/ 3991685 h 6858000"/>
              <a:gd name="connsiteX234" fmla="*/ 4393907 w 7467600"/>
              <a:gd name="connsiteY234" fmla="*/ 4261258 h 6858000"/>
              <a:gd name="connsiteX235" fmla="*/ 4648051 w 7467600"/>
              <a:gd name="connsiteY235" fmla="*/ 4374051 h 6858000"/>
              <a:gd name="connsiteX236" fmla="*/ 4383389 w 7467600"/>
              <a:gd name="connsiteY236" fmla="*/ 4184369 h 6858000"/>
              <a:gd name="connsiteX237" fmla="*/ 4165508 w 7467600"/>
              <a:gd name="connsiteY237" fmla="*/ 4035196 h 6858000"/>
              <a:gd name="connsiteX238" fmla="*/ 4068162 w 7467600"/>
              <a:gd name="connsiteY238" fmla="*/ 3953394 h 6858000"/>
              <a:gd name="connsiteX239" fmla="*/ 3981416 w 7467600"/>
              <a:gd name="connsiteY239" fmla="*/ 3880482 h 6858000"/>
              <a:gd name="connsiteX240" fmla="*/ 3800147 w 7467600"/>
              <a:gd name="connsiteY240" fmla="*/ 3749872 h 6858000"/>
              <a:gd name="connsiteX241" fmla="*/ 3655073 w 7467600"/>
              <a:gd name="connsiteY241" fmla="*/ 3650884 h 6858000"/>
              <a:gd name="connsiteX242" fmla="*/ 3670252 w 7467600"/>
              <a:gd name="connsiteY242" fmla="*/ 3622798 h 6858000"/>
              <a:gd name="connsiteX243" fmla="*/ 3817258 w 7467600"/>
              <a:gd name="connsiteY243" fmla="*/ 3723577 h 6858000"/>
              <a:gd name="connsiteX244" fmla="*/ 4000461 w 7467600"/>
              <a:gd name="connsiteY244" fmla="*/ 3855966 h 6858000"/>
              <a:gd name="connsiteX245" fmla="*/ 4088180 w 7467600"/>
              <a:gd name="connsiteY245" fmla="*/ 3929774 h 6858000"/>
              <a:gd name="connsiteX246" fmla="*/ 4184555 w 7467600"/>
              <a:gd name="connsiteY246" fmla="*/ 4010683 h 6858000"/>
              <a:gd name="connsiteX247" fmla="*/ 4399563 w 7467600"/>
              <a:gd name="connsiteY247" fmla="*/ 4158106 h 6858000"/>
              <a:gd name="connsiteX248" fmla="*/ 4684469 w 7467600"/>
              <a:gd name="connsiteY248" fmla="*/ 4364680 h 6858000"/>
              <a:gd name="connsiteX249" fmla="*/ 4690271 w 7467600"/>
              <a:gd name="connsiteY249" fmla="*/ 4370034 h 6858000"/>
              <a:gd name="connsiteX250" fmla="*/ 4136093 w 7467600"/>
              <a:gd name="connsiteY250" fmla="*/ 3858466 h 6858000"/>
              <a:gd name="connsiteX251" fmla="*/ 3670252 w 7467600"/>
              <a:gd name="connsiteY251" fmla="*/ 3622798 h 6858000"/>
              <a:gd name="connsiteX252" fmla="*/ 4440129 w 7467600"/>
              <a:gd name="connsiteY252" fmla="*/ 3448571 h 6858000"/>
              <a:gd name="connsiteX253" fmla="*/ 4856525 w 7467600"/>
              <a:gd name="connsiteY253" fmla="*/ 3915351 h 6858000"/>
              <a:gd name="connsiteX254" fmla="*/ 5059055 w 7467600"/>
              <a:gd name="connsiteY254" fmla="*/ 4108918 h 6858000"/>
              <a:gd name="connsiteX255" fmla="*/ 5290070 w 7467600"/>
              <a:gd name="connsiteY255" fmla="*/ 4263619 h 6858000"/>
              <a:gd name="connsiteX256" fmla="*/ 4834991 w 7467600"/>
              <a:gd name="connsiteY256" fmla="*/ 3830985 h 6858000"/>
              <a:gd name="connsiteX257" fmla="*/ 4440129 w 7467600"/>
              <a:gd name="connsiteY257" fmla="*/ 3448571 h 6858000"/>
              <a:gd name="connsiteX258" fmla="*/ 4441737 w 7467600"/>
              <a:gd name="connsiteY258" fmla="*/ 3399734 h 6858000"/>
              <a:gd name="connsiteX259" fmla="*/ 4431236 w 7467600"/>
              <a:gd name="connsiteY259" fmla="*/ 3400954 h 6858000"/>
              <a:gd name="connsiteX260" fmla="*/ 4557150 w 7467600"/>
              <a:gd name="connsiteY260" fmla="*/ 3510023 h 6858000"/>
              <a:gd name="connsiteX261" fmla="*/ 4856936 w 7467600"/>
              <a:gd name="connsiteY261" fmla="*/ 3809146 h 6858000"/>
              <a:gd name="connsiteX262" fmla="*/ 5111996 w 7467600"/>
              <a:gd name="connsiteY262" fmla="*/ 4065759 h 6858000"/>
              <a:gd name="connsiteX263" fmla="*/ 5388878 w 7467600"/>
              <a:gd name="connsiteY263" fmla="*/ 4300185 h 6858000"/>
              <a:gd name="connsiteX264" fmla="*/ 5425556 w 7467600"/>
              <a:gd name="connsiteY264" fmla="*/ 4308967 h 6858000"/>
              <a:gd name="connsiteX265" fmla="*/ 4943646 w 7467600"/>
              <a:gd name="connsiteY265" fmla="*/ 3822916 h 6858000"/>
              <a:gd name="connsiteX266" fmla="*/ 4594837 w 7467600"/>
              <a:gd name="connsiteY266" fmla="*/ 3532274 h 6858000"/>
              <a:gd name="connsiteX267" fmla="*/ 4441737 w 7467600"/>
              <a:gd name="connsiteY267" fmla="*/ 3399734 h 6858000"/>
              <a:gd name="connsiteX268" fmla="*/ 5425834 w 7467600"/>
              <a:gd name="connsiteY268" fmla="*/ 3162785 h 6858000"/>
              <a:gd name="connsiteX269" fmla="*/ 5401644 w 7467600"/>
              <a:gd name="connsiteY269" fmla="*/ 3617847 h 6858000"/>
              <a:gd name="connsiteX270" fmla="*/ 5467256 w 7467600"/>
              <a:gd name="connsiteY270" fmla="*/ 4175494 h 6858000"/>
              <a:gd name="connsiteX271" fmla="*/ 5448069 w 7467600"/>
              <a:gd name="connsiteY271" fmla="*/ 3567554 h 6858000"/>
              <a:gd name="connsiteX272" fmla="*/ 5425834 w 7467600"/>
              <a:gd name="connsiteY272" fmla="*/ 3162785 h 6858000"/>
              <a:gd name="connsiteX273" fmla="*/ 1318687 w 7467600"/>
              <a:gd name="connsiteY273" fmla="*/ 3113840 h 6858000"/>
              <a:gd name="connsiteX274" fmla="*/ 1066793 w 7467600"/>
              <a:gd name="connsiteY274" fmla="*/ 3212171 h 6858000"/>
              <a:gd name="connsiteX275" fmla="*/ 993319 w 7467600"/>
              <a:gd name="connsiteY275" fmla="*/ 3247648 h 6858000"/>
              <a:gd name="connsiteX276" fmla="*/ 853081 w 7467600"/>
              <a:gd name="connsiteY276" fmla="*/ 3312410 h 6858000"/>
              <a:gd name="connsiteX277" fmla="*/ 805957 w 7467600"/>
              <a:gd name="connsiteY277" fmla="*/ 3330443 h 6858000"/>
              <a:gd name="connsiteX278" fmla="*/ 1318687 w 7467600"/>
              <a:gd name="connsiteY278" fmla="*/ 3113840 h 6858000"/>
              <a:gd name="connsiteX279" fmla="*/ 5453702 w 7467600"/>
              <a:gd name="connsiteY279" fmla="*/ 3090882 h 6858000"/>
              <a:gd name="connsiteX280" fmla="*/ 5480135 w 7467600"/>
              <a:gd name="connsiteY280" fmla="*/ 3565802 h 6858000"/>
              <a:gd name="connsiteX281" fmla="*/ 5499023 w 7467600"/>
              <a:gd name="connsiteY281" fmla="*/ 4166310 h 6858000"/>
              <a:gd name="connsiteX282" fmla="*/ 5547022 w 7467600"/>
              <a:gd name="connsiteY282" fmla="*/ 3607838 h 6858000"/>
              <a:gd name="connsiteX283" fmla="*/ 5515964 w 7467600"/>
              <a:gd name="connsiteY283" fmla="*/ 3378541 h 6858000"/>
              <a:gd name="connsiteX284" fmla="*/ 5453702 w 7467600"/>
              <a:gd name="connsiteY284" fmla="*/ 3090882 h 6858000"/>
              <a:gd name="connsiteX285" fmla="*/ 1238695 w 7467600"/>
              <a:gd name="connsiteY285" fmla="*/ 3076820 h 6858000"/>
              <a:gd name="connsiteX286" fmla="*/ 716371 w 7467600"/>
              <a:gd name="connsiteY286" fmla="*/ 3293249 h 6858000"/>
              <a:gd name="connsiteX287" fmla="*/ 579522 w 7467600"/>
              <a:gd name="connsiteY287" fmla="*/ 3371759 h 6858000"/>
              <a:gd name="connsiteX288" fmla="*/ 600288 w 7467600"/>
              <a:gd name="connsiteY288" fmla="*/ 3365555 h 6858000"/>
              <a:gd name="connsiteX289" fmla="*/ 840692 w 7467600"/>
              <a:gd name="connsiteY289" fmla="*/ 3284921 h 6858000"/>
              <a:gd name="connsiteX290" fmla="*/ 979248 w 7467600"/>
              <a:gd name="connsiteY290" fmla="*/ 3221003 h 6858000"/>
              <a:gd name="connsiteX291" fmla="*/ 1053282 w 7467600"/>
              <a:gd name="connsiteY291" fmla="*/ 3185247 h 6858000"/>
              <a:gd name="connsiteX292" fmla="*/ 1320603 w 7467600"/>
              <a:gd name="connsiteY292" fmla="*/ 3081281 h 6858000"/>
              <a:gd name="connsiteX293" fmla="*/ 1238695 w 7467600"/>
              <a:gd name="connsiteY293" fmla="*/ 3076820 h 6858000"/>
              <a:gd name="connsiteX294" fmla="*/ 5425627 w 7467600"/>
              <a:gd name="connsiteY294" fmla="*/ 2954192 h 6858000"/>
              <a:gd name="connsiteX295" fmla="*/ 5470770 w 7467600"/>
              <a:gd name="connsiteY295" fmla="*/ 3005435 h 6858000"/>
              <a:gd name="connsiteX296" fmla="*/ 5519779 w 7467600"/>
              <a:gd name="connsiteY296" fmla="*/ 4359223 h 6858000"/>
              <a:gd name="connsiteX297" fmla="*/ 5520293 w 7467600"/>
              <a:gd name="connsiteY297" fmla="*/ 4360602 h 6858000"/>
              <a:gd name="connsiteX298" fmla="*/ 5767221 w 7467600"/>
              <a:gd name="connsiteY298" fmla="*/ 4665564 h 6858000"/>
              <a:gd name="connsiteX299" fmla="*/ 6937169 w 7467600"/>
              <a:gd name="connsiteY299" fmla="*/ 4815941 h 6858000"/>
              <a:gd name="connsiteX300" fmla="*/ 6953922 w 7467600"/>
              <a:gd name="connsiteY300" fmla="*/ 4890068 h 6858000"/>
              <a:gd name="connsiteX301" fmla="*/ 6071359 w 7467600"/>
              <a:gd name="connsiteY301" fmla="*/ 4770770 h 6858000"/>
              <a:gd name="connsiteX302" fmla="*/ 6038839 w 7467600"/>
              <a:gd name="connsiteY302" fmla="*/ 4764474 h 6858000"/>
              <a:gd name="connsiteX303" fmla="*/ 6038706 w 7467600"/>
              <a:gd name="connsiteY303" fmla="*/ 4763847 h 6858000"/>
              <a:gd name="connsiteX304" fmla="*/ 6037784 w 7467600"/>
              <a:gd name="connsiteY304" fmla="*/ 4764270 h 6858000"/>
              <a:gd name="connsiteX305" fmla="*/ 6038839 w 7467600"/>
              <a:gd name="connsiteY305" fmla="*/ 4764474 h 6858000"/>
              <a:gd name="connsiteX306" fmla="*/ 6040338 w 7467600"/>
              <a:gd name="connsiteY306" fmla="*/ 4771418 h 6858000"/>
              <a:gd name="connsiteX307" fmla="*/ 6024488 w 7467600"/>
              <a:gd name="connsiteY307" fmla="*/ 4809903 h 6858000"/>
              <a:gd name="connsiteX308" fmla="*/ 5599771 w 7467600"/>
              <a:gd name="connsiteY308" fmla="*/ 5509652 h 6858000"/>
              <a:gd name="connsiteX309" fmla="*/ 5548843 w 7467600"/>
              <a:gd name="connsiteY309" fmla="*/ 5563845 h 6858000"/>
              <a:gd name="connsiteX310" fmla="*/ 5940952 w 7467600"/>
              <a:gd name="connsiteY310" fmla="*/ 6250028 h 6858000"/>
              <a:gd name="connsiteX311" fmla="*/ 6043441 w 7467600"/>
              <a:gd name="connsiteY311" fmla="*/ 6665847 h 6858000"/>
              <a:gd name="connsiteX312" fmla="*/ 6093432 w 7467600"/>
              <a:gd name="connsiteY312" fmla="*/ 6858000 h 6858000"/>
              <a:gd name="connsiteX313" fmla="*/ 6034344 w 7467600"/>
              <a:gd name="connsiteY313" fmla="*/ 6858000 h 6858000"/>
              <a:gd name="connsiteX314" fmla="*/ 6026679 w 7467600"/>
              <a:gd name="connsiteY314" fmla="*/ 6836959 h 6858000"/>
              <a:gd name="connsiteX315" fmla="*/ 5800441 w 7467600"/>
              <a:gd name="connsiteY315" fmla="*/ 6335286 h 6858000"/>
              <a:gd name="connsiteX316" fmla="*/ 5526562 w 7467600"/>
              <a:gd name="connsiteY316" fmla="*/ 5705388 h 6858000"/>
              <a:gd name="connsiteX317" fmla="*/ 5519640 w 7467600"/>
              <a:gd name="connsiteY317" fmla="*/ 5683774 h 6858000"/>
              <a:gd name="connsiteX318" fmla="*/ 5844559 w 7467600"/>
              <a:gd name="connsiteY318" fmla="*/ 6553349 h 6858000"/>
              <a:gd name="connsiteX319" fmla="*/ 5975994 w 7467600"/>
              <a:gd name="connsiteY319" fmla="*/ 6858000 h 6858000"/>
              <a:gd name="connsiteX320" fmla="*/ 5898547 w 7467600"/>
              <a:gd name="connsiteY320" fmla="*/ 6858000 h 6858000"/>
              <a:gd name="connsiteX321" fmla="*/ 5682041 w 7467600"/>
              <a:gd name="connsiteY321" fmla="*/ 6355860 h 6858000"/>
              <a:gd name="connsiteX322" fmla="*/ 5461758 w 7467600"/>
              <a:gd name="connsiteY322" fmla="*/ 5820220 h 6858000"/>
              <a:gd name="connsiteX323" fmla="*/ 5237282 w 7467600"/>
              <a:gd name="connsiteY323" fmla="*/ 6579086 h 6858000"/>
              <a:gd name="connsiteX324" fmla="*/ 5115009 w 7467600"/>
              <a:gd name="connsiteY324" fmla="*/ 6858000 h 6858000"/>
              <a:gd name="connsiteX325" fmla="*/ 5028074 w 7467600"/>
              <a:gd name="connsiteY325" fmla="*/ 6858000 h 6858000"/>
              <a:gd name="connsiteX326" fmla="*/ 5079508 w 7467600"/>
              <a:gd name="connsiteY326" fmla="*/ 6749074 h 6858000"/>
              <a:gd name="connsiteX327" fmla="*/ 5371846 w 7467600"/>
              <a:gd name="connsiteY327" fmla="*/ 5924413 h 6858000"/>
              <a:gd name="connsiteX328" fmla="*/ 5270512 w 7467600"/>
              <a:gd name="connsiteY328" fmla="*/ 6138975 h 6858000"/>
              <a:gd name="connsiteX329" fmla="*/ 5062409 w 7467600"/>
              <a:gd name="connsiteY329" fmla="*/ 6653544 h 6858000"/>
              <a:gd name="connsiteX330" fmla="*/ 5036628 w 7467600"/>
              <a:gd name="connsiteY330" fmla="*/ 6754247 h 6858000"/>
              <a:gd name="connsiteX331" fmla="*/ 5009112 w 7467600"/>
              <a:gd name="connsiteY331" fmla="*/ 6858000 h 6858000"/>
              <a:gd name="connsiteX332" fmla="*/ 4976679 w 7467600"/>
              <a:gd name="connsiteY332" fmla="*/ 6858000 h 6858000"/>
              <a:gd name="connsiteX333" fmla="*/ 5006537 w 7467600"/>
              <a:gd name="connsiteY333" fmla="*/ 6747068 h 6858000"/>
              <a:gd name="connsiteX334" fmla="*/ 5032723 w 7467600"/>
              <a:gd name="connsiteY334" fmla="*/ 6644957 h 6858000"/>
              <a:gd name="connsiteX335" fmla="*/ 5242949 w 7467600"/>
              <a:gd name="connsiteY335" fmla="*/ 6125175 h 6858000"/>
              <a:gd name="connsiteX336" fmla="*/ 5286321 w 7467600"/>
              <a:gd name="connsiteY336" fmla="*/ 6033555 h 6858000"/>
              <a:gd name="connsiteX337" fmla="*/ 5008210 w 7467600"/>
              <a:gd name="connsiteY337" fmla="*/ 6649194 h 6858000"/>
              <a:gd name="connsiteX338" fmla="*/ 4986321 w 7467600"/>
              <a:gd name="connsiteY338" fmla="*/ 6765687 h 6858000"/>
              <a:gd name="connsiteX339" fmla="*/ 4973474 w 7467600"/>
              <a:gd name="connsiteY339" fmla="*/ 6858000 h 6858000"/>
              <a:gd name="connsiteX340" fmla="*/ 4907178 w 7467600"/>
              <a:gd name="connsiteY340" fmla="*/ 6858000 h 6858000"/>
              <a:gd name="connsiteX341" fmla="*/ 4910810 w 7467600"/>
              <a:gd name="connsiteY341" fmla="*/ 6829660 h 6858000"/>
              <a:gd name="connsiteX342" fmla="*/ 4987461 w 7467600"/>
              <a:gd name="connsiteY342" fmla="*/ 6432994 h 6858000"/>
              <a:gd name="connsiteX343" fmla="*/ 5179262 w 7467600"/>
              <a:gd name="connsiteY343" fmla="*/ 6035044 h 6858000"/>
              <a:gd name="connsiteX344" fmla="*/ 4689678 w 7467600"/>
              <a:gd name="connsiteY344" fmla="*/ 6440241 h 6858000"/>
              <a:gd name="connsiteX345" fmla="*/ 4477543 w 7467600"/>
              <a:gd name="connsiteY345" fmla="*/ 6674836 h 6858000"/>
              <a:gd name="connsiteX346" fmla="*/ 4329957 w 7467600"/>
              <a:gd name="connsiteY346" fmla="*/ 6858000 h 6858000"/>
              <a:gd name="connsiteX347" fmla="*/ 4218595 w 7467600"/>
              <a:gd name="connsiteY347" fmla="*/ 6858000 h 6858000"/>
              <a:gd name="connsiteX348" fmla="*/ 4368888 w 7467600"/>
              <a:gd name="connsiteY348" fmla="*/ 6668412 h 6858000"/>
              <a:gd name="connsiteX349" fmla="*/ 4563091 w 7467600"/>
              <a:gd name="connsiteY349" fmla="*/ 6442508 h 6858000"/>
              <a:gd name="connsiteX350" fmla="*/ 5387324 w 7467600"/>
              <a:gd name="connsiteY350" fmla="*/ 5705830 h 6858000"/>
              <a:gd name="connsiteX351" fmla="*/ 5073620 w 7467600"/>
              <a:gd name="connsiteY351" fmla="*/ 5955437 h 6858000"/>
              <a:gd name="connsiteX352" fmla="*/ 4689789 w 7467600"/>
              <a:gd name="connsiteY352" fmla="*/ 6268382 h 6858000"/>
              <a:gd name="connsiteX353" fmla="*/ 4418722 w 7467600"/>
              <a:gd name="connsiteY353" fmla="*/ 6570886 h 6858000"/>
              <a:gd name="connsiteX354" fmla="*/ 4214944 w 7467600"/>
              <a:gd name="connsiteY354" fmla="*/ 6858000 h 6858000"/>
              <a:gd name="connsiteX355" fmla="*/ 4177898 w 7467600"/>
              <a:gd name="connsiteY355" fmla="*/ 6858000 h 6858000"/>
              <a:gd name="connsiteX356" fmla="*/ 4391597 w 7467600"/>
              <a:gd name="connsiteY356" fmla="*/ 6556370 h 6858000"/>
              <a:gd name="connsiteX357" fmla="*/ 4668889 w 7467600"/>
              <a:gd name="connsiteY357" fmla="*/ 6246399 h 6858000"/>
              <a:gd name="connsiteX358" fmla="*/ 5055427 w 7467600"/>
              <a:gd name="connsiteY358" fmla="*/ 5931476 h 6858000"/>
              <a:gd name="connsiteX359" fmla="*/ 5371814 w 7467600"/>
              <a:gd name="connsiteY359" fmla="*/ 5678975 h 6858000"/>
              <a:gd name="connsiteX360" fmla="*/ 4987918 w 7467600"/>
              <a:gd name="connsiteY360" fmla="*/ 5838701 h 6858000"/>
              <a:gd name="connsiteX361" fmla="*/ 4317146 w 7467600"/>
              <a:gd name="connsiteY361" fmla="*/ 6587716 h 6858000"/>
              <a:gd name="connsiteX362" fmla="*/ 4171627 w 7467600"/>
              <a:gd name="connsiteY362" fmla="*/ 6858000 h 6858000"/>
              <a:gd name="connsiteX363" fmla="*/ 4081585 w 7467600"/>
              <a:gd name="connsiteY363" fmla="*/ 6858000 h 6858000"/>
              <a:gd name="connsiteX364" fmla="*/ 4238603 w 7467600"/>
              <a:gd name="connsiteY364" fmla="*/ 6559341 h 6858000"/>
              <a:gd name="connsiteX365" fmla="*/ 4778333 w 7467600"/>
              <a:gd name="connsiteY365" fmla="*/ 5873626 h 6858000"/>
              <a:gd name="connsiteX366" fmla="*/ 5414185 w 7467600"/>
              <a:gd name="connsiteY366" fmla="*/ 5573882 h 6858000"/>
              <a:gd name="connsiteX367" fmla="*/ 5959648 w 7467600"/>
              <a:gd name="connsiteY367" fmla="*/ 4760797 h 6858000"/>
              <a:gd name="connsiteX368" fmla="*/ 5355019 w 7467600"/>
              <a:gd name="connsiteY368" fmla="*/ 4734672 h 6858000"/>
              <a:gd name="connsiteX369" fmla="*/ 5083565 w 7467600"/>
              <a:gd name="connsiteY369" fmla="*/ 5179121 h 6858000"/>
              <a:gd name="connsiteX370" fmla="*/ 4713577 w 7467600"/>
              <a:gd name="connsiteY370" fmla="*/ 5616803 h 6858000"/>
              <a:gd name="connsiteX371" fmla="*/ 3989559 w 7467600"/>
              <a:gd name="connsiteY371" fmla="*/ 6145945 h 6858000"/>
              <a:gd name="connsiteX372" fmla="*/ 3939824 w 7467600"/>
              <a:gd name="connsiteY372" fmla="*/ 6066900 h 6858000"/>
              <a:gd name="connsiteX373" fmla="*/ 4584537 w 7467600"/>
              <a:gd name="connsiteY373" fmla="*/ 5324826 h 6858000"/>
              <a:gd name="connsiteX374" fmla="*/ 5037105 w 7467600"/>
              <a:gd name="connsiteY374" fmla="*/ 5088765 h 6858000"/>
              <a:gd name="connsiteX375" fmla="*/ 5039930 w 7467600"/>
              <a:gd name="connsiteY375" fmla="*/ 5089585 h 6858000"/>
              <a:gd name="connsiteX376" fmla="*/ 5263764 w 7467600"/>
              <a:gd name="connsiteY376" fmla="*/ 4735525 h 6858000"/>
              <a:gd name="connsiteX377" fmla="*/ 4086300 w 7467600"/>
              <a:gd name="connsiteY377" fmla="*/ 4884599 h 6858000"/>
              <a:gd name="connsiteX378" fmla="*/ 4085485 w 7467600"/>
              <a:gd name="connsiteY378" fmla="*/ 4899070 h 6858000"/>
              <a:gd name="connsiteX379" fmla="*/ 3871915 w 7467600"/>
              <a:gd name="connsiteY379" fmla="*/ 5253645 h 6858000"/>
              <a:gd name="connsiteX380" fmla="*/ 3799374 w 7467600"/>
              <a:gd name="connsiteY380" fmla="*/ 5466127 h 6858000"/>
              <a:gd name="connsiteX381" fmla="*/ 3498850 w 7467600"/>
              <a:gd name="connsiteY381" fmla="*/ 6661888 h 6858000"/>
              <a:gd name="connsiteX382" fmla="*/ 3399216 w 7467600"/>
              <a:gd name="connsiteY382" fmla="*/ 6858000 h 6858000"/>
              <a:gd name="connsiteX383" fmla="*/ 3303688 w 7467600"/>
              <a:gd name="connsiteY383" fmla="*/ 6858000 h 6858000"/>
              <a:gd name="connsiteX384" fmla="*/ 3391774 w 7467600"/>
              <a:gd name="connsiteY384" fmla="*/ 6697181 h 6858000"/>
              <a:gd name="connsiteX385" fmla="*/ 3735540 w 7467600"/>
              <a:gd name="connsiteY385" fmla="*/ 5546923 h 6858000"/>
              <a:gd name="connsiteX386" fmla="*/ 3729438 w 7467600"/>
              <a:gd name="connsiteY386" fmla="*/ 5569058 h 6858000"/>
              <a:gd name="connsiteX387" fmla="*/ 3707782 w 7467600"/>
              <a:gd name="connsiteY387" fmla="*/ 5644908 h 6858000"/>
              <a:gd name="connsiteX388" fmla="*/ 3583827 w 7467600"/>
              <a:gd name="connsiteY388" fmla="*/ 6039215 h 6858000"/>
              <a:gd name="connsiteX389" fmla="*/ 3547861 w 7467600"/>
              <a:gd name="connsiteY389" fmla="*/ 6129609 h 6858000"/>
              <a:gd name="connsiteX390" fmla="*/ 3490905 w 7467600"/>
              <a:gd name="connsiteY390" fmla="*/ 6277660 h 6858000"/>
              <a:gd name="connsiteX391" fmla="*/ 3455859 w 7467600"/>
              <a:gd name="connsiteY391" fmla="*/ 6391301 h 6858000"/>
              <a:gd name="connsiteX392" fmla="*/ 3429112 w 7467600"/>
              <a:gd name="connsiteY392" fmla="*/ 6479469 h 6858000"/>
              <a:gd name="connsiteX393" fmla="*/ 3304862 w 7467600"/>
              <a:gd name="connsiteY393" fmla="*/ 6796476 h 6858000"/>
              <a:gd name="connsiteX394" fmla="*/ 3276071 w 7467600"/>
              <a:gd name="connsiteY394" fmla="*/ 6858000 h 6858000"/>
              <a:gd name="connsiteX395" fmla="*/ 3240805 w 7467600"/>
              <a:gd name="connsiteY395" fmla="*/ 6858000 h 6858000"/>
              <a:gd name="connsiteX396" fmla="*/ 3275917 w 7467600"/>
              <a:gd name="connsiteY396" fmla="*/ 6783192 h 6858000"/>
              <a:gd name="connsiteX397" fmla="*/ 3399358 w 7467600"/>
              <a:gd name="connsiteY397" fmla="*/ 6469011 h 6858000"/>
              <a:gd name="connsiteX398" fmla="*/ 3425650 w 7467600"/>
              <a:gd name="connsiteY398" fmla="*/ 6381333 h 6858000"/>
              <a:gd name="connsiteX399" fmla="*/ 3460661 w 7467600"/>
              <a:gd name="connsiteY399" fmla="*/ 6266763 h 6858000"/>
              <a:gd name="connsiteX400" fmla="*/ 3518021 w 7467600"/>
              <a:gd name="connsiteY400" fmla="*/ 6117298 h 6858000"/>
              <a:gd name="connsiteX401" fmla="*/ 3554035 w 7467600"/>
              <a:gd name="connsiteY401" fmla="*/ 6027832 h 6858000"/>
              <a:gd name="connsiteX402" fmla="*/ 3677174 w 7467600"/>
              <a:gd name="connsiteY402" fmla="*/ 5636351 h 6858000"/>
              <a:gd name="connsiteX403" fmla="*/ 3698819 w 7467600"/>
              <a:gd name="connsiteY403" fmla="*/ 5560503 h 6858000"/>
              <a:gd name="connsiteX404" fmla="*/ 3702094 w 7467600"/>
              <a:gd name="connsiteY404" fmla="*/ 5549194 h 6858000"/>
              <a:gd name="connsiteX405" fmla="*/ 3398355 w 7467600"/>
              <a:gd name="connsiteY405" fmla="*/ 6094603 h 6858000"/>
              <a:gd name="connsiteX406" fmla="*/ 3193941 w 7467600"/>
              <a:gd name="connsiteY406" fmla="*/ 6798775 h 6858000"/>
              <a:gd name="connsiteX407" fmla="*/ 3184140 w 7467600"/>
              <a:gd name="connsiteY407" fmla="*/ 6858000 h 6858000"/>
              <a:gd name="connsiteX408" fmla="*/ 3099978 w 7467600"/>
              <a:gd name="connsiteY408" fmla="*/ 6858000 h 6858000"/>
              <a:gd name="connsiteX409" fmla="*/ 3101556 w 7467600"/>
              <a:gd name="connsiteY409" fmla="*/ 6843337 h 6858000"/>
              <a:gd name="connsiteX410" fmla="*/ 3370162 w 7467600"/>
              <a:gd name="connsiteY410" fmla="*/ 5785550 h 6858000"/>
              <a:gd name="connsiteX411" fmla="*/ 3746477 w 7467600"/>
              <a:gd name="connsiteY411" fmla="*/ 5377889 h 6858000"/>
              <a:gd name="connsiteX412" fmla="*/ 3863399 w 7467600"/>
              <a:gd name="connsiteY412" fmla="*/ 5087257 h 6858000"/>
              <a:gd name="connsiteX413" fmla="*/ 3968712 w 7467600"/>
              <a:gd name="connsiteY413" fmla="*/ 4913989 h 6858000"/>
              <a:gd name="connsiteX414" fmla="*/ 2792390 w 7467600"/>
              <a:gd name="connsiteY414" fmla="*/ 5382974 h 6858000"/>
              <a:gd name="connsiteX415" fmla="*/ 2714982 w 7467600"/>
              <a:gd name="connsiteY415" fmla="*/ 5427051 h 6858000"/>
              <a:gd name="connsiteX416" fmla="*/ 2813361 w 7467600"/>
              <a:gd name="connsiteY416" fmla="*/ 6023912 h 6858000"/>
              <a:gd name="connsiteX417" fmla="*/ 2688430 w 7467600"/>
              <a:gd name="connsiteY417" fmla="*/ 6801564 h 6858000"/>
              <a:gd name="connsiteX418" fmla="*/ 2629626 w 7467600"/>
              <a:gd name="connsiteY418" fmla="*/ 6763394 h 6858000"/>
              <a:gd name="connsiteX419" fmla="*/ 2565328 w 7467600"/>
              <a:gd name="connsiteY419" fmla="*/ 5516399 h 6858000"/>
              <a:gd name="connsiteX420" fmla="*/ 1922999 w 7467600"/>
              <a:gd name="connsiteY420" fmla="*/ 5980343 h 6858000"/>
              <a:gd name="connsiteX421" fmla="*/ 1950261 w 7467600"/>
              <a:gd name="connsiteY421" fmla="*/ 6405858 h 6858000"/>
              <a:gd name="connsiteX422" fmla="*/ 2365554 w 7467600"/>
              <a:gd name="connsiteY422" fmla="*/ 6759107 h 6858000"/>
              <a:gd name="connsiteX423" fmla="*/ 2424142 w 7467600"/>
              <a:gd name="connsiteY423" fmla="*/ 6858000 h 6858000"/>
              <a:gd name="connsiteX424" fmla="*/ 2395994 w 7467600"/>
              <a:gd name="connsiteY424" fmla="*/ 6858000 h 6858000"/>
              <a:gd name="connsiteX425" fmla="*/ 2392863 w 7467600"/>
              <a:gd name="connsiteY425" fmla="*/ 6852964 h 6858000"/>
              <a:gd name="connsiteX426" fmla="*/ 2017589 w 7467600"/>
              <a:gd name="connsiteY426" fmla="*/ 6493982 h 6858000"/>
              <a:gd name="connsiteX427" fmla="*/ 2147336 w 7467600"/>
              <a:gd name="connsiteY427" fmla="*/ 6594052 h 6858000"/>
              <a:gd name="connsiteX428" fmla="*/ 2207047 w 7467600"/>
              <a:gd name="connsiteY428" fmla="*/ 6654540 h 6858000"/>
              <a:gd name="connsiteX429" fmla="*/ 2299106 w 7467600"/>
              <a:gd name="connsiteY429" fmla="*/ 6778931 h 6858000"/>
              <a:gd name="connsiteX430" fmla="*/ 2314430 w 7467600"/>
              <a:gd name="connsiteY430" fmla="*/ 6801144 h 6858000"/>
              <a:gd name="connsiteX431" fmla="*/ 2352406 w 7467600"/>
              <a:gd name="connsiteY431" fmla="*/ 6858000 h 6858000"/>
              <a:gd name="connsiteX432" fmla="*/ 2314492 w 7467600"/>
              <a:gd name="connsiteY432" fmla="*/ 6858000 h 6858000"/>
              <a:gd name="connsiteX433" fmla="*/ 2288095 w 7467600"/>
              <a:gd name="connsiteY433" fmla="*/ 6818030 h 6858000"/>
              <a:gd name="connsiteX434" fmla="*/ 2272768 w 7467600"/>
              <a:gd name="connsiteY434" fmla="*/ 6795822 h 6858000"/>
              <a:gd name="connsiteX435" fmla="*/ 2182715 w 7467600"/>
              <a:gd name="connsiteY435" fmla="*/ 6675071 h 6858000"/>
              <a:gd name="connsiteX436" fmla="*/ 2032061 w 7467600"/>
              <a:gd name="connsiteY436" fmla="*/ 6541380 h 6858000"/>
              <a:gd name="connsiteX437" fmla="*/ 2257220 w 7467600"/>
              <a:gd name="connsiteY437" fmla="*/ 6826257 h 6858000"/>
              <a:gd name="connsiteX438" fmla="*/ 2281324 w 7467600"/>
              <a:gd name="connsiteY438" fmla="*/ 6858000 h 6858000"/>
              <a:gd name="connsiteX439" fmla="*/ 2242860 w 7467600"/>
              <a:gd name="connsiteY439" fmla="*/ 6858000 h 6858000"/>
              <a:gd name="connsiteX440" fmla="*/ 2232818 w 7467600"/>
              <a:gd name="connsiteY440" fmla="*/ 6844926 h 6858000"/>
              <a:gd name="connsiteX441" fmla="*/ 1990172 w 7467600"/>
              <a:gd name="connsiteY441" fmla="*/ 6542121 h 6858000"/>
              <a:gd name="connsiteX442" fmla="*/ 2124090 w 7467600"/>
              <a:gd name="connsiteY442" fmla="*/ 6761017 h 6858000"/>
              <a:gd name="connsiteX443" fmla="*/ 2200380 w 7467600"/>
              <a:gd name="connsiteY443" fmla="*/ 6858000 h 6858000"/>
              <a:gd name="connsiteX444" fmla="*/ 2147507 w 7467600"/>
              <a:gd name="connsiteY444" fmla="*/ 6858000 h 6858000"/>
              <a:gd name="connsiteX445" fmla="*/ 2070668 w 7467600"/>
              <a:gd name="connsiteY445" fmla="*/ 6761520 h 6858000"/>
              <a:gd name="connsiteX446" fmla="*/ 1975142 w 7467600"/>
              <a:gd name="connsiteY446" fmla="*/ 6585570 h 6858000"/>
              <a:gd name="connsiteX447" fmla="*/ 2050035 w 7467600"/>
              <a:gd name="connsiteY447" fmla="*/ 6813345 h 6858000"/>
              <a:gd name="connsiteX448" fmla="*/ 2063025 w 7467600"/>
              <a:gd name="connsiteY448" fmla="*/ 6858000 h 6858000"/>
              <a:gd name="connsiteX449" fmla="*/ 2021675 w 7467600"/>
              <a:gd name="connsiteY449" fmla="*/ 6858000 h 6858000"/>
              <a:gd name="connsiteX450" fmla="*/ 2019308 w 7467600"/>
              <a:gd name="connsiteY450" fmla="*/ 6847118 h 6858000"/>
              <a:gd name="connsiteX451" fmla="*/ 1938835 w 7467600"/>
              <a:gd name="connsiteY451" fmla="*/ 6551160 h 6858000"/>
              <a:gd name="connsiteX452" fmla="*/ 1953230 w 7467600"/>
              <a:gd name="connsiteY452" fmla="*/ 6759699 h 6858000"/>
              <a:gd name="connsiteX453" fmla="*/ 1956763 w 7467600"/>
              <a:gd name="connsiteY453" fmla="*/ 6778191 h 6858000"/>
              <a:gd name="connsiteX454" fmla="*/ 1967925 w 7467600"/>
              <a:gd name="connsiteY454" fmla="*/ 6858000 h 6858000"/>
              <a:gd name="connsiteX455" fmla="*/ 1936622 w 7467600"/>
              <a:gd name="connsiteY455" fmla="*/ 6858000 h 6858000"/>
              <a:gd name="connsiteX456" fmla="*/ 1926261 w 7467600"/>
              <a:gd name="connsiteY456" fmla="*/ 6784064 h 6858000"/>
              <a:gd name="connsiteX457" fmla="*/ 1922724 w 7467600"/>
              <a:gd name="connsiteY457" fmla="*/ 6765577 h 6858000"/>
              <a:gd name="connsiteX458" fmla="*/ 1904650 w 7467600"/>
              <a:gd name="connsiteY458" fmla="*/ 6639616 h 6858000"/>
              <a:gd name="connsiteX459" fmla="*/ 1885273 w 7467600"/>
              <a:gd name="connsiteY459" fmla="*/ 6858000 h 6858000"/>
              <a:gd name="connsiteX460" fmla="*/ 1854363 w 7467600"/>
              <a:gd name="connsiteY460" fmla="*/ 6858000 h 6858000"/>
              <a:gd name="connsiteX461" fmla="*/ 1880391 w 7467600"/>
              <a:gd name="connsiteY461" fmla="*/ 6603796 h 6858000"/>
              <a:gd name="connsiteX462" fmla="*/ 1818273 w 7467600"/>
              <a:gd name="connsiteY462" fmla="*/ 6715729 h 6858000"/>
              <a:gd name="connsiteX463" fmla="*/ 1794691 w 7467600"/>
              <a:gd name="connsiteY463" fmla="*/ 6843239 h 6858000"/>
              <a:gd name="connsiteX464" fmla="*/ 1794914 w 7467600"/>
              <a:gd name="connsiteY464" fmla="*/ 6858000 h 6858000"/>
              <a:gd name="connsiteX465" fmla="*/ 1746128 w 7467600"/>
              <a:gd name="connsiteY465" fmla="*/ 6858000 h 6858000"/>
              <a:gd name="connsiteX466" fmla="*/ 1753934 w 7467600"/>
              <a:gd name="connsiteY466" fmla="*/ 6724796 h 6858000"/>
              <a:gd name="connsiteX467" fmla="*/ 1792053 w 7467600"/>
              <a:gd name="connsiteY467" fmla="*/ 6572396 h 6858000"/>
              <a:gd name="connsiteX468" fmla="*/ 1862248 w 7467600"/>
              <a:gd name="connsiteY468" fmla="*/ 6266397 h 6858000"/>
              <a:gd name="connsiteX469" fmla="*/ 1862250 w 7467600"/>
              <a:gd name="connsiteY469" fmla="*/ 6033531 h 6858000"/>
              <a:gd name="connsiteX470" fmla="*/ 1211999 w 7467600"/>
              <a:gd name="connsiteY470" fmla="*/ 6683610 h 6858000"/>
              <a:gd name="connsiteX471" fmla="*/ 1213266 w 7467600"/>
              <a:gd name="connsiteY471" fmla="*/ 6691947 h 6858000"/>
              <a:gd name="connsiteX472" fmla="*/ 1203370 w 7467600"/>
              <a:gd name="connsiteY472" fmla="*/ 6850676 h 6858000"/>
              <a:gd name="connsiteX473" fmla="*/ 1203671 w 7467600"/>
              <a:gd name="connsiteY473" fmla="*/ 6858000 h 6858000"/>
              <a:gd name="connsiteX474" fmla="*/ 1143180 w 7467600"/>
              <a:gd name="connsiteY474" fmla="*/ 6858000 h 6858000"/>
              <a:gd name="connsiteX475" fmla="*/ 1142176 w 7467600"/>
              <a:gd name="connsiteY475" fmla="*/ 6766045 h 6858000"/>
              <a:gd name="connsiteX476" fmla="*/ 1067484 w 7467600"/>
              <a:gd name="connsiteY476" fmla="*/ 6858000 h 6858000"/>
              <a:gd name="connsiteX477" fmla="*/ 953928 w 7467600"/>
              <a:gd name="connsiteY477" fmla="*/ 6858000 h 6858000"/>
              <a:gd name="connsiteX478" fmla="*/ 959715 w 7467600"/>
              <a:gd name="connsiteY478" fmla="*/ 6850185 h 6858000"/>
              <a:gd name="connsiteX479" fmla="*/ 1483788 w 7467600"/>
              <a:gd name="connsiteY479" fmla="*/ 6259174 h 6858000"/>
              <a:gd name="connsiteX480" fmla="*/ 1100671 w 7467600"/>
              <a:gd name="connsiteY480" fmla="*/ 6252137 h 6858000"/>
              <a:gd name="connsiteX481" fmla="*/ 1090144 w 7467600"/>
              <a:gd name="connsiteY481" fmla="*/ 6256748 h 6858000"/>
              <a:gd name="connsiteX482" fmla="*/ 1095872 w 7467600"/>
              <a:gd name="connsiteY482" fmla="*/ 6271892 h 6858000"/>
              <a:gd name="connsiteX483" fmla="*/ 262785 w 7467600"/>
              <a:gd name="connsiteY483" fmla="*/ 6845450 h 6858000"/>
              <a:gd name="connsiteX484" fmla="*/ 209968 w 7467600"/>
              <a:gd name="connsiteY484" fmla="*/ 6770713 h 6858000"/>
              <a:gd name="connsiteX485" fmla="*/ 873460 w 7467600"/>
              <a:gd name="connsiteY485" fmla="*/ 6253768 h 6858000"/>
              <a:gd name="connsiteX486" fmla="*/ 192686 w 7467600"/>
              <a:gd name="connsiteY486" fmla="*/ 5849257 h 6858000"/>
              <a:gd name="connsiteX487" fmla="*/ 4696 w 7467600"/>
              <a:gd name="connsiteY487" fmla="*/ 5697668 h 6858000"/>
              <a:gd name="connsiteX488" fmla="*/ 0 w 7467600"/>
              <a:gd name="connsiteY488" fmla="*/ 5689984 h 6858000"/>
              <a:gd name="connsiteX489" fmla="*/ 0 w 7467600"/>
              <a:gd name="connsiteY489" fmla="*/ 5513472 h 6858000"/>
              <a:gd name="connsiteX490" fmla="*/ 174101 w 7467600"/>
              <a:gd name="connsiteY490" fmla="*/ 5620277 h 6858000"/>
              <a:gd name="connsiteX491" fmla="*/ 891800 w 7467600"/>
              <a:gd name="connsiteY491" fmla="*/ 6036935 h 6858000"/>
              <a:gd name="connsiteX492" fmla="*/ 1072219 w 7467600"/>
              <a:gd name="connsiteY492" fmla="*/ 6169443 h 6858000"/>
              <a:gd name="connsiteX493" fmla="*/ 1074117 w 7467600"/>
              <a:gd name="connsiteY493" fmla="*/ 6170301 h 6858000"/>
              <a:gd name="connsiteX494" fmla="*/ 1083114 w 7467600"/>
              <a:gd name="connsiteY494" fmla="*/ 6174131 h 6858000"/>
              <a:gd name="connsiteX495" fmla="*/ 1543010 w 7467600"/>
              <a:gd name="connsiteY495" fmla="*/ 6191140 h 6858000"/>
              <a:gd name="connsiteX496" fmla="*/ 1551080 w 7467600"/>
              <a:gd name="connsiteY496" fmla="*/ 6195006 h 6858000"/>
              <a:gd name="connsiteX497" fmla="*/ 2345443 w 7467600"/>
              <a:gd name="connsiteY497" fmla="*/ 5549882 h 6858000"/>
              <a:gd name="connsiteX498" fmla="*/ 1721499 w 7467600"/>
              <a:gd name="connsiteY498" fmla="*/ 5599969 h 6858000"/>
              <a:gd name="connsiteX499" fmla="*/ 767716 w 7467600"/>
              <a:gd name="connsiteY499" fmla="*/ 5472768 h 6858000"/>
              <a:gd name="connsiteX500" fmla="*/ 722147 w 7467600"/>
              <a:gd name="connsiteY500" fmla="*/ 5393091 h 6858000"/>
              <a:gd name="connsiteX501" fmla="*/ 1485552 w 7467600"/>
              <a:gd name="connsiteY501" fmla="*/ 5313202 h 6858000"/>
              <a:gd name="connsiteX502" fmla="*/ 2143004 w 7467600"/>
              <a:gd name="connsiteY502" fmla="*/ 5402420 h 6858000"/>
              <a:gd name="connsiteX503" fmla="*/ 1933391 w 7467600"/>
              <a:gd name="connsiteY503" fmla="*/ 5156971 h 6858000"/>
              <a:gd name="connsiteX504" fmla="*/ 1827118 w 7467600"/>
              <a:gd name="connsiteY504" fmla="*/ 4968410 h 6858000"/>
              <a:gd name="connsiteX505" fmla="*/ 1837349 w 7467600"/>
              <a:gd name="connsiteY505" fmla="*/ 4956357 h 6858000"/>
              <a:gd name="connsiteX506" fmla="*/ 2162835 w 7467600"/>
              <a:gd name="connsiteY506" fmla="*/ 5187853 h 6858000"/>
              <a:gd name="connsiteX507" fmla="*/ 2257167 w 7467600"/>
              <a:gd name="connsiteY507" fmla="*/ 5462123 h 6858000"/>
              <a:gd name="connsiteX508" fmla="*/ 2261598 w 7467600"/>
              <a:gd name="connsiteY508" fmla="*/ 5467998 h 6858000"/>
              <a:gd name="connsiteX509" fmla="*/ 2437177 w 7467600"/>
              <a:gd name="connsiteY509" fmla="*/ 5479608 h 6858000"/>
              <a:gd name="connsiteX510" fmla="*/ 2445247 w 7467600"/>
              <a:gd name="connsiteY510" fmla="*/ 5483476 h 6858000"/>
              <a:gd name="connsiteX511" fmla="*/ 2743626 w 7467600"/>
              <a:gd name="connsiteY511" fmla="*/ 5304819 h 6858000"/>
              <a:gd name="connsiteX512" fmla="*/ 3048102 w 7467600"/>
              <a:gd name="connsiteY512" fmla="*/ 5150595 h 6858000"/>
              <a:gd name="connsiteX513" fmla="*/ 1799414 w 7467600"/>
              <a:gd name="connsiteY513" fmla="*/ 4694732 h 6858000"/>
              <a:gd name="connsiteX514" fmla="*/ 1771735 w 7467600"/>
              <a:gd name="connsiteY514" fmla="*/ 4619929 h 6858000"/>
              <a:gd name="connsiteX515" fmla="*/ 3104273 w 7467600"/>
              <a:gd name="connsiteY515" fmla="*/ 5076159 h 6858000"/>
              <a:gd name="connsiteX516" fmla="*/ 3113245 w 7467600"/>
              <a:gd name="connsiteY516" fmla="*/ 5090705 h 6858000"/>
              <a:gd name="connsiteX517" fmla="*/ 3126294 w 7467600"/>
              <a:gd name="connsiteY517" fmla="*/ 5114400 h 6858000"/>
              <a:gd name="connsiteX518" fmla="*/ 3937433 w 7467600"/>
              <a:gd name="connsiteY518" fmla="*/ 4830473 h 6858000"/>
              <a:gd name="connsiteX519" fmla="*/ 3590475 w 7467600"/>
              <a:gd name="connsiteY519" fmla="*/ 4597974 h 6858000"/>
              <a:gd name="connsiteX520" fmla="*/ 3100264 w 7467600"/>
              <a:gd name="connsiteY520" fmla="*/ 4579845 h 6858000"/>
              <a:gd name="connsiteX521" fmla="*/ 2183576 w 7467600"/>
              <a:gd name="connsiteY521" fmla="*/ 4227150 h 6858000"/>
              <a:gd name="connsiteX522" fmla="*/ 2151029 w 7467600"/>
              <a:gd name="connsiteY522" fmla="*/ 4146947 h 6858000"/>
              <a:gd name="connsiteX523" fmla="*/ 3563434 w 7467600"/>
              <a:gd name="connsiteY523" fmla="*/ 4469115 h 6858000"/>
              <a:gd name="connsiteX524" fmla="*/ 3177952 w 7467600"/>
              <a:gd name="connsiteY524" fmla="*/ 3657386 h 6858000"/>
              <a:gd name="connsiteX525" fmla="*/ 3189263 w 7467600"/>
              <a:gd name="connsiteY525" fmla="*/ 3625726 h 6858000"/>
              <a:gd name="connsiteX526" fmla="*/ 3560912 w 7467600"/>
              <a:gd name="connsiteY526" fmla="*/ 4079863 h 6858000"/>
              <a:gd name="connsiteX527" fmla="*/ 3626636 w 7467600"/>
              <a:gd name="connsiteY527" fmla="*/ 4512230 h 6858000"/>
              <a:gd name="connsiteX528" fmla="*/ 3653088 w 7467600"/>
              <a:gd name="connsiteY528" fmla="*/ 4521417 h 6858000"/>
              <a:gd name="connsiteX529" fmla="*/ 3988128 w 7467600"/>
              <a:gd name="connsiteY529" fmla="*/ 4817267 h 6858000"/>
              <a:gd name="connsiteX530" fmla="*/ 4830582 w 7467600"/>
              <a:gd name="connsiteY530" fmla="*/ 4676000 h 6858000"/>
              <a:gd name="connsiteX531" fmla="*/ 4830100 w 7467600"/>
              <a:gd name="connsiteY531" fmla="*/ 4675554 h 6858000"/>
              <a:gd name="connsiteX532" fmla="*/ 4036318 w 7467600"/>
              <a:gd name="connsiteY532" fmla="*/ 4147013 h 6858000"/>
              <a:gd name="connsiteX533" fmla="*/ 3432098 w 7467600"/>
              <a:gd name="connsiteY533" fmla="*/ 3537312 h 6858000"/>
              <a:gd name="connsiteX534" fmla="*/ 3446761 w 7467600"/>
              <a:gd name="connsiteY534" fmla="*/ 3461278 h 6858000"/>
              <a:gd name="connsiteX535" fmla="*/ 4419733 w 7467600"/>
              <a:gd name="connsiteY535" fmla="*/ 3963555 h 6858000"/>
              <a:gd name="connsiteX536" fmla="*/ 4781371 w 7467600"/>
              <a:gd name="connsiteY536" fmla="*/ 4458604 h 6858000"/>
              <a:gd name="connsiteX537" fmla="*/ 4780440 w 7467600"/>
              <a:gd name="connsiteY537" fmla="*/ 4470290 h 6858000"/>
              <a:gd name="connsiteX538" fmla="*/ 4898954 w 7467600"/>
              <a:gd name="connsiteY538" fmla="*/ 4662092 h 6858000"/>
              <a:gd name="connsiteX539" fmla="*/ 4900699 w 7467600"/>
              <a:gd name="connsiteY539" fmla="*/ 4670867 h 6858000"/>
              <a:gd name="connsiteX540" fmla="*/ 5714511 w 7467600"/>
              <a:gd name="connsiteY540" fmla="*/ 4663483 h 6858000"/>
              <a:gd name="connsiteX541" fmla="*/ 5464793 w 7467600"/>
              <a:gd name="connsiteY541" fmla="*/ 4393556 h 6858000"/>
              <a:gd name="connsiteX542" fmla="*/ 5461897 w 7467600"/>
              <a:gd name="connsiteY542" fmla="*/ 4390879 h 6858000"/>
              <a:gd name="connsiteX543" fmla="*/ 4294126 w 7467600"/>
              <a:gd name="connsiteY543" fmla="*/ 3303048 h 6858000"/>
              <a:gd name="connsiteX544" fmla="*/ 4305321 w 7467600"/>
              <a:gd name="connsiteY544" fmla="*/ 3256953 h 6858000"/>
              <a:gd name="connsiteX545" fmla="*/ 4949299 w 7467600"/>
              <a:gd name="connsiteY545" fmla="*/ 3766336 h 6858000"/>
              <a:gd name="connsiteX546" fmla="*/ 5291452 w 7467600"/>
              <a:gd name="connsiteY546" fmla="*/ 4076801 h 6858000"/>
              <a:gd name="connsiteX547" fmla="*/ 5434998 w 7467600"/>
              <a:gd name="connsiteY547" fmla="*/ 4254100 h 6858000"/>
              <a:gd name="connsiteX548" fmla="*/ 5351015 w 7467600"/>
              <a:gd name="connsiteY548" fmla="*/ 3760989 h 6858000"/>
              <a:gd name="connsiteX549" fmla="*/ 5413780 w 7467600"/>
              <a:gd name="connsiteY549" fmla="*/ 2966265 h 6858000"/>
              <a:gd name="connsiteX550" fmla="*/ 5425627 w 7467600"/>
              <a:gd name="connsiteY550" fmla="*/ 2954192 h 6858000"/>
              <a:gd name="connsiteX551" fmla="*/ 6604735 w 7467600"/>
              <a:gd name="connsiteY551" fmla="*/ 2041381 h 6858000"/>
              <a:gd name="connsiteX552" fmla="*/ 7204487 w 7467600"/>
              <a:gd name="connsiteY552" fmla="*/ 2742112 h 6858000"/>
              <a:gd name="connsiteX553" fmla="*/ 7131592 w 7467600"/>
              <a:gd name="connsiteY553" fmla="*/ 2672096 h 6858000"/>
              <a:gd name="connsiteX554" fmla="*/ 6996344 w 7467600"/>
              <a:gd name="connsiteY554" fmla="*/ 2518310 h 6858000"/>
              <a:gd name="connsiteX555" fmla="*/ 6735495 w 7467600"/>
              <a:gd name="connsiteY555" fmla="*/ 2196890 h 6858000"/>
              <a:gd name="connsiteX556" fmla="*/ 6721901 w 7467600"/>
              <a:gd name="connsiteY556" fmla="*/ 2179274 h 6858000"/>
              <a:gd name="connsiteX557" fmla="*/ 6604735 w 7467600"/>
              <a:gd name="connsiteY557" fmla="*/ 2041381 h 6858000"/>
              <a:gd name="connsiteX558" fmla="*/ 6591670 w 7467600"/>
              <a:gd name="connsiteY558" fmla="*/ 1988277 h 6858000"/>
              <a:gd name="connsiteX559" fmla="*/ 6747349 w 7467600"/>
              <a:gd name="connsiteY559" fmla="*/ 2160069 h 6858000"/>
              <a:gd name="connsiteX560" fmla="*/ 6760943 w 7467600"/>
              <a:gd name="connsiteY560" fmla="*/ 2177686 h 6858000"/>
              <a:gd name="connsiteX561" fmla="*/ 7021065 w 7467600"/>
              <a:gd name="connsiteY561" fmla="*/ 2498102 h 6858000"/>
              <a:gd name="connsiteX562" fmla="*/ 7155223 w 7467600"/>
              <a:gd name="connsiteY562" fmla="*/ 2650386 h 6858000"/>
              <a:gd name="connsiteX563" fmla="*/ 7203167 w 7467600"/>
              <a:gd name="connsiteY563" fmla="*/ 2697288 h 6858000"/>
              <a:gd name="connsiteX564" fmla="*/ 6937703 w 7467600"/>
              <a:gd name="connsiteY564" fmla="*/ 2321981 h 6858000"/>
              <a:gd name="connsiteX565" fmla="*/ 6591670 w 7467600"/>
              <a:gd name="connsiteY565" fmla="*/ 1988277 h 6858000"/>
              <a:gd name="connsiteX566" fmla="*/ 5798671 w 7467600"/>
              <a:gd name="connsiteY566" fmla="*/ 1981601 h 6858000"/>
              <a:gd name="connsiteX567" fmla="*/ 5754709 w 7467600"/>
              <a:gd name="connsiteY567" fmla="*/ 2071454 h 6858000"/>
              <a:gd name="connsiteX568" fmla="*/ 5763044 w 7467600"/>
              <a:gd name="connsiteY568" fmla="*/ 2842206 h 6858000"/>
              <a:gd name="connsiteX569" fmla="*/ 5764974 w 7467600"/>
              <a:gd name="connsiteY569" fmla="*/ 2799609 h 6858000"/>
              <a:gd name="connsiteX570" fmla="*/ 5767665 w 7467600"/>
              <a:gd name="connsiteY570" fmla="*/ 2666409 h 6858000"/>
              <a:gd name="connsiteX571" fmla="*/ 5763055 w 7467600"/>
              <a:gd name="connsiteY571" fmla="*/ 2579705 h 6858000"/>
              <a:gd name="connsiteX572" fmla="*/ 5758079 w 7467600"/>
              <a:gd name="connsiteY572" fmla="*/ 2492508 h 6858000"/>
              <a:gd name="connsiteX573" fmla="*/ 5779325 w 7467600"/>
              <a:gd name="connsiteY573" fmla="*/ 2197069 h 6858000"/>
              <a:gd name="connsiteX574" fmla="*/ 5798671 w 7467600"/>
              <a:gd name="connsiteY574" fmla="*/ 1981601 h 6858000"/>
              <a:gd name="connsiteX575" fmla="*/ 5829202 w 7467600"/>
              <a:gd name="connsiteY575" fmla="*/ 1971679 h 6858000"/>
              <a:gd name="connsiteX576" fmla="*/ 5809558 w 7467600"/>
              <a:gd name="connsiteY576" fmla="*/ 2198043 h 6858000"/>
              <a:gd name="connsiteX577" fmla="*/ 5788653 w 7467600"/>
              <a:gd name="connsiteY577" fmla="*/ 2489430 h 6858000"/>
              <a:gd name="connsiteX578" fmla="*/ 5793439 w 7467600"/>
              <a:gd name="connsiteY578" fmla="*/ 2575235 h 6858000"/>
              <a:gd name="connsiteX579" fmla="*/ 5796837 w 7467600"/>
              <a:gd name="connsiteY579" fmla="*/ 2637633 h 6858000"/>
              <a:gd name="connsiteX580" fmla="*/ 5818614 w 7467600"/>
              <a:gd name="connsiteY580" fmla="*/ 2473055 h 6858000"/>
              <a:gd name="connsiteX581" fmla="*/ 5829202 w 7467600"/>
              <a:gd name="connsiteY581" fmla="*/ 1971679 h 6858000"/>
              <a:gd name="connsiteX582" fmla="*/ 5911389 w 7467600"/>
              <a:gd name="connsiteY582" fmla="*/ 1898371 h 6858000"/>
              <a:gd name="connsiteX583" fmla="*/ 6237627 w 7467600"/>
              <a:gd name="connsiteY583" fmla="*/ 2231921 h 6858000"/>
              <a:gd name="connsiteX584" fmla="*/ 5911389 w 7467600"/>
              <a:gd name="connsiteY584" fmla="*/ 1898371 h 6858000"/>
              <a:gd name="connsiteX585" fmla="*/ 6944437 w 7467600"/>
              <a:gd name="connsiteY585" fmla="*/ 1575402 h 6858000"/>
              <a:gd name="connsiteX586" fmla="*/ 6304730 w 7467600"/>
              <a:gd name="connsiteY586" fmla="*/ 1766654 h 6858000"/>
              <a:gd name="connsiteX587" fmla="*/ 6944437 w 7467600"/>
              <a:gd name="connsiteY587" fmla="*/ 1575402 h 6858000"/>
              <a:gd name="connsiteX588" fmla="*/ 7019523 w 7467600"/>
              <a:gd name="connsiteY588" fmla="*/ 1519450 h 6858000"/>
              <a:gd name="connsiteX589" fmla="*/ 6298091 w 7467600"/>
              <a:gd name="connsiteY589" fmla="*/ 1737122 h 6858000"/>
              <a:gd name="connsiteX590" fmla="*/ 7019523 w 7467600"/>
              <a:gd name="connsiteY590" fmla="*/ 1519450 h 6858000"/>
              <a:gd name="connsiteX591" fmla="*/ 2399523 w 7467600"/>
              <a:gd name="connsiteY591" fmla="*/ 1428234 h 6858000"/>
              <a:gd name="connsiteX592" fmla="*/ 2224982 w 7467600"/>
              <a:gd name="connsiteY592" fmla="*/ 1826201 h 6858000"/>
              <a:gd name="connsiteX593" fmla="*/ 2096099 w 7467600"/>
              <a:gd name="connsiteY593" fmla="*/ 2345900 h 6858000"/>
              <a:gd name="connsiteX594" fmla="*/ 2283317 w 7467600"/>
              <a:gd name="connsiteY594" fmla="*/ 1796925 h 6858000"/>
              <a:gd name="connsiteX595" fmla="*/ 2399523 w 7467600"/>
              <a:gd name="connsiteY595" fmla="*/ 1428234 h 6858000"/>
              <a:gd name="connsiteX596" fmla="*/ 2448558 w 7467600"/>
              <a:gd name="connsiteY596" fmla="*/ 1373435 h 6858000"/>
              <a:gd name="connsiteX597" fmla="*/ 2312521 w 7467600"/>
              <a:gd name="connsiteY597" fmla="*/ 1806140 h 6858000"/>
              <a:gd name="connsiteX598" fmla="*/ 2127533 w 7467600"/>
              <a:gd name="connsiteY598" fmla="*/ 2348380 h 6858000"/>
              <a:gd name="connsiteX599" fmla="*/ 2358080 w 7467600"/>
              <a:gd name="connsiteY599" fmla="*/ 1866134 h 6858000"/>
              <a:gd name="connsiteX600" fmla="*/ 2407436 w 7467600"/>
              <a:gd name="connsiteY600" fmla="*/ 1651070 h 6858000"/>
              <a:gd name="connsiteX601" fmla="*/ 2448558 w 7467600"/>
              <a:gd name="connsiteY601" fmla="*/ 1373435 h 6858000"/>
              <a:gd name="connsiteX602" fmla="*/ 278707 w 7467600"/>
              <a:gd name="connsiteY602" fmla="*/ 1352270 h 6858000"/>
              <a:gd name="connsiteX603" fmla="*/ 321570 w 7467600"/>
              <a:gd name="connsiteY603" fmla="*/ 1861610 h 6858000"/>
              <a:gd name="connsiteX604" fmla="*/ 294281 w 7467600"/>
              <a:gd name="connsiteY604" fmla="*/ 1440658 h 6858000"/>
              <a:gd name="connsiteX605" fmla="*/ 278707 w 7467600"/>
              <a:gd name="connsiteY605" fmla="*/ 1352270 h 6858000"/>
              <a:gd name="connsiteX606" fmla="*/ 1423821 w 7467600"/>
              <a:gd name="connsiteY606" fmla="*/ 1351958 h 6858000"/>
              <a:gd name="connsiteX607" fmla="*/ 1638521 w 7467600"/>
              <a:gd name="connsiteY607" fmla="*/ 1908470 h 6858000"/>
              <a:gd name="connsiteX608" fmla="*/ 1754199 w 7467600"/>
              <a:gd name="connsiteY608" fmla="*/ 2149284 h 6858000"/>
              <a:gd name="connsiteX609" fmla="*/ 1908359 w 7467600"/>
              <a:gd name="connsiteY609" fmla="*/ 2364988 h 6858000"/>
              <a:gd name="connsiteX610" fmla="*/ 1647661 w 7467600"/>
              <a:gd name="connsiteY610" fmla="*/ 1825945 h 6858000"/>
              <a:gd name="connsiteX611" fmla="*/ 1423821 w 7467600"/>
              <a:gd name="connsiteY611" fmla="*/ 1351958 h 6858000"/>
              <a:gd name="connsiteX612" fmla="*/ 1431890 w 7467600"/>
              <a:gd name="connsiteY612" fmla="*/ 1306475 h 6858000"/>
              <a:gd name="connsiteX613" fmla="*/ 1507597 w 7467600"/>
              <a:gd name="connsiteY613" fmla="*/ 1446132 h 6858000"/>
              <a:gd name="connsiteX614" fmla="*/ 1674586 w 7467600"/>
              <a:gd name="connsiteY614" fmla="*/ 1813832 h 6858000"/>
              <a:gd name="connsiteX615" fmla="*/ 1815950 w 7467600"/>
              <a:gd name="connsiteY615" fmla="*/ 2128564 h 6858000"/>
              <a:gd name="connsiteX616" fmla="*/ 1984242 w 7467600"/>
              <a:gd name="connsiteY616" fmla="*/ 2430829 h 6858000"/>
              <a:gd name="connsiteX617" fmla="*/ 2014023 w 7467600"/>
              <a:gd name="connsiteY617" fmla="*/ 2450995 h 6858000"/>
              <a:gd name="connsiteX618" fmla="*/ 1747337 w 7467600"/>
              <a:gd name="connsiteY618" fmla="*/ 1855264 h 6858000"/>
              <a:gd name="connsiteX619" fmla="*/ 1533749 w 7467600"/>
              <a:gd name="connsiteY619" fmla="*/ 1478656 h 6858000"/>
              <a:gd name="connsiteX620" fmla="*/ 1431890 w 7467600"/>
              <a:gd name="connsiteY620" fmla="*/ 1306475 h 6858000"/>
              <a:gd name="connsiteX621" fmla="*/ 5052692 w 7467600"/>
              <a:gd name="connsiteY621" fmla="*/ 1292994 h 6858000"/>
              <a:gd name="connsiteX622" fmla="*/ 5200661 w 7467600"/>
              <a:gd name="connsiteY622" fmla="*/ 1635186 h 6858000"/>
              <a:gd name="connsiteX623" fmla="*/ 5297138 w 7467600"/>
              <a:gd name="connsiteY623" fmla="*/ 1906351 h 6858000"/>
              <a:gd name="connsiteX624" fmla="*/ 5052692 w 7467600"/>
              <a:gd name="connsiteY624" fmla="*/ 1292994 h 6858000"/>
              <a:gd name="connsiteX625" fmla="*/ 5009948 w 7467600"/>
              <a:gd name="connsiteY625" fmla="*/ 1273619 h 6858000"/>
              <a:gd name="connsiteX626" fmla="*/ 5121777 w 7467600"/>
              <a:gd name="connsiteY626" fmla="*/ 1654213 h 6858000"/>
              <a:gd name="connsiteX627" fmla="*/ 5293545 w 7467600"/>
              <a:gd name="connsiteY627" fmla="*/ 2072247 h 6858000"/>
              <a:gd name="connsiteX628" fmla="*/ 5294042 w 7467600"/>
              <a:gd name="connsiteY628" fmla="*/ 2065019 h 6858000"/>
              <a:gd name="connsiteX629" fmla="*/ 5171936 w 7467600"/>
              <a:gd name="connsiteY629" fmla="*/ 1647613 h 6858000"/>
              <a:gd name="connsiteX630" fmla="*/ 5009948 w 7467600"/>
              <a:gd name="connsiteY630" fmla="*/ 1273619 h 6858000"/>
              <a:gd name="connsiteX631" fmla="*/ 655236 w 7467600"/>
              <a:gd name="connsiteY631" fmla="*/ 1268632 h 6858000"/>
              <a:gd name="connsiteX632" fmla="*/ 839521 w 7467600"/>
              <a:gd name="connsiteY632" fmla="*/ 1685315 h 6858000"/>
              <a:gd name="connsiteX633" fmla="*/ 1109416 w 7467600"/>
              <a:gd name="connsiteY633" fmla="*/ 2061663 h 6858000"/>
              <a:gd name="connsiteX634" fmla="*/ 1298300 w 7467600"/>
              <a:gd name="connsiteY634" fmla="*/ 2247742 h 6858000"/>
              <a:gd name="connsiteX635" fmla="*/ 1125871 w 7467600"/>
              <a:gd name="connsiteY635" fmla="*/ 1989513 h 6858000"/>
              <a:gd name="connsiteX636" fmla="*/ 981574 w 7467600"/>
              <a:gd name="connsiteY636" fmla="*/ 1783157 h 6858000"/>
              <a:gd name="connsiteX637" fmla="*/ 922198 w 7467600"/>
              <a:gd name="connsiteY637" fmla="*/ 1677437 h 6858000"/>
              <a:gd name="connsiteX638" fmla="*/ 869293 w 7467600"/>
              <a:gd name="connsiteY638" fmla="*/ 1583214 h 6858000"/>
              <a:gd name="connsiteX639" fmla="*/ 751431 w 7467600"/>
              <a:gd name="connsiteY639" fmla="*/ 1405731 h 6858000"/>
              <a:gd name="connsiteX640" fmla="*/ 655236 w 7467600"/>
              <a:gd name="connsiteY640" fmla="*/ 1268632 h 6858000"/>
              <a:gd name="connsiteX641" fmla="*/ 6516292 w 7467600"/>
              <a:gd name="connsiteY641" fmla="*/ 1263064 h 6858000"/>
              <a:gd name="connsiteX642" fmla="*/ 5736320 w 7467600"/>
              <a:gd name="connsiteY642" fmla="*/ 1501803 h 6858000"/>
              <a:gd name="connsiteX643" fmla="*/ 6516292 w 7467600"/>
              <a:gd name="connsiteY643" fmla="*/ 1263064 h 6858000"/>
              <a:gd name="connsiteX644" fmla="*/ 291466 w 7467600"/>
              <a:gd name="connsiteY644" fmla="*/ 1250369 h 6858000"/>
              <a:gd name="connsiteX645" fmla="*/ 323180 w 7467600"/>
              <a:gd name="connsiteY645" fmla="*/ 1435283 h 6858000"/>
              <a:gd name="connsiteX646" fmla="*/ 349381 w 7467600"/>
              <a:gd name="connsiteY646" fmla="*/ 1875041 h 6858000"/>
              <a:gd name="connsiteX647" fmla="*/ 374363 w 7467600"/>
              <a:gd name="connsiteY647" fmla="*/ 1506494 h 6858000"/>
              <a:gd name="connsiteX648" fmla="*/ 302168 w 7467600"/>
              <a:gd name="connsiteY648" fmla="*/ 1274495 h 6858000"/>
              <a:gd name="connsiteX649" fmla="*/ 291466 w 7467600"/>
              <a:gd name="connsiteY649" fmla="*/ 1250369 h 6858000"/>
              <a:gd name="connsiteX650" fmla="*/ 678222 w 7467600"/>
              <a:gd name="connsiteY650" fmla="*/ 1248670 h 6858000"/>
              <a:gd name="connsiteX651" fmla="*/ 775536 w 7467600"/>
              <a:gd name="connsiteY651" fmla="*/ 1388015 h 6858000"/>
              <a:gd name="connsiteX652" fmla="*/ 894529 w 7467600"/>
              <a:gd name="connsiteY652" fmla="*/ 1567739 h 6858000"/>
              <a:gd name="connsiteX653" fmla="*/ 948000 w 7467600"/>
              <a:gd name="connsiteY653" fmla="*/ 1663088 h 6858000"/>
              <a:gd name="connsiteX654" fmla="*/ 1006812 w 7467600"/>
              <a:gd name="connsiteY654" fmla="*/ 1767683 h 6858000"/>
              <a:gd name="connsiteX655" fmla="*/ 1149133 w 7467600"/>
              <a:gd name="connsiteY655" fmla="*/ 1971513 h 6858000"/>
              <a:gd name="connsiteX656" fmla="*/ 1333952 w 7467600"/>
              <a:gd name="connsiteY656" fmla="*/ 2251620 h 6858000"/>
              <a:gd name="connsiteX657" fmla="*/ 1337329 w 7467600"/>
              <a:gd name="connsiteY657" fmla="*/ 2258350 h 6858000"/>
              <a:gd name="connsiteX658" fmla="*/ 1014726 w 7467600"/>
              <a:gd name="connsiteY658" fmla="*/ 1615556 h 6858000"/>
              <a:gd name="connsiteX659" fmla="*/ 678222 w 7467600"/>
              <a:gd name="connsiteY659" fmla="*/ 1248670 h 6858000"/>
              <a:gd name="connsiteX660" fmla="*/ 6691602 w 7467600"/>
              <a:gd name="connsiteY660" fmla="*/ 1140573 h 6858000"/>
              <a:gd name="connsiteX661" fmla="*/ 6571100 w 7467600"/>
              <a:gd name="connsiteY661" fmla="*/ 1183662 h 6858000"/>
              <a:gd name="connsiteX662" fmla="*/ 6241687 w 7467600"/>
              <a:gd name="connsiteY662" fmla="*/ 1257600 h 6858000"/>
              <a:gd name="connsiteX663" fmla="*/ 5693009 w 7467600"/>
              <a:gd name="connsiteY663" fmla="*/ 1478256 h 6858000"/>
              <a:gd name="connsiteX664" fmla="*/ 6548420 w 7467600"/>
              <a:gd name="connsiteY664" fmla="*/ 1214599 h 6858000"/>
              <a:gd name="connsiteX665" fmla="*/ 6605473 w 7467600"/>
              <a:gd name="connsiteY665" fmla="*/ 1184686 h 6858000"/>
              <a:gd name="connsiteX666" fmla="*/ 6691602 w 7467600"/>
              <a:gd name="connsiteY666" fmla="*/ 1140573 h 6858000"/>
              <a:gd name="connsiteX667" fmla="*/ 4002475 w 7467600"/>
              <a:gd name="connsiteY667" fmla="*/ 1037802 h 6858000"/>
              <a:gd name="connsiteX668" fmla="*/ 4000324 w 7467600"/>
              <a:gd name="connsiteY668" fmla="*/ 1039362 h 6858000"/>
              <a:gd name="connsiteX669" fmla="*/ 4002862 w 7467600"/>
              <a:gd name="connsiteY669" fmla="*/ 1042866 h 6858000"/>
              <a:gd name="connsiteX670" fmla="*/ 4002475 w 7467600"/>
              <a:gd name="connsiteY670" fmla="*/ 1037802 h 6858000"/>
              <a:gd name="connsiteX671" fmla="*/ 506322 w 7467600"/>
              <a:gd name="connsiteY671" fmla="*/ 1020997 h 6858000"/>
              <a:gd name="connsiteX672" fmla="*/ 533068 w 7467600"/>
              <a:gd name="connsiteY672" fmla="*/ 1029409 h 6858000"/>
              <a:gd name="connsiteX673" fmla="*/ 1232525 w 7467600"/>
              <a:gd name="connsiteY673" fmla="*/ 1804675 h 6858000"/>
              <a:gd name="connsiteX674" fmla="*/ 1388858 w 7467600"/>
              <a:gd name="connsiteY674" fmla="*/ 2368011 h 6858000"/>
              <a:gd name="connsiteX675" fmla="*/ 1384098 w 7467600"/>
              <a:gd name="connsiteY675" fmla="*/ 2378125 h 6858000"/>
              <a:gd name="connsiteX676" fmla="*/ 1425393 w 7467600"/>
              <a:gd name="connsiteY676" fmla="*/ 2589124 h 6858000"/>
              <a:gd name="connsiteX677" fmla="*/ 1424001 w 7467600"/>
              <a:gd name="connsiteY677" fmla="*/ 2597541 h 6858000"/>
              <a:gd name="connsiteX678" fmla="*/ 2152729 w 7467600"/>
              <a:gd name="connsiteY678" fmla="*/ 2864487 h 6858000"/>
              <a:gd name="connsiteX679" fmla="*/ 2020609 w 7467600"/>
              <a:gd name="connsiteY679" fmla="*/ 2539671 h 6858000"/>
              <a:gd name="connsiteX680" fmla="*/ 2018920 w 7467600"/>
              <a:gd name="connsiteY680" fmla="*/ 2536309 h 6858000"/>
              <a:gd name="connsiteX681" fmla="*/ 1342441 w 7467600"/>
              <a:gd name="connsiteY681" fmla="*/ 1173017 h 6858000"/>
              <a:gd name="connsiteX682" fmla="*/ 1367925 w 7467600"/>
              <a:gd name="connsiteY682" fmla="*/ 1135648 h 6858000"/>
              <a:gd name="connsiteX683" fmla="*/ 1771401 w 7467600"/>
              <a:gd name="connsiteY683" fmla="*/ 1806673 h 6858000"/>
              <a:gd name="connsiteX684" fmla="*/ 1972385 w 7467600"/>
              <a:gd name="connsiteY684" fmla="*/ 2198735 h 6858000"/>
              <a:gd name="connsiteX685" fmla="*/ 2040892 w 7467600"/>
              <a:gd name="connsiteY685" fmla="*/ 2405205 h 6858000"/>
              <a:gd name="connsiteX686" fmla="*/ 2131689 w 7467600"/>
              <a:gd name="connsiteY686" fmla="*/ 1936926 h 6858000"/>
              <a:gd name="connsiteX687" fmla="*/ 2454820 w 7467600"/>
              <a:gd name="connsiteY687" fmla="*/ 1248808 h 6858000"/>
              <a:gd name="connsiteX688" fmla="*/ 2492512 w 7467600"/>
              <a:gd name="connsiteY688" fmla="*/ 1302920 h 6858000"/>
              <a:gd name="connsiteX689" fmla="*/ 2081216 w 7467600"/>
              <a:gd name="connsiteY689" fmla="*/ 2527513 h 6858000"/>
              <a:gd name="connsiteX690" fmla="*/ 2081211 w 7467600"/>
              <a:gd name="connsiteY690" fmla="*/ 2528916 h 6858000"/>
              <a:gd name="connsiteX691" fmla="*/ 2199067 w 7467600"/>
              <a:gd name="connsiteY691" fmla="*/ 2884061 h 6858000"/>
              <a:gd name="connsiteX692" fmla="*/ 3192586 w 7467600"/>
              <a:gd name="connsiteY692" fmla="*/ 3411496 h 6858000"/>
              <a:gd name="connsiteX693" fmla="*/ 3182620 w 7467600"/>
              <a:gd name="connsiteY693" fmla="*/ 3483279 h 6858000"/>
              <a:gd name="connsiteX694" fmla="*/ 2435119 w 7467600"/>
              <a:gd name="connsiteY694" fmla="*/ 3080173 h 6858000"/>
              <a:gd name="connsiteX695" fmla="*/ 2410152 w 7467600"/>
              <a:gd name="connsiteY695" fmla="*/ 3063751 h 6858000"/>
              <a:gd name="connsiteX696" fmla="*/ 2408099 w 7467600"/>
              <a:gd name="connsiteY696" fmla="*/ 3064403 h 6858000"/>
              <a:gd name="connsiteX697" fmla="*/ 2407218 w 7467600"/>
              <a:gd name="connsiteY697" fmla="*/ 3070324 h 6858000"/>
              <a:gd name="connsiteX698" fmla="*/ 2380138 w 7467600"/>
              <a:gd name="connsiteY698" fmla="*/ 3099341 h 6858000"/>
              <a:gd name="connsiteX699" fmla="*/ 1765923 w 7467600"/>
              <a:gd name="connsiteY699" fmla="*/ 3581043 h 6858000"/>
              <a:gd name="connsiteX700" fmla="*/ 1702258 w 7467600"/>
              <a:gd name="connsiteY700" fmla="*/ 3612286 h 6858000"/>
              <a:gd name="connsiteX701" fmla="*/ 1538370 w 7467600"/>
              <a:gd name="connsiteY701" fmla="*/ 3811804 h 6858000"/>
              <a:gd name="connsiteX702" fmla="*/ 542867 w 7467600"/>
              <a:gd name="connsiteY702" fmla="*/ 4944092 h 6858000"/>
              <a:gd name="connsiteX703" fmla="*/ 515800 w 7467600"/>
              <a:gd name="connsiteY703" fmla="*/ 4862180 h 6858000"/>
              <a:gd name="connsiteX704" fmla="*/ 909145 w 7467600"/>
              <a:gd name="connsiteY704" fmla="*/ 4199225 h 6858000"/>
              <a:gd name="connsiteX705" fmla="*/ 1214067 w 7467600"/>
              <a:gd name="connsiteY705" fmla="*/ 3908561 h 6858000"/>
              <a:gd name="connsiteX706" fmla="*/ 640967 w 7467600"/>
              <a:gd name="connsiteY706" fmla="*/ 4105601 h 6858000"/>
              <a:gd name="connsiteX707" fmla="*/ 112563 w 7467600"/>
              <a:gd name="connsiteY707" fmla="*/ 4396952 h 6858000"/>
              <a:gd name="connsiteX708" fmla="*/ 0 w 7467600"/>
              <a:gd name="connsiteY708" fmla="*/ 4466006 h 6858000"/>
              <a:gd name="connsiteX709" fmla="*/ 0 w 7467600"/>
              <a:gd name="connsiteY709" fmla="*/ 4233763 h 6858000"/>
              <a:gd name="connsiteX710" fmla="*/ 36881 w 7467600"/>
              <a:gd name="connsiteY710" fmla="*/ 4200118 h 6858000"/>
              <a:gd name="connsiteX711" fmla="*/ 910534 w 7467600"/>
              <a:gd name="connsiteY711" fmla="*/ 3629753 h 6858000"/>
              <a:gd name="connsiteX712" fmla="*/ 1578717 w 7467600"/>
              <a:gd name="connsiteY712" fmla="*/ 3575982 h 6858000"/>
              <a:gd name="connsiteX713" fmla="*/ 2338780 w 7467600"/>
              <a:gd name="connsiteY713" fmla="*/ 3033725 h 6858000"/>
              <a:gd name="connsiteX714" fmla="*/ 1807991 w 7467600"/>
              <a:gd name="connsiteY714" fmla="*/ 2807184 h 6858000"/>
              <a:gd name="connsiteX715" fmla="*/ 1416358 w 7467600"/>
              <a:gd name="connsiteY715" fmla="*/ 3112571 h 6858000"/>
              <a:gd name="connsiteX716" fmla="*/ 939066 w 7467600"/>
              <a:gd name="connsiteY716" fmla="*/ 3378798 h 6858000"/>
              <a:gd name="connsiteX717" fmla="*/ 115099 w 7467600"/>
              <a:gd name="connsiteY717" fmla="*/ 3607650 h 6858000"/>
              <a:gd name="connsiteX718" fmla="*/ 97284 w 7467600"/>
              <a:gd name="connsiteY718" fmla="*/ 3520393 h 6858000"/>
              <a:gd name="connsiteX719" fmla="*/ 922050 w 7467600"/>
              <a:gd name="connsiteY719" fmla="*/ 3074867 h 6858000"/>
              <a:gd name="connsiteX720" fmla="*/ 1405265 w 7467600"/>
              <a:gd name="connsiteY720" fmla="*/ 3016319 h 6858000"/>
              <a:gd name="connsiteX721" fmla="*/ 1407512 w 7467600"/>
              <a:gd name="connsiteY721" fmla="*/ 3018001 h 6858000"/>
              <a:gd name="connsiteX722" fmla="*/ 1726266 w 7467600"/>
              <a:gd name="connsiteY722" fmla="*/ 2777274 h 6858000"/>
              <a:gd name="connsiteX723" fmla="*/ 625390 w 7467600"/>
              <a:gd name="connsiteY723" fmla="*/ 2514541 h 6858000"/>
              <a:gd name="connsiteX724" fmla="*/ 619799 w 7467600"/>
              <a:gd name="connsiteY724" fmla="*/ 2527180 h 6858000"/>
              <a:gd name="connsiteX725" fmla="*/ 310030 w 7467600"/>
              <a:gd name="connsiteY725" fmla="*/ 2771818 h 6858000"/>
              <a:gd name="connsiteX726" fmla="*/ 173877 w 7467600"/>
              <a:gd name="connsiteY726" fmla="*/ 2937056 h 6858000"/>
              <a:gd name="connsiteX727" fmla="*/ 77889 w 7467600"/>
              <a:gd name="connsiteY727" fmla="*/ 3138440 h 6858000"/>
              <a:gd name="connsiteX728" fmla="*/ 0 w 7467600"/>
              <a:gd name="connsiteY728" fmla="*/ 3271395 h 6858000"/>
              <a:gd name="connsiteX729" fmla="*/ 0 w 7467600"/>
              <a:gd name="connsiteY729" fmla="*/ 3153002 h 6858000"/>
              <a:gd name="connsiteX730" fmla="*/ 2386 w 7467600"/>
              <a:gd name="connsiteY730" fmla="*/ 3149203 h 6858000"/>
              <a:gd name="connsiteX731" fmla="*/ 89753 w 7467600"/>
              <a:gd name="connsiteY731" fmla="*/ 2987702 h 6858000"/>
              <a:gd name="connsiteX732" fmla="*/ 76869 w 7467600"/>
              <a:gd name="connsiteY732" fmla="*/ 3005404 h 6858000"/>
              <a:gd name="connsiteX733" fmla="*/ 32049 w 7467600"/>
              <a:gd name="connsiteY733" fmla="*/ 3065814 h 6858000"/>
              <a:gd name="connsiteX734" fmla="*/ 0 w 7467600"/>
              <a:gd name="connsiteY734" fmla="*/ 3108744 h 6858000"/>
              <a:gd name="connsiteX735" fmla="*/ 0 w 7467600"/>
              <a:gd name="connsiteY735" fmla="*/ 3058059 h 6858000"/>
              <a:gd name="connsiteX736" fmla="*/ 7610 w 7467600"/>
              <a:gd name="connsiteY736" fmla="*/ 3047889 h 6858000"/>
              <a:gd name="connsiteX737" fmla="*/ 52419 w 7467600"/>
              <a:gd name="connsiteY737" fmla="*/ 2987479 h 6858000"/>
              <a:gd name="connsiteX738" fmla="*/ 59142 w 7467600"/>
              <a:gd name="connsiteY738" fmla="*/ 2978488 h 6858000"/>
              <a:gd name="connsiteX739" fmla="*/ 0 w 7467600"/>
              <a:gd name="connsiteY739" fmla="*/ 3015334 h 6858000"/>
              <a:gd name="connsiteX740" fmla="*/ 0 w 7467600"/>
              <a:gd name="connsiteY740" fmla="*/ 2914286 h 6858000"/>
              <a:gd name="connsiteX741" fmla="*/ 36383 w 7467600"/>
              <a:gd name="connsiteY741" fmla="*/ 2901128 h 6858000"/>
              <a:gd name="connsiteX742" fmla="*/ 156329 w 7467600"/>
              <a:gd name="connsiteY742" fmla="*/ 2840533 h 6858000"/>
              <a:gd name="connsiteX743" fmla="*/ 358355 w 7467600"/>
              <a:gd name="connsiteY743" fmla="*/ 2620471 h 6858000"/>
              <a:gd name="connsiteX744" fmla="*/ 510577 w 7467600"/>
              <a:gd name="connsiteY744" fmla="*/ 2501244 h 6858000"/>
              <a:gd name="connsiteX745" fmla="*/ 211967 w 7467600"/>
              <a:gd name="connsiteY745" fmla="*/ 2479171 h 6858000"/>
              <a:gd name="connsiteX746" fmla="*/ 0 w 7467600"/>
              <a:gd name="connsiteY746" fmla="*/ 2476398 h 6858000"/>
              <a:gd name="connsiteX747" fmla="*/ 0 w 7467600"/>
              <a:gd name="connsiteY747" fmla="*/ 2389189 h 6858000"/>
              <a:gd name="connsiteX748" fmla="*/ 103062 w 7467600"/>
              <a:gd name="connsiteY748" fmla="*/ 2389518 h 6858000"/>
              <a:gd name="connsiteX749" fmla="*/ 510734 w 7467600"/>
              <a:gd name="connsiteY749" fmla="*/ 2416201 h 6858000"/>
              <a:gd name="connsiteX750" fmla="*/ 279257 w 7467600"/>
              <a:gd name="connsiteY750" fmla="*/ 2092102 h 6858000"/>
              <a:gd name="connsiteX751" fmla="*/ 65265 w 7467600"/>
              <a:gd name="connsiteY751" fmla="*/ 2006049 h 6858000"/>
              <a:gd name="connsiteX752" fmla="*/ 0 w 7467600"/>
              <a:gd name="connsiteY752" fmla="*/ 1982532 h 6858000"/>
              <a:gd name="connsiteX753" fmla="*/ 0 w 7467600"/>
              <a:gd name="connsiteY753" fmla="*/ 1912789 h 6858000"/>
              <a:gd name="connsiteX754" fmla="*/ 97460 w 7467600"/>
              <a:gd name="connsiteY754" fmla="*/ 1953725 h 6858000"/>
              <a:gd name="connsiteX755" fmla="*/ 221272 w 7467600"/>
              <a:gd name="connsiteY755" fmla="*/ 1980766 h 6858000"/>
              <a:gd name="connsiteX756" fmla="*/ 116765 w 7467600"/>
              <a:gd name="connsiteY756" fmla="*/ 1911033 h 6858000"/>
              <a:gd name="connsiteX757" fmla="*/ 16405 w 7467600"/>
              <a:gd name="connsiteY757" fmla="*/ 1803412 h 6858000"/>
              <a:gd name="connsiteX758" fmla="*/ 0 w 7467600"/>
              <a:gd name="connsiteY758" fmla="*/ 1784777 h 6858000"/>
              <a:gd name="connsiteX759" fmla="*/ 0 w 7467600"/>
              <a:gd name="connsiteY759" fmla="*/ 1740082 h 6858000"/>
              <a:gd name="connsiteX760" fmla="*/ 39394 w 7467600"/>
              <a:gd name="connsiteY760" fmla="*/ 1784856 h 6858000"/>
              <a:gd name="connsiteX761" fmla="*/ 135813 w 7467600"/>
              <a:gd name="connsiteY761" fmla="*/ 1888838 h 6858000"/>
              <a:gd name="connsiteX762" fmla="*/ 242575 w 7467600"/>
              <a:gd name="connsiteY762" fmla="*/ 1958841 h 6858000"/>
              <a:gd name="connsiteX763" fmla="*/ 82197 w 7467600"/>
              <a:gd name="connsiteY763" fmla="*/ 1754826 h 6858000"/>
              <a:gd name="connsiteX764" fmla="*/ 0 w 7467600"/>
              <a:gd name="connsiteY764" fmla="*/ 1679650 h 6858000"/>
              <a:gd name="connsiteX765" fmla="*/ 0 w 7467600"/>
              <a:gd name="connsiteY765" fmla="*/ 1602463 h 6858000"/>
              <a:gd name="connsiteX766" fmla="*/ 84689 w 7467600"/>
              <a:gd name="connsiteY766" fmla="*/ 1677442 h 6858000"/>
              <a:gd name="connsiteX767" fmla="*/ 298437 w 7467600"/>
              <a:gd name="connsiteY767" fmla="*/ 1968019 h 6858000"/>
              <a:gd name="connsiteX768" fmla="*/ 227269 w 7467600"/>
              <a:gd name="connsiteY768" fmla="*/ 1114064 h 6858000"/>
              <a:gd name="connsiteX769" fmla="*/ 248003 w 7467600"/>
              <a:gd name="connsiteY769" fmla="*/ 1089613 h 6858000"/>
              <a:gd name="connsiteX770" fmla="*/ 427020 w 7467600"/>
              <a:gd name="connsiteY770" fmla="*/ 1619803 h 6858000"/>
              <a:gd name="connsiteX771" fmla="*/ 340345 w 7467600"/>
              <a:gd name="connsiteY771" fmla="*/ 2027739 h 6858000"/>
              <a:gd name="connsiteX772" fmla="*/ 360865 w 7467600"/>
              <a:gd name="connsiteY772" fmla="*/ 2044827 h 6858000"/>
              <a:gd name="connsiteX773" fmla="*/ 560414 w 7467600"/>
              <a:gd name="connsiteY773" fmla="*/ 2421457 h 6858000"/>
              <a:gd name="connsiteX774" fmla="*/ 1359703 w 7467600"/>
              <a:gd name="connsiteY774" fmla="*/ 2578554 h 6858000"/>
              <a:gd name="connsiteX775" fmla="*/ 1359422 w 7467600"/>
              <a:gd name="connsiteY775" fmla="*/ 2577994 h 6858000"/>
              <a:gd name="connsiteX776" fmla="*/ 828701 w 7467600"/>
              <a:gd name="connsiteY776" fmla="*/ 1839520 h 6858000"/>
              <a:gd name="connsiteX777" fmla="*/ 494427 w 7467600"/>
              <a:gd name="connsiteY777" fmla="*/ 1092333 h 6858000"/>
              <a:gd name="connsiteX778" fmla="*/ 506322 w 7467600"/>
              <a:gd name="connsiteY778" fmla="*/ 1020997 h 6858000"/>
              <a:gd name="connsiteX779" fmla="*/ 4570198 w 7467600"/>
              <a:gd name="connsiteY779" fmla="*/ 978081 h 6858000"/>
              <a:gd name="connsiteX780" fmla="*/ 4523691 w 7467600"/>
              <a:gd name="connsiteY780" fmla="*/ 1127776 h 6858000"/>
              <a:gd name="connsiteX781" fmla="*/ 4509875 w 7467600"/>
              <a:gd name="connsiteY781" fmla="*/ 1167552 h 6858000"/>
              <a:gd name="connsiteX782" fmla="*/ 4478168 w 7467600"/>
              <a:gd name="connsiteY782" fmla="*/ 1260735 h 6858000"/>
              <a:gd name="connsiteX783" fmla="*/ 4409309 w 7467600"/>
              <a:gd name="connsiteY783" fmla="*/ 1666996 h 6858000"/>
              <a:gd name="connsiteX784" fmla="*/ 4370031 w 7467600"/>
              <a:gd name="connsiteY784" fmla="*/ 1955666 h 6858000"/>
              <a:gd name="connsiteX785" fmla="*/ 4570198 w 7467600"/>
              <a:gd name="connsiteY785" fmla="*/ 978081 h 6858000"/>
              <a:gd name="connsiteX786" fmla="*/ 4557898 w 7467600"/>
              <a:gd name="connsiteY786" fmla="*/ 900011 h 6858000"/>
              <a:gd name="connsiteX787" fmla="*/ 4344840 w 7467600"/>
              <a:gd name="connsiteY787" fmla="*/ 1922038 h 6858000"/>
              <a:gd name="connsiteX788" fmla="*/ 4378710 w 7467600"/>
              <a:gd name="connsiteY788" fmla="*/ 1665516 h 6858000"/>
              <a:gd name="connsiteX789" fmla="*/ 4448798 w 7467600"/>
              <a:gd name="connsiteY789" fmla="*/ 1253024 h 6858000"/>
              <a:gd name="connsiteX790" fmla="*/ 4480315 w 7467600"/>
              <a:gd name="connsiteY790" fmla="*/ 1158454 h 6858000"/>
              <a:gd name="connsiteX791" fmla="*/ 4494133 w 7467600"/>
              <a:gd name="connsiteY791" fmla="*/ 1118676 h 6858000"/>
              <a:gd name="connsiteX792" fmla="*/ 4557898 w 7467600"/>
              <a:gd name="connsiteY792" fmla="*/ 900011 h 6858000"/>
              <a:gd name="connsiteX793" fmla="*/ 5870151 w 7467600"/>
              <a:gd name="connsiteY793" fmla="*/ 898890 h 6858000"/>
              <a:gd name="connsiteX794" fmla="*/ 5861335 w 7467600"/>
              <a:gd name="connsiteY794" fmla="*/ 899177 h 6858000"/>
              <a:gd name="connsiteX795" fmla="*/ 5843702 w 7467600"/>
              <a:gd name="connsiteY795" fmla="*/ 899748 h 6858000"/>
              <a:gd name="connsiteX796" fmla="*/ 5651107 w 7467600"/>
              <a:gd name="connsiteY796" fmla="*/ 920306 h 6858000"/>
              <a:gd name="connsiteX797" fmla="*/ 5459407 w 7467600"/>
              <a:gd name="connsiteY797" fmla="*/ 940975 h 6858000"/>
              <a:gd name="connsiteX798" fmla="*/ 5374846 w 7467600"/>
              <a:gd name="connsiteY798" fmla="*/ 941988 h 6858000"/>
              <a:gd name="connsiteX799" fmla="*/ 5256105 w 7467600"/>
              <a:gd name="connsiteY799" fmla="*/ 945632 h 6858000"/>
              <a:gd name="connsiteX800" fmla="*/ 5107071 w 7467600"/>
              <a:gd name="connsiteY800" fmla="*/ 969720 h 6858000"/>
              <a:gd name="connsiteX801" fmla="*/ 4998681 w 7467600"/>
              <a:gd name="connsiteY801" fmla="*/ 988771 h 6858000"/>
              <a:gd name="connsiteX802" fmla="*/ 5870151 w 7467600"/>
              <a:gd name="connsiteY802" fmla="*/ 898890 h 6858000"/>
              <a:gd name="connsiteX803" fmla="*/ 5504425 w 7467600"/>
              <a:gd name="connsiteY803" fmla="*/ 848067 h 6858000"/>
              <a:gd name="connsiteX804" fmla="*/ 4968849 w 7467600"/>
              <a:gd name="connsiteY804" fmla="*/ 962318 h 6858000"/>
              <a:gd name="connsiteX805" fmla="*/ 5104039 w 7467600"/>
              <a:gd name="connsiteY805" fmla="*/ 940634 h 6858000"/>
              <a:gd name="connsiteX806" fmla="*/ 5256311 w 7467600"/>
              <a:gd name="connsiteY806" fmla="*/ 916490 h 6858000"/>
              <a:gd name="connsiteX807" fmla="*/ 5377381 w 7467600"/>
              <a:gd name="connsiteY807" fmla="*/ 912671 h 6858000"/>
              <a:gd name="connsiteX808" fmla="*/ 5460148 w 7467600"/>
              <a:gd name="connsiteY808" fmla="*/ 911442 h 6858000"/>
              <a:gd name="connsiteX809" fmla="*/ 5648971 w 7467600"/>
              <a:gd name="connsiteY809" fmla="*/ 891331 h 6858000"/>
              <a:gd name="connsiteX810" fmla="*/ 5844807 w 7467600"/>
              <a:gd name="connsiteY810" fmla="*/ 870718 h 6858000"/>
              <a:gd name="connsiteX811" fmla="*/ 5862975 w 7467600"/>
              <a:gd name="connsiteY811" fmla="*/ 869756 h 6858000"/>
              <a:gd name="connsiteX812" fmla="*/ 5920887 w 7467600"/>
              <a:gd name="connsiteY812" fmla="*/ 865929 h 6858000"/>
              <a:gd name="connsiteX813" fmla="*/ 5504425 w 7467600"/>
              <a:gd name="connsiteY813" fmla="*/ 848067 h 6858000"/>
              <a:gd name="connsiteX814" fmla="*/ 3607114 w 7467600"/>
              <a:gd name="connsiteY814" fmla="*/ 467441 h 6858000"/>
              <a:gd name="connsiteX815" fmla="*/ 3296242 w 7467600"/>
              <a:gd name="connsiteY815" fmla="*/ 807991 h 6858000"/>
              <a:gd name="connsiteX816" fmla="*/ 3174674 w 7467600"/>
              <a:gd name="connsiteY816" fmla="*/ 919759 h 6858000"/>
              <a:gd name="connsiteX817" fmla="*/ 3042978 w 7467600"/>
              <a:gd name="connsiteY817" fmla="*/ 1054894 h 6858000"/>
              <a:gd name="connsiteX818" fmla="*/ 2968914 w 7467600"/>
              <a:gd name="connsiteY818" fmla="*/ 1133756 h 6858000"/>
              <a:gd name="connsiteX819" fmla="*/ 3103823 w 7467600"/>
              <a:gd name="connsiteY819" fmla="*/ 1026814 h 6858000"/>
              <a:gd name="connsiteX820" fmla="*/ 3607114 w 7467600"/>
              <a:gd name="connsiteY820" fmla="*/ 467441 h 6858000"/>
              <a:gd name="connsiteX821" fmla="*/ 3744487 w 7467600"/>
              <a:gd name="connsiteY821" fmla="*/ 383136 h 6858000"/>
              <a:gd name="connsiteX822" fmla="*/ 3970213 w 7467600"/>
              <a:gd name="connsiteY822" fmla="*/ 995559 h 6858000"/>
              <a:gd name="connsiteX823" fmla="*/ 3744487 w 7467600"/>
              <a:gd name="connsiteY823" fmla="*/ 383136 h 6858000"/>
              <a:gd name="connsiteX824" fmla="*/ 3624562 w 7467600"/>
              <a:gd name="connsiteY824" fmla="*/ 367041 h 6858000"/>
              <a:gd name="connsiteX825" fmla="*/ 3489712 w 7467600"/>
              <a:gd name="connsiteY825" fmla="*/ 485386 h 6858000"/>
              <a:gd name="connsiteX826" fmla="*/ 3182994 w 7467600"/>
              <a:gd name="connsiteY826" fmla="*/ 828265 h 6858000"/>
              <a:gd name="connsiteX827" fmla="*/ 2892114 w 7467600"/>
              <a:gd name="connsiteY827" fmla="*/ 1172635 h 6858000"/>
              <a:gd name="connsiteX828" fmla="*/ 3021459 w 7467600"/>
              <a:gd name="connsiteY828" fmla="*/ 1035385 h 6858000"/>
              <a:gd name="connsiteX829" fmla="*/ 3153873 w 7467600"/>
              <a:gd name="connsiteY829" fmla="*/ 898971 h 6858000"/>
              <a:gd name="connsiteX830" fmla="*/ 3276511 w 7467600"/>
              <a:gd name="connsiteY830" fmla="*/ 786423 h 6858000"/>
              <a:gd name="connsiteX831" fmla="*/ 3584154 w 7467600"/>
              <a:gd name="connsiteY831" fmla="*/ 448218 h 6858000"/>
              <a:gd name="connsiteX832" fmla="*/ 3624562 w 7467600"/>
              <a:gd name="connsiteY832" fmla="*/ 367041 h 6858000"/>
              <a:gd name="connsiteX833" fmla="*/ 3766672 w 7467600"/>
              <a:gd name="connsiteY833" fmla="*/ 359429 h 6858000"/>
              <a:gd name="connsiteX834" fmla="*/ 3996338 w 7467600"/>
              <a:gd name="connsiteY834" fmla="*/ 968237 h 6858000"/>
              <a:gd name="connsiteX835" fmla="*/ 3766672 w 7467600"/>
              <a:gd name="connsiteY835" fmla="*/ 359429 h 6858000"/>
              <a:gd name="connsiteX836" fmla="*/ 5805386 w 7467600"/>
              <a:gd name="connsiteY836" fmla="*/ 239240 h 6858000"/>
              <a:gd name="connsiteX837" fmla="*/ 5736947 w 7467600"/>
              <a:gd name="connsiteY837" fmla="*/ 261367 h 6858000"/>
              <a:gd name="connsiteX838" fmla="*/ 5427012 w 7467600"/>
              <a:gd name="connsiteY838" fmla="*/ 311272 h 6858000"/>
              <a:gd name="connsiteX839" fmla="*/ 5147818 w 7467600"/>
              <a:gd name="connsiteY839" fmla="*/ 322112 h 6858000"/>
              <a:gd name="connsiteX840" fmla="*/ 5060854 w 7467600"/>
              <a:gd name="connsiteY840" fmla="*/ 311882 h 6858000"/>
              <a:gd name="connsiteX841" fmla="*/ 4945989 w 7467600"/>
              <a:gd name="connsiteY841" fmla="*/ 300516 h 6858000"/>
              <a:gd name="connsiteX842" fmla="*/ 5410479 w 7467600"/>
              <a:gd name="connsiteY842" fmla="*/ 348434 h 6858000"/>
              <a:gd name="connsiteX843" fmla="*/ 5805386 w 7467600"/>
              <a:gd name="connsiteY843" fmla="*/ 239240 h 6858000"/>
              <a:gd name="connsiteX844" fmla="*/ 5905192 w 7467600"/>
              <a:gd name="connsiteY844" fmla="*/ 163079 h 6858000"/>
              <a:gd name="connsiteX845" fmla="*/ 5865655 w 7467600"/>
              <a:gd name="connsiteY845" fmla="*/ 171901 h 6858000"/>
              <a:gd name="connsiteX846" fmla="*/ 5259740 w 7467600"/>
              <a:gd name="connsiteY846" fmla="*/ 257013 h 6858000"/>
              <a:gd name="connsiteX847" fmla="*/ 5208466 w 7467600"/>
              <a:gd name="connsiteY847" fmla="*/ 257550 h 6858000"/>
              <a:gd name="connsiteX848" fmla="*/ 4980204 w 7467600"/>
              <a:gd name="connsiteY848" fmla="*/ 271903 h 6858000"/>
              <a:gd name="connsiteX849" fmla="*/ 5068068 w 7467600"/>
              <a:gd name="connsiteY849" fmla="*/ 282244 h 6858000"/>
              <a:gd name="connsiteX850" fmla="*/ 5153231 w 7467600"/>
              <a:gd name="connsiteY850" fmla="*/ 292240 h 6858000"/>
              <a:gd name="connsiteX851" fmla="*/ 5426491 w 7467600"/>
              <a:gd name="connsiteY851" fmla="*/ 281128 h 6858000"/>
              <a:gd name="connsiteX852" fmla="*/ 5731212 w 7467600"/>
              <a:gd name="connsiteY852" fmla="*/ 231951 h 6858000"/>
              <a:gd name="connsiteX853" fmla="*/ 5905192 w 7467600"/>
              <a:gd name="connsiteY853" fmla="*/ 163079 h 6858000"/>
              <a:gd name="connsiteX854" fmla="*/ 5944437 w 7467600"/>
              <a:gd name="connsiteY854" fmla="*/ 113829 h 6858000"/>
              <a:gd name="connsiteX855" fmla="*/ 5825032 w 7467600"/>
              <a:gd name="connsiteY855" fmla="*/ 146405 h 6858000"/>
              <a:gd name="connsiteX856" fmla="*/ 4955599 w 7467600"/>
              <a:gd name="connsiteY856" fmla="*/ 247008 h 6858000"/>
              <a:gd name="connsiteX857" fmla="*/ 5210104 w 7467600"/>
              <a:gd name="connsiteY857" fmla="*/ 228123 h 6858000"/>
              <a:gd name="connsiteX858" fmla="*/ 5261015 w 7467600"/>
              <a:gd name="connsiteY858" fmla="*/ 227087 h 6858000"/>
              <a:gd name="connsiteX859" fmla="*/ 5861181 w 7467600"/>
              <a:gd name="connsiteY859" fmla="*/ 143093 h 6858000"/>
              <a:gd name="connsiteX860" fmla="*/ 5961252 w 7467600"/>
              <a:gd name="connsiteY860" fmla="*/ 114820 h 6858000"/>
              <a:gd name="connsiteX861" fmla="*/ 5944437 w 7467600"/>
              <a:gd name="connsiteY861" fmla="*/ 113829 h 6858000"/>
              <a:gd name="connsiteX862" fmla="*/ 3882765 w 7467600"/>
              <a:gd name="connsiteY862" fmla="*/ 0 h 6858000"/>
              <a:gd name="connsiteX863" fmla="*/ 3995099 w 7467600"/>
              <a:gd name="connsiteY863" fmla="*/ 0 h 6858000"/>
              <a:gd name="connsiteX864" fmla="*/ 4163818 w 7467600"/>
              <a:gd name="connsiteY864" fmla="*/ 234104 h 6858000"/>
              <a:gd name="connsiteX865" fmla="*/ 4172099 w 7467600"/>
              <a:gd name="connsiteY865" fmla="*/ 234207 h 6858000"/>
              <a:gd name="connsiteX866" fmla="*/ 4784282 w 7467600"/>
              <a:gd name="connsiteY866" fmla="*/ 276561 h 6858000"/>
              <a:gd name="connsiteX867" fmla="*/ 4801687 w 7467600"/>
              <a:gd name="connsiteY867" fmla="*/ 267764 h 6858000"/>
              <a:gd name="connsiteX868" fmla="*/ 6082788 w 7467600"/>
              <a:gd name="connsiteY868" fmla="*/ 64119 h 6858000"/>
              <a:gd name="connsiteX869" fmla="*/ 6099442 w 7467600"/>
              <a:gd name="connsiteY869" fmla="*/ 82568 h 6858000"/>
              <a:gd name="connsiteX870" fmla="*/ 4804137 w 7467600"/>
              <a:gd name="connsiteY870" fmla="*/ 320931 h 6858000"/>
              <a:gd name="connsiteX871" fmla="*/ 4227047 w 7467600"/>
              <a:gd name="connsiteY871" fmla="*/ 313415 h 6858000"/>
              <a:gd name="connsiteX872" fmla="*/ 4346041 w 7467600"/>
              <a:gd name="connsiteY872" fmla="*/ 456086 h 6858000"/>
              <a:gd name="connsiteX873" fmla="*/ 4870967 w 7467600"/>
              <a:gd name="connsiteY873" fmla="*/ 963061 h 6858000"/>
              <a:gd name="connsiteX874" fmla="*/ 4889647 w 7467600"/>
              <a:gd name="connsiteY874" fmla="*/ 957147 h 6858000"/>
              <a:gd name="connsiteX875" fmla="*/ 5422504 w 7467600"/>
              <a:gd name="connsiteY875" fmla="*/ 805191 h 6858000"/>
              <a:gd name="connsiteX876" fmla="*/ 6087656 w 7467600"/>
              <a:gd name="connsiteY876" fmla="*/ 826703 h 6858000"/>
              <a:gd name="connsiteX877" fmla="*/ 6058717 w 7467600"/>
              <a:gd name="connsiteY877" fmla="*/ 865992 h 6858000"/>
              <a:gd name="connsiteX878" fmla="*/ 4974153 w 7467600"/>
              <a:gd name="connsiteY878" fmla="*/ 1045456 h 6858000"/>
              <a:gd name="connsiteX879" fmla="*/ 5627835 w 7467600"/>
              <a:gd name="connsiteY879" fmla="*/ 1472077 h 6858000"/>
              <a:gd name="connsiteX880" fmla="*/ 5629817 w 7467600"/>
              <a:gd name="connsiteY880" fmla="*/ 1471412 h 6858000"/>
              <a:gd name="connsiteX881" fmla="*/ 5634124 w 7467600"/>
              <a:gd name="connsiteY881" fmla="*/ 1470572 h 6858000"/>
              <a:gd name="connsiteX882" fmla="*/ 5755832 w 7467600"/>
              <a:gd name="connsiteY882" fmla="*/ 1383886 h 6858000"/>
              <a:gd name="connsiteX883" fmla="*/ 6014186 w 7467600"/>
              <a:gd name="connsiteY883" fmla="*/ 1279799 h 6858000"/>
              <a:gd name="connsiteX884" fmla="*/ 6901619 w 7467600"/>
              <a:gd name="connsiteY884" fmla="*/ 1047874 h 6858000"/>
              <a:gd name="connsiteX885" fmla="*/ 6931566 w 7467600"/>
              <a:gd name="connsiteY885" fmla="*/ 1062034 h 6858000"/>
              <a:gd name="connsiteX886" fmla="*/ 5790982 w 7467600"/>
              <a:gd name="connsiteY886" fmla="*/ 1561380 h 6858000"/>
              <a:gd name="connsiteX887" fmla="*/ 6188971 w 7467600"/>
              <a:gd name="connsiteY887" fmla="*/ 1755168 h 6858000"/>
              <a:gd name="connsiteX888" fmla="*/ 6202446 w 7467600"/>
              <a:gd name="connsiteY888" fmla="*/ 1752268 h 6858000"/>
              <a:gd name="connsiteX889" fmla="*/ 7179560 w 7467600"/>
              <a:gd name="connsiteY889" fmla="*/ 1467551 h 6858000"/>
              <a:gd name="connsiteX890" fmla="*/ 7158730 w 7467600"/>
              <a:gd name="connsiteY890" fmla="*/ 1507835 h 6858000"/>
              <a:gd name="connsiteX891" fmla="*/ 6326959 w 7467600"/>
              <a:gd name="connsiteY891" fmla="*/ 1817686 h 6858000"/>
              <a:gd name="connsiteX892" fmla="*/ 6537433 w 7467600"/>
              <a:gd name="connsiteY892" fmla="*/ 1907790 h 6858000"/>
              <a:gd name="connsiteX893" fmla="*/ 6550221 w 7467600"/>
              <a:gd name="connsiteY893" fmla="*/ 1910729 h 6858000"/>
              <a:gd name="connsiteX894" fmla="*/ 6964438 w 7467600"/>
              <a:gd name="connsiteY894" fmla="*/ 2209505 h 6858000"/>
              <a:gd name="connsiteX895" fmla="*/ 7367862 w 7467600"/>
              <a:gd name="connsiteY895" fmla="*/ 2806833 h 6858000"/>
              <a:gd name="connsiteX896" fmla="*/ 7364329 w 7467600"/>
              <a:gd name="connsiteY896" fmla="*/ 2826907 h 6858000"/>
              <a:gd name="connsiteX897" fmla="*/ 7290545 w 7467600"/>
              <a:gd name="connsiteY897" fmla="*/ 2850663 h 6858000"/>
              <a:gd name="connsiteX898" fmla="*/ 6472036 w 7467600"/>
              <a:gd name="connsiteY898" fmla="*/ 1959003 h 6858000"/>
              <a:gd name="connsiteX899" fmla="*/ 5792897 w 7467600"/>
              <a:gd name="connsiteY899" fmla="*/ 1647747 h 6858000"/>
              <a:gd name="connsiteX900" fmla="*/ 5842751 w 7467600"/>
              <a:gd name="connsiteY900" fmla="*/ 1816112 h 6858000"/>
              <a:gd name="connsiteX901" fmla="*/ 5847424 w 7467600"/>
              <a:gd name="connsiteY901" fmla="*/ 1815776 h 6858000"/>
              <a:gd name="connsiteX902" fmla="*/ 6399821 w 7467600"/>
              <a:gd name="connsiteY902" fmla="*/ 2344799 h 6858000"/>
              <a:gd name="connsiteX903" fmla="*/ 6323232 w 7467600"/>
              <a:gd name="connsiteY903" fmla="*/ 2389634 h 6858000"/>
              <a:gd name="connsiteX904" fmla="*/ 5942958 w 7467600"/>
              <a:gd name="connsiteY904" fmla="*/ 2077708 h 6858000"/>
              <a:gd name="connsiteX905" fmla="*/ 5921559 w 7467600"/>
              <a:gd name="connsiteY905" fmla="*/ 2378596 h 6858000"/>
              <a:gd name="connsiteX906" fmla="*/ 5817651 w 7467600"/>
              <a:gd name="connsiteY906" fmla="*/ 3023919 h 6858000"/>
              <a:gd name="connsiteX907" fmla="*/ 5729634 w 7467600"/>
              <a:gd name="connsiteY907" fmla="*/ 3051849 h 6858000"/>
              <a:gd name="connsiteX908" fmla="*/ 5611018 w 7467600"/>
              <a:gd name="connsiteY908" fmla="*/ 2316769 h 6858000"/>
              <a:gd name="connsiteX909" fmla="*/ 5687608 w 7467600"/>
              <a:gd name="connsiteY909" fmla="*/ 2039972 h 6858000"/>
              <a:gd name="connsiteX910" fmla="*/ 5657554 w 7467600"/>
              <a:gd name="connsiteY910" fmla="*/ 1576445 h 6858000"/>
              <a:gd name="connsiteX911" fmla="*/ 5150475 w 7467600"/>
              <a:gd name="connsiteY911" fmla="*/ 1274012 h 6858000"/>
              <a:gd name="connsiteX912" fmla="*/ 5349142 w 7467600"/>
              <a:gd name="connsiteY912" fmla="*/ 2204405 h 6858000"/>
              <a:gd name="connsiteX913" fmla="*/ 5262214 w 7467600"/>
              <a:gd name="connsiteY913" fmla="*/ 2233836 h 6858000"/>
              <a:gd name="connsiteX914" fmla="*/ 4981539 w 7467600"/>
              <a:gd name="connsiteY914" fmla="*/ 1542201 h 6858000"/>
              <a:gd name="connsiteX915" fmla="*/ 4958461 w 7467600"/>
              <a:gd name="connsiteY915" fmla="*/ 1136957 h 6858000"/>
              <a:gd name="connsiteX916" fmla="*/ 4655015 w 7467600"/>
              <a:gd name="connsiteY916" fmla="*/ 891426 h 6858000"/>
              <a:gd name="connsiteX917" fmla="*/ 4348002 w 7467600"/>
              <a:gd name="connsiteY917" fmla="*/ 2205895 h 6858000"/>
              <a:gd name="connsiteX918" fmla="*/ 4262250 w 7467600"/>
              <a:gd name="connsiteY918" fmla="*/ 2219972 h 6858000"/>
              <a:gd name="connsiteX919" fmla="*/ 4550611 w 7467600"/>
              <a:gd name="connsiteY919" fmla="*/ 817540 h 6858000"/>
              <a:gd name="connsiteX920" fmla="*/ 4564418 w 7467600"/>
              <a:gd name="connsiteY920" fmla="*/ 808293 h 6858000"/>
              <a:gd name="connsiteX921" fmla="*/ 4266388 w 7467600"/>
              <a:gd name="connsiteY921" fmla="*/ 500083 h 6858000"/>
              <a:gd name="connsiteX922" fmla="*/ 4032842 w 7467600"/>
              <a:gd name="connsiteY922" fmla="*/ 211809 h 6858000"/>
              <a:gd name="connsiteX923" fmla="*/ 3882765 w 7467600"/>
              <a:gd name="connsiteY923" fmla="*/ 0 h 6858000"/>
              <a:gd name="connsiteX924" fmla="*/ 3721337 w 7467600"/>
              <a:gd name="connsiteY924" fmla="*/ 0 h 6858000"/>
              <a:gd name="connsiteX925" fmla="*/ 3797544 w 7467600"/>
              <a:gd name="connsiteY925" fmla="*/ 0 h 6858000"/>
              <a:gd name="connsiteX926" fmla="*/ 3775734 w 7467600"/>
              <a:gd name="connsiteY926" fmla="*/ 95131 h 6858000"/>
              <a:gd name="connsiteX927" fmla="*/ 3724807 w 7467600"/>
              <a:gd name="connsiteY927" fmla="*/ 272257 h 6858000"/>
              <a:gd name="connsiteX928" fmla="*/ 3726844 w 7467600"/>
              <a:gd name="connsiteY928" fmla="*/ 282988 h 6858000"/>
              <a:gd name="connsiteX929" fmla="*/ 3742664 w 7467600"/>
              <a:gd name="connsiteY929" fmla="*/ 279918 h 6858000"/>
              <a:gd name="connsiteX930" fmla="*/ 4103910 w 7467600"/>
              <a:gd name="connsiteY930" fmla="*/ 1161917 h 6858000"/>
              <a:gd name="connsiteX931" fmla="*/ 4020269 w 7467600"/>
              <a:gd name="connsiteY931" fmla="*/ 1200406 h 6858000"/>
              <a:gd name="connsiteX932" fmla="*/ 3674882 w 7467600"/>
              <a:gd name="connsiteY932" fmla="*/ 488524 h 6858000"/>
              <a:gd name="connsiteX933" fmla="*/ 3132682 w 7467600"/>
              <a:gd name="connsiteY933" fmla="*/ 1072284 h 6858000"/>
              <a:gd name="connsiteX934" fmla="*/ 2716346 w 7467600"/>
              <a:gd name="connsiteY934" fmla="*/ 1276376 h 6858000"/>
              <a:gd name="connsiteX935" fmla="*/ 2716772 w 7467600"/>
              <a:gd name="connsiteY935" fmla="*/ 1255462 h 6858000"/>
              <a:gd name="connsiteX936" fmla="*/ 3471096 w 7467600"/>
              <a:gd name="connsiteY936" fmla="*/ 437072 h 6858000"/>
              <a:gd name="connsiteX937" fmla="*/ 3639057 w 7467600"/>
              <a:gd name="connsiteY937" fmla="*/ 286334 h 6858000"/>
              <a:gd name="connsiteX938" fmla="*/ 3640309 w 7467600"/>
              <a:gd name="connsiteY938" fmla="*/ 284664 h 6858000"/>
              <a:gd name="connsiteX939" fmla="*/ 3646022 w 7467600"/>
              <a:gd name="connsiteY939" fmla="*/ 276711 h 6858000"/>
              <a:gd name="connsiteX940" fmla="*/ 3707943 w 7467600"/>
              <a:gd name="connsiteY940" fmla="*/ 65958 h 6858000"/>
              <a:gd name="connsiteX941" fmla="*/ 3721337 w 7467600"/>
              <a:gd name="connsiteY941" fmla="*/ 0 h 6858000"/>
              <a:gd name="connsiteX942" fmla="*/ 2867960 w 7467600"/>
              <a:gd name="connsiteY942" fmla="*/ 0 h 6858000"/>
              <a:gd name="connsiteX943" fmla="*/ 2926351 w 7467600"/>
              <a:gd name="connsiteY943" fmla="*/ 0 h 6858000"/>
              <a:gd name="connsiteX944" fmla="*/ 2902823 w 7467600"/>
              <a:gd name="connsiteY944" fmla="*/ 262929 h 6858000"/>
              <a:gd name="connsiteX945" fmla="*/ 2940663 w 7467600"/>
              <a:gd name="connsiteY945" fmla="*/ 140884 h 6858000"/>
              <a:gd name="connsiteX946" fmla="*/ 2947039 w 7467600"/>
              <a:gd name="connsiteY946" fmla="*/ 122524 h 6858000"/>
              <a:gd name="connsiteX947" fmla="*/ 2984316 w 7467600"/>
              <a:gd name="connsiteY947" fmla="*/ 0 h 6858000"/>
              <a:gd name="connsiteX948" fmla="*/ 3016114 w 7467600"/>
              <a:gd name="connsiteY948" fmla="*/ 0 h 6858000"/>
              <a:gd name="connsiteX949" fmla="*/ 2979949 w 7467600"/>
              <a:gd name="connsiteY949" fmla="*/ 119274 h 6858000"/>
              <a:gd name="connsiteX950" fmla="*/ 3023879 w 7467600"/>
              <a:gd name="connsiteY950" fmla="*/ 0 h 6858000"/>
              <a:gd name="connsiteX951" fmla="*/ 3105400 w 7467600"/>
              <a:gd name="connsiteY951" fmla="*/ 0 h 6858000"/>
              <a:gd name="connsiteX952" fmla="*/ 3094669 w 7467600"/>
              <a:gd name="connsiteY952" fmla="*/ 30308 h 6858000"/>
              <a:gd name="connsiteX953" fmla="*/ 2901945 w 7467600"/>
              <a:gd name="connsiteY953" fmla="*/ 466538 h 6858000"/>
              <a:gd name="connsiteX954" fmla="*/ 2815209 w 7467600"/>
              <a:gd name="connsiteY954" fmla="*/ 497361 h 6858000"/>
              <a:gd name="connsiteX955" fmla="*/ 2844845 w 7467600"/>
              <a:gd name="connsiteY955" fmla="*/ 127638 h 6858000"/>
              <a:gd name="connsiteX956" fmla="*/ 2867960 w 7467600"/>
              <a:gd name="connsiteY956" fmla="*/ 0 h 6858000"/>
              <a:gd name="connsiteX957" fmla="*/ 1057230 w 7467600"/>
              <a:gd name="connsiteY957" fmla="*/ 0 h 6858000"/>
              <a:gd name="connsiteX958" fmla="*/ 1111003 w 7467600"/>
              <a:gd name="connsiteY958" fmla="*/ 0 h 6858000"/>
              <a:gd name="connsiteX959" fmla="*/ 1125553 w 7467600"/>
              <a:gd name="connsiteY959" fmla="*/ 52588 h 6858000"/>
              <a:gd name="connsiteX960" fmla="*/ 1304276 w 7467600"/>
              <a:gd name="connsiteY960" fmla="*/ 476275 h 6858000"/>
              <a:gd name="connsiteX961" fmla="*/ 1492066 w 7467600"/>
              <a:gd name="connsiteY961" fmla="*/ 886333 h 6858000"/>
              <a:gd name="connsiteX962" fmla="*/ 1423698 w 7467600"/>
              <a:gd name="connsiteY962" fmla="*/ 710817 h 6858000"/>
              <a:gd name="connsiteX963" fmla="*/ 1357609 w 7467600"/>
              <a:gd name="connsiteY963" fmla="*/ 532892 h 6858000"/>
              <a:gd name="connsiteX964" fmla="*/ 1309550 w 7467600"/>
              <a:gd name="connsiteY964" fmla="*/ 374031 h 6858000"/>
              <a:gd name="connsiteX965" fmla="*/ 1193673 w 7467600"/>
              <a:gd name="connsiteY965" fmla="*/ 49533 h 6858000"/>
              <a:gd name="connsiteX966" fmla="*/ 1164391 w 7467600"/>
              <a:gd name="connsiteY966" fmla="*/ 0 h 6858000"/>
              <a:gd name="connsiteX967" fmla="*/ 1200666 w 7467600"/>
              <a:gd name="connsiteY967" fmla="*/ 0 h 6858000"/>
              <a:gd name="connsiteX968" fmla="*/ 1223408 w 7467600"/>
              <a:gd name="connsiteY968" fmla="*/ 38996 h 6858000"/>
              <a:gd name="connsiteX969" fmla="*/ 1339635 w 7467600"/>
              <a:gd name="connsiteY969" fmla="*/ 365517 h 6858000"/>
              <a:gd name="connsiteX970" fmla="*/ 1387469 w 7467600"/>
              <a:gd name="connsiteY970" fmla="*/ 523079 h 6858000"/>
              <a:gd name="connsiteX971" fmla="*/ 1452685 w 7467600"/>
              <a:gd name="connsiteY971" fmla="*/ 699806 h 6858000"/>
              <a:gd name="connsiteX972" fmla="*/ 1492092 w 7467600"/>
              <a:gd name="connsiteY972" fmla="*/ 800424 h 6858000"/>
              <a:gd name="connsiteX973" fmla="*/ 1455302 w 7467600"/>
              <a:gd name="connsiteY973" fmla="*/ 632913 h 6858000"/>
              <a:gd name="connsiteX974" fmla="*/ 1222336 w 7467600"/>
              <a:gd name="connsiteY974" fmla="*/ 9480 h 6858000"/>
              <a:gd name="connsiteX975" fmla="*/ 1214634 w 7467600"/>
              <a:gd name="connsiteY975" fmla="*/ 0 h 6858000"/>
              <a:gd name="connsiteX976" fmla="*/ 1289827 w 7467600"/>
              <a:gd name="connsiteY976" fmla="*/ 0 h 6858000"/>
              <a:gd name="connsiteX977" fmla="*/ 1321076 w 7467600"/>
              <a:gd name="connsiteY977" fmla="*/ 59722 h 6858000"/>
              <a:gd name="connsiteX978" fmla="*/ 1512579 w 7467600"/>
              <a:gd name="connsiteY978" fmla="*/ 626441 h 6858000"/>
              <a:gd name="connsiteX979" fmla="*/ 1506076 w 7467600"/>
              <a:gd name="connsiteY979" fmla="*/ 1089289 h 6858000"/>
              <a:gd name="connsiteX980" fmla="*/ 1486346 w 7467600"/>
              <a:gd name="connsiteY980" fmla="*/ 1079919 h 6858000"/>
              <a:gd name="connsiteX981" fmla="*/ 1070511 w 7467600"/>
              <a:gd name="connsiteY981" fmla="*/ 48609 h 6858000"/>
              <a:gd name="connsiteX982" fmla="*/ 1057230 w 7467600"/>
              <a:gd name="connsiteY982" fmla="*/ 0 h 6858000"/>
              <a:gd name="connsiteX983" fmla="*/ 43151 w 7467600"/>
              <a:gd name="connsiteY983" fmla="*/ 0 h 6858000"/>
              <a:gd name="connsiteX984" fmla="*/ 95283 w 7467600"/>
              <a:gd name="connsiteY984" fmla="*/ 0 h 6858000"/>
              <a:gd name="connsiteX985" fmla="*/ 300708 w 7467600"/>
              <a:gd name="connsiteY985" fmla="*/ 154571 h 6858000"/>
              <a:gd name="connsiteX986" fmla="*/ 530414 w 7467600"/>
              <a:gd name="connsiteY986" fmla="*/ 354673 h 6858000"/>
              <a:gd name="connsiteX987" fmla="*/ 333785 w 7467600"/>
              <a:gd name="connsiteY987" fmla="*/ 161564 h 6858000"/>
              <a:gd name="connsiteX988" fmla="*/ 147005 w 7467600"/>
              <a:gd name="connsiteY988" fmla="*/ 0 h 6858000"/>
              <a:gd name="connsiteX989" fmla="*/ 272509 w 7467600"/>
              <a:gd name="connsiteY989" fmla="*/ 0 h 6858000"/>
              <a:gd name="connsiteX990" fmla="*/ 326276 w 7467600"/>
              <a:gd name="connsiteY990" fmla="*/ 45847 h 6858000"/>
              <a:gd name="connsiteX991" fmla="*/ 823759 w 7467600"/>
              <a:gd name="connsiteY991" fmla="*/ 574145 h 6858000"/>
              <a:gd name="connsiteX992" fmla="*/ 811254 w 7467600"/>
              <a:gd name="connsiteY992" fmla="*/ 665546 h 6858000"/>
              <a:gd name="connsiteX993" fmla="*/ 154042 w 7467600"/>
              <a:gd name="connsiteY993" fmla="*/ 261522 h 6858000"/>
              <a:gd name="connsiteX994" fmla="*/ 13550 w 7467600"/>
              <a:gd name="connsiteY994" fmla="*/ 158423 h 6858000"/>
              <a:gd name="connsiteX995" fmla="*/ 0 w 7467600"/>
              <a:gd name="connsiteY995" fmla="*/ 146618 h 6858000"/>
              <a:gd name="connsiteX996" fmla="*/ 0 w 7467600"/>
              <a:gd name="connsiteY996" fmla="*/ 59161 h 6858000"/>
              <a:gd name="connsiteX997" fmla="*/ 45427 w 7467600"/>
              <a:gd name="connsiteY997" fmla="*/ 101078 h 6858000"/>
              <a:gd name="connsiteX998" fmla="*/ 630103 w 7467600"/>
              <a:gd name="connsiteY998" fmla="*/ 485885 h 6858000"/>
              <a:gd name="connsiteX999" fmla="*/ 532040 w 7467600"/>
              <a:gd name="connsiteY999" fmla="*/ 399359 h 6858000"/>
              <a:gd name="connsiteX1000" fmla="*/ 517618 w 7467600"/>
              <a:gd name="connsiteY1000" fmla="*/ 385726 h 6858000"/>
              <a:gd name="connsiteX1001" fmla="*/ 285074 w 7467600"/>
              <a:gd name="connsiteY1001" fmla="*/ 182755 h 6858000"/>
              <a:gd name="connsiteX1002" fmla="*/ 43151 w 7467600"/>
              <a:gd name="connsiteY1002"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131946 w 7467600"/>
              <a:gd name="connsiteY127" fmla="*/ 5075653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7327465 w 7467600"/>
              <a:gd name="connsiteY139" fmla="*/ 5174181 h 6858000"/>
              <a:gd name="connsiteX140" fmla="*/ 7244057 w 7467600"/>
              <a:gd name="connsiteY140" fmla="*/ 5124233 h 6858000"/>
              <a:gd name="connsiteX141" fmla="*/ 7353035 w 7467600"/>
              <a:gd name="connsiteY141" fmla="*/ 5197318 h 6858000"/>
              <a:gd name="connsiteX142" fmla="*/ 7467600 w 7467600"/>
              <a:gd name="connsiteY142" fmla="*/ 5297634 h 6858000"/>
              <a:gd name="connsiteX143" fmla="*/ 7467600 w 7467600"/>
              <a:gd name="connsiteY143" fmla="*/ 5361850 h 6858000"/>
              <a:gd name="connsiteX144" fmla="*/ 7368569 w 7467600"/>
              <a:gd name="connsiteY144" fmla="*/ 5270182 h 6858000"/>
              <a:gd name="connsiteX145" fmla="*/ 7131946 w 7467600"/>
              <a:gd name="connsiteY145" fmla="*/ 5075653 h 6858000"/>
              <a:gd name="connsiteX146" fmla="*/ 1903353 w 7467600"/>
              <a:gd name="connsiteY146" fmla="*/ 5044827 h 6858000"/>
              <a:gd name="connsiteX147" fmla="*/ 1936931 w 7467600"/>
              <a:gd name="connsiteY147" fmla="*/ 5093954 h 6858000"/>
              <a:gd name="connsiteX148" fmla="*/ 2195868 w 7467600"/>
              <a:gd name="connsiteY148" fmla="*/ 5396574 h 6858000"/>
              <a:gd name="connsiteX149" fmla="*/ 2088852 w 7467600"/>
              <a:gd name="connsiteY149" fmla="*/ 5166123 h 6858000"/>
              <a:gd name="connsiteX150" fmla="*/ 1958241 w 7467600"/>
              <a:gd name="connsiteY150" fmla="*/ 5067955 h 6858000"/>
              <a:gd name="connsiteX151" fmla="*/ 1903353 w 7467600"/>
              <a:gd name="connsiteY151" fmla="*/ 5044827 h 6858000"/>
              <a:gd name="connsiteX152" fmla="*/ 1979378 w 7467600"/>
              <a:gd name="connsiteY152" fmla="*/ 4769504 h 6858000"/>
              <a:gd name="connsiteX153" fmla="*/ 2882120 w 7467600"/>
              <a:gd name="connsiteY153" fmla="*/ 5064547 h 6858000"/>
              <a:gd name="connsiteX154" fmla="*/ 2793103 w 7467600"/>
              <a:gd name="connsiteY154" fmla="*/ 5039699 h 6858000"/>
              <a:gd name="connsiteX155" fmla="*/ 2770041 w 7467600"/>
              <a:gd name="connsiteY155" fmla="*/ 5033634 h 6858000"/>
              <a:gd name="connsiteX156" fmla="*/ 1979378 w 7467600"/>
              <a:gd name="connsiteY156" fmla="*/ 4769504 h 6858000"/>
              <a:gd name="connsiteX157" fmla="*/ 1927410 w 7467600"/>
              <a:gd name="connsiteY157" fmla="*/ 4716164 h 6858000"/>
              <a:gd name="connsiteX158" fmla="*/ 1959587 w 7467600"/>
              <a:gd name="connsiteY158" fmla="*/ 4728849 h 6858000"/>
              <a:gd name="connsiteX159" fmla="*/ 2777707 w 7467600"/>
              <a:gd name="connsiteY159" fmla="*/ 5003991 h 6858000"/>
              <a:gd name="connsiteX160" fmla="*/ 2800768 w 7467600"/>
              <a:gd name="connsiteY160" fmla="*/ 5010056 h 6858000"/>
              <a:gd name="connsiteX161" fmla="*/ 2879408 w 7467600"/>
              <a:gd name="connsiteY161" fmla="*/ 5031590 h 6858000"/>
              <a:gd name="connsiteX162" fmla="*/ 2862295 w 7467600"/>
              <a:gd name="connsiteY162" fmla="*/ 5022958 h 6858000"/>
              <a:gd name="connsiteX163" fmla="*/ 2813343 w 7467600"/>
              <a:gd name="connsiteY163" fmla="*/ 4998369 h 6858000"/>
              <a:gd name="connsiteX164" fmla="*/ 2646245 w 7467600"/>
              <a:gd name="connsiteY164" fmla="*/ 4930999 h 6858000"/>
              <a:gd name="connsiteX165" fmla="*/ 1999243 w 7467600"/>
              <a:gd name="connsiteY165" fmla="*/ 4730524 h 6858000"/>
              <a:gd name="connsiteX166" fmla="*/ 1979527 w 7467600"/>
              <a:gd name="connsiteY166" fmla="*/ 4726651 h 6858000"/>
              <a:gd name="connsiteX167" fmla="*/ 1927410 w 7467600"/>
              <a:gd name="connsiteY167" fmla="*/ 4716164 h 6858000"/>
              <a:gd name="connsiteX168" fmla="*/ 1997014 w 7467600"/>
              <a:gd name="connsiteY168" fmla="*/ 4698007 h 6858000"/>
              <a:gd name="connsiteX169" fmla="*/ 2005458 w 7467600"/>
              <a:gd name="connsiteY169" fmla="*/ 4699540 h 6858000"/>
              <a:gd name="connsiteX170" fmla="*/ 2657186 w 7467600"/>
              <a:gd name="connsiteY170" fmla="*/ 4901687 h 6858000"/>
              <a:gd name="connsiteX171" fmla="*/ 2826662 w 7467600"/>
              <a:gd name="connsiteY171" fmla="*/ 4970362 h 6858000"/>
              <a:gd name="connsiteX172" fmla="*/ 2876100 w 7467600"/>
              <a:gd name="connsiteY172" fmla="*/ 4995397 h 6858000"/>
              <a:gd name="connsiteX173" fmla="*/ 3042600 w 7467600"/>
              <a:gd name="connsiteY173" fmla="*/ 5059532 h 6858000"/>
              <a:gd name="connsiteX174" fmla="*/ 1997014 w 7467600"/>
              <a:gd name="connsiteY174" fmla="*/ 4698007 h 6858000"/>
              <a:gd name="connsiteX175" fmla="*/ 2305292 w 7467600"/>
              <a:gd name="connsiteY175" fmla="*/ 4219492 h 6858000"/>
              <a:gd name="connsiteX176" fmla="*/ 3360922 w 7467600"/>
              <a:gd name="connsiteY176" fmla="*/ 4529373 h 6858000"/>
              <a:gd name="connsiteX177" fmla="*/ 3492420 w 7467600"/>
              <a:gd name="connsiteY177" fmla="*/ 4510145 h 6858000"/>
              <a:gd name="connsiteX178" fmla="*/ 3364086 w 7467600"/>
              <a:gd name="connsiteY178" fmla="*/ 4480340 h 6858000"/>
              <a:gd name="connsiteX179" fmla="*/ 3225818 w 7467600"/>
              <a:gd name="connsiteY179" fmla="*/ 4411822 h 6858000"/>
              <a:gd name="connsiteX180" fmla="*/ 3129696 w 7467600"/>
              <a:gd name="connsiteY180" fmla="*/ 4360704 h 6858000"/>
              <a:gd name="connsiteX181" fmla="*/ 2814545 w 7467600"/>
              <a:gd name="connsiteY181" fmla="*/ 4282955 h 6858000"/>
              <a:gd name="connsiteX182" fmla="*/ 2305292 w 7467600"/>
              <a:gd name="connsiteY182" fmla="*/ 4219492 h 6858000"/>
              <a:gd name="connsiteX183" fmla="*/ 2626982 w 7467600"/>
              <a:gd name="connsiteY183" fmla="*/ 4206450 h 6858000"/>
              <a:gd name="connsiteX184" fmla="*/ 2490617 w 7467600"/>
              <a:gd name="connsiteY184" fmla="*/ 4206951 h 6858000"/>
              <a:gd name="connsiteX185" fmla="*/ 2819869 w 7467600"/>
              <a:gd name="connsiteY185" fmla="*/ 4252936 h 6858000"/>
              <a:gd name="connsiteX186" fmla="*/ 3143018 w 7467600"/>
              <a:gd name="connsiteY186" fmla="*/ 4332698 h 6858000"/>
              <a:gd name="connsiteX187" fmla="*/ 3241520 w 7467600"/>
              <a:gd name="connsiteY187" fmla="*/ 4385112 h 6858000"/>
              <a:gd name="connsiteX188" fmla="*/ 3374575 w 7467600"/>
              <a:gd name="connsiteY188" fmla="*/ 4451517 h 6858000"/>
              <a:gd name="connsiteX189" fmla="*/ 3505221 w 7467600"/>
              <a:gd name="connsiteY189" fmla="*/ 4480757 h 6858000"/>
              <a:gd name="connsiteX190" fmla="*/ 2626982 w 7467600"/>
              <a:gd name="connsiteY190" fmla="*/ 4206450 h 6858000"/>
              <a:gd name="connsiteX191" fmla="*/ 1310106 w 7467600"/>
              <a:gd name="connsiteY191" fmla="*/ 3943217 h 6858000"/>
              <a:gd name="connsiteX192" fmla="*/ 854994 w 7467600"/>
              <a:gd name="connsiteY192" fmla="*/ 4399136 h 6858000"/>
              <a:gd name="connsiteX193" fmla="*/ 742462 w 7467600"/>
              <a:gd name="connsiteY193" fmla="*/ 4594648 h 6858000"/>
              <a:gd name="connsiteX194" fmla="*/ 820602 w 7467600"/>
              <a:gd name="connsiteY194" fmla="*/ 4485915 h 6858000"/>
              <a:gd name="connsiteX195" fmla="*/ 878295 w 7467600"/>
              <a:gd name="connsiteY195" fmla="*/ 4403594 h 6858000"/>
              <a:gd name="connsiteX196" fmla="*/ 1240607 w 7467600"/>
              <a:gd name="connsiteY196" fmla="*/ 4010401 h 6858000"/>
              <a:gd name="connsiteX197" fmla="*/ 1310106 w 7467600"/>
              <a:gd name="connsiteY197" fmla="*/ 3943217 h 6858000"/>
              <a:gd name="connsiteX198" fmla="*/ 1423113 w 7467600"/>
              <a:gd name="connsiteY198" fmla="*/ 3874565 h 6858000"/>
              <a:gd name="connsiteX199" fmla="*/ 1260565 w 7467600"/>
              <a:gd name="connsiteY199" fmla="*/ 4031982 h 6858000"/>
              <a:gd name="connsiteX200" fmla="*/ 901900 w 7467600"/>
              <a:gd name="connsiteY200" fmla="*/ 4421236 h 6858000"/>
              <a:gd name="connsiteX201" fmla="*/ 845044 w 7467600"/>
              <a:gd name="connsiteY201" fmla="*/ 4502436 h 6858000"/>
              <a:gd name="connsiteX202" fmla="*/ 685926 w 7467600"/>
              <a:gd name="connsiteY202" fmla="*/ 4703069 h 6858000"/>
              <a:gd name="connsiteX203" fmla="*/ 684248 w 7467600"/>
              <a:gd name="connsiteY203" fmla="*/ 4706721 h 6858000"/>
              <a:gd name="connsiteX204" fmla="*/ 1423113 w 7467600"/>
              <a:gd name="connsiteY204" fmla="*/ 3874565 h 6858000"/>
              <a:gd name="connsiteX205" fmla="*/ 3316479 w 7467600"/>
              <a:gd name="connsiteY205" fmla="*/ 3872136 h 6858000"/>
              <a:gd name="connsiteX206" fmla="*/ 3546806 w 7467600"/>
              <a:gd name="connsiteY206" fmla="*/ 4356139 h 6858000"/>
              <a:gd name="connsiteX207" fmla="*/ 3364433 w 7467600"/>
              <a:gd name="connsiteY207" fmla="*/ 3953121 h 6858000"/>
              <a:gd name="connsiteX208" fmla="*/ 3316479 w 7467600"/>
              <a:gd name="connsiteY208" fmla="*/ 3872136 h 6858000"/>
              <a:gd name="connsiteX209" fmla="*/ 3291335 w 7467600"/>
              <a:gd name="connsiteY209" fmla="*/ 3767420 h 6858000"/>
              <a:gd name="connsiteX210" fmla="*/ 3390805 w 7467600"/>
              <a:gd name="connsiteY210" fmla="*/ 3937163 h 6858000"/>
              <a:gd name="connsiteX211" fmla="*/ 3579062 w 7467600"/>
              <a:gd name="connsiteY211" fmla="*/ 4359040 h 6858000"/>
              <a:gd name="connsiteX212" fmla="*/ 3467355 w 7467600"/>
              <a:gd name="connsiteY212" fmla="*/ 3988130 h 6858000"/>
              <a:gd name="connsiteX213" fmla="*/ 3310753 w 7467600"/>
              <a:gd name="connsiteY213" fmla="*/ 3787140 h 6858000"/>
              <a:gd name="connsiteX214" fmla="*/ 3291335 w 7467600"/>
              <a:gd name="connsiteY214" fmla="*/ 3767420 h 6858000"/>
              <a:gd name="connsiteX215" fmla="*/ 1635889 w 7467600"/>
              <a:gd name="connsiteY215" fmla="*/ 3709494 h 6858000"/>
              <a:gd name="connsiteX216" fmla="*/ 1634800 w 7467600"/>
              <a:gd name="connsiteY216" fmla="*/ 3731111 h 6858000"/>
              <a:gd name="connsiteX217" fmla="*/ 1635889 w 7467600"/>
              <a:gd name="connsiteY217" fmla="*/ 3709494 h 6858000"/>
              <a:gd name="connsiteX218" fmla="*/ 1510397 w 7467600"/>
              <a:gd name="connsiteY218" fmla="*/ 3684705 h 6858000"/>
              <a:gd name="connsiteX219" fmla="*/ 1146550 w 7467600"/>
              <a:gd name="connsiteY219" fmla="*/ 3802012 h 6858000"/>
              <a:gd name="connsiteX220" fmla="*/ 698834 w 7467600"/>
              <a:gd name="connsiteY220" fmla="*/ 3952272 h 6858000"/>
              <a:gd name="connsiteX221" fmla="*/ 34256 w 7467600"/>
              <a:gd name="connsiteY221" fmla="*/ 4347603 h 6858000"/>
              <a:gd name="connsiteX222" fmla="*/ 527241 w 7467600"/>
              <a:gd name="connsiteY222" fmla="*/ 4065078 h 6858000"/>
              <a:gd name="connsiteX223" fmla="*/ 1510397 w 7467600"/>
              <a:gd name="connsiteY223" fmla="*/ 3684705 h 6858000"/>
              <a:gd name="connsiteX224" fmla="*/ 1313114 w 7467600"/>
              <a:gd name="connsiteY224" fmla="*/ 3655216 h 6858000"/>
              <a:gd name="connsiteX225" fmla="*/ 1109304 w 7467600"/>
              <a:gd name="connsiteY225" fmla="*/ 3669030 h 6858000"/>
              <a:gd name="connsiteX226" fmla="*/ 8129 w 7467600"/>
              <a:gd name="connsiteY226" fmla="*/ 4330519 h 6858000"/>
              <a:gd name="connsiteX227" fmla="*/ 687572 w 7467600"/>
              <a:gd name="connsiteY227" fmla="*/ 3925629 h 6858000"/>
              <a:gd name="connsiteX228" fmla="*/ 1138365 w 7467600"/>
              <a:gd name="connsiteY228" fmla="*/ 3774515 h 6858000"/>
              <a:gd name="connsiteX229" fmla="*/ 1505579 w 7467600"/>
              <a:gd name="connsiteY229" fmla="*/ 3655526 h 6858000"/>
              <a:gd name="connsiteX230" fmla="*/ 1313114 w 7467600"/>
              <a:gd name="connsiteY230" fmla="*/ 3655216 h 6858000"/>
              <a:gd name="connsiteX231" fmla="*/ 3655073 w 7467600"/>
              <a:gd name="connsiteY231" fmla="*/ 3650884 h 6858000"/>
              <a:gd name="connsiteX232" fmla="*/ 3989938 w 7467600"/>
              <a:gd name="connsiteY232" fmla="*/ 3991685 h 6858000"/>
              <a:gd name="connsiteX233" fmla="*/ 4393907 w 7467600"/>
              <a:gd name="connsiteY233" fmla="*/ 4261258 h 6858000"/>
              <a:gd name="connsiteX234" fmla="*/ 4648051 w 7467600"/>
              <a:gd name="connsiteY234" fmla="*/ 4374051 h 6858000"/>
              <a:gd name="connsiteX235" fmla="*/ 4383389 w 7467600"/>
              <a:gd name="connsiteY235" fmla="*/ 4184369 h 6858000"/>
              <a:gd name="connsiteX236" fmla="*/ 4165508 w 7467600"/>
              <a:gd name="connsiteY236" fmla="*/ 4035196 h 6858000"/>
              <a:gd name="connsiteX237" fmla="*/ 4068162 w 7467600"/>
              <a:gd name="connsiteY237" fmla="*/ 3953394 h 6858000"/>
              <a:gd name="connsiteX238" fmla="*/ 3981416 w 7467600"/>
              <a:gd name="connsiteY238" fmla="*/ 3880482 h 6858000"/>
              <a:gd name="connsiteX239" fmla="*/ 3800147 w 7467600"/>
              <a:gd name="connsiteY239" fmla="*/ 3749872 h 6858000"/>
              <a:gd name="connsiteX240" fmla="*/ 3655073 w 7467600"/>
              <a:gd name="connsiteY240" fmla="*/ 3650884 h 6858000"/>
              <a:gd name="connsiteX241" fmla="*/ 3670252 w 7467600"/>
              <a:gd name="connsiteY241" fmla="*/ 3622798 h 6858000"/>
              <a:gd name="connsiteX242" fmla="*/ 3817258 w 7467600"/>
              <a:gd name="connsiteY242" fmla="*/ 3723577 h 6858000"/>
              <a:gd name="connsiteX243" fmla="*/ 4000461 w 7467600"/>
              <a:gd name="connsiteY243" fmla="*/ 3855966 h 6858000"/>
              <a:gd name="connsiteX244" fmla="*/ 4088180 w 7467600"/>
              <a:gd name="connsiteY244" fmla="*/ 3929774 h 6858000"/>
              <a:gd name="connsiteX245" fmla="*/ 4184555 w 7467600"/>
              <a:gd name="connsiteY245" fmla="*/ 4010683 h 6858000"/>
              <a:gd name="connsiteX246" fmla="*/ 4399563 w 7467600"/>
              <a:gd name="connsiteY246" fmla="*/ 4158106 h 6858000"/>
              <a:gd name="connsiteX247" fmla="*/ 4684469 w 7467600"/>
              <a:gd name="connsiteY247" fmla="*/ 4364680 h 6858000"/>
              <a:gd name="connsiteX248" fmla="*/ 4690271 w 7467600"/>
              <a:gd name="connsiteY248" fmla="*/ 4370034 h 6858000"/>
              <a:gd name="connsiteX249" fmla="*/ 4136093 w 7467600"/>
              <a:gd name="connsiteY249" fmla="*/ 3858466 h 6858000"/>
              <a:gd name="connsiteX250" fmla="*/ 3670252 w 7467600"/>
              <a:gd name="connsiteY250" fmla="*/ 3622798 h 6858000"/>
              <a:gd name="connsiteX251" fmla="*/ 4440129 w 7467600"/>
              <a:gd name="connsiteY251" fmla="*/ 3448571 h 6858000"/>
              <a:gd name="connsiteX252" fmla="*/ 4856525 w 7467600"/>
              <a:gd name="connsiteY252" fmla="*/ 3915351 h 6858000"/>
              <a:gd name="connsiteX253" fmla="*/ 5059055 w 7467600"/>
              <a:gd name="connsiteY253" fmla="*/ 4108918 h 6858000"/>
              <a:gd name="connsiteX254" fmla="*/ 5290070 w 7467600"/>
              <a:gd name="connsiteY254" fmla="*/ 4263619 h 6858000"/>
              <a:gd name="connsiteX255" fmla="*/ 4834991 w 7467600"/>
              <a:gd name="connsiteY255" fmla="*/ 3830985 h 6858000"/>
              <a:gd name="connsiteX256" fmla="*/ 4440129 w 7467600"/>
              <a:gd name="connsiteY256" fmla="*/ 3448571 h 6858000"/>
              <a:gd name="connsiteX257" fmla="*/ 4441737 w 7467600"/>
              <a:gd name="connsiteY257" fmla="*/ 3399734 h 6858000"/>
              <a:gd name="connsiteX258" fmla="*/ 4431236 w 7467600"/>
              <a:gd name="connsiteY258" fmla="*/ 3400954 h 6858000"/>
              <a:gd name="connsiteX259" fmla="*/ 4557150 w 7467600"/>
              <a:gd name="connsiteY259" fmla="*/ 3510023 h 6858000"/>
              <a:gd name="connsiteX260" fmla="*/ 4856936 w 7467600"/>
              <a:gd name="connsiteY260" fmla="*/ 3809146 h 6858000"/>
              <a:gd name="connsiteX261" fmla="*/ 5111996 w 7467600"/>
              <a:gd name="connsiteY261" fmla="*/ 4065759 h 6858000"/>
              <a:gd name="connsiteX262" fmla="*/ 5388878 w 7467600"/>
              <a:gd name="connsiteY262" fmla="*/ 4300185 h 6858000"/>
              <a:gd name="connsiteX263" fmla="*/ 5425556 w 7467600"/>
              <a:gd name="connsiteY263" fmla="*/ 4308967 h 6858000"/>
              <a:gd name="connsiteX264" fmla="*/ 4943646 w 7467600"/>
              <a:gd name="connsiteY264" fmla="*/ 3822916 h 6858000"/>
              <a:gd name="connsiteX265" fmla="*/ 4594837 w 7467600"/>
              <a:gd name="connsiteY265" fmla="*/ 3532274 h 6858000"/>
              <a:gd name="connsiteX266" fmla="*/ 4441737 w 7467600"/>
              <a:gd name="connsiteY266" fmla="*/ 3399734 h 6858000"/>
              <a:gd name="connsiteX267" fmla="*/ 5425834 w 7467600"/>
              <a:gd name="connsiteY267" fmla="*/ 3162785 h 6858000"/>
              <a:gd name="connsiteX268" fmla="*/ 5401644 w 7467600"/>
              <a:gd name="connsiteY268" fmla="*/ 3617847 h 6858000"/>
              <a:gd name="connsiteX269" fmla="*/ 5467256 w 7467600"/>
              <a:gd name="connsiteY269" fmla="*/ 4175494 h 6858000"/>
              <a:gd name="connsiteX270" fmla="*/ 5448069 w 7467600"/>
              <a:gd name="connsiteY270" fmla="*/ 3567554 h 6858000"/>
              <a:gd name="connsiteX271" fmla="*/ 5425834 w 7467600"/>
              <a:gd name="connsiteY271" fmla="*/ 3162785 h 6858000"/>
              <a:gd name="connsiteX272" fmla="*/ 1318687 w 7467600"/>
              <a:gd name="connsiteY272" fmla="*/ 3113840 h 6858000"/>
              <a:gd name="connsiteX273" fmla="*/ 1066793 w 7467600"/>
              <a:gd name="connsiteY273" fmla="*/ 3212171 h 6858000"/>
              <a:gd name="connsiteX274" fmla="*/ 993319 w 7467600"/>
              <a:gd name="connsiteY274" fmla="*/ 3247648 h 6858000"/>
              <a:gd name="connsiteX275" fmla="*/ 853081 w 7467600"/>
              <a:gd name="connsiteY275" fmla="*/ 3312410 h 6858000"/>
              <a:gd name="connsiteX276" fmla="*/ 805957 w 7467600"/>
              <a:gd name="connsiteY276" fmla="*/ 3330443 h 6858000"/>
              <a:gd name="connsiteX277" fmla="*/ 1318687 w 7467600"/>
              <a:gd name="connsiteY277" fmla="*/ 3113840 h 6858000"/>
              <a:gd name="connsiteX278" fmla="*/ 5453702 w 7467600"/>
              <a:gd name="connsiteY278" fmla="*/ 3090882 h 6858000"/>
              <a:gd name="connsiteX279" fmla="*/ 5480135 w 7467600"/>
              <a:gd name="connsiteY279" fmla="*/ 3565802 h 6858000"/>
              <a:gd name="connsiteX280" fmla="*/ 5499023 w 7467600"/>
              <a:gd name="connsiteY280" fmla="*/ 4166310 h 6858000"/>
              <a:gd name="connsiteX281" fmla="*/ 5547022 w 7467600"/>
              <a:gd name="connsiteY281" fmla="*/ 3607838 h 6858000"/>
              <a:gd name="connsiteX282" fmla="*/ 5515964 w 7467600"/>
              <a:gd name="connsiteY282" fmla="*/ 3378541 h 6858000"/>
              <a:gd name="connsiteX283" fmla="*/ 5453702 w 7467600"/>
              <a:gd name="connsiteY283" fmla="*/ 3090882 h 6858000"/>
              <a:gd name="connsiteX284" fmla="*/ 1238695 w 7467600"/>
              <a:gd name="connsiteY284" fmla="*/ 3076820 h 6858000"/>
              <a:gd name="connsiteX285" fmla="*/ 716371 w 7467600"/>
              <a:gd name="connsiteY285" fmla="*/ 3293249 h 6858000"/>
              <a:gd name="connsiteX286" fmla="*/ 579522 w 7467600"/>
              <a:gd name="connsiteY286" fmla="*/ 3371759 h 6858000"/>
              <a:gd name="connsiteX287" fmla="*/ 600288 w 7467600"/>
              <a:gd name="connsiteY287" fmla="*/ 3365555 h 6858000"/>
              <a:gd name="connsiteX288" fmla="*/ 840692 w 7467600"/>
              <a:gd name="connsiteY288" fmla="*/ 3284921 h 6858000"/>
              <a:gd name="connsiteX289" fmla="*/ 979248 w 7467600"/>
              <a:gd name="connsiteY289" fmla="*/ 3221003 h 6858000"/>
              <a:gd name="connsiteX290" fmla="*/ 1053282 w 7467600"/>
              <a:gd name="connsiteY290" fmla="*/ 3185247 h 6858000"/>
              <a:gd name="connsiteX291" fmla="*/ 1320603 w 7467600"/>
              <a:gd name="connsiteY291" fmla="*/ 3081281 h 6858000"/>
              <a:gd name="connsiteX292" fmla="*/ 1238695 w 7467600"/>
              <a:gd name="connsiteY292" fmla="*/ 3076820 h 6858000"/>
              <a:gd name="connsiteX293" fmla="*/ 5425627 w 7467600"/>
              <a:gd name="connsiteY293" fmla="*/ 2954192 h 6858000"/>
              <a:gd name="connsiteX294" fmla="*/ 5470770 w 7467600"/>
              <a:gd name="connsiteY294" fmla="*/ 3005435 h 6858000"/>
              <a:gd name="connsiteX295" fmla="*/ 5519779 w 7467600"/>
              <a:gd name="connsiteY295" fmla="*/ 4359223 h 6858000"/>
              <a:gd name="connsiteX296" fmla="*/ 5520293 w 7467600"/>
              <a:gd name="connsiteY296" fmla="*/ 4360602 h 6858000"/>
              <a:gd name="connsiteX297" fmla="*/ 5767221 w 7467600"/>
              <a:gd name="connsiteY297" fmla="*/ 4665564 h 6858000"/>
              <a:gd name="connsiteX298" fmla="*/ 6937169 w 7467600"/>
              <a:gd name="connsiteY298" fmla="*/ 4815941 h 6858000"/>
              <a:gd name="connsiteX299" fmla="*/ 6953922 w 7467600"/>
              <a:gd name="connsiteY299" fmla="*/ 4890068 h 6858000"/>
              <a:gd name="connsiteX300" fmla="*/ 6071359 w 7467600"/>
              <a:gd name="connsiteY300" fmla="*/ 4770770 h 6858000"/>
              <a:gd name="connsiteX301" fmla="*/ 6038839 w 7467600"/>
              <a:gd name="connsiteY301" fmla="*/ 4764474 h 6858000"/>
              <a:gd name="connsiteX302" fmla="*/ 6038706 w 7467600"/>
              <a:gd name="connsiteY302" fmla="*/ 4763847 h 6858000"/>
              <a:gd name="connsiteX303" fmla="*/ 6037784 w 7467600"/>
              <a:gd name="connsiteY303" fmla="*/ 4764270 h 6858000"/>
              <a:gd name="connsiteX304" fmla="*/ 6038839 w 7467600"/>
              <a:gd name="connsiteY304" fmla="*/ 4764474 h 6858000"/>
              <a:gd name="connsiteX305" fmla="*/ 6040338 w 7467600"/>
              <a:gd name="connsiteY305" fmla="*/ 4771418 h 6858000"/>
              <a:gd name="connsiteX306" fmla="*/ 6024488 w 7467600"/>
              <a:gd name="connsiteY306" fmla="*/ 4809903 h 6858000"/>
              <a:gd name="connsiteX307" fmla="*/ 5599771 w 7467600"/>
              <a:gd name="connsiteY307" fmla="*/ 5509652 h 6858000"/>
              <a:gd name="connsiteX308" fmla="*/ 5548843 w 7467600"/>
              <a:gd name="connsiteY308" fmla="*/ 5563845 h 6858000"/>
              <a:gd name="connsiteX309" fmla="*/ 5940952 w 7467600"/>
              <a:gd name="connsiteY309" fmla="*/ 6250028 h 6858000"/>
              <a:gd name="connsiteX310" fmla="*/ 6043441 w 7467600"/>
              <a:gd name="connsiteY310" fmla="*/ 6665847 h 6858000"/>
              <a:gd name="connsiteX311" fmla="*/ 6093432 w 7467600"/>
              <a:gd name="connsiteY311" fmla="*/ 6858000 h 6858000"/>
              <a:gd name="connsiteX312" fmla="*/ 6034344 w 7467600"/>
              <a:gd name="connsiteY312" fmla="*/ 6858000 h 6858000"/>
              <a:gd name="connsiteX313" fmla="*/ 6026679 w 7467600"/>
              <a:gd name="connsiteY313" fmla="*/ 6836959 h 6858000"/>
              <a:gd name="connsiteX314" fmla="*/ 5800441 w 7467600"/>
              <a:gd name="connsiteY314" fmla="*/ 6335286 h 6858000"/>
              <a:gd name="connsiteX315" fmla="*/ 5526562 w 7467600"/>
              <a:gd name="connsiteY315" fmla="*/ 5705388 h 6858000"/>
              <a:gd name="connsiteX316" fmla="*/ 5519640 w 7467600"/>
              <a:gd name="connsiteY316" fmla="*/ 5683774 h 6858000"/>
              <a:gd name="connsiteX317" fmla="*/ 5844559 w 7467600"/>
              <a:gd name="connsiteY317" fmla="*/ 6553349 h 6858000"/>
              <a:gd name="connsiteX318" fmla="*/ 5975994 w 7467600"/>
              <a:gd name="connsiteY318" fmla="*/ 6858000 h 6858000"/>
              <a:gd name="connsiteX319" fmla="*/ 5898547 w 7467600"/>
              <a:gd name="connsiteY319" fmla="*/ 6858000 h 6858000"/>
              <a:gd name="connsiteX320" fmla="*/ 5682041 w 7467600"/>
              <a:gd name="connsiteY320" fmla="*/ 6355860 h 6858000"/>
              <a:gd name="connsiteX321" fmla="*/ 5461758 w 7467600"/>
              <a:gd name="connsiteY321" fmla="*/ 5820220 h 6858000"/>
              <a:gd name="connsiteX322" fmla="*/ 5237282 w 7467600"/>
              <a:gd name="connsiteY322" fmla="*/ 6579086 h 6858000"/>
              <a:gd name="connsiteX323" fmla="*/ 5115009 w 7467600"/>
              <a:gd name="connsiteY323" fmla="*/ 6858000 h 6858000"/>
              <a:gd name="connsiteX324" fmla="*/ 5028074 w 7467600"/>
              <a:gd name="connsiteY324" fmla="*/ 6858000 h 6858000"/>
              <a:gd name="connsiteX325" fmla="*/ 5079508 w 7467600"/>
              <a:gd name="connsiteY325" fmla="*/ 6749074 h 6858000"/>
              <a:gd name="connsiteX326" fmla="*/ 5371846 w 7467600"/>
              <a:gd name="connsiteY326" fmla="*/ 5924413 h 6858000"/>
              <a:gd name="connsiteX327" fmla="*/ 5270512 w 7467600"/>
              <a:gd name="connsiteY327" fmla="*/ 6138975 h 6858000"/>
              <a:gd name="connsiteX328" fmla="*/ 5062409 w 7467600"/>
              <a:gd name="connsiteY328" fmla="*/ 6653544 h 6858000"/>
              <a:gd name="connsiteX329" fmla="*/ 5036628 w 7467600"/>
              <a:gd name="connsiteY329" fmla="*/ 6754247 h 6858000"/>
              <a:gd name="connsiteX330" fmla="*/ 5009112 w 7467600"/>
              <a:gd name="connsiteY330" fmla="*/ 6858000 h 6858000"/>
              <a:gd name="connsiteX331" fmla="*/ 4976679 w 7467600"/>
              <a:gd name="connsiteY331" fmla="*/ 6858000 h 6858000"/>
              <a:gd name="connsiteX332" fmla="*/ 5006537 w 7467600"/>
              <a:gd name="connsiteY332" fmla="*/ 6747068 h 6858000"/>
              <a:gd name="connsiteX333" fmla="*/ 5032723 w 7467600"/>
              <a:gd name="connsiteY333" fmla="*/ 6644957 h 6858000"/>
              <a:gd name="connsiteX334" fmla="*/ 5242949 w 7467600"/>
              <a:gd name="connsiteY334" fmla="*/ 6125175 h 6858000"/>
              <a:gd name="connsiteX335" fmla="*/ 5286321 w 7467600"/>
              <a:gd name="connsiteY335" fmla="*/ 6033555 h 6858000"/>
              <a:gd name="connsiteX336" fmla="*/ 5008210 w 7467600"/>
              <a:gd name="connsiteY336" fmla="*/ 6649194 h 6858000"/>
              <a:gd name="connsiteX337" fmla="*/ 4986321 w 7467600"/>
              <a:gd name="connsiteY337" fmla="*/ 6765687 h 6858000"/>
              <a:gd name="connsiteX338" fmla="*/ 4973474 w 7467600"/>
              <a:gd name="connsiteY338" fmla="*/ 6858000 h 6858000"/>
              <a:gd name="connsiteX339" fmla="*/ 4907178 w 7467600"/>
              <a:gd name="connsiteY339" fmla="*/ 6858000 h 6858000"/>
              <a:gd name="connsiteX340" fmla="*/ 4910810 w 7467600"/>
              <a:gd name="connsiteY340" fmla="*/ 6829660 h 6858000"/>
              <a:gd name="connsiteX341" fmla="*/ 4987461 w 7467600"/>
              <a:gd name="connsiteY341" fmla="*/ 6432994 h 6858000"/>
              <a:gd name="connsiteX342" fmla="*/ 5179262 w 7467600"/>
              <a:gd name="connsiteY342" fmla="*/ 6035044 h 6858000"/>
              <a:gd name="connsiteX343" fmla="*/ 4689678 w 7467600"/>
              <a:gd name="connsiteY343" fmla="*/ 6440241 h 6858000"/>
              <a:gd name="connsiteX344" fmla="*/ 4477543 w 7467600"/>
              <a:gd name="connsiteY344" fmla="*/ 6674836 h 6858000"/>
              <a:gd name="connsiteX345" fmla="*/ 4329957 w 7467600"/>
              <a:gd name="connsiteY345" fmla="*/ 6858000 h 6858000"/>
              <a:gd name="connsiteX346" fmla="*/ 4218595 w 7467600"/>
              <a:gd name="connsiteY346" fmla="*/ 6858000 h 6858000"/>
              <a:gd name="connsiteX347" fmla="*/ 4368888 w 7467600"/>
              <a:gd name="connsiteY347" fmla="*/ 6668412 h 6858000"/>
              <a:gd name="connsiteX348" fmla="*/ 4563091 w 7467600"/>
              <a:gd name="connsiteY348" fmla="*/ 6442508 h 6858000"/>
              <a:gd name="connsiteX349" fmla="*/ 5387324 w 7467600"/>
              <a:gd name="connsiteY349" fmla="*/ 5705830 h 6858000"/>
              <a:gd name="connsiteX350" fmla="*/ 5073620 w 7467600"/>
              <a:gd name="connsiteY350" fmla="*/ 5955437 h 6858000"/>
              <a:gd name="connsiteX351" fmla="*/ 4689789 w 7467600"/>
              <a:gd name="connsiteY351" fmla="*/ 6268382 h 6858000"/>
              <a:gd name="connsiteX352" fmla="*/ 4418722 w 7467600"/>
              <a:gd name="connsiteY352" fmla="*/ 6570886 h 6858000"/>
              <a:gd name="connsiteX353" fmla="*/ 4214944 w 7467600"/>
              <a:gd name="connsiteY353" fmla="*/ 6858000 h 6858000"/>
              <a:gd name="connsiteX354" fmla="*/ 4177898 w 7467600"/>
              <a:gd name="connsiteY354" fmla="*/ 6858000 h 6858000"/>
              <a:gd name="connsiteX355" fmla="*/ 4391597 w 7467600"/>
              <a:gd name="connsiteY355" fmla="*/ 6556370 h 6858000"/>
              <a:gd name="connsiteX356" fmla="*/ 4668889 w 7467600"/>
              <a:gd name="connsiteY356" fmla="*/ 6246399 h 6858000"/>
              <a:gd name="connsiteX357" fmla="*/ 5055427 w 7467600"/>
              <a:gd name="connsiteY357" fmla="*/ 5931476 h 6858000"/>
              <a:gd name="connsiteX358" fmla="*/ 5371814 w 7467600"/>
              <a:gd name="connsiteY358" fmla="*/ 5678975 h 6858000"/>
              <a:gd name="connsiteX359" fmla="*/ 4987918 w 7467600"/>
              <a:gd name="connsiteY359" fmla="*/ 5838701 h 6858000"/>
              <a:gd name="connsiteX360" fmla="*/ 4317146 w 7467600"/>
              <a:gd name="connsiteY360" fmla="*/ 6587716 h 6858000"/>
              <a:gd name="connsiteX361" fmla="*/ 4171627 w 7467600"/>
              <a:gd name="connsiteY361" fmla="*/ 6858000 h 6858000"/>
              <a:gd name="connsiteX362" fmla="*/ 4081585 w 7467600"/>
              <a:gd name="connsiteY362" fmla="*/ 6858000 h 6858000"/>
              <a:gd name="connsiteX363" fmla="*/ 4238603 w 7467600"/>
              <a:gd name="connsiteY363" fmla="*/ 6559341 h 6858000"/>
              <a:gd name="connsiteX364" fmla="*/ 4778333 w 7467600"/>
              <a:gd name="connsiteY364" fmla="*/ 5873626 h 6858000"/>
              <a:gd name="connsiteX365" fmla="*/ 5414185 w 7467600"/>
              <a:gd name="connsiteY365" fmla="*/ 5573882 h 6858000"/>
              <a:gd name="connsiteX366" fmla="*/ 5959648 w 7467600"/>
              <a:gd name="connsiteY366" fmla="*/ 4760797 h 6858000"/>
              <a:gd name="connsiteX367" fmla="*/ 5355019 w 7467600"/>
              <a:gd name="connsiteY367" fmla="*/ 4734672 h 6858000"/>
              <a:gd name="connsiteX368" fmla="*/ 5083565 w 7467600"/>
              <a:gd name="connsiteY368" fmla="*/ 5179121 h 6858000"/>
              <a:gd name="connsiteX369" fmla="*/ 4713577 w 7467600"/>
              <a:gd name="connsiteY369" fmla="*/ 5616803 h 6858000"/>
              <a:gd name="connsiteX370" fmla="*/ 3989559 w 7467600"/>
              <a:gd name="connsiteY370" fmla="*/ 6145945 h 6858000"/>
              <a:gd name="connsiteX371" fmla="*/ 3939824 w 7467600"/>
              <a:gd name="connsiteY371" fmla="*/ 6066900 h 6858000"/>
              <a:gd name="connsiteX372" fmla="*/ 4584537 w 7467600"/>
              <a:gd name="connsiteY372" fmla="*/ 5324826 h 6858000"/>
              <a:gd name="connsiteX373" fmla="*/ 5037105 w 7467600"/>
              <a:gd name="connsiteY373" fmla="*/ 5088765 h 6858000"/>
              <a:gd name="connsiteX374" fmla="*/ 5039930 w 7467600"/>
              <a:gd name="connsiteY374" fmla="*/ 5089585 h 6858000"/>
              <a:gd name="connsiteX375" fmla="*/ 5263764 w 7467600"/>
              <a:gd name="connsiteY375" fmla="*/ 4735525 h 6858000"/>
              <a:gd name="connsiteX376" fmla="*/ 4086300 w 7467600"/>
              <a:gd name="connsiteY376" fmla="*/ 4884599 h 6858000"/>
              <a:gd name="connsiteX377" fmla="*/ 4085485 w 7467600"/>
              <a:gd name="connsiteY377" fmla="*/ 4899070 h 6858000"/>
              <a:gd name="connsiteX378" fmla="*/ 3871915 w 7467600"/>
              <a:gd name="connsiteY378" fmla="*/ 5253645 h 6858000"/>
              <a:gd name="connsiteX379" fmla="*/ 3799374 w 7467600"/>
              <a:gd name="connsiteY379" fmla="*/ 5466127 h 6858000"/>
              <a:gd name="connsiteX380" fmla="*/ 3498850 w 7467600"/>
              <a:gd name="connsiteY380" fmla="*/ 6661888 h 6858000"/>
              <a:gd name="connsiteX381" fmla="*/ 3399216 w 7467600"/>
              <a:gd name="connsiteY381" fmla="*/ 6858000 h 6858000"/>
              <a:gd name="connsiteX382" fmla="*/ 3303688 w 7467600"/>
              <a:gd name="connsiteY382" fmla="*/ 6858000 h 6858000"/>
              <a:gd name="connsiteX383" fmla="*/ 3391774 w 7467600"/>
              <a:gd name="connsiteY383" fmla="*/ 6697181 h 6858000"/>
              <a:gd name="connsiteX384" fmla="*/ 3735540 w 7467600"/>
              <a:gd name="connsiteY384" fmla="*/ 5546923 h 6858000"/>
              <a:gd name="connsiteX385" fmla="*/ 3729438 w 7467600"/>
              <a:gd name="connsiteY385" fmla="*/ 5569058 h 6858000"/>
              <a:gd name="connsiteX386" fmla="*/ 3707782 w 7467600"/>
              <a:gd name="connsiteY386" fmla="*/ 5644908 h 6858000"/>
              <a:gd name="connsiteX387" fmla="*/ 3583827 w 7467600"/>
              <a:gd name="connsiteY387" fmla="*/ 6039215 h 6858000"/>
              <a:gd name="connsiteX388" fmla="*/ 3547861 w 7467600"/>
              <a:gd name="connsiteY388" fmla="*/ 6129609 h 6858000"/>
              <a:gd name="connsiteX389" fmla="*/ 3490905 w 7467600"/>
              <a:gd name="connsiteY389" fmla="*/ 6277660 h 6858000"/>
              <a:gd name="connsiteX390" fmla="*/ 3455859 w 7467600"/>
              <a:gd name="connsiteY390" fmla="*/ 6391301 h 6858000"/>
              <a:gd name="connsiteX391" fmla="*/ 3429112 w 7467600"/>
              <a:gd name="connsiteY391" fmla="*/ 6479469 h 6858000"/>
              <a:gd name="connsiteX392" fmla="*/ 3304862 w 7467600"/>
              <a:gd name="connsiteY392" fmla="*/ 6796476 h 6858000"/>
              <a:gd name="connsiteX393" fmla="*/ 3276071 w 7467600"/>
              <a:gd name="connsiteY393" fmla="*/ 6858000 h 6858000"/>
              <a:gd name="connsiteX394" fmla="*/ 3240805 w 7467600"/>
              <a:gd name="connsiteY394" fmla="*/ 6858000 h 6858000"/>
              <a:gd name="connsiteX395" fmla="*/ 3275917 w 7467600"/>
              <a:gd name="connsiteY395" fmla="*/ 6783192 h 6858000"/>
              <a:gd name="connsiteX396" fmla="*/ 3399358 w 7467600"/>
              <a:gd name="connsiteY396" fmla="*/ 6469011 h 6858000"/>
              <a:gd name="connsiteX397" fmla="*/ 3425650 w 7467600"/>
              <a:gd name="connsiteY397" fmla="*/ 6381333 h 6858000"/>
              <a:gd name="connsiteX398" fmla="*/ 3460661 w 7467600"/>
              <a:gd name="connsiteY398" fmla="*/ 6266763 h 6858000"/>
              <a:gd name="connsiteX399" fmla="*/ 3518021 w 7467600"/>
              <a:gd name="connsiteY399" fmla="*/ 6117298 h 6858000"/>
              <a:gd name="connsiteX400" fmla="*/ 3554035 w 7467600"/>
              <a:gd name="connsiteY400" fmla="*/ 6027832 h 6858000"/>
              <a:gd name="connsiteX401" fmla="*/ 3677174 w 7467600"/>
              <a:gd name="connsiteY401" fmla="*/ 5636351 h 6858000"/>
              <a:gd name="connsiteX402" fmla="*/ 3698819 w 7467600"/>
              <a:gd name="connsiteY402" fmla="*/ 5560503 h 6858000"/>
              <a:gd name="connsiteX403" fmla="*/ 3702094 w 7467600"/>
              <a:gd name="connsiteY403" fmla="*/ 5549194 h 6858000"/>
              <a:gd name="connsiteX404" fmla="*/ 3398355 w 7467600"/>
              <a:gd name="connsiteY404" fmla="*/ 6094603 h 6858000"/>
              <a:gd name="connsiteX405" fmla="*/ 3193941 w 7467600"/>
              <a:gd name="connsiteY405" fmla="*/ 6798775 h 6858000"/>
              <a:gd name="connsiteX406" fmla="*/ 3184140 w 7467600"/>
              <a:gd name="connsiteY406" fmla="*/ 6858000 h 6858000"/>
              <a:gd name="connsiteX407" fmla="*/ 3099978 w 7467600"/>
              <a:gd name="connsiteY407" fmla="*/ 6858000 h 6858000"/>
              <a:gd name="connsiteX408" fmla="*/ 3101556 w 7467600"/>
              <a:gd name="connsiteY408" fmla="*/ 6843337 h 6858000"/>
              <a:gd name="connsiteX409" fmla="*/ 3370162 w 7467600"/>
              <a:gd name="connsiteY409" fmla="*/ 5785550 h 6858000"/>
              <a:gd name="connsiteX410" fmla="*/ 3746477 w 7467600"/>
              <a:gd name="connsiteY410" fmla="*/ 5377889 h 6858000"/>
              <a:gd name="connsiteX411" fmla="*/ 3863399 w 7467600"/>
              <a:gd name="connsiteY411" fmla="*/ 5087257 h 6858000"/>
              <a:gd name="connsiteX412" fmla="*/ 3968712 w 7467600"/>
              <a:gd name="connsiteY412" fmla="*/ 4913989 h 6858000"/>
              <a:gd name="connsiteX413" fmla="*/ 2792390 w 7467600"/>
              <a:gd name="connsiteY413" fmla="*/ 5382974 h 6858000"/>
              <a:gd name="connsiteX414" fmla="*/ 2714982 w 7467600"/>
              <a:gd name="connsiteY414" fmla="*/ 5427051 h 6858000"/>
              <a:gd name="connsiteX415" fmla="*/ 2813361 w 7467600"/>
              <a:gd name="connsiteY415" fmla="*/ 6023912 h 6858000"/>
              <a:gd name="connsiteX416" fmla="*/ 2688430 w 7467600"/>
              <a:gd name="connsiteY416" fmla="*/ 6801564 h 6858000"/>
              <a:gd name="connsiteX417" fmla="*/ 2629626 w 7467600"/>
              <a:gd name="connsiteY417" fmla="*/ 6763394 h 6858000"/>
              <a:gd name="connsiteX418" fmla="*/ 2565328 w 7467600"/>
              <a:gd name="connsiteY418" fmla="*/ 5516399 h 6858000"/>
              <a:gd name="connsiteX419" fmla="*/ 1922999 w 7467600"/>
              <a:gd name="connsiteY419" fmla="*/ 5980343 h 6858000"/>
              <a:gd name="connsiteX420" fmla="*/ 1950261 w 7467600"/>
              <a:gd name="connsiteY420" fmla="*/ 6405858 h 6858000"/>
              <a:gd name="connsiteX421" fmla="*/ 2365554 w 7467600"/>
              <a:gd name="connsiteY421" fmla="*/ 6759107 h 6858000"/>
              <a:gd name="connsiteX422" fmla="*/ 2424142 w 7467600"/>
              <a:gd name="connsiteY422" fmla="*/ 6858000 h 6858000"/>
              <a:gd name="connsiteX423" fmla="*/ 2395994 w 7467600"/>
              <a:gd name="connsiteY423" fmla="*/ 6858000 h 6858000"/>
              <a:gd name="connsiteX424" fmla="*/ 2392863 w 7467600"/>
              <a:gd name="connsiteY424" fmla="*/ 6852964 h 6858000"/>
              <a:gd name="connsiteX425" fmla="*/ 2017589 w 7467600"/>
              <a:gd name="connsiteY425" fmla="*/ 6493982 h 6858000"/>
              <a:gd name="connsiteX426" fmla="*/ 2147336 w 7467600"/>
              <a:gd name="connsiteY426" fmla="*/ 6594052 h 6858000"/>
              <a:gd name="connsiteX427" fmla="*/ 2207047 w 7467600"/>
              <a:gd name="connsiteY427" fmla="*/ 6654540 h 6858000"/>
              <a:gd name="connsiteX428" fmla="*/ 2299106 w 7467600"/>
              <a:gd name="connsiteY428" fmla="*/ 6778931 h 6858000"/>
              <a:gd name="connsiteX429" fmla="*/ 2314430 w 7467600"/>
              <a:gd name="connsiteY429" fmla="*/ 6801144 h 6858000"/>
              <a:gd name="connsiteX430" fmla="*/ 2352406 w 7467600"/>
              <a:gd name="connsiteY430" fmla="*/ 6858000 h 6858000"/>
              <a:gd name="connsiteX431" fmla="*/ 2314492 w 7467600"/>
              <a:gd name="connsiteY431" fmla="*/ 6858000 h 6858000"/>
              <a:gd name="connsiteX432" fmla="*/ 2288095 w 7467600"/>
              <a:gd name="connsiteY432" fmla="*/ 6818030 h 6858000"/>
              <a:gd name="connsiteX433" fmla="*/ 2272768 w 7467600"/>
              <a:gd name="connsiteY433" fmla="*/ 6795822 h 6858000"/>
              <a:gd name="connsiteX434" fmla="*/ 2182715 w 7467600"/>
              <a:gd name="connsiteY434" fmla="*/ 6675071 h 6858000"/>
              <a:gd name="connsiteX435" fmla="*/ 2032061 w 7467600"/>
              <a:gd name="connsiteY435" fmla="*/ 6541380 h 6858000"/>
              <a:gd name="connsiteX436" fmla="*/ 2257220 w 7467600"/>
              <a:gd name="connsiteY436" fmla="*/ 6826257 h 6858000"/>
              <a:gd name="connsiteX437" fmla="*/ 2281324 w 7467600"/>
              <a:gd name="connsiteY437" fmla="*/ 6858000 h 6858000"/>
              <a:gd name="connsiteX438" fmla="*/ 2242860 w 7467600"/>
              <a:gd name="connsiteY438" fmla="*/ 6858000 h 6858000"/>
              <a:gd name="connsiteX439" fmla="*/ 2232818 w 7467600"/>
              <a:gd name="connsiteY439" fmla="*/ 6844926 h 6858000"/>
              <a:gd name="connsiteX440" fmla="*/ 1990172 w 7467600"/>
              <a:gd name="connsiteY440" fmla="*/ 6542121 h 6858000"/>
              <a:gd name="connsiteX441" fmla="*/ 2124090 w 7467600"/>
              <a:gd name="connsiteY441" fmla="*/ 6761017 h 6858000"/>
              <a:gd name="connsiteX442" fmla="*/ 2200380 w 7467600"/>
              <a:gd name="connsiteY442" fmla="*/ 6858000 h 6858000"/>
              <a:gd name="connsiteX443" fmla="*/ 2147507 w 7467600"/>
              <a:gd name="connsiteY443" fmla="*/ 6858000 h 6858000"/>
              <a:gd name="connsiteX444" fmla="*/ 2070668 w 7467600"/>
              <a:gd name="connsiteY444" fmla="*/ 6761520 h 6858000"/>
              <a:gd name="connsiteX445" fmla="*/ 1975142 w 7467600"/>
              <a:gd name="connsiteY445" fmla="*/ 6585570 h 6858000"/>
              <a:gd name="connsiteX446" fmla="*/ 2050035 w 7467600"/>
              <a:gd name="connsiteY446" fmla="*/ 6813345 h 6858000"/>
              <a:gd name="connsiteX447" fmla="*/ 2063025 w 7467600"/>
              <a:gd name="connsiteY447" fmla="*/ 6858000 h 6858000"/>
              <a:gd name="connsiteX448" fmla="*/ 2021675 w 7467600"/>
              <a:gd name="connsiteY448" fmla="*/ 6858000 h 6858000"/>
              <a:gd name="connsiteX449" fmla="*/ 2019308 w 7467600"/>
              <a:gd name="connsiteY449" fmla="*/ 6847118 h 6858000"/>
              <a:gd name="connsiteX450" fmla="*/ 1938835 w 7467600"/>
              <a:gd name="connsiteY450" fmla="*/ 6551160 h 6858000"/>
              <a:gd name="connsiteX451" fmla="*/ 1953230 w 7467600"/>
              <a:gd name="connsiteY451" fmla="*/ 6759699 h 6858000"/>
              <a:gd name="connsiteX452" fmla="*/ 1956763 w 7467600"/>
              <a:gd name="connsiteY452" fmla="*/ 6778191 h 6858000"/>
              <a:gd name="connsiteX453" fmla="*/ 1967925 w 7467600"/>
              <a:gd name="connsiteY453" fmla="*/ 6858000 h 6858000"/>
              <a:gd name="connsiteX454" fmla="*/ 1936622 w 7467600"/>
              <a:gd name="connsiteY454" fmla="*/ 6858000 h 6858000"/>
              <a:gd name="connsiteX455" fmla="*/ 1926261 w 7467600"/>
              <a:gd name="connsiteY455" fmla="*/ 6784064 h 6858000"/>
              <a:gd name="connsiteX456" fmla="*/ 1922724 w 7467600"/>
              <a:gd name="connsiteY456" fmla="*/ 6765577 h 6858000"/>
              <a:gd name="connsiteX457" fmla="*/ 1904650 w 7467600"/>
              <a:gd name="connsiteY457" fmla="*/ 6639616 h 6858000"/>
              <a:gd name="connsiteX458" fmla="*/ 1885273 w 7467600"/>
              <a:gd name="connsiteY458" fmla="*/ 6858000 h 6858000"/>
              <a:gd name="connsiteX459" fmla="*/ 1854363 w 7467600"/>
              <a:gd name="connsiteY459" fmla="*/ 6858000 h 6858000"/>
              <a:gd name="connsiteX460" fmla="*/ 1880391 w 7467600"/>
              <a:gd name="connsiteY460" fmla="*/ 6603796 h 6858000"/>
              <a:gd name="connsiteX461" fmla="*/ 1818273 w 7467600"/>
              <a:gd name="connsiteY461" fmla="*/ 6715729 h 6858000"/>
              <a:gd name="connsiteX462" fmla="*/ 1794691 w 7467600"/>
              <a:gd name="connsiteY462" fmla="*/ 6843239 h 6858000"/>
              <a:gd name="connsiteX463" fmla="*/ 1794914 w 7467600"/>
              <a:gd name="connsiteY463" fmla="*/ 6858000 h 6858000"/>
              <a:gd name="connsiteX464" fmla="*/ 1746128 w 7467600"/>
              <a:gd name="connsiteY464" fmla="*/ 6858000 h 6858000"/>
              <a:gd name="connsiteX465" fmla="*/ 1753934 w 7467600"/>
              <a:gd name="connsiteY465" fmla="*/ 6724796 h 6858000"/>
              <a:gd name="connsiteX466" fmla="*/ 1792053 w 7467600"/>
              <a:gd name="connsiteY466" fmla="*/ 6572396 h 6858000"/>
              <a:gd name="connsiteX467" fmla="*/ 1862248 w 7467600"/>
              <a:gd name="connsiteY467" fmla="*/ 6266397 h 6858000"/>
              <a:gd name="connsiteX468" fmla="*/ 1862250 w 7467600"/>
              <a:gd name="connsiteY468" fmla="*/ 6033531 h 6858000"/>
              <a:gd name="connsiteX469" fmla="*/ 1211999 w 7467600"/>
              <a:gd name="connsiteY469" fmla="*/ 6683610 h 6858000"/>
              <a:gd name="connsiteX470" fmla="*/ 1213266 w 7467600"/>
              <a:gd name="connsiteY470" fmla="*/ 6691947 h 6858000"/>
              <a:gd name="connsiteX471" fmla="*/ 1203370 w 7467600"/>
              <a:gd name="connsiteY471" fmla="*/ 6850676 h 6858000"/>
              <a:gd name="connsiteX472" fmla="*/ 1203671 w 7467600"/>
              <a:gd name="connsiteY472" fmla="*/ 6858000 h 6858000"/>
              <a:gd name="connsiteX473" fmla="*/ 1143180 w 7467600"/>
              <a:gd name="connsiteY473" fmla="*/ 6858000 h 6858000"/>
              <a:gd name="connsiteX474" fmla="*/ 1142176 w 7467600"/>
              <a:gd name="connsiteY474" fmla="*/ 6766045 h 6858000"/>
              <a:gd name="connsiteX475" fmla="*/ 1067484 w 7467600"/>
              <a:gd name="connsiteY475" fmla="*/ 6858000 h 6858000"/>
              <a:gd name="connsiteX476" fmla="*/ 953928 w 7467600"/>
              <a:gd name="connsiteY476" fmla="*/ 6858000 h 6858000"/>
              <a:gd name="connsiteX477" fmla="*/ 959715 w 7467600"/>
              <a:gd name="connsiteY477" fmla="*/ 6850185 h 6858000"/>
              <a:gd name="connsiteX478" fmla="*/ 1483788 w 7467600"/>
              <a:gd name="connsiteY478" fmla="*/ 6259174 h 6858000"/>
              <a:gd name="connsiteX479" fmla="*/ 1100671 w 7467600"/>
              <a:gd name="connsiteY479" fmla="*/ 6252137 h 6858000"/>
              <a:gd name="connsiteX480" fmla="*/ 1090144 w 7467600"/>
              <a:gd name="connsiteY480" fmla="*/ 6256748 h 6858000"/>
              <a:gd name="connsiteX481" fmla="*/ 1095872 w 7467600"/>
              <a:gd name="connsiteY481" fmla="*/ 6271892 h 6858000"/>
              <a:gd name="connsiteX482" fmla="*/ 262785 w 7467600"/>
              <a:gd name="connsiteY482" fmla="*/ 6845450 h 6858000"/>
              <a:gd name="connsiteX483" fmla="*/ 209968 w 7467600"/>
              <a:gd name="connsiteY483" fmla="*/ 6770713 h 6858000"/>
              <a:gd name="connsiteX484" fmla="*/ 873460 w 7467600"/>
              <a:gd name="connsiteY484" fmla="*/ 6253768 h 6858000"/>
              <a:gd name="connsiteX485" fmla="*/ 192686 w 7467600"/>
              <a:gd name="connsiteY485" fmla="*/ 5849257 h 6858000"/>
              <a:gd name="connsiteX486" fmla="*/ 4696 w 7467600"/>
              <a:gd name="connsiteY486" fmla="*/ 5697668 h 6858000"/>
              <a:gd name="connsiteX487" fmla="*/ 0 w 7467600"/>
              <a:gd name="connsiteY487" fmla="*/ 5689984 h 6858000"/>
              <a:gd name="connsiteX488" fmla="*/ 0 w 7467600"/>
              <a:gd name="connsiteY488" fmla="*/ 5513472 h 6858000"/>
              <a:gd name="connsiteX489" fmla="*/ 174101 w 7467600"/>
              <a:gd name="connsiteY489" fmla="*/ 5620277 h 6858000"/>
              <a:gd name="connsiteX490" fmla="*/ 891800 w 7467600"/>
              <a:gd name="connsiteY490" fmla="*/ 6036935 h 6858000"/>
              <a:gd name="connsiteX491" fmla="*/ 1072219 w 7467600"/>
              <a:gd name="connsiteY491" fmla="*/ 6169443 h 6858000"/>
              <a:gd name="connsiteX492" fmla="*/ 1074117 w 7467600"/>
              <a:gd name="connsiteY492" fmla="*/ 6170301 h 6858000"/>
              <a:gd name="connsiteX493" fmla="*/ 1083114 w 7467600"/>
              <a:gd name="connsiteY493" fmla="*/ 6174131 h 6858000"/>
              <a:gd name="connsiteX494" fmla="*/ 1543010 w 7467600"/>
              <a:gd name="connsiteY494" fmla="*/ 6191140 h 6858000"/>
              <a:gd name="connsiteX495" fmla="*/ 1551080 w 7467600"/>
              <a:gd name="connsiteY495" fmla="*/ 6195006 h 6858000"/>
              <a:gd name="connsiteX496" fmla="*/ 2345443 w 7467600"/>
              <a:gd name="connsiteY496" fmla="*/ 5549882 h 6858000"/>
              <a:gd name="connsiteX497" fmla="*/ 1721499 w 7467600"/>
              <a:gd name="connsiteY497" fmla="*/ 5599969 h 6858000"/>
              <a:gd name="connsiteX498" fmla="*/ 767716 w 7467600"/>
              <a:gd name="connsiteY498" fmla="*/ 5472768 h 6858000"/>
              <a:gd name="connsiteX499" fmla="*/ 722147 w 7467600"/>
              <a:gd name="connsiteY499" fmla="*/ 5393091 h 6858000"/>
              <a:gd name="connsiteX500" fmla="*/ 1485552 w 7467600"/>
              <a:gd name="connsiteY500" fmla="*/ 5313202 h 6858000"/>
              <a:gd name="connsiteX501" fmla="*/ 2143004 w 7467600"/>
              <a:gd name="connsiteY501" fmla="*/ 5402420 h 6858000"/>
              <a:gd name="connsiteX502" fmla="*/ 1933391 w 7467600"/>
              <a:gd name="connsiteY502" fmla="*/ 5156971 h 6858000"/>
              <a:gd name="connsiteX503" fmla="*/ 1827118 w 7467600"/>
              <a:gd name="connsiteY503" fmla="*/ 4968410 h 6858000"/>
              <a:gd name="connsiteX504" fmla="*/ 1837349 w 7467600"/>
              <a:gd name="connsiteY504" fmla="*/ 4956357 h 6858000"/>
              <a:gd name="connsiteX505" fmla="*/ 2162835 w 7467600"/>
              <a:gd name="connsiteY505" fmla="*/ 5187853 h 6858000"/>
              <a:gd name="connsiteX506" fmla="*/ 2257167 w 7467600"/>
              <a:gd name="connsiteY506" fmla="*/ 5462123 h 6858000"/>
              <a:gd name="connsiteX507" fmla="*/ 2261598 w 7467600"/>
              <a:gd name="connsiteY507" fmla="*/ 5467998 h 6858000"/>
              <a:gd name="connsiteX508" fmla="*/ 2437177 w 7467600"/>
              <a:gd name="connsiteY508" fmla="*/ 5479608 h 6858000"/>
              <a:gd name="connsiteX509" fmla="*/ 2445247 w 7467600"/>
              <a:gd name="connsiteY509" fmla="*/ 5483476 h 6858000"/>
              <a:gd name="connsiteX510" fmla="*/ 2743626 w 7467600"/>
              <a:gd name="connsiteY510" fmla="*/ 5304819 h 6858000"/>
              <a:gd name="connsiteX511" fmla="*/ 3048102 w 7467600"/>
              <a:gd name="connsiteY511" fmla="*/ 5150595 h 6858000"/>
              <a:gd name="connsiteX512" fmla="*/ 1799414 w 7467600"/>
              <a:gd name="connsiteY512" fmla="*/ 4694732 h 6858000"/>
              <a:gd name="connsiteX513" fmla="*/ 1771735 w 7467600"/>
              <a:gd name="connsiteY513" fmla="*/ 4619929 h 6858000"/>
              <a:gd name="connsiteX514" fmla="*/ 3104273 w 7467600"/>
              <a:gd name="connsiteY514" fmla="*/ 5076159 h 6858000"/>
              <a:gd name="connsiteX515" fmla="*/ 3113245 w 7467600"/>
              <a:gd name="connsiteY515" fmla="*/ 5090705 h 6858000"/>
              <a:gd name="connsiteX516" fmla="*/ 3126294 w 7467600"/>
              <a:gd name="connsiteY516" fmla="*/ 5114400 h 6858000"/>
              <a:gd name="connsiteX517" fmla="*/ 3937433 w 7467600"/>
              <a:gd name="connsiteY517" fmla="*/ 4830473 h 6858000"/>
              <a:gd name="connsiteX518" fmla="*/ 3590475 w 7467600"/>
              <a:gd name="connsiteY518" fmla="*/ 4597974 h 6858000"/>
              <a:gd name="connsiteX519" fmla="*/ 3100264 w 7467600"/>
              <a:gd name="connsiteY519" fmla="*/ 4579845 h 6858000"/>
              <a:gd name="connsiteX520" fmla="*/ 2183576 w 7467600"/>
              <a:gd name="connsiteY520" fmla="*/ 4227150 h 6858000"/>
              <a:gd name="connsiteX521" fmla="*/ 2151029 w 7467600"/>
              <a:gd name="connsiteY521" fmla="*/ 4146947 h 6858000"/>
              <a:gd name="connsiteX522" fmla="*/ 3563434 w 7467600"/>
              <a:gd name="connsiteY522" fmla="*/ 4469115 h 6858000"/>
              <a:gd name="connsiteX523" fmla="*/ 3177952 w 7467600"/>
              <a:gd name="connsiteY523" fmla="*/ 3657386 h 6858000"/>
              <a:gd name="connsiteX524" fmla="*/ 3189263 w 7467600"/>
              <a:gd name="connsiteY524" fmla="*/ 3625726 h 6858000"/>
              <a:gd name="connsiteX525" fmla="*/ 3560912 w 7467600"/>
              <a:gd name="connsiteY525" fmla="*/ 4079863 h 6858000"/>
              <a:gd name="connsiteX526" fmla="*/ 3626636 w 7467600"/>
              <a:gd name="connsiteY526" fmla="*/ 4512230 h 6858000"/>
              <a:gd name="connsiteX527" fmla="*/ 3653088 w 7467600"/>
              <a:gd name="connsiteY527" fmla="*/ 4521417 h 6858000"/>
              <a:gd name="connsiteX528" fmla="*/ 3988128 w 7467600"/>
              <a:gd name="connsiteY528" fmla="*/ 4817267 h 6858000"/>
              <a:gd name="connsiteX529" fmla="*/ 4830582 w 7467600"/>
              <a:gd name="connsiteY529" fmla="*/ 4676000 h 6858000"/>
              <a:gd name="connsiteX530" fmla="*/ 4830100 w 7467600"/>
              <a:gd name="connsiteY530" fmla="*/ 4675554 h 6858000"/>
              <a:gd name="connsiteX531" fmla="*/ 4036318 w 7467600"/>
              <a:gd name="connsiteY531" fmla="*/ 4147013 h 6858000"/>
              <a:gd name="connsiteX532" fmla="*/ 3432098 w 7467600"/>
              <a:gd name="connsiteY532" fmla="*/ 3537312 h 6858000"/>
              <a:gd name="connsiteX533" fmla="*/ 3446761 w 7467600"/>
              <a:gd name="connsiteY533" fmla="*/ 3461278 h 6858000"/>
              <a:gd name="connsiteX534" fmla="*/ 4419733 w 7467600"/>
              <a:gd name="connsiteY534" fmla="*/ 3963555 h 6858000"/>
              <a:gd name="connsiteX535" fmla="*/ 4781371 w 7467600"/>
              <a:gd name="connsiteY535" fmla="*/ 4458604 h 6858000"/>
              <a:gd name="connsiteX536" fmla="*/ 4780440 w 7467600"/>
              <a:gd name="connsiteY536" fmla="*/ 4470290 h 6858000"/>
              <a:gd name="connsiteX537" fmla="*/ 4898954 w 7467600"/>
              <a:gd name="connsiteY537" fmla="*/ 4662092 h 6858000"/>
              <a:gd name="connsiteX538" fmla="*/ 4900699 w 7467600"/>
              <a:gd name="connsiteY538" fmla="*/ 4670867 h 6858000"/>
              <a:gd name="connsiteX539" fmla="*/ 5714511 w 7467600"/>
              <a:gd name="connsiteY539" fmla="*/ 4663483 h 6858000"/>
              <a:gd name="connsiteX540" fmla="*/ 5464793 w 7467600"/>
              <a:gd name="connsiteY540" fmla="*/ 4393556 h 6858000"/>
              <a:gd name="connsiteX541" fmla="*/ 5461897 w 7467600"/>
              <a:gd name="connsiteY541" fmla="*/ 4390879 h 6858000"/>
              <a:gd name="connsiteX542" fmla="*/ 4294126 w 7467600"/>
              <a:gd name="connsiteY542" fmla="*/ 3303048 h 6858000"/>
              <a:gd name="connsiteX543" fmla="*/ 4305321 w 7467600"/>
              <a:gd name="connsiteY543" fmla="*/ 3256953 h 6858000"/>
              <a:gd name="connsiteX544" fmla="*/ 4949299 w 7467600"/>
              <a:gd name="connsiteY544" fmla="*/ 3766336 h 6858000"/>
              <a:gd name="connsiteX545" fmla="*/ 5291452 w 7467600"/>
              <a:gd name="connsiteY545" fmla="*/ 4076801 h 6858000"/>
              <a:gd name="connsiteX546" fmla="*/ 5434998 w 7467600"/>
              <a:gd name="connsiteY546" fmla="*/ 4254100 h 6858000"/>
              <a:gd name="connsiteX547" fmla="*/ 5351015 w 7467600"/>
              <a:gd name="connsiteY547" fmla="*/ 3760989 h 6858000"/>
              <a:gd name="connsiteX548" fmla="*/ 5413780 w 7467600"/>
              <a:gd name="connsiteY548" fmla="*/ 2966265 h 6858000"/>
              <a:gd name="connsiteX549" fmla="*/ 5425627 w 7467600"/>
              <a:gd name="connsiteY549" fmla="*/ 2954192 h 6858000"/>
              <a:gd name="connsiteX550" fmla="*/ 6604735 w 7467600"/>
              <a:gd name="connsiteY550" fmla="*/ 2041381 h 6858000"/>
              <a:gd name="connsiteX551" fmla="*/ 7204487 w 7467600"/>
              <a:gd name="connsiteY551" fmla="*/ 2742112 h 6858000"/>
              <a:gd name="connsiteX552" fmla="*/ 7131592 w 7467600"/>
              <a:gd name="connsiteY552" fmla="*/ 2672096 h 6858000"/>
              <a:gd name="connsiteX553" fmla="*/ 6996344 w 7467600"/>
              <a:gd name="connsiteY553" fmla="*/ 2518310 h 6858000"/>
              <a:gd name="connsiteX554" fmla="*/ 6735495 w 7467600"/>
              <a:gd name="connsiteY554" fmla="*/ 2196890 h 6858000"/>
              <a:gd name="connsiteX555" fmla="*/ 6721901 w 7467600"/>
              <a:gd name="connsiteY555" fmla="*/ 2179274 h 6858000"/>
              <a:gd name="connsiteX556" fmla="*/ 6604735 w 7467600"/>
              <a:gd name="connsiteY556" fmla="*/ 2041381 h 6858000"/>
              <a:gd name="connsiteX557" fmla="*/ 6591670 w 7467600"/>
              <a:gd name="connsiteY557" fmla="*/ 1988277 h 6858000"/>
              <a:gd name="connsiteX558" fmla="*/ 6747349 w 7467600"/>
              <a:gd name="connsiteY558" fmla="*/ 2160069 h 6858000"/>
              <a:gd name="connsiteX559" fmla="*/ 6760943 w 7467600"/>
              <a:gd name="connsiteY559" fmla="*/ 2177686 h 6858000"/>
              <a:gd name="connsiteX560" fmla="*/ 7021065 w 7467600"/>
              <a:gd name="connsiteY560" fmla="*/ 2498102 h 6858000"/>
              <a:gd name="connsiteX561" fmla="*/ 7155223 w 7467600"/>
              <a:gd name="connsiteY561" fmla="*/ 2650386 h 6858000"/>
              <a:gd name="connsiteX562" fmla="*/ 7203167 w 7467600"/>
              <a:gd name="connsiteY562" fmla="*/ 2697288 h 6858000"/>
              <a:gd name="connsiteX563" fmla="*/ 6937703 w 7467600"/>
              <a:gd name="connsiteY563" fmla="*/ 2321981 h 6858000"/>
              <a:gd name="connsiteX564" fmla="*/ 6591670 w 7467600"/>
              <a:gd name="connsiteY564" fmla="*/ 1988277 h 6858000"/>
              <a:gd name="connsiteX565" fmla="*/ 5798671 w 7467600"/>
              <a:gd name="connsiteY565" fmla="*/ 1981601 h 6858000"/>
              <a:gd name="connsiteX566" fmla="*/ 5754709 w 7467600"/>
              <a:gd name="connsiteY566" fmla="*/ 2071454 h 6858000"/>
              <a:gd name="connsiteX567" fmla="*/ 5763044 w 7467600"/>
              <a:gd name="connsiteY567" fmla="*/ 2842206 h 6858000"/>
              <a:gd name="connsiteX568" fmla="*/ 5764974 w 7467600"/>
              <a:gd name="connsiteY568" fmla="*/ 2799609 h 6858000"/>
              <a:gd name="connsiteX569" fmla="*/ 5767665 w 7467600"/>
              <a:gd name="connsiteY569" fmla="*/ 2666409 h 6858000"/>
              <a:gd name="connsiteX570" fmla="*/ 5763055 w 7467600"/>
              <a:gd name="connsiteY570" fmla="*/ 2579705 h 6858000"/>
              <a:gd name="connsiteX571" fmla="*/ 5758079 w 7467600"/>
              <a:gd name="connsiteY571" fmla="*/ 2492508 h 6858000"/>
              <a:gd name="connsiteX572" fmla="*/ 5779325 w 7467600"/>
              <a:gd name="connsiteY572" fmla="*/ 2197069 h 6858000"/>
              <a:gd name="connsiteX573" fmla="*/ 5798671 w 7467600"/>
              <a:gd name="connsiteY573" fmla="*/ 1981601 h 6858000"/>
              <a:gd name="connsiteX574" fmla="*/ 5829202 w 7467600"/>
              <a:gd name="connsiteY574" fmla="*/ 1971679 h 6858000"/>
              <a:gd name="connsiteX575" fmla="*/ 5809558 w 7467600"/>
              <a:gd name="connsiteY575" fmla="*/ 2198043 h 6858000"/>
              <a:gd name="connsiteX576" fmla="*/ 5788653 w 7467600"/>
              <a:gd name="connsiteY576" fmla="*/ 2489430 h 6858000"/>
              <a:gd name="connsiteX577" fmla="*/ 5793439 w 7467600"/>
              <a:gd name="connsiteY577" fmla="*/ 2575235 h 6858000"/>
              <a:gd name="connsiteX578" fmla="*/ 5796837 w 7467600"/>
              <a:gd name="connsiteY578" fmla="*/ 2637633 h 6858000"/>
              <a:gd name="connsiteX579" fmla="*/ 5818614 w 7467600"/>
              <a:gd name="connsiteY579" fmla="*/ 2473055 h 6858000"/>
              <a:gd name="connsiteX580" fmla="*/ 5829202 w 7467600"/>
              <a:gd name="connsiteY580" fmla="*/ 1971679 h 6858000"/>
              <a:gd name="connsiteX581" fmla="*/ 5911389 w 7467600"/>
              <a:gd name="connsiteY581" fmla="*/ 1898371 h 6858000"/>
              <a:gd name="connsiteX582" fmla="*/ 6237627 w 7467600"/>
              <a:gd name="connsiteY582" fmla="*/ 2231921 h 6858000"/>
              <a:gd name="connsiteX583" fmla="*/ 5911389 w 7467600"/>
              <a:gd name="connsiteY583" fmla="*/ 1898371 h 6858000"/>
              <a:gd name="connsiteX584" fmla="*/ 6944437 w 7467600"/>
              <a:gd name="connsiteY584" fmla="*/ 1575402 h 6858000"/>
              <a:gd name="connsiteX585" fmla="*/ 6304730 w 7467600"/>
              <a:gd name="connsiteY585" fmla="*/ 1766654 h 6858000"/>
              <a:gd name="connsiteX586" fmla="*/ 6944437 w 7467600"/>
              <a:gd name="connsiteY586" fmla="*/ 1575402 h 6858000"/>
              <a:gd name="connsiteX587" fmla="*/ 7019523 w 7467600"/>
              <a:gd name="connsiteY587" fmla="*/ 1519450 h 6858000"/>
              <a:gd name="connsiteX588" fmla="*/ 6298091 w 7467600"/>
              <a:gd name="connsiteY588" fmla="*/ 1737122 h 6858000"/>
              <a:gd name="connsiteX589" fmla="*/ 7019523 w 7467600"/>
              <a:gd name="connsiteY589" fmla="*/ 1519450 h 6858000"/>
              <a:gd name="connsiteX590" fmla="*/ 2399523 w 7467600"/>
              <a:gd name="connsiteY590" fmla="*/ 1428234 h 6858000"/>
              <a:gd name="connsiteX591" fmla="*/ 2224982 w 7467600"/>
              <a:gd name="connsiteY591" fmla="*/ 1826201 h 6858000"/>
              <a:gd name="connsiteX592" fmla="*/ 2096099 w 7467600"/>
              <a:gd name="connsiteY592" fmla="*/ 2345900 h 6858000"/>
              <a:gd name="connsiteX593" fmla="*/ 2283317 w 7467600"/>
              <a:gd name="connsiteY593" fmla="*/ 1796925 h 6858000"/>
              <a:gd name="connsiteX594" fmla="*/ 2399523 w 7467600"/>
              <a:gd name="connsiteY594" fmla="*/ 1428234 h 6858000"/>
              <a:gd name="connsiteX595" fmla="*/ 2448558 w 7467600"/>
              <a:gd name="connsiteY595" fmla="*/ 1373435 h 6858000"/>
              <a:gd name="connsiteX596" fmla="*/ 2312521 w 7467600"/>
              <a:gd name="connsiteY596" fmla="*/ 1806140 h 6858000"/>
              <a:gd name="connsiteX597" fmla="*/ 2127533 w 7467600"/>
              <a:gd name="connsiteY597" fmla="*/ 2348380 h 6858000"/>
              <a:gd name="connsiteX598" fmla="*/ 2358080 w 7467600"/>
              <a:gd name="connsiteY598" fmla="*/ 1866134 h 6858000"/>
              <a:gd name="connsiteX599" fmla="*/ 2407436 w 7467600"/>
              <a:gd name="connsiteY599" fmla="*/ 1651070 h 6858000"/>
              <a:gd name="connsiteX600" fmla="*/ 2448558 w 7467600"/>
              <a:gd name="connsiteY600" fmla="*/ 1373435 h 6858000"/>
              <a:gd name="connsiteX601" fmla="*/ 278707 w 7467600"/>
              <a:gd name="connsiteY601" fmla="*/ 1352270 h 6858000"/>
              <a:gd name="connsiteX602" fmla="*/ 321570 w 7467600"/>
              <a:gd name="connsiteY602" fmla="*/ 1861610 h 6858000"/>
              <a:gd name="connsiteX603" fmla="*/ 294281 w 7467600"/>
              <a:gd name="connsiteY603" fmla="*/ 1440658 h 6858000"/>
              <a:gd name="connsiteX604" fmla="*/ 278707 w 7467600"/>
              <a:gd name="connsiteY604" fmla="*/ 1352270 h 6858000"/>
              <a:gd name="connsiteX605" fmla="*/ 1423821 w 7467600"/>
              <a:gd name="connsiteY605" fmla="*/ 1351958 h 6858000"/>
              <a:gd name="connsiteX606" fmla="*/ 1638521 w 7467600"/>
              <a:gd name="connsiteY606" fmla="*/ 1908470 h 6858000"/>
              <a:gd name="connsiteX607" fmla="*/ 1754199 w 7467600"/>
              <a:gd name="connsiteY607" fmla="*/ 2149284 h 6858000"/>
              <a:gd name="connsiteX608" fmla="*/ 1908359 w 7467600"/>
              <a:gd name="connsiteY608" fmla="*/ 2364988 h 6858000"/>
              <a:gd name="connsiteX609" fmla="*/ 1647661 w 7467600"/>
              <a:gd name="connsiteY609" fmla="*/ 1825945 h 6858000"/>
              <a:gd name="connsiteX610" fmla="*/ 1423821 w 7467600"/>
              <a:gd name="connsiteY610" fmla="*/ 1351958 h 6858000"/>
              <a:gd name="connsiteX611" fmla="*/ 1431890 w 7467600"/>
              <a:gd name="connsiteY611" fmla="*/ 1306475 h 6858000"/>
              <a:gd name="connsiteX612" fmla="*/ 1507597 w 7467600"/>
              <a:gd name="connsiteY612" fmla="*/ 1446132 h 6858000"/>
              <a:gd name="connsiteX613" fmla="*/ 1674586 w 7467600"/>
              <a:gd name="connsiteY613" fmla="*/ 1813832 h 6858000"/>
              <a:gd name="connsiteX614" fmla="*/ 1815950 w 7467600"/>
              <a:gd name="connsiteY614" fmla="*/ 2128564 h 6858000"/>
              <a:gd name="connsiteX615" fmla="*/ 1984242 w 7467600"/>
              <a:gd name="connsiteY615" fmla="*/ 2430829 h 6858000"/>
              <a:gd name="connsiteX616" fmla="*/ 2014023 w 7467600"/>
              <a:gd name="connsiteY616" fmla="*/ 2450995 h 6858000"/>
              <a:gd name="connsiteX617" fmla="*/ 1747337 w 7467600"/>
              <a:gd name="connsiteY617" fmla="*/ 1855264 h 6858000"/>
              <a:gd name="connsiteX618" fmla="*/ 1533749 w 7467600"/>
              <a:gd name="connsiteY618" fmla="*/ 1478656 h 6858000"/>
              <a:gd name="connsiteX619" fmla="*/ 1431890 w 7467600"/>
              <a:gd name="connsiteY619" fmla="*/ 1306475 h 6858000"/>
              <a:gd name="connsiteX620" fmla="*/ 5052692 w 7467600"/>
              <a:gd name="connsiteY620" fmla="*/ 1292994 h 6858000"/>
              <a:gd name="connsiteX621" fmla="*/ 5200661 w 7467600"/>
              <a:gd name="connsiteY621" fmla="*/ 1635186 h 6858000"/>
              <a:gd name="connsiteX622" fmla="*/ 5297138 w 7467600"/>
              <a:gd name="connsiteY622" fmla="*/ 1906351 h 6858000"/>
              <a:gd name="connsiteX623" fmla="*/ 5052692 w 7467600"/>
              <a:gd name="connsiteY623" fmla="*/ 1292994 h 6858000"/>
              <a:gd name="connsiteX624" fmla="*/ 5009948 w 7467600"/>
              <a:gd name="connsiteY624" fmla="*/ 1273619 h 6858000"/>
              <a:gd name="connsiteX625" fmla="*/ 5121777 w 7467600"/>
              <a:gd name="connsiteY625" fmla="*/ 1654213 h 6858000"/>
              <a:gd name="connsiteX626" fmla="*/ 5293545 w 7467600"/>
              <a:gd name="connsiteY626" fmla="*/ 2072247 h 6858000"/>
              <a:gd name="connsiteX627" fmla="*/ 5294042 w 7467600"/>
              <a:gd name="connsiteY627" fmla="*/ 2065019 h 6858000"/>
              <a:gd name="connsiteX628" fmla="*/ 5171936 w 7467600"/>
              <a:gd name="connsiteY628" fmla="*/ 1647613 h 6858000"/>
              <a:gd name="connsiteX629" fmla="*/ 5009948 w 7467600"/>
              <a:gd name="connsiteY629" fmla="*/ 1273619 h 6858000"/>
              <a:gd name="connsiteX630" fmla="*/ 655236 w 7467600"/>
              <a:gd name="connsiteY630" fmla="*/ 1268632 h 6858000"/>
              <a:gd name="connsiteX631" fmla="*/ 839521 w 7467600"/>
              <a:gd name="connsiteY631" fmla="*/ 1685315 h 6858000"/>
              <a:gd name="connsiteX632" fmla="*/ 1109416 w 7467600"/>
              <a:gd name="connsiteY632" fmla="*/ 2061663 h 6858000"/>
              <a:gd name="connsiteX633" fmla="*/ 1298300 w 7467600"/>
              <a:gd name="connsiteY633" fmla="*/ 2247742 h 6858000"/>
              <a:gd name="connsiteX634" fmla="*/ 1125871 w 7467600"/>
              <a:gd name="connsiteY634" fmla="*/ 1989513 h 6858000"/>
              <a:gd name="connsiteX635" fmla="*/ 981574 w 7467600"/>
              <a:gd name="connsiteY635" fmla="*/ 1783157 h 6858000"/>
              <a:gd name="connsiteX636" fmla="*/ 922198 w 7467600"/>
              <a:gd name="connsiteY636" fmla="*/ 1677437 h 6858000"/>
              <a:gd name="connsiteX637" fmla="*/ 869293 w 7467600"/>
              <a:gd name="connsiteY637" fmla="*/ 1583214 h 6858000"/>
              <a:gd name="connsiteX638" fmla="*/ 751431 w 7467600"/>
              <a:gd name="connsiteY638" fmla="*/ 1405731 h 6858000"/>
              <a:gd name="connsiteX639" fmla="*/ 655236 w 7467600"/>
              <a:gd name="connsiteY639" fmla="*/ 1268632 h 6858000"/>
              <a:gd name="connsiteX640" fmla="*/ 6516292 w 7467600"/>
              <a:gd name="connsiteY640" fmla="*/ 1263064 h 6858000"/>
              <a:gd name="connsiteX641" fmla="*/ 5736320 w 7467600"/>
              <a:gd name="connsiteY641" fmla="*/ 1501803 h 6858000"/>
              <a:gd name="connsiteX642" fmla="*/ 6516292 w 7467600"/>
              <a:gd name="connsiteY642" fmla="*/ 1263064 h 6858000"/>
              <a:gd name="connsiteX643" fmla="*/ 291466 w 7467600"/>
              <a:gd name="connsiteY643" fmla="*/ 1250369 h 6858000"/>
              <a:gd name="connsiteX644" fmla="*/ 323180 w 7467600"/>
              <a:gd name="connsiteY644" fmla="*/ 1435283 h 6858000"/>
              <a:gd name="connsiteX645" fmla="*/ 349381 w 7467600"/>
              <a:gd name="connsiteY645" fmla="*/ 1875041 h 6858000"/>
              <a:gd name="connsiteX646" fmla="*/ 374363 w 7467600"/>
              <a:gd name="connsiteY646" fmla="*/ 1506494 h 6858000"/>
              <a:gd name="connsiteX647" fmla="*/ 302168 w 7467600"/>
              <a:gd name="connsiteY647" fmla="*/ 1274495 h 6858000"/>
              <a:gd name="connsiteX648" fmla="*/ 291466 w 7467600"/>
              <a:gd name="connsiteY648" fmla="*/ 1250369 h 6858000"/>
              <a:gd name="connsiteX649" fmla="*/ 678222 w 7467600"/>
              <a:gd name="connsiteY649" fmla="*/ 1248670 h 6858000"/>
              <a:gd name="connsiteX650" fmla="*/ 775536 w 7467600"/>
              <a:gd name="connsiteY650" fmla="*/ 1388015 h 6858000"/>
              <a:gd name="connsiteX651" fmla="*/ 894529 w 7467600"/>
              <a:gd name="connsiteY651" fmla="*/ 1567739 h 6858000"/>
              <a:gd name="connsiteX652" fmla="*/ 948000 w 7467600"/>
              <a:gd name="connsiteY652" fmla="*/ 1663088 h 6858000"/>
              <a:gd name="connsiteX653" fmla="*/ 1006812 w 7467600"/>
              <a:gd name="connsiteY653" fmla="*/ 1767683 h 6858000"/>
              <a:gd name="connsiteX654" fmla="*/ 1149133 w 7467600"/>
              <a:gd name="connsiteY654" fmla="*/ 1971513 h 6858000"/>
              <a:gd name="connsiteX655" fmla="*/ 1333952 w 7467600"/>
              <a:gd name="connsiteY655" fmla="*/ 2251620 h 6858000"/>
              <a:gd name="connsiteX656" fmla="*/ 1337329 w 7467600"/>
              <a:gd name="connsiteY656" fmla="*/ 2258350 h 6858000"/>
              <a:gd name="connsiteX657" fmla="*/ 1014726 w 7467600"/>
              <a:gd name="connsiteY657" fmla="*/ 1615556 h 6858000"/>
              <a:gd name="connsiteX658" fmla="*/ 678222 w 7467600"/>
              <a:gd name="connsiteY658" fmla="*/ 1248670 h 6858000"/>
              <a:gd name="connsiteX659" fmla="*/ 6691602 w 7467600"/>
              <a:gd name="connsiteY659" fmla="*/ 1140573 h 6858000"/>
              <a:gd name="connsiteX660" fmla="*/ 6571100 w 7467600"/>
              <a:gd name="connsiteY660" fmla="*/ 1183662 h 6858000"/>
              <a:gd name="connsiteX661" fmla="*/ 6241687 w 7467600"/>
              <a:gd name="connsiteY661" fmla="*/ 1257600 h 6858000"/>
              <a:gd name="connsiteX662" fmla="*/ 5693009 w 7467600"/>
              <a:gd name="connsiteY662" fmla="*/ 1478256 h 6858000"/>
              <a:gd name="connsiteX663" fmla="*/ 6548420 w 7467600"/>
              <a:gd name="connsiteY663" fmla="*/ 1214599 h 6858000"/>
              <a:gd name="connsiteX664" fmla="*/ 6605473 w 7467600"/>
              <a:gd name="connsiteY664" fmla="*/ 1184686 h 6858000"/>
              <a:gd name="connsiteX665" fmla="*/ 6691602 w 7467600"/>
              <a:gd name="connsiteY665" fmla="*/ 1140573 h 6858000"/>
              <a:gd name="connsiteX666" fmla="*/ 4002475 w 7467600"/>
              <a:gd name="connsiteY666" fmla="*/ 1037802 h 6858000"/>
              <a:gd name="connsiteX667" fmla="*/ 4000324 w 7467600"/>
              <a:gd name="connsiteY667" fmla="*/ 1039362 h 6858000"/>
              <a:gd name="connsiteX668" fmla="*/ 4002862 w 7467600"/>
              <a:gd name="connsiteY668" fmla="*/ 1042866 h 6858000"/>
              <a:gd name="connsiteX669" fmla="*/ 4002475 w 7467600"/>
              <a:gd name="connsiteY669" fmla="*/ 1037802 h 6858000"/>
              <a:gd name="connsiteX670" fmla="*/ 506322 w 7467600"/>
              <a:gd name="connsiteY670" fmla="*/ 1020997 h 6858000"/>
              <a:gd name="connsiteX671" fmla="*/ 533068 w 7467600"/>
              <a:gd name="connsiteY671" fmla="*/ 1029409 h 6858000"/>
              <a:gd name="connsiteX672" fmla="*/ 1232525 w 7467600"/>
              <a:gd name="connsiteY672" fmla="*/ 1804675 h 6858000"/>
              <a:gd name="connsiteX673" fmla="*/ 1388858 w 7467600"/>
              <a:gd name="connsiteY673" fmla="*/ 2368011 h 6858000"/>
              <a:gd name="connsiteX674" fmla="*/ 1384098 w 7467600"/>
              <a:gd name="connsiteY674" fmla="*/ 2378125 h 6858000"/>
              <a:gd name="connsiteX675" fmla="*/ 1425393 w 7467600"/>
              <a:gd name="connsiteY675" fmla="*/ 2589124 h 6858000"/>
              <a:gd name="connsiteX676" fmla="*/ 1424001 w 7467600"/>
              <a:gd name="connsiteY676" fmla="*/ 2597541 h 6858000"/>
              <a:gd name="connsiteX677" fmla="*/ 2152729 w 7467600"/>
              <a:gd name="connsiteY677" fmla="*/ 2864487 h 6858000"/>
              <a:gd name="connsiteX678" fmla="*/ 2020609 w 7467600"/>
              <a:gd name="connsiteY678" fmla="*/ 2539671 h 6858000"/>
              <a:gd name="connsiteX679" fmla="*/ 2018920 w 7467600"/>
              <a:gd name="connsiteY679" fmla="*/ 2536309 h 6858000"/>
              <a:gd name="connsiteX680" fmla="*/ 1342441 w 7467600"/>
              <a:gd name="connsiteY680" fmla="*/ 1173017 h 6858000"/>
              <a:gd name="connsiteX681" fmla="*/ 1367925 w 7467600"/>
              <a:gd name="connsiteY681" fmla="*/ 1135648 h 6858000"/>
              <a:gd name="connsiteX682" fmla="*/ 1771401 w 7467600"/>
              <a:gd name="connsiteY682" fmla="*/ 1806673 h 6858000"/>
              <a:gd name="connsiteX683" fmla="*/ 1972385 w 7467600"/>
              <a:gd name="connsiteY683" fmla="*/ 2198735 h 6858000"/>
              <a:gd name="connsiteX684" fmla="*/ 2040892 w 7467600"/>
              <a:gd name="connsiteY684" fmla="*/ 2405205 h 6858000"/>
              <a:gd name="connsiteX685" fmla="*/ 2131689 w 7467600"/>
              <a:gd name="connsiteY685" fmla="*/ 1936926 h 6858000"/>
              <a:gd name="connsiteX686" fmla="*/ 2454820 w 7467600"/>
              <a:gd name="connsiteY686" fmla="*/ 1248808 h 6858000"/>
              <a:gd name="connsiteX687" fmla="*/ 2492512 w 7467600"/>
              <a:gd name="connsiteY687" fmla="*/ 1302920 h 6858000"/>
              <a:gd name="connsiteX688" fmla="*/ 2081216 w 7467600"/>
              <a:gd name="connsiteY688" fmla="*/ 2527513 h 6858000"/>
              <a:gd name="connsiteX689" fmla="*/ 2081211 w 7467600"/>
              <a:gd name="connsiteY689" fmla="*/ 2528916 h 6858000"/>
              <a:gd name="connsiteX690" fmla="*/ 2199067 w 7467600"/>
              <a:gd name="connsiteY690" fmla="*/ 2884061 h 6858000"/>
              <a:gd name="connsiteX691" fmla="*/ 3192586 w 7467600"/>
              <a:gd name="connsiteY691" fmla="*/ 3411496 h 6858000"/>
              <a:gd name="connsiteX692" fmla="*/ 3182620 w 7467600"/>
              <a:gd name="connsiteY692" fmla="*/ 3483279 h 6858000"/>
              <a:gd name="connsiteX693" fmla="*/ 2435119 w 7467600"/>
              <a:gd name="connsiteY693" fmla="*/ 3080173 h 6858000"/>
              <a:gd name="connsiteX694" fmla="*/ 2410152 w 7467600"/>
              <a:gd name="connsiteY694" fmla="*/ 3063751 h 6858000"/>
              <a:gd name="connsiteX695" fmla="*/ 2408099 w 7467600"/>
              <a:gd name="connsiteY695" fmla="*/ 3064403 h 6858000"/>
              <a:gd name="connsiteX696" fmla="*/ 2407218 w 7467600"/>
              <a:gd name="connsiteY696" fmla="*/ 3070324 h 6858000"/>
              <a:gd name="connsiteX697" fmla="*/ 2380138 w 7467600"/>
              <a:gd name="connsiteY697" fmla="*/ 3099341 h 6858000"/>
              <a:gd name="connsiteX698" fmla="*/ 1765923 w 7467600"/>
              <a:gd name="connsiteY698" fmla="*/ 3581043 h 6858000"/>
              <a:gd name="connsiteX699" fmla="*/ 1702258 w 7467600"/>
              <a:gd name="connsiteY699" fmla="*/ 3612286 h 6858000"/>
              <a:gd name="connsiteX700" fmla="*/ 1538370 w 7467600"/>
              <a:gd name="connsiteY700" fmla="*/ 3811804 h 6858000"/>
              <a:gd name="connsiteX701" fmla="*/ 542867 w 7467600"/>
              <a:gd name="connsiteY701" fmla="*/ 4944092 h 6858000"/>
              <a:gd name="connsiteX702" fmla="*/ 515800 w 7467600"/>
              <a:gd name="connsiteY702" fmla="*/ 4862180 h 6858000"/>
              <a:gd name="connsiteX703" fmla="*/ 909145 w 7467600"/>
              <a:gd name="connsiteY703" fmla="*/ 4199225 h 6858000"/>
              <a:gd name="connsiteX704" fmla="*/ 1214067 w 7467600"/>
              <a:gd name="connsiteY704" fmla="*/ 3908561 h 6858000"/>
              <a:gd name="connsiteX705" fmla="*/ 640967 w 7467600"/>
              <a:gd name="connsiteY705" fmla="*/ 4105601 h 6858000"/>
              <a:gd name="connsiteX706" fmla="*/ 112563 w 7467600"/>
              <a:gd name="connsiteY706" fmla="*/ 4396952 h 6858000"/>
              <a:gd name="connsiteX707" fmla="*/ 0 w 7467600"/>
              <a:gd name="connsiteY707" fmla="*/ 4466006 h 6858000"/>
              <a:gd name="connsiteX708" fmla="*/ 0 w 7467600"/>
              <a:gd name="connsiteY708" fmla="*/ 4233763 h 6858000"/>
              <a:gd name="connsiteX709" fmla="*/ 36881 w 7467600"/>
              <a:gd name="connsiteY709" fmla="*/ 4200118 h 6858000"/>
              <a:gd name="connsiteX710" fmla="*/ 910534 w 7467600"/>
              <a:gd name="connsiteY710" fmla="*/ 3629753 h 6858000"/>
              <a:gd name="connsiteX711" fmla="*/ 1578717 w 7467600"/>
              <a:gd name="connsiteY711" fmla="*/ 3575982 h 6858000"/>
              <a:gd name="connsiteX712" fmla="*/ 2338780 w 7467600"/>
              <a:gd name="connsiteY712" fmla="*/ 3033725 h 6858000"/>
              <a:gd name="connsiteX713" fmla="*/ 1807991 w 7467600"/>
              <a:gd name="connsiteY713" fmla="*/ 2807184 h 6858000"/>
              <a:gd name="connsiteX714" fmla="*/ 1416358 w 7467600"/>
              <a:gd name="connsiteY714" fmla="*/ 3112571 h 6858000"/>
              <a:gd name="connsiteX715" fmla="*/ 939066 w 7467600"/>
              <a:gd name="connsiteY715" fmla="*/ 3378798 h 6858000"/>
              <a:gd name="connsiteX716" fmla="*/ 115099 w 7467600"/>
              <a:gd name="connsiteY716" fmla="*/ 3607650 h 6858000"/>
              <a:gd name="connsiteX717" fmla="*/ 97284 w 7467600"/>
              <a:gd name="connsiteY717" fmla="*/ 3520393 h 6858000"/>
              <a:gd name="connsiteX718" fmla="*/ 922050 w 7467600"/>
              <a:gd name="connsiteY718" fmla="*/ 3074867 h 6858000"/>
              <a:gd name="connsiteX719" fmla="*/ 1405265 w 7467600"/>
              <a:gd name="connsiteY719" fmla="*/ 3016319 h 6858000"/>
              <a:gd name="connsiteX720" fmla="*/ 1407512 w 7467600"/>
              <a:gd name="connsiteY720" fmla="*/ 3018001 h 6858000"/>
              <a:gd name="connsiteX721" fmla="*/ 1726266 w 7467600"/>
              <a:gd name="connsiteY721" fmla="*/ 2777274 h 6858000"/>
              <a:gd name="connsiteX722" fmla="*/ 625390 w 7467600"/>
              <a:gd name="connsiteY722" fmla="*/ 2514541 h 6858000"/>
              <a:gd name="connsiteX723" fmla="*/ 619799 w 7467600"/>
              <a:gd name="connsiteY723" fmla="*/ 2527180 h 6858000"/>
              <a:gd name="connsiteX724" fmla="*/ 310030 w 7467600"/>
              <a:gd name="connsiteY724" fmla="*/ 2771818 h 6858000"/>
              <a:gd name="connsiteX725" fmla="*/ 173877 w 7467600"/>
              <a:gd name="connsiteY725" fmla="*/ 2937056 h 6858000"/>
              <a:gd name="connsiteX726" fmla="*/ 77889 w 7467600"/>
              <a:gd name="connsiteY726" fmla="*/ 3138440 h 6858000"/>
              <a:gd name="connsiteX727" fmla="*/ 0 w 7467600"/>
              <a:gd name="connsiteY727" fmla="*/ 3271395 h 6858000"/>
              <a:gd name="connsiteX728" fmla="*/ 0 w 7467600"/>
              <a:gd name="connsiteY728" fmla="*/ 3153002 h 6858000"/>
              <a:gd name="connsiteX729" fmla="*/ 2386 w 7467600"/>
              <a:gd name="connsiteY729" fmla="*/ 3149203 h 6858000"/>
              <a:gd name="connsiteX730" fmla="*/ 89753 w 7467600"/>
              <a:gd name="connsiteY730" fmla="*/ 2987702 h 6858000"/>
              <a:gd name="connsiteX731" fmla="*/ 76869 w 7467600"/>
              <a:gd name="connsiteY731" fmla="*/ 3005404 h 6858000"/>
              <a:gd name="connsiteX732" fmla="*/ 32049 w 7467600"/>
              <a:gd name="connsiteY732" fmla="*/ 3065814 h 6858000"/>
              <a:gd name="connsiteX733" fmla="*/ 0 w 7467600"/>
              <a:gd name="connsiteY733" fmla="*/ 3108744 h 6858000"/>
              <a:gd name="connsiteX734" fmla="*/ 0 w 7467600"/>
              <a:gd name="connsiteY734" fmla="*/ 3058059 h 6858000"/>
              <a:gd name="connsiteX735" fmla="*/ 7610 w 7467600"/>
              <a:gd name="connsiteY735" fmla="*/ 3047889 h 6858000"/>
              <a:gd name="connsiteX736" fmla="*/ 52419 w 7467600"/>
              <a:gd name="connsiteY736" fmla="*/ 2987479 h 6858000"/>
              <a:gd name="connsiteX737" fmla="*/ 59142 w 7467600"/>
              <a:gd name="connsiteY737" fmla="*/ 2978488 h 6858000"/>
              <a:gd name="connsiteX738" fmla="*/ 0 w 7467600"/>
              <a:gd name="connsiteY738" fmla="*/ 3015334 h 6858000"/>
              <a:gd name="connsiteX739" fmla="*/ 0 w 7467600"/>
              <a:gd name="connsiteY739" fmla="*/ 2914286 h 6858000"/>
              <a:gd name="connsiteX740" fmla="*/ 36383 w 7467600"/>
              <a:gd name="connsiteY740" fmla="*/ 2901128 h 6858000"/>
              <a:gd name="connsiteX741" fmla="*/ 156329 w 7467600"/>
              <a:gd name="connsiteY741" fmla="*/ 2840533 h 6858000"/>
              <a:gd name="connsiteX742" fmla="*/ 358355 w 7467600"/>
              <a:gd name="connsiteY742" fmla="*/ 2620471 h 6858000"/>
              <a:gd name="connsiteX743" fmla="*/ 510577 w 7467600"/>
              <a:gd name="connsiteY743" fmla="*/ 2501244 h 6858000"/>
              <a:gd name="connsiteX744" fmla="*/ 211967 w 7467600"/>
              <a:gd name="connsiteY744" fmla="*/ 2479171 h 6858000"/>
              <a:gd name="connsiteX745" fmla="*/ 0 w 7467600"/>
              <a:gd name="connsiteY745" fmla="*/ 2476398 h 6858000"/>
              <a:gd name="connsiteX746" fmla="*/ 0 w 7467600"/>
              <a:gd name="connsiteY746" fmla="*/ 2389189 h 6858000"/>
              <a:gd name="connsiteX747" fmla="*/ 103062 w 7467600"/>
              <a:gd name="connsiteY747" fmla="*/ 2389518 h 6858000"/>
              <a:gd name="connsiteX748" fmla="*/ 510734 w 7467600"/>
              <a:gd name="connsiteY748" fmla="*/ 2416201 h 6858000"/>
              <a:gd name="connsiteX749" fmla="*/ 279257 w 7467600"/>
              <a:gd name="connsiteY749" fmla="*/ 2092102 h 6858000"/>
              <a:gd name="connsiteX750" fmla="*/ 65265 w 7467600"/>
              <a:gd name="connsiteY750" fmla="*/ 2006049 h 6858000"/>
              <a:gd name="connsiteX751" fmla="*/ 0 w 7467600"/>
              <a:gd name="connsiteY751" fmla="*/ 1982532 h 6858000"/>
              <a:gd name="connsiteX752" fmla="*/ 0 w 7467600"/>
              <a:gd name="connsiteY752" fmla="*/ 1912789 h 6858000"/>
              <a:gd name="connsiteX753" fmla="*/ 97460 w 7467600"/>
              <a:gd name="connsiteY753" fmla="*/ 1953725 h 6858000"/>
              <a:gd name="connsiteX754" fmla="*/ 221272 w 7467600"/>
              <a:gd name="connsiteY754" fmla="*/ 1980766 h 6858000"/>
              <a:gd name="connsiteX755" fmla="*/ 116765 w 7467600"/>
              <a:gd name="connsiteY755" fmla="*/ 1911033 h 6858000"/>
              <a:gd name="connsiteX756" fmla="*/ 16405 w 7467600"/>
              <a:gd name="connsiteY756" fmla="*/ 1803412 h 6858000"/>
              <a:gd name="connsiteX757" fmla="*/ 0 w 7467600"/>
              <a:gd name="connsiteY757" fmla="*/ 1784777 h 6858000"/>
              <a:gd name="connsiteX758" fmla="*/ 0 w 7467600"/>
              <a:gd name="connsiteY758" fmla="*/ 1740082 h 6858000"/>
              <a:gd name="connsiteX759" fmla="*/ 39394 w 7467600"/>
              <a:gd name="connsiteY759" fmla="*/ 1784856 h 6858000"/>
              <a:gd name="connsiteX760" fmla="*/ 135813 w 7467600"/>
              <a:gd name="connsiteY760" fmla="*/ 1888838 h 6858000"/>
              <a:gd name="connsiteX761" fmla="*/ 242575 w 7467600"/>
              <a:gd name="connsiteY761" fmla="*/ 1958841 h 6858000"/>
              <a:gd name="connsiteX762" fmla="*/ 82197 w 7467600"/>
              <a:gd name="connsiteY762" fmla="*/ 1754826 h 6858000"/>
              <a:gd name="connsiteX763" fmla="*/ 0 w 7467600"/>
              <a:gd name="connsiteY763" fmla="*/ 1679650 h 6858000"/>
              <a:gd name="connsiteX764" fmla="*/ 0 w 7467600"/>
              <a:gd name="connsiteY764" fmla="*/ 1602463 h 6858000"/>
              <a:gd name="connsiteX765" fmla="*/ 84689 w 7467600"/>
              <a:gd name="connsiteY765" fmla="*/ 1677442 h 6858000"/>
              <a:gd name="connsiteX766" fmla="*/ 298437 w 7467600"/>
              <a:gd name="connsiteY766" fmla="*/ 1968019 h 6858000"/>
              <a:gd name="connsiteX767" fmla="*/ 227269 w 7467600"/>
              <a:gd name="connsiteY767" fmla="*/ 1114064 h 6858000"/>
              <a:gd name="connsiteX768" fmla="*/ 248003 w 7467600"/>
              <a:gd name="connsiteY768" fmla="*/ 1089613 h 6858000"/>
              <a:gd name="connsiteX769" fmla="*/ 427020 w 7467600"/>
              <a:gd name="connsiteY769" fmla="*/ 1619803 h 6858000"/>
              <a:gd name="connsiteX770" fmla="*/ 340345 w 7467600"/>
              <a:gd name="connsiteY770" fmla="*/ 2027739 h 6858000"/>
              <a:gd name="connsiteX771" fmla="*/ 360865 w 7467600"/>
              <a:gd name="connsiteY771" fmla="*/ 2044827 h 6858000"/>
              <a:gd name="connsiteX772" fmla="*/ 560414 w 7467600"/>
              <a:gd name="connsiteY772" fmla="*/ 2421457 h 6858000"/>
              <a:gd name="connsiteX773" fmla="*/ 1359703 w 7467600"/>
              <a:gd name="connsiteY773" fmla="*/ 2578554 h 6858000"/>
              <a:gd name="connsiteX774" fmla="*/ 1359422 w 7467600"/>
              <a:gd name="connsiteY774" fmla="*/ 2577994 h 6858000"/>
              <a:gd name="connsiteX775" fmla="*/ 828701 w 7467600"/>
              <a:gd name="connsiteY775" fmla="*/ 1839520 h 6858000"/>
              <a:gd name="connsiteX776" fmla="*/ 494427 w 7467600"/>
              <a:gd name="connsiteY776" fmla="*/ 1092333 h 6858000"/>
              <a:gd name="connsiteX777" fmla="*/ 506322 w 7467600"/>
              <a:gd name="connsiteY777" fmla="*/ 1020997 h 6858000"/>
              <a:gd name="connsiteX778" fmla="*/ 4570198 w 7467600"/>
              <a:gd name="connsiteY778" fmla="*/ 978081 h 6858000"/>
              <a:gd name="connsiteX779" fmla="*/ 4523691 w 7467600"/>
              <a:gd name="connsiteY779" fmla="*/ 1127776 h 6858000"/>
              <a:gd name="connsiteX780" fmla="*/ 4509875 w 7467600"/>
              <a:gd name="connsiteY780" fmla="*/ 1167552 h 6858000"/>
              <a:gd name="connsiteX781" fmla="*/ 4478168 w 7467600"/>
              <a:gd name="connsiteY781" fmla="*/ 1260735 h 6858000"/>
              <a:gd name="connsiteX782" fmla="*/ 4409309 w 7467600"/>
              <a:gd name="connsiteY782" fmla="*/ 1666996 h 6858000"/>
              <a:gd name="connsiteX783" fmla="*/ 4370031 w 7467600"/>
              <a:gd name="connsiteY783" fmla="*/ 1955666 h 6858000"/>
              <a:gd name="connsiteX784" fmla="*/ 4570198 w 7467600"/>
              <a:gd name="connsiteY784" fmla="*/ 978081 h 6858000"/>
              <a:gd name="connsiteX785" fmla="*/ 4557898 w 7467600"/>
              <a:gd name="connsiteY785" fmla="*/ 900011 h 6858000"/>
              <a:gd name="connsiteX786" fmla="*/ 4344840 w 7467600"/>
              <a:gd name="connsiteY786" fmla="*/ 1922038 h 6858000"/>
              <a:gd name="connsiteX787" fmla="*/ 4378710 w 7467600"/>
              <a:gd name="connsiteY787" fmla="*/ 1665516 h 6858000"/>
              <a:gd name="connsiteX788" fmla="*/ 4448798 w 7467600"/>
              <a:gd name="connsiteY788" fmla="*/ 1253024 h 6858000"/>
              <a:gd name="connsiteX789" fmla="*/ 4480315 w 7467600"/>
              <a:gd name="connsiteY789" fmla="*/ 1158454 h 6858000"/>
              <a:gd name="connsiteX790" fmla="*/ 4494133 w 7467600"/>
              <a:gd name="connsiteY790" fmla="*/ 1118676 h 6858000"/>
              <a:gd name="connsiteX791" fmla="*/ 4557898 w 7467600"/>
              <a:gd name="connsiteY791" fmla="*/ 900011 h 6858000"/>
              <a:gd name="connsiteX792" fmla="*/ 5870151 w 7467600"/>
              <a:gd name="connsiteY792" fmla="*/ 898890 h 6858000"/>
              <a:gd name="connsiteX793" fmla="*/ 5861335 w 7467600"/>
              <a:gd name="connsiteY793" fmla="*/ 899177 h 6858000"/>
              <a:gd name="connsiteX794" fmla="*/ 5843702 w 7467600"/>
              <a:gd name="connsiteY794" fmla="*/ 899748 h 6858000"/>
              <a:gd name="connsiteX795" fmla="*/ 5651107 w 7467600"/>
              <a:gd name="connsiteY795" fmla="*/ 920306 h 6858000"/>
              <a:gd name="connsiteX796" fmla="*/ 5459407 w 7467600"/>
              <a:gd name="connsiteY796" fmla="*/ 940975 h 6858000"/>
              <a:gd name="connsiteX797" fmla="*/ 5374846 w 7467600"/>
              <a:gd name="connsiteY797" fmla="*/ 941988 h 6858000"/>
              <a:gd name="connsiteX798" fmla="*/ 5256105 w 7467600"/>
              <a:gd name="connsiteY798" fmla="*/ 945632 h 6858000"/>
              <a:gd name="connsiteX799" fmla="*/ 5107071 w 7467600"/>
              <a:gd name="connsiteY799" fmla="*/ 969720 h 6858000"/>
              <a:gd name="connsiteX800" fmla="*/ 4998681 w 7467600"/>
              <a:gd name="connsiteY800" fmla="*/ 988771 h 6858000"/>
              <a:gd name="connsiteX801" fmla="*/ 5870151 w 7467600"/>
              <a:gd name="connsiteY801" fmla="*/ 898890 h 6858000"/>
              <a:gd name="connsiteX802" fmla="*/ 5504425 w 7467600"/>
              <a:gd name="connsiteY802" fmla="*/ 848067 h 6858000"/>
              <a:gd name="connsiteX803" fmla="*/ 4968849 w 7467600"/>
              <a:gd name="connsiteY803" fmla="*/ 962318 h 6858000"/>
              <a:gd name="connsiteX804" fmla="*/ 5104039 w 7467600"/>
              <a:gd name="connsiteY804" fmla="*/ 940634 h 6858000"/>
              <a:gd name="connsiteX805" fmla="*/ 5256311 w 7467600"/>
              <a:gd name="connsiteY805" fmla="*/ 916490 h 6858000"/>
              <a:gd name="connsiteX806" fmla="*/ 5377381 w 7467600"/>
              <a:gd name="connsiteY806" fmla="*/ 912671 h 6858000"/>
              <a:gd name="connsiteX807" fmla="*/ 5460148 w 7467600"/>
              <a:gd name="connsiteY807" fmla="*/ 911442 h 6858000"/>
              <a:gd name="connsiteX808" fmla="*/ 5648971 w 7467600"/>
              <a:gd name="connsiteY808" fmla="*/ 891331 h 6858000"/>
              <a:gd name="connsiteX809" fmla="*/ 5844807 w 7467600"/>
              <a:gd name="connsiteY809" fmla="*/ 870718 h 6858000"/>
              <a:gd name="connsiteX810" fmla="*/ 5862975 w 7467600"/>
              <a:gd name="connsiteY810" fmla="*/ 869756 h 6858000"/>
              <a:gd name="connsiteX811" fmla="*/ 5920887 w 7467600"/>
              <a:gd name="connsiteY811" fmla="*/ 865929 h 6858000"/>
              <a:gd name="connsiteX812" fmla="*/ 5504425 w 7467600"/>
              <a:gd name="connsiteY812" fmla="*/ 848067 h 6858000"/>
              <a:gd name="connsiteX813" fmla="*/ 3607114 w 7467600"/>
              <a:gd name="connsiteY813" fmla="*/ 467441 h 6858000"/>
              <a:gd name="connsiteX814" fmla="*/ 3296242 w 7467600"/>
              <a:gd name="connsiteY814" fmla="*/ 807991 h 6858000"/>
              <a:gd name="connsiteX815" fmla="*/ 3174674 w 7467600"/>
              <a:gd name="connsiteY815" fmla="*/ 919759 h 6858000"/>
              <a:gd name="connsiteX816" fmla="*/ 3042978 w 7467600"/>
              <a:gd name="connsiteY816" fmla="*/ 1054894 h 6858000"/>
              <a:gd name="connsiteX817" fmla="*/ 2968914 w 7467600"/>
              <a:gd name="connsiteY817" fmla="*/ 1133756 h 6858000"/>
              <a:gd name="connsiteX818" fmla="*/ 3103823 w 7467600"/>
              <a:gd name="connsiteY818" fmla="*/ 1026814 h 6858000"/>
              <a:gd name="connsiteX819" fmla="*/ 3607114 w 7467600"/>
              <a:gd name="connsiteY819" fmla="*/ 467441 h 6858000"/>
              <a:gd name="connsiteX820" fmla="*/ 3744487 w 7467600"/>
              <a:gd name="connsiteY820" fmla="*/ 383136 h 6858000"/>
              <a:gd name="connsiteX821" fmla="*/ 3970213 w 7467600"/>
              <a:gd name="connsiteY821" fmla="*/ 995559 h 6858000"/>
              <a:gd name="connsiteX822" fmla="*/ 3744487 w 7467600"/>
              <a:gd name="connsiteY822" fmla="*/ 383136 h 6858000"/>
              <a:gd name="connsiteX823" fmla="*/ 3624562 w 7467600"/>
              <a:gd name="connsiteY823" fmla="*/ 367041 h 6858000"/>
              <a:gd name="connsiteX824" fmla="*/ 3489712 w 7467600"/>
              <a:gd name="connsiteY824" fmla="*/ 485386 h 6858000"/>
              <a:gd name="connsiteX825" fmla="*/ 3182994 w 7467600"/>
              <a:gd name="connsiteY825" fmla="*/ 828265 h 6858000"/>
              <a:gd name="connsiteX826" fmla="*/ 2892114 w 7467600"/>
              <a:gd name="connsiteY826" fmla="*/ 1172635 h 6858000"/>
              <a:gd name="connsiteX827" fmla="*/ 3021459 w 7467600"/>
              <a:gd name="connsiteY827" fmla="*/ 1035385 h 6858000"/>
              <a:gd name="connsiteX828" fmla="*/ 3153873 w 7467600"/>
              <a:gd name="connsiteY828" fmla="*/ 898971 h 6858000"/>
              <a:gd name="connsiteX829" fmla="*/ 3276511 w 7467600"/>
              <a:gd name="connsiteY829" fmla="*/ 786423 h 6858000"/>
              <a:gd name="connsiteX830" fmla="*/ 3584154 w 7467600"/>
              <a:gd name="connsiteY830" fmla="*/ 448218 h 6858000"/>
              <a:gd name="connsiteX831" fmla="*/ 3624562 w 7467600"/>
              <a:gd name="connsiteY831" fmla="*/ 367041 h 6858000"/>
              <a:gd name="connsiteX832" fmla="*/ 3766672 w 7467600"/>
              <a:gd name="connsiteY832" fmla="*/ 359429 h 6858000"/>
              <a:gd name="connsiteX833" fmla="*/ 3996338 w 7467600"/>
              <a:gd name="connsiteY833" fmla="*/ 968237 h 6858000"/>
              <a:gd name="connsiteX834" fmla="*/ 3766672 w 7467600"/>
              <a:gd name="connsiteY834" fmla="*/ 359429 h 6858000"/>
              <a:gd name="connsiteX835" fmla="*/ 5805386 w 7467600"/>
              <a:gd name="connsiteY835" fmla="*/ 239240 h 6858000"/>
              <a:gd name="connsiteX836" fmla="*/ 5736947 w 7467600"/>
              <a:gd name="connsiteY836" fmla="*/ 261367 h 6858000"/>
              <a:gd name="connsiteX837" fmla="*/ 5427012 w 7467600"/>
              <a:gd name="connsiteY837" fmla="*/ 311272 h 6858000"/>
              <a:gd name="connsiteX838" fmla="*/ 5147818 w 7467600"/>
              <a:gd name="connsiteY838" fmla="*/ 322112 h 6858000"/>
              <a:gd name="connsiteX839" fmla="*/ 5060854 w 7467600"/>
              <a:gd name="connsiteY839" fmla="*/ 311882 h 6858000"/>
              <a:gd name="connsiteX840" fmla="*/ 4945989 w 7467600"/>
              <a:gd name="connsiteY840" fmla="*/ 300516 h 6858000"/>
              <a:gd name="connsiteX841" fmla="*/ 5410479 w 7467600"/>
              <a:gd name="connsiteY841" fmla="*/ 348434 h 6858000"/>
              <a:gd name="connsiteX842" fmla="*/ 5805386 w 7467600"/>
              <a:gd name="connsiteY842" fmla="*/ 239240 h 6858000"/>
              <a:gd name="connsiteX843" fmla="*/ 5905192 w 7467600"/>
              <a:gd name="connsiteY843" fmla="*/ 163079 h 6858000"/>
              <a:gd name="connsiteX844" fmla="*/ 5865655 w 7467600"/>
              <a:gd name="connsiteY844" fmla="*/ 171901 h 6858000"/>
              <a:gd name="connsiteX845" fmla="*/ 5259740 w 7467600"/>
              <a:gd name="connsiteY845" fmla="*/ 257013 h 6858000"/>
              <a:gd name="connsiteX846" fmla="*/ 5208466 w 7467600"/>
              <a:gd name="connsiteY846" fmla="*/ 257550 h 6858000"/>
              <a:gd name="connsiteX847" fmla="*/ 4980204 w 7467600"/>
              <a:gd name="connsiteY847" fmla="*/ 271903 h 6858000"/>
              <a:gd name="connsiteX848" fmla="*/ 5068068 w 7467600"/>
              <a:gd name="connsiteY848" fmla="*/ 282244 h 6858000"/>
              <a:gd name="connsiteX849" fmla="*/ 5153231 w 7467600"/>
              <a:gd name="connsiteY849" fmla="*/ 292240 h 6858000"/>
              <a:gd name="connsiteX850" fmla="*/ 5426491 w 7467600"/>
              <a:gd name="connsiteY850" fmla="*/ 281128 h 6858000"/>
              <a:gd name="connsiteX851" fmla="*/ 5731212 w 7467600"/>
              <a:gd name="connsiteY851" fmla="*/ 231951 h 6858000"/>
              <a:gd name="connsiteX852" fmla="*/ 5905192 w 7467600"/>
              <a:gd name="connsiteY852" fmla="*/ 163079 h 6858000"/>
              <a:gd name="connsiteX853" fmla="*/ 5944437 w 7467600"/>
              <a:gd name="connsiteY853" fmla="*/ 113829 h 6858000"/>
              <a:gd name="connsiteX854" fmla="*/ 5825032 w 7467600"/>
              <a:gd name="connsiteY854" fmla="*/ 146405 h 6858000"/>
              <a:gd name="connsiteX855" fmla="*/ 4955599 w 7467600"/>
              <a:gd name="connsiteY855" fmla="*/ 247008 h 6858000"/>
              <a:gd name="connsiteX856" fmla="*/ 5210104 w 7467600"/>
              <a:gd name="connsiteY856" fmla="*/ 228123 h 6858000"/>
              <a:gd name="connsiteX857" fmla="*/ 5261015 w 7467600"/>
              <a:gd name="connsiteY857" fmla="*/ 227087 h 6858000"/>
              <a:gd name="connsiteX858" fmla="*/ 5861181 w 7467600"/>
              <a:gd name="connsiteY858" fmla="*/ 143093 h 6858000"/>
              <a:gd name="connsiteX859" fmla="*/ 5961252 w 7467600"/>
              <a:gd name="connsiteY859" fmla="*/ 114820 h 6858000"/>
              <a:gd name="connsiteX860" fmla="*/ 5944437 w 7467600"/>
              <a:gd name="connsiteY860" fmla="*/ 113829 h 6858000"/>
              <a:gd name="connsiteX861" fmla="*/ 3882765 w 7467600"/>
              <a:gd name="connsiteY861" fmla="*/ 0 h 6858000"/>
              <a:gd name="connsiteX862" fmla="*/ 3995099 w 7467600"/>
              <a:gd name="connsiteY862" fmla="*/ 0 h 6858000"/>
              <a:gd name="connsiteX863" fmla="*/ 4163818 w 7467600"/>
              <a:gd name="connsiteY863" fmla="*/ 234104 h 6858000"/>
              <a:gd name="connsiteX864" fmla="*/ 4172099 w 7467600"/>
              <a:gd name="connsiteY864" fmla="*/ 234207 h 6858000"/>
              <a:gd name="connsiteX865" fmla="*/ 4784282 w 7467600"/>
              <a:gd name="connsiteY865" fmla="*/ 276561 h 6858000"/>
              <a:gd name="connsiteX866" fmla="*/ 4801687 w 7467600"/>
              <a:gd name="connsiteY866" fmla="*/ 267764 h 6858000"/>
              <a:gd name="connsiteX867" fmla="*/ 6082788 w 7467600"/>
              <a:gd name="connsiteY867" fmla="*/ 64119 h 6858000"/>
              <a:gd name="connsiteX868" fmla="*/ 6099442 w 7467600"/>
              <a:gd name="connsiteY868" fmla="*/ 82568 h 6858000"/>
              <a:gd name="connsiteX869" fmla="*/ 4804137 w 7467600"/>
              <a:gd name="connsiteY869" fmla="*/ 320931 h 6858000"/>
              <a:gd name="connsiteX870" fmla="*/ 4227047 w 7467600"/>
              <a:gd name="connsiteY870" fmla="*/ 313415 h 6858000"/>
              <a:gd name="connsiteX871" fmla="*/ 4346041 w 7467600"/>
              <a:gd name="connsiteY871" fmla="*/ 456086 h 6858000"/>
              <a:gd name="connsiteX872" fmla="*/ 4870967 w 7467600"/>
              <a:gd name="connsiteY872" fmla="*/ 963061 h 6858000"/>
              <a:gd name="connsiteX873" fmla="*/ 4889647 w 7467600"/>
              <a:gd name="connsiteY873" fmla="*/ 957147 h 6858000"/>
              <a:gd name="connsiteX874" fmla="*/ 5422504 w 7467600"/>
              <a:gd name="connsiteY874" fmla="*/ 805191 h 6858000"/>
              <a:gd name="connsiteX875" fmla="*/ 6087656 w 7467600"/>
              <a:gd name="connsiteY875" fmla="*/ 826703 h 6858000"/>
              <a:gd name="connsiteX876" fmla="*/ 6058717 w 7467600"/>
              <a:gd name="connsiteY876" fmla="*/ 865992 h 6858000"/>
              <a:gd name="connsiteX877" fmla="*/ 4974153 w 7467600"/>
              <a:gd name="connsiteY877" fmla="*/ 1045456 h 6858000"/>
              <a:gd name="connsiteX878" fmla="*/ 5627835 w 7467600"/>
              <a:gd name="connsiteY878" fmla="*/ 1472077 h 6858000"/>
              <a:gd name="connsiteX879" fmla="*/ 5629817 w 7467600"/>
              <a:gd name="connsiteY879" fmla="*/ 1471412 h 6858000"/>
              <a:gd name="connsiteX880" fmla="*/ 5634124 w 7467600"/>
              <a:gd name="connsiteY880" fmla="*/ 1470572 h 6858000"/>
              <a:gd name="connsiteX881" fmla="*/ 5755832 w 7467600"/>
              <a:gd name="connsiteY881" fmla="*/ 1383886 h 6858000"/>
              <a:gd name="connsiteX882" fmla="*/ 6014186 w 7467600"/>
              <a:gd name="connsiteY882" fmla="*/ 1279799 h 6858000"/>
              <a:gd name="connsiteX883" fmla="*/ 6901619 w 7467600"/>
              <a:gd name="connsiteY883" fmla="*/ 1047874 h 6858000"/>
              <a:gd name="connsiteX884" fmla="*/ 6931566 w 7467600"/>
              <a:gd name="connsiteY884" fmla="*/ 1062034 h 6858000"/>
              <a:gd name="connsiteX885" fmla="*/ 5790982 w 7467600"/>
              <a:gd name="connsiteY885" fmla="*/ 1561380 h 6858000"/>
              <a:gd name="connsiteX886" fmla="*/ 6188971 w 7467600"/>
              <a:gd name="connsiteY886" fmla="*/ 1755168 h 6858000"/>
              <a:gd name="connsiteX887" fmla="*/ 6202446 w 7467600"/>
              <a:gd name="connsiteY887" fmla="*/ 1752268 h 6858000"/>
              <a:gd name="connsiteX888" fmla="*/ 7179560 w 7467600"/>
              <a:gd name="connsiteY888" fmla="*/ 1467551 h 6858000"/>
              <a:gd name="connsiteX889" fmla="*/ 7158730 w 7467600"/>
              <a:gd name="connsiteY889" fmla="*/ 1507835 h 6858000"/>
              <a:gd name="connsiteX890" fmla="*/ 6326959 w 7467600"/>
              <a:gd name="connsiteY890" fmla="*/ 1817686 h 6858000"/>
              <a:gd name="connsiteX891" fmla="*/ 6537433 w 7467600"/>
              <a:gd name="connsiteY891" fmla="*/ 1907790 h 6858000"/>
              <a:gd name="connsiteX892" fmla="*/ 6550221 w 7467600"/>
              <a:gd name="connsiteY892" fmla="*/ 1910729 h 6858000"/>
              <a:gd name="connsiteX893" fmla="*/ 6964438 w 7467600"/>
              <a:gd name="connsiteY893" fmla="*/ 2209505 h 6858000"/>
              <a:gd name="connsiteX894" fmla="*/ 7367862 w 7467600"/>
              <a:gd name="connsiteY894" fmla="*/ 2806833 h 6858000"/>
              <a:gd name="connsiteX895" fmla="*/ 7364329 w 7467600"/>
              <a:gd name="connsiteY895" fmla="*/ 2826907 h 6858000"/>
              <a:gd name="connsiteX896" fmla="*/ 7290545 w 7467600"/>
              <a:gd name="connsiteY896" fmla="*/ 2850663 h 6858000"/>
              <a:gd name="connsiteX897" fmla="*/ 6472036 w 7467600"/>
              <a:gd name="connsiteY897" fmla="*/ 1959003 h 6858000"/>
              <a:gd name="connsiteX898" fmla="*/ 5792897 w 7467600"/>
              <a:gd name="connsiteY898" fmla="*/ 1647747 h 6858000"/>
              <a:gd name="connsiteX899" fmla="*/ 5842751 w 7467600"/>
              <a:gd name="connsiteY899" fmla="*/ 1816112 h 6858000"/>
              <a:gd name="connsiteX900" fmla="*/ 5847424 w 7467600"/>
              <a:gd name="connsiteY900" fmla="*/ 1815776 h 6858000"/>
              <a:gd name="connsiteX901" fmla="*/ 6399821 w 7467600"/>
              <a:gd name="connsiteY901" fmla="*/ 2344799 h 6858000"/>
              <a:gd name="connsiteX902" fmla="*/ 6323232 w 7467600"/>
              <a:gd name="connsiteY902" fmla="*/ 2389634 h 6858000"/>
              <a:gd name="connsiteX903" fmla="*/ 5942958 w 7467600"/>
              <a:gd name="connsiteY903" fmla="*/ 2077708 h 6858000"/>
              <a:gd name="connsiteX904" fmla="*/ 5921559 w 7467600"/>
              <a:gd name="connsiteY904" fmla="*/ 2378596 h 6858000"/>
              <a:gd name="connsiteX905" fmla="*/ 5817651 w 7467600"/>
              <a:gd name="connsiteY905" fmla="*/ 3023919 h 6858000"/>
              <a:gd name="connsiteX906" fmla="*/ 5729634 w 7467600"/>
              <a:gd name="connsiteY906" fmla="*/ 3051849 h 6858000"/>
              <a:gd name="connsiteX907" fmla="*/ 5611018 w 7467600"/>
              <a:gd name="connsiteY907" fmla="*/ 2316769 h 6858000"/>
              <a:gd name="connsiteX908" fmla="*/ 5687608 w 7467600"/>
              <a:gd name="connsiteY908" fmla="*/ 2039972 h 6858000"/>
              <a:gd name="connsiteX909" fmla="*/ 5657554 w 7467600"/>
              <a:gd name="connsiteY909" fmla="*/ 1576445 h 6858000"/>
              <a:gd name="connsiteX910" fmla="*/ 5150475 w 7467600"/>
              <a:gd name="connsiteY910" fmla="*/ 1274012 h 6858000"/>
              <a:gd name="connsiteX911" fmla="*/ 5349142 w 7467600"/>
              <a:gd name="connsiteY911" fmla="*/ 2204405 h 6858000"/>
              <a:gd name="connsiteX912" fmla="*/ 5262214 w 7467600"/>
              <a:gd name="connsiteY912" fmla="*/ 2233836 h 6858000"/>
              <a:gd name="connsiteX913" fmla="*/ 4981539 w 7467600"/>
              <a:gd name="connsiteY913" fmla="*/ 1542201 h 6858000"/>
              <a:gd name="connsiteX914" fmla="*/ 4958461 w 7467600"/>
              <a:gd name="connsiteY914" fmla="*/ 1136957 h 6858000"/>
              <a:gd name="connsiteX915" fmla="*/ 4655015 w 7467600"/>
              <a:gd name="connsiteY915" fmla="*/ 891426 h 6858000"/>
              <a:gd name="connsiteX916" fmla="*/ 4348002 w 7467600"/>
              <a:gd name="connsiteY916" fmla="*/ 2205895 h 6858000"/>
              <a:gd name="connsiteX917" fmla="*/ 4262250 w 7467600"/>
              <a:gd name="connsiteY917" fmla="*/ 2219972 h 6858000"/>
              <a:gd name="connsiteX918" fmla="*/ 4550611 w 7467600"/>
              <a:gd name="connsiteY918" fmla="*/ 817540 h 6858000"/>
              <a:gd name="connsiteX919" fmla="*/ 4564418 w 7467600"/>
              <a:gd name="connsiteY919" fmla="*/ 808293 h 6858000"/>
              <a:gd name="connsiteX920" fmla="*/ 4266388 w 7467600"/>
              <a:gd name="connsiteY920" fmla="*/ 500083 h 6858000"/>
              <a:gd name="connsiteX921" fmla="*/ 4032842 w 7467600"/>
              <a:gd name="connsiteY921" fmla="*/ 211809 h 6858000"/>
              <a:gd name="connsiteX922" fmla="*/ 3882765 w 7467600"/>
              <a:gd name="connsiteY922" fmla="*/ 0 h 6858000"/>
              <a:gd name="connsiteX923" fmla="*/ 3721337 w 7467600"/>
              <a:gd name="connsiteY923" fmla="*/ 0 h 6858000"/>
              <a:gd name="connsiteX924" fmla="*/ 3797544 w 7467600"/>
              <a:gd name="connsiteY924" fmla="*/ 0 h 6858000"/>
              <a:gd name="connsiteX925" fmla="*/ 3775734 w 7467600"/>
              <a:gd name="connsiteY925" fmla="*/ 95131 h 6858000"/>
              <a:gd name="connsiteX926" fmla="*/ 3724807 w 7467600"/>
              <a:gd name="connsiteY926" fmla="*/ 272257 h 6858000"/>
              <a:gd name="connsiteX927" fmla="*/ 3726844 w 7467600"/>
              <a:gd name="connsiteY927" fmla="*/ 282988 h 6858000"/>
              <a:gd name="connsiteX928" fmla="*/ 3742664 w 7467600"/>
              <a:gd name="connsiteY928" fmla="*/ 279918 h 6858000"/>
              <a:gd name="connsiteX929" fmla="*/ 4103910 w 7467600"/>
              <a:gd name="connsiteY929" fmla="*/ 1161917 h 6858000"/>
              <a:gd name="connsiteX930" fmla="*/ 4020269 w 7467600"/>
              <a:gd name="connsiteY930" fmla="*/ 1200406 h 6858000"/>
              <a:gd name="connsiteX931" fmla="*/ 3674882 w 7467600"/>
              <a:gd name="connsiteY931" fmla="*/ 488524 h 6858000"/>
              <a:gd name="connsiteX932" fmla="*/ 3132682 w 7467600"/>
              <a:gd name="connsiteY932" fmla="*/ 1072284 h 6858000"/>
              <a:gd name="connsiteX933" fmla="*/ 2716346 w 7467600"/>
              <a:gd name="connsiteY933" fmla="*/ 1276376 h 6858000"/>
              <a:gd name="connsiteX934" fmla="*/ 2716772 w 7467600"/>
              <a:gd name="connsiteY934" fmla="*/ 1255462 h 6858000"/>
              <a:gd name="connsiteX935" fmla="*/ 3471096 w 7467600"/>
              <a:gd name="connsiteY935" fmla="*/ 437072 h 6858000"/>
              <a:gd name="connsiteX936" fmla="*/ 3639057 w 7467600"/>
              <a:gd name="connsiteY936" fmla="*/ 286334 h 6858000"/>
              <a:gd name="connsiteX937" fmla="*/ 3640309 w 7467600"/>
              <a:gd name="connsiteY937" fmla="*/ 284664 h 6858000"/>
              <a:gd name="connsiteX938" fmla="*/ 3646022 w 7467600"/>
              <a:gd name="connsiteY938" fmla="*/ 276711 h 6858000"/>
              <a:gd name="connsiteX939" fmla="*/ 3707943 w 7467600"/>
              <a:gd name="connsiteY939" fmla="*/ 65958 h 6858000"/>
              <a:gd name="connsiteX940" fmla="*/ 3721337 w 7467600"/>
              <a:gd name="connsiteY940" fmla="*/ 0 h 6858000"/>
              <a:gd name="connsiteX941" fmla="*/ 2867960 w 7467600"/>
              <a:gd name="connsiteY941" fmla="*/ 0 h 6858000"/>
              <a:gd name="connsiteX942" fmla="*/ 2926351 w 7467600"/>
              <a:gd name="connsiteY942" fmla="*/ 0 h 6858000"/>
              <a:gd name="connsiteX943" fmla="*/ 2902823 w 7467600"/>
              <a:gd name="connsiteY943" fmla="*/ 262929 h 6858000"/>
              <a:gd name="connsiteX944" fmla="*/ 2940663 w 7467600"/>
              <a:gd name="connsiteY944" fmla="*/ 140884 h 6858000"/>
              <a:gd name="connsiteX945" fmla="*/ 2947039 w 7467600"/>
              <a:gd name="connsiteY945" fmla="*/ 122524 h 6858000"/>
              <a:gd name="connsiteX946" fmla="*/ 2984316 w 7467600"/>
              <a:gd name="connsiteY946" fmla="*/ 0 h 6858000"/>
              <a:gd name="connsiteX947" fmla="*/ 3016114 w 7467600"/>
              <a:gd name="connsiteY947" fmla="*/ 0 h 6858000"/>
              <a:gd name="connsiteX948" fmla="*/ 2979949 w 7467600"/>
              <a:gd name="connsiteY948" fmla="*/ 119274 h 6858000"/>
              <a:gd name="connsiteX949" fmla="*/ 3023879 w 7467600"/>
              <a:gd name="connsiteY949" fmla="*/ 0 h 6858000"/>
              <a:gd name="connsiteX950" fmla="*/ 3105400 w 7467600"/>
              <a:gd name="connsiteY950" fmla="*/ 0 h 6858000"/>
              <a:gd name="connsiteX951" fmla="*/ 3094669 w 7467600"/>
              <a:gd name="connsiteY951" fmla="*/ 30308 h 6858000"/>
              <a:gd name="connsiteX952" fmla="*/ 2901945 w 7467600"/>
              <a:gd name="connsiteY952" fmla="*/ 466538 h 6858000"/>
              <a:gd name="connsiteX953" fmla="*/ 2815209 w 7467600"/>
              <a:gd name="connsiteY953" fmla="*/ 497361 h 6858000"/>
              <a:gd name="connsiteX954" fmla="*/ 2844845 w 7467600"/>
              <a:gd name="connsiteY954" fmla="*/ 127638 h 6858000"/>
              <a:gd name="connsiteX955" fmla="*/ 2867960 w 7467600"/>
              <a:gd name="connsiteY955" fmla="*/ 0 h 6858000"/>
              <a:gd name="connsiteX956" fmla="*/ 1057230 w 7467600"/>
              <a:gd name="connsiteY956" fmla="*/ 0 h 6858000"/>
              <a:gd name="connsiteX957" fmla="*/ 1111003 w 7467600"/>
              <a:gd name="connsiteY957" fmla="*/ 0 h 6858000"/>
              <a:gd name="connsiteX958" fmla="*/ 1125553 w 7467600"/>
              <a:gd name="connsiteY958" fmla="*/ 52588 h 6858000"/>
              <a:gd name="connsiteX959" fmla="*/ 1304276 w 7467600"/>
              <a:gd name="connsiteY959" fmla="*/ 476275 h 6858000"/>
              <a:gd name="connsiteX960" fmla="*/ 1492066 w 7467600"/>
              <a:gd name="connsiteY960" fmla="*/ 886333 h 6858000"/>
              <a:gd name="connsiteX961" fmla="*/ 1423698 w 7467600"/>
              <a:gd name="connsiteY961" fmla="*/ 710817 h 6858000"/>
              <a:gd name="connsiteX962" fmla="*/ 1357609 w 7467600"/>
              <a:gd name="connsiteY962" fmla="*/ 532892 h 6858000"/>
              <a:gd name="connsiteX963" fmla="*/ 1309550 w 7467600"/>
              <a:gd name="connsiteY963" fmla="*/ 374031 h 6858000"/>
              <a:gd name="connsiteX964" fmla="*/ 1193673 w 7467600"/>
              <a:gd name="connsiteY964" fmla="*/ 49533 h 6858000"/>
              <a:gd name="connsiteX965" fmla="*/ 1164391 w 7467600"/>
              <a:gd name="connsiteY965" fmla="*/ 0 h 6858000"/>
              <a:gd name="connsiteX966" fmla="*/ 1200666 w 7467600"/>
              <a:gd name="connsiteY966" fmla="*/ 0 h 6858000"/>
              <a:gd name="connsiteX967" fmla="*/ 1223408 w 7467600"/>
              <a:gd name="connsiteY967" fmla="*/ 38996 h 6858000"/>
              <a:gd name="connsiteX968" fmla="*/ 1339635 w 7467600"/>
              <a:gd name="connsiteY968" fmla="*/ 365517 h 6858000"/>
              <a:gd name="connsiteX969" fmla="*/ 1387469 w 7467600"/>
              <a:gd name="connsiteY969" fmla="*/ 523079 h 6858000"/>
              <a:gd name="connsiteX970" fmla="*/ 1452685 w 7467600"/>
              <a:gd name="connsiteY970" fmla="*/ 699806 h 6858000"/>
              <a:gd name="connsiteX971" fmla="*/ 1492092 w 7467600"/>
              <a:gd name="connsiteY971" fmla="*/ 800424 h 6858000"/>
              <a:gd name="connsiteX972" fmla="*/ 1455302 w 7467600"/>
              <a:gd name="connsiteY972" fmla="*/ 632913 h 6858000"/>
              <a:gd name="connsiteX973" fmla="*/ 1222336 w 7467600"/>
              <a:gd name="connsiteY973" fmla="*/ 9480 h 6858000"/>
              <a:gd name="connsiteX974" fmla="*/ 1214634 w 7467600"/>
              <a:gd name="connsiteY974" fmla="*/ 0 h 6858000"/>
              <a:gd name="connsiteX975" fmla="*/ 1289827 w 7467600"/>
              <a:gd name="connsiteY975" fmla="*/ 0 h 6858000"/>
              <a:gd name="connsiteX976" fmla="*/ 1321076 w 7467600"/>
              <a:gd name="connsiteY976" fmla="*/ 59722 h 6858000"/>
              <a:gd name="connsiteX977" fmla="*/ 1512579 w 7467600"/>
              <a:gd name="connsiteY977" fmla="*/ 626441 h 6858000"/>
              <a:gd name="connsiteX978" fmla="*/ 1506076 w 7467600"/>
              <a:gd name="connsiteY978" fmla="*/ 1089289 h 6858000"/>
              <a:gd name="connsiteX979" fmla="*/ 1486346 w 7467600"/>
              <a:gd name="connsiteY979" fmla="*/ 1079919 h 6858000"/>
              <a:gd name="connsiteX980" fmla="*/ 1070511 w 7467600"/>
              <a:gd name="connsiteY980" fmla="*/ 48609 h 6858000"/>
              <a:gd name="connsiteX981" fmla="*/ 1057230 w 7467600"/>
              <a:gd name="connsiteY981" fmla="*/ 0 h 6858000"/>
              <a:gd name="connsiteX982" fmla="*/ 43151 w 7467600"/>
              <a:gd name="connsiteY982" fmla="*/ 0 h 6858000"/>
              <a:gd name="connsiteX983" fmla="*/ 95283 w 7467600"/>
              <a:gd name="connsiteY983" fmla="*/ 0 h 6858000"/>
              <a:gd name="connsiteX984" fmla="*/ 300708 w 7467600"/>
              <a:gd name="connsiteY984" fmla="*/ 154571 h 6858000"/>
              <a:gd name="connsiteX985" fmla="*/ 530414 w 7467600"/>
              <a:gd name="connsiteY985" fmla="*/ 354673 h 6858000"/>
              <a:gd name="connsiteX986" fmla="*/ 333785 w 7467600"/>
              <a:gd name="connsiteY986" fmla="*/ 161564 h 6858000"/>
              <a:gd name="connsiteX987" fmla="*/ 147005 w 7467600"/>
              <a:gd name="connsiteY987" fmla="*/ 0 h 6858000"/>
              <a:gd name="connsiteX988" fmla="*/ 272509 w 7467600"/>
              <a:gd name="connsiteY988" fmla="*/ 0 h 6858000"/>
              <a:gd name="connsiteX989" fmla="*/ 326276 w 7467600"/>
              <a:gd name="connsiteY989" fmla="*/ 45847 h 6858000"/>
              <a:gd name="connsiteX990" fmla="*/ 823759 w 7467600"/>
              <a:gd name="connsiteY990" fmla="*/ 574145 h 6858000"/>
              <a:gd name="connsiteX991" fmla="*/ 811254 w 7467600"/>
              <a:gd name="connsiteY991" fmla="*/ 665546 h 6858000"/>
              <a:gd name="connsiteX992" fmla="*/ 154042 w 7467600"/>
              <a:gd name="connsiteY992" fmla="*/ 261522 h 6858000"/>
              <a:gd name="connsiteX993" fmla="*/ 13550 w 7467600"/>
              <a:gd name="connsiteY993" fmla="*/ 158423 h 6858000"/>
              <a:gd name="connsiteX994" fmla="*/ 0 w 7467600"/>
              <a:gd name="connsiteY994" fmla="*/ 146618 h 6858000"/>
              <a:gd name="connsiteX995" fmla="*/ 0 w 7467600"/>
              <a:gd name="connsiteY995" fmla="*/ 59161 h 6858000"/>
              <a:gd name="connsiteX996" fmla="*/ 45427 w 7467600"/>
              <a:gd name="connsiteY996" fmla="*/ 101078 h 6858000"/>
              <a:gd name="connsiteX997" fmla="*/ 630103 w 7467600"/>
              <a:gd name="connsiteY997" fmla="*/ 485885 h 6858000"/>
              <a:gd name="connsiteX998" fmla="*/ 532040 w 7467600"/>
              <a:gd name="connsiteY998" fmla="*/ 399359 h 6858000"/>
              <a:gd name="connsiteX999" fmla="*/ 517618 w 7467600"/>
              <a:gd name="connsiteY999" fmla="*/ 385726 h 6858000"/>
              <a:gd name="connsiteX1000" fmla="*/ 285074 w 7467600"/>
              <a:gd name="connsiteY1000" fmla="*/ 182755 h 6858000"/>
              <a:gd name="connsiteX1001" fmla="*/ 43151 w 7467600"/>
              <a:gd name="connsiteY1001"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68569 w 7467600"/>
              <a:gd name="connsiteY127" fmla="*/ 5270182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7327465 w 7467600"/>
              <a:gd name="connsiteY139" fmla="*/ 5174181 h 6858000"/>
              <a:gd name="connsiteX140" fmla="*/ 7244057 w 7467600"/>
              <a:gd name="connsiteY140" fmla="*/ 5124233 h 6858000"/>
              <a:gd name="connsiteX141" fmla="*/ 7353035 w 7467600"/>
              <a:gd name="connsiteY141" fmla="*/ 5197318 h 6858000"/>
              <a:gd name="connsiteX142" fmla="*/ 7467600 w 7467600"/>
              <a:gd name="connsiteY142" fmla="*/ 5297634 h 6858000"/>
              <a:gd name="connsiteX143" fmla="*/ 7467600 w 7467600"/>
              <a:gd name="connsiteY143" fmla="*/ 5361850 h 6858000"/>
              <a:gd name="connsiteX144" fmla="*/ 7368569 w 7467600"/>
              <a:gd name="connsiteY144" fmla="*/ 5270182 h 6858000"/>
              <a:gd name="connsiteX145" fmla="*/ 1903353 w 7467600"/>
              <a:gd name="connsiteY145" fmla="*/ 5044827 h 6858000"/>
              <a:gd name="connsiteX146" fmla="*/ 1936931 w 7467600"/>
              <a:gd name="connsiteY146" fmla="*/ 5093954 h 6858000"/>
              <a:gd name="connsiteX147" fmla="*/ 2195868 w 7467600"/>
              <a:gd name="connsiteY147" fmla="*/ 5396574 h 6858000"/>
              <a:gd name="connsiteX148" fmla="*/ 2088852 w 7467600"/>
              <a:gd name="connsiteY148" fmla="*/ 5166123 h 6858000"/>
              <a:gd name="connsiteX149" fmla="*/ 1958241 w 7467600"/>
              <a:gd name="connsiteY149" fmla="*/ 5067955 h 6858000"/>
              <a:gd name="connsiteX150" fmla="*/ 1903353 w 7467600"/>
              <a:gd name="connsiteY150" fmla="*/ 5044827 h 6858000"/>
              <a:gd name="connsiteX151" fmla="*/ 1979378 w 7467600"/>
              <a:gd name="connsiteY151" fmla="*/ 4769504 h 6858000"/>
              <a:gd name="connsiteX152" fmla="*/ 2882120 w 7467600"/>
              <a:gd name="connsiteY152" fmla="*/ 5064547 h 6858000"/>
              <a:gd name="connsiteX153" fmla="*/ 2793103 w 7467600"/>
              <a:gd name="connsiteY153" fmla="*/ 5039699 h 6858000"/>
              <a:gd name="connsiteX154" fmla="*/ 2770041 w 7467600"/>
              <a:gd name="connsiteY154" fmla="*/ 5033634 h 6858000"/>
              <a:gd name="connsiteX155" fmla="*/ 1979378 w 7467600"/>
              <a:gd name="connsiteY155" fmla="*/ 4769504 h 6858000"/>
              <a:gd name="connsiteX156" fmla="*/ 1927410 w 7467600"/>
              <a:gd name="connsiteY156" fmla="*/ 4716164 h 6858000"/>
              <a:gd name="connsiteX157" fmla="*/ 1959587 w 7467600"/>
              <a:gd name="connsiteY157" fmla="*/ 4728849 h 6858000"/>
              <a:gd name="connsiteX158" fmla="*/ 2777707 w 7467600"/>
              <a:gd name="connsiteY158" fmla="*/ 5003991 h 6858000"/>
              <a:gd name="connsiteX159" fmla="*/ 2800768 w 7467600"/>
              <a:gd name="connsiteY159" fmla="*/ 5010056 h 6858000"/>
              <a:gd name="connsiteX160" fmla="*/ 2879408 w 7467600"/>
              <a:gd name="connsiteY160" fmla="*/ 5031590 h 6858000"/>
              <a:gd name="connsiteX161" fmla="*/ 2862295 w 7467600"/>
              <a:gd name="connsiteY161" fmla="*/ 5022958 h 6858000"/>
              <a:gd name="connsiteX162" fmla="*/ 2813343 w 7467600"/>
              <a:gd name="connsiteY162" fmla="*/ 4998369 h 6858000"/>
              <a:gd name="connsiteX163" fmla="*/ 2646245 w 7467600"/>
              <a:gd name="connsiteY163" fmla="*/ 4930999 h 6858000"/>
              <a:gd name="connsiteX164" fmla="*/ 1999243 w 7467600"/>
              <a:gd name="connsiteY164" fmla="*/ 4730524 h 6858000"/>
              <a:gd name="connsiteX165" fmla="*/ 1979527 w 7467600"/>
              <a:gd name="connsiteY165" fmla="*/ 4726651 h 6858000"/>
              <a:gd name="connsiteX166" fmla="*/ 1927410 w 7467600"/>
              <a:gd name="connsiteY166" fmla="*/ 4716164 h 6858000"/>
              <a:gd name="connsiteX167" fmla="*/ 1997014 w 7467600"/>
              <a:gd name="connsiteY167" fmla="*/ 4698007 h 6858000"/>
              <a:gd name="connsiteX168" fmla="*/ 2005458 w 7467600"/>
              <a:gd name="connsiteY168" fmla="*/ 4699540 h 6858000"/>
              <a:gd name="connsiteX169" fmla="*/ 2657186 w 7467600"/>
              <a:gd name="connsiteY169" fmla="*/ 4901687 h 6858000"/>
              <a:gd name="connsiteX170" fmla="*/ 2826662 w 7467600"/>
              <a:gd name="connsiteY170" fmla="*/ 4970362 h 6858000"/>
              <a:gd name="connsiteX171" fmla="*/ 2876100 w 7467600"/>
              <a:gd name="connsiteY171" fmla="*/ 4995397 h 6858000"/>
              <a:gd name="connsiteX172" fmla="*/ 3042600 w 7467600"/>
              <a:gd name="connsiteY172" fmla="*/ 5059532 h 6858000"/>
              <a:gd name="connsiteX173" fmla="*/ 1997014 w 7467600"/>
              <a:gd name="connsiteY173" fmla="*/ 4698007 h 6858000"/>
              <a:gd name="connsiteX174" fmla="*/ 2305292 w 7467600"/>
              <a:gd name="connsiteY174" fmla="*/ 4219492 h 6858000"/>
              <a:gd name="connsiteX175" fmla="*/ 3360922 w 7467600"/>
              <a:gd name="connsiteY175" fmla="*/ 4529373 h 6858000"/>
              <a:gd name="connsiteX176" fmla="*/ 3492420 w 7467600"/>
              <a:gd name="connsiteY176" fmla="*/ 4510145 h 6858000"/>
              <a:gd name="connsiteX177" fmla="*/ 3364086 w 7467600"/>
              <a:gd name="connsiteY177" fmla="*/ 4480340 h 6858000"/>
              <a:gd name="connsiteX178" fmla="*/ 3225818 w 7467600"/>
              <a:gd name="connsiteY178" fmla="*/ 4411822 h 6858000"/>
              <a:gd name="connsiteX179" fmla="*/ 3129696 w 7467600"/>
              <a:gd name="connsiteY179" fmla="*/ 4360704 h 6858000"/>
              <a:gd name="connsiteX180" fmla="*/ 2814545 w 7467600"/>
              <a:gd name="connsiteY180" fmla="*/ 4282955 h 6858000"/>
              <a:gd name="connsiteX181" fmla="*/ 2305292 w 7467600"/>
              <a:gd name="connsiteY181" fmla="*/ 4219492 h 6858000"/>
              <a:gd name="connsiteX182" fmla="*/ 2626982 w 7467600"/>
              <a:gd name="connsiteY182" fmla="*/ 4206450 h 6858000"/>
              <a:gd name="connsiteX183" fmla="*/ 2490617 w 7467600"/>
              <a:gd name="connsiteY183" fmla="*/ 4206951 h 6858000"/>
              <a:gd name="connsiteX184" fmla="*/ 2819869 w 7467600"/>
              <a:gd name="connsiteY184" fmla="*/ 4252936 h 6858000"/>
              <a:gd name="connsiteX185" fmla="*/ 3143018 w 7467600"/>
              <a:gd name="connsiteY185" fmla="*/ 4332698 h 6858000"/>
              <a:gd name="connsiteX186" fmla="*/ 3241520 w 7467600"/>
              <a:gd name="connsiteY186" fmla="*/ 4385112 h 6858000"/>
              <a:gd name="connsiteX187" fmla="*/ 3374575 w 7467600"/>
              <a:gd name="connsiteY187" fmla="*/ 4451517 h 6858000"/>
              <a:gd name="connsiteX188" fmla="*/ 3505221 w 7467600"/>
              <a:gd name="connsiteY188" fmla="*/ 4480757 h 6858000"/>
              <a:gd name="connsiteX189" fmla="*/ 2626982 w 7467600"/>
              <a:gd name="connsiteY189" fmla="*/ 4206450 h 6858000"/>
              <a:gd name="connsiteX190" fmla="*/ 1310106 w 7467600"/>
              <a:gd name="connsiteY190" fmla="*/ 3943217 h 6858000"/>
              <a:gd name="connsiteX191" fmla="*/ 854994 w 7467600"/>
              <a:gd name="connsiteY191" fmla="*/ 4399136 h 6858000"/>
              <a:gd name="connsiteX192" fmla="*/ 742462 w 7467600"/>
              <a:gd name="connsiteY192" fmla="*/ 4594648 h 6858000"/>
              <a:gd name="connsiteX193" fmla="*/ 820602 w 7467600"/>
              <a:gd name="connsiteY193" fmla="*/ 4485915 h 6858000"/>
              <a:gd name="connsiteX194" fmla="*/ 878295 w 7467600"/>
              <a:gd name="connsiteY194" fmla="*/ 4403594 h 6858000"/>
              <a:gd name="connsiteX195" fmla="*/ 1240607 w 7467600"/>
              <a:gd name="connsiteY195" fmla="*/ 4010401 h 6858000"/>
              <a:gd name="connsiteX196" fmla="*/ 1310106 w 7467600"/>
              <a:gd name="connsiteY196" fmla="*/ 3943217 h 6858000"/>
              <a:gd name="connsiteX197" fmla="*/ 1423113 w 7467600"/>
              <a:gd name="connsiteY197" fmla="*/ 3874565 h 6858000"/>
              <a:gd name="connsiteX198" fmla="*/ 1260565 w 7467600"/>
              <a:gd name="connsiteY198" fmla="*/ 4031982 h 6858000"/>
              <a:gd name="connsiteX199" fmla="*/ 901900 w 7467600"/>
              <a:gd name="connsiteY199" fmla="*/ 4421236 h 6858000"/>
              <a:gd name="connsiteX200" fmla="*/ 845044 w 7467600"/>
              <a:gd name="connsiteY200" fmla="*/ 4502436 h 6858000"/>
              <a:gd name="connsiteX201" fmla="*/ 685926 w 7467600"/>
              <a:gd name="connsiteY201" fmla="*/ 4703069 h 6858000"/>
              <a:gd name="connsiteX202" fmla="*/ 684248 w 7467600"/>
              <a:gd name="connsiteY202" fmla="*/ 4706721 h 6858000"/>
              <a:gd name="connsiteX203" fmla="*/ 1423113 w 7467600"/>
              <a:gd name="connsiteY203" fmla="*/ 3874565 h 6858000"/>
              <a:gd name="connsiteX204" fmla="*/ 3316479 w 7467600"/>
              <a:gd name="connsiteY204" fmla="*/ 3872136 h 6858000"/>
              <a:gd name="connsiteX205" fmla="*/ 3546806 w 7467600"/>
              <a:gd name="connsiteY205" fmla="*/ 4356139 h 6858000"/>
              <a:gd name="connsiteX206" fmla="*/ 3364433 w 7467600"/>
              <a:gd name="connsiteY206" fmla="*/ 3953121 h 6858000"/>
              <a:gd name="connsiteX207" fmla="*/ 3316479 w 7467600"/>
              <a:gd name="connsiteY207" fmla="*/ 3872136 h 6858000"/>
              <a:gd name="connsiteX208" fmla="*/ 3291335 w 7467600"/>
              <a:gd name="connsiteY208" fmla="*/ 3767420 h 6858000"/>
              <a:gd name="connsiteX209" fmla="*/ 3390805 w 7467600"/>
              <a:gd name="connsiteY209" fmla="*/ 3937163 h 6858000"/>
              <a:gd name="connsiteX210" fmla="*/ 3579062 w 7467600"/>
              <a:gd name="connsiteY210" fmla="*/ 4359040 h 6858000"/>
              <a:gd name="connsiteX211" fmla="*/ 3467355 w 7467600"/>
              <a:gd name="connsiteY211" fmla="*/ 3988130 h 6858000"/>
              <a:gd name="connsiteX212" fmla="*/ 3310753 w 7467600"/>
              <a:gd name="connsiteY212" fmla="*/ 3787140 h 6858000"/>
              <a:gd name="connsiteX213" fmla="*/ 3291335 w 7467600"/>
              <a:gd name="connsiteY213" fmla="*/ 3767420 h 6858000"/>
              <a:gd name="connsiteX214" fmla="*/ 1635889 w 7467600"/>
              <a:gd name="connsiteY214" fmla="*/ 3709494 h 6858000"/>
              <a:gd name="connsiteX215" fmla="*/ 1634800 w 7467600"/>
              <a:gd name="connsiteY215" fmla="*/ 3731111 h 6858000"/>
              <a:gd name="connsiteX216" fmla="*/ 1635889 w 7467600"/>
              <a:gd name="connsiteY216" fmla="*/ 3709494 h 6858000"/>
              <a:gd name="connsiteX217" fmla="*/ 1510397 w 7467600"/>
              <a:gd name="connsiteY217" fmla="*/ 3684705 h 6858000"/>
              <a:gd name="connsiteX218" fmla="*/ 1146550 w 7467600"/>
              <a:gd name="connsiteY218" fmla="*/ 3802012 h 6858000"/>
              <a:gd name="connsiteX219" fmla="*/ 698834 w 7467600"/>
              <a:gd name="connsiteY219" fmla="*/ 3952272 h 6858000"/>
              <a:gd name="connsiteX220" fmla="*/ 34256 w 7467600"/>
              <a:gd name="connsiteY220" fmla="*/ 4347603 h 6858000"/>
              <a:gd name="connsiteX221" fmla="*/ 527241 w 7467600"/>
              <a:gd name="connsiteY221" fmla="*/ 4065078 h 6858000"/>
              <a:gd name="connsiteX222" fmla="*/ 1510397 w 7467600"/>
              <a:gd name="connsiteY222" fmla="*/ 3684705 h 6858000"/>
              <a:gd name="connsiteX223" fmla="*/ 1313114 w 7467600"/>
              <a:gd name="connsiteY223" fmla="*/ 3655216 h 6858000"/>
              <a:gd name="connsiteX224" fmla="*/ 1109304 w 7467600"/>
              <a:gd name="connsiteY224" fmla="*/ 3669030 h 6858000"/>
              <a:gd name="connsiteX225" fmla="*/ 8129 w 7467600"/>
              <a:gd name="connsiteY225" fmla="*/ 4330519 h 6858000"/>
              <a:gd name="connsiteX226" fmla="*/ 687572 w 7467600"/>
              <a:gd name="connsiteY226" fmla="*/ 3925629 h 6858000"/>
              <a:gd name="connsiteX227" fmla="*/ 1138365 w 7467600"/>
              <a:gd name="connsiteY227" fmla="*/ 3774515 h 6858000"/>
              <a:gd name="connsiteX228" fmla="*/ 1505579 w 7467600"/>
              <a:gd name="connsiteY228" fmla="*/ 3655526 h 6858000"/>
              <a:gd name="connsiteX229" fmla="*/ 1313114 w 7467600"/>
              <a:gd name="connsiteY229" fmla="*/ 3655216 h 6858000"/>
              <a:gd name="connsiteX230" fmla="*/ 3655073 w 7467600"/>
              <a:gd name="connsiteY230" fmla="*/ 3650884 h 6858000"/>
              <a:gd name="connsiteX231" fmla="*/ 3989938 w 7467600"/>
              <a:gd name="connsiteY231" fmla="*/ 3991685 h 6858000"/>
              <a:gd name="connsiteX232" fmla="*/ 4393907 w 7467600"/>
              <a:gd name="connsiteY232" fmla="*/ 4261258 h 6858000"/>
              <a:gd name="connsiteX233" fmla="*/ 4648051 w 7467600"/>
              <a:gd name="connsiteY233" fmla="*/ 4374051 h 6858000"/>
              <a:gd name="connsiteX234" fmla="*/ 4383389 w 7467600"/>
              <a:gd name="connsiteY234" fmla="*/ 4184369 h 6858000"/>
              <a:gd name="connsiteX235" fmla="*/ 4165508 w 7467600"/>
              <a:gd name="connsiteY235" fmla="*/ 4035196 h 6858000"/>
              <a:gd name="connsiteX236" fmla="*/ 4068162 w 7467600"/>
              <a:gd name="connsiteY236" fmla="*/ 3953394 h 6858000"/>
              <a:gd name="connsiteX237" fmla="*/ 3981416 w 7467600"/>
              <a:gd name="connsiteY237" fmla="*/ 3880482 h 6858000"/>
              <a:gd name="connsiteX238" fmla="*/ 3800147 w 7467600"/>
              <a:gd name="connsiteY238" fmla="*/ 3749872 h 6858000"/>
              <a:gd name="connsiteX239" fmla="*/ 3655073 w 7467600"/>
              <a:gd name="connsiteY239" fmla="*/ 3650884 h 6858000"/>
              <a:gd name="connsiteX240" fmla="*/ 3670252 w 7467600"/>
              <a:gd name="connsiteY240" fmla="*/ 3622798 h 6858000"/>
              <a:gd name="connsiteX241" fmla="*/ 3817258 w 7467600"/>
              <a:gd name="connsiteY241" fmla="*/ 3723577 h 6858000"/>
              <a:gd name="connsiteX242" fmla="*/ 4000461 w 7467600"/>
              <a:gd name="connsiteY242" fmla="*/ 3855966 h 6858000"/>
              <a:gd name="connsiteX243" fmla="*/ 4088180 w 7467600"/>
              <a:gd name="connsiteY243" fmla="*/ 3929774 h 6858000"/>
              <a:gd name="connsiteX244" fmla="*/ 4184555 w 7467600"/>
              <a:gd name="connsiteY244" fmla="*/ 4010683 h 6858000"/>
              <a:gd name="connsiteX245" fmla="*/ 4399563 w 7467600"/>
              <a:gd name="connsiteY245" fmla="*/ 4158106 h 6858000"/>
              <a:gd name="connsiteX246" fmla="*/ 4684469 w 7467600"/>
              <a:gd name="connsiteY246" fmla="*/ 4364680 h 6858000"/>
              <a:gd name="connsiteX247" fmla="*/ 4690271 w 7467600"/>
              <a:gd name="connsiteY247" fmla="*/ 4370034 h 6858000"/>
              <a:gd name="connsiteX248" fmla="*/ 4136093 w 7467600"/>
              <a:gd name="connsiteY248" fmla="*/ 3858466 h 6858000"/>
              <a:gd name="connsiteX249" fmla="*/ 3670252 w 7467600"/>
              <a:gd name="connsiteY249" fmla="*/ 3622798 h 6858000"/>
              <a:gd name="connsiteX250" fmla="*/ 4440129 w 7467600"/>
              <a:gd name="connsiteY250" fmla="*/ 3448571 h 6858000"/>
              <a:gd name="connsiteX251" fmla="*/ 4856525 w 7467600"/>
              <a:gd name="connsiteY251" fmla="*/ 3915351 h 6858000"/>
              <a:gd name="connsiteX252" fmla="*/ 5059055 w 7467600"/>
              <a:gd name="connsiteY252" fmla="*/ 4108918 h 6858000"/>
              <a:gd name="connsiteX253" fmla="*/ 5290070 w 7467600"/>
              <a:gd name="connsiteY253" fmla="*/ 4263619 h 6858000"/>
              <a:gd name="connsiteX254" fmla="*/ 4834991 w 7467600"/>
              <a:gd name="connsiteY254" fmla="*/ 3830985 h 6858000"/>
              <a:gd name="connsiteX255" fmla="*/ 4440129 w 7467600"/>
              <a:gd name="connsiteY255" fmla="*/ 3448571 h 6858000"/>
              <a:gd name="connsiteX256" fmla="*/ 4441737 w 7467600"/>
              <a:gd name="connsiteY256" fmla="*/ 3399734 h 6858000"/>
              <a:gd name="connsiteX257" fmla="*/ 4431236 w 7467600"/>
              <a:gd name="connsiteY257" fmla="*/ 3400954 h 6858000"/>
              <a:gd name="connsiteX258" fmla="*/ 4557150 w 7467600"/>
              <a:gd name="connsiteY258" fmla="*/ 3510023 h 6858000"/>
              <a:gd name="connsiteX259" fmla="*/ 4856936 w 7467600"/>
              <a:gd name="connsiteY259" fmla="*/ 3809146 h 6858000"/>
              <a:gd name="connsiteX260" fmla="*/ 5111996 w 7467600"/>
              <a:gd name="connsiteY260" fmla="*/ 4065759 h 6858000"/>
              <a:gd name="connsiteX261" fmla="*/ 5388878 w 7467600"/>
              <a:gd name="connsiteY261" fmla="*/ 4300185 h 6858000"/>
              <a:gd name="connsiteX262" fmla="*/ 5425556 w 7467600"/>
              <a:gd name="connsiteY262" fmla="*/ 4308967 h 6858000"/>
              <a:gd name="connsiteX263" fmla="*/ 4943646 w 7467600"/>
              <a:gd name="connsiteY263" fmla="*/ 3822916 h 6858000"/>
              <a:gd name="connsiteX264" fmla="*/ 4594837 w 7467600"/>
              <a:gd name="connsiteY264" fmla="*/ 3532274 h 6858000"/>
              <a:gd name="connsiteX265" fmla="*/ 4441737 w 7467600"/>
              <a:gd name="connsiteY265" fmla="*/ 3399734 h 6858000"/>
              <a:gd name="connsiteX266" fmla="*/ 5425834 w 7467600"/>
              <a:gd name="connsiteY266" fmla="*/ 3162785 h 6858000"/>
              <a:gd name="connsiteX267" fmla="*/ 5401644 w 7467600"/>
              <a:gd name="connsiteY267" fmla="*/ 3617847 h 6858000"/>
              <a:gd name="connsiteX268" fmla="*/ 5467256 w 7467600"/>
              <a:gd name="connsiteY268" fmla="*/ 4175494 h 6858000"/>
              <a:gd name="connsiteX269" fmla="*/ 5448069 w 7467600"/>
              <a:gd name="connsiteY269" fmla="*/ 3567554 h 6858000"/>
              <a:gd name="connsiteX270" fmla="*/ 5425834 w 7467600"/>
              <a:gd name="connsiteY270" fmla="*/ 3162785 h 6858000"/>
              <a:gd name="connsiteX271" fmla="*/ 1318687 w 7467600"/>
              <a:gd name="connsiteY271" fmla="*/ 3113840 h 6858000"/>
              <a:gd name="connsiteX272" fmla="*/ 1066793 w 7467600"/>
              <a:gd name="connsiteY272" fmla="*/ 3212171 h 6858000"/>
              <a:gd name="connsiteX273" fmla="*/ 993319 w 7467600"/>
              <a:gd name="connsiteY273" fmla="*/ 3247648 h 6858000"/>
              <a:gd name="connsiteX274" fmla="*/ 853081 w 7467600"/>
              <a:gd name="connsiteY274" fmla="*/ 3312410 h 6858000"/>
              <a:gd name="connsiteX275" fmla="*/ 805957 w 7467600"/>
              <a:gd name="connsiteY275" fmla="*/ 3330443 h 6858000"/>
              <a:gd name="connsiteX276" fmla="*/ 1318687 w 7467600"/>
              <a:gd name="connsiteY276" fmla="*/ 3113840 h 6858000"/>
              <a:gd name="connsiteX277" fmla="*/ 5453702 w 7467600"/>
              <a:gd name="connsiteY277" fmla="*/ 3090882 h 6858000"/>
              <a:gd name="connsiteX278" fmla="*/ 5480135 w 7467600"/>
              <a:gd name="connsiteY278" fmla="*/ 3565802 h 6858000"/>
              <a:gd name="connsiteX279" fmla="*/ 5499023 w 7467600"/>
              <a:gd name="connsiteY279" fmla="*/ 4166310 h 6858000"/>
              <a:gd name="connsiteX280" fmla="*/ 5547022 w 7467600"/>
              <a:gd name="connsiteY280" fmla="*/ 3607838 h 6858000"/>
              <a:gd name="connsiteX281" fmla="*/ 5515964 w 7467600"/>
              <a:gd name="connsiteY281" fmla="*/ 3378541 h 6858000"/>
              <a:gd name="connsiteX282" fmla="*/ 5453702 w 7467600"/>
              <a:gd name="connsiteY282" fmla="*/ 3090882 h 6858000"/>
              <a:gd name="connsiteX283" fmla="*/ 1238695 w 7467600"/>
              <a:gd name="connsiteY283" fmla="*/ 3076820 h 6858000"/>
              <a:gd name="connsiteX284" fmla="*/ 716371 w 7467600"/>
              <a:gd name="connsiteY284" fmla="*/ 3293249 h 6858000"/>
              <a:gd name="connsiteX285" fmla="*/ 579522 w 7467600"/>
              <a:gd name="connsiteY285" fmla="*/ 3371759 h 6858000"/>
              <a:gd name="connsiteX286" fmla="*/ 600288 w 7467600"/>
              <a:gd name="connsiteY286" fmla="*/ 3365555 h 6858000"/>
              <a:gd name="connsiteX287" fmla="*/ 840692 w 7467600"/>
              <a:gd name="connsiteY287" fmla="*/ 3284921 h 6858000"/>
              <a:gd name="connsiteX288" fmla="*/ 979248 w 7467600"/>
              <a:gd name="connsiteY288" fmla="*/ 3221003 h 6858000"/>
              <a:gd name="connsiteX289" fmla="*/ 1053282 w 7467600"/>
              <a:gd name="connsiteY289" fmla="*/ 3185247 h 6858000"/>
              <a:gd name="connsiteX290" fmla="*/ 1320603 w 7467600"/>
              <a:gd name="connsiteY290" fmla="*/ 3081281 h 6858000"/>
              <a:gd name="connsiteX291" fmla="*/ 1238695 w 7467600"/>
              <a:gd name="connsiteY291" fmla="*/ 3076820 h 6858000"/>
              <a:gd name="connsiteX292" fmla="*/ 5425627 w 7467600"/>
              <a:gd name="connsiteY292" fmla="*/ 2954192 h 6858000"/>
              <a:gd name="connsiteX293" fmla="*/ 5470770 w 7467600"/>
              <a:gd name="connsiteY293" fmla="*/ 3005435 h 6858000"/>
              <a:gd name="connsiteX294" fmla="*/ 5519779 w 7467600"/>
              <a:gd name="connsiteY294" fmla="*/ 4359223 h 6858000"/>
              <a:gd name="connsiteX295" fmla="*/ 5520293 w 7467600"/>
              <a:gd name="connsiteY295" fmla="*/ 4360602 h 6858000"/>
              <a:gd name="connsiteX296" fmla="*/ 5767221 w 7467600"/>
              <a:gd name="connsiteY296" fmla="*/ 4665564 h 6858000"/>
              <a:gd name="connsiteX297" fmla="*/ 6937169 w 7467600"/>
              <a:gd name="connsiteY297" fmla="*/ 4815941 h 6858000"/>
              <a:gd name="connsiteX298" fmla="*/ 6953922 w 7467600"/>
              <a:gd name="connsiteY298" fmla="*/ 4890068 h 6858000"/>
              <a:gd name="connsiteX299" fmla="*/ 6071359 w 7467600"/>
              <a:gd name="connsiteY299" fmla="*/ 4770770 h 6858000"/>
              <a:gd name="connsiteX300" fmla="*/ 6038839 w 7467600"/>
              <a:gd name="connsiteY300" fmla="*/ 4764474 h 6858000"/>
              <a:gd name="connsiteX301" fmla="*/ 6038706 w 7467600"/>
              <a:gd name="connsiteY301" fmla="*/ 4763847 h 6858000"/>
              <a:gd name="connsiteX302" fmla="*/ 6037784 w 7467600"/>
              <a:gd name="connsiteY302" fmla="*/ 4764270 h 6858000"/>
              <a:gd name="connsiteX303" fmla="*/ 6038839 w 7467600"/>
              <a:gd name="connsiteY303" fmla="*/ 4764474 h 6858000"/>
              <a:gd name="connsiteX304" fmla="*/ 6040338 w 7467600"/>
              <a:gd name="connsiteY304" fmla="*/ 4771418 h 6858000"/>
              <a:gd name="connsiteX305" fmla="*/ 6024488 w 7467600"/>
              <a:gd name="connsiteY305" fmla="*/ 4809903 h 6858000"/>
              <a:gd name="connsiteX306" fmla="*/ 5599771 w 7467600"/>
              <a:gd name="connsiteY306" fmla="*/ 5509652 h 6858000"/>
              <a:gd name="connsiteX307" fmla="*/ 5548843 w 7467600"/>
              <a:gd name="connsiteY307" fmla="*/ 5563845 h 6858000"/>
              <a:gd name="connsiteX308" fmla="*/ 5940952 w 7467600"/>
              <a:gd name="connsiteY308" fmla="*/ 6250028 h 6858000"/>
              <a:gd name="connsiteX309" fmla="*/ 6043441 w 7467600"/>
              <a:gd name="connsiteY309" fmla="*/ 6665847 h 6858000"/>
              <a:gd name="connsiteX310" fmla="*/ 6093432 w 7467600"/>
              <a:gd name="connsiteY310" fmla="*/ 6858000 h 6858000"/>
              <a:gd name="connsiteX311" fmla="*/ 6034344 w 7467600"/>
              <a:gd name="connsiteY311" fmla="*/ 6858000 h 6858000"/>
              <a:gd name="connsiteX312" fmla="*/ 6026679 w 7467600"/>
              <a:gd name="connsiteY312" fmla="*/ 6836959 h 6858000"/>
              <a:gd name="connsiteX313" fmla="*/ 5800441 w 7467600"/>
              <a:gd name="connsiteY313" fmla="*/ 6335286 h 6858000"/>
              <a:gd name="connsiteX314" fmla="*/ 5526562 w 7467600"/>
              <a:gd name="connsiteY314" fmla="*/ 5705388 h 6858000"/>
              <a:gd name="connsiteX315" fmla="*/ 5519640 w 7467600"/>
              <a:gd name="connsiteY315" fmla="*/ 5683774 h 6858000"/>
              <a:gd name="connsiteX316" fmla="*/ 5844559 w 7467600"/>
              <a:gd name="connsiteY316" fmla="*/ 6553349 h 6858000"/>
              <a:gd name="connsiteX317" fmla="*/ 5975994 w 7467600"/>
              <a:gd name="connsiteY317" fmla="*/ 6858000 h 6858000"/>
              <a:gd name="connsiteX318" fmla="*/ 5898547 w 7467600"/>
              <a:gd name="connsiteY318" fmla="*/ 6858000 h 6858000"/>
              <a:gd name="connsiteX319" fmla="*/ 5682041 w 7467600"/>
              <a:gd name="connsiteY319" fmla="*/ 6355860 h 6858000"/>
              <a:gd name="connsiteX320" fmla="*/ 5461758 w 7467600"/>
              <a:gd name="connsiteY320" fmla="*/ 5820220 h 6858000"/>
              <a:gd name="connsiteX321" fmla="*/ 5237282 w 7467600"/>
              <a:gd name="connsiteY321" fmla="*/ 6579086 h 6858000"/>
              <a:gd name="connsiteX322" fmla="*/ 5115009 w 7467600"/>
              <a:gd name="connsiteY322" fmla="*/ 6858000 h 6858000"/>
              <a:gd name="connsiteX323" fmla="*/ 5028074 w 7467600"/>
              <a:gd name="connsiteY323" fmla="*/ 6858000 h 6858000"/>
              <a:gd name="connsiteX324" fmla="*/ 5079508 w 7467600"/>
              <a:gd name="connsiteY324" fmla="*/ 6749074 h 6858000"/>
              <a:gd name="connsiteX325" fmla="*/ 5371846 w 7467600"/>
              <a:gd name="connsiteY325" fmla="*/ 5924413 h 6858000"/>
              <a:gd name="connsiteX326" fmla="*/ 5270512 w 7467600"/>
              <a:gd name="connsiteY326" fmla="*/ 6138975 h 6858000"/>
              <a:gd name="connsiteX327" fmla="*/ 5062409 w 7467600"/>
              <a:gd name="connsiteY327" fmla="*/ 6653544 h 6858000"/>
              <a:gd name="connsiteX328" fmla="*/ 5036628 w 7467600"/>
              <a:gd name="connsiteY328" fmla="*/ 6754247 h 6858000"/>
              <a:gd name="connsiteX329" fmla="*/ 5009112 w 7467600"/>
              <a:gd name="connsiteY329" fmla="*/ 6858000 h 6858000"/>
              <a:gd name="connsiteX330" fmla="*/ 4976679 w 7467600"/>
              <a:gd name="connsiteY330" fmla="*/ 6858000 h 6858000"/>
              <a:gd name="connsiteX331" fmla="*/ 5006537 w 7467600"/>
              <a:gd name="connsiteY331" fmla="*/ 6747068 h 6858000"/>
              <a:gd name="connsiteX332" fmla="*/ 5032723 w 7467600"/>
              <a:gd name="connsiteY332" fmla="*/ 6644957 h 6858000"/>
              <a:gd name="connsiteX333" fmla="*/ 5242949 w 7467600"/>
              <a:gd name="connsiteY333" fmla="*/ 6125175 h 6858000"/>
              <a:gd name="connsiteX334" fmla="*/ 5286321 w 7467600"/>
              <a:gd name="connsiteY334" fmla="*/ 6033555 h 6858000"/>
              <a:gd name="connsiteX335" fmla="*/ 5008210 w 7467600"/>
              <a:gd name="connsiteY335" fmla="*/ 6649194 h 6858000"/>
              <a:gd name="connsiteX336" fmla="*/ 4986321 w 7467600"/>
              <a:gd name="connsiteY336" fmla="*/ 6765687 h 6858000"/>
              <a:gd name="connsiteX337" fmla="*/ 4973474 w 7467600"/>
              <a:gd name="connsiteY337" fmla="*/ 6858000 h 6858000"/>
              <a:gd name="connsiteX338" fmla="*/ 4907178 w 7467600"/>
              <a:gd name="connsiteY338" fmla="*/ 6858000 h 6858000"/>
              <a:gd name="connsiteX339" fmla="*/ 4910810 w 7467600"/>
              <a:gd name="connsiteY339" fmla="*/ 6829660 h 6858000"/>
              <a:gd name="connsiteX340" fmla="*/ 4987461 w 7467600"/>
              <a:gd name="connsiteY340" fmla="*/ 6432994 h 6858000"/>
              <a:gd name="connsiteX341" fmla="*/ 5179262 w 7467600"/>
              <a:gd name="connsiteY341" fmla="*/ 6035044 h 6858000"/>
              <a:gd name="connsiteX342" fmla="*/ 4689678 w 7467600"/>
              <a:gd name="connsiteY342" fmla="*/ 6440241 h 6858000"/>
              <a:gd name="connsiteX343" fmla="*/ 4477543 w 7467600"/>
              <a:gd name="connsiteY343" fmla="*/ 6674836 h 6858000"/>
              <a:gd name="connsiteX344" fmla="*/ 4329957 w 7467600"/>
              <a:gd name="connsiteY344" fmla="*/ 6858000 h 6858000"/>
              <a:gd name="connsiteX345" fmla="*/ 4218595 w 7467600"/>
              <a:gd name="connsiteY345" fmla="*/ 6858000 h 6858000"/>
              <a:gd name="connsiteX346" fmla="*/ 4368888 w 7467600"/>
              <a:gd name="connsiteY346" fmla="*/ 6668412 h 6858000"/>
              <a:gd name="connsiteX347" fmla="*/ 4563091 w 7467600"/>
              <a:gd name="connsiteY347" fmla="*/ 6442508 h 6858000"/>
              <a:gd name="connsiteX348" fmla="*/ 5387324 w 7467600"/>
              <a:gd name="connsiteY348" fmla="*/ 5705830 h 6858000"/>
              <a:gd name="connsiteX349" fmla="*/ 5073620 w 7467600"/>
              <a:gd name="connsiteY349" fmla="*/ 5955437 h 6858000"/>
              <a:gd name="connsiteX350" fmla="*/ 4689789 w 7467600"/>
              <a:gd name="connsiteY350" fmla="*/ 6268382 h 6858000"/>
              <a:gd name="connsiteX351" fmla="*/ 4418722 w 7467600"/>
              <a:gd name="connsiteY351" fmla="*/ 6570886 h 6858000"/>
              <a:gd name="connsiteX352" fmla="*/ 4214944 w 7467600"/>
              <a:gd name="connsiteY352" fmla="*/ 6858000 h 6858000"/>
              <a:gd name="connsiteX353" fmla="*/ 4177898 w 7467600"/>
              <a:gd name="connsiteY353" fmla="*/ 6858000 h 6858000"/>
              <a:gd name="connsiteX354" fmla="*/ 4391597 w 7467600"/>
              <a:gd name="connsiteY354" fmla="*/ 6556370 h 6858000"/>
              <a:gd name="connsiteX355" fmla="*/ 4668889 w 7467600"/>
              <a:gd name="connsiteY355" fmla="*/ 6246399 h 6858000"/>
              <a:gd name="connsiteX356" fmla="*/ 5055427 w 7467600"/>
              <a:gd name="connsiteY356" fmla="*/ 5931476 h 6858000"/>
              <a:gd name="connsiteX357" fmla="*/ 5371814 w 7467600"/>
              <a:gd name="connsiteY357" fmla="*/ 5678975 h 6858000"/>
              <a:gd name="connsiteX358" fmla="*/ 4987918 w 7467600"/>
              <a:gd name="connsiteY358" fmla="*/ 5838701 h 6858000"/>
              <a:gd name="connsiteX359" fmla="*/ 4317146 w 7467600"/>
              <a:gd name="connsiteY359" fmla="*/ 6587716 h 6858000"/>
              <a:gd name="connsiteX360" fmla="*/ 4171627 w 7467600"/>
              <a:gd name="connsiteY360" fmla="*/ 6858000 h 6858000"/>
              <a:gd name="connsiteX361" fmla="*/ 4081585 w 7467600"/>
              <a:gd name="connsiteY361" fmla="*/ 6858000 h 6858000"/>
              <a:gd name="connsiteX362" fmla="*/ 4238603 w 7467600"/>
              <a:gd name="connsiteY362" fmla="*/ 6559341 h 6858000"/>
              <a:gd name="connsiteX363" fmla="*/ 4778333 w 7467600"/>
              <a:gd name="connsiteY363" fmla="*/ 5873626 h 6858000"/>
              <a:gd name="connsiteX364" fmla="*/ 5414185 w 7467600"/>
              <a:gd name="connsiteY364" fmla="*/ 5573882 h 6858000"/>
              <a:gd name="connsiteX365" fmla="*/ 5959648 w 7467600"/>
              <a:gd name="connsiteY365" fmla="*/ 4760797 h 6858000"/>
              <a:gd name="connsiteX366" fmla="*/ 5355019 w 7467600"/>
              <a:gd name="connsiteY366" fmla="*/ 4734672 h 6858000"/>
              <a:gd name="connsiteX367" fmla="*/ 5083565 w 7467600"/>
              <a:gd name="connsiteY367" fmla="*/ 5179121 h 6858000"/>
              <a:gd name="connsiteX368" fmla="*/ 4713577 w 7467600"/>
              <a:gd name="connsiteY368" fmla="*/ 5616803 h 6858000"/>
              <a:gd name="connsiteX369" fmla="*/ 3989559 w 7467600"/>
              <a:gd name="connsiteY369" fmla="*/ 6145945 h 6858000"/>
              <a:gd name="connsiteX370" fmla="*/ 3939824 w 7467600"/>
              <a:gd name="connsiteY370" fmla="*/ 6066900 h 6858000"/>
              <a:gd name="connsiteX371" fmla="*/ 4584537 w 7467600"/>
              <a:gd name="connsiteY371" fmla="*/ 5324826 h 6858000"/>
              <a:gd name="connsiteX372" fmla="*/ 5037105 w 7467600"/>
              <a:gd name="connsiteY372" fmla="*/ 5088765 h 6858000"/>
              <a:gd name="connsiteX373" fmla="*/ 5039930 w 7467600"/>
              <a:gd name="connsiteY373" fmla="*/ 5089585 h 6858000"/>
              <a:gd name="connsiteX374" fmla="*/ 5263764 w 7467600"/>
              <a:gd name="connsiteY374" fmla="*/ 4735525 h 6858000"/>
              <a:gd name="connsiteX375" fmla="*/ 4086300 w 7467600"/>
              <a:gd name="connsiteY375" fmla="*/ 4884599 h 6858000"/>
              <a:gd name="connsiteX376" fmla="*/ 4085485 w 7467600"/>
              <a:gd name="connsiteY376" fmla="*/ 4899070 h 6858000"/>
              <a:gd name="connsiteX377" fmla="*/ 3871915 w 7467600"/>
              <a:gd name="connsiteY377" fmla="*/ 5253645 h 6858000"/>
              <a:gd name="connsiteX378" fmla="*/ 3799374 w 7467600"/>
              <a:gd name="connsiteY378" fmla="*/ 5466127 h 6858000"/>
              <a:gd name="connsiteX379" fmla="*/ 3498850 w 7467600"/>
              <a:gd name="connsiteY379" fmla="*/ 6661888 h 6858000"/>
              <a:gd name="connsiteX380" fmla="*/ 3399216 w 7467600"/>
              <a:gd name="connsiteY380" fmla="*/ 6858000 h 6858000"/>
              <a:gd name="connsiteX381" fmla="*/ 3303688 w 7467600"/>
              <a:gd name="connsiteY381" fmla="*/ 6858000 h 6858000"/>
              <a:gd name="connsiteX382" fmla="*/ 3391774 w 7467600"/>
              <a:gd name="connsiteY382" fmla="*/ 6697181 h 6858000"/>
              <a:gd name="connsiteX383" fmla="*/ 3735540 w 7467600"/>
              <a:gd name="connsiteY383" fmla="*/ 5546923 h 6858000"/>
              <a:gd name="connsiteX384" fmla="*/ 3729438 w 7467600"/>
              <a:gd name="connsiteY384" fmla="*/ 5569058 h 6858000"/>
              <a:gd name="connsiteX385" fmla="*/ 3707782 w 7467600"/>
              <a:gd name="connsiteY385" fmla="*/ 5644908 h 6858000"/>
              <a:gd name="connsiteX386" fmla="*/ 3583827 w 7467600"/>
              <a:gd name="connsiteY386" fmla="*/ 6039215 h 6858000"/>
              <a:gd name="connsiteX387" fmla="*/ 3547861 w 7467600"/>
              <a:gd name="connsiteY387" fmla="*/ 6129609 h 6858000"/>
              <a:gd name="connsiteX388" fmla="*/ 3490905 w 7467600"/>
              <a:gd name="connsiteY388" fmla="*/ 6277660 h 6858000"/>
              <a:gd name="connsiteX389" fmla="*/ 3455859 w 7467600"/>
              <a:gd name="connsiteY389" fmla="*/ 6391301 h 6858000"/>
              <a:gd name="connsiteX390" fmla="*/ 3429112 w 7467600"/>
              <a:gd name="connsiteY390" fmla="*/ 6479469 h 6858000"/>
              <a:gd name="connsiteX391" fmla="*/ 3304862 w 7467600"/>
              <a:gd name="connsiteY391" fmla="*/ 6796476 h 6858000"/>
              <a:gd name="connsiteX392" fmla="*/ 3276071 w 7467600"/>
              <a:gd name="connsiteY392" fmla="*/ 6858000 h 6858000"/>
              <a:gd name="connsiteX393" fmla="*/ 3240805 w 7467600"/>
              <a:gd name="connsiteY393" fmla="*/ 6858000 h 6858000"/>
              <a:gd name="connsiteX394" fmla="*/ 3275917 w 7467600"/>
              <a:gd name="connsiteY394" fmla="*/ 6783192 h 6858000"/>
              <a:gd name="connsiteX395" fmla="*/ 3399358 w 7467600"/>
              <a:gd name="connsiteY395" fmla="*/ 6469011 h 6858000"/>
              <a:gd name="connsiteX396" fmla="*/ 3425650 w 7467600"/>
              <a:gd name="connsiteY396" fmla="*/ 6381333 h 6858000"/>
              <a:gd name="connsiteX397" fmla="*/ 3460661 w 7467600"/>
              <a:gd name="connsiteY397" fmla="*/ 6266763 h 6858000"/>
              <a:gd name="connsiteX398" fmla="*/ 3518021 w 7467600"/>
              <a:gd name="connsiteY398" fmla="*/ 6117298 h 6858000"/>
              <a:gd name="connsiteX399" fmla="*/ 3554035 w 7467600"/>
              <a:gd name="connsiteY399" fmla="*/ 6027832 h 6858000"/>
              <a:gd name="connsiteX400" fmla="*/ 3677174 w 7467600"/>
              <a:gd name="connsiteY400" fmla="*/ 5636351 h 6858000"/>
              <a:gd name="connsiteX401" fmla="*/ 3698819 w 7467600"/>
              <a:gd name="connsiteY401" fmla="*/ 5560503 h 6858000"/>
              <a:gd name="connsiteX402" fmla="*/ 3702094 w 7467600"/>
              <a:gd name="connsiteY402" fmla="*/ 5549194 h 6858000"/>
              <a:gd name="connsiteX403" fmla="*/ 3398355 w 7467600"/>
              <a:gd name="connsiteY403" fmla="*/ 6094603 h 6858000"/>
              <a:gd name="connsiteX404" fmla="*/ 3193941 w 7467600"/>
              <a:gd name="connsiteY404" fmla="*/ 6798775 h 6858000"/>
              <a:gd name="connsiteX405" fmla="*/ 3184140 w 7467600"/>
              <a:gd name="connsiteY405" fmla="*/ 6858000 h 6858000"/>
              <a:gd name="connsiteX406" fmla="*/ 3099978 w 7467600"/>
              <a:gd name="connsiteY406" fmla="*/ 6858000 h 6858000"/>
              <a:gd name="connsiteX407" fmla="*/ 3101556 w 7467600"/>
              <a:gd name="connsiteY407" fmla="*/ 6843337 h 6858000"/>
              <a:gd name="connsiteX408" fmla="*/ 3370162 w 7467600"/>
              <a:gd name="connsiteY408" fmla="*/ 5785550 h 6858000"/>
              <a:gd name="connsiteX409" fmla="*/ 3746477 w 7467600"/>
              <a:gd name="connsiteY409" fmla="*/ 5377889 h 6858000"/>
              <a:gd name="connsiteX410" fmla="*/ 3863399 w 7467600"/>
              <a:gd name="connsiteY410" fmla="*/ 5087257 h 6858000"/>
              <a:gd name="connsiteX411" fmla="*/ 3968712 w 7467600"/>
              <a:gd name="connsiteY411" fmla="*/ 4913989 h 6858000"/>
              <a:gd name="connsiteX412" fmla="*/ 2792390 w 7467600"/>
              <a:gd name="connsiteY412" fmla="*/ 5382974 h 6858000"/>
              <a:gd name="connsiteX413" fmla="*/ 2714982 w 7467600"/>
              <a:gd name="connsiteY413" fmla="*/ 5427051 h 6858000"/>
              <a:gd name="connsiteX414" fmla="*/ 2813361 w 7467600"/>
              <a:gd name="connsiteY414" fmla="*/ 6023912 h 6858000"/>
              <a:gd name="connsiteX415" fmla="*/ 2688430 w 7467600"/>
              <a:gd name="connsiteY415" fmla="*/ 6801564 h 6858000"/>
              <a:gd name="connsiteX416" fmla="*/ 2629626 w 7467600"/>
              <a:gd name="connsiteY416" fmla="*/ 6763394 h 6858000"/>
              <a:gd name="connsiteX417" fmla="*/ 2565328 w 7467600"/>
              <a:gd name="connsiteY417" fmla="*/ 5516399 h 6858000"/>
              <a:gd name="connsiteX418" fmla="*/ 1922999 w 7467600"/>
              <a:gd name="connsiteY418" fmla="*/ 5980343 h 6858000"/>
              <a:gd name="connsiteX419" fmla="*/ 1950261 w 7467600"/>
              <a:gd name="connsiteY419" fmla="*/ 6405858 h 6858000"/>
              <a:gd name="connsiteX420" fmla="*/ 2365554 w 7467600"/>
              <a:gd name="connsiteY420" fmla="*/ 6759107 h 6858000"/>
              <a:gd name="connsiteX421" fmla="*/ 2424142 w 7467600"/>
              <a:gd name="connsiteY421" fmla="*/ 6858000 h 6858000"/>
              <a:gd name="connsiteX422" fmla="*/ 2395994 w 7467600"/>
              <a:gd name="connsiteY422" fmla="*/ 6858000 h 6858000"/>
              <a:gd name="connsiteX423" fmla="*/ 2392863 w 7467600"/>
              <a:gd name="connsiteY423" fmla="*/ 6852964 h 6858000"/>
              <a:gd name="connsiteX424" fmla="*/ 2017589 w 7467600"/>
              <a:gd name="connsiteY424" fmla="*/ 6493982 h 6858000"/>
              <a:gd name="connsiteX425" fmla="*/ 2147336 w 7467600"/>
              <a:gd name="connsiteY425" fmla="*/ 6594052 h 6858000"/>
              <a:gd name="connsiteX426" fmla="*/ 2207047 w 7467600"/>
              <a:gd name="connsiteY426" fmla="*/ 6654540 h 6858000"/>
              <a:gd name="connsiteX427" fmla="*/ 2299106 w 7467600"/>
              <a:gd name="connsiteY427" fmla="*/ 6778931 h 6858000"/>
              <a:gd name="connsiteX428" fmla="*/ 2314430 w 7467600"/>
              <a:gd name="connsiteY428" fmla="*/ 6801144 h 6858000"/>
              <a:gd name="connsiteX429" fmla="*/ 2352406 w 7467600"/>
              <a:gd name="connsiteY429" fmla="*/ 6858000 h 6858000"/>
              <a:gd name="connsiteX430" fmla="*/ 2314492 w 7467600"/>
              <a:gd name="connsiteY430" fmla="*/ 6858000 h 6858000"/>
              <a:gd name="connsiteX431" fmla="*/ 2288095 w 7467600"/>
              <a:gd name="connsiteY431" fmla="*/ 6818030 h 6858000"/>
              <a:gd name="connsiteX432" fmla="*/ 2272768 w 7467600"/>
              <a:gd name="connsiteY432" fmla="*/ 6795822 h 6858000"/>
              <a:gd name="connsiteX433" fmla="*/ 2182715 w 7467600"/>
              <a:gd name="connsiteY433" fmla="*/ 6675071 h 6858000"/>
              <a:gd name="connsiteX434" fmla="*/ 2032061 w 7467600"/>
              <a:gd name="connsiteY434" fmla="*/ 6541380 h 6858000"/>
              <a:gd name="connsiteX435" fmla="*/ 2257220 w 7467600"/>
              <a:gd name="connsiteY435" fmla="*/ 6826257 h 6858000"/>
              <a:gd name="connsiteX436" fmla="*/ 2281324 w 7467600"/>
              <a:gd name="connsiteY436" fmla="*/ 6858000 h 6858000"/>
              <a:gd name="connsiteX437" fmla="*/ 2242860 w 7467600"/>
              <a:gd name="connsiteY437" fmla="*/ 6858000 h 6858000"/>
              <a:gd name="connsiteX438" fmla="*/ 2232818 w 7467600"/>
              <a:gd name="connsiteY438" fmla="*/ 6844926 h 6858000"/>
              <a:gd name="connsiteX439" fmla="*/ 1990172 w 7467600"/>
              <a:gd name="connsiteY439" fmla="*/ 6542121 h 6858000"/>
              <a:gd name="connsiteX440" fmla="*/ 2124090 w 7467600"/>
              <a:gd name="connsiteY440" fmla="*/ 6761017 h 6858000"/>
              <a:gd name="connsiteX441" fmla="*/ 2200380 w 7467600"/>
              <a:gd name="connsiteY441" fmla="*/ 6858000 h 6858000"/>
              <a:gd name="connsiteX442" fmla="*/ 2147507 w 7467600"/>
              <a:gd name="connsiteY442" fmla="*/ 6858000 h 6858000"/>
              <a:gd name="connsiteX443" fmla="*/ 2070668 w 7467600"/>
              <a:gd name="connsiteY443" fmla="*/ 6761520 h 6858000"/>
              <a:gd name="connsiteX444" fmla="*/ 1975142 w 7467600"/>
              <a:gd name="connsiteY444" fmla="*/ 6585570 h 6858000"/>
              <a:gd name="connsiteX445" fmla="*/ 2050035 w 7467600"/>
              <a:gd name="connsiteY445" fmla="*/ 6813345 h 6858000"/>
              <a:gd name="connsiteX446" fmla="*/ 2063025 w 7467600"/>
              <a:gd name="connsiteY446" fmla="*/ 6858000 h 6858000"/>
              <a:gd name="connsiteX447" fmla="*/ 2021675 w 7467600"/>
              <a:gd name="connsiteY447" fmla="*/ 6858000 h 6858000"/>
              <a:gd name="connsiteX448" fmla="*/ 2019308 w 7467600"/>
              <a:gd name="connsiteY448" fmla="*/ 6847118 h 6858000"/>
              <a:gd name="connsiteX449" fmla="*/ 1938835 w 7467600"/>
              <a:gd name="connsiteY449" fmla="*/ 6551160 h 6858000"/>
              <a:gd name="connsiteX450" fmla="*/ 1953230 w 7467600"/>
              <a:gd name="connsiteY450" fmla="*/ 6759699 h 6858000"/>
              <a:gd name="connsiteX451" fmla="*/ 1956763 w 7467600"/>
              <a:gd name="connsiteY451" fmla="*/ 6778191 h 6858000"/>
              <a:gd name="connsiteX452" fmla="*/ 1967925 w 7467600"/>
              <a:gd name="connsiteY452" fmla="*/ 6858000 h 6858000"/>
              <a:gd name="connsiteX453" fmla="*/ 1936622 w 7467600"/>
              <a:gd name="connsiteY453" fmla="*/ 6858000 h 6858000"/>
              <a:gd name="connsiteX454" fmla="*/ 1926261 w 7467600"/>
              <a:gd name="connsiteY454" fmla="*/ 6784064 h 6858000"/>
              <a:gd name="connsiteX455" fmla="*/ 1922724 w 7467600"/>
              <a:gd name="connsiteY455" fmla="*/ 6765577 h 6858000"/>
              <a:gd name="connsiteX456" fmla="*/ 1904650 w 7467600"/>
              <a:gd name="connsiteY456" fmla="*/ 6639616 h 6858000"/>
              <a:gd name="connsiteX457" fmla="*/ 1885273 w 7467600"/>
              <a:gd name="connsiteY457" fmla="*/ 6858000 h 6858000"/>
              <a:gd name="connsiteX458" fmla="*/ 1854363 w 7467600"/>
              <a:gd name="connsiteY458" fmla="*/ 6858000 h 6858000"/>
              <a:gd name="connsiteX459" fmla="*/ 1880391 w 7467600"/>
              <a:gd name="connsiteY459" fmla="*/ 6603796 h 6858000"/>
              <a:gd name="connsiteX460" fmla="*/ 1818273 w 7467600"/>
              <a:gd name="connsiteY460" fmla="*/ 6715729 h 6858000"/>
              <a:gd name="connsiteX461" fmla="*/ 1794691 w 7467600"/>
              <a:gd name="connsiteY461" fmla="*/ 6843239 h 6858000"/>
              <a:gd name="connsiteX462" fmla="*/ 1794914 w 7467600"/>
              <a:gd name="connsiteY462" fmla="*/ 6858000 h 6858000"/>
              <a:gd name="connsiteX463" fmla="*/ 1746128 w 7467600"/>
              <a:gd name="connsiteY463" fmla="*/ 6858000 h 6858000"/>
              <a:gd name="connsiteX464" fmla="*/ 1753934 w 7467600"/>
              <a:gd name="connsiteY464" fmla="*/ 6724796 h 6858000"/>
              <a:gd name="connsiteX465" fmla="*/ 1792053 w 7467600"/>
              <a:gd name="connsiteY465" fmla="*/ 6572396 h 6858000"/>
              <a:gd name="connsiteX466" fmla="*/ 1862248 w 7467600"/>
              <a:gd name="connsiteY466" fmla="*/ 6266397 h 6858000"/>
              <a:gd name="connsiteX467" fmla="*/ 1862250 w 7467600"/>
              <a:gd name="connsiteY467" fmla="*/ 6033531 h 6858000"/>
              <a:gd name="connsiteX468" fmla="*/ 1211999 w 7467600"/>
              <a:gd name="connsiteY468" fmla="*/ 6683610 h 6858000"/>
              <a:gd name="connsiteX469" fmla="*/ 1213266 w 7467600"/>
              <a:gd name="connsiteY469" fmla="*/ 6691947 h 6858000"/>
              <a:gd name="connsiteX470" fmla="*/ 1203370 w 7467600"/>
              <a:gd name="connsiteY470" fmla="*/ 6850676 h 6858000"/>
              <a:gd name="connsiteX471" fmla="*/ 1203671 w 7467600"/>
              <a:gd name="connsiteY471" fmla="*/ 6858000 h 6858000"/>
              <a:gd name="connsiteX472" fmla="*/ 1143180 w 7467600"/>
              <a:gd name="connsiteY472" fmla="*/ 6858000 h 6858000"/>
              <a:gd name="connsiteX473" fmla="*/ 1142176 w 7467600"/>
              <a:gd name="connsiteY473" fmla="*/ 6766045 h 6858000"/>
              <a:gd name="connsiteX474" fmla="*/ 1067484 w 7467600"/>
              <a:gd name="connsiteY474" fmla="*/ 6858000 h 6858000"/>
              <a:gd name="connsiteX475" fmla="*/ 953928 w 7467600"/>
              <a:gd name="connsiteY475" fmla="*/ 6858000 h 6858000"/>
              <a:gd name="connsiteX476" fmla="*/ 959715 w 7467600"/>
              <a:gd name="connsiteY476" fmla="*/ 6850185 h 6858000"/>
              <a:gd name="connsiteX477" fmla="*/ 1483788 w 7467600"/>
              <a:gd name="connsiteY477" fmla="*/ 6259174 h 6858000"/>
              <a:gd name="connsiteX478" fmla="*/ 1100671 w 7467600"/>
              <a:gd name="connsiteY478" fmla="*/ 6252137 h 6858000"/>
              <a:gd name="connsiteX479" fmla="*/ 1090144 w 7467600"/>
              <a:gd name="connsiteY479" fmla="*/ 6256748 h 6858000"/>
              <a:gd name="connsiteX480" fmla="*/ 1095872 w 7467600"/>
              <a:gd name="connsiteY480" fmla="*/ 6271892 h 6858000"/>
              <a:gd name="connsiteX481" fmla="*/ 262785 w 7467600"/>
              <a:gd name="connsiteY481" fmla="*/ 6845450 h 6858000"/>
              <a:gd name="connsiteX482" fmla="*/ 209968 w 7467600"/>
              <a:gd name="connsiteY482" fmla="*/ 6770713 h 6858000"/>
              <a:gd name="connsiteX483" fmla="*/ 873460 w 7467600"/>
              <a:gd name="connsiteY483" fmla="*/ 6253768 h 6858000"/>
              <a:gd name="connsiteX484" fmla="*/ 192686 w 7467600"/>
              <a:gd name="connsiteY484" fmla="*/ 5849257 h 6858000"/>
              <a:gd name="connsiteX485" fmla="*/ 4696 w 7467600"/>
              <a:gd name="connsiteY485" fmla="*/ 5697668 h 6858000"/>
              <a:gd name="connsiteX486" fmla="*/ 0 w 7467600"/>
              <a:gd name="connsiteY486" fmla="*/ 5689984 h 6858000"/>
              <a:gd name="connsiteX487" fmla="*/ 0 w 7467600"/>
              <a:gd name="connsiteY487" fmla="*/ 5513472 h 6858000"/>
              <a:gd name="connsiteX488" fmla="*/ 174101 w 7467600"/>
              <a:gd name="connsiteY488" fmla="*/ 5620277 h 6858000"/>
              <a:gd name="connsiteX489" fmla="*/ 891800 w 7467600"/>
              <a:gd name="connsiteY489" fmla="*/ 6036935 h 6858000"/>
              <a:gd name="connsiteX490" fmla="*/ 1072219 w 7467600"/>
              <a:gd name="connsiteY490" fmla="*/ 6169443 h 6858000"/>
              <a:gd name="connsiteX491" fmla="*/ 1074117 w 7467600"/>
              <a:gd name="connsiteY491" fmla="*/ 6170301 h 6858000"/>
              <a:gd name="connsiteX492" fmla="*/ 1083114 w 7467600"/>
              <a:gd name="connsiteY492" fmla="*/ 6174131 h 6858000"/>
              <a:gd name="connsiteX493" fmla="*/ 1543010 w 7467600"/>
              <a:gd name="connsiteY493" fmla="*/ 6191140 h 6858000"/>
              <a:gd name="connsiteX494" fmla="*/ 1551080 w 7467600"/>
              <a:gd name="connsiteY494" fmla="*/ 6195006 h 6858000"/>
              <a:gd name="connsiteX495" fmla="*/ 2345443 w 7467600"/>
              <a:gd name="connsiteY495" fmla="*/ 5549882 h 6858000"/>
              <a:gd name="connsiteX496" fmla="*/ 1721499 w 7467600"/>
              <a:gd name="connsiteY496" fmla="*/ 5599969 h 6858000"/>
              <a:gd name="connsiteX497" fmla="*/ 767716 w 7467600"/>
              <a:gd name="connsiteY497" fmla="*/ 5472768 h 6858000"/>
              <a:gd name="connsiteX498" fmla="*/ 722147 w 7467600"/>
              <a:gd name="connsiteY498" fmla="*/ 5393091 h 6858000"/>
              <a:gd name="connsiteX499" fmla="*/ 1485552 w 7467600"/>
              <a:gd name="connsiteY499" fmla="*/ 5313202 h 6858000"/>
              <a:gd name="connsiteX500" fmla="*/ 2143004 w 7467600"/>
              <a:gd name="connsiteY500" fmla="*/ 5402420 h 6858000"/>
              <a:gd name="connsiteX501" fmla="*/ 1933391 w 7467600"/>
              <a:gd name="connsiteY501" fmla="*/ 5156971 h 6858000"/>
              <a:gd name="connsiteX502" fmla="*/ 1827118 w 7467600"/>
              <a:gd name="connsiteY502" fmla="*/ 4968410 h 6858000"/>
              <a:gd name="connsiteX503" fmla="*/ 1837349 w 7467600"/>
              <a:gd name="connsiteY503" fmla="*/ 4956357 h 6858000"/>
              <a:gd name="connsiteX504" fmla="*/ 2162835 w 7467600"/>
              <a:gd name="connsiteY504" fmla="*/ 5187853 h 6858000"/>
              <a:gd name="connsiteX505" fmla="*/ 2257167 w 7467600"/>
              <a:gd name="connsiteY505" fmla="*/ 5462123 h 6858000"/>
              <a:gd name="connsiteX506" fmla="*/ 2261598 w 7467600"/>
              <a:gd name="connsiteY506" fmla="*/ 5467998 h 6858000"/>
              <a:gd name="connsiteX507" fmla="*/ 2437177 w 7467600"/>
              <a:gd name="connsiteY507" fmla="*/ 5479608 h 6858000"/>
              <a:gd name="connsiteX508" fmla="*/ 2445247 w 7467600"/>
              <a:gd name="connsiteY508" fmla="*/ 5483476 h 6858000"/>
              <a:gd name="connsiteX509" fmla="*/ 2743626 w 7467600"/>
              <a:gd name="connsiteY509" fmla="*/ 5304819 h 6858000"/>
              <a:gd name="connsiteX510" fmla="*/ 3048102 w 7467600"/>
              <a:gd name="connsiteY510" fmla="*/ 5150595 h 6858000"/>
              <a:gd name="connsiteX511" fmla="*/ 1799414 w 7467600"/>
              <a:gd name="connsiteY511" fmla="*/ 4694732 h 6858000"/>
              <a:gd name="connsiteX512" fmla="*/ 1771735 w 7467600"/>
              <a:gd name="connsiteY512" fmla="*/ 4619929 h 6858000"/>
              <a:gd name="connsiteX513" fmla="*/ 3104273 w 7467600"/>
              <a:gd name="connsiteY513" fmla="*/ 5076159 h 6858000"/>
              <a:gd name="connsiteX514" fmla="*/ 3113245 w 7467600"/>
              <a:gd name="connsiteY514" fmla="*/ 5090705 h 6858000"/>
              <a:gd name="connsiteX515" fmla="*/ 3126294 w 7467600"/>
              <a:gd name="connsiteY515" fmla="*/ 5114400 h 6858000"/>
              <a:gd name="connsiteX516" fmla="*/ 3937433 w 7467600"/>
              <a:gd name="connsiteY516" fmla="*/ 4830473 h 6858000"/>
              <a:gd name="connsiteX517" fmla="*/ 3590475 w 7467600"/>
              <a:gd name="connsiteY517" fmla="*/ 4597974 h 6858000"/>
              <a:gd name="connsiteX518" fmla="*/ 3100264 w 7467600"/>
              <a:gd name="connsiteY518" fmla="*/ 4579845 h 6858000"/>
              <a:gd name="connsiteX519" fmla="*/ 2183576 w 7467600"/>
              <a:gd name="connsiteY519" fmla="*/ 4227150 h 6858000"/>
              <a:gd name="connsiteX520" fmla="*/ 2151029 w 7467600"/>
              <a:gd name="connsiteY520" fmla="*/ 4146947 h 6858000"/>
              <a:gd name="connsiteX521" fmla="*/ 3563434 w 7467600"/>
              <a:gd name="connsiteY521" fmla="*/ 4469115 h 6858000"/>
              <a:gd name="connsiteX522" fmla="*/ 3177952 w 7467600"/>
              <a:gd name="connsiteY522" fmla="*/ 3657386 h 6858000"/>
              <a:gd name="connsiteX523" fmla="*/ 3189263 w 7467600"/>
              <a:gd name="connsiteY523" fmla="*/ 3625726 h 6858000"/>
              <a:gd name="connsiteX524" fmla="*/ 3560912 w 7467600"/>
              <a:gd name="connsiteY524" fmla="*/ 4079863 h 6858000"/>
              <a:gd name="connsiteX525" fmla="*/ 3626636 w 7467600"/>
              <a:gd name="connsiteY525" fmla="*/ 4512230 h 6858000"/>
              <a:gd name="connsiteX526" fmla="*/ 3653088 w 7467600"/>
              <a:gd name="connsiteY526" fmla="*/ 4521417 h 6858000"/>
              <a:gd name="connsiteX527" fmla="*/ 3988128 w 7467600"/>
              <a:gd name="connsiteY527" fmla="*/ 4817267 h 6858000"/>
              <a:gd name="connsiteX528" fmla="*/ 4830582 w 7467600"/>
              <a:gd name="connsiteY528" fmla="*/ 4676000 h 6858000"/>
              <a:gd name="connsiteX529" fmla="*/ 4830100 w 7467600"/>
              <a:gd name="connsiteY529" fmla="*/ 4675554 h 6858000"/>
              <a:gd name="connsiteX530" fmla="*/ 4036318 w 7467600"/>
              <a:gd name="connsiteY530" fmla="*/ 4147013 h 6858000"/>
              <a:gd name="connsiteX531" fmla="*/ 3432098 w 7467600"/>
              <a:gd name="connsiteY531" fmla="*/ 3537312 h 6858000"/>
              <a:gd name="connsiteX532" fmla="*/ 3446761 w 7467600"/>
              <a:gd name="connsiteY532" fmla="*/ 3461278 h 6858000"/>
              <a:gd name="connsiteX533" fmla="*/ 4419733 w 7467600"/>
              <a:gd name="connsiteY533" fmla="*/ 3963555 h 6858000"/>
              <a:gd name="connsiteX534" fmla="*/ 4781371 w 7467600"/>
              <a:gd name="connsiteY534" fmla="*/ 4458604 h 6858000"/>
              <a:gd name="connsiteX535" fmla="*/ 4780440 w 7467600"/>
              <a:gd name="connsiteY535" fmla="*/ 4470290 h 6858000"/>
              <a:gd name="connsiteX536" fmla="*/ 4898954 w 7467600"/>
              <a:gd name="connsiteY536" fmla="*/ 4662092 h 6858000"/>
              <a:gd name="connsiteX537" fmla="*/ 4900699 w 7467600"/>
              <a:gd name="connsiteY537" fmla="*/ 4670867 h 6858000"/>
              <a:gd name="connsiteX538" fmla="*/ 5714511 w 7467600"/>
              <a:gd name="connsiteY538" fmla="*/ 4663483 h 6858000"/>
              <a:gd name="connsiteX539" fmla="*/ 5464793 w 7467600"/>
              <a:gd name="connsiteY539" fmla="*/ 4393556 h 6858000"/>
              <a:gd name="connsiteX540" fmla="*/ 5461897 w 7467600"/>
              <a:gd name="connsiteY540" fmla="*/ 4390879 h 6858000"/>
              <a:gd name="connsiteX541" fmla="*/ 4294126 w 7467600"/>
              <a:gd name="connsiteY541" fmla="*/ 3303048 h 6858000"/>
              <a:gd name="connsiteX542" fmla="*/ 4305321 w 7467600"/>
              <a:gd name="connsiteY542" fmla="*/ 3256953 h 6858000"/>
              <a:gd name="connsiteX543" fmla="*/ 4949299 w 7467600"/>
              <a:gd name="connsiteY543" fmla="*/ 3766336 h 6858000"/>
              <a:gd name="connsiteX544" fmla="*/ 5291452 w 7467600"/>
              <a:gd name="connsiteY544" fmla="*/ 4076801 h 6858000"/>
              <a:gd name="connsiteX545" fmla="*/ 5434998 w 7467600"/>
              <a:gd name="connsiteY545" fmla="*/ 4254100 h 6858000"/>
              <a:gd name="connsiteX546" fmla="*/ 5351015 w 7467600"/>
              <a:gd name="connsiteY546" fmla="*/ 3760989 h 6858000"/>
              <a:gd name="connsiteX547" fmla="*/ 5413780 w 7467600"/>
              <a:gd name="connsiteY547" fmla="*/ 2966265 h 6858000"/>
              <a:gd name="connsiteX548" fmla="*/ 5425627 w 7467600"/>
              <a:gd name="connsiteY548" fmla="*/ 2954192 h 6858000"/>
              <a:gd name="connsiteX549" fmla="*/ 6604735 w 7467600"/>
              <a:gd name="connsiteY549" fmla="*/ 2041381 h 6858000"/>
              <a:gd name="connsiteX550" fmla="*/ 7204487 w 7467600"/>
              <a:gd name="connsiteY550" fmla="*/ 2742112 h 6858000"/>
              <a:gd name="connsiteX551" fmla="*/ 7131592 w 7467600"/>
              <a:gd name="connsiteY551" fmla="*/ 2672096 h 6858000"/>
              <a:gd name="connsiteX552" fmla="*/ 6996344 w 7467600"/>
              <a:gd name="connsiteY552" fmla="*/ 2518310 h 6858000"/>
              <a:gd name="connsiteX553" fmla="*/ 6735495 w 7467600"/>
              <a:gd name="connsiteY553" fmla="*/ 2196890 h 6858000"/>
              <a:gd name="connsiteX554" fmla="*/ 6721901 w 7467600"/>
              <a:gd name="connsiteY554" fmla="*/ 2179274 h 6858000"/>
              <a:gd name="connsiteX555" fmla="*/ 6604735 w 7467600"/>
              <a:gd name="connsiteY555" fmla="*/ 2041381 h 6858000"/>
              <a:gd name="connsiteX556" fmla="*/ 6591670 w 7467600"/>
              <a:gd name="connsiteY556" fmla="*/ 1988277 h 6858000"/>
              <a:gd name="connsiteX557" fmla="*/ 6747349 w 7467600"/>
              <a:gd name="connsiteY557" fmla="*/ 2160069 h 6858000"/>
              <a:gd name="connsiteX558" fmla="*/ 6760943 w 7467600"/>
              <a:gd name="connsiteY558" fmla="*/ 2177686 h 6858000"/>
              <a:gd name="connsiteX559" fmla="*/ 7021065 w 7467600"/>
              <a:gd name="connsiteY559" fmla="*/ 2498102 h 6858000"/>
              <a:gd name="connsiteX560" fmla="*/ 7155223 w 7467600"/>
              <a:gd name="connsiteY560" fmla="*/ 2650386 h 6858000"/>
              <a:gd name="connsiteX561" fmla="*/ 7203167 w 7467600"/>
              <a:gd name="connsiteY561" fmla="*/ 2697288 h 6858000"/>
              <a:gd name="connsiteX562" fmla="*/ 6937703 w 7467600"/>
              <a:gd name="connsiteY562" fmla="*/ 2321981 h 6858000"/>
              <a:gd name="connsiteX563" fmla="*/ 6591670 w 7467600"/>
              <a:gd name="connsiteY563" fmla="*/ 1988277 h 6858000"/>
              <a:gd name="connsiteX564" fmla="*/ 5798671 w 7467600"/>
              <a:gd name="connsiteY564" fmla="*/ 1981601 h 6858000"/>
              <a:gd name="connsiteX565" fmla="*/ 5754709 w 7467600"/>
              <a:gd name="connsiteY565" fmla="*/ 2071454 h 6858000"/>
              <a:gd name="connsiteX566" fmla="*/ 5763044 w 7467600"/>
              <a:gd name="connsiteY566" fmla="*/ 2842206 h 6858000"/>
              <a:gd name="connsiteX567" fmla="*/ 5764974 w 7467600"/>
              <a:gd name="connsiteY567" fmla="*/ 2799609 h 6858000"/>
              <a:gd name="connsiteX568" fmla="*/ 5767665 w 7467600"/>
              <a:gd name="connsiteY568" fmla="*/ 2666409 h 6858000"/>
              <a:gd name="connsiteX569" fmla="*/ 5763055 w 7467600"/>
              <a:gd name="connsiteY569" fmla="*/ 2579705 h 6858000"/>
              <a:gd name="connsiteX570" fmla="*/ 5758079 w 7467600"/>
              <a:gd name="connsiteY570" fmla="*/ 2492508 h 6858000"/>
              <a:gd name="connsiteX571" fmla="*/ 5779325 w 7467600"/>
              <a:gd name="connsiteY571" fmla="*/ 2197069 h 6858000"/>
              <a:gd name="connsiteX572" fmla="*/ 5798671 w 7467600"/>
              <a:gd name="connsiteY572" fmla="*/ 1981601 h 6858000"/>
              <a:gd name="connsiteX573" fmla="*/ 5829202 w 7467600"/>
              <a:gd name="connsiteY573" fmla="*/ 1971679 h 6858000"/>
              <a:gd name="connsiteX574" fmla="*/ 5809558 w 7467600"/>
              <a:gd name="connsiteY574" fmla="*/ 2198043 h 6858000"/>
              <a:gd name="connsiteX575" fmla="*/ 5788653 w 7467600"/>
              <a:gd name="connsiteY575" fmla="*/ 2489430 h 6858000"/>
              <a:gd name="connsiteX576" fmla="*/ 5793439 w 7467600"/>
              <a:gd name="connsiteY576" fmla="*/ 2575235 h 6858000"/>
              <a:gd name="connsiteX577" fmla="*/ 5796837 w 7467600"/>
              <a:gd name="connsiteY577" fmla="*/ 2637633 h 6858000"/>
              <a:gd name="connsiteX578" fmla="*/ 5818614 w 7467600"/>
              <a:gd name="connsiteY578" fmla="*/ 2473055 h 6858000"/>
              <a:gd name="connsiteX579" fmla="*/ 5829202 w 7467600"/>
              <a:gd name="connsiteY579" fmla="*/ 1971679 h 6858000"/>
              <a:gd name="connsiteX580" fmla="*/ 5911389 w 7467600"/>
              <a:gd name="connsiteY580" fmla="*/ 1898371 h 6858000"/>
              <a:gd name="connsiteX581" fmla="*/ 6237627 w 7467600"/>
              <a:gd name="connsiteY581" fmla="*/ 2231921 h 6858000"/>
              <a:gd name="connsiteX582" fmla="*/ 5911389 w 7467600"/>
              <a:gd name="connsiteY582" fmla="*/ 1898371 h 6858000"/>
              <a:gd name="connsiteX583" fmla="*/ 6944437 w 7467600"/>
              <a:gd name="connsiteY583" fmla="*/ 1575402 h 6858000"/>
              <a:gd name="connsiteX584" fmla="*/ 6304730 w 7467600"/>
              <a:gd name="connsiteY584" fmla="*/ 1766654 h 6858000"/>
              <a:gd name="connsiteX585" fmla="*/ 6944437 w 7467600"/>
              <a:gd name="connsiteY585" fmla="*/ 1575402 h 6858000"/>
              <a:gd name="connsiteX586" fmla="*/ 7019523 w 7467600"/>
              <a:gd name="connsiteY586" fmla="*/ 1519450 h 6858000"/>
              <a:gd name="connsiteX587" fmla="*/ 6298091 w 7467600"/>
              <a:gd name="connsiteY587" fmla="*/ 1737122 h 6858000"/>
              <a:gd name="connsiteX588" fmla="*/ 7019523 w 7467600"/>
              <a:gd name="connsiteY588" fmla="*/ 1519450 h 6858000"/>
              <a:gd name="connsiteX589" fmla="*/ 2399523 w 7467600"/>
              <a:gd name="connsiteY589" fmla="*/ 1428234 h 6858000"/>
              <a:gd name="connsiteX590" fmla="*/ 2224982 w 7467600"/>
              <a:gd name="connsiteY590" fmla="*/ 1826201 h 6858000"/>
              <a:gd name="connsiteX591" fmla="*/ 2096099 w 7467600"/>
              <a:gd name="connsiteY591" fmla="*/ 2345900 h 6858000"/>
              <a:gd name="connsiteX592" fmla="*/ 2283317 w 7467600"/>
              <a:gd name="connsiteY592" fmla="*/ 1796925 h 6858000"/>
              <a:gd name="connsiteX593" fmla="*/ 2399523 w 7467600"/>
              <a:gd name="connsiteY593" fmla="*/ 1428234 h 6858000"/>
              <a:gd name="connsiteX594" fmla="*/ 2448558 w 7467600"/>
              <a:gd name="connsiteY594" fmla="*/ 1373435 h 6858000"/>
              <a:gd name="connsiteX595" fmla="*/ 2312521 w 7467600"/>
              <a:gd name="connsiteY595" fmla="*/ 1806140 h 6858000"/>
              <a:gd name="connsiteX596" fmla="*/ 2127533 w 7467600"/>
              <a:gd name="connsiteY596" fmla="*/ 2348380 h 6858000"/>
              <a:gd name="connsiteX597" fmla="*/ 2358080 w 7467600"/>
              <a:gd name="connsiteY597" fmla="*/ 1866134 h 6858000"/>
              <a:gd name="connsiteX598" fmla="*/ 2407436 w 7467600"/>
              <a:gd name="connsiteY598" fmla="*/ 1651070 h 6858000"/>
              <a:gd name="connsiteX599" fmla="*/ 2448558 w 7467600"/>
              <a:gd name="connsiteY599" fmla="*/ 1373435 h 6858000"/>
              <a:gd name="connsiteX600" fmla="*/ 278707 w 7467600"/>
              <a:gd name="connsiteY600" fmla="*/ 1352270 h 6858000"/>
              <a:gd name="connsiteX601" fmla="*/ 321570 w 7467600"/>
              <a:gd name="connsiteY601" fmla="*/ 1861610 h 6858000"/>
              <a:gd name="connsiteX602" fmla="*/ 294281 w 7467600"/>
              <a:gd name="connsiteY602" fmla="*/ 1440658 h 6858000"/>
              <a:gd name="connsiteX603" fmla="*/ 278707 w 7467600"/>
              <a:gd name="connsiteY603" fmla="*/ 1352270 h 6858000"/>
              <a:gd name="connsiteX604" fmla="*/ 1423821 w 7467600"/>
              <a:gd name="connsiteY604" fmla="*/ 1351958 h 6858000"/>
              <a:gd name="connsiteX605" fmla="*/ 1638521 w 7467600"/>
              <a:gd name="connsiteY605" fmla="*/ 1908470 h 6858000"/>
              <a:gd name="connsiteX606" fmla="*/ 1754199 w 7467600"/>
              <a:gd name="connsiteY606" fmla="*/ 2149284 h 6858000"/>
              <a:gd name="connsiteX607" fmla="*/ 1908359 w 7467600"/>
              <a:gd name="connsiteY607" fmla="*/ 2364988 h 6858000"/>
              <a:gd name="connsiteX608" fmla="*/ 1647661 w 7467600"/>
              <a:gd name="connsiteY608" fmla="*/ 1825945 h 6858000"/>
              <a:gd name="connsiteX609" fmla="*/ 1423821 w 7467600"/>
              <a:gd name="connsiteY609" fmla="*/ 1351958 h 6858000"/>
              <a:gd name="connsiteX610" fmla="*/ 1431890 w 7467600"/>
              <a:gd name="connsiteY610" fmla="*/ 1306475 h 6858000"/>
              <a:gd name="connsiteX611" fmla="*/ 1507597 w 7467600"/>
              <a:gd name="connsiteY611" fmla="*/ 1446132 h 6858000"/>
              <a:gd name="connsiteX612" fmla="*/ 1674586 w 7467600"/>
              <a:gd name="connsiteY612" fmla="*/ 1813832 h 6858000"/>
              <a:gd name="connsiteX613" fmla="*/ 1815950 w 7467600"/>
              <a:gd name="connsiteY613" fmla="*/ 2128564 h 6858000"/>
              <a:gd name="connsiteX614" fmla="*/ 1984242 w 7467600"/>
              <a:gd name="connsiteY614" fmla="*/ 2430829 h 6858000"/>
              <a:gd name="connsiteX615" fmla="*/ 2014023 w 7467600"/>
              <a:gd name="connsiteY615" fmla="*/ 2450995 h 6858000"/>
              <a:gd name="connsiteX616" fmla="*/ 1747337 w 7467600"/>
              <a:gd name="connsiteY616" fmla="*/ 1855264 h 6858000"/>
              <a:gd name="connsiteX617" fmla="*/ 1533749 w 7467600"/>
              <a:gd name="connsiteY617" fmla="*/ 1478656 h 6858000"/>
              <a:gd name="connsiteX618" fmla="*/ 1431890 w 7467600"/>
              <a:gd name="connsiteY618" fmla="*/ 1306475 h 6858000"/>
              <a:gd name="connsiteX619" fmla="*/ 5052692 w 7467600"/>
              <a:gd name="connsiteY619" fmla="*/ 1292994 h 6858000"/>
              <a:gd name="connsiteX620" fmla="*/ 5200661 w 7467600"/>
              <a:gd name="connsiteY620" fmla="*/ 1635186 h 6858000"/>
              <a:gd name="connsiteX621" fmla="*/ 5297138 w 7467600"/>
              <a:gd name="connsiteY621" fmla="*/ 1906351 h 6858000"/>
              <a:gd name="connsiteX622" fmla="*/ 5052692 w 7467600"/>
              <a:gd name="connsiteY622" fmla="*/ 1292994 h 6858000"/>
              <a:gd name="connsiteX623" fmla="*/ 5009948 w 7467600"/>
              <a:gd name="connsiteY623" fmla="*/ 1273619 h 6858000"/>
              <a:gd name="connsiteX624" fmla="*/ 5121777 w 7467600"/>
              <a:gd name="connsiteY624" fmla="*/ 1654213 h 6858000"/>
              <a:gd name="connsiteX625" fmla="*/ 5293545 w 7467600"/>
              <a:gd name="connsiteY625" fmla="*/ 2072247 h 6858000"/>
              <a:gd name="connsiteX626" fmla="*/ 5294042 w 7467600"/>
              <a:gd name="connsiteY626" fmla="*/ 2065019 h 6858000"/>
              <a:gd name="connsiteX627" fmla="*/ 5171936 w 7467600"/>
              <a:gd name="connsiteY627" fmla="*/ 1647613 h 6858000"/>
              <a:gd name="connsiteX628" fmla="*/ 5009948 w 7467600"/>
              <a:gd name="connsiteY628" fmla="*/ 1273619 h 6858000"/>
              <a:gd name="connsiteX629" fmla="*/ 655236 w 7467600"/>
              <a:gd name="connsiteY629" fmla="*/ 1268632 h 6858000"/>
              <a:gd name="connsiteX630" fmla="*/ 839521 w 7467600"/>
              <a:gd name="connsiteY630" fmla="*/ 1685315 h 6858000"/>
              <a:gd name="connsiteX631" fmla="*/ 1109416 w 7467600"/>
              <a:gd name="connsiteY631" fmla="*/ 2061663 h 6858000"/>
              <a:gd name="connsiteX632" fmla="*/ 1298300 w 7467600"/>
              <a:gd name="connsiteY632" fmla="*/ 2247742 h 6858000"/>
              <a:gd name="connsiteX633" fmla="*/ 1125871 w 7467600"/>
              <a:gd name="connsiteY633" fmla="*/ 1989513 h 6858000"/>
              <a:gd name="connsiteX634" fmla="*/ 981574 w 7467600"/>
              <a:gd name="connsiteY634" fmla="*/ 1783157 h 6858000"/>
              <a:gd name="connsiteX635" fmla="*/ 922198 w 7467600"/>
              <a:gd name="connsiteY635" fmla="*/ 1677437 h 6858000"/>
              <a:gd name="connsiteX636" fmla="*/ 869293 w 7467600"/>
              <a:gd name="connsiteY636" fmla="*/ 1583214 h 6858000"/>
              <a:gd name="connsiteX637" fmla="*/ 751431 w 7467600"/>
              <a:gd name="connsiteY637" fmla="*/ 1405731 h 6858000"/>
              <a:gd name="connsiteX638" fmla="*/ 655236 w 7467600"/>
              <a:gd name="connsiteY638" fmla="*/ 1268632 h 6858000"/>
              <a:gd name="connsiteX639" fmla="*/ 6516292 w 7467600"/>
              <a:gd name="connsiteY639" fmla="*/ 1263064 h 6858000"/>
              <a:gd name="connsiteX640" fmla="*/ 5736320 w 7467600"/>
              <a:gd name="connsiteY640" fmla="*/ 1501803 h 6858000"/>
              <a:gd name="connsiteX641" fmla="*/ 6516292 w 7467600"/>
              <a:gd name="connsiteY641" fmla="*/ 1263064 h 6858000"/>
              <a:gd name="connsiteX642" fmla="*/ 291466 w 7467600"/>
              <a:gd name="connsiteY642" fmla="*/ 1250369 h 6858000"/>
              <a:gd name="connsiteX643" fmla="*/ 323180 w 7467600"/>
              <a:gd name="connsiteY643" fmla="*/ 1435283 h 6858000"/>
              <a:gd name="connsiteX644" fmla="*/ 349381 w 7467600"/>
              <a:gd name="connsiteY644" fmla="*/ 1875041 h 6858000"/>
              <a:gd name="connsiteX645" fmla="*/ 374363 w 7467600"/>
              <a:gd name="connsiteY645" fmla="*/ 1506494 h 6858000"/>
              <a:gd name="connsiteX646" fmla="*/ 302168 w 7467600"/>
              <a:gd name="connsiteY646" fmla="*/ 1274495 h 6858000"/>
              <a:gd name="connsiteX647" fmla="*/ 291466 w 7467600"/>
              <a:gd name="connsiteY647" fmla="*/ 1250369 h 6858000"/>
              <a:gd name="connsiteX648" fmla="*/ 678222 w 7467600"/>
              <a:gd name="connsiteY648" fmla="*/ 1248670 h 6858000"/>
              <a:gd name="connsiteX649" fmla="*/ 775536 w 7467600"/>
              <a:gd name="connsiteY649" fmla="*/ 1388015 h 6858000"/>
              <a:gd name="connsiteX650" fmla="*/ 894529 w 7467600"/>
              <a:gd name="connsiteY650" fmla="*/ 1567739 h 6858000"/>
              <a:gd name="connsiteX651" fmla="*/ 948000 w 7467600"/>
              <a:gd name="connsiteY651" fmla="*/ 1663088 h 6858000"/>
              <a:gd name="connsiteX652" fmla="*/ 1006812 w 7467600"/>
              <a:gd name="connsiteY652" fmla="*/ 1767683 h 6858000"/>
              <a:gd name="connsiteX653" fmla="*/ 1149133 w 7467600"/>
              <a:gd name="connsiteY653" fmla="*/ 1971513 h 6858000"/>
              <a:gd name="connsiteX654" fmla="*/ 1333952 w 7467600"/>
              <a:gd name="connsiteY654" fmla="*/ 2251620 h 6858000"/>
              <a:gd name="connsiteX655" fmla="*/ 1337329 w 7467600"/>
              <a:gd name="connsiteY655" fmla="*/ 2258350 h 6858000"/>
              <a:gd name="connsiteX656" fmla="*/ 1014726 w 7467600"/>
              <a:gd name="connsiteY656" fmla="*/ 1615556 h 6858000"/>
              <a:gd name="connsiteX657" fmla="*/ 678222 w 7467600"/>
              <a:gd name="connsiteY657" fmla="*/ 1248670 h 6858000"/>
              <a:gd name="connsiteX658" fmla="*/ 6691602 w 7467600"/>
              <a:gd name="connsiteY658" fmla="*/ 1140573 h 6858000"/>
              <a:gd name="connsiteX659" fmla="*/ 6571100 w 7467600"/>
              <a:gd name="connsiteY659" fmla="*/ 1183662 h 6858000"/>
              <a:gd name="connsiteX660" fmla="*/ 6241687 w 7467600"/>
              <a:gd name="connsiteY660" fmla="*/ 1257600 h 6858000"/>
              <a:gd name="connsiteX661" fmla="*/ 5693009 w 7467600"/>
              <a:gd name="connsiteY661" fmla="*/ 1478256 h 6858000"/>
              <a:gd name="connsiteX662" fmla="*/ 6548420 w 7467600"/>
              <a:gd name="connsiteY662" fmla="*/ 1214599 h 6858000"/>
              <a:gd name="connsiteX663" fmla="*/ 6605473 w 7467600"/>
              <a:gd name="connsiteY663" fmla="*/ 1184686 h 6858000"/>
              <a:gd name="connsiteX664" fmla="*/ 6691602 w 7467600"/>
              <a:gd name="connsiteY664" fmla="*/ 1140573 h 6858000"/>
              <a:gd name="connsiteX665" fmla="*/ 4002475 w 7467600"/>
              <a:gd name="connsiteY665" fmla="*/ 1037802 h 6858000"/>
              <a:gd name="connsiteX666" fmla="*/ 4000324 w 7467600"/>
              <a:gd name="connsiteY666" fmla="*/ 1039362 h 6858000"/>
              <a:gd name="connsiteX667" fmla="*/ 4002862 w 7467600"/>
              <a:gd name="connsiteY667" fmla="*/ 1042866 h 6858000"/>
              <a:gd name="connsiteX668" fmla="*/ 4002475 w 7467600"/>
              <a:gd name="connsiteY668" fmla="*/ 1037802 h 6858000"/>
              <a:gd name="connsiteX669" fmla="*/ 506322 w 7467600"/>
              <a:gd name="connsiteY669" fmla="*/ 1020997 h 6858000"/>
              <a:gd name="connsiteX670" fmla="*/ 533068 w 7467600"/>
              <a:gd name="connsiteY670" fmla="*/ 1029409 h 6858000"/>
              <a:gd name="connsiteX671" fmla="*/ 1232525 w 7467600"/>
              <a:gd name="connsiteY671" fmla="*/ 1804675 h 6858000"/>
              <a:gd name="connsiteX672" fmla="*/ 1388858 w 7467600"/>
              <a:gd name="connsiteY672" fmla="*/ 2368011 h 6858000"/>
              <a:gd name="connsiteX673" fmla="*/ 1384098 w 7467600"/>
              <a:gd name="connsiteY673" fmla="*/ 2378125 h 6858000"/>
              <a:gd name="connsiteX674" fmla="*/ 1425393 w 7467600"/>
              <a:gd name="connsiteY674" fmla="*/ 2589124 h 6858000"/>
              <a:gd name="connsiteX675" fmla="*/ 1424001 w 7467600"/>
              <a:gd name="connsiteY675" fmla="*/ 2597541 h 6858000"/>
              <a:gd name="connsiteX676" fmla="*/ 2152729 w 7467600"/>
              <a:gd name="connsiteY676" fmla="*/ 2864487 h 6858000"/>
              <a:gd name="connsiteX677" fmla="*/ 2020609 w 7467600"/>
              <a:gd name="connsiteY677" fmla="*/ 2539671 h 6858000"/>
              <a:gd name="connsiteX678" fmla="*/ 2018920 w 7467600"/>
              <a:gd name="connsiteY678" fmla="*/ 2536309 h 6858000"/>
              <a:gd name="connsiteX679" fmla="*/ 1342441 w 7467600"/>
              <a:gd name="connsiteY679" fmla="*/ 1173017 h 6858000"/>
              <a:gd name="connsiteX680" fmla="*/ 1367925 w 7467600"/>
              <a:gd name="connsiteY680" fmla="*/ 1135648 h 6858000"/>
              <a:gd name="connsiteX681" fmla="*/ 1771401 w 7467600"/>
              <a:gd name="connsiteY681" fmla="*/ 1806673 h 6858000"/>
              <a:gd name="connsiteX682" fmla="*/ 1972385 w 7467600"/>
              <a:gd name="connsiteY682" fmla="*/ 2198735 h 6858000"/>
              <a:gd name="connsiteX683" fmla="*/ 2040892 w 7467600"/>
              <a:gd name="connsiteY683" fmla="*/ 2405205 h 6858000"/>
              <a:gd name="connsiteX684" fmla="*/ 2131689 w 7467600"/>
              <a:gd name="connsiteY684" fmla="*/ 1936926 h 6858000"/>
              <a:gd name="connsiteX685" fmla="*/ 2454820 w 7467600"/>
              <a:gd name="connsiteY685" fmla="*/ 1248808 h 6858000"/>
              <a:gd name="connsiteX686" fmla="*/ 2492512 w 7467600"/>
              <a:gd name="connsiteY686" fmla="*/ 1302920 h 6858000"/>
              <a:gd name="connsiteX687" fmla="*/ 2081216 w 7467600"/>
              <a:gd name="connsiteY687" fmla="*/ 2527513 h 6858000"/>
              <a:gd name="connsiteX688" fmla="*/ 2081211 w 7467600"/>
              <a:gd name="connsiteY688" fmla="*/ 2528916 h 6858000"/>
              <a:gd name="connsiteX689" fmla="*/ 2199067 w 7467600"/>
              <a:gd name="connsiteY689" fmla="*/ 2884061 h 6858000"/>
              <a:gd name="connsiteX690" fmla="*/ 3192586 w 7467600"/>
              <a:gd name="connsiteY690" fmla="*/ 3411496 h 6858000"/>
              <a:gd name="connsiteX691" fmla="*/ 3182620 w 7467600"/>
              <a:gd name="connsiteY691" fmla="*/ 3483279 h 6858000"/>
              <a:gd name="connsiteX692" fmla="*/ 2435119 w 7467600"/>
              <a:gd name="connsiteY692" fmla="*/ 3080173 h 6858000"/>
              <a:gd name="connsiteX693" fmla="*/ 2410152 w 7467600"/>
              <a:gd name="connsiteY693" fmla="*/ 3063751 h 6858000"/>
              <a:gd name="connsiteX694" fmla="*/ 2408099 w 7467600"/>
              <a:gd name="connsiteY694" fmla="*/ 3064403 h 6858000"/>
              <a:gd name="connsiteX695" fmla="*/ 2407218 w 7467600"/>
              <a:gd name="connsiteY695" fmla="*/ 3070324 h 6858000"/>
              <a:gd name="connsiteX696" fmla="*/ 2380138 w 7467600"/>
              <a:gd name="connsiteY696" fmla="*/ 3099341 h 6858000"/>
              <a:gd name="connsiteX697" fmla="*/ 1765923 w 7467600"/>
              <a:gd name="connsiteY697" fmla="*/ 3581043 h 6858000"/>
              <a:gd name="connsiteX698" fmla="*/ 1702258 w 7467600"/>
              <a:gd name="connsiteY698" fmla="*/ 3612286 h 6858000"/>
              <a:gd name="connsiteX699" fmla="*/ 1538370 w 7467600"/>
              <a:gd name="connsiteY699" fmla="*/ 3811804 h 6858000"/>
              <a:gd name="connsiteX700" fmla="*/ 542867 w 7467600"/>
              <a:gd name="connsiteY700" fmla="*/ 4944092 h 6858000"/>
              <a:gd name="connsiteX701" fmla="*/ 515800 w 7467600"/>
              <a:gd name="connsiteY701" fmla="*/ 4862180 h 6858000"/>
              <a:gd name="connsiteX702" fmla="*/ 909145 w 7467600"/>
              <a:gd name="connsiteY702" fmla="*/ 4199225 h 6858000"/>
              <a:gd name="connsiteX703" fmla="*/ 1214067 w 7467600"/>
              <a:gd name="connsiteY703" fmla="*/ 3908561 h 6858000"/>
              <a:gd name="connsiteX704" fmla="*/ 640967 w 7467600"/>
              <a:gd name="connsiteY704" fmla="*/ 4105601 h 6858000"/>
              <a:gd name="connsiteX705" fmla="*/ 112563 w 7467600"/>
              <a:gd name="connsiteY705" fmla="*/ 4396952 h 6858000"/>
              <a:gd name="connsiteX706" fmla="*/ 0 w 7467600"/>
              <a:gd name="connsiteY706" fmla="*/ 4466006 h 6858000"/>
              <a:gd name="connsiteX707" fmla="*/ 0 w 7467600"/>
              <a:gd name="connsiteY707" fmla="*/ 4233763 h 6858000"/>
              <a:gd name="connsiteX708" fmla="*/ 36881 w 7467600"/>
              <a:gd name="connsiteY708" fmla="*/ 4200118 h 6858000"/>
              <a:gd name="connsiteX709" fmla="*/ 910534 w 7467600"/>
              <a:gd name="connsiteY709" fmla="*/ 3629753 h 6858000"/>
              <a:gd name="connsiteX710" fmla="*/ 1578717 w 7467600"/>
              <a:gd name="connsiteY710" fmla="*/ 3575982 h 6858000"/>
              <a:gd name="connsiteX711" fmla="*/ 2338780 w 7467600"/>
              <a:gd name="connsiteY711" fmla="*/ 3033725 h 6858000"/>
              <a:gd name="connsiteX712" fmla="*/ 1807991 w 7467600"/>
              <a:gd name="connsiteY712" fmla="*/ 2807184 h 6858000"/>
              <a:gd name="connsiteX713" fmla="*/ 1416358 w 7467600"/>
              <a:gd name="connsiteY713" fmla="*/ 3112571 h 6858000"/>
              <a:gd name="connsiteX714" fmla="*/ 939066 w 7467600"/>
              <a:gd name="connsiteY714" fmla="*/ 3378798 h 6858000"/>
              <a:gd name="connsiteX715" fmla="*/ 115099 w 7467600"/>
              <a:gd name="connsiteY715" fmla="*/ 3607650 h 6858000"/>
              <a:gd name="connsiteX716" fmla="*/ 97284 w 7467600"/>
              <a:gd name="connsiteY716" fmla="*/ 3520393 h 6858000"/>
              <a:gd name="connsiteX717" fmla="*/ 922050 w 7467600"/>
              <a:gd name="connsiteY717" fmla="*/ 3074867 h 6858000"/>
              <a:gd name="connsiteX718" fmla="*/ 1405265 w 7467600"/>
              <a:gd name="connsiteY718" fmla="*/ 3016319 h 6858000"/>
              <a:gd name="connsiteX719" fmla="*/ 1407512 w 7467600"/>
              <a:gd name="connsiteY719" fmla="*/ 3018001 h 6858000"/>
              <a:gd name="connsiteX720" fmla="*/ 1726266 w 7467600"/>
              <a:gd name="connsiteY720" fmla="*/ 2777274 h 6858000"/>
              <a:gd name="connsiteX721" fmla="*/ 625390 w 7467600"/>
              <a:gd name="connsiteY721" fmla="*/ 2514541 h 6858000"/>
              <a:gd name="connsiteX722" fmla="*/ 619799 w 7467600"/>
              <a:gd name="connsiteY722" fmla="*/ 2527180 h 6858000"/>
              <a:gd name="connsiteX723" fmla="*/ 310030 w 7467600"/>
              <a:gd name="connsiteY723" fmla="*/ 2771818 h 6858000"/>
              <a:gd name="connsiteX724" fmla="*/ 173877 w 7467600"/>
              <a:gd name="connsiteY724" fmla="*/ 2937056 h 6858000"/>
              <a:gd name="connsiteX725" fmla="*/ 77889 w 7467600"/>
              <a:gd name="connsiteY725" fmla="*/ 3138440 h 6858000"/>
              <a:gd name="connsiteX726" fmla="*/ 0 w 7467600"/>
              <a:gd name="connsiteY726" fmla="*/ 3271395 h 6858000"/>
              <a:gd name="connsiteX727" fmla="*/ 0 w 7467600"/>
              <a:gd name="connsiteY727" fmla="*/ 3153002 h 6858000"/>
              <a:gd name="connsiteX728" fmla="*/ 2386 w 7467600"/>
              <a:gd name="connsiteY728" fmla="*/ 3149203 h 6858000"/>
              <a:gd name="connsiteX729" fmla="*/ 89753 w 7467600"/>
              <a:gd name="connsiteY729" fmla="*/ 2987702 h 6858000"/>
              <a:gd name="connsiteX730" fmla="*/ 76869 w 7467600"/>
              <a:gd name="connsiteY730" fmla="*/ 3005404 h 6858000"/>
              <a:gd name="connsiteX731" fmla="*/ 32049 w 7467600"/>
              <a:gd name="connsiteY731" fmla="*/ 3065814 h 6858000"/>
              <a:gd name="connsiteX732" fmla="*/ 0 w 7467600"/>
              <a:gd name="connsiteY732" fmla="*/ 3108744 h 6858000"/>
              <a:gd name="connsiteX733" fmla="*/ 0 w 7467600"/>
              <a:gd name="connsiteY733" fmla="*/ 3058059 h 6858000"/>
              <a:gd name="connsiteX734" fmla="*/ 7610 w 7467600"/>
              <a:gd name="connsiteY734" fmla="*/ 3047889 h 6858000"/>
              <a:gd name="connsiteX735" fmla="*/ 52419 w 7467600"/>
              <a:gd name="connsiteY735" fmla="*/ 2987479 h 6858000"/>
              <a:gd name="connsiteX736" fmla="*/ 59142 w 7467600"/>
              <a:gd name="connsiteY736" fmla="*/ 2978488 h 6858000"/>
              <a:gd name="connsiteX737" fmla="*/ 0 w 7467600"/>
              <a:gd name="connsiteY737" fmla="*/ 3015334 h 6858000"/>
              <a:gd name="connsiteX738" fmla="*/ 0 w 7467600"/>
              <a:gd name="connsiteY738" fmla="*/ 2914286 h 6858000"/>
              <a:gd name="connsiteX739" fmla="*/ 36383 w 7467600"/>
              <a:gd name="connsiteY739" fmla="*/ 2901128 h 6858000"/>
              <a:gd name="connsiteX740" fmla="*/ 156329 w 7467600"/>
              <a:gd name="connsiteY740" fmla="*/ 2840533 h 6858000"/>
              <a:gd name="connsiteX741" fmla="*/ 358355 w 7467600"/>
              <a:gd name="connsiteY741" fmla="*/ 2620471 h 6858000"/>
              <a:gd name="connsiteX742" fmla="*/ 510577 w 7467600"/>
              <a:gd name="connsiteY742" fmla="*/ 2501244 h 6858000"/>
              <a:gd name="connsiteX743" fmla="*/ 211967 w 7467600"/>
              <a:gd name="connsiteY743" fmla="*/ 2479171 h 6858000"/>
              <a:gd name="connsiteX744" fmla="*/ 0 w 7467600"/>
              <a:gd name="connsiteY744" fmla="*/ 2476398 h 6858000"/>
              <a:gd name="connsiteX745" fmla="*/ 0 w 7467600"/>
              <a:gd name="connsiteY745" fmla="*/ 2389189 h 6858000"/>
              <a:gd name="connsiteX746" fmla="*/ 103062 w 7467600"/>
              <a:gd name="connsiteY746" fmla="*/ 2389518 h 6858000"/>
              <a:gd name="connsiteX747" fmla="*/ 510734 w 7467600"/>
              <a:gd name="connsiteY747" fmla="*/ 2416201 h 6858000"/>
              <a:gd name="connsiteX748" fmla="*/ 279257 w 7467600"/>
              <a:gd name="connsiteY748" fmla="*/ 2092102 h 6858000"/>
              <a:gd name="connsiteX749" fmla="*/ 65265 w 7467600"/>
              <a:gd name="connsiteY749" fmla="*/ 2006049 h 6858000"/>
              <a:gd name="connsiteX750" fmla="*/ 0 w 7467600"/>
              <a:gd name="connsiteY750" fmla="*/ 1982532 h 6858000"/>
              <a:gd name="connsiteX751" fmla="*/ 0 w 7467600"/>
              <a:gd name="connsiteY751" fmla="*/ 1912789 h 6858000"/>
              <a:gd name="connsiteX752" fmla="*/ 97460 w 7467600"/>
              <a:gd name="connsiteY752" fmla="*/ 1953725 h 6858000"/>
              <a:gd name="connsiteX753" fmla="*/ 221272 w 7467600"/>
              <a:gd name="connsiteY753" fmla="*/ 1980766 h 6858000"/>
              <a:gd name="connsiteX754" fmla="*/ 116765 w 7467600"/>
              <a:gd name="connsiteY754" fmla="*/ 1911033 h 6858000"/>
              <a:gd name="connsiteX755" fmla="*/ 16405 w 7467600"/>
              <a:gd name="connsiteY755" fmla="*/ 1803412 h 6858000"/>
              <a:gd name="connsiteX756" fmla="*/ 0 w 7467600"/>
              <a:gd name="connsiteY756" fmla="*/ 1784777 h 6858000"/>
              <a:gd name="connsiteX757" fmla="*/ 0 w 7467600"/>
              <a:gd name="connsiteY757" fmla="*/ 1740082 h 6858000"/>
              <a:gd name="connsiteX758" fmla="*/ 39394 w 7467600"/>
              <a:gd name="connsiteY758" fmla="*/ 1784856 h 6858000"/>
              <a:gd name="connsiteX759" fmla="*/ 135813 w 7467600"/>
              <a:gd name="connsiteY759" fmla="*/ 1888838 h 6858000"/>
              <a:gd name="connsiteX760" fmla="*/ 242575 w 7467600"/>
              <a:gd name="connsiteY760" fmla="*/ 1958841 h 6858000"/>
              <a:gd name="connsiteX761" fmla="*/ 82197 w 7467600"/>
              <a:gd name="connsiteY761" fmla="*/ 1754826 h 6858000"/>
              <a:gd name="connsiteX762" fmla="*/ 0 w 7467600"/>
              <a:gd name="connsiteY762" fmla="*/ 1679650 h 6858000"/>
              <a:gd name="connsiteX763" fmla="*/ 0 w 7467600"/>
              <a:gd name="connsiteY763" fmla="*/ 1602463 h 6858000"/>
              <a:gd name="connsiteX764" fmla="*/ 84689 w 7467600"/>
              <a:gd name="connsiteY764" fmla="*/ 1677442 h 6858000"/>
              <a:gd name="connsiteX765" fmla="*/ 298437 w 7467600"/>
              <a:gd name="connsiteY765" fmla="*/ 1968019 h 6858000"/>
              <a:gd name="connsiteX766" fmla="*/ 227269 w 7467600"/>
              <a:gd name="connsiteY766" fmla="*/ 1114064 h 6858000"/>
              <a:gd name="connsiteX767" fmla="*/ 248003 w 7467600"/>
              <a:gd name="connsiteY767" fmla="*/ 1089613 h 6858000"/>
              <a:gd name="connsiteX768" fmla="*/ 427020 w 7467600"/>
              <a:gd name="connsiteY768" fmla="*/ 1619803 h 6858000"/>
              <a:gd name="connsiteX769" fmla="*/ 340345 w 7467600"/>
              <a:gd name="connsiteY769" fmla="*/ 2027739 h 6858000"/>
              <a:gd name="connsiteX770" fmla="*/ 360865 w 7467600"/>
              <a:gd name="connsiteY770" fmla="*/ 2044827 h 6858000"/>
              <a:gd name="connsiteX771" fmla="*/ 560414 w 7467600"/>
              <a:gd name="connsiteY771" fmla="*/ 2421457 h 6858000"/>
              <a:gd name="connsiteX772" fmla="*/ 1359703 w 7467600"/>
              <a:gd name="connsiteY772" fmla="*/ 2578554 h 6858000"/>
              <a:gd name="connsiteX773" fmla="*/ 1359422 w 7467600"/>
              <a:gd name="connsiteY773" fmla="*/ 2577994 h 6858000"/>
              <a:gd name="connsiteX774" fmla="*/ 828701 w 7467600"/>
              <a:gd name="connsiteY774" fmla="*/ 1839520 h 6858000"/>
              <a:gd name="connsiteX775" fmla="*/ 494427 w 7467600"/>
              <a:gd name="connsiteY775" fmla="*/ 1092333 h 6858000"/>
              <a:gd name="connsiteX776" fmla="*/ 506322 w 7467600"/>
              <a:gd name="connsiteY776" fmla="*/ 1020997 h 6858000"/>
              <a:gd name="connsiteX777" fmla="*/ 4570198 w 7467600"/>
              <a:gd name="connsiteY777" fmla="*/ 978081 h 6858000"/>
              <a:gd name="connsiteX778" fmla="*/ 4523691 w 7467600"/>
              <a:gd name="connsiteY778" fmla="*/ 1127776 h 6858000"/>
              <a:gd name="connsiteX779" fmla="*/ 4509875 w 7467600"/>
              <a:gd name="connsiteY779" fmla="*/ 1167552 h 6858000"/>
              <a:gd name="connsiteX780" fmla="*/ 4478168 w 7467600"/>
              <a:gd name="connsiteY780" fmla="*/ 1260735 h 6858000"/>
              <a:gd name="connsiteX781" fmla="*/ 4409309 w 7467600"/>
              <a:gd name="connsiteY781" fmla="*/ 1666996 h 6858000"/>
              <a:gd name="connsiteX782" fmla="*/ 4370031 w 7467600"/>
              <a:gd name="connsiteY782" fmla="*/ 1955666 h 6858000"/>
              <a:gd name="connsiteX783" fmla="*/ 4570198 w 7467600"/>
              <a:gd name="connsiteY783" fmla="*/ 978081 h 6858000"/>
              <a:gd name="connsiteX784" fmla="*/ 4557898 w 7467600"/>
              <a:gd name="connsiteY784" fmla="*/ 900011 h 6858000"/>
              <a:gd name="connsiteX785" fmla="*/ 4344840 w 7467600"/>
              <a:gd name="connsiteY785" fmla="*/ 1922038 h 6858000"/>
              <a:gd name="connsiteX786" fmla="*/ 4378710 w 7467600"/>
              <a:gd name="connsiteY786" fmla="*/ 1665516 h 6858000"/>
              <a:gd name="connsiteX787" fmla="*/ 4448798 w 7467600"/>
              <a:gd name="connsiteY787" fmla="*/ 1253024 h 6858000"/>
              <a:gd name="connsiteX788" fmla="*/ 4480315 w 7467600"/>
              <a:gd name="connsiteY788" fmla="*/ 1158454 h 6858000"/>
              <a:gd name="connsiteX789" fmla="*/ 4494133 w 7467600"/>
              <a:gd name="connsiteY789" fmla="*/ 1118676 h 6858000"/>
              <a:gd name="connsiteX790" fmla="*/ 4557898 w 7467600"/>
              <a:gd name="connsiteY790" fmla="*/ 900011 h 6858000"/>
              <a:gd name="connsiteX791" fmla="*/ 5870151 w 7467600"/>
              <a:gd name="connsiteY791" fmla="*/ 898890 h 6858000"/>
              <a:gd name="connsiteX792" fmla="*/ 5861335 w 7467600"/>
              <a:gd name="connsiteY792" fmla="*/ 899177 h 6858000"/>
              <a:gd name="connsiteX793" fmla="*/ 5843702 w 7467600"/>
              <a:gd name="connsiteY793" fmla="*/ 899748 h 6858000"/>
              <a:gd name="connsiteX794" fmla="*/ 5651107 w 7467600"/>
              <a:gd name="connsiteY794" fmla="*/ 920306 h 6858000"/>
              <a:gd name="connsiteX795" fmla="*/ 5459407 w 7467600"/>
              <a:gd name="connsiteY795" fmla="*/ 940975 h 6858000"/>
              <a:gd name="connsiteX796" fmla="*/ 5374846 w 7467600"/>
              <a:gd name="connsiteY796" fmla="*/ 941988 h 6858000"/>
              <a:gd name="connsiteX797" fmla="*/ 5256105 w 7467600"/>
              <a:gd name="connsiteY797" fmla="*/ 945632 h 6858000"/>
              <a:gd name="connsiteX798" fmla="*/ 5107071 w 7467600"/>
              <a:gd name="connsiteY798" fmla="*/ 969720 h 6858000"/>
              <a:gd name="connsiteX799" fmla="*/ 4998681 w 7467600"/>
              <a:gd name="connsiteY799" fmla="*/ 988771 h 6858000"/>
              <a:gd name="connsiteX800" fmla="*/ 5870151 w 7467600"/>
              <a:gd name="connsiteY800" fmla="*/ 898890 h 6858000"/>
              <a:gd name="connsiteX801" fmla="*/ 5504425 w 7467600"/>
              <a:gd name="connsiteY801" fmla="*/ 848067 h 6858000"/>
              <a:gd name="connsiteX802" fmla="*/ 4968849 w 7467600"/>
              <a:gd name="connsiteY802" fmla="*/ 962318 h 6858000"/>
              <a:gd name="connsiteX803" fmla="*/ 5104039 w 7467600"/>
              <a:gd name="connsiteY803" fmla="*/ 940634 h 6858000"/>
              <a:gd name="connsiteX804" fmla="*/ 5256311 w 7467600"/>
              <a:gd name="connsiteY804" fmla="*/ 916490 h 6858000"/>
              <a:gd name="connsiteX805" fmla="*/ 5377381 w 7467600"/>
              <a:gd name="connsiteY805" fmla="*/ 912671 h 6858000"/>
              <a:gd name="connsiteX806" fmla="*/ 5460148 w 7467600"/>
              <a:gd name="connsiteY806" fmla="*/ 911442 h 6858000"/>
              <a:gd name="connsiteX807" fmla="*/ 5648971 w 7467600"/>
              <a:gd name="connsiteY807" fmla="*/ 891331 h 6858000"/>
              <a:gd name="connsiteX808" fmla="*/ 5844807 w 7467600"/>
              <a:gd name="connsiteY808" fmla="*/ 870718 h 6858000"/>
              <a:gd name="connsiteX809" fmla="*/ 5862975 w 7467600"/>
              <a:gd name="connsiteY809" fmla="*/ 869756 h 6858000"/>
              <a:gd name="connsiteX810" fmla="*/ 5920887 w 7467600"/>
              <a:gd name="connsiteY810" fmla="*/ 865929 h 6858000"/>
              <a:gd name="connsiteX811" fmla="*/ 5504425 w 7467600"/>
              <a:gd name="connsiteY811" fmla="*/ 848067 h 6858000"/>
              <a:gd name="connsiteX812" fmla="*/ 3607114 w 7467600"/>
              <a:gd name="connsiteY812" fmla="*/ 467441 h 6858000"/>
              <a:gd name="connsiteX813" fmla="*/ 3296242 w 7467600"/>
              <a:gd name="connsiteY813" fmla="*/ 807991 h 6858000"/>
              <a:gd name="connsiteX814" fmla="*/ 3174674 w 7467600"/>
              <a:gd name="connsiteY814" fmla="*/ 919759 h 6858000"/>
              <a:gd name="connsiteX815" fmla="*/ 3042978 w 7467600"/>
              <a:gd name="connsiteY815" fmla="*/ 1054894 h 6858000"/>
              <a:gd name="connsiteX816" fmla="*/ 2968914 w 7467600"/>
              <a:gd name="connsiteY816" fmla="*/ 1133756 h 6858000"/>
              <a:gd name="connsiteX817" fmla="*/ 3103823 w 7467600"/>
              <a:gd name="connsiteY817" fmla="*/ 1026814 h 6858000"/>
              <a:gd name="connsiteX818" fmla="*/ 3607114 w 7467600"/>
              <a:gd name="connsiteY818" fmla="*/ 467441 h 6858000"/>
              <a:gd name="connsiteX819" fmla="*/ 3744487 w 7467600"/>
              <a:gd name="connsiteY819" fmla="*/ 383136 h 6858000"/>
              <a:gd name="connsiteX820" fmla="*/ 3970213 w 7467600"/>
              <a:gd name="connsiteY820" fmla="*/ 995559 h 6858000"/>
              <a:gd name="connsiteX821" fmla="*/ 3744487 w 7467600"/>
              <a:gd name="connsiteY821" fmla="*/ 383136 h 6858000"/>
              <a:gd name="connsiteX822" fmla="*/ 3624562 w 7467600"/>
              <a:gd name="connsiteY822" fmla="*/ 367041 h 6858000"/>
              <a:gd name="connsiteX823" fmla="*/ 3489712 w 7467600"/>
              <a:gd name="connsiteY823" fmla="*/ 485386 h 6858000"/>
              <a:gd name="connsiteX824" fmla="*/ 3182994 w 7467600"/>
              <a:gd name="connsiteY824" fmla="*/ 828265 h 6858000"/>
              <a:gd name="connsiteX825" fmla="*/ 2892114 w 7467600"/>
              <a:gd name="connsiteY825" fmla="*/ 1172635 h 6858000"/>
              <a:gd name="connsiteX826" fmla="*/ 3021459 w 7467600"/>
              <a:gd name="connsiteY826" fmla="*/ 1035385 h 6858000"/>
              <a:gd name="connsiteX827" fmla="*/ 3153873 w 7467600"/>
              <a:gd name="connsiteY827" fmla="*/ 898971 h 6858000"/>
              <a:gd name="connsiteX828" fmla="*/ 3276511 w 7467600"/>
              <a:gd name="connsiteY828" fmla="*/ 786423 h 6858000"/>
              <a:gd name="connsiteX829" fmla="*/ 3584154 w 7467600"/>
              <a:gd name="connsiteY829" fmla="*/ 448218 h 6858000"/>
              <a:gd name="connsiteX830" fmla="*/ 3624562 w 7467600"/>
              <a:gd name="connsiteY830" fmla="*/ 367041 h 6858000"/>
              <a:gd name="connsiteX831" fmla="*/ 3766672 w 7467600"/>
              <a:gd name="connsiteY831" fmla="*/ 359429 h 6858000"/>
              <a:gd name="connsiteX832" fmla="*/ 3996338 w 7467600"/>
              <a:gd name="connsiteY832" fmla="*/ 968237 h 6858000"/>
              <a:gd name="connsiteX833" fmla="*/ 3766672 w 7467600"/>
              <a:gd name="connsiteY833" fmla="*/ 359429 h 6858000"/>
              <a:gd name="connsiteX834" fmla="*/ 5805386 w 7467600"/>
              <a:gd name="connsiteY834" fmla="*/ 239240 h 6858000"/>
              <a:gd name="connsiteX835" fmla="*/ 5736947 w 7467600"/>
              <a:gd name="connsiteY835" fmla="*/ 261367 h 6858000"/>
              <a:gd name="connsiteX836" fmla="*/ 5427012 w 7467600"/>
              <a:gd name="connsiteY836" fmla="*/ 311272 h 6858000"/>
              <a:gd name="connsiteX837" fmla="*/ 5147818 w 7467600"/>
              <a:gd name="connsiteY837" fmla="*/ 322112 h 6858000"/>
              <a:gd name="connsiteX838" fmla="*/ 5060854 w 7467600"/>
              <a:gd name="connsiteY838" fmla="*/ 311882 h 6858000"/>
              <a:gd name="connsiteX839" fmla="*/ 4945989 w 7467600"/>
              <a:gd name="connsiteY839" fmla="*/ 300516 h 6858000"/>
              <a:gd name="connsiteX840" fmla="*/ 5410479 w 7467600"/>
              <a:gd name="connsiteY840" fmla="*/ 348434 h 6858000"/>
              <a:gd name="connsiteX841" fmla="*/ 5805386 w 7467600"/>
              <a:gd name="connsiteY841" fmla="*/ 239240 h 6858000"/>
              <a:gd name="connsiteX842" fmla="*/ 5905192 w 7467600"/>
              <a:gd name="connsiteY842" fmla="*/ 163079 h 6858000"/>
              <a:gd name="connsiteX843" fmla="*/ 5865655 w 7467600"/>
              <a:gd name="connsiteY843" fmla="*/ 171901 h 6858000"/>
              <a:gd name="connsiteX844" fmla="*/ 5259740 w 7467600"/>
              <a:gd name="connsiteY844" fmla="*/ 257013 h 6858000"/>
              <a:gd name="connsiteX845" fmla="*/ 5208466 w 7467600"/>
              <a:gd name="connsiteY845" fmla="*/ 257550 h 6858000"/>
              <a:gd name="connsiteX846" fmla="*/ 4980204 w 7467600"/>
              <a:gd name="connsiteY846" fmla="*/ 271903 h 6858000"/>
              <a:gd name="connsiteX847" fmla="*/ 5068068 w 7467600"/>
              <a:gd name="connsiteY847" fmla="*/ 282244 h 6858000"/>
              <a:gd name="connsiteX848" fmla="*/ 5153231 w 7467600"/>
              <a:gd name="connsiteY848" fmla="*/ 292240 h 6858000"/>
              <a:gd name="connsiteX849" fmla="*/ 5426491 w 7467600"/>
              <a:gd name="connsiteY849" fmla="*/ 281128 h 6858000"/>
              <a:gd name="connsiteX850" fmla="*/ 5731212 w 7467600"/>
              <a:gd name="connsiteY850" fmla="*/ 231951 h 6858000"/>
              <a:gd name="connsiteX851" fmla="*/ 5905192 w 7467600"/>
              <a:gd name="connsiteY851" fmla="*/ 163079 h 6858000"/>
              <a:gd name="connsiteX852" fmla="*/ 5944437 w 7467600"/>
              <a:gd name="connsiteY852" fmla="*/ 113829 h 6858000"/>
              <a:gd name="connsiteX853" fmla="*/ 5825032 w 7467600"/>
              <a:gd name="connsiteY853" fmla="*/ 146405 h 6858000"/>
              <a:gd name="connsiteX854" fmla="*/ 4955599 w 7467600"/>
              <a:gd name="connsiteY854" fmla="*/ 247008 h 6858000"/>
              <a:gd name="connsiteX855" fmla="*/ 5210104 w 7467600"/>
              <a:gd name="connsiteY855" fmla="*/ 228123 h 6858000"/>
              <a:gd name="connsiteX856" fmla="*/ 5261015 w 7467600"/>
              <a:gd name="connsiteY856" fmla="*/ 227087 h 6858000"/>
              <a:gd name="connsiteX857" fmla="*/ 5861181 w 7467600"/>
              <a:gd name="connsiteY857" fmla="*/ 143093 h 6858000"/>
              <a:gd name="connsiteX858" fmla="*/ 5961252 w 7467600"/>
              <a:gd name="connsiteY858" fmla="*/ 114820 h 6858000"/>
              <a:gd name="connsiteX859" fmla="*/ 5944437 w 7467600"/>
              <a:gd name="connsiteY859" fmla="*/ 113829 h 6858000"/>
              <a:gd name="connsiteX860" fmla="*/ 3882765 w 7467600"/>
              <a:gd name="connsiteY860" fmla="*/ 0 h 6858000"/>
              <a:gd name="connsiteX861" fmla="*/ 3995099 w 7467600"/>
              <a:gd name="connsiteY861" fmla="*/ 0 h 6858000"/>
              <a:gd name="connsiteX862" fmla="*/ 4163818 w 7467600"/>
              <a:gd name="connsiteY862" fmla="*/ 234104 h 6858000"/>
              <a:gd name="connsiteX863" fmla="*/ 4172099 w 7467600"/>
              <a:gd name="connsiteY863" fmla="*/ 234207 h 6858000"/>
              <a:gd name="connsiteX864" fmla="*/ 4784282 w 7467600"/>
              <a:gd name="connsiteY864" fmla="*/ 276561 h 6858000"/>
              <a:gd name="connsiteX865" fmla="*/ 4801687 w 7467600"/>
              <a:gd name="connsiteY865" fmla="*/ 267764 h 6858000"/>
              <a:gd name="connsiteX866" fmla="*/ 6082788 w 7467600"/>
              <a:gd name="connsiteY866" fmla="*/ 64119 h 6858000"/>
              <a:gd name="connsiteX867" fmla="*/ 6099442 w 7467600"/>
              <a:gd name="connsiteY867" fmla="*/ 82568 h 6858000"/>
              <a:gd name="connsiteX868" fmla="*/ 4804137 w 7467600"/>
              <a:gd name="connsiteY868" fmla="*/ 320931 h 6858000"/>
              <a:gd name="connsiteX869" fmla="*/ 4227047 w 7467600"/>
              <a:gd name="connsiteY869" fmla="*/ 313415 h 6858000"/>
              <a:gd name="connsiteX870" fmla="*/ 4346041 w 7467600"/>
              <a:gd name="connsiteY870" fmla="*/ 456086 h 6858000"/>
              <a:gd name="connsiteX871" fmla="*/ 4870967 w 7467600"/>
              <a:gd name="connsiteY871" fmla="*/ 963061 h 6858000"/>
              <a:gd name="connsiteX872" fmla="*/ 4889647 w 7467600"/>
              <a:gd name="connsiteY872" fmla="*/ 957147 h 6858000"/>
              <a:gd name="connsiteX873" fmla="*/ 5422504 w 7467600"/>
              <a:gd name="connsiteY873" fmla="*/ 805191 h 6858000"/>
              <a:gd name="connsiteX874" fmla="*/ 6087656 w 7467600"/>
              <a:gd name="connsiteY874" fmla="*/ 826703 h 6858000"/>
              <a:gd name="connsiteX875" fmla="*/ 6058717 w 7467600"/>
              <a:gd name="connsiteY875" fmla="*/ 865992 h 6858000"/>
              <a:gd name="connsiteX876" fmla="*/ 4974153 w 7467600"/>
              <a:gd name="connsiteY876" fmla="*/ 1045456 h 6858000"/>
              <a:gd name="connsiteX877" fmla="*/ 5627835 w 7467600"/>
              <a:gd name="connsiteY877" fmla="*/ 1472077 h 6858000"/>
              <a:gd name="connsiteX878" fmla="*/ 5629817 w 7467600"/>
              <a:gd name="connsiteY878" fmla="*/ 1471412 h 6858000"/>
              <a:gd name="connsiteX879" fmla="*/ 5634124 w 7467600"/>
              <a:gd name="connsiteY879" fmla="*/ 1470572 h 6858000"/>
              <a:gd name="connsiteX880" fmla="*/ 5755832 w 7467600"/>
              <a:gd name="connsiteY880" fmla="*/ 1383886 h 6858000"/>
              <a:gd name="connsiteX881" fmla="*/ 6014186 w 7467600"/>
              <a:gd name="connsiteY881" fmla="*/ 1279799 h 6858000"/>
              <a:gd name="connsiteX882" fmla="*/ 6901619 w 7467600"/>
              <a:gd name="connsiteY882" fmla="*/ 1047874 h 6858000"/>
              <a:gd name="connsiteX883" fmla="*/ 6931566 w 7467600"/>
              <a:gd name="connsiteY883" fmla="*/ 1062034 h 6858000"/>
              <a:gd name="connsiteX884" fmla="*/ 5790982 w 7467600"/>
              <a:gd name="connsiteY884" fmla="*/ 1561380 h 6858000"/>
              <a:gd name="connsiteX885" fmla="*/ 6188971 w 7467600"/>
              <a:gd name="connsiteY885" fmla="*/ 1755168 h 6858000"/>
              <a:gd name="connsiteX886" fmla="*/ 6202446 w 7467600"/>
              <a:gd name="connsiteY886" fmla="*/ 1752268 h 6858000"/>
              <a:gd name="connsiteX887" fmla="*/ 7179560 w 7467600"/>
              <a:gd name="connsiteY887" fmla="*/ 1467551 h 6858000"/>
              <a:gd name="connsiteX888" fmla="*/ 7158730 w 7467600"/>
              <a:gd name="connsiteY888" fmla="*/ 1507835 h 6858000"/>
              <a:gd name="connsiteX889" fmla="*/ 6326959 w 7467600"/>
              <a:gd name="connsiteY889" fmla="*/ 1817686 h 6858000"/>
              <a:gd name="connsiteX890" fmla="*/ 6537433 w 7467600"/>
              <a:gd name="connsiteY890" fmla="*/ 1907790 h 6858000"/>
              <a:gd name="connsiteX891" fmla="*/ 6550221 w 7467600"/>
              <a:gd name="connsiteY891" fmla="*/ 1910729 h 6858000"/>
              <a:gd name="connsiteX892" fmla="*/ 6964438 w 7467600"/>
              <a:gd name="connsiteY892" fmla="*/ 2209505 h 6858000"/>
              <a:gd name="connsiteX893" fmla="*/ 7367862 w 7467600"/>
              <a:gd name="connsiteY893" fmla="*/ 2806833 h 6858000"/>
              <a:gd name="connsiteX894" fmla="*/ 7364329 w 7467600"/>
              <a:gd name="connsiteY894" fmla="*/ 2826907 h 6858000"/>
              <a:gd name="connsiteX895" fmla="*/ 7290545 w 7467600"/>
              <a:gd name="connsiteY895" fmla="*/ 2850663 h 6858000"/>
              <a:gd name="connsiteX896" fmla="*/ 6472036 w 7467600"/>
              <a:gd name="connsiteY896" fmla="*/ 1959003 h 6858000"/>
              <a:gd name="connsiteX897" fmla="*/ 5792897 w 7467600"/>
              <a:gd name="connsiteY897" fmla="*/ 1647747 h 6858000"/>
              <a:gd name="connsiteX898" fmla="*/ 5842751 w 7467600"/>
              <a:gd name="connsiteY898" fmla="*/ 1816112 h 6858000"/>
              <a:gd name="connsiteX899" fmla="*/ 5847424 w 7467600"/>
              <a:gd name="connsiteY899" fmla="*/ 1815776 h 6858000"/>
              <a:gd name="connsiteX900" fmla="*/ 6399821 w 7467600"/>
              <a:gd name="connsiteY900" fmla="*/ 2344799 h 6858000"/>
              <a:gd name="connsiteX901" fmla="*/ 6323232 w 7467600"/>
              <a:gd name="connsiteY901" fmla="*/ 2389634 h 6858000"/>
              <a:gd name="connsiteX902" fmla="*/ 5942958 w 7467600"/>
              <a:gd name="connsiteY902" fmla="*/ 2077708 h 6858000"/>
              <a:gd name="connsiteX903" fmla="*/ 5921559 w 7467600"/>
              <a:gd name="connsiteY903" fmla="*/ 2378596 h 6858000"/>
              <a:gd name="connsiteX904" fmla="*/ 5817651 w 7467600"/>
              <a:gd name="connsiteY904" fmla="*/ 3023919 h 6858000"/>
              <a:gd name="connsiteX905" fmla="*/ 5729634 w 7467600"/>
              <a:gd name="connsiteY905" fmla="*/ 3051849 h 6858000"/>
              <a:gd name="connsiteX906" fmla="*/ 5611018 w 7467600"/>
              <a:gd name="connsiteY906" fmla="*/ 2316769 h 6858000"/>
              <a:gd name="connsiteX907" fmla="*/ 5687608 w 7467600"/>
              <a:gd name="connsiteY907" fmla="*/ 2039972 h 6858000"/>
              <a:gd name="connsiteX908" fmla="*/ 5657554 w 7467600"/>
              <a:gd name="connsiteY908" fmla="*/ 1576445 h 6858000"/>
              <a:gd name="connsiteX909" fmla="*/ 5150475 w 7467600"/>
              <a:gd name="connsiteY909" fmla="*/ 1274012 h 6858000"/>
              <a:gd name="connsiteX910" fmla="*/ 5349142 w 7467600"/>
              <a:gd name="connsiteY910" fmla="*/ 2204405 h 6858000"/>
              <a:gd name="connsiteX911" fmla="*/ 5262214 w 7467600"/>
              <a:gd name="connsiteY911" fmla="*/ 2233836 h 6858000"/>
              <a:gd name="connsiteX912" fmla="*/ 4981539 w 7467600"/>
              <a:gd name="connsiteY912" fmla="*/ 1542201 h 6858000"/>
              <a:gd name="connsiteX913" fmla="*/ 4958461 w 7467600"/>
              <a:gd name="connsiteY913" fmla="*/ 1136957 h 6858000"/>
              <a:gd name="connsiteX914" fmla="*/ 4655015 w 7467600"/>
              <a:gd name="connsiteY914" fmla="*/ 891426 h 6858000"/>
              <a:gd name="connsiteX915" fmla="*/ 4348002 w 7467600"/>
              <a:gd name="connsiteY915" fmla="*/ 2205895 h 6858000"/>
              <a:gd name="connsiteX916" fmla="*/ 4262250 w 7467600"/>
              <a:gd name="connsiteY916" fmla="*/ 2219972 h 6858000"/>
              <a:gd name="connsiteX917" fmla="*/ 4550611 w 7467600"/>
              <a:gd name="connsiteY917" fmla="*/ 817540 h 6858000"/>
              <a:gd name="connsiteX918" fmla="*/ 4564418 w 7467600"/>
              <a:gd name="connsiteY918" fmla="*/ 808293 h 6858000"/>
              <a:gd name="connsiteX919" fmla="*/ 4266388 w 7467600"/>
              <a:gd name="connsiteY919" fmla="*/ 500083 h 6858000"/>
              <a:gd name="connsiteX920" fmla="*/ 4032842 w 7467600"/>
              <a:gd name="connsiteY920" fmla="*/ 211809 h 6858000"/>
              <a:gd name="connsiteX921" fmla="*/ 3882765 w 7467600"/>
              <a:gd name="connsiteY921" fmla="*/ 0 h 6858000"/>
              <a:gd name="connsiteX922" fmla="*/ 3721337 w 7467600"/>
              <a:gd name="connsiteY922" fmla="*/ 0 h 6858000"/>
              <a:gd name="connsiteX923" fmla="*/ 3797544 w 7467600"/>
              <a:gd name="connsiteY923" fmla="*/ 0 h 6858000"/>
              <a:gd name="connsiteX924" fmla="*/ 3775734 w 7467600"/>
              <a:gd name="connsiteY924" fmla="*/ 95131 h 6858000"/>
              <a:gd name="connsiteX925" fmla="*/ 3724807 w 7467600"/>
              <a:gd name="connsiteY925" fmla="*/ 272257 h 6858000"/>
              <a:gd name="connsiteX926" fmla="*/ 3726844 w 7467600"/>
              <a:gd name="connsiteY926" fmla="*/ 282988 h 6858000"/>
              <a:gd name="connsiteX927" fmla="*/ 3742664 w 7467600"/>
              <a:gd name="connsiteY927" fmla="*/ 279918 h 6858000"/>
              <a:gd name="connsiteX928" fmla="*/ 4103910 w 7467600"/>
              <a:gd name="connsiteY928" fmla="*/ 1161917 h 6858000"/>
              <a:gd name="connsiteX929" fmla="*/ 4020269 w 7467600"/>
              <a:gd name="connsiteY929" fmla="*/ 1200406 h 6858000"/>
              <a:gd name="connsiteX930" fmla="*/ 3674882 w 7467600"/>
              <a:gd name="connsiteY930" fmla="*/ 488524 h 6858000"/>
              <a:gd name="connsiteX931" fmla="*/ 3132682 w 7467600"/>
              <a:gd name="connsiteY931" fmla="*/ 1072284 h 6858000"/>
              <a:gd name="connsiteX932" fmla="*/ 2716346 w 7467600"/>
              <a:gd name="connsiteY932" fmla="*/ 1276376 h 6858000"/>
              <a:gd name="connsiteX933" fmla="*/ 2716772 w 7467600"/>
              <a:gd name="connsiteY933" fmla="*/ 1255462 h 6858000"/>
              <a:gd name="connsiteX934" fmla="*/ 3471096 w 7467600"/>
              <a:gd name="connsiteY934" fmla="*/ 437072 h 6858000"/>
              <a:gd name="connsiteX935" fmla="*/ 3639057 w 7467600"/>
              <a:gd name="connsiteY935" fmla="*/ 286334 h 6858000"/>
              <a:gd name="connsiteX936" fmla="*/ 3640309 w 7467600"/>
              <a:gd name="connsiteY936" fmla="*/ 284664 h 6858000"/>
              <a:gd name="connsiteX937" fmla="*/ 3646022 w 7467600"/>
              <a:gd name="connsiteY937" fmla="*/ 276711 h 6858000"/>
              <a:gd name="connsiteX938" fmla="*/ 3707943 w 7467600"/>
              <a:gd name="connsiteY938" fmla="*/ 65958 h 6858000"/>
              <a:gd name="connsiteX939" fmla="*/ 3721337 w 7467600"/>
              <a:gd name="connsiteY939" fmla="*/ 0 h 6858000"/>
              <a:gd name="connsiteX940" fmla="*/ 2867960 w 7467600"/>
              <a:gd name="connsiteY940" fmla="*/ 0 h 6858000"/>
              <a:gd name="connsiteX941" fmla="*/ 2926351 w 7467600"/>
              <a:gd name="connsiteY941" fmla="*/ 0 h 6858000"/>
              <a:gd name="connsiteX942" fmla="*/ 2902823 w 7467600"/>
              <a:gd name="connsiteY942" fmla="*/ 262929 h 6858000"/>
              <a:gd name="connsiteX943" fmla="*/ 2940663 w 7467600"/>
              <a:gd name="connsiteY943" fmla="*/ 140884 h 6858000"/>
              <a:gd name="connsiteX944" fmla="*/ 2947039 w 7467600"/>
              <a:gd name="connsiteY944" fmla="*/ 122524 h 6858000"/>
              <a:gd name="connsiteX945" fmla="*/ 2984316 w 7467600"/>
              <a:gd name="connsiteY945" fmla="*/ 0 h 6858000"/>
              <a:gd name="connsiteX946" fmla="*/ 3016114 w 7467600"/>
              <a:gd name="connsiteY946" fmla="*/ 0 h 6858000"/>
              <a:gd name="connsiteX947" fmla="*/ 2979949 w 7467600"/>
              <a:gd name="connsiteY947" fmla="*/ 119274 h 6858000"/>
              <a:gd name="connsiteX948" fmla="*/ 3023879 w 7467600"/>
              <a:gd name="connsiteY948" fmla="*/ 0 h 6858000"/>
              <a:gd name="connsiteX949" fmla="*/ 3105400 w 7467600"/>
              <a:gd name="connsiteY949" fmla="*/ 0 h 6858000"/>
              <a:gd name="connsiteX950" fmla="*/ 3094669 w 7467600"/>
              <a:gd name="connsiteY950" fmla="*/ 30308 h 6858000"/>
              <a:gd name="connsiteX951" fmla="*/ 2901945 w 7467600"/>
              <a:gd name="connsiteY951" fmla="*/ 466538 h 6858000"/>
              <a:gd name="connsiteX952" fmla="*/ 2815209 w 7467600"/>
              <a:gd name="connsiteY952" fmla="*/ 497361 h 6858000"/>
              <a:gd name="connsiteX953" fmla="*/ 2844845 w 7467600"/>
              <a:gd name="connsiteY953" fmla="*/ 127638 h 6858000"/>
              <a:gd name="connsiteX954" fmla="*/ 2867960 w 7467600"/>
              <a:gd name="connsiteY954" fmla="*/ 0 h 6858000"/>
              <a:gd name="connsiteX955" fmla="*/ 1057230 w 7467600"/>
              <a:gd name="connsiteY955" fmla="*/ 0 h 6858000"/>
              <a:gd name="connsiteX956" fmla="*/ 1111003 w 7467600"/>
              <a:gd name="connsiteY956" fmla="*/ 0 h 6858000"/>
              <a:gd name="connsiteX957" fmla="*/ 1125553 w 7467600"/>
              <a:gd name="connsiteY957" fmla="*/ 52588 h 6858000"/>
              <a:gd name="connsiteX958" fmla="*/ 1304276 w 7467600"/>
              <a:gd name="connsiteY958" fmla="*/ 476275 h 6858000"/>
              <a:gd name="connsiteX959" fmla="*/ 1492066 w 7467600"/>
              <a:gd name="connsiteY959" fmla="*/ 886333 h 6858000"/>
              <a:gd name="connsiteX960" fmla="*/ 1423698 w 7467600"/>
              <a:gd name="connsiteY960" fmla="*/ 710817 h 6858000"/>
              <a:gd name="connsiteX961" fmla="*/ 1357609 w 7467600"/>
              <a:gd name="connsiteY961" fmla="*/ 532892 h 6858000"/>
              <a:gd name="connsiteX962" fmla="*/ 1309550 w 7467600"/>
              <a:gd name="connsiteY962" fmla="*/ 374031 h 6858000"/>
              <a:gd name="connsiteX963" fmla="*/ 1193673 w 7467600"/>
              <a:gd name="connsiteY963" fmla="*/ 49533 h 6858000"/>
              <a:gd name="connsiteX964" fmla="*/ 1164391 w 7467600"/>
              <a:gd name="connsiteY964" fmla="*/ 0 h 6858000"/>
              <a:gd name="connsiteX965" fmla="*/ 1200666 w 7467600"/>
              <a:gd name="connsiteY965" fmla="*/ 0 h 6858000"/>
              <a:gd name="connsiteX966" fmla="*/ 1223408 w 7467600"/>
              <a:gd name="connsiteY966" fmla="*/ 38996 h 6858000"/>
              <a:gd name="connsiteX967" fmla="*/ 1339635 w 7467600"/>
              <a:gd name="connsiteY967" fmla="*/ 365517 h 6858000"/>
              <a:gd name="connsiteX968" fmla="*/ 1387469 w 7467600"/>
              <a:gd name="connsiteY968" fmla="*/ 523079 h 6858000"/>
              <a:gd name="connsiteX969" fmla="*/ 1452685 w 7467600"/>
              <a:gd name="connsiteY969" fmla="*/ 699806 h 6858000"/>
              <a:gd name="connsiteX970" fmla="*/ 1492092 w 7467600"/>
              <a:gd name="connsiteY970" fmla="*/ 800424 h 6858000"/>
              <a:gd name="connsiteX971" fmla="*/ 1455302 w 7467600"/>
              <a:gd name="connsiteY971" fmla="*/ 632913 h 6858000"/>
              <a:gd name="connsiteX972" fmla="*/ 1222336 w 7467600"/>
              <a:gd name="connsiteY972" fmla="*/ 9480 h 6858000"/>
              <a:gd name="connsiteX973" fmla="*/ 1214634 w 7467600"/>
              <a:gd name="connsiteY973" fmla="*/ 0 h 6858000"/>
              <a:gd name="connsiteX974" fmla="*/ 1289827 w 7467600"/>
              <a:gd name="connsiteY974" fmla="*/ 0 h 6858000"/>
              <a:gd name="connsiteX975" fmla="*/ 1321076 w 7467600"/>
              <a:gd name="connsiteY975" fmla="*/ 59722 h 6858000"/>
              <a:gd name="connsiteX976" fmla="*/ 1512579 w 7467600"/>
              <a:gd name="connsiteY976" fmla="*/ 626441 h 6858000"/>
              <a:gd name="connsiteX977" fmla="*/ 1506076 w 7467600"/>
              <a:gd name="connsiteY977" fmla="*/ 1089289 h 6858000"/>
              <a:gd name="connsiteX978" fmla="*/ 1486346 w 7467600"/>
              <a:gd name="connsiteY978" fmla="*/ 1079919 h 6858000"/>
              <a:gd name="connsiteX979" fmla="*/ 1070511 w 7467600"/>
              <a:gd name="connsiteY979" fmla="*/ 48609 h 6858000"/>
              <a:gd name="connsiteX980" fmla="*/ 1057230 w 7467600"/>
              <a:gd name="connsiteY980" fmla="*/ 0 h 6858000"/>
              <a:gd name="connsiteX981" fmla="*/ 43151 w 7467600"/>
              <a:gd name="connsiteY981" fmla="*/ 0 h 6858000"/>
              <a:gd name="connsiteX982" fmla="*/ 95283 w 7467600"/>
              <a:gd name="connsiteY982" fmla="*/ 0 h 6858000"/>
              <a:gd name="connsiteX983" fmla="*/ 300708 w 7467600"/>
              <a:gd name="connsiteY983" fmla="*/ 154571 h 6858000"/>
              <a:gd name="connsiteX984" fmla="*/ 530414 w 7467600"/>
              <a:gd name="connsiteY984" fmla="*/ 354673 h 6858000"/>
              <a:gd name="connsiteX985" fmla="*/ 333785 w 7467600"/>
              <a:gd name="connsiteY985" fmla="*/ 161564 h 6858000"/>
              <a:gd name="connsiteX986" fmla="*/ 147005 w 7467600"/>
              <a:gd name="connsiteY986" fmla="*/ 0 h 6858000"/>
              <a:gd name="connsiteX987" fmla="*/ 272509 w 7467600"/>
              <a:gd name="connsiteY987" fmla="*/ 0 h 6858000"/>
              <a:gd name="connsiteX988" fmla="*/ 326276 w 7467600"/>
              <a:gd name="connsiteY988" fmla="*/ 45847 h 6858000"/>
              <a:gd name="connsiteX989" fmla="*/ 823759 w 7467600"/>
              <a:gd name="connsiteY989" fmla="*/ 574145 h 6858000"/>
              <a:gd name="connsiteX990" fmla="*/ 811254 w 7467600"/>
              <a:gd name="connsiteY990" fmla="*/ 665546 h 6858000"/>
              <a:gd name="connsiteX991" fmla="*/ 154042 w 7467600"/>
              <a:gd name="connsiteY991" fmla="*/ 261522 h 6858000"/>
              <a:gd name="connsiteX992" fmla="*/ 13550 w 7467600"/>
              <a:gd name="connsiteY992" fmla="*/ 158423 h 6858000"/>
              <a:gd name="connsiteX993" fmla="*/ 0 w 7467600"/>
              <a:gd name="connsiteY993" fmla="*/ 146618 h 6858000"/>
              <a:gd name="connsiteX994" fmla="*/ 0 w 7467600"/>
              <a:gd name="connsiteY994" fmla="*/ 59161 h 6858000"/>
              <a:gd name="connsiteX995" fmla="*/ 45427 w 7467600"/>
              <a:gd name="connsiteY995" fmla="*/ 101078 h 6858000"/>
              <a:gd name="connsiteX996" fmla="*/ 630103 w 7467600"/>
              <a:gd name="connsiteY996" fmla="*/ 485885 h 6858000"/>
              <a:gd name="connsiteX997" fmla="*/ 532040 w 7467600"/>
              <a:gd name="connsiteY997" fmla="*/ 399359 h 6858000"/>
              <a:gd name="connsiteX998" fmla="*/ 517618 w 7467600"/>
              <a:gd name="connsiteY998" fmla="*/ 385726 h 6858000"/>
              <a:gd name="connsiteX999" fmla="*/ 285074 w 7467600"/>
              <a:gd name="connsiteY999" fmla="*/ 182755 h 6858000"/>
              <a:gd name="connsiteX1000" fmla="*/ 43151 w 7467600"/>
              <a:gd name="connsiteY1000"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68569 w 7467600"/>
              <a:gd name="connsiteY127" fmla="*/ 5270182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7327465 w 7467600"/>
              <a:gd name="connsiteY139" fmla="*/ 5174181 h 6858000"/>
              <a:gd name="connsiteX140" fmla="*/ 7353035 w 7467600"/>
              <a:gd name="connsiteY140" fmla="*/ 5197318 h 6858000"/>
              <a:gd name="connsiteX141" fmla="*/ 7467600 w 7467600"/>
              <a:gd name="connsiteY141" fmla="*/ 5297634 h 6858000"/>
              <a:gd name="connsiteX142" fmla="*/ 7467600 w 7467600"/>
              <a:gd name="connsiteY142" fmla="*/ 5361850 h 6858000"/>
              <a:gd name="connsiteX143" fmla="*/ 7368569 w 7467600"/>
              <a:gd name="connsiteY143" fmla="*/ 5270182 h 6858000"/>
              <a:gd name="connsiteX144" fmla="*/ 1903353 w 7467600"/>
              <a:gd name="connsiteY144" fmla="*/ 5044827 h 6858000"/>
              <a:gd name="connsiteX145" fmla="*/ 1936931 w 7467600"/>
              <a:gd name="connsiteY145" fmla="*/ 5093954 h 6858000"/>
              <a:gd name="connsiteX146" fmla="*/ 2195868 w 7467600"/>
              <a:gd name="connsiteY146" fmla="*/ 5396574 h 6858000"/>
              <a:gd name="connsiteX147" fmla="*/ 2088852 w 7467600"/>
              <a:gd name="connsiteY147" fmla="*/ 5166123 h 6858000"/>
              <a:gd name="connsiteX148" fmla="*/ 1958241 w 7467600"/>
              <a:gd name="connsiteY148" fmla="*/ 5067955 h 6858000"/>
              <a:gd name="connsiteX149" fmla="*/ 1903353 w 7467600"/>
              <a:gd name="connsiteY149" fmla="*/ 5044827 h 6858000"/>
              <a:gd name="connsiteX150" fmla="*/ 1979378 w 7467600"/>
              <a:gd name="connsiteY150" fmla="*/ 4769504 h 6858000"/>
              <a:gd name="connsiteX151" fmla="*/ 2882120 w 7467600"/>
              <a:gd name="connsiteY151" fmla="*/ 5064547 h 6858000"/>
              <a:gd name="connsiteX152" fmla="*/ 2793103 w 7467600"/>
              <a:gd name="connsiteY152" fmla="*/ 5039699 h 6858000"/>
              <a:gd name="connsiteX153" fmla="*/ 2770041 w 7467600"/>
              <a:gd name="connsiteY153" fmla="*/ 5033634 h 6858000"/>
              <a:gd name="connsiteX154" fmla="*/ 1979378 w 7467600"/>
              <a:gd name="connsiteY154" fmla="*/ 4769504 h 6858000"/>
              <a:gd name="connsiteX155" fmla="*/ 1927410 w 7467600"/>
              <a:gd name="connsiteY155" fmla="*/ 4716164 h 6858000"/>
              <a:gd name="connsiteX156" fmla="*/ 1959587 w 7467600"/>
              <a:gd name="connsiteY156" fmla="*/ 4728849 h 6858000"/>
              <a:gd name="connsiteX157" fmla="*/ 2777707 w 7467600"/>
              <a:gd name="connsiteY157" fmla="*/ 5003991 h 6858000"/>
              <a:gd name="connsiteX158" fmla="*/ 2800768 w 7467600"/>
              <a:gd name="connsiteY158" fmla="*/ 5010056 h 6858000"/>
              <a:gd name="connsiteX159" fmla="*/ 2879408 w 7467600"/>
              <a:gd name="connsiteY159" fmla="*/ 5031590 h 6858000"/>
              <a:gd name="connsiteX160" fmla="*/ 2862295 w 7467600"/>
              <a:gd name="connsiteY160" fmla="*/ 5022958 h 6858000"/>
              <a:gd name="connsiteX161" fmla="*/ 2813343 w 7467600"/>
              <a:gd name="connsiteY161" fmla="*/ 4998369 h 6858000"/>
              <a:gd name="connsiteX162" fmla="*/ 2646245 w 7467600"/>
              <a:gd name="connsiteY162" fmla="*/ 4930999 h 6858000"/>
              <a:gd name="connsiteX163" fmla="*/ 1999243 w 7467600"/>
              <a:gd name="connsiteY163" fmla="*/ 4730524 h 6858000"/>
              <a:gd name="connsiteX164" fmla="*/ 1979527 w 7467600"/>
              <a:gd name="connsiteY164" fmla="*/ 4726651 h 6858000"/>
              <a:gd name="connsiteX165" fmla="*/ 1927410 w 7467600"/>
              <a:gd name="connsiteY165" fmla="*/ 4716164 h 6858000"/>
              <a:gd name="connsiteX166" fmla="*/ 1997014 w 7467600"/>
              <a:gd name="connsiteY166" fmla="*/ 4698007 h 6858000"/>
              <a:gd name="connsiteX167" fmla="*/ 2005458 w 7467600"/>
              <a:gd name="connsiteY167" fmla="*/ 4699540 h 6858000"/>
              <a:gd name="connsiteX168" fmla="*/ 2657186 w 7467600"/>
              <a:gd name="connsiteY168" fmla="*/ 4901687 h 6858000"/>
              <a:gd name="connsiteX169" fmla="*/ 2826662 w 7467600"/>
              <a:gd name="connsiteY169" fmla="*/ 4970362 h 6858000"/>
              <a:gd name="connsiteX170" fmla="*/ 2876100 w 7467600"/>
              <a:gd name="connsiteY170" fmla="*/ 4995397 h 6858000"/>
              <a:gd name="connsiteX171" fmla="*/ 3042600 w 7467600"/>
              <a:gd name="connsiteY171" fmla="*/ 5059532 h 6858000"/>
              <a:gd name="connsiteX172" fmla="*/ 1997014 w 7467600"/>
              <a:gd name="connsiteY172" fmla="*/ 4698007 h 6858000"/>
              <a:gd name="connsiteX173" fmla="*/ 2305292 w 7467600"/>
              <a:gd name="connsiteY173" fmla="*/ 4219492 h 6858000"/>
              <a:gd name="connsiteX174" fmla="*/ 3360922 w 7467600"/>
              <a:gd name="connsiteY174" fmla="*/ 4529373 h 6858000"/>
              <a:gd name="connsiteX175" fmla="*/ 3492420 w 7467600"/>
              <a:gd name="connsiteY175" fmla="*/ 4510145 h 6858000"/>
              <a:gd name="connsiteX176" fmla="*/ 3364086 w 7467600"/>
              <a:gd name="connsiteY176" fmla="*/ 4480340 h 6858000"/>
              <a:gd name="connsiteX177" fmla="*/ 3225818 w 7467600"/>
              <a:gd name="connsiteY177" fmla="*/ 4411822 h 6858000"/>
              <a:gd name="connsiteX178" fmla="*/ 3129696 w 7467600"/>
              <a:gd name="connsiteY178" fmla="*/ 4360704 h 6858000"/>
              <a:gd name="connsiteX179" fmla="*/ 2814545 w 7467600"/>
              <a:gd name="connsiteY179" fmla="*/ 4282955 h 6858000"/>
              <a:gd name="connsiteX180" fmla="*/ 2305292 w 7467600"/>
              <a:gd name="connsiteY180" fmla="*/ 4219492 h 6858000"/>
              <a:gd name="connsiteX181" fmla="*/ 2626982 w 7467600"/>
              <a:gd name="connsiteY181" fmla="*/ 4206450 h 6858000"/>
              <a:gd name="connsiteX182" fmla="*/ 2490617 w 7467600"/>
              <a:gd name="connsiteY182" fmla="*/ 4206951 h 6858000"/>
              <a:gd name="connsiteX183" fmla="*/ 2819869 w 7467600"/>
              <a:gd name="connsiteY183" fmla="*/ 4252936 h 6858000"/>
              <a:gd name="connsiteX184" fmla="*/ 3143018 w 7467600"/>
              <a:gd name="connsiteY184" fmla="*/ 4332698 h 6858000"/>
              <a:gd name="connsiteX185" fmla="*/ 3241520 w 7467600"/>
              <a:gd name="connsiteY185" fmla="*/ 4385112 h 6858000"/>
              <a:gd name="connsiteX186" fmla="*/ 3374575 w 7467600"/>
              <a:gd name="connsiteY186" fmla="*/ 4451517 h 6858000"/>
              <a:gd name="connsiteX187" fmla="*/ 3505221 w 7467600"/>
              <a:gd name="connsiteY187" fmla="*/ 4480757 h 6858000"/>
              <a:gd name="connsiteX188" fmla="*/ 2626982 w 7467600"/>
              <a:gd name="connsiteY188" fmla="*/ 4206450 h 6858000"/>
              <a:gd name="connsiteX189" fmla="*/ 1310106 w 7467600"/>
              <a:gd name="connsiteY189" fmla="*/ 3943217 h 6858000"/>
              <a:gd name="connsiteX190" fmla="*/ 854994 w 7467600"/>
              <a:gd name="connsiteY190" fmla="*/ 4399136 h 6858000"/>
              <a:gd name="connsiteX191" fmla="*/ 742462 w 7467600"/>
              <a:gd name="connsiteY191" fmla="*/ 4594648 h 6858000"/>
              <a:gd name="connsiteX192" fmla="*/ 820602 w 7467600"/>
              <a:gd name="connsiteY192" fmla="*/ 4485915 h 6858000"/>
              <a:gd name="connsiteX193" fmla="*/ 878295 w 7467600"/>
              <a:gd name="connsiteY193" fmla="*/ 4403594 h 6858000"/>
              <a:gd name="connsiteX194" fmla="*/ 1240607 w 7467600"/>
              <a:gd name="connsiteY194" fmla="*/ 4010401 h 6858000"/>
              <a:gd name="connsiteX195" fmla="*/ 1310106 w 7467600"/>
              <a:gd name="connsiteY195" fmla="*/ 3943217 h 6858000"/>
              <a:gd name="connsiteX196" fmla="*/ 1423113 w 7467600"/>
              <a:gd name="connsiteY196" fmla="*/ 3874565 h 6858000"/>
              <a:gd name="connsiteX197" fmla="*/ 1260565 w 7467600"/>
              <a:gd name="connsiteY197" fmla="*/ 4031982 h 6858000"/>
              <a:gd name="connsiteX198" fmla="*/ 901900 w 7467600"/>
              <a:gd name="connsiteY198" fmla="*/ 4421236 h 6858000"/>
              <a:gd name="connsiteX199" fmla="*/ 845044 w 7467600"/>
              <a:gd name="connsiteY199" fmla="*/ 4502436 h 6858000"/>
              <a:gd name="connsiteX200" fmla="*/ 685926 w 7467600"/>
              <a:gd name="connsiteY200" fmla="*/ 4703069 h 6858000"/>
              <a:gd name="connsiteX201" fmla="*/ 684248 w 7467600"/>
              <a:gd name="connsiteY201" fmla="*/ 4706721 h 6858000"/>
              <a:gd name="connsiteX202" fmla="*/ 1423113 w 7467600"/>
              <a:gd name="connsiteY202" fmla="*/ 3874565 h 6858000"/>
              <a:gd name="connsiteX203" fmla="*/ 3316479 w 7467600"/>
              <a:gd name="connsiteY203" fmla="*/ 3872136 h 6858000"/>
              <a:gd name="connsiteX204" fmla="*/ 3546806 w 7467600"/>
              <a:gd name="connsiteY204" fmla="*/ 4356139 h 6858000"/>
              <a:gd name="connsiteX205" fmla="*/ 3364433 w 7467600"/>
              <a:gd name="connsiteY205" fmla="*/ 3953121 h 6858000"/>
              <a:gd name="connsiteX206" fmla="*/ 3316479 w 7467600"/>
              <a:gd name="connsiteY206" fmla="*/ 3872136 h 6858000"/>
              <a:gd name="connsiteX207" fmla="*/ 3291335 w 7467600"/>
              <a:gd name="connsiteY207" fmla="*/ 3767420 h 6858000"/>
              <a:gd name="connsiteX208" fmla="*/ 3390805 w 7467600"/>
              <a:gd name="connsiteY208" fmla="*/ 3937163 h 6858000"/>
              <a:gd name="connsiteX209" fmla="*/ 3579062 w 7467600"/>
              <a:gd name="connsiteY209" fmla="*/ 4359040 h 6858000"/>
              <a:gd name="connsiteX210" fmla="*/ 3467355 w 7467600"/>
              <a:gd name="connsiteY210" fmla="*/ 3988130 h 6858000"/>
              <a:gd name="connsiteX211" fmla="*/ 3310753 w 7467600"/>
              <a:gd name="connsiteY211" fmla="*/ 3787140 h 6858000"/>
              <a:gd name="connsiteX212" fmla="*/ 3291335 w 7467600"/>
              <a:gd name="connsiteY212" fmla="*/ 3767420 h 6858000"/>
              <a:gd name="connsiteX213" fmla="*/ 1635889 w 7467600"/>
              <a:gd name="connsiteY213" fmla="*/ 3709494 h 6858000"/>
              <a:gd name="connsiteX214" fmla="*/ 1634800 w 7467600"/>
              <a:gd name="connsiteY214" fmla="*/ 3731111 h 6858000"/>
              <a:gd name="connsiteX215" fmla="*/ 1635889 w 7467600"/>
              <a:gd name="connsiteY215" fmla="*/ 3709494 h 6858000"/>
              <a:gd name="connsiteX216" fmla="*/ 1510397 w 7467600"/>
              <a:gd name="connsiteY216" fmla="*/ 3684705 h 6858000"/>
              <a:gd name="connsiteX217" fmla="*/ 1146550 w 7467600"/>
              <a:gd name="connsiteY217" fmla="*/ 3802012 h 6858000"/>
              <a:gd name="connsiteX218" fmla="*/ 698834 w 7467600"/>
              <a:gd name="connsiteY218" fmla="*/ 3952272 h 6858000"/>
              <a:gd name="connsiteX219" fmla="*/ 34256 w 7467600"/>
              <a:gd name="connsiteY219" fmla="*/ 4347603 h 6858000"/>
              <a:gd name="connsiteX220" fmla="*/ 527241 w 7467600"/>
              <a:gd name="connsiteY220" fmla="*/ 4065078 h 6858000"/>
              <a:gd name="connsiteX221" fmla="*/ 1510397 w 7467600"/>
              <a:gd name="connsiteY221" fmla="*/ 3684705 h 6858000"/>
              <a:gd name="connsiteX222" fmla="*/ 1313114 w 7467600"/>
              <a:gd name="connsiteY222" fmla="*/ 3655216 h 6858000"/>
              <a:gd name="connsiteX223" fmla="*/ 1109304 w 7467600"/>
              <a:gd name="connsiteY223" fmla="*/ 3669030 h 6858000"/>
              <a:gd name="connsiteX224" fmla="*/ 8129 w 7467600"/>
              <a:gd name="connsiteY224" fmla="*/ 4330519 h 6858000"/>
              <a:gd name="connsiteX225" fmla="*/ 687572 w 7467600"/>
              <a:gd name="connsiteY225" fmla="*/ 3925629 h 6858000"/>
              <a:gd name="connsiteX226" fmla="*/ 1138365 w 7467600"/>
              <a:gd name="connsiteY226" fmla="*/ 3774515 h 6858000"/>
              <a:gd name="connsiteX227" fmla="*/ 1505579 w 7467600"/>
              <a:gd name="connsiteY227" fmla="*/ 3655526 h 6858000"/>
              <a:gd name="connsiteX228" fmla="*/ 1313114 w 7467600"/>
              <a:gd name="connsiteY228" fmla="*/ 3655216 h 6858000"/>
              <a:gd name="connsiteX229" fmla="*/ 3655073 w 7467600"/>
              <a:gd name="connsiteY229" fmla="*/ 3650884 h 6858000"/>
              <a:gd name="connsiteX230" fmla="*/ 3989938 w 7467600"/>
              <a:gd name="connsiteY230" fmla="*/ 3991685 h 6858000"/>
              <a:gd name="connsiteX231" fmla="*/ 4393907 w 7467600"/>
              <a:gd name="connsiteY231" fmla="*/ 4261258 h 6858000"/>
              <a:gd name="connsiteX232" fmla="*/ 4648051 w 7467600"/>
              <a:gd name="connsiteY232" fmla="*/ 4374051 h 6858000"/>
              <a:gd name="connsiteX233" fmla="*/ 4383389 w 7467600"/>
              <a:gd name="connsiteY233" fmla="*/ 4184369 h 6858000"/>
              <a:gd name="connsiteX234" fmla="*/ 4165508 w 7467600"/>
              <a:gd name="connsiteY234" fmla="*/ 4035196 h 6858000"/>
              <a:gd name="connsiteX235" fmla="*/ 4068162 w 7467600"/>
              <a:gd name="connsiteY235" fmla="*/ 3953394 h 6858000"/>
              <a:gd name="connsiteX236" fmla="*/ 3981416 w 7467600"/>
              <a:gd name="connsiteY236" fmla="*/ 3880482 h 6858000"/>
              <a:gd name="connsiteX237" fmla="*/ 3800147 w 7467600"/>
              <a:gd name="connsiteY237" fmla="*/ 3749872 h 6858000"/>
              <a:gd name="connsiteX238" fmla="*/ 3655073 w 7467600"/>
              <a:gd name="connsiteY238" fmla="*/ 3650884 h 6858000"/>
              <a:gd name="connsiteX239" fmla="*/ 3670252 w 7467600"/>
              <a:gd name="connsiteY239" fmla="*/ 3622798 h 6858000"/>
              <a:gd name="connsiteX240" fmla="*/ 3817258 w 7467600"/>
              <a:gd name="connsiteY240" fmla="*/ 3723577 h 6858000"/>
              <a:gd name="connsiteX241" fmla="*/ 4000461 w 7467600"/>
              <a:gd name="connsiteY241" fmla="*/ 3855966 h 6858000"/>
              <a:gd name="connsiteX242" fmla="*/ 4088180 w 7467600"/>
              <a:gd name="connsiteY242" fmla="*/ 3929774 h 6858000"/>
              <a:gd name="connsiteX243" fmla="*/ 4184555 w 7467600"/>
              <a:gd name="connsiteY243" fmla="*/ 4010683 h 6858000"/>
              <a:gd name="connsiteX244" fmla="*/ 4399563 w 7467600"/>
              <a:gd name="connsiteY244" fmla="*/ 4158106 h 6858000"/>
              <a:gd name="connsiteX245" fmla="*/ 4684469 w 7467600"/>
              <a:gd name="connsiteY245" fmla="*/ 4364680 h 6858000"/>
              <a:gd name="connsiteX246" fmla="*/ 4690271 w 7467600"/>
              <a:gd name="connsiteY246" fmla="*/ 4370034 h 6858000"/>
              <a:gd name="connsiteX247" fmla="*/ 4136093 w 7467600"/>
              <a:gd name="connsiteY247" fmla="*/ 3858466 h 6858000"/>
              <a:gd name="connsiteX248" fmla="*/ 3670252 w 7467600"/>
              <a:gd name="connsiteY248" fmla="*/ 3622798 h 6858000"/>
              <a:gd name="connsiteX249" fmla="*/ 4440129 w 7467600"/>
              <a:gd name="connsiteY249" fmla="*/ 3448571 h 6858000"/>
              <a:gd name="connsiteX250" fmla="*/ 4856525 w 7467600"/>
              <a:gd name="connsiteY250" fmla="*/ 3915351 h 6858000"/>
              <a:gd name="connsiteX251" fmla="*/ 5059055 w 7467600"/>
              <a:gd name="connsiteY251" fmla="*/ 4108918 h 6858000"/>
              <a:gd name="connsiteX252" fmla="*/ 5290070 w 7467600"/>
              <a:gd name="connsiteY252" fmla="*/ 4263619 h 6858000"/>
              <a:gd name="connsiteX253" fmla="*/ 4834991 w 7467600"/>
              <a:gd name="connsiteY253" fmla="*/ 3830985 h 6858000"/>
              <a:gd name="connsiteX254" fmla="*/ 4440129 w 7467600"/>
              <a:gd name="connsiteY254" fmla="*/ 3448571 h 6858000"/>
              <a:gd name="connsiteX255" fmla="*/ 4441737 w 7467600"/>
              <a:gd name="connsiteY255" fmla="*/ 3399734 h 6858000"/>
              <a:gd name="connsiteX256" fmla="*/ 4431236 w 7467600"/>
              <a:gd name="connsiteY256" fmla="*/ 3400954 h 6858000"/>
              <a:gd name="connsiteX257" fmla="*/ 4557150 w 7467600"/>
              <a:gd name="connsiteY257" fmla="*/ 3510023 h 6858000"/>
              <a:gd name="connsiteX258" fmla="*/ 4856936 w 7467600"/>
              <a:gd name="connsiteY258" fmla="*/ 3809146 h 6858000"/>
              <a:gd name="connsiteX259" fmla="*/ 5111996 w 7467600"/>
              <a:gd name="connsiteY259" fmla="*/ 4065759 h 6858000"/>
              <a:gd name="connsiteX260" fmla="*/ 5388878 w 7467600"/>
              <a:gd name="connsiteY260" fmla="*/ 4300185 h 6858000"/>
              <a:gd name="connsiteX261" fmla="*/ 5425556 w 7467600"/>
              <a:gd name="connsiteY261" fmla="*/ 4308967 h 6858000"/>
              <a:gd name="connsiteX262" fmla="*/ 4943646 w 7467600"/>
              <a:gd name="connsiteY262" fmla="*/ 3822916 h 6858000"/>
              <a:gd name="connsiteX263" fmla="*/ 4594837 w 7467600"/>
              <a:gd name="connsiteY263" fmla="*/ 3532274 h 6858000"/>
              <a:gd name="connsiteX264" fmla="*/ 4441737 w 7467600"/>
              <a:gd name="connsiteY264" fmla="*/ 3399734 h 6858000"/>
              <a:gd name="connsiteX265" fmla="*/ 5425834 w 7467600"/>
              <a:gd name="connsiteY265" fmla="*/ 3162785 h 6858000"/>
              <a:gd name="connsiteX266" fmla="*/ 5401644 w 7467600"/>
              <a:gd name="connsiteY266" fmla="*/ 3617847 h 6858000"/>
              <a:gd name="connsiteX267" fmla="*/ 5467256 w 7467600"/>
              <a:gd name="connsiteY267" fmla="*/ 4175494 h 6858000"/>
              <a:gd name="connsiteX268" fmla="*/ 5448069 w 7467600"/>
              <a:gd name="connsiteY268" fmla="*/ 3567554 h 6858000"/>
              <a:gd name="connsiteX269" fmla="*/ 5425834 w 7467600"/>
              <a:gd name="connsiteY269" fmla="*/ 3162785 h 6858000"/>
              <a:gd name="connsiteX270" fmla="*/ 1318687 w 7467600"/>
              <a:gd name="connsiteY270" fmla="*/ 3113840 h 6858000"/>
              <a:gd name="connsiteX271" fmla="*/ 1066793 w 7467600"/>
              <a:gd name="connsiteY271" fmla="*/ 3212171 h 6858000"/>
              <a:gd name="connsiteX272" fmla="*/ 993319 w 7467600"/>
              <a:gd name="connsiteY272" fmla="*/ 3247648 h 6858000"/>
              <a:gd name="connsiteX273" fmla="*/ 853081 w 7467600"/>
              <a:gd name="connsiteY273" fmla="*/ 3312410 h 6858000"/>
              <a:gd name="connsiteX274" fmla="*/ 805957 w 7467600"/>
              <a:gd name="connsiteY274" fmla="*/ 3330443 h 6858000"/>
              <a:gd name="connsiteX275" fmla="*/ 1318687 w 7467600"/>
              <a:gd name="connsiteY275" fmla="*/ 3113840 h 6858000"/>
              <a:gd name="connsiteX276" fmla="*/ 5453702 w 7467600"/>
              <a:gd name="connsiteY276" fmla="*/ 3090882 h 6858000"/>
              <a:gd name="connsiteX277" fmla="*/ 5480135 w 7467600"/>
              <a:gd name="connsiteY277" fmla="*/ 3565802 h 6858000"/>
              <a:gd name="connsiteX278" fmla="*/ 5499023 w 7467600"/>
              <a:gd name="connsiteY278" fmla="*/ 4166310 h 6858000"/>
              <a:gd name="connsiteX279" fmla="*/ 5547022 w 7467600"/>
              <a:gd name="connsiteY279" fmla="*/ 3607838 h 6858000"/>
              <a:gd name="connsiteX280" fmla="*/ 5515964 w 7467600"/>
              <a:gd name="connsiteY280" fmla="*/ 3378541 h 6858000"/>
              <a:gd name="connsiteX281" fmla="*/ 5453702 w 7467600"/>
              <a:gd name="connsiteY281" fmla="*/ 3090882 h 6858000"/>
              <a:gd name="connsiteX282" fmla="*/ 1238695 w 7467600"/>
              <a:gd name="connsiteY282" fmla="*/ 3076820 h 6858000"/>
              <a:gd name="connsiteX283" fmla="*/ 716371 w 7467600"/>
              <a:gd name="connsiteY283" fmla="*/ 3293249 h 6858000"/>
              <a:gd name="connsiteX284" fmla="*/ 579522 w 7467600"/>
              <a:gd name="connsiteY284" fmla="*/ 3371759 h 6858000"/>
              <a:gd name="connsiteX285" fmla="*/ 600288 w 7467600"/>
              <a:gd name="connsiteY285" fmla="*/ 3365555 h 6858000"/>
              <a:gd name="connsiteX286" fmla="*/ 840692 w 7467600"/>
              <a:gd name="connsiteY286" fmla="*/ 3284921 h 6858000"/>
              <a:gd name="connsiteX287" fmla="*/ 979248 w 7467600"/>
              <a:gd name="connsiteY287" fmla="*/ 3221003 h 6858000"/>
              <a:gd name="connsiteX288" fmla="*/ 1053282 w 7467600"/>
              <a:gd name="connsiteY288" fmla="*/ 3185247 h 6858000"/>
              <a:gd name="connsiteX289" fmla="*/ 1320603 w 7467600"/>
              <a:gd name="connsiteY289" fmla="*/ 3081281 h 6858000"/>
              <a:gd name="connsiteX290" fmla="*/ 1238695 w 7467600"/>
              <a:gd name="connsiteY290" fmla="*/ 3076820 h 6858000"/>
              <a:gd name="connsiteX291" fmla="*/ 5425627 w 7467600"/>
              <a:gd name="connsiteY291" fmla="*/ 2954192 h 6858000"/>
              <a:gd name="connsiteX292" fmla="*/ 5470770 w 7467600"/>
              <a:gd name="connsiteY292" fmla="*/ 3005435 h 6858000"/>
              <a:gd name="connsiteX293" fmla="*/ 5519779 w 7467600"/>
              <a:gd name="connsiteY293" fmla="*/ 4359223 h 6858000"/>
              <a:gd name="connsiteX294" fmla="*/ 5520293 w 7467600"/>
              <a:gd name="connsiteY294" fmla="*/ 4360602 h 6858000"/>
              <a:gd name="connsiteX295" fmla="*/ 5767221 w 7467600"/>
              <a:gd name="connsiteY295" fmla="*/ 4665564 h 6858000"/>
              <a:gd name="connsiteX296" fmla="*/ 6937169 w 7467600"/>
              <a:gd name="connsiteY296" fmla="*/ 4815941 h 6858000"/>
              <a:gd name="connsiteX297" fmla="*/ 6953922 w 7467600"/>
              <a:gd name="connsiteY297" fmla="*/ 4890068 h 6858000"/>
              <a:gd name="connsiteX298" fmla="*/ 6071359 w 7467600"/>
              <a:gd name="connsiteY298" fmla="*/ 4770770 h 6858000"/>
              <a:gd name="connsiteX299" fmla="*/ 6038839 w 7467600"/>
              <a:gd name="connsiteY299" fmla="*/ 4764474 h 6858000"/>
              <a:gd name="connsiteX300" fmla="*/ 6038706 w 7467600"/>
              <a:gd name="connsiteY300" fmla="*/ 4763847 h 6858000"/>
              <a:gd name="connsiteX301" fmla="*/ 6037784 w 7467600"/>
              <a:gd name="connsiteY301" fmla="*/ 4764270 h 6858000"/>
              <a:gd name="connsiteX302" fmla="*/ 6038839 w 7467600"/>
              <a:gd name="connsiteY302" fmla="*/ 4764474 h 6858000"/>
              <a:gd name="connsiteX303" fmla="*/ 6040338 w 7467600"/>
              <a:gd name="connsiteY303" fmla="*/ 4771418 h 6858000"/>
              <a:gd name="connsiteX304" fmla="*/ 6024488 w 7467600"/>
              <a:gd name="connsiteY304" fmla="*/ 4809903 h 6858000"/>
              <a:gd name="connsiteX305" fmla="*/ 5599771 w 7467600"/>
              <a:gd name="connsiteY305" fmla="*/ 5509652 h 6858000"/>
              <a:gd name="connsiteX306" fmla="*/ 5548843 w 7467600"/>
              <a:gd name="connsiteY306" fmla="*/ 5563845 h 6858000"/>
              <a:gd name="connsiteX307" fmla="*/ 5940952 w 7467600"/>
              <a:gd name="connsiteY307" fmla="*/ 6250028 h 6858000"/>
              <a:gd name="connsiteX308" fmla="*/ 6043441 w 7467600"/>
              <a:gd name="connsiteY308" fmla="*/ 6665847 h 6858000"/>
              <a:gd name="connsiteX309" fmla="*/ 6093432 w 7467600"/>
              <a:gd name="connsiteY309" fmla="*/ 6858000 h 6858000"/>
              <a:gd name="connsiteX310" fmla="*/ 6034344 w 7467600"/>
              <a:gd name="connsiteY310" fmla="*/ 6858000 h 6858000"/>
              <a:gd name="connsiteX311" fmla="*/ 6026679 w 7467600"/>
              <a:gd name="connsiteY311" fmla="*/ 6836959 h 6858000"/>
              <a:gd name="connsiteX312" fmla="*/ 5800441 w 7467600"/>
              <a:gd name="connsiteY312" fmla="*/ 6335286 h 6858000"/>
              <a:gd name="connsiteX313" fmla="*/ 5526562 w 7467600"/>
              <a:gd name="connsiteY313" fmla="*/ 5705388 h 6858000"/>
              <a:gd name="connsiteX314" fmla="*/ 5519640 w 7467600"/>
              <a:gd name="connsiteY314" fmla="*/ 5683774 h 6858000"/>
              <a:gd name="connsiteX315" fmla="*/ 5844559 w 7467600"/>
              <a:gd name="connsiteY315" fmla="*/ 6553349 h 6858000"/>
              <a:gd name="connsiteX316" fmla="*/ 5975994 w 7467600"/>
              <a:gd name="connsiteY316" fmla="*/ 6858000 h 6858000"/>
              <a:gd name="connsiteX317" fmla="*/ 5898547 w 7467600"/>
              <a:gd name="connsiteY317" fmla="*/ 6858000 h 6858000"/>
              <a:gd name="connsiteX318" fmla="*/ 5682041 w 7467600"/>
              <a:gd name="connsiteY318" fmla="*/ 6355860 h 6858000"/>
              <a:gd name="connsiteX319" fmla="*/ 5461758 w 7467600"/>
              <a:gd name="connsiteY319" fmla="*/ 5820220 h 6858000"/>
              <a:gd name="connsiteX320" fmla="*/ 5237282 w 7467600"/>
              <a:gd name="connsiteY320" fmla="*/ 6579086 h 6858000"/>
              <a:gd name="connsiteX321" fmla="*/ 5115009 w 7467600"/>
              <a:gd name="connsiteY321" fmla="*/ 6858000 h 6858000"/>
              <a:gd name="connsiteX322" fmla="*/ 5028074 w 7467600"/>
              <a:gd name="connsiteY322" fmla="*/ 6858000 h 6858000"/>
              <a:gd name="connsiteX323" fmla="*/ 5079508 w 7467600"/>
              <a:gd name="connsiteY323" fmla="*/ 6749074 h 6858000"/>
              <a:gd name="connsiteX324" fmla="*/ 5371846 w 7467600"/>
              <a:gd name="connsiteY324" fmla="*/ 5924413 h 6858000"/>
              <a:gd name="connsiteX325" fmla="*/ 5270512 w 7467600"/>
              <a:gd name="connsiteY325" fmla="*/ 6138975 h 6858000"/>
              <a:gd name="connsiteX326" fmla="*/ 5062409 w 7467600"/>
              <a:gd name="connsiteY326" fmla="*/ 6653544 h 6858000"/>
              <a:gd name="connsiteX327" fmla="*/ 5036628 w 7467600"/>
              <a:gd name="connsiteY327" fmla="*/ 6754247 h 6858000"/>
              <a:gd name="connsiteX328" fmla="*/ 5009112 w 7467600"/>
              <a:gd name="connsiteY328" fmla="*/ 6858000 h 6858000"/>
              <a:gd name="connsiteX329" fmla="*/ 4976679 w 7467600"/>
              <a:gd name="connsiteY329" fmla="*/ 6858000 h 6858000"/>
              <a:gd name="connsiteX330" fmla="*/ 5006537 w 7467600"/>
              <a:gd name="connsiteY330" fmla="*/ 6747068 h 6858000"/>
              <a:gd name="connsiteX331" fmla="*/ 5032723 w 7467600"/>
              <a:gd name="connsiteY331" fmla="*/ 6644957 h 6858000"/>
              <a:gd name="connsiteX332" fmla="*/ 5242949 w 7467600"/>
              <a:gd name="connsiteY332" fmla="*/ 6125175 h 6858000"/>
              <a:gd name="connsiteX333" fmla="*/ 5286321 w 7467600"/>
              <a:gd name="connsiteY333" fmla="*/ 6033555 h 6858000"/>
              <a:gd name="connsiteX334" fmla="*/ 5008210 w 7467600"/>
              <a:gd name="connsiteY334" fmla="*/ 6649194 h 6858000"/>
              <a:gd name="connsiteX335" fmla="*/ 4986321 w 7467600"/>
              <a:gd name="connsiteY335" fmla="*/ 6765687 h 6858000"/>
              <a:gd name="connsiteX336" fmla="*/ 4973474 w 7467600"/>
              <a:gd name="connsiteY336" fmla="*/ 6858000 h 6858000"/>
              <a:gd name="connsiteX337" fmla="*/ 4907178 w 7467600"/>
              <a:gd name="connsiteY337" fmla="*/ 6858000 h 6858000"/>
              <a:gd name="connsiteX338" fmla="*/ 4910810 w 7467600"/>
              <a:gd name="connsiteY338" fmla="*/ 6829660 h 6858000"/>
              <a:gd name="connsiteX339" fmla="*/ 4987461 w 7467600"/>
              <a:gd name="connsiteY339" fmla="*/ 6432994 h 6858000"/>
              <a:gd name="connsiteX340" fmla="*/ 5179262 w 7467600"/>
              <a:gd name="connsiteY340" fmla="*/ 6035044 h 6858000"/>
              <a:gd name="connsiteX341" fmla="*/ 4689678 w 7467600"/>
              <a:gd name="connsiteY341" fmla="*/ 6440241 h 6858000"/>
              <a:gd name="connsiteX342" fmla="*/ 4477543 w 7467600"/>
              <a:gd name="connsiteY342" fmla="*/ 6674836 h 6858000"/>
              <a:gd name="connsiteX343" fmla="*/ 4329957 w 7467600"/>
              <a:gd name="connsiteY343" fmla="*/ 6858000 h 6858000"/>
              <a:gd name="connsiteX344" fmla="*/ 4218595 w 7467600"/>
              <a:gd name="connsiteY344" fmla="*/ 6858000 h 6858000"/>
              <a:gd name="connsiteX345" fmla="*/ 4368888 w 7467600"/>
              <a:gd name="connsiteY345" fmla="*/ 6668412 h 6858000"/>
              <a:gd name="connsiteX346" fmla="*/ 4563091 w 7467600"/>
              <a:gd name="connsiteY346" fmla="*/ 6442508 h 6858000"/>
              <a:gd name="connsiteX347" fmla="*/ 5387324 w 7467600"/>
              <a:gd name="connsiteY347" fmla="*/ 5705830 h 6858000"/>
              <a:gd name="connsiteX348" fmla="*/ 5073620 w 7467600"/>
              <a:gd name="connsiteY348" fmla="*/ 5955437 h 6858000"/>
              <a:gd name="connsiteX349" fmla="*/ 4689789 w 7467600"/>
              <a:gd name="connsiteY349" fmla="*/ 6268382 h 6858000"/>
              <a:gd name="connsiteX350" fmla="*/ 4418722 w 7467600"/>
              <a:gd name="connsiteY350" fmla="*/ 6570886 h 6858000"/>
              <a:gd name="connsiteX351" fmla="*/ 4214944 w 7467600"/>
              <a:gd name="connsiteY351" fmla="*/ 6858000 h 6858000"/>
              <a:gd name="connsiteX352" fmla="*/ 4177898 w 7467600"/>
              <a:gd name="connsiteY352" fmla="*/ 6858000 h 6858000"/>
              <a:gd name="connsiteX353" fmla="*/ 4391597 w 7467600"/>
              <a:gd name="connsiteY353" fmla="*/ 6556370 h 6858000"/>
              <a:gd name="connsiteX354" fmla="*/ 4668889 w 7467600"/>
              <a:gd name="connsiteY354" fmla="*/ 6246399 h 6858000"/>
              <a:gd name="connsiteX355" fmla="*/ 5055427 w 7467600"/>
              <a:gd name="connsiteY355" fmla="*/ 5931476 h 6858000"/>
              <a:gd name="connsiteX356" fmla="*/ 5371814 w 7467600"/>
              <a:gd name="connsiteY356" fmla="*/ 5678975 h 6858000"/>
              <a:gd name="connsiteX357" fmla="*/ 4987918 w 7467600"/>
              <a:gd name="connsiteY357" fmla="*/ 5838701 h 6858000"/>
              <a:gd name="connsiteX358" fmla="*/ 4317146 w 7467600"/>
              <a:gd name="connsiteY358" fmla="*/ 6587716 h 6858000"/>
              <a:gd name="connsiteX359" fmla="*/ 4171627 w 7467600"/>
              <a:gd name="connsiteY359" fmla="*/ 6858000 h 6858000"/>
              <a:gd name="connsiteX360" fmla="*/ 4081585 w 7467600"/>
              <a:gd name="connsiteY360" fmla="*/ 6858000 h 6858000"/>
              <a:gd name="connsiteX361" fmla="*/ 4238603 w 7467600"/>
              <a:gd name="connsiteY361" fmla="*/ 6559341 h 6858000"/>
              <a:gd name="connsiteX362" fmla="*/ 4778333 w 7467600"/>
              <a:gd name="connsiteY362" fmla="*/ 5873626 h 6858000"/>
              <a:gd name="connsiteX363" fmla="*/ 5414185 w 7467600"/>
              <a:gd name="connsiteY363" fmla="*/ 5573882 h 6858000"/>
              <a:gd name="connsiteX364" fmla="*/ 5959648 w 7467600"/>
              <a:gd name="connsiteY364" fmla="*/ 4760797 h 6858000"/>
              <a:gd name="connsiteX365" fmla="*/ 5355019 w 7467600"/>
              <a:gd name="connsiteY365" fmla="*/ 4734672 h 6858000"/>
              <a:gd name="connsiteX366" fmla="*/ 5083565 w 7467600"/>
              <a:gd name="connsiteY366" fmla="*/ 5179121 h 6858000"/>
              <a:gd name="connsiteX367" fmla="*/ 4713577 w 7467600"/>
              <a:gd name="connsiteY367" fmla="*/ 5616803 h 6858000"/>
              <a:gd name="connsiteX368" fmla="*/ 3989559 w 7467600"/>
              <a:gd name="connsiteY368" fmla="*/ 6145945 h 6858000"/>
              <a:gd name="connsiteX369" fmla="*/ 3939824 w 7467600"/>
              <a:gd name="connsiteY369" fmla="*/ 6066900 h 6858000"/>
              <a:gd name="connsiteX370" fmla="*/ 4584537 w 7467600"/>
              <a:gd name="connsiteY370" fmla="*/ 5324826 h 6858000"/>
              <a:gd name="connsiteX371" fmla="*/ 5037105 w 7467600"/>
              <a:gd name="connsiteY371" fmla="*/ 5088765 h 6858000"/>
              <a:gd name="connsiteX372" fmla="*/ 5039930 w 7467600"/>
              <a:gd name="connsiteY372" fmla="*/ 5089585 h 6858000"/>
              <a:gd name="connsiteX373" fmla="*/ 5263764 w 7467600"/>
              <a:gd name="connsiteY373" fmla="*/ 4735525 h 6858000"/>
              <a:gd name="connsiteX374" fmla="*/ 4086300 w 7467600"/>
              <a:gd name="connsiteY374" fmla="*/ 4884599 h 6858000"/>
              <a:gd name="connsiteX375" fmla="*/ 4085485 w 7467600"/>
              <a:gd name="connsiteY375" fmla="*/ 4899070 h 6858000"/>
              <a:gd name="connsiteX376" fmla="*/ 3871915 w 7467600"/>
              <a:gd name="connsiteY376" fmla="*/ 5253645 h 6858000"/>
              <a:gd name="connsiteX377" fmla="*/ 3799374 w 7467600"/>
              <a:gd name="connsiteY377" fmla="*/ 5466127 h 6858000"/>
              <a:gd name="connsiteX378" fmla="*/ 3498850 w 7467600"/>
              <a:gd name="connsiteY378" fmla="*/ 6661888 h 6858000"/>
              <a:gd name="connsiteX379" fmla="*/ 3399216 w 7467600"/>
              <a:gd name="connsiteY379" fmla="*/ 6858000 h 6858000"/>
              <a:gd name="connsiteX380" fmla="*/ 3303688 w 7467600"/>
              <a:gd name="connsiteY380" fmla="*/ 6858000 h 6858000"/>
              <a:gd name="connsiteX381" fmla="*/ 3391774 w 7467600"/>
              <a:gd name="connsiteY381" fmla="*/ 6697181 h 6858000"/>
              <a:gd name="connsiteX382" fmla="*/ 3735540 w 7467600"/>
              <a:gd name="connsiteY382" fmla="*/ 5546923 h 6858000"/>
              <a:gd name="connsiteX383" fmla="*/ 3729438 w 7467600"/>
              <a:gd name="connsiteY383" fmla="*/ 5569058 h 6858000"/>
              <a:gd name="connsiteX384" fmla="*/ 3707782 w 7467600"/>
              <a:gd name="connsiteY384" fmla="*/ 5644908 h 6858000"/>
              <a:gd name="connsiteX385" fmla="*/ 3583827 w 7467600"/>
              <a:gd name="connsiteY385" fmla="*/ 6039215 h 6858000"/>
              <a:gd name="connsiteX386" fmla="*/ 3547861 w 7467600"/>
              <a:gd name="connsiteY386" fmla="*/ 6129609 h 6858000"/>
              <a:gd name="connsiteX387" fmla="*/ 3490905 w 7467600"/>
              <a:gd name="connsiteY387" fmla="*/ 6277660 h 6858000"/>
              <a:gd name="connsiteX388" fmla="*/ 3455859 w 7467600"/>
              <a:gd name="connsiteY388" fmla="*/ 6391301 h 6858000"/>
              <a:gd name="connsiteX389" fmla="*/ 3429112 w 7467600"/>
              <a:gd name="connsiteY389" fmla="*/ 6479469 h 6858000"/>
              <a:gd name="connsiteX390" fmla="*/ 3304862 w 7467600"/>
              <a:gd name="connsiteY390" fmla="*/ 6796476 h 6858000"/>
              <a:gd name="connsiteX391" fmla="*/ 3276071 w 7467600"/>
              <a:gd name="connsiteY391" fmla="*/ 6858000 h 6858000"/>
              <a:gd name="connsiteX392" fmla="*/ 3240805 w 7467600"/>
              <a:gd name="connsiteY392" fmla="*/ 6858000 h 6858000"/>
              <a:gd name="connsiteX393" fmla="*/ 3275917 w 7467600"/>
              <a:gd name="connsiteY393" fmla="*/ 6783192 h 6858000"/>
              <a:gd name="connsiteX394" fmla="*/ 3399358 w 7467600"/>
              <a:gd name="connsiteY394" fmla="*/ 6469011 h 6858000"/>
              <a:gd name="connsiteX395" fmla="*/ 3425650 w 7467600"/>
              <a:gd name="connsiteY395" fmla="*/ 6381333 h 6858000"/>
              <a:gd name="connsiteX396" fmla="*/ 3460661 w 7467600"/>
              <a:gd name="connsiteY396" fmla="*/ 6266763 h 6858000"/>
              <a:gd name="connsiteX397" fmla="*/ 3518021 w 7467600"/>
              <a:gd name="connsiteY397" fmla="*/ 6117298 h 6858000"/>
              <a:gd name="connsiteX398" fmla="*/ 3554035 w 7467600"/>
              <a:gd name="connsiteY398" fmla="*/ 6027832 h 6858000"/>
              <a:gd name="connsiteX399" fmla="*/ 3677174 w 7467600"/>
              <a:gd name="connsiteY399" fmla="*/ 5636351 h 6858000"/>
              <a:gd name="connsiteX400" fmla="*/ 3698819 w 7467600"/>
              <a:gd name="connsiteY400" fmla="*/ 5560503 h 6858000"/>
              <a:gd name="connsiteX401" fmla="*/ 3702094 w 7467600"/>
              <a:gd name="connsiteY401" fmla="*/ 5549194 h 6858000"/>
              <a:gd name="connsiteX402" fmla="*/ 3398355 w 7467600"/>
              <a:gd name="connsiteY402" fmla="*/ 6094603 h 6858000"/>
              <a:gd name="connsiteX403" fmla="*/ 3193941 w 7467600"/>
              <a:gd name="connsiteY403" fmla="*/ 6798775 h 6858000"/>
              <a:gd name="connsiteX404" fmla="*/ 3184140 w 7467600"/>
              <a:gd name="connsiteY404" fmla="*/ 6858000 h 6858000"/>
              <a:gd name="connsiteX405" fmla="*/ 3099978 w 7467600"/>
              <a:gd name="connsiteY405" fmla="*/ 6858000 h 6858000"/>
              <a:gd name="connsiteX406" fmla="*/ 3101556 w 7467600"/>
              <a:gd name="connsiteY406" fmla="*/ 6843337 h 6858000"/>
              <a:gd name="connsiteX407" fmla="*/ 3370162 w 7467600"/>
              <a:gd name="connsiteY407" fmla="*/ 5785550 h 6858000"/>
              <a:gd name="connsiteX408" fmla="*/ 3746477 w 7467600"/>
              <a:gd name="connsiteY408" fmla="*/ 5377889 h 6858000"/>
              <a:gd name="connsiteX409" fmla="*/ 3863399 w 7467600"/>
              <a:gd name="connsiteY409" fmla="*/ 5087257 h 6858000"/>
              <a:gd name="connsiteX410" fmla="*/ 3968712 w 7467600"/>
              <a:gd name="connsiteY410" fmla="*/ 4913989 h 6858000"/>
              <a:gd name="connsiteX411" fmla="*/ 2792390 w 7467600"/>
              <a:gd name="connsiteY411" fmla="*/ 5382974 h 6858000"/>
              <a:gd name="connsiteX412" fmla="*/ 2714982 w 7467600"/>
              <a:gd name="connsiteY412" fmla="*/ 5427051 h 6858000"/>
              <a:gd name="connsiteX413" fmla="*/ 2813361 w 7467600"/>
              <a:gd name="connsiteY413" fmla="*/ 6023912 h 6858000"/>
              <a:gd name="connsiteX414" fmla="*/ 2688430 w 7467600"/>
              <a:gd name="connsiteY414" fmla="*/ 6801564 h 6858000"/>
              <a:gd name="connsiteX415" fmla="*/ 2629626 w 7467600"/>
              <a:gd name="connsiteY415" fmla="*/ 6763394 h 6858000"/>
              <a:gd name="connsiteX416" fmla="*/ 2565328 w 7467600"/>
              <a:gd name="connsiteY416" fmla="*/ 5516399 h 6858000"/>
              <a:gd name="connsiteX417" fmla="*/ 1922999 w 7467600"/>
              <a:gd name="connsiteY417" fmla="*/ 5980343 h 6858000"/>
              <a:gd name="connsiteX418" fmla="*/ 1950261 w 7467600"/>
              <a:gd name="connsiteY418" fmla="*/ 6405858 h 6858000"/>
              <a:gd name="connsiteX419" fmla="*/ 2365554 w 7467600"/>
              <a:gd name="connsiteY419" fmla="*/ 6759107 h 6858000"/>
              <a:gd name="connsiteX420" fmla="*/ 2424142 w 7467600"/>
              <a:gd name="connsiteY420" fmla="*/ 6858000 h 6858000"/>
              <a:gd name="connsiteX421" fmla="*/ 2395994 w 7467600"/>
              <a:gd name="connsiteY421" fmla="*/ 6858000 h 6858000"/>
              <a:gd name="connsiteX422" fmla="*/ 2392863 w 7467600"/>
              <a:gd name="connsiteY422" fmla="*/ 6852964 h 6858000"/>
              <a:gd name="connsiteX423" fmla="*/ 2017589 w 7467600"/>
              <a:gd name="connsiteY423" fmla="*/ 6493982 h 6858000"/>
              <a:gd name="connsiteX424" fmla="*/ 2147336 w 7467600"/>
              <a:gd name="connsiteY424" fmla="*/ 6594052 h 6858000"/>
              <a:gd name="connsiteX425" fmla="*/ 2207047 w 7467600"/>
              <a:gd name="connsiteY425" fmla="*/ 6654540 h 6858000"/>
              <a:gd name="connsiteX426" fmla="*/ 2299106 w 7467600"/>
              <a:gd name="connsiteY426" fmla="*/ 6778931 h 6858000"/>
              <a:gd name="connsiteX427" fmla="*/ 2314430 w 7467600"/>
              <a:gd name="connsiteY427" fmla="*/ 6801144 h 6858000"/>
              <a:gd name="connsiteX428" fmla="*/ 2352406 w 7467600"/>
              <a:gd name="connsiteY428" fmla="*/ 6858000 h 6858000"/>
              <a:gd name="connsiteX429" fmla="*/ 2314492 w 7467600"/>
              <a:gd name="connsiteY429" fmla="*/ 6858000 h 6858000"/>
              <a:gd name="connsiteX430" fmla="*/ 2288095 w 7467600"/>
              <a:gd name="connsiteY430" fmla="*/ 6818030 h 6858000"/>
              <a:gd name="connsiteX431" fmla="*/ 2272768 w 7467600"/>
              <a:gd name="connsiteY431" fmla="*/ 6795822 h 6858000"/>
              <a:gd name="connsiteX432" fmla="*/ 2182715 w 7467600"/>
              <a:gd name="connsiteY432" fmla="*/ 6675071 h 6858000"/>
              <a:gd name="connsiteX433" fmla="*/ 2032061 w 7467600"/>
              <a:gd name="connsiteY433" fmla="*/ 6541380 h 6858000"/>
              <a:gd name="connsiteX434" fmla="*/ 2257220 w 7467600"/>
              <a:gd name="connsiteY434" fmla="*/ 6826257 h 6858000"/>
              <a:gd name="connsiteX435" fmla="*/ 2281324 w 7467600"/>
              <a:gd name="connsiteY435" fmla="*/ 6858000 h 6858000"/>
              <a:gd name="connsiteX436" fmla="*/ 2242860 w 7467600"/>
              <a:gd name="connsiteY436" fmla="*/ 6858000 h 6858000"/>
              <a:gd name="connsiteX437" fmla="*/ 2232818 w 7467600"/>
              <a:gd name="connsiteY437" fmla="*/ 6844926 h 6858000"/>
              <a:gd name="connsiteX438" fmla="*/ 1990172 w 7467600"/>
              <a:gd name="connsiteY438" fmla="*/ 6542121 h 6858000"/>
              <a:gd name="connsiteX439" fmla="*/ 2124090 w 7467600"/>
              <a:gd name="connsiteY439" fmla="*/ 6761017 h 6858000"/>
              <a:gd name="connsiteX440" fmla="*/ 2200380 w 7467600"/>
              <a:gd name="connsiteY440" fmla="*/ 6858000 h 6858000"/>
              <a:gd name="connsiteX441" fmla="*/ 2147507 w 7467600"/>
              <a:gd name="connsiteY441" fmla="*/ 6858000 h 6858000"/>
              <a:gd name="connsiteX442" fmla="*/ 2070668 w 7467600"/>
              <a:gd name="connsiteY442" fmla="*/ 6761520 h 6858000"/>
              <a:gd name="connsiteX443" fmla="*/ 1975142 w 7467600"/>
              <a:gd name="connsiteY443" fmla="*/ 6585570 h 6858000"/>
              <a:gd name="connsiteX444" fmla="*/ 2050035 w 7467600"/>
              <a:gd name="connsiteY444" fmla="*/ 6813345 h 6858000"/>
              <a:gd name="connsiteX445" fmla="*/ 2063025 w 7467600"/>
              <a:gd name="connsiteY445" fmla="*/ 6858000 h 6858000"/>
              <a:gd name="connsiteX446" fmla="*/ 2021675 w 7467600"/>
              <a:gd name="connsiteY446" fmla="*/ 6858000 h 6858000"/>
              <a:gd name="connsiteX447" fmla="*/ 2019308 w 7467600"/>
              <a:gd name="connsiteY447" fmla="*/ 6847118 h 6858000"/>
              <a:gd name="connsiteX448" fmla="*/ 1938835 w 7467600"/>
              <a:gd name="connsiteY448" fmla="*/ 6551160 h 6858000"/>
              <a:gd name="connsiteX449" fmla="*/ 1953230 w 7467600"/>
              <a:gd name="connsiteY449" fmla="*/ 6759699 h 6858000"/>
              <a:gd name="connsiteX450" fmla="*/ 1956763 w 7467600"/>
              <a:gd name="connsiteY450" fmla="*/ 6778191 h 6858000"/>
              <a:gd name="connsiteX451" fmla="*/ 1967925 w 7467600"/>
              <a:gd name="connsiteY451" fmla="*/ 6858000 h 6858000"/>
              <a:gd name="connsiteX452" fmla="*/ 1936622 w 7467600"/>
              <a:gd name="connsiteY452" fmla="*/ 6858000 h 6858000"/>
              <a:gd name="connsiteX453" fmla="*/ 1926261 w 7467600"/>
              <a:gd name="connsiteY453" fmla="*/ 6784064 h 6858000"/>
              <a:gd name="connsiteX454" fmla="*/ 1922724 w 7467600"/>
              <a:gd name="connsiteY454" fmla="*/ 6765577 h 6858000"/>
              <a:gd name="connsiteX455" fmla="*/ 1904650 w 7467600"/>
              <a:gd name="connsiteY455" fmla="*/ 6639616 h 6858000"/>
              <a:gd name="connsiteX456" fmla="*/ 1885273 w 7467600"/>
              <a:gd name="connsiteY456" fmla="*/ 6858000 h 6858000"/>
              <a:gd name="connsiteX457" fmla="*/ 1854363 w 7467600"/>
              <a:gd name="connsiteY457" fmla="*/ 6858000 h 6858000"/>
              <a:gd name="connsiteX458" fmla="*/ 1880391 w 7467600"/>
              <a:gd name="connsiteY458" fmla="*/ 6603796 h 6858000"/>
              <a:gd name="connsiteX459" fmla="*/ 1818273 w 7467600"/>
              <a:gd name="connsiteY459" fmla="*/ 6715729 h 6858000"/>
              <a:gd name="connsiteX460" fmla="*/ 1794691 w 7467600"/>
              <a:gd name="connsiteY460" fmla="*/ 6843239 h 6858000"/>
              <a:gd name="connsiteX461" fmla="*/ 1794914 w 7467600"/>
              <a:gd name="connsiteY461" fmla="*/ 6858000 h 6858000"/>
              <a:gd name="connsiteX462" fmla="*/ 1746128 w 7467600"/>
              <a:gd name="connsiteY462" fmla="*/ 6858000 h 6858000"/>
              <a:gd name="connsiteX463" fmla="*/ 1753934 w 7467600"/>
              <a:gd name="connsiteY463" fmla="*/ 6724796 h 6858000"/>
              <a:gd name="connsiteX464" fmla="*/ 1792053 w 7467600"/>
              <a:gd name="connsiteY464" fmla="*/ 6572396 h 6858000"/>
              <a:gd name="connsiteX465" fmla="*/ 1862248 w 7467600"/>
              <a:gd name="connsiteY465" fmla="*/ 6266397 h 6858000"/>
              <a:gd name="connsiteX466" fmla="*/ 1862250 w 7467600"/>
              <a:gd name="connsiteY466" fmla="*/ 6033531 h 6858000"/>
              <a:gd name="connsiteX467" fmla="*/ 1211999 w 7467600"/>
              <a:gd name="connsiteY467" fmla="*/ 6683610 h 6858000"/>
              <a:gd name="connsiteX468" fmla="*/ 1213266 w 7467600"/>
              <a:gd name="connsiteY468" fmla="*/ 6691947 h 6858000"/>
              <a:gd name="connsiteX469" fmla="*/ 1203370 w 7467600"/>
              <a:gd name="connsiteY469" fmla="*/ 6850676 h 6858000"/>
              <a:gd name="connsiteX470" fmla="*/ 1203671 w 7467600"/>
              <a:gd name="connsiteY470" fmla="*/ 6858000 h 6858000"/>
              <a:gd name="connsiteX471" fmla="*/ 1143180 w 7467600"/>
              <a:gd name="connsiteY471" fmla="*/ 6858000 h 6858000"/>
              <a:gd name="connsiteX472" fmla="*/ 1142176 w 7467600"/>
              <a:gd name="connsiteY472" fmla="*/ 6766045 h 6858000"/>
              <a:gd name="connsiteX473" fmla="*/ 1067484 w 7467600"/>
              <a:gd name="connsiteY473" fmla="*/ 6858000 h 6858000"/>
              <a:gd name="connsiteX474" fmla="*/ 953928 w 7467600"/>
              <a:gd name="connsiteY474" fmla="*/ 6858000 h 6858000"/>
              <a:gd name="connsiteX475" fmla="*/ 959715 w 7467600"/>
              <a:gd name="connsiteY475" fmla="*/ 6850185 h 6858000"/>
              <a:gd name="connsiteX476" fmla="*/ 1483788 w 7467600"/>
              <a:gd name="connsiteY476" fmla="*/ 6259174 h 6858000"/>
              <a:gd name="connsiteX477" fmla="*/ 1100671 w 7467600"/>
              <a:gd name="connsiteY477" fmla="*/ 6252137 h 6858000"/>
              <a:gd name="connsiteX478" fmla="*/ 1090144 w 7467600"/>
              <a:gd name="connsiteY478" fmla="*/ 6256748 h 6858000"/>
              <a:gd name="connsiteX479" fmla="*/ 1095872 w 7467600"/>
              <a:gd name="connsiteY479" fmla="*/ 6271892 h 6858000"/>
              <a:gd name="connsiteX480" fmla="*/ 262785 w 7467600"/>
              <a:gd name="connsiteY480" fmla="*/ 6845450 h 6858000"/>
              <a:gd name="connsiteX481" fmla="*/ 209968 w 7467600"/>
              <a:gd name="connsiteY481" fmla="*/ 6770713 h 6858000"/>
              <a:gd name="connsiteX482" fmla="*/ 873460 w 7467600"/>
              <a:gd name="connsiteY482" fmla="*/ 6253768 h 6858000"/>
              <a:gd name="connsiteX483" fmla="*/ 192686 w 7467600"/>
              <a:gd name="connsiteY483" fmla="*/ 5849257 h 6858000"/>
              <a:gd name="connsiteX484" fmla="*/ 4696 w 7467600"/>
              <a:gd name="connsiteY484" fmla="*/ 5697668 h 6858000"/>
              <a:gd name="connsiteX485" fmla="*/ 0 w 7467600"/>
              <a:gd name="connsiteY485" fmla="*/ 5689984 h 6858000"/>
              <a:gd name="connsiteX486" fmla="*/ 0 w 7467600"/>
              <a:gd name="connsiteY486" fmla="*/ 5513472 h 6858000"/>
              <a:gd name="connsiteX487" fmla="*/ 174101 w 7467600"/>
              <a:gd name="connsiteY487" fmla="*/ 5620277 h 6858000"/>
              <a:gd name="connsiteX488" fmla="*/ 891800 w 7467600"/>
              <a:gd name="connsiteY488" fmla="*/ 6036935 h 6858000"/>
              <a:gd name="connsiteX489" fmla="*/ 1072219 w 7467600"/>
              <a:gd name="connsiteY489" fmla="*/ 6169443 h 6858000"/>
              <a:gd name="connsiteX490" fmla="*/ 1074117 w 7467600"/>
              <a:gd name="connsiteY490" fmla="*/ 6170301 h 6858000"/>
              <a:gd name="connsiteX491" fmla="*/ 1083114 w 7467600"/>
              <a:gd name="connsiteY491" fmla="*/ 6174131 h 6858000"/>
              <a:gd name="connsiteX492" fmla="*/ 1543010 w 7467600"/>
              <a:gd name="connsiteY492" fmla="*/ 6191140 h 6858000"/>
              <a:gd name="connsiteX493" fmla="*/ 1551080 w 7467600"/>
              <a:gd name="connsiteY493" fmla="*/ 6195006 h 6858000"/>
              <a:gd name="connsiteX494" fmla="*/ 2345443 w 7467600"/>
              <a:gd name="connsiteY494" fmla="*/ 5549882 h 6858000"/>
              <a:gd name="connsiteX495" fmla="*/ 1721499 w 7467600"/>
              <a:gd name="connsiteY495" fmla="*/ 5599969 h 6858000"/>
              <a:gd name="connsiteX496" fmla="*/ 767716 w 7467600"/>
              <a:gd name="connsiteY496" fmla="*/ 5472768 h 6858000"/>
              <a:gd name="connsiteX497" fmla="*/ 722147 w 7467600"/>
              <a:gd name="connsiteY497" fmla="*/ 5393091 h 6858000"/>
              <a:gd name="connsiteX498" fmla="*/ 1485552 w 7467600"/>
              <a:gd name="connsiteY498" fmla="*/ 5313202 h 6858000"/>
              <a:gd name="connsiteX499" fmla="*/ 2143004 w 7467600"/>
              <a:gd name="connsiteY499" fmla="*/ 5402420 h 6858000"/>
              <a:gd name="connsiteX500" fmla="*/ 1933391 w 7467600"/>
              <a:gd name="connsiteY500" fmla="*/ 5156971 h 6858000"/>
              <a:gd name="connsiteX501" fmla="*/ 1827118 w 7467600"/>
              <a:gd name="connsiteY501" fmla="*/ 4968410 h 6858000"/>
              <a:gd name="connsiteX502" fmla="*/ 1837349 w 7467600"/>
              <a:gd name="connsiteY502" fmla="*/ 4956357 h 6858000"/>
              <a:gd name="connsiteX503" fmla="*/ 2162835 w 7467600"/>
              <a:gd name="connsiteY503" fmla="*/ 5187853 h 6858000"/>
              <a:gd name="connsiteX504" fmla="*/ 2257167 w 7467600"/>
              <a:gd name="connsiteY504" fmla="*/ 5462123 h 6858000"/>
              <a:gd name="connsiteX505" fmla="*/ 2261598 w 7467600"/>
              <a:gd name="connsiteY505" fmla="*/ 5467998 h 6858000"/>
              <a:gd name="connsiteX506" fmla="*/ 2437177 w 7467600"/>
              <a:gd name="connsiteY506" fmla="*/ 5479608 h 6858000"/>
              <a:gd name="connsiteX507" fmla="*/ 2445247 w 7467600"/>
              <a:gd name="connsiteY507" fmla="*/ 5483476 h 6858000"/>
              <a:gd name="connsiteX508" fmla="*/ 2743626 w 7467600"/>
              <a:gd name="connsiteY508" fmla="*/ 5304819 h 6858000"/>
              <a:gd name="connsiteX509" fmla="*/ 3048102 w 7467600"/>
              <a:gd name="connsiteY509" fmla="*/ 5150595 h 6858000"/>
              <a:gd name="connsiteX510" fmla="*/ 1799414 w 7467600"/>
              <a:gd name="connsiteY510" fmla="*/ 4694732 h 6858000"/>
              <a:gd name="connsiteX511" fmla="*/ 1771735 w 7467600"/>
              <a:gd name="connsiteY511" fmla="*/ 4619929 h 6858000"/>
              <a:gd name="connsiteX512" fmla="*/ 3104273 w 7467600"/>
              <a:gd name="connsiteY512" fmla="*/ 5076159 h 6858000"/>
              <a:gd name="connsiteX513" fmla="*/ 3113245 w 7467600"/>
              <a:gd name="connsiteY513" fmla="*/ 5090705 h 6858000"/>
              <a:gd name="connsiteX514" fmla="*/ 3126294 w 7467600"/>
              <a:gd name="connsiteY514" fmla="*/ 5114400 h 6858000"/>
              <a:gd name="connsiteX515" fmla="*/ 3937433 w 7467600"/>
              <a:gd name="connsiteY515" fmla="*/ 4830473 h 6858000"/>
              <a:gd name="connsiteX516" fmla="*/ 3590475 w 7467600"/>
              <a:gd name="connsiteY516" fmla="*/ 4597974 h 6858000"/>
              <a:gd name="connsiteX517" fmla="*/ 3100264 w 7467600"/>
              <a:gd name="connsiteY517" fmla="*/ 4579845 h 6858000"/>
              <a:gd name="connsiteX518" fmla="*/ 2183576 w 7467600"/>
              <a:gd name="connsiteY518" fmla="*/ 4227150 h 6858000"/>
              <a:gd name="connsiteX519" fmla="*/ 2151029 w 7467600"/>
              <a:gd name="connsiteY519" fmla="*/ 4146947 h 6858000"/>
              <a:gd name="connsiteX520" fmla="*/ 3563434 w 7467600"/>
              <a:gd name="connsiteY520" fmla="*/ 4469115 h 6858000"/>
              <a:gd name="connsiteX521" fmla="*/ 3177952 w 7467600"/>
              <a:gd name="connsiteY521" fmla="*/ 3657386 h 6858000"/>
              <a:gd name="connsiteX522" fmla="*/ 3189263 w 7467600"/>
              <a:gd name="connsiteY522" fmla="*/ 3625726 h 6858000"/>
              <a:gd name="connsiteX523" fmla="*/ 3560912 w 7467600"/>
              <a:gd name="connsiteY523" fmla="*/ 4079863 h 6858000"/>
              <a:gd name="connsiteX524" fmla="*/ 3626636 w 7467600"/>
              <a:gd name="connsiteY524" fmla="*/ 4512230 h 6858000"/>
              <a:gd name="connsiteX525" fmla="*/ 3653088 w 7467600"/>
              <a:gd name="connsiteY525" fmla="*/ 4521417 h 6858000"/>
              <a:gd name="connsiteX526" fmla="*/ 3988128 w 7467600"/>
              <a:gd name="connsiteY526" fmla="*/ 4817267 h 6858000"/>
              <a:gd name="connsiteX527" fmla="*/ 4830582 w 7467600"/>
              <a:gd name="connsiteY527" fmla="*/ 4676000 h 6858000"/>
              <a:gd name="connsiteX528" fmla="*/ 4830100 w 7467600"/>
              <a:gd name="connsiteY528" fmla="*/ 4675554 h 6858000"/>
              <a:gd name="connsiteX529" fmla="*/ 4036318 w 7467600"/>
              <a:gd name="connsiteY529" fmla="*/ 4147013 h 6858000"/>
              <a:gd name="connsiteX530" fmla="*/ 3432098 w 7467600"/>
              <a:gd name="connsiteY530" fmla="*/ 3537312 h 6858000"/>
              <a:gd name="connsiteX531" fmla="*/ 3446761 w 7467600"/>
              <a:gd name="connsiteY531" fmla="*/ 3461278 h 6858000"/>
              <a:gd name="connsiteX532" fmla="*/ 4419733 w 7467600"/>
              <a:gd name="connsiteY532" fmla="*/ 3963555 h 6858000"/>
              <a:gd name="connsiteX533" fmla="*/ 4781371 w 7467600"/>
              <a:gd name="connsiteY533" fmla="*/ 4458604 h 6858000"/>
              <a:gd name="connsiteX534" fmla="*/ 4780440 w 7467600"/>
              <a:gd name="connsiteY534" fmla="*/ 4470290 h 6858000"/>
              <a:gd name="connsiteX535" fmla="*/ 4898954 w 7467600"/>
              <a:gd name="connsiteY535" fmla="*/ 4662092 h 6858000"/>
              <a:gd name="connsiteX536" fmla="*/ 4900699 w 7467600"/>
              <a:gd name="connsiteY536" fmla="*/ 4670867 h 6858000"/>
              <a:gd name="connsiteX537" fmla="*/ 5714511 w 7467600"/>
              <a:gd name="connsiteY537" fmla="*/ 4663483 h 6858000"/>
              <a:gd name="connsiteX538" fmla="*/ 5464793 w 7467600"/>
              <a:gd name="connsiteY538" fmla="*/ 4393556 h 6858000"/>
              <a:gd name="connsiteX539" fmla="*/ 5461897 w 7467600"/>
              <a:gd name="connsiteY539" fmla="*/ 4390879 h 6858000"/>
              <a:gd name="connsiteX540" fmla="*/ 4294126 w 7467600"/>
              <a:gd name="connsiteY540" fmla="*/ 3303048 h 6858000"/>
              <a:gd name="connsiteX541" fmla="*/ 4305321 w 7467600"/>
              <a:gd name="connsiteY541" fmla="*/ 3256953 h 6858000"/>
              <a:gd name="connsiteX542" fmla="*/ 4949299 w 7467600"/>
              <a:gd name="connsiteY542" fmla="*/ 3766336 h 6858000"/>
              <a:gd name="connsiteX543" fmla="*/ 5291452 w 7467600"/>
              <a:gd name="connsiteY543" fmla="*/ 4076801 h 6858000"/>
              <a:gd name="connsiteX544" fmla="*/ 5434998 w 7467600"/>
              <a:gd name="connsiteY544" fmla="*/ 4254100 h 6858000"/>
              <a:gd name="connsiteX545" fmla="*/ 5351015 w 7467600"/>
              <a:gd name="connsiteY545" fmla="*/ 3760989 h 6858000"/>
              <a:gd name="connsiteX546" fmla="*/ 5413780 w 7467600"/>
              <a:gd name="connsiteY546" fmla="*/ 2966265 h 6858000"/>
              <a:gd name="connsiteX547" fmla="*/ 5425627 w 7467600"/>
              <a:gd name="connsiteY547" fmla="*/ 2954192 h 6858000"/>
              <a:gd name="connsiteX548" fmla="*/ 6604735 w 7467600"/>
              <a:gd name="connsiteY548" fmla="*/ 2041381 h 6858000"/>
              <a:gd name="connsiteX549" fmla="*/ 7204487 w 7467600"/>
              <a:gd name="connsiteY549" fmla="*/ 2742112 h 6858000"/>
              <a:gd name="connsiteX550" fmla="*/ 7131592 w 7467600"/>
              <a:gd name="connsiteY550" fmla="*/ 2672096 h 6858000"/>
              <a:gd name="connsiteX551" fmla="*/ 6996344 w 7467600"/>
              <a:gd name="connsiteY551" fmla="*/ 2518310 h 6858000"/>
              <a:gd name="connsiteX552" fmla="*/ 6735495 w 7467600"/>
              <a:gd name="connsiteY552" fmla="*/ 2196890 h 6858000"/>
              <a:gd name="connsiteX553" fmla="*/ 6721901 w 7467600"/>
              <a:gd name="connsiteY553" fmla="*/ 2179274 h 6858000"/>
              <a:gd name="connsiteX554" fmla="*/ 6604735 w 7467600"/>
              <a:gd name="connsiteY554" fmla="*/ 2041381 h 6858000"/>
              <a:gd name="connsiteX555" fmla="*/ 6591670 w 7467600"/>
              <a:gd name="connsiteY555" fmla="*/ 1988277 h 6858000"/>
              <a:gd name="connsiteX556" fmla="*/ 6747349 w 7467600"/>
              <a:gd name="connsiteY556" fmla="*/ 2160069 h 6858000"/>
              <a:gd name="connsiteX557" fmla="*/ 6760943 w 7467600"/>
              <a:gd name="connsiteY557" fmla="*/ 2177686 h 6858000"/>
              <a:gd name="connsiteX558" fmla="*/ 7021065 w 7467600"/>
              <a:gd name="connsiteY558" fmla="*/ 2498102 h 6858000"/>
              <a:gd name="connsiteX559" fmla="*/ 7155223 w 7467600"/>
              <a:gd name="connsiteY559" fmla="*/ 2650386 h 6858000"/>
              <a:gd name="connsiteX560" fmla="*/ 7203167 w 7467600"/>
              <a:gd name="connsiteY560" fmla="*/ 2697288 h 6858000"/>
              <a:gd name="connsiteX561" fmla="*/ 6937703 w 7467600"/>
              <a:gd name="connsiteY561" fmla="*/ 2321981 h 6858000"/>
              <a:gd name="connsiteX562" fmla="*/ 6591670 w 7467600"/>
              <a:gd name="connsiteY562" fmla="*/ 1988277 h 6858000"/>
              <a:gd name="connsiteX563" fmla="*/ 5798671 w 7467600"/>
              <a:gd name="connsiteY563" fmla="*/ 1981601 h 6858000"/>
              <a:gd name="connsiteX564" fmla="*/ 5754709 w 7467600"/>
              <a:gd name="connsiteY564" fmla="*/ 2071454 h 6858000"/>
              <a:gd name="connsiteX565" fmla="*/ 5763044 w 7467600"/>
              <a:gd name="connsiteY565" fmla="*/ 2842206 h 6858000"/>
              <a:gd name="connsiteX566" fmla="*/ 5764974 w 7467600"/>
              <a:gd name="connsiteY566" fmla="*/ 2799609 h 6858000"/>
              <a:gd name="connsiteX567" fmla="*/ 5767665 w 7467600"/>
              <a:gd name="connsiteY567" fmla="*/ 2666409 h 6858000"/>
              <a:gd name="connsiteX568" fmla="*/ 5763055 w 7467600"/>
              <a:gd name="connsiteY568" fmla="*/ 2579705 h 6858000"/>
              <a:gd name="connsiteX569" fmla="*/ 5758079 w 7467600"/>
              <a:gd name="connsiteY569" fmla="*/ 2492508 h 6858000"/>
              <a:gd name="connsiteX570" fmla="*/ 5779325 w 7467600"/>
              <a:gd name="connsiteY570" fmla="*/ 2197069 h 6858000"/>
              <a:gd name="connsiteX571" fmla="*/ 5798671 w 7467600"/>
              <a:gd name="connsiteY571" fmla="*/ 1981601 h 6858000"/>
              <a:gd name="connsiteX572" fmla="*/ 5829202 w 7467600"/>
              <a:gd name="connsiteY572" fmla="*/ 1971679 h 6858000"/>
              <a:gd name="connsiteX573" fmla="*/ 5809558 w 7467600"/>
              <a:gd name="connsiteY573" fmla="*/ 2198043 h 6858000"/>
              <a:gd name="connsiteX574" fmla="*/ 5788653 w 7467600"/>
              <a:gd name="connsiteY574" fmla="*/ 2489430 h 6858000"/>
              <a:gd name="connsiteX575" fmla="*/ 5793439 w 7467600"/>
              <a:gd name="connsiteY575" fmla="*/ 2575235 h 6858000"/>
              <a:gd name="connsiteX576" fmla="*/ 5796837 w 7467600"/>
              <a:gd name="connsiteY576" fmla="*/ 2637633 h 6858000"/>
              <a:gd name="connsiteX577" fmla="*/ 5818614 w 7467600"/>
              <a:gd name="connsiteY577" fmla="*/ 2473055 h 6858000"/>
              <a:gd name="connsiteX578" fmla="*/ 5829202 w 7467600"/>
              <a:gd name="connsiteY578" fmla="*/ 1971679 h 6858000"/>
              <a:gd name="connsiteX579" fmla="*/ 5911389 w 7467600"/>
              <a:gd name="connsiteY579" fmla="*/ 1898371 h 6858000"/>
              <a:gd name="connsiteX580" fmla="*/ 6237627 w 7467600"/>
              <a:gd name="connsiteY580" fmla="*/ 2231921 h 6858000"/>
              <a:gd name="connsiteX581" fmla="*/ 5911389 w 7467600"/>
              <a:gd name="connsiteY581" fmla="*/ 1898371 h 6858000"/>
              <a:gd name="connsiteX582" fmla="*/ 6944437 w 7467600"/>
              <a:gd name="connsiteY582" fmla="*/ 1575402 h 6858000"/>
              <a:gd name="connsiteX583" fmla="*/ 6304730 w 7467600"/>
              <a:gd name="connsiteY583" fmla="*/ 1766654 h 6858000"/>
              <a:gd name="connsiteX584" fmla="*/ 6944437 w 7467600"/>
              <a:gd name="connsiteY584" fmla="*/ 1575402 h 6858000"/>
              <a:gd name="connsiteX585" fmla="*/ 7019523 w 7467600"/>
              <a:gd name="connsiteY585" fmla="*/ 1519450 h 6858000"/>
              <a:gd name="connsiteX586" fmla="*/ 6298091 w 7467600"/>
              <a:gd name="connsiteY586" fmla="*/ 1737122 h 6858000"/>
              <a:gd name="connsiteX587" fmla="*/ 7019523 w 7467600"/>
              <a:gd name="connsiteY587" fmla="*/ 1519450 h 6858000"/>
              <a:gd name="connsiteX588" fmla="*/ 2399523 w 7467600"/>
              <a:gd name="connsiteY588" fmla="*/ 1428234 h 6858000"/>
              <a:gd name="connsiteX589" fmla="*/ 2224982 w 7467600"/>
              <a:gd name="connsiteY589" fmla="*/ 1826201 h 6858000"/>
              <a:gd name="connsiteX590" fmla="*/ 2096099 w 7467600"/>
              <a:gd name="connsiteY590" fmla="*/ 2345900 h 6858000"/>
              <a:gd name="connsiteX591" fmla="*/ 2283317 w 7467600"/>
              <a:gd name="connsiteY591" fmla="*/ 1796925 h 6858000"/>
              <a:gd name="connsiteX592" fmla="*/ 2399523 w 7467600"/>
              <a:gd name="connsiteY592" fmla="*/ 1428234 h 6858000"/>
              <a:gd name="connsiteX593" fmla="*/ 2448558 w 7467600"/>
              <a:gd name="connsiteY593" fmla="*/ 1373435 h 6858000"/>
              <a:gd name="connsiteX594" fmla="*/ 2312521 w 7467600"/>
              <a:gd name="connsiteY594" fmla="*/ 1806140 h 6858000"/>
              <a:gd name="connsiteX595" fmla="*/ 2127533 w 7467600"/>
              <a:gd name="connsiteY595" fmla="*/ 2348380 h 6858000"/>
              <a:gd name="connsiteX596" fmla="*/ 2358080 w 7467600"/>
              <a:gd name="connsiteY596" fmla="*/ 1866134 h 6858000"/>
              <a:gd name="connsiteX597" fmla="*/ 2407436 w 7467600"/>
              <a:gd name="connsiteY597" fmla="*/ 1651070 h 6858000"/>
              <a:gd name="connsiteX598" fmla="*/ 2448558 w 7467600"/>
              <a:gd name="connsiteY598" fmla="*/ 1373435 h 6858000"/>
              <a:gd name="connsiteX599" fmla="*/ 278707 w 7467600"/>
              <a:gd name="connsiteY599" fmla="*/ 1352270 h 6858000"/>
              <a:gd name="connsiteX600" fmla="*/ 321570 w 7467600"/>
              <a:gd name="connsiteY600" fmla="*/ 1861610 h 6858000"/>
              <a:gd name="connsiteX601" fmla="*/ 294281 w 7467600"/>
              <a:gd name="connsiteY601" fmla="*/ 1440658 h 6858000"/>
              <a:gd name="connsiteX602" fmla="*/ 278707 w 7467600"/>
              <a:gd name="connsiteY602" fmla="*/ 1352270 h 6858000"/>
              <a:gd name="connsiteX603" fmla="*/ 1423821 w 7467600"/>
              <a:gd name="connsiteY603" fmla="*/ 1351958 h 6858000"/>
              <a:gd name="connsiteX604" fmla="*/ 1638521 w 7467600"/>
              <a:gd name="connsiteY604" fmla="*/ 1908470 h 6858000"/>
              <a:gd name="connsiteX605" fmla="*/ 1754199 w 7467600"/>
              <a:gd name="connsiteY605" fmla="*/ 2149284 h 6858000"/>
              <a:gd name="connsiteX606" fmla="*/ 1908359 w 7467600"/>
              <a:gd name="connsiteY606" fmla="*/ 2364988 h 6858000"/>
              <a:gd name="connsiteX607" fmla="*/ 1647661 w 7467600"/>
              <a:gd name="connsiteY607" fmla="*/ 1825945 h 6858000"/>
              <a:gd name="connsiteX608" fmla="*/ 1423821 w 7467600"/>
              <a:gd name="connsiteY608" fmla="*/ 1351958 h 6858000"/>
              <a:gd name="connsiteX609" fmla="*/ 1431890 w 7467600"/>
              <a:gd name="connsiteY609" fmla="*/ 1306475 h 6858000"/>
              <a:gd name="connsiteX610" fmla="*/ 1507597 w 7467600"/>
              <a:gd name="connsiteY610" fmla="*/ 1446132 h 6858000"/>
              <a:gd name="connsiteX611" fmla="*/ 1674586 w 7467600"/>
              <a:gd name="connsiteY611" fmla="*/ 1813832 h 6858000"/>
              <a:gd name="connsiteX612" fmla="*/ 1815950 w 7467600"/>
              <a:gd name="connsiteY612" fmla="*/ 2128564 h 6858000"/>
              <a:gd name="connsiteX613" fmla="*/ 1984242 w 7467600"/>
              <a:gd name="connsiteY613" fmla="*/ 2430829 h 6858000"/>
              <a:gd name="connsiteX614" fmla="*/ 2014023 w 7467600"/>
              <a:gd name="connsiteY614" fmla="*/ 2450995 h 6858000"/>
              <a:gd name="connsiteX615" fmla="*/ 1747337 w 7467600"/>
              <a:gd name="connsiteY615" fmla="*/ 1855264 h 6858000"/>
              <a:gd name="connsiteX616" fmla="*/ 1533749 w 7467600"/>
              <a:gd name="connsiteY616" fmla="*/ 1478656 h 6858000"/>
              <a:gd name="connsiteX617" fmla="*/ 1431890 w 7467600"/>
              <a:gd name="connsiteY617" fmla="*/ 1306475 h 6858000"/>
              <a:gd name="connsiteX618" fmla="*/ 5052692 w 7467600"/>
              <a:gd name="connsiteY618" fmla="*/ 1292994 h 6858000"/>
              <a:gd name="connsiteX619" fmla="*/ 5200661 w 7467600"/>
              <a:gd name="connsiteY619" fmla="*/ 1635186 h 6858000"/>
              <a:gd name="connsiteX620" fmla="*/ 5297138 w 7467600"/>
              <a:gd name="connsiteY620" fmla="*/ 1906351 h 6858000"/>
              <a:gd name="connsiteX621" fmla="*/ 5052692 w 7467600"/>
              <a:gd name="connsiteY621" fmla="*/ 1292994 h 6858000"/>
              <a:gd name="connsiteX622" fmla="*/ 5009948 w 7467600"/>
              <a:gd name="connsiteY622" fmla="*/ 1273619 h 6858000"/>
              <a:gd name="connsiteX623" fmla="*/ 5121777 w 7467600"/>
              <a:gd name="connsiteY623" fmla="*/ 1654213 h 6858000"/>
              <a:gd name="connsiteX624" fmla="*/ 5293545 w 7467600"/>
              <a:gd name="connsiteY624" fmla="*/ 2072247 h 6858000"/>
              <a:gd name="connsiteX625" fmla="*/ 5294042 w 7467600"/>
              <a:gd name="connsiteY625" fmla="*/ 2065019 h 6858000"/>
              <a:gd name="connsiteX626" fmla="*/ 5171936 w 7467600"/>
              <a:gd name="connsiteY626" fmla="*/ 1647613 h 6858000"/>
              <a:gd name="connsiteX627" fmla="*/ 5009948 w 7467600"/>
              <a:gd name="connsiteY627" fmla="*/ 1273619 h 6858000"/>
              <a:gd name="connsiteX628" fmla="*/ 655236 w 7467600"/>
              <a:gd name="connsiteY628" fmla="*/ 1268632 h 6858000"/>
              <a:gd name="connsiteX629" fmla="*/ 839521 w 7467600"/>
              <a:gd name="connsiteY629" fmla="*/ 1685315 h 6858000"/>
              <a:gd name="connsiteX630" fmla="*/ 1109416 w 7467600"/>
              <a:gd name="connsiteY630" fmla="*/ 2061663 h 6858000"/>
              <a:gd name="connsiteX631" fmla="*/ 1298300 w 7467600"/>
              <a:gd name="connsiteY631" fmla="*/ 2247742 h 6858000"/>
              <a:gd name="connsiteX632" fmla="*/ 1125871 w 7467600"/>
              <a:gd name="connsiteY632" fmla="*/ 1989513 h 6858000"/>
              <a:gd name="connsiteX633" fmla="*/ 981574 w 7467600"/>
              <a:gd name="connsiteY633" fmla="*/ 1783157 h 6858000"/>
              <a:gd name="connsiteX634" fmla="*/ 922198 w 7467600"/>
              <a:gd name="connsiteY634" fmla="*/ 1677437 h 6858000"/>
              <a:gd name="connsiteX635" fmla="*/ 869293 w 7467600"/>
              <a:gd name="connsiteY635" fmla="*/ 1583214 h 6858000"/>
              <a:gd name="connsiteX636" fmla="*/ 751431 w 7467600"/>
              <a:gd name="connsiteY636" fmla="*/ 1405731 h 6858000"/>
              <a:gd name="connsiteX637" fmla="*/ 655236 w 7467600"/>
              <a:gd name="connsiteY637" fmla="*/ 1268632 h 6858000"/>
              <a:gd name="connsiteX638" fmla="*/ 6516292 w 7467600"/>
              <a:gd name="connsiteY638" fmla="*/ 1263064 h 6858000"/>
              <a:gd name="connsiteX639" fmla="*/ 5736320 w 7467600"/>
              <a:gd name="connsiteY639" fmla="*/ 1501803 h 6858000"/>
              <a:gd name="connsiteX640" fmla="*/ 6516292 w 7467600"/>
              <a:gd name="connsiteY640" fmla="*/ 1263064 h 6858000"/>
              <a:gd name="connsiteX641" fmla="*/ 291466 w 7467600"/>
              <a:gd name="connsiteY641" fmla="*/ 1250369 h 6858000"/>
              <a:gd name="connsiteX642" fmla="*/ 323180 w 7467600"/>
              <a:gd name="connsiteY642" fmla="*/ 1435283 h 6858000"/>
              <a:gd name="connsiteX643" fmla="*/ 349381 w 7467600"/>
              <a:gd name="connsiteY643" fmla="*/ 1875041 h 6858000"/>
              <a:gd name="connsiteX644" fmla="*/ 374363 w 7467600"/>
              <a:gd name="connsiteY644" fmla="*/ 1506494 h 6858000"/>
              <a:gd name="connsiteX645" fmla="*/ 302168 w 7467600"/>
              <a:gd name="connsiteY645" fmla="*/ 1274495 h 6858000"/>
              <a:gd name="connsiteX646" fmla="*/ 291466 w 7467600"/>
              <a:gd name="connsiteY646" fmla="*/ 1250369 h 6858000"/>
              <a:gd name="connsiteX647" fmla="*/ 678222 w 7467600"/>
              <a:gd name="connsiteY647" fmla="*/ 1248670 h 6858000"/>
              <a:gd name="connsiteX648" fmla="*/ 775536 w 7467600"/>
              <a:gd name="connsiteY648" fmla="*/ 1388015 h 6858000"/>
              <a:gd name="connsiteX649" fmla="*/ 894529 w 7467600"/>
              <a:gd name="connsiteY649" fmla="*/ 1567739 h 6858000"/>
              <a:gd name="connsiteX650" fmla="*/ 948000 w 7467600"/>
              <a:gd name="connsiteY650" fmla="*/ 1663088 h 6858000"/>
              <a:gd name="connsiteX651" fmla="*/ 1006812 w 7467600"/>
              <a:gd name="connsiteY651" fmla="*/ 1767683 h 6858000"/>
              <a:gd name="connsiteX652" fmla="*/ 1149133 w 7467600"/>
              <a:gd name="connsiteY652" fmla="*/ 1971513 h 6858000"/>
              <a:gd name="connsiteX653" fmla="*/ 1333952 w 7467600"/>
              <a:gd name="connsiteY653" fmla="*/ 2251620 h 6858000"/>
              <a:gd name="connsiteX654" fmla="*/ 1337329 w 7467600"/>
              <a:gd name="connsiteY654" fmla="*/ 2258350 h 6858000"/>
              <a:gd name="connsiteX655" fmla="*/ 1014726 w 7467600"/>
              <a:gd name="connsiteY655" fmla="*/ 1615556 h 6858000"/>
              <a:gd name="connsiteX656" fmla="*/ 678222 w 7467600"/>
              <a:gd name="connsiteY656" fmla="*/ 1248670 h 6858000"/>
              <a:gd name="connsiteX657" fmla="*/ 6691602 w 7467600"/>
              <a:gd name="connsiteY657" fmla="*/ 1140573 h 6858000"/>
              <a:gd name="connsiteX658" fmla="*/ 6571100 w 7467600"/>
              <a:gd name="connsiteY658" fmla="*/ 1183662 h 6858000"/>
              <a:gd name="connsiteX659" fmla="*/ 6241687 w 7467600"/>
              <a:gd name="connsiteY659" fmla="*/ 1257600 h 6858000"/>
              <a:gd name="connsiteX660" fmla="*/ 5693009 w 7467600"/>
              <a:gd name="connsiteY660" fmla="*/ 1478256 h 6858000"/>
              <a:gd name="connsiteX661" fmla="*/ 6548420 w 7467600"/>
              <a:gd name="connsiteY661" fmla="*/ 1214599 h 6858000"/>
              <a:gd name="connsiteX662" fmla="*/ 6605473 w 7467600"/>
              <a:gd name="connsiteY662" fmla="*/ 1184686 h 6858000"/>
              <a:gd name="connsiteX663" fmla="*/ 6691602 w 7467600"/>
              <a:gd name="connsiteY663" fmla="*/ 1140573 h 6858000"/>
              <a:gd name="connsiteX664" fmla="*/ 4002475 w 7467600"/>
              <a:gd name="connsiteY664" fmla="*/ 1037802 h 6858000"/>
              <a:gd name="connsiteX665" fmla="*/ 4000324 w 7467600"/>
              <a:gd name="connsiteY665" fmla="*/ 1039362 h 6858000"/>
              <a:gd name="connsiteX666" fmla="*/ 4002862 w 7467600"/>
              <a:gd name="connsiteY666" fmla="*/ 1042866 h 6858000"/>
              <a:gd name="connsiteX667" fmla="*/ 4002475 w 7467600"/>
              <a:gd name="connsiteY667" fmla="*/ 1037802 h 6858000"/>
              <a:gd name="connsiteX668" fmla="*/ 506322 w 7467600"/>
              <a:gd name="connsiteY668" fmla="*/ 1020997 h 6858000"/>
              <a:gd name="connsiteX669" fmla="*/ 533068 w 7467600"/>
              <a:gd name="connsiteY669" fmla="*/ 1029409 h 6858000"/>
              <a:gd name="connsiteX670" fmla="*/ 1232525 w 7467600"/>
              <a:gd name="connsiteY670" fmla="*/ 1804675 h 6858000"/>
              <a:gd name="connsiteX671" fmla="*/ 1388858 w 7467600"/>
              <a:gd name="connsiteY671" fmla="*/ 2368011 h 6858000"/>
              <a:gd name="connsiteX672" fmla="*/ 1384098 w 7467600"/>
              <a:gd name="connsiteY672" fmla="*/ 2378125 h 6858000"/>
              <a:gd name="connsiteX673" fmla="*/ 1425393 w 7467600"/>
              <a:gd name="connsiteY673" fmla="*/ 2589124 h 6858000"/>
              <a:gd name="connsiteX674" fmla="*/ 1424001 w 7467600"/>
              <a:gd name="connsiteY674" fmla="*/ 2597541 h 6858000"/>
              <a:gd name="connsiteX675" fmla="*/ 2152729 w 7467600"/>
              <a:gd name="connsiteY675" fmla="*/ 2864487 h 6858000"/>
              <a:gd name="connsiteX676" fmla="*/ 2020609 w 7467600"/>
              <a:gd name="connsiteY676" fmla="*/ 2539671 h 6858000"/>
              <a:gd name="connsiteX677" fmla="*/ 2018920 w 7467600"/>
              <a:gd name="connsiteY677" fmla="*/ 2536309 h 6858000"/>
              <a:gd name="connsiteX678" fmla="*/ 1342441 w 7467600"/>
              <a:gd name="connsiteY678" fmla="*/ 1173017 h 6858000"/>
              <a:gd name="connsiteX679" fmla="*/ 1367925 w 7467600"/>
              <a:gd name="connsiteY679" fmla="*/ 1135648 h 6858000"/>
              <a:gd name="connsiteX680" fmla="*/ 1771401 w 7467600"/>
              <a:gd name="connsiteY680" fmla="*/ 1806673 h 6858000"/>
              <a:gd name="connsiteX681" fmla="*/ 1972385 w 7467600"/>
              <a:gd name="connsiteY681" fmla="*/ 2198735 h 6858000"/>
              <a:gd name="connsiteX682" fmla="*/ 2040892 w 7467600"/>
              <a:gd name="connsiteY682" fmla="*/ 2405205 h 6858000"/>
              <a:gd name="connsiteX683" fmla="*/ 2131689 w 7467600"/>
              <a:gd name="connsiteY683" fmla="*/ 1936926 h 6858000"/>
              <a:gd name="connsiteX684" fmla="*/ 2454820 w 7467600"/>
              <a:gd name="connsiteY684" fmla="*/ 1248808 h 6858000"/>
              <a:gd name="connsiteX685" fmla="*/ 2492512 w 7467600"/>
              <a:gd name="connsiteY685" fmla="*/ 1302920 h 6858000"/>
              <a:gd name="connsiteX686" fmla="*/ 2081216 w 7467600"/>
              <a:gd name="connsiteY686" fmla="*/ 2527513 h 6858000"/>
              <a:gd name="connsiteX687" fmla="*/ 2081211 w 7467600"/>
              <a:gd name="connsiteY687" fmla="*/ 2528916 h 6858000"/>
              <a:gd name="connsiteX688" fmla="*/ 2199067 w 7467600"/>
              <a:gd name="connsiteY688" fmla="*/ 2884061 h 6858000"/>
              <a:gd name="connsiteX689" fmla="*/ 3192586 w 7467600"/>
              <a:gd name="connsiteY689" fmla="*/ 3411496 h 6858000"/>
              <a:gd name="connsiteX690" fmla="*/ 3182620 w 7467600"/>
              <a:gd name="connsiteY690" fmla="*/ 3483279 h 6858000"/>
              <a:gd name="connsiteX691" fmla="*/ 2435119 w 7467600"/>
              <a:gd name="connsiteY691" fmla="*/ 3080173 h 6858000"/>
              <a:gd name="connsiteX692" fmla="*/ 2410152 w 7467600"/>
              <a:gd name="connsiteY692" fmla="*/ 3063751 h 6858000"/>
              <a:gd name="connsiteX693" fmla="*/ 2408099 w 7467600"/>
              <a:gd name="connsiteY693" fmla="*/ 3064403 h 6858000"/>
              <a:gd name="connsiteX694" fmla="*/ 2407218 w 7467600"/>
              <a:gd name="connsiteY694" fmla="*/ 3070324 h 6858000"/>
              <a:gd name="connsiteX695" fmla="*/ 2380138 w 7467600"/>
              <a:gd name="connsiteY695" fmla="*/ 3099341 h 6858000"/>
              <a:gd name="connsiteX696" fmla="*/ 1765923 w 7467600"/>
              <a:gd name="connsiteY696" fmla="*/ 3581043 h 6858000"/>
              <a:gd name="connsiteX697" fmla="*/ 1702258 w 7467600"/>
              <a:gd name="connsiteY697" fmla="*/ 3612286 h 6858000"/>
              <a:gd name="connsiteX698" fmla="*/ 1538370 w 7467600"/>
              <a:gd name="connsiteY698" fmla="*/ 3811804 h 6858000"/>
              <a:gd name="connsiteX699" fmla="*/ 542867 w 7467600"/>
              <a:gd name="connsiteY699" fmla="*/ 4944092 h 6858000"/>
              <a:gd name="connsiteX700" fmla="*/ 515800 w 7467600"/>
              <a:gd name="connsiteY700" fmla="*/ 4862180 h 6858000"/>
              <a:gd name="connsiteX701" fmla="*/ 909145 w 7467600"/>
              <a:gd name="connsiteY701" fmla="*/ 4199225 h 6858000"/>
              <a:gd name="connsiteX702" fmla="*/ 1214067 w 7467600"/>
              <a:gd name="connsiteY702" fmla="*/ 3908561 h 6858000"/>
              <a:gd name="connsiteX703" fmla="*/ 640967 w 7467600"/>
              <a:gd name="connsiteY703" fmla="*/ 4105601 h 6858000"/>
              <a:gd name="connsiteX704" fmla="*/ 112563 w 7467600"/>
              <a:gd name="connsiteY704" fmla="*/ 4396952 h 6858000"/>
              <a:gd name="connsiteX705" fmla="*/ 0 w 7467600"/>
              <a:gd name="connsiteY705" fmla="*/ 4466006 h 6858000"/>
              <a:gd name="connsiteX706" fmla="*/ 0 w 7467600"/>
              <a:gd name="connsiteY706" fmla="*/ 4233763 h 6858000"/>
              <a:gd name="connsiteX707" fmla="*/ 36881 w 7467600"/>
              <a:gd name="connsiteY707" fmla="*/ 4200118 h 6858000"/>
              <a:gd name="connsiteX708" fmla="*/ 910534 w 7467600"/>
              <a:gd name="connsiteY708" fmla="*/ 3629753 h 6858000"/>
              <a:gd name="connsiteX709" fmla="*/ 1578717 w 7467600"/>
              <a:gd name="connsiteY709" fmla="*/ 3575982 h 6858000"/>
              <a:gd name="connsiteX710" fmla="*/ 2338780 w 7467600"/>
              <a:gd name="connsiteY710" fmla="*/ 3033725 h 6858000"/>
              <a:gd name="connsiteX711" fmla="*/ 1807991 w 7467600"/>
              <a:gd name="connsiteY711" fmla="*/ 2807184 h 6858000"/>
              <a:gd name="connsiteX712" fmla="*/ 1416358 w 7467600"/>
              <a:gd name="connsiteY712" fmla="*/ 3112571 h 6858000"/>
              <a:gd name="connsiteX713" fmla="*/ 939066 w 7467600"/>
              <a:gd name="connsiteY713" fmla="*/ 3378798 h 6858000"/>
              <a:gd name="connsiteX714" fmla="*/ 115099 w 7467600"/>
              <a:gd name="connsiteY714" fmla="*/ 3607650 h 6858000"/>
              <a:gd name="connsiteX715" fmla="*/ 97284 w 7467600"/>
              <a:gd name="connsiteY715" fmla="*/ 3520393 h 6858000"/>
              <a:gd name="connsiteX716" fmla="*/ 922050 w 7467600"/>
              <a:gd name="connsiteY716" fmla="*/ 3074867 h 6858000"/>
              <a:gd name="connsiteX717" fmla="*/ 1405265 w 7467600"/>
              <a:gd name="connsiteY717" fmla="*/ 3016319 h 6858000"/>
              <a:gd name="connsiteX718" fmla="*/ 1407512 w 7467600"/>
              <a:gd name="connsiteY718" fmla="*/ 3018001 h 6858000"/>
              <a:gd name="connsiteX719" fmla="*/ 1726266 w 7467600"/>
              <a:gd name="connsiteY719" fmla="*/ 2777274 h 6858000"/>
              <a:gd name="connsiteX720" fmla="*/ 625390 w 7467600"/>
              <a:gd name="connsiteY720" fmla="*/ 2514541 h 6858000"/>
              <a:gd name="connsiteX721" fmla="*/ 619799 w 7467600"/>
              <a:gd name="connsiteY721" fmla="*/ 2527180 h 6858000"/>
              <a:gd name="connsiteX722" fmla="*/ 310030 w 7467600"/>
              <a:gd name="connsiteY722" fmla="*/ 2771818 h 6858000"/>
              <a:gd name="connsiteX723" fmla="*/ 173877 w 7467600"/>
              <a:gd name="connsiteY723" fmla="*/ 2937056 h 6858000"/>
              <a:gd name="connsiteX724" fmla="*/ 77889 w 7467600"/>
              <a:gd name="connsiteY724" fmla="*/ 3138440 h 6858000"/>
              <a:gd name="connsiteX725" fmla="*/ 0 w 7467600"/>
              <a:gd name="connsiteY725" fmla="*/ 3271395 h 6858000"/>
              <a:gd name="connsiteX726" fmla="*/ 0 w 7467600"/>
              <a:gd name="connsiteY726" fmla="*/ 3153002 h 6858000"/>
              <a:gd name="connsiteX727" fmla="*/ 2386 w 7467600"/>
              <a:gd name="connsiteY727" fmla="*/ 3149203 h 6858000"/>
              <a:gd name="connsiteX728" fmla="*/ 89753 w 7467600"/>
              <a:gd name="connsiteY728" fmla="*/ 2987702 h 6858000"/>
              <a:gd name="connsiteX729" fmla="*/ 76869 w 7467600"/>
              <a:gd name="connsiteY729" fmla="*/ 3005404 h 6858000"/>
              <a:gd name="connsiteX730" fmla="*/ 32049 w 7467600"/>
              <a:gd name="connsiteY730" fmla="*/ 3065814 h 6858000"/>
              <a:gd name="connsiteX731" fmla="*/ 0 w 7467600"/>
              <a:gd name="connsiteY731" fmla="*/ 3108744 h 6858000"/>
              <a:gd name="connsiteX732" fmla="*/ 0 w 7467600"/>
              <a:gd name="connsiteY732" fmla="*/ 3058059 h 6858000"/>
              <a:gd name="connsiteX733" fmla="*/ 7610 w 7467600"/>
              <a:gd name="connsiteY733" fmla="*/ 3047889 h 6858000"/>
              <a:gd name="connsiteX734" fmla="*/ 52419 w 7467600"/>
              <a:gd name="connsiteY734" fmla="*/ 2987479 h 6858000"/>
              <a:gd name="connsiteX735" fmla="*/ 59142 w 7467600"/>
              <a:gd name="connsiteY735" fmla="*/ 2978488 h 6858000"/>
              <a:gd name="connsiteX736" fmla="*/ 0 w 7467600"/>
              <a:gd name="connsiteY736" fmla="*/ 3015334 h 6858000"/>
              <a:gd name="connsiteX737" fmla="*/ 0 w 7467600"/>
              <a:gd name="connsiteY737" fmla="*/ 2914286 h 6858000"/>
              <a:gd name="connsiteX738" fmla="*/ 36383 w 7467600"/>
              <a:gd name="connsiteY738" fmla="*/ 2901128 h 6858000"/>
              <a:gd name="connsiteX739" fmla="*/ 156329 w 7467600"/>
              <a:gd name="connsiteY739" fmla="*/ 2840533 h 6858000"/>
              <a:gd name="connsiteX740" fmla="*/ 358355 w 7467600"/>
              <a:gd name="connsiteY740" fmla="*/ 2620471 h 6858000"/>
              <a:gd name="connsiteX741" fmla="*/ 510577 w 7467600"/>
              <a:gd name="connsiteY741" fmla="*/ 2501244 h 6858000"/>
              <a:gd name="connsiteX742" fmla="*/ 211967 w 7467600"/>
              <a:gd name="connsiteY742" fmla="*/ 2479171 h 6858000"/>
              <a:gd name="connsiteX743" fmla="*/ 0 w 7467600"/>
              <a:gd name="connsiteY743" fmla="*/ 2476398 h 6858000"/>
              <a:gd name="connsiteX744" fmla="*/ 0 w 7467600"/>
              <a:gd name="connsiteY744" fmla="*/ 2389189 h 6858000"/>
              <a:gd name="connsiteX745" fmla="*/ 103062 w 7467600"/>
              <a:gd name="connsiteY745" fmla="*/ 2389518 h 6858000"/>
              <a:gd name="connsiteX746" fmla="*/ 510734 w 7467600"/>
              <a:gd name="connsiteY746" fmla="*/ 2416201 h 6858000"/>
              <a:gd name="connsiteX747" fmla="*/ 279257 w 7467600"/>
              <a:gd name="connsiteY747" fmla="*/ 2092102 h 6858000"/>
              <a:gd name="connsiteX748" fmla="*/ 65265 w 7467600"/>
              <a:gd name="connsiteY748" fmla="*/ 2006049 h 6858000"/>
              <a:gd name="connsiteX749" fmla="*/ 0 w 7467600"/>
              <a:gd name="connsiteY749" fmla="*/ 1982532 h 6858000"/>
              <a:gd name="connsiteX750" fmla="*/ 0 w 7467600"/>
              <a:gd name="connsiteY750" fmla="*/ 1912789 h 6858000"/>
              <a:gd name="connsiteX751" fmla="*/ 97460 w 7467600"/>
              <a:gd name="connsiteY751" fmla="*/ 1953725 h 6858000"/>
              <a:gd name="connsiteX752" fmla="*/ 221272 w 7467600"/>
              <a:gd name="connsiteY752" fmla="*/ 1980766 h 6858000"/>
              <a:gd name="connsiteX753" fmla="*/ 116765 w 7467600"/>
              <a:gd name="connsiteY753" fmla="*/ 1911033 h 6858000"/>
              <a:gd name="connsiteX754" fmla="*/ 16405 w 7467600"/>
              <a:gd name="connsiteY754" fmla="*/ 1803412 h 6858000"/>
              <a:gd name="connsiteX755" fmla="*/ 0 w 7467600"/>
              <a:gd name="connsiteY755" fmla="*/ 1784777 h 6858000"/>
              <a:gd name="connsiteX756" fmla="*/ 0 w 7467600"/>
              <a:gd name="connsiteY756" fmla="*/ 1740082 h 6858000"/>
              <a:gd name="connsiteX757" fmla="*/ 39394 w 7467600"/>
              <a:gd name="connsiteY757" fmla="*/ 1784856 h 6858000"/>
              <a:gd name="connsiteX758" fmla="*/ 135813 w 7467600"/>
              <a:gd name="connsiteY758" fmla="*/ 1888838 h 6858000"/>
              <a:gd name="connsiteX759" fmla="*/ 242575 w 7467600"/>
              <a:gd name="connsiteY759" fmla="*/ 1958841 h 6858000"/>
              <a:gd name="connsiteX760" fmla="*/ 82197 w 7467600"/>
              <a:gd name="connsiteY760" fmla="*/ 1754826 h 6858000"/>
              <a:gd name="connsiteX761" fmla="*/ 0 w 7467600"/>
              <a:gd name="connsiteY761" fmla="*/ 1679650 h 6858000"/>
              <a:gd name="connsiteX762" fmla="*/ 0 w 7467600"/>
              <a:gd name="connsiteY762" fmla="*/ 1602463 h 6858000"/>
              <a:gd name="connsiteX763" fmla="*/ 84689 w 7467600"/>
              <a:gd name="connsiteY763" fmla="*/ 1677442 h 6858000"/>
              <a:gd name="connsiteX764" fmla="*/ 298437 w 7467600"/>
              <a:gd name="connsiteY764" fmla="*/ 1968019 h 6858000"/>
              <a:gd name="connsiteX765" fmla="*/ 227269 w 7467600"/>
              <a:gd name="connsiteY765" fmla="*/ 1114064 h 6858000"/>
              <a:gd name="connsiteX766" fmla="*/ 248003 w 7467600"/>
              <a:gd name="connsiteY766" fmla="*/ 1089613 h 6858000"/>
              <a:gd name="connsiteX767" fmla="*/ 427020 w 7467600"/>
              <a:gd name="connsiteY767" fmla="*/ 1619803 h 6858000"/>
              <a:gd name="connsiteX768" fmla="*/ 340345 w 7467600"/>
              <a:gd name="connsiteY768" fmla="*/ 2027739 h 6858000"/>
              <a:gd name="connsiteX769" fmla="*/ 360865 w 7467600"/>
              <a:gd name="connsiteY769" fmla="*/ 2044827 h 6858000"/>
              <a:gd name="connsiteX770" fmla="*/ 560414 w 7467600"/>
              <a:gd name="connsiteY770" fmla="*/ 2421457 h 6858000"/>
              <a:gd name="connsiteX771" fmla="*/ 1359703 w 7467600"/>
              <a:gd name="connsiteY771" fmla="*/ 2578554 h 6858000"/>
              <a:gd name="connsiteX772" fmla="*/ 1359422 w 7467600"/>
              <a:gd name="connsiteY772" fmla="*/ 2577994 h 6858000"/>
              <a:gd name="connsiteX773" fmla="*/ 828701 w 7467600"/>
              <a:gd name="connsiteY773" fmla="*/ 1839520 h 6858000"/>
              <a:gd name="connsiteX774" fmla="*/ 494427 w 7467600"/>
              <a:gd name="connsiteY774" fmla="*/ 1092333 h 6858000"/>
              <a:gd name="connsiteX775" fmla="*/ 506322 w 7467600"/>
              <a:gd name="connsiteY775" fmla="*/ 1020997 h 6858000"/>
              <a:gd name="connsiteX776" fmla="*/ 4570198 w 7467600"/>
              <a:gd name="connsiteY776" fmla="*/ 978081 h 6858000"/>
              <a:gd name="connsiteX777" fmla="*/ 4523691 w 7467600"/>
              <a:gd name="connsiteY777" fmla="*/ 1127776 h 6858000"/>
              <a:gd name="connsiteX778" fmla="*/ 4509875 w 7467600"/>
              <a:gd name="connsiteY778" fmla="*/ 1167552 h 6858000"/>
              <a:gd name="connsiteX779" fmla="*/ 4478168 w 7467600"/>
              <a:gd name="connsiteY779" fmla="*/ 1260735 h 6858000"/>
              <a:gd name="connsiteX780" fmla="*/ 4409309 w 7467600"/>
              <a:gd name="connsiteY780" fmla="*/ 1666996 h 6858000"/>
              <a:gd name="connsiteX781" fmla="*/ 4370031 w 7467600"/>
              <a:gd name="connsiteY781" fmla="*/ 1955666 h 6858000"/>
              <a:gd name="connsiteX782" fmla="*/ 4570198 w 7467600"/>
              <a:gd name="connsiteY782" fmla="*/ 978081 h 6858000"/>
              <a:gd name="connsiteX783" fmla="*/ 4557898 w 7467600"/>
              <a:gd name="connsiteY783" fmla="*/ 900011 h 6858000"/>
              <a:gd name="connsiteX784" fmla="*/ 4344840 w 7467600"/>
              <a:gd name="connsiteY784" fmla="*/ 1922038 h 6858000"/>
              <a:gd name="connsiteX785" fmla="*/ 4378710 w 7467600"/>
              <a:gd name="connsiteY785" fmla="*/ 1665516 h 6858000"/>
              <a:gd name="connsiteX786" fmla="*/ 4448798 w 7467600"/>
              <a:gd name="connsiteY786" fmla="*/ 1253024 h 6858000"/>
              <a:gd name="connsiteX787" fmla="*/ 4480315 w 7467600"/>
              <a:gd name="connsiteY787" fmla="*/ 1158454 h 6858000"/>
              <a:gd name="connsiteX788" fmla="*/ 4494133 w 7467600"/>
              <a:gd name="connsiteY788" fmla="*/ 1118676 h 6858000"/>
              <a:gd name="connsiteX789" fmla="*/ 4557898 w 7467600"/>
              <a:gd name="connsiteY789" fmla="*/ 900011 h 6858000"/>
              <a:gd name="connsiteX790" fmla="*/ 5870151 w 7467600"/>
              <a:gd name="connsiteY790" fmla="*/ 898890 h 6858000"/>
              <a:gd name="connsiteX791" fmla="*/ 5861335 w 7467600"/>
              <a:gd name="connsiteY791" fmla="*/ 899177 h 6858000"/>
              <a:gd name="connsiteX792" fmla="*/ 5843702 w 7467600"/>
              <a:gd name="connsiteY792" fmla="*/ 899748 h 6858000"/>
              <a:gd name="connsiteX793" fmla="*/ 5651107 w 7467600"/>
              <a:gd name="connsiteY793" fmla="*/ 920306 h 6858000"/>
              <a:gd name="connsiteX794" fmla="*/ 5459407 w 7467600"/>
              <a:gd name="connsiteY794" fmla="*/ 940975 h 6858000"/>
              <a:gd name="connsiteX795" fmla="*/ 5374846 w 7467600"/>
              <a:gd name="connsiteY795" fmla="*/ 941988 h 6858000"/>
              <a:gd name="connsiteX796" fmla="*/ 5256105 w 7467600"/>
              <a:gd name="connsiteY796" fmla="*/ 945632 h 6858000"/>
              <a:gd name="connsiteX797" fmla="*/ 5107071 w 7467600"/>
              <a:gd name="connsiteY797" fmla="*/ 969720 h 6858000"/>
              <a:gd name="connsiteX798" fmla="*/ 4998681 w 7467600"/>
              <a:gd name="connsiteY798" fmla="*/ 988771 h 6858000"/>
              <a:gd name="connsiteX799" fmla="*/ 5870151 w 7467600"/>
              <a:gd name="connsiteY799" fmla="*/ 898890 h 6858000"/>
              <a:gd name="connsiteX800" fmla="*/ 5504425 w 7467600"/>
              <a:gd name="connsiteY800" fmla="*/ 848067 h 6858000"/>
              <a:gd name="connsiteX801" fmla="*/ 4968849 w 7467600"/>
              <a:gd name="connsiteY801" fmla="*/ 962318 h 6858000"/>
              <a:gd name="connsiteX802" fmla="*/ 5104039 w 7467600"/>
              <a:gd name="connsiteY802" fmla="*/ 940634 h 6858000"/>
              <a:gd name="connsiteX803" fmla="*/ 5256311 w 7467600"/>
              <a:gd name="connsiteY803" fmla="*/ 916490 h 6858000"/>
              <a:gd name="connsiteX804" fmla="*/ 5377381 w 7467600"/>
              <a:gd name="connsiteY804" fmla="*/ 912671 h 6858000"/>
              <a:gd name="connsiteX805" fmla="*/ 5460148 w 7467600"/>
              <a:gd name="connsiteY805" fmla="*/ 911442 h 6858000"/>
              <a:gd name="connsiteX806" fmla="*/ 5648971 w 7467600"/>
              <a:gd name="connsiteY806" fmla="*/ 891331 h 6858000"/>
              <a:gd name="connsiteX807" fmla="*/ 5844807 w 7467600"/>
              <a:gd name="connsiteY807" fmla="*/ 870718 h 6858000"/>
              <a:gd name="connsiteX808" fmla="*/ 5862975 w 7467600"/>
              <a:gd name="connsiteY808" fmla="*/ 869756 h 6858000"/>
              <a:gd name="connsiteX809" fmla="*/ 5920887 w 7467600"/>
              <a:gd name="connsiteY809" fmla="*/ 865929 h 6858000"/>
              <a:gd name="connsiteX810" fmla="*/ 5504425 w 7467600"/>
              <a:gd name="connsiteY810" fmla="*/ 848067 h 6858000"/>
              <a:gd name="connsiteX811" fmla="*/ 3607114 w 7467600"/>
              <a:gd name="connsiteY811" fmla="*/ 467441 h 6858000"/>
              <a:gd name="connsiteX812" fmla="*/ 3296242 w 7467600"/>
              <a:gd name="connsiteY812" fmla="*/ 807991 h 6858000"/>
              <a:gd name="connsiteX813" fmla="*/ 3174674 w 7467600"/>
              <a:gd name="connsiteY813" fmla="*/ 919759 h 6858000"/>
              <a:gd name="connsiteX814" fmla="*/ 3042978 w 7467600"/>
              <a:gd name="connsiteY814" fmla="*/ 1054894 h 6858000"/>
              <a:gd name="connsiteX815" fmla="*/ 2968914 w 7467600"/>
              <a:gd name="connsiteY815" fmla="*/ 1133756 h 6858000"/>
              <a:gd name="connsiteX816" fmla="*/ 3103823 w 7467600"/>
              <a:gd name="connsiteY816" fmla="*/ 1026814 h 6858000"/>
              <a:gd name="connsiteX817" fmla="*/ 3607114 w 7467600"/>
              <a:gd name="connsiteY817" fmla="*/ 467441 h 6858000"/>
              <a:gd name="connsiteX818" fmla="*/ 3744487 w 7467600"/>
              <a:gd name="connsiteY818" fmla="*/ 383136 h 6858000"/>
              <a:gd name="connsiteX819" fmla="*/ 3970213 w 7467600"/>
              <a:gd name="connsiteY819" fmla="*/ 995559 h 6858000"/>
              <a:gd name="connsiteX820" fmla="*/ 3744487 w 7467600"/>
              <a:gd name="connsiteY820" fmla="*/ 383136 h 6858000"/>
              <a:gd name="connsiteX821" fmla="*/ 3624562 w 7467600"/>
              <a:gd name="connsiteY821" fmla="*/ 367041 h 6858000"/>
              <a:gd name="connsiteX822" fmla="*/ 3489712 w 7467600"/>
              <a:gd name="connsiteY822" fmla="*/ 485386 h 6858000"/>
              <a:gd name="connsiteX823" fmla="*/ 3182994 w 7467600"/>
              <a:gd name="connsiteY823" fmla="*/ 828265 h 6858000"/>
              <a:gd name="connsiteX824" fmla="*/ 2892114 w 7467600"/>
              <a:gd name="connsiteY824" fmla="*/ 1172635 h 6858000"/>
              <a:gd name="connsiteX825" fmla="*/ 3021459 w 7467600"/>
              <a:gd name="connsiteY825" fmla="*/ 1035385 h 6858000"/>
              <a:gd name="connsiteX826" fmla="*/ 3153873 w 7467600"/>
              <a:gd name="connsiteY826" fmla="*/ 898971 h 6858000"/>
              <a:gd name="connsiteX827" fmla="*/ 3276511 w 7467600"/>
              <a:gd name="connsiteY827" fmla="*/ 786423 h 6858000"/>
              <a:gd name="connsiteX828" fmla="*/ 3584154 w 7467600"/>
              <a:gd name="connsiteY828" fmla="*/ 448218 h 6858000"/>
              <a:gd name="connsiteX829" fmla="*/ 3624562 w 7467600"/>
              <a:gd name="connsiteY829" fmla="*/ 367041 h 6858000"/>
              <a:gd name="connsiteX830" fmla="*/ 3766672 w 7467600"/>
              <a:gd name="connsiteY830" fmla="*/ 359429 h 6858000"/>
              <a:gd name="connsiteX831" fmla="*/ 3996338 w 7467600"/>
              <a:gd name="connsiteY831" fmla="*/ 968237 h 6858000"/>
              <a:gd name="connsiteX832" fmla="*/ 3766672 w 7467600"/>
              <a:gd name="connsiteY832" fmla="*/ 359429 h 6858000"/>
              <a:gd name="connsiteX833" fmla="*/ 5805386 w 7467600"/>
              <a:gd name="connsiteY833" fmla="*/ 239240 h 6858000"/>
              <a:gd name="connsiteX834" fmla="*/ 5736947 w 7467600"/>
              <a:gd name="connsiteY834" fmla="*/ 261367 h 6858000"/>
              <a:gd name="connsiteX835" fmla="*/ 5427012 w 7467600"/>
              <a:gd name="connsiteY835" fmla="*/ 311272 h 6858000"/>
              <a:gd name="connsiteX836" fmla="*/ 5147818 w 7467600"/>
              <a:gd name="connsiteY836" fmla="*/ 322112 h 6858000"/>
              <a:gd name="connsiteX837" fmla="*/ 5060854 w 7467600"/>
              <a:gd name="connsiteY837" fmla="*/ 311882 h 6858000"/>
              <a:gd name="connsiteX838" fmla="*/ 4945989 w 7467600"/>
              <a:gd name="connsiteY838" fmla="*/ 300516 h 6858000"/>
              <a:gd name="connsiteX839" fmla="*/ 5410479 w 7467600"/>
              <a:gd name="connsiteY839" fmla="*/ 348434 h 6858000"/>
              <a:gd name="connsiteX840" fmla="*/ 5805386 w 7467600"/>
              <a:gd name="connsiteY840" fmla="*/ 239240 h 6858000"/>
              <a:gd name="connsiteX841" fmla="*/ 5905192 w 7467600"/>
              <a:gd name="connsiteY841" fmla="*/ 163079 h 6858000"/>
              <a:gd name="connsiteX842" fmla="*/ 5865655 w 7467600"/>
              <a:gd name="connsiteY842" fmla="*/ 171901 h 6858000"/>
              <a:gd name="connsiteX843" fmla="*/ 5259740 w 7467600"/>
              <a:gd name="connsiteY843" fmla="*/ 257013 h 6858000"/>
              <a:gd name="connsiteX844" fmla="*/ 5208466 w 7467600"/>
              <a:gd name="connsiteY844" fmla="*/ 257550 h 6858000"/>
              <a:gd name="connsiteX845" fmla="*/ 4980204 w 7467600"/>
              <a:gd name="connsiteY845" fmla="*/ 271903 h 6858000"/>
              <a:gd name="connsiteX846" fmla="*/ 5068068 w 7467600"/>
              <a:gd name="connsiteY846" fmla="*/ 282244 h 6858000"/>
              <a:gd name="connsiteX847" fmla="*/ 5153231 w 7467600"/>
              <a:gd name="connsiteY847" fmla="*/ 292240 h 6858000"/>
              <a:gd name="connsiteX848" fmla="*/ 5426491 w 7467600"/>
              <a:gd name="connsiteY848" fmla="*/ 281128 h 6858000"/>
              <a:gd name="connsiteX849" fmla="*/ 5731212 w 7467600"/>
              <a:gd name="connsiteY849" fmla="*/ 231951 h 6858000"/>
              <a:gd name="connsiteX850" fmla="*/ 5905192 w 7467600"/>
              <a:gd name="connsiteY850" fmla="*/ 163079 h 6858000"/>
              <a:gd name="connsiteX851" fmla="*/ 5944437 w 7467600"/>
              <a:gd name="connsiteY851" fmla="*/ 113829 h 6858000"/>
              <a:gd name="connsiteX852" fmla="*/ 5825032 w 7467600"/>
              <a:gd name="connsiteY852" fmla="*/ 146405 h 6858000"/>
              <a:gd name="connsiteX853" fmla="*/ 4955599 w 7467600"/>
              <a:gd name="connsiteY853" fmla="*/ 247008 h 6858000"/>
              <a:gd name="connsiteX854" fmla="*/ 5210104 w 7467600"/>
              <a:gd name="connsiteY854" fmla="*/ 228123 h 6858000"/>
              <a:gd name="connsiteX855" fmla="*/ 5261015 w 7467600"/>
              <a:gd name="connsiteY855" fmla="*/ 227087 h 6858000"/>
              <a:gd name="connsiteX856" fmla="*/ 5861181 w 7467600"/>
              <a:gd name="connsiteY856" fmla="*/ 143093 h 6858000"/>
              <a:gd name="connsiteX857" fmla="*/ 5961252 w 7467600"/>
              <a:gd name="connsiteY857" fmla="*/ 114820 h 6858000"/>
              <a:gd name="connsiteX858" fmla="*/ 5944437 w 7467600"/>
              <a:gd name="connsiteY858" fmla="*/ 113829 h 6858000"/>
              <a:gd name="connsiteX859" fmla="*/ 3882765 w 7467600"/>
              <a:gd name="connsiteY859" fmla="*/ 0 h 6858000"/>
              <a:gd name="connsiteX860" fmla="*/ 3995099 w 7467600"/>
              <a:gd name="connsiteY860" fmla="*/ 0 h 6858000"/>
              <a:gd name="connsiteX861" fmla="*/ 4163818 w 7467600"/>
              <a:gd name="connsiteY861" fmla="*/ 234104 h 6858000"/>
              <a:gd name="connsiteX862" fmla="*/ 4172099 w 7467600"/>
              <a:gd name="connsiteY862" fmla="*/ 234207 h 6858000"/>
              <a:gd name="connsiteX863" fmla="*/ 4784282 w 7467600"/>
              <a:gd name="connsiteY863" fmla="*/ 276561 h 6858000"/>
              <a:gd name="connsiteX864" fmla="*/ 4801687 w 7467600"/>
              <a:gd name="connsiteY864" fmla="*/ 267764 h 6858000"/>
              <a:gd name="connsiteX865" fmla="*/ 6082788 w 7467600"/>
              <a:gd name="connsiteY865" fmla="*/ 64119 h 6858000"/>
              <a:gd name="connsiteX866" fmla="*/ 6099442 w 7467600"/>
              <a:gd name="connsiteY866" fmla="*/ 82568 h 6858000"/>
              <a:gd name="connsiteX867" fmla="*/ 4804137 w 7467600"/>
              <a:gd name="connsiteY867" fmla="*/ 320931 h 6858000"/>
              <a:gd name="connsiteX868" fmla="*/ 4227047 w 7467600"/>
              <a:gd name="connsiteY868" fmla="*/ 313415 h 6858000"/>
              <a:gd name="connsiteX869" fmla="*/ 4346041 w 7467600"/>
              <a:gd name="connsiteY869" fmla="*/ 456086 h 6858000"/>
              <a:gd name="connsiteX870" fmla="*/ 4870967 w 7467600"/>
              <a:gd name="connsiteY870" fmla="*/ 963061 h 6858000"/>
              <a:gd name="connsiteX871" fmla="*/ 4889647 w 7467600"/>
              <a:gd name="connsiteY871" fmla="*/ 957147 h 6858000"/>
              <a:gd name="connsiteX872" fmla="*/ 5422504 w 7467600"/>
              <a:gd name="connsiteY872" fmla="*/ 805191 h 6858000"/>
              <a:gd name="connsiteX873" fmla="*/ 6087656 w 7467600"/>
              <a:gd name="connsiteY873" fmla="*/ 826703 h 6858000"/>
              <a:gd name="connsiteX874" fmla="*/ 6058717 w 7467600"/>
              <a:gd name="connsiteY874" fmla="*/ 865992 h 6858000"/>
              <a:gd name="connsiteX875" fmla="*/ 4974153 w 7467600"/>
              <a:gd name="connsiteY875" fmla="*/ 1045456 h 6858000"/>
              <a:gd name="connsiteX876" fmla="*/ 5627835 w 7467600"/>
              <a:gd name="connsiteY876" fmla="*/ 1472077 h 6858000"/>
              <a:gd name="connsiteX877" fmla="*/ 5629817 w 7467600"/>
              <a:gd name="connsiteY877" fmla="*/ 1471412 h 6858000"/>
              <a:gd name="connsiteX878" fmla="*/ 5634124 w 7467600"/>
              <a:gd name="connsiteY878" fmla="*/ 1470572 h 6858000"/>
              <a:gd name="connsiteX879" fmla="*/ 5755832 w 7467600"/>
              <a:gd name="connsiteY879" fmla="*/ 1383886 h 6858000"/>
              <a:gd name="connsiteX880" fmla="*/ 6014186 w 7467600"/>
              <a:gd name="connsiteY880" fmla="*/ 1279799 h 6858000"/>
              <a:gd name="connsiteX881" fmla="*/ 6901619 w 7467600"/>
              <a:gd name="connsiteY881" fmla="*/ 1047874 h 6858000"/>
              <a:gd name="connsiteX882" fmla="*/ 6931566 w 7467600"/>
              <a:gd name="connsiteY882" fmla="*/ 1062034 h 6858000"/>
              <a:gd name="connsiteX883" fmla="*/ 5790982 w 7467600"/>
              <a:gd name="connsiteY883" fmla="*/ 1561380 h 6858000"/>
              <a:gd name="connsiteX884" fmla="*/ 6188971 w 7467600"/>
              <a:gd name="connsiteY884" fmla="*/ 1755168 h 6858000"/>
              <a:gd name="connsiteX885" fmla="*/ 6202446 w 7467600"/>
              <a:gd name="connsiteY885" fmla="*/ 1752268 h 6858000"/>
              <a:gd name="connsiteX886" fmla="*/ 7179560 w 7467600"/>
              <a:gd name="connsiteY886" fmla="*/ 1467551 h 6858000"/>
              <a:gd name="connsiteX887" fmla="*/ 7158730 w 7467600"/>
              <a:gd name="connsiteY887" fmla="*/ 1507835 h 6858000"/>
              <a:gd name="connsiteX888" fmla="*/ 6326959 w 7467600"/>
              <a:gd name="connsiteY888" fmla="*/ 1817686 h 6858000"/>
              <a:gd name="connsiteX889" fmla="*/ 6537433 w 7467600"/>
              <a:gd name="connsiteY889" fmla="*/ 1907790 h 6858000"/>
              <a:gd name="connsiteX890" fmla="*/ 6550221 w 7467600"/>
              <a:gd name="connsiteY890" fmla="*/ 1910729 h 6858000"/>
              <a:gd name="connsiteX891" fmla="*/ 6964438 w 7467600"/>
              <a:gd name="connsiteY891" fmla="*/ 2209505 h 6858000"/>
              <a:gd name="connsiteX892" fmla="*/ 7367862 w 7467600"/>
              <a:gd name="connsiteY892" fmla="*/ 2806833 h 6858000"/>
              <a:gd name="connsiteX893" fmla="*/ 7364329 w 7467600"/>
              <a:gd name="connsiteY893" fmla="*/ 2826907 h 6858000"/>
              <a:gd name="connsiteX894" fmla="*/ 7290545 w 7467600"/>
              <a:gd name="connsiteY894" fmla="*/ 2850663 h 6858000"/>
              <a:gd name="connsiteX895" fmla="*/ 6472036 w 7467600"/>
              <a:gd name="connsiteY895" fmla="*/ 1959003 h 6858000"/>
              <a:gd name="connsiteX896" fmla="*/ 5792897 w 7467600"/>
              <a:gd name="connsiteY896" fmla="*/ 1647747 h 6858000"/>
              <a:gd name="connsiteX897" fmla="*/ 5842751 w 7467600"/>
              <a:gd name="connsiteY897" fmla="*/ 1816112 h 6858000"/>
              <a:gd name="connsiteX898" fmla="*/ 5847424 w 7467600"/>
              <a:gd name="connsiteY898" fmla="*/ 1815776 h 6858000"/>
              <a:gd name="connsiteX899" fmla="*/ 6399821 w 7467600"/>
              <a:gd name="connsiteY899" fmla="*/ 2344799 h 6858000"/>
              <a:gd name="connsiteX900" fmla="*/ 6323232 w 7467600"/>
              <a:gd name="connsiteY900" fmla="*/ 2389634 h 6858000"/>
              <a:gd name="connsiteX901" fmla="*/ 5942958 w 7467600"/>
              <a:gd name="connsiteY901" fmla="*/ 2077708 h 6858000"/>
              <a:gd name="connsiteX902" fmla="*/ 5921559 w 7467600"/>
              <a:gd name="connsiteY902" fmla="*/ 2378596 h 6858000"/>
              <a:gd name="connsiteX903" fmla="*/ 5817651 w 7467600"/>
              <a:gd name="connsiteY903" fmla="*/ 3023919 h 6858000"/>
              <a:gd name="connsiteX904" fmla="*/ 5729634 w 7467600"/>
              <a:gd name="connsiteY904" fmla="*/ 3051849 h 6858000"/>
              <a:gd name="connsiteX905" fmla="*/ 5611018 w 7467600"/>
              <a:gd name="connsiteY905" fmla="*/ 2316769 h 6858000"/>
              <a:gd name="connsiteX906" fmla="*/ 5687608 w 7467600"/>
              <a:gd name="connsiteY906" fmla="*/ 2039972 h 6858000"/>
              <a:gd name="connsiteX907" fmla="*/ 5657554 w 7467600"/>
              <a:gd name="connsiteY907" fmla="*/ 1576445 h 6858000"/>
              <a:gd name="connsiteX908" fmla="*/ 5150475 w 7467600"/>
              <a:gd name="connsiteY908" fmla="*/ 1274012 h 6858000"/>
              <a:gd name="connsiteX909" fmla="*/ 5349142 w 7467600"/>
              <a:gd name="connsiteY909" fmla="*/ 2204405 h 6858000"/>
              <a:gd name="connsiteX910" fmla="*/ 5262214 w 7467600"/>
              <a:gd name="connsiteY910" fmla="*/ 2233836 h 6858000"/>
              <a:gd name="connsiteX911" fmla="*/ 4981539 w 7467600"/>
              <a:gd name="connsiteY911" fmla="*/ 1542201 h 6858000"/>
              <a:gd name="connsiteX912" fmla="*/ 4958461 w 7467600"/>
              <a:gd name="connsiteY912" fmla="*/ 1136957 h 6858000"/>
              <a:gd name="connsiteX913" fmla="*/ 4655015 w 7467600"/>
              <a:gd name="connsiteY913" fmla="*/ 891426 h 6858000"/>
              <a:gd name="connsiteX914" fmla="*/ 4348002 w 7467600"/>
              <a:gd name="connsiteY914" fmla="*/ 2205895 h 6858000"/>
              <a:gd name="connsiteX915" fmla="*/ 4262250 w 7467600"/>
              <a:gd name="connsiteY915" fmla="*/ 2219972 h 6858000"/>
              <a:gd name="connsiteX916" fmla="*/ 4550611 w 7467600"/>
              <a:gd name="connsiteY916" fmla="*/ 817540 h 6858000"/>
              <a:gd name="connsiteX917" fmla="*/ 4564418 w 7467600"/>
              <a:gd name="connsiteY917" fmla="*/ 808293 h 6858000"/>
              <a:gd name="connsiteX918" fmla="*/ 4266388 w 7467600"/>
              <a:gd name="connsiteY918" fmla="*/ 500083 h 6858000"/>
              <a:gd name="connsiteX919" fmla="*/ 4032842 w 7467600"/>
              <a:gd name="connsiteY919" fmla="*/ 211809 h 6858000"/>
              <a:gd name="connsiteX920" fmla="*/ 3882765 w 7467600"/>
              <a:gd name="connsiteY920" fmla="*/ 0 h 6858000"/>
              <a:gd name="connsiteX921" fmla="*/ 3721337 w 7467600"/>
              <a:gd name="connsiteY921" fmla="*/ 0 h 6858000"/>
              <a:gd name="connsiteX922" fmla="*/ 3797544 w 7467600"/>
              <a:gd name="connsiteY922" fmla="*/ 0 h 6858000"/>
              <a:gd name="connsiteX923" fmla="*/ 3775734 w 7467600"/>
              <a:gd name="connsiteY923" fmla="*/ 95131 h 6858000"/>
              <a:gd name="connsiteX924" fmla="*/ 3724807 w 7467600"/>
              <a:gd name="connsiteY924" fmla="*/ 272257 h 6858000"/>
              <a:gd name="connsiteX925" fmla="*/ 3726844 w 7467600"/>
              <a:gd name="connsiteY925" fmla="*/ 282988 h 6858000"/>
              <a:gd name="connsiteX926" fmla="*/ 3742664 w 7467600"/>
              <a:gd name="connsiteY926" fmla="*/ 279918 h 6858000"/>
              <a:gd name="connsiteX927" fmla="*/ 4103910 w 7467600"/>
              <a:gd name="connsiteY927" fmla="*/ 1161917 h 6858000"/>
              <a:gd name="connsiteX928" fmla="*/ 4020269 w 7467600"/>
              <a:gd name="connsiteY928" fmla="*/ 1200406 h 6858000"/>
              <a:gd name="connsiteX929" fmla="*/ 3674882 w 7467600"/>
              <a:gd name="connsiteY929" fmla="*/ 488524 h 6858000"/>
              <a:gd name="connsiteX930" fmla="*/ 3132682 w 7467600"/>
              <a:gd name="connsiteY930" fmla="*/ 1072284 h 6858000"/>
              <a:gd name="connsiteX931" fmla="*/ 2716346 w 7467600"/>
              <a:gd name="connsiteY931" fmla="*/ 1276376 h 6858000"/>
              <a:gd name="connsiteX932" fmla="*/ 2716772 w 7467600"/>
              <a:gd name="connsiteY932" fmla="*/ 1255462 h 6858000"/>
              <a:gd name="connsiteX933" fmla="*/ 3471096 w 7467600"/>
              <a:gd name="connsiteY933" fmla="*/ 437072 h 6858000"/>
              <a:gd name="connsiteX934" fmla="*/ 3639057 w 7467600"/>
              <a:gd name="connsiteY934" fmla="*/ 286334 h 6858000"/>
              <a:gd name="connsiteX935" fmla="*/ 3640309 w 7467600"/>
              <a:gd name="connsiteY935" fmla="*/ 284664 h 6858000"/>
              <a:gd name="connsiteX936" fmla="*/ 3646022 w 7467600"/>
              <a:gd name="connsiteY936" fmla="*/ 276711 h 6858000"/>
              <a:gd name="connsiteX937" fmla="*/ 3707943 w 7467600"/>
              <a:gd name="connsiteY937" fmla="*/ 65958 h 6858000"/>
              <a:gd name="connsiteX938" fmla="*/ 3721337 w 7467600"/>
              <a:gd name="connsiteY938" fmla="*/ 0 h 6858000"/>
              <a:gd name="connsiteX939" fmla="*/ 2867960 w 7467600"/>
              <a:gd name="connsiteY939" fmla="*/ 0 h 6858000"/>
              <a:gd name="connsiteX940" fmla="*/ 2926351 w 7467600"/>
              <a:gd name="connsiteY940" fmla="*/ 0 h 6858000"/>
              <a:gd name="connsiteX941" fmla="*/ 2902823 w 7467600"/>
              <a:gd name="connsiteY941" fmla="*/ 262929 h 6858000"/>
              <a:gd name="connsiteX942" fmla="*/ 2940663 w 7467600"/>
              <a:gd name="connsiteY942" fmla="*/ 140884 h 6858000"/>
              <a:gd name="connsiteX943" fmla="*/ 2947039 w 7467600"/>
              <a:gd name="connsiteY943" fmla="*/ 122524 h 6858000"/>
              <a:gd name="connsiteX944" fmla="*/ 2984316 w 7467600"/>
              <a:gd name="connsiteY944" fmla="*/ 0 h 6858000"/>
              <a:gd name="connsiteX945" fmla="*/ 3016114 w 7467600"/>
              <a:gd name="connsiteY945" fmla="*/ 0 h 6858000"/>
              <a:gd name="connsiteX946" fmla="*/ 2979949 w 7467600"/>
              <a:gd name="connsiteY946" fmla="*/ 119274 h 6858000"/>
              <a:gd name="connsiteX947" fmla="*/ 3023879 w 7467600"/>
              <a:gd name="connsiteY947" fmla="*/ 0 h 6858000"/>
              <a:gd name="connsiteX948" fmla="*/ 3105400 w 7467600"/>
              <a:gd name="connsiteY948" fmla="*/ 0 h 6858000"/>
              <a:gd name="connsiteX949" fmla="*/ 3094669 w 7467600"/>
              <a:gd name="connsiteY949" fmla="*/ 30308 h 6858000"/>
              <a:gd name="connsiteX950" fmla="*/ 2901945 w 7467600"/>
              <a:gd name="connsiteY950" fmla="*/ 466538 h 6858000"/>
              <a:gd name="connsiteX951" fmla="*/ 2815209 w 7467600"/>
              <a:gd name="connsiteY951" fmla="*/ 497361 h 6858000"/>
              <a:gd name="connsiteX952" fmla="*/ 2844845 w 7467600"/>
              <a:gd name="connsiteY952" fmla="*/ 127638 h 6858000"/>
              <a:gd name="connsiteX953" fmla="*/ 2867960 w 7467600"/>
              <a:gd name="connsiteY953" fmla="*/ 0 h 6858000"/>
              <a:gd name="connsiteX954" fmla="*/ 1057230 w 7467600"/>
              <a:gd name="connsiteY954" fmla="*/ 0 h 6858000"/>
              <a:gd name="connsiteX955" fmla="*/ 1111003 w 7467600"/>
              <a:gd name="connsiteY955" fmla="*/ 0 h 6858000"/>
              <a:gd name="connsiteX956" fmla="*/ 1125553 w 7467600"/>
              <a:gd name="connsiteY956" fmla="*/ 52588 h 6858000"/>
              <a:gd name="connsiteX957" fmla="*/ 1304276 w 7467600"/>
              <a:gd name="connsiteY957" fmla="*/ 476275 h 6858000"/>
              <a:gd name="connsiteX958" fmla="*/ 1492066 w 7467600"/>
              <a:gd name="connsiteY958" fmla="*/ 886333 h 6858000"/>
              <a:gd name="connsiteX959" fmla="*/ 1423698 w 7467600"/>
              <a:gd name="connsiteY959" fmla="*/ 710817 h 6858000"/>
              <a:gd name="connsiteX960" fmla="*/ 1357609 w 7467600"/>
              <a:gd name="connsiteY960" fmla="*/ 532892 h 6858000"/>
              <a:gd name="connsiteX961" fmla="*/ 1309550 w 7467600"/>
              <a:gd name="connsiteY961" fmla="*/ 374031 h 6858000"/>
              <a:gd name="connsiteX962" fmla="*/ 1193673 w 7467600"/>
              <a:gd name="connsiteY962" fmla="*/ 49533 h 6858000"/>
              <a:gd name="connsiteX963" fmla="*/ 1164391 w 7467600"/>
              <a:gd name="connsiteY963" fmla="*/ 0 h 6858000"/>
              <a:gd name="connsiteX964" fmla="*/ 1200666 w 7467600"/>
              <a:gd name="connsiteY964" fmla="*/ 0 h 6858000"/>
              <a:gd name="connsiteX965" fmla="*/ 1223408 w 7467600"/>
              <a:gd name="connsiteY965" fmla="*/ 38996 h 6858000"/>
              <a:gd name="connsiteX966" fmla="*/ 1339635 w 7467600"/>
              <a:gd name="connsiteY966" fmla="*/ 365517 h 6858000"/>
              <a:gd name="connsiteX967" fmla="*/ 1387469 w 7467600"/>
              <a:gd name="connsiteY967" fmla="*/ 523079 h 6858000"/>
              <a:gd name="connsiteX968" fmla="*/ 1452685 w 7467600"/>
              <a:gd name="connsiteY968" fmla="*/ 699806 h 6858000"/>
              <a:gd name="connsiteX969" fmla="*/ 1492092 w 7467600"/>
              <a:gd name="connsiteY969" fmla="*/ 800424 h 6858000"/>
              <a:gd name="connsiteX970" fmla="*/ 1455302 w 7467600"/>
              <a:gd name="connsiteY970" fmla="*/ 632913 h 6858000"/>
              <a:gd name="connsiteX971" fmla="*/ 1222336 w 7467600"/>
              <a:gd name="connsiteY971" fmla="*/ 9480 h 6858000"/>
              <a:gd name="connsiteX972" fmla="*/ 1214634 w 7467600"/>
              <a:gd name="connsiteY972" fmla="*/ 0 h 6858000"/>
              <a:gd name="connsiteX973" fmla="*/ 1289827 w 7467600"/>
              <a:gd name="connsiteY973" fmla="*/ 0 h 6858000"/>
              <a:gd name="connsiteX974" fmla="*/ 1321076 w 7467600"/>
              <a:gd name="connsiteY974" fmla="*/ 59722 h 6858000"/>
              <a:gd name="connsiteX975" fmla="*/ 1512579 w 7467600"/>
              <a:gd name="connsiteY975" fmla="*/ 626441 h 6858000"/>
              <a:gd name="connsiteX976" fmla="*/ 1506076 w 7467600"/>
              <a:gd name="connsiteY976" fmla="*/ 1089289 h 6858000"/>
              <a:gd name="connsiteX977" fmla="*/ 1486346 w 7467600"/>
              <a:gd name="connsiteY977" fmla="*/ 1079919 h 6858000"/>
              <a:gd name="connsiteX978" fmla="*/ 1070511 w 7467600"/>
              <a:gd name="connsiteY978" fmla="*/ 48609 h 6858000"/>
              <a:gd name="connsiteX979" fmla="*/ 1057230 w 7467600"/>
              <a:gd name="connsiteY979" fmla="*/ 0 h 6858000"/>
              <a:gd name="connsiteX980" fmla="*/ 43151 w 7467600"/>
              <a:gd name="connsiteY980" fmla="*/ 0 h 6858000"/>
              <a:gd name="connsiteX981" fmla="*/ 95283 w 7467600"/>
              <a:gd name="connsiteY981" fmla="*/ 0 h 6858000"/>
              <a:gd name="connsiteX982" fmla="*/ 300708 w 7467600"/>
              <a:gd name="connsiteY982" fmla="*/ 154571 h 6858000"/>
              <a:gd name="connsiteX983" fmla="*/ 530414 w 7467600"/>
              <a:gd name="connsiteY983" fmla="*/ 354673 h 6858000"/>
              <a:gd name="connsiteX984" fmla="*/ 333785 w 7467600"/>
              <a:gd name="connsiteY984" fmla="*/ 161564 h 6858000"/>
              <a:gd name="connsiteX985" fmla="*/ 147005 w 7467600"/>
              <a:gd name="connsiteY985" fmla="*/ 0 h 6858000"/>
              <a:gd name="connsiteX986" fmla="*/ 272509 w 7467600"/>
              <a:gd name="connsiteY986" fmla="*/ 0 h 6858000"/>
              <a:gd name="connsiteX987" fmla="*/ 326276 w 7467600"/>
              <a:gd name="connsiteY987" fmla="*/ 45847 h 6858000"/>
              <a:gd name="connsiteX988" fmla="*/ 823759 w 7467600"/>
              <a:gd name="connsiteY988" fmla="*/ 574145 h 6858000"/>
              <a:gd name="connsiteX989" fmla="*/ 811254 w 7467600"/>
              <a:gd name="connsiteY989" fmla="*/ 665546 h 6858000"/>
              <a:gd name="connsiteX990" fmla="*/ 154042 w 7467600"/>
              <a:gd name="connsiteY990" fmla="*/ 261522 h 6858000"/>
              <a:gd name="connsiteX991" fmla="*/ 13550 w 7467600"/>
              <a:gd name="connsiteY991" fmla="*/ 158423 h 6858000"/>
              <a:gd name="connsiteX992" fmla="*/ 0 w 7467600"/>
              <a:gd name="connsiteY992" fmla="*/ 146618 h 6858000"/>
              <a:gd name="connsiteX993" fmla="*/ 0 w 7467600"/>
              <a:gd name="connsiteY993" fmla="*/ 59161 h 6858000"/>
              <a:gd name="connsiteX994" fmla="*/ 45427 w 7467600"/>
              <a:gd name="connsiteY994" fmla="*/ 101078 h 6858000"/>
              <a:gd name="connsiteX995" fmla="*/ 630103 w 7467600"/>
              <a:gd name="connsiteY995" fmla="*/ 485885 h 6858000"/>
              <a:gd name="connsiteX996" fmla="*/ 532040 w 7467600"/>
              <a:gd name="connsiteY996" fmla="*/ 399359 h 6858000"/>
              <a:gd name="connsiteX997" fmla="*/ 517618 w 7467600"/>
              <a:gd name="connsiteY997" fmla="*/ 385726 h 6858000"/>
              <a:gd name="connsiteX998" fmla="*/ 285074 w 7467600"/>
              <a:gd name="connsiteY998" fmla="*/ 182755 h 6858000"/>
              <a:gd name="connsiteX999" fmla="*/ 43151 w 7467600"/>
              <a:gd name="connsiteY999"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467600 w 7467600"/>
              <a:gd name="connsiteY127" fmla="*/ 5361850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7327465 w 7467600"/>
              <a:gd name="connsiteY139" fmla="*/ 5174181 h 6858000"/>
              <a:gd name="connsiteX140" fmla="*/ 7353035 w 7467600"/>
              <a:gd name="connsiteY140" fmla="*/ 5197318 h 6858000"/>
              <a:gd name="connsiteX141" fmla="*/ 7467600 w 7467600"/>
              <a:gd name="connsiteY141" fmla="*/ 5297634 h 6858000"/>
              <a:gd name="connsiteX142" fmla="*/ 7467600 w 7467600"/>
              <a:gd name="connsiteY142" fmla="*/ 5361850 h 6858000"/>
              <a:gd name="connsiteX143" fmla="*/ 1903353 w 7467600"/>
              <a:gd name="connsiteY143" fmla="*/ 5044827 h 6858000"/>
              <a:gd name="connsiteX144" fmla="*/ 1936931 w 7467600"/>
              <a:gd name="connsiteY144" fmla="*/ 5093954 h 6858000"/>
              <a:gd name="connsiteX145" fmla="*/ 2195868 w 7467600"/>
              <a:gd name="connsiteY145" fmla="*/ 5396574 h 6858000"/>
              <a:gd name="connsiteX146" fmla="*/ 2088852 w 7467600"/>
              <a:gd name="connsiteY146" fmla="*/ 5166123 h 6858000"/>
              <a:gd name="connsiteX147" fmla="*/ 1958241 w 7467600"/>
              <a:gd name="connsiteY147" fmla="*/ 5067955 h 6858000"/>
              <a:gd name="connsiteX148" fmla="*/ 1903353 w 7467600"/>
              <a:gd name="connsiteY148" fmla="*/ 5044827 h 6858000"/>
              <a:gd name="connsiteX149" fmla="*/ 1979378 w 7467600"/>
              <a:gd name="connsiteY149" fmla="*/ 4769504 h 6858000"/>
              <a:gd name="connsiteX150" fmla="*/ 2882120 w 7467600"/>
              <a:gd name="connsiteY150" fmla="*/ 5064547 h 6858000"/>
              <a:gd name="connsiteX151" fmla="*/ 2793103 w 7467600"/>
              <a:gd name="connsiteY151" fmla="*/ 5039699 h 6858000"/>
              <a:gd name="connsiteX152" fmla="*/ 2770041 w 7467600"/>
              <a:gd name="connsiteY152" fmla="*/ 5033634 h 6858000"/>
              <a:gd name="connsiteX153" fmla="*/ 1979378 w 7467600"/>
              <a:gd name="connsiteY153" fmla="*/ 4769504 h 6858000"/>
              <a:gd name="connsiteX154" fmla="*/ 1927410 w 7467600"/>
              <a:gd name="connsiteY154" fmla="*/ 4716164 h 6858000"/>
              <a:gd name="connsiteX155" fmla="*/ 1959587 w 7467600"/>
              <a:gd name="connsiteY155" fmla="*/ 4728849 h 6858000"/>
              <a:gd name="connsiteX156" fmla="*/ 2777707 w 7467600"/>
              <a:gd name="connsiteY156" fmla="*/ 5003991 h 6858000"/>
              <a:gd name="connsiteX157" fmla="*/ 2800768 w 7467600"/>
              <a:gd name="connsiteY157" fmla="*/ 5010056 h 6858000"/>
              <a:gd name="connsiteX158" fmla="*/ 2879408 w 7467600"/>
              <a:gd name="connsiteY158" fmla="*/ 5031590 h 6858000"/>
              <a:gd name="connsiteX159" fmla="*/ 2862295 w 7467600"/>
              <a:gd name="connsiteY159" fmla="*/ 5022958 h 6858000"/>
              <a:gd name="connsiteX160" fmla="*/ 2813343 w 7467600"/>
              <a:gd name="connsiteY160" fmla="*/ 4998369 h 6858000"/>
              <a:gd name="connsiteX161" fmla="*/ 2646245 w 7467600"/>
              <a:gd name="connsiteY161" fmla="*/ 4930999 h 6858000"/>
              <a:gd name="connsiteX162" fmla="*/ 1999243 w 7467600"/>
              <a:gd name="connsiteY162" fmla="*/ 4730524 h 6858000"/>
              <a:gd name="connsiteX163" fmla="*/ 1979527 w 7467600"/>
              <a:gd name="connsiteY163" fmla="*/ 4726651 h 6858000"/>
              <a:gd name="connsiteX164" fmla="*/ 1927410 w 7467600"/>
              <a:gd name="connsiteY164" fmla="*/ 4716164 h 6858000"/>
              <a:gd name="connsiteX165" fmla="*/ 1997014 w 7467600"/>
              <a:gd name="connsiteY165" fmla="*/ 4698007 h 6858000"/>
              <a:gd name="connsiteX166" fmla="*/ 2005458 w 7467600"/>
              <a:gd name="connsiteY166" fmla="*/ 4699540 h 6858000"/>
              <a:gd name="connsiteX167" fmla="*/ 2657186 w 7467600"/>
              <a:gd name="connsiteY167" fmla="*/ 4901687 h 6858000"/>
              <a:gd name="connsiteX168" fmla="*/ 2826662 w 7467600"/>
              <a:gd name="connsiteY168" fmla="*/ 4970362 h 6858000"/>
              <a:gd name="connsiteX169" fmla="*/ 2876100 w 7467600"/>
              <a:gd name="connsiteY169" fmla="*/ 4995397 h 6858000"/>
              <a:gd name="connsiteX170" fmla="*/ 3042600 w 7467600"/>
              <a:gd name="connsiteY170" fmla="*/ 5059532 h 6858000"/>
              <a:gd name="connsiteX171" fmla="*/ 1997014 w 7467600"/>
              <a:gd name="connsiteY171" fmla="*/ 4698007 h 6858000"/>
              <a:gd name="connsiteX172" fmla="*/ 2305292 w 7467600"/>
              <a:gd name="connsiteY172" fmla="*/ 4219492 h 6858000"/>
              <a:gd name="connsiteX173" fmla="*/ 3360922 w 7467600"/>
              <a:gd name="connsiteY173" fmla="*/ 4529373 h 6858000"/>
              <a:gd name="connsiteX174" fmla="*/ 3492420 w 7467600"/>
              <a:gd name="connsiteY174" fmla="*/ 4510145 h 6858000"/>
              <a:gd name="connsiteX175" fmla="*/ 3364086 w 7467600"/>
              <a:gd name="connsiteY175" fmla="*/ 4480340 h 6858000"/>
              <a:gd name="connsiteX176" fmla="*/ 3225818 w 7467600"/>
              <a:gd name="connsiteY176" fmla="*/ 4411822 h 6858000"/>
              <a:gd name="connsiteX177" fmla="*/ 3129696 w 7467600"/>
              <a:gd name="connsiteY177" fmla="*/ 4360704 h 6858000"/>
              <a:gd name="connsiteX178" fmla="*/ 2814545 w 7467600"/>
              <a:gd name="connsiteY178" fmla="*/ 4282955 h 6858000"/>
              <a:gd name="connsiteX179" fmla="*/ 2305292 w 7467600"/>
              <a:gd name="connsiteY179" fmla="*/ 4219492 h 6858000"/>
              <a:gd name="connsiteX180" fmla="*/ 2626982 w 7467600"/>
              <a:gd name="connsiteY180" fmla="*/ 4206450 h 6858000"/>
              <a:gd name="connsiteX181" fmla="*/ 2490617 w 7467600"/>
              <a:gd name="connsiteY181" fmla="*/ 4206951 h 6858000"/>
              <a:gd name="connsiteX182" fmla="*/ 2819869 w 7467600"/>
              <a:gd name="connsiteY182" fmla="*/ 4252936 h 6858000"/>
              <a:gd name="connsiteX183" fmla="*/ 3143018 w 7467600"/>
              <a:gd name="connsiteY183" fmla="*/ 4332698 h 6858000"/>
              <a:gd name="connsiteX184" fmla="*/ 3241520 w 7467600"/>
              <a:gd name="connsiteY184" fmla="*/ 4385112 h 6858000"/>
              <a:gd name="connsiteX185" fmla="*/ 3374575 w 7467600"/>
              <a:gd name="connsiteY185" fmla="*/ 4451517 h 6858000"/>
              <a:gd name="connsiteX186" fmla="*/ 3505221 w 7467600"/>
              <a:gd name="connsiteY186" fmla="*/ 4480757 h 6858000"/>
              <a:gd name="connsiteX187" fmla="*/ 2626982 w 7467600"/>
              <a:gd name="connsiteY187" fmla="*/ 4206450 h 6858000"/>
              <a:gd name="connsiteX188" fmla="*/ 1310106 w 7467600"/>
              <a:gd name="connsiteY188" fmla="*/ 3943217 h 6858000"/>
              <a:gd name="connsiteX189" fmla="*/ 854994 w 7467600"/>
              <a:gd name="connsiteY189" fmla="*/ 4399136 h 6858000"/>
              <a:gd name="connsiteX190" fmla="*/ 742462 w 7467600"/>
              <a:gd name="connsiteY190" fmla="*/ 4594648 h 6858000"/>
              <a:gd name="connsiteX191" fmla="*/ 820602 w 7467600"/>
              <a:gd name="connsiteY191" fmla="*/ 4485915 h 6858000"/>
              <a:gd name="connsiteX192" fmla="*/ 878295 w 7467600"/>
              <a:gd name="connsiteY192" fmla="*/ 4403594 h 6858000"/>
              <a:gd name="connsiteX193" fmla="*/ 1240607 w 7467600"/>
              <a:gd name="connsiteY193" fmla="*/ 4010401 h 6858000"/>
              <a:gd name="connsiteX194" fmla="*/ 1310106 w 7467600"/>
              <a:gd name="connsiteY194" fmla="*/ 3943217 h 6858000"/>
              <a:gd name="connsiteX195" fmla="*/ 1423113 w 7467600"/>
              <a:gd name="connsiteY195" fmla="*/ 3874565 h 6858000"/>
              <a:gd name="connsiteX196" fmla="*/ 1260565 w 7467600"/>
              <a:gd name="connsiteY196" fmla="*/ 4031982 h 6858000"/>
              <a:gd name="connsiteX197" fmla="*/ 901900 w 7467600"/>
              <a:gd name="connsiteY197" fmla="*/ 4421236 h 6858000"/>
              <a:gd name="connsiteX198" fmla="*/ 845044 w 7467600"/>
              <a:gd name="connsiteY198" fmla="*/ 4502436 h 6858000"/>
              <a:gd name="connsiteX199" fmla="*/ 685926 w 7467600"/>
              <a:gd name="connsiteY199" fmla="*/ 4703069 h 6858000"/>
              <a:gd name="connsiteX200" fmla="*/ 684248 w 7467600"/>
              <a:gd name="connsiteY200" fmla="*/ 4706721 h 6858000"/>
              <a:gd name="connsiteX201" fmla="*/ 1423113 w 7467600"/>
              <a:gd name="connsiteY201" fmla="*/ 3874565 h 6858000"/>
              <a:gd name="connsiteX202" fmla="*/ 3316479 w 7467600"/>
              <a:gd name="connsiteY202" fmla="*/ 3872136 h 6858000"/>
              <a:gd name="connsiteX203" fmla="*/ 3546806 w 7467600"/>
              <a:gd name="connsiteY203" fmla="*/ 4356139 h 6858000"/>
              <a:gd name="connsiteX204" fmla="*/ 3364433 w 7467600"/>
              <a:gd name="connsiteY204" fmla="*/ 3953121 h 6858000"/>
              <a:gd name="connsiteX205" fmla="*/ 3316479 w 7467600"/>
              <a:gd name="connsiteY205" fmla="*/ 3872136 h 6858000"/>
              <a:gd name="connsiteX206" fmla="*/ 3291335 w 7467600"/>
              <a:gd name="connsiteY206" fmla="*/ 3767420 h 6858000"/>
              <a:gd name="connsiteX207" fmla="*/ 3390805 w 7467600"/>
              <a:gd name="connsiteY207" fmla="*/ 3937163 h 6858000"/>
              <a:gd name="connsiteX208" fmla="*/ 3579062 w 7467600"/>
              <a:gd name="connsiteY208" fmla="*/ 4359040 h 6858000"/>
              <a:gd name="connsiteX209" fmla="*/ 3467355 w 7467600"/>
              <a:gd name="connsiteY209" fmla="*/ 3988130 h 6858000"/>
              <a:gd name="connsiteX210" fmla="*/ 3310753 w 7467600"/>
              <a:gd name="connsiteY210" fmla="*/ 3787140 h 6858000"/>
              <a:gd name="connsiteX211" fmla="*/ 3291335 w 7467600"/>
              <a:gd name="connsiteY211" fmla="*/ 3767420 h 6858000"/>
              <a:gd name="connsiteX212" fmla="*/ 1635889 w 7467600"/>
              <a:gd name="connsiteY212" fmla="*/ 3709494 h 6858000"/>
              <a:gd name="connsiteX213" fmla="*/ 1634800 w 7467600"/>
              <a:gd name="connsiteY213" fmla="*/ 3731111 h 6858000"/>
              <a:gd name="connsiteX214" fmla="*/ 1635889 w 7467600"/>
              <a:gd name="connsiteY214" fmla="*/ 3709494 h 6858000"/>
              <a:gd name="connsiteX215" fmla="*/ 1510397 w 7467600"/>
              <a:gd name="connsiteY215" fmla="*/ 3684705 h 6858000"/>
              <a:gd name="connsiteX216" fmla="*/ 1146550 w 7467600"/>
              <a:gd name="connsiteY216" fmla="*/ 3802012 h 6858000"/>
              <a:gd name="connsiteX217" fmla="*/ 698834 w 7467600"/>
              <a:gd name="connsiteY217" fmla="*/ 3952272 h 6858000"/>
              <a:gd name="connsiteX218" fmla="*/ 34256 w 7467600"/>
              <a:gd name="connsiteY218" fmla="*/ 4347603 h 6858000"/>
              <a:gd name="connsiteX219" fmla="*/ 527241 w 7467600"/>
              <a:gd name="connsiteY219" fmla="*/ 4065078 h 6858000"/>
              <a:gd name="connsiteX220" fmla="*/ 1510397 w 7467600"/>
              <a:gd name="connsiteY220" fmla="*/ 3684705 h 6858000"/>
              <a:gd name="connsiteX221" fmla="*/ 1313114 w 7467600"/>
              <a:gd name="connsiteY221" fmla="*/ 3655216 h 6858000"/>
              <a:gd name="connsiteX222" fmla="*/ 1109304 w 7467600"/>
              <a:gd name="connsiteY222" fmla="*/ 3669030 h 6858000"/>
              <a:gd name="connsiteX223" fmla="*/ 8129 w 7467600"/>
              <a:gd name="connsiteY223" fmla="*/ 4330519 h 6858000"/>
              <a:gd name="connsiteX224" fmla="*/ 687572 w 7467600"/>
              <a:gd name="connsiteY224" fmla="*/ 3925629 h 6858000"/>
              <a:gd name="connsiteX225" fmla="*/ 1138365 w 7467600"/>
              <a:gd name="connsiteY225" fmla="*/ 3774515 h 6858000"/>
              <a:gd name="connsiteX226" fmla="*/ 1505579 w 7467600"/>
              <a:gd name="connsiteY226" fmla="*/ 3655526 h 6858000"/>
              <a:gd name="connsiteX227" fmla="*/ 1313114 w 7467600"/>
              <a:gd name="connsiteY227" fmla="*/ 3655216 h 6858000"/>
              <a:gd name="connsiteX228" fmla="*/ 3655073 w 7467600"/>
              <a:gd name="connsiteY228" fmla="*/ 3650884 h 6858000"/>
              <a:gd name="connsiteX229" fmla="*/ 3989938 w 7467600"/>
              <a:gd name="connsiteY229" fmla="*/ 3991685 h 6858000"/>
              <a:gd name="connsiteX230" fmla="*/ 4393907 w 7467600"/>
              <a:gd name="connsiteY230" fmla="*/ 4261258 h 6858000"/>
              <a:gd name="connsiteX231" fmla="*/ 4648051 w 7467600"/>
              <a:gd name="connsiteY231" fmla="*/ 4374051 h 6858000"/>
              <a:gd name="connsiteX232" fmla="*/ 4383389 w 7467600"/>
              <a:gd name="connsiteY232" fmla="*/ 4184369 h 6858000"/>
              <a:gd name="connsiteX233" fmla="*/ 4165508 w 7467600"/>
              <a:gd name="connsiteY233" fmla="*/ 4035196 h 6858000"/>
              <a:gd name="connsiteX234" fmla="*/ 4068162 w 7467600"/>
              <a:gd name="connsiteY234" fmla="*/ 3953394 h 6858000"/>
              <a:gd name="connsiteX235" fmla="*/ 3981416 w 7467600"/>
              <a:gd name="connsiteY235" fmla="*/ 3880482 h 6858000"/>
              <a:gd name="connsiteX236" fmla="*/ 3800147 w 7467600"/>
              <a:gd name="connsiteY236" fmla="*/ 3749872 h 6858000"/>
              <a:gd name="connsiteX237" fmla="*/ 3655073 w 7467600"/>
              <a:gd name="connsiteY237" fmla="*/ 3650884 h 6858000"/>
              <a:gd name="connsiteX238" fmla="*/ 3670252 w 7467600"/>
              <a:gd name="connsiteY238" fmla="*/ 3622798 h 6858000"/>
              <a:gd name="connsiteX239" fmla="*/ 3817258 w 7467600"/>
              <a:gd name="connsiteY239" fmla="*/ 3723577 h 6858000"/>
              <a:gd name="connsiteX240" fmla="*/ 4000461 w 7467600"/>
              <a:gd name="connsiteY240" fmla="*/ 3855966 h 6858000"/>
              <a:gd name="connsiteX241" fmla="*/ 4088180 w 7467600"/>
              <a:gd name="connsiteY241" fmla="*/ 3929774 h 6858000"/>
              <a:gd name="connsiteX242" fmla="*/ 4184555 w 7467600"/>
              <a:gd name="connsiteY242" fmla="*/ 4010683 h 6858000"/>
              <a:gd name="connsiteX243" fmla="*/ 4399563 w 7467600"/>
              <a:gd name="connsiteY243" fmla="*/ 4158106 h 6858000"/>
              <a:gd name="connsiteX244" fmla="*/ 4684469 w 7467600"/>
              <a:gd name="connsiteY244" fmla="*/ 4364680 h 6858000"/>
              <a:gd name="connsiteX245" fmla="*/ 4690271 w 7467600"/>
              <a:gd name="connsiteY245" fmla="*/ 4370034 h 6858000"/>
              <a:gd name="connsiteX246" fmla="*/ 4136093 w 7467600"/>
              <a:gd name="connsiteY246" fmla="*/ 3858466 h 6858000"/>
              <a:gd name="connsiteX247" fmla="*/ 3670252 w 7467600"/>
              <a:gd name="connsiteY247" fmla="*/ 3622798 h 6858000"/>
              <a:gd name="connsiteX248" fmla="*/ 4440129 w 7467600"/>
              <a:gd name="connsiteY248" fmla="*/ 3448571 h 6858000"/>
              <a:gd name="connsiteX249" fmla="*/ 4856525 w 7467600"/>
              <a:gd name="connsiteY249" fmla="*/ 3915351 h 6858000"/>
              <a:gd name="connsiteX250" fmla="*/ 5059055 w 7467600"/>
              <a:gd name="connsiteY250" fmla="*/ 4108918 h 6858000"/>
              <a:gd name="connsiteX251" fmla="*/ 5290070 w 7467600"/>
              <a:gd name="connsiteY251" fmla="*/ 4263619 h 6858000"/>
              <a:gd name="connsiteX252" fmla="*/ 4834991 w 7467600"/>
              <a:gd name="connsiteY252" fmla="*/ 3830985 h 6858000"/>
              <a:gd name="connsiteX253" fmla="*/ 4440129 w 7467600"/>
              <a:gd name="connsiteY253" fmla="*/ 3448571 h 6858000"/>
              <a:gd name="connsiteX254" fmla="*/ 4441737 w 7467600"/>
              <a:gd name="connsiteY254" fmla="*/ 3399734 h 6858000"/>
              <a:gd name="connsiteX255" fmla="*/ 4431236 w 7467600"/>
              <a:gd name="connsiteY255" fmla="*/ 3400954 h 6858000"/>
              <a:gd name="connsiteX256" fmla="*/ 4557150 w 7467600"/>
              <a:gd name="connsiteY256" fmla="*/ 3510023 h 6858000"/>
              <a:gd name="connsiteX257" fmla="*/ 4856936 w 7467600"/>
              <a:gd name="connsiteY257" fmla="*/ 3809146 h 6858000"/>
              <a:gd name="connsiteX258" fmla="*/ 5111996 w 7467600"/>
              <a:gd name="connsiteY258" fmla="*/ 4065759 h 6858000"/>
              <a:gd name="connsiteX259" fmla="*/ 5388878 w 7467600"/>
              <a:gd name="connsiteY259" fmla="*/ 4300185 h 6858000"/>
              <a:gd name="connsiteX260" fmla="*/ 5425556 w 7467600"/>
              <a:gd name="connsiteY260" fmla="*/ 4308967 h 6858000"/>
              <a:gd name="connsiteX261" fmla="*/ 4943646 w 7467600"/>
              <a:gd name="connsiteY261" fmla="*/ 3822916 h 6858000"/>
              <a:gd name="connsiteX262" fmla="*/ 4594837 w 7467600"/>
              <a:gd name="connsiteY262" fmla="*/ 3532274 h 6858000"/>
              <a:gd name="connsiteX263" fmla="*/ 4441737 w 7467600"/>
              <a:gd name="connsiteY263" fmla="*/ 3399734 h 6858000"/>
              <a:gd name="connsiteX264" fmla="*/ 5425834 w 7467600"/>
              <a:gd name="connsiteY264" fmla="*/ 3162785 h 6858000"/>
              <a:gd name="connsiteX265" fmla="*/ 5401644 w 7467600"/>
              <a:gd name="connsiteY265" fmla="*/ 3617847 h 6858000"/>
              <a:gd name="connsiteX266" fmla="*/ 5467256 w 7467600"/>
              <a:gd name="connsiteY266" fmla="*/ 4175494 h 6858000"/>
              <a:gd name="connsiteX267" fmla="*/ 5448069 w 7467600"/>
              <a:gd name="connsiteY267" fmla="*/ 3567554 h 6858000"/>
              <a:gd name="connsiteX268" fmla="*/ 5425834 w 7467600"/>
              <a:gd name="connsiteY268" fmla="*/ 3162785 h 6858000"/>
              <a:gd name="connsiteX269" fmla="*/ 1318687 w 7467600"/>
              <a:gd name="connsiteY269" fmla="*/ 3113840 h 6858000"/>
              <a:gd name="connsiteX270" fmla="*/ 1066793 w 7467600"/>
              <a:gd name="connsiteY270" fmla="*/ 3212171 h 6858000"/>
              <a:gd name="connsiteX271" fmla="*/ 993319 w 7467600"/>
              <a:gd name="connsiteY271" fmla="*/ 3247648 h 6858000"/>
              <a:gd name="connsiteX272" fmla="*/ 853081 w 7467600"/>
              <a:gd name="connsiteY272" fmla="*/ 3312410 h 6858000"/>
              <a:gd name="connsiteX273" fmla="*/ 805957 w 7467600"/>
              <a:gd name="connsiteY273" fmla="*/ 3330443 h 6858000"/>
              <a:gd name="connsiteX274" fmla="*/ 1318687 w 7467600"/>
              <a:gd name="connsiteY274" fmla="*/ 3113840 h 6858000"/>
              <a:gd name="connsiteX275" fmla="*/ 5453702 w 7467600"/>
              <a:gd name="connsiteY275" fmla="*/ 3090882 h 6858000"/>
              <a:gd name="connsiteX276" fmla="*/ 5480135 w 7467600"/>
              <a:gd name="connsiteY276" fmla="*/ 3565802 h 6858000"/>
              <a:gd name="connsiteX277" fmla="*/ 5499023 w 7467600"/>
              <a:gd name="connsiteY277" fmla="*/ 4166310 h 6858000"/>
              <a:gd name="connsiteX278" fmla="*/ 5547022 w 7467600"/>
              <a:gd name="connsiteY278" fmla="*/ 3607838 h 6858000"/>
              <a:gd name="connsiteX279" fmla="*/ 5515964 w 7467600"/>
              <a:gd name="connsiteY279" fmla="*/ 3378541 h 6858000"/>
              <a:gd name="connsiteX280" fmla="*/ 5453702 w 7467600"/>
              <a:gd name="connsiteY280" fmla="*/ 3090882 h 6858000"/>
              <a:gd name="connsiteX281" fmla="*/ 1238695 w 7467600"/>
              <a:gd name="connsiteY281" fmla="*/ 3076820 h 6858000"/>
              <a:gd name="connsiteX282" fmla="*/ 716371 w 7467600"/>
              <a:gd name="connsiteY282" fmla="*/ 3293249 h 6858000"/>
              <a:gd name="connsiteX283" fmla="*/ 579522 w 7467600"/>
              <a:gd name="connsiteY283" fmla="*/ 3371759 h 6858000"/>
              <a:gd name="connsiteX284" fmla="*/ 600288 w 7467600"/>
              <a:gd name="connsiteY284" fmla="*/ 3365555 h 6858000"/>
              <a:gd name="connsiteX285" fmla="*/ 840692 w 7467600"/>
              <a:gd name="connsiteY285" fmla="*/ 3284921 h 6858000"/>
              <a:gd name="connsiteX286" fmla="*/ 979248 w 7467600"/>
              <a:gd name="connsiteY286" fmla="*/ 3221003 h 6858000"/>
              <a:gd name="connsiteX287" fmla="*/ 1053282 w 7467600"/>
              <a:gd name="connsiteY287" fmla="*/ 3185247 h 6858000"/>
              <a:gd name="connsiteX288" fmla="*/ 1320603 w 7467600"/>
              <a:gd name="connsiteY288" fmla="*/ 3081281 h 6858000"/>
              <a:gd name="connsiteX289" fmla="*/ 1238695 w 7467600"/>
              <a:gd name="connsiteY289" fmla="*/ 3076820 h 6858000"/>
              <a:gd name="connsiteX290" fmla="*/ 5425627 w 7467600"/>
              <a:gd name="connsiteY290" fmla="*/ 2954192 h 6858000"/>
              <a:gd name="connsiteX291" fmla="*/ 5470770 w 7467600"/>
              <a:gd name="connsiteY291" fmla="*/ 3005435 h 6858000"/>
              <a:gd name="connsiteX292" fmla="*/ 5519779 w 7467600"/>
              <a:gd name="connsiteY292" fmla="*/ 4359223 h 6858000"/>
              <a:gd name="connsiteX293" fmla="*/ 5520293 w 7467600"/>
              <a:gd name="connsiteY293" fmla="*/ 4360602 h 6858000"/>
              <a:gd name="connsiteX294" fmla="*/ 5767221 w 7467600"/>
              <a:gd name="connsiteY294" fmla="*/ 4665564 h 6858000"/>
              <a:gd name="connsiteX295" fmla="*/ 6937169 w 7467600"/>
              <a:gd name="connsiteY295" fmla="*/ 4815941 h 6858000"/>
              <a:gd name="connsiteX296" fmla="*/ 6953922 w 7467600"/>
              <a:gd name="connsiteY296" fmla="*/ 4890068 h 6858000"/>
              <a:gd name="connsiteX297" fmla="*/ 6071359 w 7467600"/>
              <a:gd name="connsiteY297" fmla="*/ 4770770 h 6858000"/>
              <a:gd name="connsiteX298" fmla="*/ 6038839 w 7467600"/>
              <a:gd name="connsiteY298" fmla="*/ 4764474 h 6858000"/>
              <a:gd name="connsiteX299" fmla="*/ 6038706 w 7467600"/>
              <a:gd name="connsiteY299" fmla="*/ 4763847 h 6858000"/>
              <a:gd name="connsiteX300" fmla="*/ 6037784 w 7467600"/>
              <a:gd name="connsiteY300" fmla="*/ 4764270 h 6858000"/>
              <a:gd name="connsiteX301" fmla="*/ 6038839 w 7467600"/>
              <a:gd name="connsiteY301" fmla="*/ 4764474 h 6858000"/>
              <a:gd name="connsiteX302" fmla="*/ 6040338 w 7467600"/>
              <a:gd name="connsiteY302" fmla="*/ 4771418 h 6858000"/>
              <a:gd name="connsiteX303" fmla="*/ 6024488 w 7467600"/>
              <a:gd name="connsiteY303" fmla="*/ 4809903 h 6858000"/>
              <a:gd name="connsiteX304" fmla="*/ 5599771 w 7467600"/>
              <a:gd name="connsiteY304" fmla="*/ 5509652 h 6858000"/>
              <a:gd name="connsiteX305" fmla="*/ 5548843 w 7467600"/>
              <a:gd name="connsiteY305" fmla="*/ 5563845 h 6858000"/>
              <a:gd name="connsiteX306" fmla="*/ 5940952 w 7467600"/>
              <a:gd name="connsiteY306" fmla="*/ 6250028 h 6858000"/>
              <a:gd name="connsiteX307" fmla="*/ 6043441 w 7467600"/>
              <a:gd name="connsiteY307" fmla="*/ 6665847 h 6858000"/>
              <a:gd name="connsiteX308" fmla="*/ 6093432 w 7467600"/>
              <a:gd name="connsiteY308" fmla="*/ 6858000 h 6858000"/>
              <a:gd name="connsiteX309" fmla="*/ 6034344 w 7467600"/>
              <a:gd name="connsiteY309" fmla="*/ 6858000 h 6858000"/>
              <a:gd name="connsiteX310" fmla="*/ 6026679 w 7467600"/>
              <a:gd name="connsiteY310" fmla="*/ 6836959 h 6858000"/>
              <a:gd name="connsiteX311" fmla="*/ 5800441 w 7467600"/>
              <a:gd name="connsiteY311" fmla="*/ 6335286 h 6858000"/>
              <a:gd name="connsiteX312" fmla="*/ 5526562 w 7467600"/>
              <a:gd name="connsiteY312" fmla="*/ 5705388 h 6858000"/>
              <a:gd name="connsiteX313" fmla="*/ 5519640 w 7467600"/>
              <a:gd name="connsiteY313" fmla="*/ 5683774 h 6858000"/>
              <a:gd name="connsiteX314" fmla="*/ 5844559 w 7467600"/>
              <a:gd name="connsiteY314" fmla="*/ 6553349 h 6858000"/>
              <a:gd name="connsiteX315" fmla="*/ 5975994 w 7467600"/>
              <a:gd name="connsiteY315" fmla="*/ 6858000 h 6858000"/>
              <a:gd name="connsiteX316" fmla="*/ 5898547 w 7467600"/>
              <a:gd name="connsiteY316" fmla="*/ 6858000 h 6858000"/>
              <a:gd name="connsiteX317" fmla="*/ 5682041 w 7467600"/>
              <a:gd name="connsiteY317" fmla="*/ 6355860 h 6858000"/>
              <a:gd name="connsiteX318" fmla="*/ 5461758 w 7467600"/>
              <a:gd name="connsiteY318" fmla="*/ 5820220 h 6858000"/>
              <a:gd name="connsiteX319" fmla="*/ 5237282 w 7467600"/>
              <a:gd name="connsiteY319" fmla="*/ 6579086 h 6858000"/>
              <a:gd name="connsiteX320" fmla="*/ 5115009 w 7467600"/>
              <a:gd name="connsiteY320" fmla="*/ 6858000 h 6858000"/>
              <a:gd name="connsiteX321" fmla="*/ 5028074 w 7467600"/>
              <a:gd name="connsiteY321" fmla="*/ 6858000 h 6858000"/>
              <a:gd name="connsiteX322" fmla="*/ 5079508 w 7467600"/>
              <a:gd name="connsiteY322" fmla="*/ 6749074 h 6858000"/>
              <a:gd name="connsiteX323" fmla="*/ 5371846 w 7467600"/>
              <a:gd name="connsiteY323" fmla="*/ 5924413 h 6858000"/>
              <a:gd name="connsiteX324" fmla="*/ 5270512 w 7467600"/>
              <a:gd name="connsiteY324" fmla="*/ 6138975 h 6858000"/>
              <a:gd name="connsiteX325" fmla="*/ 5062409 w 7467600"/>
              <a:gd name="connsiteY325" fmla="*/ 6653544 h 6858000"/>
              <a:gd name="connsiteX326" fmla="*/ 5036628 w 7467600"/>
              <a:gd name="connsiteY326" fmla="*/ 6754247 h 6858000"/>
              <a:gd name="connsiteX327" fmla="*/ 5009112 w 7467600"/>
              <a:gd name="connsiteY327" fmla="*/ 6858000 h 6858000"/>
              <a:gd name="connsiteX328" fmla="*/ 4976679 w 7467600"/>
              <a:gd name="connsiteY328" fmla="*/ 6858000 h 6858000"/>
              <a:gd name="connsiteX329" fmla="*/ 5006537 w 7467600"/>
              <a:gd name="connsiteY329" fmla="*/ 6747068 h 6858000"/>
              <a:gd name="connsiteX330" fmla="*/ 5032723 w 7467600"/>
              <a:gd name="connsiteY330" fmla="*/ 6644957 h 6858000"/>
              <a:gd name="connsiteX331" fmla="*/ 5242949 w 7467600"/>
              <a:gd name="connsiteY331" fmla="*/ 6125175 h 6858000"/>
              <a:gd name="connsiteX332" fmla="*/ 5286321 w 7467600"/>
              <a:gd name="connsiteY332" fmla="*/ 6033555 h 6858000"/>
              <a:gd name="connsiteX333" fmla="*/ 5008210 w 7467600"/>
              <a:gd name="connsiteY333" fmla="*/ 6649194 h 6858000"/>
              <a:gd name="connsiteX334" fmla="*/ 4986321 w 7467600"/>
              <a:gd name="connsiteY334" fmla="*/ 6765687 h 6858000"/>
              <a:gd name="connsiteX335" fmla="*/ 4973474 w 7467600"/>
              <a:gd name="connsiteY335" fmla="*/ 6858000 h 6858000"/>
              <a:gd name="connsiteX336" fmla="*/ 4907178 w 7467600"/>
              <a:gd name="connsiteY336" fmla="*/ 6858000 h 6858000"/>
              <a:gd name="connsiteX337" fmla="*/ 4910810 w 7467600"/>
              <a:gd name="connsiteY337" fmla="*/ 6829660 h 6858000"/>
              <a:gd name="connsiteX338" fmla="*/ 4987461 w 7467600"/>
              <a:gd name="connsiteY338" fmla="*/ 6432994 h 6858000"/>
              <a:gd name="connsiteX339" fmla="*/ 5179262 w 7467600"/>
              <a:gd name="connsiteY339" fmla="*/ 6035044 h 6858000"/>
              <a:gd name="connsiteX340" fmla="*/ 4689678 w 7467600"/>
              <a:gd name="connsiteY340" fmla="*/ 6440241 h 6858000"/>
              <a:gd name="connsiteX341" fmla="*/ 4477543 w 7467600"/>
              <a:gd name="connsiteY341" fmla="*/ 6674836 h 6858000"/>
              <a:gd name="connsiteX342" fmla="*/ 4329957 w 7467600"/>
              <a:gd name="connsiteY342" fmla="*/ 6858000 h 6858000"/>
              <a:gd name="connsiteX343" fmla="*/ 4218595 w 7467600"/>
              <a:gd name="connsiteY343" fmla="*/ 6858000 h 6858000"/>
              <a:gd name="connsiteX344" fmla="*/ 4368888 w 7467600"/>
              <a:gd name="connsiteY344" fmla="*/ 6668412 h 6858000"/>
              <a:gd name="connsiteX345" fmla="*/ 4563091 w 7467600"/>
              <a:gd name="connsiteY345" fmla="*/ 6442508 h 6858000"/>
              <a:gd name="connsiteX346" fmla="*/ 5387324 w 7467600"/>
              <a:gd name="connsiteY346" fmla="*/ 5705830 h 6858000"/>
              <a:gd name="connsiteX347" fmla="*/ 5073620 w 7467600"/>
              <a:gd name="connsiteY347" fmla="*/ 5955437 h 6858000"/>
              <a:gd name="connsiteX348" fmla="*/ 4689789 w 7467600"/>
              <a:gd name="connsiteY348" fmla="*/ 6268382 h 6858000"/>
              <a:gd name="connsiteX349" fmla="*/ 4418722 w 7467600"/>
              <a:gd name="connsiteY349" fmla="*/ 6570886 h 6858000"/>
              <a:gd name="connsiteX350" fmla="*/ 4214944 w 7467600"/>
              <a:gd name="connsiteY350" fmla="*/ 6858000 h 6858000"/>
              <a:gd name="connsiteX351" fmla="*/ 4177898 w 7467600"/>
              <a:gd name="connsiteY351" fmla="*/ 6858000 h 6858000"/>
              <a:gd name="connsiteX352" fmla="*/ 4391597 w 7467600"/>
              <a:gd name="connsiteY352" fmla="*/ 6556370 h 6858000"/>
              <a:gd name="connsiteX353" fmla="*/ 4668889 w 7467600"/>
              <a:gd name="connsiteY353" fmla="*/ 6246399 h 6858000"/>
              <a:gd name="connsiteX354" fmla="*/ 5055427 w 7467600"/>
              <a:gd name="connsiteY354" fmla="*/ 5931476 h 6858000"/>
              <a:gd name="connsiteX355" fmla="*/ 5371814 w 7467600"/>
              <a:gd name="connsiteY355" fmla="*/ 5678975 h 6858000"/>
              <a:gd name="connsiteX356" fmla="*/ 4987918 w 7467600"/>
              <a:gd name="connsiteY356" fmla="*/ 5838701 h 6858000"/>
              <a:gd name="connsiteX357" fmla="*/ 4317146 w 7467600"/>
              <a:gd name="connsiteY357" fmla="*/ 6587716 h 6858000"/>
              <a:gd name="connsiteX358" fmla="*/ 4171627 w 7467600"/>
              <a:gd name="connsiteY358" fmla="*/ 6858000 h 6858000"/>
              <a:gd name="connsiteX359" fmla="*/ 4081585 w 7467600"/>
              <a:gd name="connsiteY359" fmla="*/ 6858000 h 6858000"/>
              <a:gd name="connsiteX360" fmla="*/ 4238603 w 7467600"/>
              <a:gd name="connsiteY360" fmla="*/ 6559341 h 6858000"/>
              <a:gd name="connsiteX361" fmla="*/ 4778333 w 7467600"/>
              <a:gd name="connsiteY361" fmla="*/ 5873626 h 6858000"/>
              <a:gd name="connsiteX362" fmla="*/ 5414185 w 7467600"/>
              <a:gd name="connsiteY362" fmla="*/ 5573882 h 6858000"/>
              <a:gd name="connsiteX363" fmla="*/ 5959648 w 7467600"/>
              <a:gd name="connsiteY363" fmla="*/ 4760797 h 6858000"/>
              <a:gd name="connsiteX364" fmla="*/ 5355019 w 7467600"/>
              <a:gd name="connsiteY364" fmla="*/ 4734672 h 6858000"/>
              <a:gd name="connsiteX365" fmla="*/ 5083565 w 7467600"/>
              <a:gd name="connsiteY365" fmla="*/ 5179121 h 6858000"/>
              <a:gd name="connsiteX366" fmla="*/ 4713577 w 7467600"/>
              <a:gd name="connsiteY366" fmla="*/ 5616803 h 6858000"/>
              <a:gd name="connsiteX367" fmla="*/ 3989559 w 7467600"/>
              <a:gd name="connsiteY367" fmla="*/ 6145945 h 6858000"/>
              <a:gd name="connsiteX368" fmla="*/ 3939824 w 7467600"/>
              <a:gd name="connsiteY368" fmla="*/ 6066900 h 6858000"/>
              <a:gd name="connsiteX369" fmla="*/ 4584537 w 7467600"/>
              <a:gd name="connsiteY369" fmla="*/ 5324826 h 6858000"/>
              <a:gd name="connsiteX370" fmla="*/ 5037105 w 7467600"/>
              <a:gd name="connsiteY370" fmla="*/ 5088765 h 6858000"/>
              <a:gd name="connsiteX371" fmla="*/ 5039930 w 7467600"/>
              <a:gd name="connsiteY371" fmla="*/ 5089585 h 6858000"/>
              <a:gd name="connsiteX372" fmla="*/ 5263764 w 7467600"/>
              <a:gd name="connsiteY372" fmla="*/ 4735525 h 6858000"/>
              <a:gd name="connsiteX373" fmla="*/ 4086300 w 7467600"/>
              <a:gd name="connsiteY373" fmla="*/ 4884599 h 6858000"/>
              <a:gd name="connsiteX374" fmla="*/ 4085485 w 7467600"/>
              <a:gd name="connsiteY374" fmla="*/ 4899070 h 6858000"/>
              <a:gd name="connsiteX375" fmla="*/ 3871915 w 7467600"/>
              <a:gd name="connsiteY375" fmla="*/ 5253645 h 6858000"/>
              <a:gd name="connsiteX376" fmla="*/ 3799374 w 7467600"/>
              <a:gd name="connsiteY376" fmla="*/ 5466127 h 6858000"/>
              <a:gd name="connsiteX377" fmla="*/ 3498850 w 7467600"/>
              <a:gd name="connsiteY377" fmla="*/ 6661888 h 6858000"/>
              <a:gd name="connsiteX378" fmla="*/ 3399216 w 7467600"/>
              <a:gd name="connsiteY378" fmla="*/ 6858000 h 6858000"/>
              <a:gd name="connsiteX379" fmla="*/ 3303688 w 7467600"/>
              <a:gd name="connsiteY379" fmla="*/ 6858000 h 6858000"/>
              <a:gd name="connsiteX380" fmla="*/ 3391774 w 7467600"/>
              <a:gd name="connsiteY380" fmla="*/ 6697181 h 6858000"/>
              <a:gd name="connsiteX381" fmla="*/ 3735540 w 7467600"/>
              <a:gd name="connsiteY381" fmla="*/ 5546923 h 6858000"/>
              <a:gd name="connsiteX382" fmla="*/ 3729438 w 7467600"/>
              <a:gd name="connsiteY382" fmla="*/ 5569058 h 6858000"/>
              <a:gd name="connsiteX383" fmla="*/ 3707782 w 7467600"/>
              <a:gd name="connsiteY383" fmla="*/ 5644908 h 6858000"/>
              <a:gd name="connsiteX384" fmla="*/ 3583827 w 7467600"/>
              <a:gd name="connsiteY384" fmla="*/ 6039215 h 6858000"/>
              <a:gd name="connsiteX385" fmla="*/ 3547861 w 7467600"/>
              <a:gd name="connsiteY385" fmla="*/ 6129609 h 6858000"/>
              <a:gd name="connsiteX386" fmla="*/ 3490905 w 7467600"/>
              <a:gd name="connsiteY386" fmla="*/ 6277660 h 6858000"/>
              <a:gd name="connsiteX387" fmla="*/ 3455859 w 7467600"/>
              <a:gd name="connsiteY387" fmla="*/ 6391301 h 6858000"/>
              <a:gd name="connsiteX388" fmla="*/ 3429112 w 7467600"/>
              <a:gd name="connsiteY388" fmla="*/ 6479469 h 6858000"/>
              <a:gd name="connsiteX389" fmla="*/ 3304862 w 7467600"/>
              <a:gd name="connsiteY389" fmla="*/ 6796476 h 6858000"/>
              <a:gd name="connsiteX390" fmla="*/ 3276071 w 7467600"/>
              <a:gd name="connsiteY390" fmla="*/ 6858000 h 6858000"/>
              <a:gd name="connsiteX391" fmla="*/ 3240805 w 7467600"/>
              <a:gd name="connsiteY391" fmla="*/ 6858000 h 6858000"/>
              <a:gd name="connsiteX392" fmla="*/ 3275917 w 7467600"/>
              <a:gd name="connsiteY392" fmla="*/ 6783192 h 6858000"/>
              <a:gd name="connsiteX393" fmla="*/ 3399358 w 7467600"/>
              <a:gd name="connsiteY393" fmla="*/ 6469011 h 6858000"/>
              <a:gd name="connsiteX394" fmla="*/ 3425650 w 7467600"/>
              <a:gd name="connsiteY394" fmla="*/ 6381333 h 6858000"/>
              <a:gd name="connsiteX395" fmla="*/ 3460661 w 7467600"/>
              <a:gd name="connsiteY395" fmla="*/ 6266763 h 6858000"/>
              <a:gd name="connsiteX396" fmla="*/ 3518021 w 7467600"/>
              <a:gd name="connsiteY396" fmla="*/ 6117298 h 6858000"/>
              <a:gd name="connsiteX397" fmla="*/ 3554035 w 7467600"/>
              <a:gd name="connsiteY397" fmla="*/ 6027832 h 6858000"/>
              <a:gd name="connsiteX398" fmla="*/ 3677174 w 7467600"/>
              <a:gd name="connsiteY398" fmla="*/ 5636351 h 6858000"/>
              <a:gd name="connsiteX399" fmla="*/ 3698819 w 7467600"/>
              <a:gd name="connsiteY399" fmla="*/ 5560503 h 6858000"/>
              <a:gd name="connsiteX400" fmla="*/ 3702094 w 7467600"/>
              <a:gd name="connsiteY400" fmla="*/ 5549194 h 6858000"/>
              <a:gd name="connsiteX401" fmla="*/ 3398355 w 7467600"/>
              <a:gd name="connsiteY401" fmla="*/ 6094603 h 6858000"/>
              <a:gd name="connsiteX402" fmla="*/ 3193941 w 7467600"/>
              <a:gd name="connsiteY402" fmla="*/ 6798775 h 6858000"/>
              <a:gd name="connsiteX403" fmla="*/ 3184140 w 7467600"/>
              <a:gd name="connsiteY403" fmla="*/ 6858000 h 6858000"/>
              <a:gd name="connsiteX404" fmla="*/ 3099978 w 7467600"/>
              <a:gd name="connsiteY404" fmla="*/ 6858000 h 6858000"/>
              <a:gd name="connsiteX405" fmla="*/ 3101556 w 7467600"/>
              <a:gd name="connsiteY405" fmla="*/ 6843337 h 6858000"/>
              <a:gd name="connsiteX406" fmla="*/ 3370162 w 7467600"/>
              <a:gd name="connsiteY406" fmla="*/ 5785550 h 6858000"/>
              <a:gd name="connsiteX407" fmla="*/ 3746477 w 7467600"/>
              <a:gd name="connsiteY407" fmla="*/ 5377889 h 6858000"/>
              <a:gd name="connsiteX408" fmla="*/ 3863399 w 7467600"/>
              <a:gd name="connsiteY408" fmla="*/ 5087257 h 6858000"/>
              <a:gd name="connsiteX409" fmla="*/ 3968712 w 7467600"/>
              <a:gd name="connsiteY409" fmla="*/ 4913989 h 6858000"/>
              <a:gd name="connsiteX410" fmla="*/ 2792390 w 7467600"/>
              <a:gd name="connsiteY410" fmla="*/ 5382974 h 6858000"/>
              <a:gd name="connsiteX411" fmla="*/ 2714982 w 7467600"/>
              <a:gd name="connsiteY411" fmla="*/ 5427051 h 6858000"/>
              <a:gd name="connsiteX412" fmla="*/ 2813361 w 7467600"/>
              <a:gd name="connsiteY412" fmla="*/ 6023912 h 6858000"/>
              <a:gd name="connsiteX413" fmla="*/ 2688430 w 7467600"/>
              <a:gd name="connsiteY413" fmla="*/ 6801564 h 6858000"/>
              <a:gd name="connsiteX414" fmla="*/ 2629626 w 7467600"/>
              <a:gd name="connsiteY414" fmla="*/ 6763394 h 6858000"/>
              <a:gd name="connsiteX415" fmla="*/ 2565328 w 7467600"/>
              <a:gd name="connsiteY415" fmla="*/ 5516399 h 6858000"/>
              <a:gd name="connsiteX416" fmla="*/ 1922999 w 7467600"/>
              <a:gd name="connsiteY416" fmla="*/ 5980343 h 6858000"/>
              <a:gd name="connsiteX417" fmla="*/ 1950261 w 7467600"/>
              <a:gd name="connsiteY417" fmla="*/ 6405858 h 6858000"/>
              <a:gd name="connsiteX418" fmla="*/ 2365554 w 7467600"/>
              <a:gd name="connsiteY418" fmla="*/ 6759107 h 6858000"/>
              <a:gd name="connsiteX419" fmla="*/ 2424142 w 7467600"/>
              <a:gd name="connsiteY419" fmla="*/ 6858000 h 6858000"/>
              <a:gd name="connsiteX420" fmla="*/ 2395994 w 7467600"/>
              <a:gd name="connsiteY420" fmla="*/ 6858000 h 6858000"/>
              <a:gd name="connsiteX421" fmla="*/ 2392863 w 7467600"/>
              <a:gd name="connsiteY421" fmla="*/ 6852964 h 6858000"/>
              <a:gd name="connsiteX422" fmla="*/ 2017589 w 7467600"/>
              <a:gd name="connsiteY422" fmla="*/ 6493982 h 6858000"/>
              <a:gd name="connsiteX423" fmla="*/ 2147336 w 7467600"/>
              <a:gd name="connsiteY423" fmla="*/ 6594052 h 6858000"/>
              <a:gd name="connsiteX424" fmla="*/ 2207047 w 7467600"/>
              <a:gd name="connsiteY424" fmla="*/ 6654540 h 6858000"/>
              <a:gd name="connsiteX425" fmla="*/ 2299106 w 7467600"/>
              <a:gd name="connsiteY425" fmla="*/ 6778931 h 6858000"/>
              <a:gd name="connsiteX426" fmla="*/ 2314430 w 7467600"/>
              <a:gd name="connsiteY426" fmla="*/ 6801144 h 6858000"/>
              <a:gd name="connsiteX427" fmla="*/ 2352406 w 7467600"/>
              <a:gd name="connsiteY427" fmla="*/ 6858000 h 6858000"/>
              <a:gd name="connsiteX428" fmla="*/ 2314492 w 7467600"/>
              <a:gd name="connsiteY428" fmla="*/ 6858000 h 6858000"/>
              <a:gd name="connsiteX429" fmla="*/ 2288095 w 7467600"/>
              <a:gd name="connsiteY429" fmla="*/ 6818030 h 6858000"/>
              <a:gd name="connsiteX430" fmla="*/ 2272768 w 7467600"/>
              <a:gd name="connsiteY430" fmla="*/ 6795822 h 6858000"/>
              <a:gd name="connsiteX431" fmla="*/ 2182715 w 7467600"/>
              <a:gd name="connsiteY431" fmla="*/ 6675071 h 6858000"/>
              <a:gd name="connsiteX432" fmla="*/ 2032061 w 7467600"/>
              <a:gd name="connsiteY432" fmla="*/ 6541380 h 6858000"/>
              <a:gd name="connsiteX433" fmla="*/ 2257220 w 7467600"/>
              <a:gd name="connsiteY433" fmla="*/ 6826257 h 6858000"/>
              <a:gd name="connsiteX434" fmla="*/ 2281324 w 7467600"/>
              <a:gd name="connsiteY434" fmla="*/ 6858000 h 6858000"/>
              <a:gd name="connsiteX435" fmla="*/ 2242860 w 7467600"/>
              <a:gd name="connsiteY435" fmla="*/ 6858000 h 6858000"/>
              <a:gd name="connsiteX436" fmla="*/ 2232818 w 7467600"/>
              <a:gd name="connsiteY436" fmla="*/ 6844926 h 6858000"/>
              <a:gd name="connsiteX437" fmla="*/ 1990172 w 7467600"/>
              <a:gd name="connsiteY437" fmla="*/ 6542121 h 6858000"/>
              <a:gd name="connsiteX438" fmla="*/ 2124090 w 7467600"/>
              <a:gd name="connsiteY438" fmla="*/ 6761017 h 6858000"/>
              <a:gd name="connsiteX439" fmla="*/ 2200380 w 7467600"/>
              <a:gd name="connsiteY439" fmla="*/ 6858000 h 6858000"/>
              <a:gd name="connsiteX440" fmla="*/ 2147507 w 7467600"/>
              <a:gd name="connsiteY440" fmla="*/ 6858000 h 6858000"/>
              <a:gd name="connsiteX441" fmla="*/ 2070668 w 7467600"/>
              <a:gd name="connsiteY441" fmla="*/ 6761520 h 6858000"/>
              <a:gd name="connsiteX442" fmla="*/ 1975142 w 7467600"/>
              <a:gd name="connsiteY442" fmla="*/ 6585570 h 6858000"/>
              <a:gd name="connsiteX443" fmla="*/ 2050035 w 7467600"/>
              <a:gd name="connsiteY443" fmla="*/ 6813345 h 6858000"/>
              <a:gd name="connsiteX444" fmla="*/ 2063025 w 7467600"/>
              <a:gd name="connsiteY444" fmla="*/ 6858000 h 6858000"/>
              <a:gd name="connsiteX445" fmla="*/ 2021675 w 7467600"/>
              <a:gd name="connsiteY445" fmla="*/ 6858000 h 6858000"/>
              <a:gd name="connsiteX446" fmla="*/ 2019308 w 7467600"/>
              <a:gd name="connsiteY446" fmla="*/ 6847118 h 6858000"/>
              <a:gd name="connsiteX447" fmla="*/ 1938835 w 7467600"/>
              <a:gd name="connsiteY447" fmla="*/ 6551160 h 6858000"/>
              <a:gd name="connsiteX448" fmla="*/ 1953230 w 7467600"/>
              <a:gd name="connsiteY448" fmla="*/ 6759699 h 6858000"/>
              <a:gd name="connsiteX449" fmla="*/ 1956763 w 7467600"/>
              <a:gd name="connsiteY449" fmla="*/ 6778191 h 6858000"/>
              <a:gd name="connsiteX450" fmla="*/ 1967925 w 7467600"/>
              <a:gd name="connsiteY450" fmla="*/ 6858000 h 6858000"/>
              <a:gd name="connsiteX451" fmla="*/ 1936622 w 7467600"/>
              <a:gd name="connsiteY451" fmla="*/ 6858000 h 6858000"/>
              <a:gd name="connsiteX452" fmla="*/ 1926261 w 7467600"/>
              <a:gd name="connsiteY452" fmla="*/ 6784064 h 6858000"/>
              <a:gd name="connsiteX453" fmla="*/ 1922724 w 7467600"/>
              <a:gd name="connsiteY453" fmla="*/ 6765577 h 6858000"/>
              <a:gd name="connsiteX454" fmla="*/ 1904650 w 7467600"/>
              <a:gd name="connsiteY454" fmla="*/ 6639616 h 6858000"/>
              <a:gd name="connsiteX455" fmla="*/ 1885273 w 7467600"/>
              <a:gd name="connsiteY455" fmla="*/ 6858000 h 6858000"/>
              <a:gd name="connsiteX456" fmla="*/ 1854363 w 7467600"/>
              <a:gd name="connsiteY456" fmla="*/ 6858000 h 6858000"/>
              <a:gd name="connsiteX457" fmla="*/ 1880391 w 7467600"/>
              <a:gd name="connsiteY457" fmla="*/ 6603796 h 6858000"/>
              <a:gd name="connsiteX458" fmla="*/ 1818273 w 7467600"/>
              <a:gd name="connsiteY458" fmla="*/ 6715729 h 6858000"/>
              <a:gd name="connsiteX459" fmla="*/ 1794691 w 7467600"/>
              <a:gd name="connsiteY459" fmla="*/ 6843239 h 6858000"/>
              <a:gd name="connsiteX460" fmla="*/ 1794914 w 7467600"/>
              <a:gd name="connsiteY460" fmla="*/ 6858000 h 6858000"/>
              <a:gd name="connsiteX461" fmla="*/ 1746128 w 7467600"/>
              <a:gd name="connsiteY461" fmla="*/ 6858000 h 6858000"/>
              <a:gd name="connsiteX462" fmla="*/ 1753934 w 7467600"/>
              <a:gd name="connsiteY462" fmla="*/ 6724796 h 6858000"/>
              <a:gd name="connsiteX463" fmla="*/ 1792053 w 7467600"/>
              <a:gd name="connsiteY463" fmla="*/ 6572396 h 6858000"/>
              <a:gd name="connsiteX464" fmla="*/ 1862248 w 7467600"/>
              <a:gd name="connsiteY464" fmla="*/ 6266397 h 6858000"/>
              <a:gd name="connsiteX465" fmla="*/ 1862250 w 7467600"/>
              <a:gd name="connsiteY465" fmla="*/ 6033531 h 6858000"/>
              <a:gd name="connsiteX466" fmla="*/ 1211999 w 7467600"/>
              <a:gd name="connsiteY466" fmla="*/ 6683610 h 6858000"/>
              <a:gd name="connsiteX467" fmla="*/ 1213266 w 7467600"/>
              <a:gd name="connsiteY467" fmla="*/ 6691947 h 6858000"/>
              <a:gd name="connsiteX468" fmla="*/ 1203370 w 7467600"/>
              <a:gd name="connsiteY468" fmla="*/ 6850676 h 6858000"/>
              <a:gd name="connsiteX469" fmla="*/ 1203671 w 7467600"/>
              <a:gd name="connsiteY469" fmla="*/ 6858000 h 6858000"/>
              <a:gd name="connsiteX470" fmla="*/ 1143180 w 7467600"/>
              <a:gd name="connsiteY470" fmla="*/ 6858000 h 6858000"/>
              <a:gd name="connsiteX471" fmla="*/ 1142176 w 7467600"/>
              <a:gd name="connsiteY471" fmla="*/ 6766045 h 6858000"/>
              <a:gd name="connsiteX472" fmla="*/ 1067484 w 7467600"/>
              <a:gd name="connsiteY472" fmla="*/ 6858000 h 6858000"/>
              <a:gd name="connsiteX473" fmla="*/ 953928 w 7467600"/>
              <a:gd name="connsiteY473" fmla="*/ 6858000 h 6858000"/>
              <a:gd name="connsiteX474" fmla="*/ 959715 w 7467600"/>
              <a:gd name="connsiteY474" fmla="*/ 6850185 h 6858000"/>
              <a:gd name="connsiteX475" fmla="*/ 1483788 w 7467600"/>
              <a:gd name="connsiteY475" fmla="*/ 6259174 h 6858000"/>
              <a:gd name="connsiteX476" fmla="*/ 1100671 w 7467600"/>
              <a:gd name="connsiteY476" fmla="*/ 6252137 h 6858000"/>
              <a:gd name="connsiteX477" fmla="*/ 1090144 w 7467600"/>
              <a:gd name="connsiteY477" fmla="*/ 6256748 h 6858000"/>
              <a:gd name="connsiteX478" fmla="*/ 1095872 w 7467600"/>
              <a:gd name="connsiteY478" fmla="*/ 6271892 h 6858000"/>
              <a:gd name="connsiteX479" fmla="*/ 262785 w 7467600"/>
              <a:gd name="connsiteY479" fmla="*/ 6845450 h 6858000"/>
              <a:gd name="connsiteX480" fmla="*/ 209968 w 7467600"/>
              <a:gd name="connsiteY480" fmla="*/ 6770713 h 6858000"/>
              <a:gd name="connsiteX481" fmla="*/ 873460 w 7467600"/>
              <a:gd name="connsiteY481" fmla="*/ 6253768 h 6858000"/>
              <a:gd name="connsiteX482" fmla="*/ 192686 w 7467600"/>
              <a:gd name="connsiteY482" fmla="*/ 5849257 h 6858000"/>
              <a:gd name="connsiteX483" fmla="*/ 4696 w 7467600"/>
              <a:gd name="connsiteY483" fmla="*/ 5697668 h 6858000"/>
              <a:gd name="connsiteX484" fmla="*/ 0 w 7467600"/>
              <a:gd name="connsiteY484" fmla="*/ 5689984 h 6858000"/>
              <a:gd name="connsiteX485" fmla="*/ 0 w 7467600"/>
              <a:gd name="connsiteY485" fmla="*/ 5513472 h 6858000"/>
              <a:gd name="connsiteX486" fmla="*/ 174101 w 7467600"/>
              <a:gd name="connsiteY486" fmla="*/ 5620277 h 6858000"/>
              <a:gd name="connsiteX487" fmla="*/ 891800 w 7467600"/>
              <a:gd name="connsiteY487" fmla="*/ 6036935 h 6858000"/>
              <a:gd name="connsiteX488" fmla="*/ 1072219 w 7467600"/>
              <a:gd name="connsiteY488" fmla="*/ 6169443 h 6858000"/>
              <a:gd name="connsiteX489" fmla="*/ 1074117 w 7467600"/>
              <a:gd name="connsiteY489" fmla="*/ 6170301 h 6858000"/>
              <a:gd name="connsiteX490" fmla="*/ 1083114 w 7467600"/>
              <a:gd name="connsiteY490" fmla="*/ 6174131 h 6858000"/>
              <a:gd name="connsiteX491" fmla="*/ 1543010 w 7467600"/>
              <a:gd name="connsiteY491" fmla="*/ 6191140 h 6858000"/>
              <a:gd name="connsiteX492" fmla="*/ 1551080 w 7467600"/>
              <a:gd name="connsiteY492" fmla="*/ 6195006 h 6858000"/>
              <a:gd name="connsiteX493" fmla="*/ 2345443 w 7467600"/>
              <a:gd name="connsiteY493" fmla="*/ 5549882 h 6858000"/>
              <a:gd name="connsiteX494" fmla="*/ 1721499 w 7467600"/>
              <a:gd name="connsiteY494" fmla="*/ 5599969 h 6858000"/>
              <a:gd name="connsiteX495" fmla="*/ 767716 w 7467600"/>
              <a:gd name="connsiteY495" fmla="*/ 5472768 h 6858000"/>
              <a:gd name="connsiteX496" fmla="*/ 722147 w 7467600"/>
              <a:gd name="connsiteY496" fmla="*/ 5393091 h 6858000"/>
              <a:gd name="connsiteX497" fmla="*/ 1485552 w 7467600"/>
              <a:gd name="connsiteY497" fmla="*/ 5313202 h 6858000"/>
              <a:gd name="connsiteX498" fmla="*/ 2143004 w 7467600"/>
              <a:gd name="connsiteY498" fmla="*/ 5402420 h 6858000"/>
              <a:gd name="connsiteX499" fmla="*/ 1933391 w 7467600"/>
              <a:gd name="connsiteY499" fmla="*/ 5156971 h 6858000"/>
              <a:gd name="connsiteX500" fmla="*/ 1827118 w 7467600"/>
              <a:gd name="connsiteY500" fmla="*/ 4968410 h 6858000"/>
              <a:gd name="connsiteX501" fmla="*/ 1837349 w 7467600"/>
              <a:gd name="connsiteY501" fmla="*/ 4956357 h 6858000"/>
              <a:gd name="connsiteX502" fmla="*/ 2162835 w 7467600"/>
              <a:gd name="connsiteY502" fmla="*/ 5187853 h 6858000"/>
              <a:gd name="connsiteX503" fmla="*/ 2257167 w 7467600"/>
              <a:gd name="connsiteY503" fmla="*/ 5462123 h 6858000"/>
              <a:gd name="connsiteX504" fmla="*/ 2261598 w 7467600"/>
              <a:gd name="connsiteY504" fmla="*/ 5467998 h 6858000"/>
              <a:gd name="connsiteX505" fmla="*/ 2437177 w 7467600"/>
              <a:gd name="connsiteY505" fmla="*/ 5479608 h 6858000"/>
              <a:gd name="connsiteX506" fmla="*/ 2445247 w 7467600"/>
              <a:gd name="connsiteY506" fmla="*/ 5483476 h 6858000"/>
              <a:gd name="connsiteX507" fmla="*/ 2743626 w 7467600"/>
              <a:gd name="connsiteY507" fmla="*/ 5304819 h 6858000"/>
              <a:gd name="connsiteX508" fmla="*/ 3048102 w 7467600"/>
              <a:gd name="connsiteY508" fmla="*/ 5150595 h 6858000"/>
              <a:gd name="connsiteX509" fmla="*/ 1799414 w 7467600"/>
              <a:gd name="connsiteY509" fmla="*/ 4694732 h 6858000"/>
              <a:gd name="connsiteX510" fmla="*/ 1771735 w 7467600"/>
              <a:gd name="connsiteY510" fmla="*/ 4619929 h 6858000"/>
              <a:gd name="connsiteX511" fmla="*/ 3104273 w 7467600"/>
              <a:gd name="connsiteY511" fmla="*/ 5076159 h 6858000"/>
              <a:gd name="connsiteX512" fmla="*/ 3113245 w 7467600"/>
              <a:gd name="connsiteY512" fmla="*/ 5090705 h 6858000"/>
              <a:gd name="connsiteX513" fmla="*/ 3126294 w 7467600"/>
              <a:gd name="connsiteY513" fmla="*/ 5114400 h 6858000"/>
              <a:gd name="connsiteX514" fmla="*/ 3937433 w 7467600"/>
              <a:gd name="connsiteY514" fmla="*/ 4830473 h 6858000"/>
              <a:gd name="connsiteX515" fmla="*/ 3590475 w 7467600"/>
              <a:gd name="connsiteY515" fmla="*/ 4597974 h 6858000"/>
              <a:gd name="connsiteX516" fmla="*/ 3100264 w 7467600"/>
              <a:gd name="connsiteY516" fmla="*/ 4579845 h 6858000"/>
              <a:gd name="connsiteX517" fmla="*/ 2183576 w 7467600"/>
              <a:gd name="connsiteY517" fmla="*/ 4227150 h 6858000"/>
              <a:gd name="connsiteX518" fmla="*/ 2151029 w 7467600"/>
              <a:gd name="connsiteY518" fmla="*/ 4146947 h 6858000"/>
              <a:gd name="connsiteX519" fmla="*/ 3563434 w 7467600"/>
              <a:gd name="connsiteY519" fmla="*/ 4469115 h 6858000"/>
              <a:gd name="connsiteX520" fmla="*/ 3177952 w 7467600"/>
              <a:gd name="connsiteY520" fmla="*/ 3657386 h 6858000"/>
              <a:gd name="connsiteX521" fmla="*/ 3189263 w 7467600"/>
              <a:gd name="connsiteY521" fmla="*/ 3625726 h 6858000"/>
              <a:gd name="connsiteX522" fmla="*/ 3560912 w 7467600"/>
              <a:gd name="connsiteY522" fmla="*/ 4079863 h 6858000"/>
              <a:gd name="connsiteX523" fmla="*/ 3626636 w 7467600"/>
              <a:gd name="connsiteY523" fmla="*/ 4512230 h 6858000"/>
              <a:gd name="connsiteX524" fmla="*/ 3653088 w 7467600"/>
              <a:gd name="connsiteY524" fmla="*/ 4521417 h 6858000"/>
              <a:gd name="connsiteX525" fmla="*/ 3988128 w 7467600"/>
              <a:gd name="connsiteY525" fmla="*/ 4817267 h 6858000"/>
              <a:gd name="connsiteX526" fmla="*/ 4830582 w 7467600"/>
              <a:gd name="connsiteY526" fmla="*/ 4676000 h 6858000"/>
              <a:gd name="connsiteX527" fmla="*/ 4830100 w 7467600"/>
              <a:gd name="connsiteY527" fmla="*/ 4675554 h 6858000"/>
              <a:gd name="connsiteX528" fmla="*/ 4036318 w 7467600"/>
              <a:gd name="connsiteY528" fmla="*/ 4147013 h 6858000"/>
              <a:gd name="connsiteX529" fmla="*/ 3432098 w 7467600"/>
              <a:gd name="connsiteY529" fmla="*/ 3537312 h 6858000"/>
              <a:gd name="connsiteX530" fmla="*/ 3446761 w 7467600"/>
              <a:gd name="connsiteY530" fmla="*/ 3461278 h 6858000"/>
              <a:gd name="connsiteX531" fmla="*/ 4419733 w 7467600"/>
              <a:gd name="connsiteY531" fmla="*/ 3963555 h 6858000"/>
              <a:gd name="connsiteX532" fmla="*/ 4781371 w 7467600"/>
              <a:gd name="connsiteY532" fmla="*/ 4458604 h 6858000"/>
              <a:gd name="connsiteX533" fmla="*/ 4780440 w 7467600"/>
              <a:gd name="connsiteY533" fmla="*/ 4470290 h 6858000"/>
              <a:gd name="connsiteX534" fmla="*/ 4898954 w 7467600"/>
              <a:gd name="connsiteY534" fmla="*/ 4662092 h 6858000"/>
              <a:gd name="connsiteX535" fmla="*/ 4900699 w 7467600"/>
              <a:gd name="connsiteY535" fmla="*/ 4670867 h 6858000"/>
              <a:gd name="connsiteX536" fmla="*/ 5714511 w 7467600"/>
              <a:gd name="connsiteY536" fmla="*/ 4663483 h 6858000"/>
              <a:gd name="connsiteX537" fmla="*/ 5464793 w 7467600"/>
              <a:gd name="connsiteY537" fmla="*/ 4393556 h 6858000"/>
              <a:gd name="connsiteX538" fmla="*/ 5461897 w 7467600"/>
              <a:gd name="connsiteY538" fmla="*/ 4390879 h 6858000"/>
              <a:gd name="connsiteX539" fmla="*/ 4294126 w 7467600"/>
              <a:gd name="connsiteY539" fmla="*/ 3303048 h 6858000"/>
              <a:gd name="connsiteX540" fmla="*/ 4305321 w 7467600"/>
              <a:gd name="connsiteY540" fmla="*/ 3256953 h 6858000"/>
              <a:gd name="connsiteX541" fmla="*/ 4949299 w 7467600"/>
              <a:gd name="connsiteY541" fmla="*/ 3766336 h 6858000"/>
              <a:gd name="connsiteX542" fmla="*/ 5291452 w 7467600"/>
              <a:gd name="connsiteY542" fmla="*/ 4076801 h 6858000"/>
              <a:gd name="connsiteX543" fmla="*/ 5434998 w 7467600"/>
              <a:gd name="connsiteY543" fmla="*/ 4254100 h 6858000"/>
              <a:gd name="connsiteX544" fmla="*/ 5351015 w 7467600"/>
              <a:gd name="connsiteY544" fmla="*/ 3760989 h 6858000"/>
              <a:gd name="connsiteX545" fmla="*/ 5413780 w 7467600"/>
              <a:gd name="connsiteY545" fmla="*/ 2966265 h 6858000"/>
              <a:gd name="connsiteX546" fmla="*/ 5425627 w 7467600"/>
              <a:gd name="connsiteY546" fmla="*/ 2954192 h 6858000"/>
              <a:gd name="connsiteX547" fmla="*/ 6604735 w 7467600"/>
              <a:gd name="connsiteY547" fmla="*/ 2041381 h 6858000"/>
              <a:gd name="connsiteX548" fmla="*/ 7204487 w 7467600"/>
              <a:gd name="connsiteY548" fmla="*/ 2742112 h 6858000"/>
              <a:gd name="connsiteX549" fmla="*/ 7131592 w 7467600"/>
              <a:gd name="connsiteY549" fmla="*/ 2672096 h 6858000"/>
              <a:gd name="connsiteX550" fmla="*/ 6996344 w 7467600"/>
              <a:gd name="connsiteY550" fmla="*/ 2518310 h 6858000"/>
              <a:gd name="connsiteX551" fmla="*/ 6735495 w 7467600"/>
              <a:gd name="connsiteY551" fmla="*/ 2196890 h 6858000"/>
              <a:gd name="connsiteX552" fmla="*/ 6721901 w 7467600"/>
              <a:gd name="connsiteY552" fmla="*/ 2179274 h 6858000"/>
              <a:gd name="connsiteX553" fmla="*/ 6604735 w 7467600"/>
              <a:gd name="connsiteY553" fmla="*/ 2041381 h 6858000"/>
              <a:gd name="connsiteX554" fmla="*/ 6591670 w 7467600"/>
              <a:gd name="connsiteY554" fmla="*/ 1988277 h 6858000"/>
              <a:gd name="connsiteX555" fmla="*/ 6747349 w 7467600"/>
              <a:gd name="connsiteY555" fmla="*/ 2160069 h 6858000"/>
              <a:gd name="connsiteX556" fmla="*/ 6760943 w 7467600"/>
              <a:gd name="connsiteY556" fmla="*/ 2177686 h 6858000"/>
              <a:gd name="connsiteX557" fmla="*/ 7021065 w 7467600"/>
              <a:gd name="connsiteY557" fmla="*/ 2498102 h 6858000"/>
              <a:gd name="connsiteX558" fmla="*/ 7155223 w 7467600"/>
              <a:gd name="connsiteY558" fmla="*/ 2650386 h 6858000"/>
              <a:gd name="connsiteX559" fmla="*/ 7203167 w 7467600"/>
              <a:gd name="connsiteY559" fmla="*/ 2697288 h 6858000"/>
              <a:gd name="connsiteX560" fmla="*/ 6937703 w 7467600"/>
              <a:gd name="connsiteY560" fmla="*/ 2321981 h 6858000"/>
              <a:gd name="connsiteX561" fmla="*/ 6591670 w 7467600"/>
              <a:gd name="connsiteY561" fmla="*/ 1988277 h 6858000"/>
              <a:gd name="connsiteX562" fmla="*/ 5798671 w 7467600"/>
              <a:gd name="connsiteY562" fmla="*/ 1981601 h 6858000"/>
              <a:gd name="connsiteX563" fmla="*/ 5754709 w 7467600"/>
              <a:gd name="connsiteY563" fmla="*/ 2071454 h 6858000"/>
              <a:gd name="connsiteX564" fmla="*/ 5763044 w 7467600"/>
              <a:gd name="connsiteY564" fmla="*/ 2842206 h 6858000"/>
              <a:gd name="connsiteX565" fmla="*/ 5764974 w 7467600"/>
              <a:gd name="connsiteY565" fmla="*/ 2799609 h 6858000"/>
              <a:gd name="connsiteX566" fmla="*/ 5767665 w 7467600"/>
              <a:gd name="connsiteY566" fmla="*/ 2666409 h 6858000"/>
              <a:gd name="connsiteX567" fmla="*/ 5763055 w 7467600"/>
              <a:gd name="connsiteY567" fmla="*/ 2579705 h 6858000"/>
              <a:gd name="connsiteX568" fmla="*/ 5758079 w 7467600"/>
              <a:gd name="connsiteY568" fmla="*/ 2492508 h 6858000"/>
              <a:gd name="connsiteX569" fmla="*/ 5779325 w 7467600"/>
              <a:gd name="connsiteY569" fmla="*/ 2197069 h 6858000"/>
              <a:gd name="connsiteX570" fmla="*/ 5798671 w 7467600"/>
              <a:gd name="connsiteY570" fmla="*/ 1981601 h 6858000"/>
              <a:gd name="connsiteX571" fmla="*/ 5829202 w 7467600"/>
              <a:gd name="connsiteY571" fmla="*/ 1971679 h 6858000"/>
              <a:gd name="connsiteX572" fmla="*/ 5809558 w 7467600"/>
              <a:gd name="connsiteY572" fmla="*/ 2198043 h 6858000"/>
              <a:gd name="connsiteX573" fmla="*/ 5788653 w 7467600"/>
              <a:gd name="connsiteY573" fmla="*/ 2489430 h 6858000"/>
              <a:gd name="connsiteX574" fmla="*/ 5793439 w 7467600"/>
              <a:gd name="connsiteY574" fmla="*/ 2575235 h 6858000"/>
              <a:gd name="connsiteX575" fmla="*/ 5796837 w 7467600"/>
              <a:gd name="connsiteY575" fmla="*/ 2637633 h 6858000"/>
              <a:gd name="connsiteX576" fmla="*/ 5818614 w 7467600"/>
              <a:gd name="connsiteY576" fmla="*/ 2473055 h 6858000"/>
              <a:gd name="connsiteX577" fmla="*/ 5829202 w 7467600"/>
              <a:gd name="connsiteY577" fmla="*/ 1971679 h 6858000"/>
              <a:gd name="connsiteX578" fmla="*/ 5911389 w 7467600"/>
              <a:gd name="connsiteY578" fmla="*/ 1898371 h 6858000"/>
              <a:gd name="connsiteX579" fmla="*/ 6237627 w 7467600"/>
              <a:gd name="connsiteY579" fmla="*/ 2231921 h 6858000"/>
              <a:gd name="connsiteX580" fmla="*/ 5911389 w 7467600"/>
              <a:gd name="connsiteY580" fmla="*/ 1898371 h 6858000"/>
              <a:gd name="connsiteX581" fmla="*/ 6944437 w 7467600"/>
              <a:gd name="connsiteY581" fmla="*/ 1575402 h 6858000"/>
              <a:gd name="connsiteX582" fmla="*/ 6304730 w 7467600"/>
              <a:gd name="connsiteY582" fmla="*/ 1766654 h 6858000"/>
              <a:gd name="connsiteX583" fmla="*/ 6944437 w 7467600"/>
              <a:gd name="connsiteY583" fmla="*/ 1575402 h 6858000"/>
              <a:gd name="connsiteX584" fmla="*/ 7019523 w 7467600"/>
              <a:gd name="connsiteY584" fmla="*/ 1519450 h 6858000"/>
              <a:gd name="connsiteX585" fmla="*/ 6298091 w 7467600"/>
              <a:gd name="connsiteY585" fmla="*/ 1737122 h 6858000"/>
              <a:gd name="connsiteX586" fmla="*/ 7019523 w 7467600"/>
              <a:gd name="connsiteY586" fmla="*/ 1519450 h 6858000"/>
              <a:gd name="connsiteX587" fmla="*/ 2399523 w 7467600"/>
              <a:gd name="connsiteY587" fmla="*/ 1428234 h 6858000"/>
              <a:gd name="connsiteX588" fmla="*/ 2224982 w 7467600"/>
              <a:gd name="connsiteY588" fmla="*/ 1826201 h 6858000"/>
              <a:gd name="connsiteX589" fmla="*/ 2096099 w 7467600"/>
              <a:gd name="connsiteY589" fmla="*/ 2345900 h 6858000"/>
              <a:gd name="connsiteX590" fmla="*/ 2283317 w 7467600"/>
              <a:gd name="connsiteY590" fmla="*/ 1796925 h 6858000"/>
              <a:gd name="connsiteX591" fmla="*/ 2399523 w 7467600"/>
              <a:gd name="connsiteY591" fmla="*/ 1428234 h 6858000"/>
              <a:gd name="connsiteX592" fmla="*/ 2448558 w 7467600"/>
              <a:gd name="connsiteY592" fmla="*/ 1373435 h 6858000"/>
              <a:gd name="connsiteX593" fmla="*/ 2312521 w 7467600"/>
              <a:gd name="connsiteY593" fmla="*/ 1806140 h 6858000"/>
              <a:gd name="connsiteX594" fmla="*/ 2127533 w 7467600"/>
              <a:gd name="connsiteY594" fmla="*/ 2348380 h 6858000"/>
              <a:gd name="connsiteX595" fmla="*/ 2358080 w 7467600"/>
              <a:gd name="connsiteY595" fmla="*/ 1866134 h 6858000"/>
              <a:gd name="connsiteX596" fmla="*/ 2407436 w 7467600"/>
              <a:gd name="connsiteY596" fmla="*/ 1651070 h 6858000"/>
              <a:gd name="connsiteX597" fmla="*/ 2448558 w 7467600"/>
              <a:gd name="connsiteY597" fmla="*/ 1373435 h 6858000"/>
              <a:gd name="connsiteX598" fmla="*/ 278707 w 7467600"/>
              <a:gd name="connsiteY598" fmla="*/ 1352270 h 6858000"/>
              <a:gd name="connsiteX599" fmla="*/ 321570 w 7467600"/>
              <a:gd name="connsiteY599" fmla="*/ 1861610 h 6858000"/>
              <a:gd name="connsiteX600" fmla="*/ 294281 w 7467600"/>
              <a:gd name="connsiteY600" fmla="*/ 1440658 h 6858000"/>
              <a:gd name="connsiteX601" fmla="*/ 278707 w 7467600"/>
              <a:gd name="connsiteY601" fmla="*/ 1352270 h 6858000"/>
              <a:gd name="connsiteX602" fmla="*/ 1423821 w 7467600"/>
              <a:gd name="connsiteY602" fmla="*/ 1351958 h 6858000"/>
              <a:gd name="connsiteX603" fmla="*/ 1638521 w 7467600"/>
              <a:gd name="connsiteY603" fmla="*/ 1908470 h 6858000"/>
              <a:gd name="connsiteX604" fmla="*/ 1754199 w 7467600"/>
              <a:gd name="connsiteY604" fmla="*/ 2149284 h 6858000"/>
              <a:gd name="connsiteX605" fmla="*/ 1908359 w 7467600"/>
              <a:gd name="connsiteY605" fmla="*/ 2364988 h 6858000"/>
              <a:gd name="connsiteX606" fmla="*/ 1647661 w 7467600"/>
              <a:gd name="connsiteY606" fmla="*/ 1825945 h 6858000"/>
              <a:gd name="connsiteX607" fmla="*/ 1423821 w 7467600"/>
              <a:gd name="connsiteY607" fmla="*/ 1351958 h 6858000"/>
              <a:gd name="connsiteX608" fmla="*/ 1431890 w 7467600"/>
              <a:gd name="connsiteY608" fmla="*/ 1306475 h 6858000"/>
              <a:gd name="connsiteX609" fmla="*/ 1507597 w 7467600"/>
              <a:gd name="connsiteY609" fmla="*/ 1446132 h 6858000"/>
              <a:gd name="connsiteX610" fmla="*/ 1674586 w 7467600"/>
              <a:gd name="connsiteY610" fmla="*/ 1813832 h 6858000"/>
              <a:gd name="connsiteX611" fmla="*/ 1815950 w 7467600"/>
              <a:gd name="connsiteY611" fmla="*/ 2128564 h 6858000"/>
              <a:gd name="connsiteX612" fmla="*/ 1984242 w 7467600"/>
              <a:gd name="connsiteY612" fmla="*/ 2430829 h 6858000"/>
              <a:gd name="connsiteX613" fmla="*/ 2014023 w 7467600"/>
              <a:gd name="connsiteY613" fmla="*/ 2450995 h 6858000"/>
              <a:gd name="connsiteX614" fmla="*/ 1747337 w 7467600"/>
              <a:gd name="connsiteY614" fmla="*/ 1855264 h 6858000"/>
              <a:gd name="connsiteX615" fmla="*/ 1533749 w 7467600"/>
              <a:gd name="connsiteY615" fmla="*/ 1478656 h 6858000"/>
              <a:gd name="connsiteX616" fmla="*/ 1431890 w 7467600"/>
              <a:gd name="connsiteY616" fmla="*/ 1306475 h 6858000"/>
              <a:gd name="connsiteX617" fmla="*/ 5052692 w 7467600"/>
              <a:gd name="connsiteY617" fmla="*/ 1292994 h 6858000"/>
              <a:gd name="connsiteX618" fmla="*/ 5200661 w 7467600"/>
              <a:gd name="connsiteY618" fmla="*/ 1635186 h 6858000"/>
              <a:gd name="connsiteX619" fmla="*/ 5297138 w 7467600"/>
              <a:gd name="connsiteY619" fmla="*/ 1906351 h 6858000"/>
              <a:gd name="connsiteX620" fmla="*/ 5052692 w 7467600"/>
              <a:gd name="connsiteY620" fmla="*/ 1292994 h 6858000"/>
              <a:gd name="connsiteX621" fmla="*/ 5009948 w 7467600"/>
              <a:gd name="connsiteY621" fmla="*/ 1273619 h 6858000"/>
              <a:gd name="connsiteX622" fmla="*/ 5121777 w 7467600"/>
              <a:gd name="connsiteY622" fmla="*/ 1654213 h 6858000"/>
              <a:gd name="connsiteX623" fmla="*/ 5293545 w 7467600"/>
              <a:gd name="connsiteY623" fmla="*/ 2072247 h 6858000"/>
              <a:gd name="connsiteX624" fmla="*/ 5294042 w 7467600"/>
              <a:gd name="connsiteY624" fmla="*/ 2065019 h 6858000"/>
              <a:gd name="connsiteX625" fmla="*/ 5171936 w 7467600"/>
              <a:gd name="connsiteY625" fmla="*/ 1647613 h 6858000"/>
              <a:gd name="connsiteX626" fmla="*/ 5009948 w 7467600"/>
              <a:gd name="connsiteY626" fmla="*/ 1273619 h 6858000"/>
              <a:gd name="connsiteX627" fmla="*/ 655236 w 7467600"/>
              <a:gd name="connsiteY627" fmla="*/ 1268632 h 6858000"/>
              <a:gd name="connsiteX628" fmla="*/ 839521 w 7467600"/>
              <a:gd name="connsiteY628" fmla="*/ 1685315 h 6858000"/>
              <a:gd name="connsiteX629" fmla="*/ 1109416 w 7467600"/>
              <a:gd name="connsiteY629" fmla="*/ 2061663 h 6858000"/>
              <a:gd name="connsiteX630" fmla="*/ 1298300 w 7467600"/>
              <a:gd name="connsiteY630" fmla="*/ 2247742 h 6858000"/>
              <a:gd name="connsiteX631" fmla="*/ 1125871 w 7467600"/>
              <a:gd name="connsiteY631" fmla="*/ 1989513 h 6858000"/>
              <a:gd name="connsiteX632" fmla="*/ 981574 w 7467600"/>
              <a:gd name="connsiteY632" fmla="*/ 1783157 h 6858000"/>
              <a:gd name="connsiteX633" fmla="*/ 922198 w 7467600"/>
              <a:gd name="connsiteY633" fmla="*/ 1677437 h 6858000"/>
              <a:gd name="connsiteX634" fmla="*/ 869293 w 7467600"/>
              <a:gd name="connsiteY634" fmla="*/ 1583214 h 6858000"/>
              <a:gd name="connsiteX635" fmla="*/ 751431 w 7467600"/>
              <a:gd name="connsiteY635" fmla="*/ 1405731 h 6858000"/>
              <a:gd name="connsiteX636" fmla="*/ 655236 w 7467600"/>
              <a:gd name="connsiteY636" fmla="*/ 1268632 h 6858000"/>
              <a:gd name="connsiteX637" fmla="*/ 6516292 w 7467600"/>
              <a:gd name="connsiteY637" fmla="*/ 1263064 h 6858000"/>
              <a:gd name="connsiteX638" fmla="*/ 5736320 w 7467600"/>
              <a:gd name="connsiteY638" fmla="*/ 1501803 h 6858000"/>
              <a:gd name="connsiteX639" fmla="*/ 6516292 w 7467600"/>
              <a:gd name="connsiteY639" fmla="*/ 1263064 h 6858000"/>
              <a:gd name="connsiteX640" fmla="*/ 291466 w 7467600"/>
              <a:gd name="connsiteY640" fmla="*/ 1250369 h 6858000"/>
              <a:gd name="connsiteX641" fmla="*/ 323180 w 7467600"/>
              <a:gd name="connsiteY641" fmla="*/ 1435283 h 6858000"/>
              <a:gd name="connsiteX642" fmla="*/ 349381 w 7467600"/>
              <a:gd name="connsiteY642" fmla="*/ 1875041 h 6858000"/>
              <a:gd name="connsiteX643" fmla="*/ 374363 w 7467600"/>
              <a:gd name="connsiteY643" fmla="*/ 1506494 h 6858000"/>
              <a:gd name="connsiteX644" fmla="*/ 302168 w 7467600"/>
              <a:gd name="connsiteY644" fmla="*/ 1274495 h 6858000"/>
              <a:gd name="connsiteX645" fmla="*/ 291466 w 7467600"/>
              <a:gd name="connsiteY645" fmla="*/ 1250369 h 6858000"/>
              <a:gd name="connsiteX646" fmla="*/ 678222 w 7467600"/>
              <a:gd name="connsiteY646" fmla="*/ 1248670 h 6858000"/>
              <a:gd name="connsiteX647" fmla="*/ 775536 w 7467600"/>
              <a:gd name="connsiteY647" fmla="*/ 1388015 h 6858000"/>
              <a:gd name="connsiteX648" fmla="*/ 894529 w 7467600"/>
              <a:gd name="connsiteY648" fmla="*/ 1567739 h 6858000"/>
              <a:gd name="connsiteX649" fmla="*/ 948000 w 7467600"/>
              <a:gd name="connsiteY649" fmla="*/ 1663088 h 6858000"/>
              <a:gd name="connsiteX650" fmla="*/ 1006812 w 7467600"/>
              <a:gd name="connsiteY650" fmla="*/ 1767683 h 6858000"/>
              <a:gd name="connsiteX651" fmla="*/ 1149133 w 7467600"/>
              <a:gd name="connsiteY651" fmla="*/ 1971513 h 6858000"/>
              <a:gd name="connsiteX652" fmla="*/ 1333952 w 7467600"/>
              <a:gd name="connsiteY652" fmla="*/ 2251620 h 6858000"/>
              <a:gd name="connsiteX653" fmla="*/ 1337329 w 7467600"/>
              <a:gd name="connsiteY653" fmla="*/ 2258350 h 6858000"/>
              <a:gd name="connsiteX654" fmla="*/ 1014726 w 7467600"/>
              <a:gd name="connsiteY654" fmla="*/ 1615556 h 6858000"/>
              <a:gd name="connsiteX655" fmla="*/ 678222 w 7467600"/>
              <a:gd name="connsiteY655" fmla="*/ 1248670 h 6858000"/>
              <a:gd name="connsiteX656" fmla="*/ 6691602 w 7467600"/>
              <a:gd name="connsiteY656" fmla="*/ 1140573 h 6858000"/>
              <a:gd name="connsiteX657" fmla="*/ 6571100 w 7467600"/>
              <a:gd name="connsiteY657" fmla="*/ 1183662 h 6858000"/>
              <a:gd name="connsiteX658" fmla="*/ 6241687 w 7467600"/>
              <a:gd name="connsiteY658" fmla="*/ 1257600 h 6858000"/>
              <a:gd name="connsiteX659" fmla="*/ 5693009 w 7467600"/>
              <a:gd name="connsiteY659" fmla="*/ 1478256 h 6858000"/>
              <a:gd name="connsiteX660" fmla="*/ 6548420 w 7467600"/>
              <a:gd name="connsiteY660" fmla="*/ 1214599 h 6858000"/>
              <a:gd name="connsiteX661" fmla="*/ 6605473 w 7467600"/>
              <a:gd name="connsiteY661" fmla="*/ 1184686 h 6858000"/>
              <a:gd name="connsiteX662" fmla="*/ 6691602 w 7467600"/>
              <a:gd name="connsiteY662" fmla="*/ 1140573 h 6858000"/>
              <a:gd name="connsiteX663" fmla="*/ 4002475 w 7467600"/>
              <a:gd name="connsiteY663" fmla="*/ 1037802 h 6858000"/>
              <a:gd name="connsiteX664" fmla="*/ 4000324 w 7467600"/>
              <a:gd name="connsiteY664" fmla="*/ 1039362 h 6858000"/>
              <a:gd name="connsiteX665" fmla="*/ 4002862 w 7467600"/>
              <a:gd name="connsiteY665" fmla="*/ 1042866 h 6858000"/>
              <a:gd name="connsiteX666" fmla="*/ 4002475 w 7467600"/>
              <a:gd name="connsiteY666" fmla="*/ 1037802 h 6858000"/>
              <a:gd name="connsiteX667" fmla="*/ 506322 w 7467600"/>
              <a:gd name="connsiteY667" fmla="*/ 1020997 h 6858000"/>
              <a:gd name="connsiteX668" fmla="*/ 533068 w 7467600"/>
              <a:gd name="connsiteY668" fmla="*/ 1029409 h 6858000"/>
              <a:gd name="connsiteX669" fmla="*/ 1232525 w 7467600"/>
              <a:gd name="connsiteY669" fmla="*/ 1804675 h 6858000"/>
              <a:gd name="connsiteX670" fmla="*/ 1388858 w 7467600"/>
              <a:gd name="connsiteY670" fmla="*/ 2368011 h 6858000"/>
              <a:gd name="connsiteX671" fmla="*/ 1384098 w 7467600"/>
              <a:gd name="connsiteY671" fmla="*/ 2378125 h 6858000"/>
              <a:gd name="connsiteX672" fmla="*/ 1425393 w 7467600"/>
              <a:gd name="connsiteY672" fmla="*/ 2589124 h 6858000"/>
              <a:gd name="connsiteX673" fmla="*/ 1424001 w 7467600"/>
              <a:gd name="connsiteY673" fmla="*/ 2597541 h 6858000"/>
              <a:gd name="connsiteX674" fmla="*/ 2152729 w 7467600"/>
              <a:gd name="connsiteY674" fmla="*/ 2864487 h 6858000"/>
              <a:gd name="connsiteX675" fmla="*/ 2020609 w 7467600"/>
              <a:gd name="connsiteY675" fmla="*/ 2539671 h 6858000"/>
              <a:gd name="connsiteX676" fmla="*/ 2018920 w 7467600"/>
              <a:gd name="connsiteY676" fmla="*/ 2536309 h 6858000"/>
              <a:gd name="connsiteX677" fmla="*/ 1342441 w 7467600"/>
              <a:gd name="connsiteY677" fmla="*/ 1173017 h 6858000"/>
              <a:gd name="connsiteX678" fmla="*/ 1367925 w 7467600"/>
              <a:gd name="connsiteY678" fmla="*/ 1135648 h 6858000"/>
              <a:gd name="connsiteX679" fmla="*/ 1771401 w 7467600"/>
              <a:gd name="connsiteY679" fmla="*/ 1806673 h 6858000"/>
              <a:gd name="connsiteX680" fmla="*/ 1972385 w 7467600"/>
              <a:gd name="connsiteY680" fmla="*/ 2198735 h 6858000"/>
              <a:gd name="connsiteX681" fmla="*/ 2040892 w 7467600"/>
              <a:gd name="connsiteY681" fmla="*/ 2405205 h 6858000"/>
              <a:gd name="connsiteX682" fmla="*/ 2131689 w 7467600"/>
              <a:gd name="connsiteY682" fmla="*/ 1936926 h 6858000"/>
              <a:gd name="connsiteX683" fmla="*/ 2454820 w 7467600"/>
              <a:gd name="connsiteY683" fmla="*/ 1248808 h 6858000"/>
              <a:gd name="connsiteX684" fmla="*/ 2492512 w 7467600"/>
              <a:gd name="connsiteY684" fmla="*/ 1302920 h 6858000"/>
              <a:gd name="connsiteX685" fmla="*/ 2081216 w 7467600"/>
              <a:gd name="connsiteY685" fmla="*/ 2527513 h 6858000"/>
              <a:gd name="connsiteX686" fmla="*/ 2081211 w 7467600"/>
              <a:gd name="connsiteY686" fmla="*/ 2528916 h 6858000"/>
              <a:gd name="connsiteX687" fmla="*/ 2199067 w 7467600"/>
              <a:gd name="connsiteY687" fmla="*/ 2884061 h 6858000"/>
              <a:gd name="connsiteX688" fmla="*/ 3192586 w 7467600"/>
              <a:gd name="connsiteY688" fmla="*/ 3411496 h 6858000"/>
              <a:gd name="connsiteX689" fmla="*/ 3182620 w 7467600"/>
              <a:gd name="connsiteY689" fmla="*/ 3483279 h 6858000"/>
              <a:gd name="connsiteX690" fmla="*/ 2435119 w 7467600"/>
              <a:gd name="connsiteY690" fmla="*/ 3080173 h 6858000"/>
              <a:gd name="connsiteX691" fmla="*/ 2410152 w 7467600"/>
              <a:gd name="connsiteY691" fmla="*/ 3063751 h 6858000"/>
              <a:gd name="connsiteX692" fmla="*/ 2408099 w 7467600"/>
              <a:gd name="connsiteY692" fmla="*/ 3064403 h 6858000"/>
              <a:gd name="connsiteX693" fmla="*/ 2407218 w 7467600"/>
              <a:gd name="connsiteY693" fmla="*/ 3070324 h 6858000"/>
              <a:gd name="connsiteX694" fmla="*/ 2380138 w 7467600"/>
              <a:gd name="connsiteY694" fmla="*/ 3099341 h 6858000"/>
              <a:gd name="connsiteX695" fmla="*/ 1765923 w 7467600"/>
              <a:gd name="connsiteY695" fmla="*/ 3581043 h 6858000"/>
              <a:gd name="connsiteX696" fmla="*/ 1702258 w 7467600"/>
              <a:gd name="connsiteY696" fmla="*/ 3612286 h 6858000"/>
              <a:gd name="connsiteX697" fmla="*/ 1538370 w 7467600"/>
              <a:gd name="connsiteY697" fmla="*/ 3811804 h 6858000"/>
              <a:gd name="connsiteX698" fmla="*/ 542867 w 7467600"/>
              <a:gd name="connsiteY698" fmla="*/ 4944092 h 6858000"/>
              <a:gd name="connsiteX699" fmla="*/ 515800 w 7467600"/>
              <a:gd name="connsiteY699" fmla="*/ 4862180 h 6858000"/>
              <a:gd name="connsiteX700" fmla="*/ 909145 w 7467600"/>
              <a:gd name="connsiteY700" fmla="*/ 4199225 h 6858000"/>
              <a:gd name="connsiteX701" fmla="*/ 1214067 w 7467600"/>
              <a:gd name="connsiteY701" fmla="*/ 3908561 h 6858000"/>
              <a:gd name="connsiteX702" fmla="*/ 640967 w 7467600"/>
              <a:gd name="connsiteY702" fmla="*/ 4105601 h 6858000"/>
              <a:gd name="connsiteX703" fmla="*/ 112563 w 7467600"/>
              <a:gd name="connsiteY703" fmla="*/ 4396952 h 6858000"/>
              <a:gd name="connsiteX704" fmla="*/ 0 w 7467600"/>
              <a:gd name="connsiteY704" fmla="*/ 4466006 h 6858000"/>
              <a:gd name="connsiteX705" fmla="*/ 0 w 7467600"/>
              <a:gd name="connsiteY705" fmla="*/ 4233763 h 6858000"/>
              <a:gd name="connsiteX706" fmla="*/ 36881 w 7467600"/>
              <a:gd name="connsiteY706" fmla="*/ 4200118 h 6858000"/>
              <a:gd name="connsiteX707" fmla="*/ 910534 w 7467600"/>
              <a:gd name="connsiteY707" fmla="*/ 3629753 h 6858000"/>
              <a:gd name="connsiteX708" fmla="*/ 1578717 w 7467600"/>
              <a:gd name="connsiteY708" fmla="*/ 3575982 h 6858000"/>
              <a:gd name="connsiteX709" fmla="*/ 2338780 w 7467600"/>
              <a:gd name="connsiteY709" fmla="*/ 3033725 h 6858000"/>
              <a:gd name="connsiteX710" fmla="*/ 1807991 w 7467600"/>
              <a:gd name="connsiteY710" fmla="*/ 2807184 h 6858000"/>
              <a:gd name="connsiteX711" fmla="*/ 1416358 w 7467600"/>
              <a:gd name="connsiteY711" fmla="*/ 3112571 h 6858000"/>
              <a:gd name="connsiteX712" fmla="*/ 939066 w 7467600"/>
              <a:gd name="connsiteY712" fmla="*/ 3378798 h 6858000"/>
              <a:gd name="connsiteX713" fmla="*/ 115099 w 7467600"/>
              <a:gd name="connsiteY713" fmla="*/ 3607650 h 6858000"/>
              <a:gd name="connsiteX714" fmla="*/ 97284 w 7467600"/>
              <a:gd name="connsiteY714" fmla="*/ 3520393 h 6858000"/>
              <a:gd name="connsiteX715" fmla="*/ 922050 w 7467600"/>
              <a:gd name="connsiteY715" fmla="*/ 3074867 h 6858000"/>
              <a:gd name="connsiteX716" fmla="*/ 1405265 w 7467600"/>
              <a:gd name="connsiteY716" fmla="*/ 3016319 h 6858000"/>
              <a:gd name="connsiteX717" fmla="*/ 1407512 w 7467600"/>
              <a:gd name="connsiteY717" fmla="*/ 3018001 h 6858000"/>
              <a:gd name="connsiteX718" fmla="*/ 1726266 w 7467600"/>
              <a:gd name="connsiteY718" fmla="*/ 2777274 h 6858000"/>
              <a:gd name="connsiteX719" fmla="*/ 625390 w 7467600"/>
              <a:gd name="connsiteY719" fmla="*/ 2514541 h 6858000"/>
              <a:gd name="connsiteX720" fmla="*/ 619799 w 7467600"/>
              <a:gd name="connsiteY720" fmla="*/ 2527180 h 6858000"/>
              <a:gd name="connsiteX721" fmla="*/ 310030 w 7467600"/>
              <a:gd name="connsiteY721" fmla="*/ 2771818 h 6858000"/>
              <a:gd name="connsiteX722" fmla="*/ 173877 w 7467600"/>
              <a:gd name="connsiteY722" fmla="*/ 2937056 h 6858000"/>
              <a:gd name="connsiteX723" fmla="*/ 77889 w 7467600"/>
              <a:gd name="connsiteY723" fmla="*/ 3138440 h 6858000"/>
              <a:gd name="connsiteX724" fmla="*/ 0 w 7467600"/>
              <a:gd name="connsiteY724" fmla="*/ 3271395 h 6858000"/>
              <a:gd name="connsiteX725" fmla="*/ 0 w 7467600"/>
              <a:gd name="connsiteY725" fmla="*/ 3153002 h 6858000"/>
              <a:gd name="connsiteX726" fmla="*/ 2386 w 7467600"/>
              <a:gd name="connsiteY726" fmla="*/ 3149203 h 6858000"/>
              <a:gd name="connsiteX727" fmla="*/ 89753 w 7467600"/>
              <a:gd name="connsiteY727" fmla="*/ 2987702 h 6858000"/>
              <a:gd name="connsiteX728" fmla="*/ 76869 w 7467600"/>
              <a:gd name="connsiteY728" fmla="*/ 3005404 h 6858000"/>
              <a:gd name="connsiteX729" fmla="*/ 32049 w 7467600"/>
              <a:gd name="connsiteY729" fmla="*/ 3065814 h 6858000"/>
              <a:gd name="connsiteX730" fmla="*/ 0 w 7467600"/>
              <a:gd name="connsiteY730" fmla="*/ 3108744 h 6858000"/>
              <a:gd name="connsiteX731" fmla="*/ 0 w 7467600"/>
              <a:gd name="connsiteY731" fmla="*/ 3058059 h 6858000"/>
              <a:gd name="connsiteX732" fmla="*/ 7610 w 7467600"/>
              <a:gd name="connsiteY732" fmla="*/ 3047889 h 6858000"/>
              <a:gd name="connsiteX733" fmla="*/ 52419 w 7467600"/>
              <a:gd name="connsiteY733" fmla="*/ 2987479 h 6858000"/>
              <a:gd name="connsiteX734" fmla="*/ 59142 w 7467600"/>
              <a:gd name="connsiteY734" fmla="*/ 2978488 h 6858000"/>
              <a:gd name="connsiteX735" fmla="*/ 0 w 7467600"/>
              <a:gd name="connsiteY735" fmla="*/ 3015334 h 6858000"/>
              <a:gd name="connsiteX736" fmla="*/ 0 w 7467600"/>
              <a:gd name="connsiteY736" fmla="*/ 2914286 h 6858000"/>
              <a:gd name="connsiteX737" fmla="*/ 36383 w 7467600"/>
              <a:gd name="connsiteY737" fmla="*/ 2901128 h 6858000"/>
              <a:gd name="connsiteX738" fmla="*/ 156329 w 7467600"/>
              <a:gd name="connsiteY738" fmla="*/ 2840533 h 6858000"/>
              <a:gd name="connsiteX739" fmla="*/ 358355 w 7467600"/>
              <a:gd name="connsiteY739" fmla="*/ 2620471 h 6858000"/>
              <a:gd name="connsiteX740" fmla="*/ 510577 w 7467600"/>
              <a:gd name="connsiteY740" fmla="*/ 2501244 h 6858000"/>
              <a:gd name="connsiteX741" fmla="*/ 211967 w 7467600"/>
              <a:gd name="connsiteY741" fmla="*/ 2479171 h 6858000"/>
              <a:gd name="connsiteX742" fmla="*/ 0 w 7467600"/>
              <a:gd name="connsiteY742" fmla="*/ 2476398 h 6858000"/>
              <a:gd name="connsiteX743" fmla="*/ 0 w 7467600"/>
              <a:gd name="connsiteY743" fmla="*/ 2389189 h 6858000"/>
              <a:gd name="connsiteX744" fmla="*/ 103062 w 7467600"/>
              <a:gd name="connsiteY744" fmla="*/ 2389518 h 6858000"/>
              <a:gd name="connsiteX745" fmla="*/ 510734 w 7467600"/>
              <a:gd name="connsiteY745" fmla="*/ 2416201 h 6858000"/>
              <a:gd name="connsiteX746" fmla="*/ 279257 w 7467600"/>
              <a:gd name="connsiteY746" fmla="*/ 2092102 h 6858000"/>
              <a:gd name="connsiteX747" fmla="*/ 65265 w 7467600"/>
              <a:gd name="connsiteY747" fmla="*/ 2006049 h 6858000"/>
              <a:gd name="connsiteX748" fmla="*/ 0 w 7467600"/>
              <a:gd name="connsiteY748" fmla="*/ 1982532 h 6858000"/>
              <a:gd name="connsiteX749" fmla="*/ 0 w 7467600"/>
              <a:gd name="connsiteY749" fmla="*/ 1912789 h 6858000"/>
              <a:gd name="connsiteX750" fmla="*/ 97460 w 7467600"/>
              <a:gd name="connsiteY750" fmla="*/ 1953725 h 6858000"/>
              <a:gd name="connsiteX751" fmla="*/ 221272 w 7467600"/>
              <a:gd name="connsiteY751" fmla="*/ 1980766 h 6858000"/>
              <a:gd name="connsiteX752" fmla="*/ 116765 w 7467600"/>
              <a:gd name="connsiteY752" fmla="*/ 1911033 h 6858000"/>
              <a:gd name="connsiteX753" fmla="*/ 16405 w 7467600"/>
              <a:gd name="connsiteY753" fmla="*/ 1803412 h 6858000"/>
              <a:gd name="connsiteX754" fmla="*/ 0 w 7467600"/>
              <a:gd name="connsiteY754" fmla="*/ 1784777 h 6858000"/>
              <a:gd name="connsiteX755" fmla="*/ 0 w 7467600"/>
              <a:gd name="connsiteY755" fmla="*/ 1740082 h 6858000"/>
              <a:gd name="connsiteX756" fmla="*/ 39394 w 7467600"/>
              <a:gd name="connsiteY756" fmla="*/ 1784856 h 6858000"/>
              <a:gd name="connsiteX757" fmla="*/ 135813 w 7467600"/>
              <a:gd name="connsiteY757" fmla="*/ 1888838 h 6858000"/>
              <a:gd name="connsiteX758" fmla="*/ 242575 w 7467600"/>
              <a:gd name="connsiteY758" fmla="*/ 1958841 h 6858000"/>
              <a:gd name="connsiteX759" fmla="*/ 82197 w 7467600"/>
              <a:gd name="connsiteY759" fmla="*/ 1754826 h 6858000"/>
              <a:gd name="connsiteX760" fmla="*/ 0 w 7467600"/>
              <a:gd name="connsiteY760" fmla="*/ 1679650 h 6858000"/>
              <a:gd name="connsiteX761" fmla="*/ 0 w 7467600"/>
              <a:gd name="connsiteY761" fmla="*/ 1602463 h 6858000"/>
              <a:gd name="connsiteX762" fmla="*/ 84689 w 7467600"/>
              <a:gd name="connsiteY762" fmla="*/ 1677442 h 6858000"/>
              <a:gd name="connsiteX763" fmla="*/ 298437 w 7467600"/>
              <a:gd name="connsiteY763" fmla="*/ 1968019 h 6858000"/>
              <a:gd name="connsiteX764" fmla="*/ 227269 w 7467600"/>
              <a:gd name="connsiteY764" fmla="*/ 1114064 h 6858000"/>
              <a:gd name="connsiteX765" fmla="*/ 248003 w 7467600"/>
              <a:gd name="connsiteY765" fmla="*/ 1089613 h 6858000"/>
              <a:gd name="connsiteX766" fmla="*/ 427020 w 7467600"/>
              <a:gd name="connsiteY766" fmla="*/ 1619803 h 6858000"/>
              <a:gd name="connsiteX767" fmla="*/ 340345 w 7467600"/>
              <a:gd name="connsiteY767" fmla="*/ 2027739 h 6858000"/>
              <a:gd name="connsiteX768" fmla="*/ 360865 w 7467600"/>
              <a:gd name="connsiteY768" fmla="*/ 2044827 h 6858000"/>
              <a:gd name="connsiteX769" fmla="*/ 560414 w 7467600"/>
              <a:gd name="connsiteY769" fmla="*/ 2421457 h 6858000"/>
              <a:gd name="connsiteX770" fmla="*/ 1359703 w 7467600"/>
              <a:gd name="connsiteY770" fmla="*/ 2578554 h 6858000"/>
              <a:gd name="connsiteX771" fmla="*/ 1359422 w 7467600"/>
              <a:gd name="connsiteY771" fmla="*/ 2577994 h 6858000"/>
              <a:gd name="connsiteX772" fmla="*/ 828701 w 7467600"/>
              <a:gd name="connsiteY772" fmla="*/ 1839520 h 6858000"/>
              <a:gd name="connsiteX773" fmla="*/ 494427 w 7467600"/>
              <a:gd name="connsiteY773" fmla="*/ 1092333 h 6858000"/>
              <a:gd name="connsiteX774" fmla="*/ 506322 w 7467600"/>
              <a:gd name="connsiteY774" fmla="*/ 1020997 h 6858000"/>
              <a:gd name="connsiteX775" fmla="*/ 4570198 w 7467600"/>
              <a:gd name="connsiteY775" fmla="*/ 978081 h 6858000"/>
              <a:gd name="connsiteX776" fmla="*/ 4523691 w 7467600"/>
              <a:gd name="connsiteY776" fmla="*/ 1127776 h 6858000"/>
              <a:gd name="connsiteX777" fmla="*/ 4509875 w 7467600"/>
              <a:gd name="connsiteY777" fmla="*/ 1167552 h 6858000"/>
              <a:gd name="connsiteX778" fmla="*/ 4478168 w 7467600"/>
              <a:gd name="connsiteY778" fmla="*/ 1260735 h 6858000"/>
              <a:gd name="connsiteX779" fmla="*/ 4409309 w 7467600"/>
              <a:gd name="connsiteY779" fmla="*/ 1666996 h 6858000"/>
              <a:gd name="connsiteX780" fmla="*/ 4370031 w 7467600"/>
              <a:gd name="connsiteY780" fmla="*/ 1955666 h 6858000"/>
              <a:gd name="connsiteX781" fmla="*/ 4570198 w 7467600"/>
              <a:gd name="connsiteY781" fmla="*/ 978081 h 6858000"/>
              <a:gd name="connsiteX782" fmla="*/ 4557898 w 7467600"/>
              <a:gd name="connsiteY782" fmla="*/ 900011 h 6858000"/>
              <a:gd name="connsiteX783" fmla="*/ 4344840 w 7467600"/>
              <a:gd name="connsiteY783" fmla="*/ 1922038 h 6858000"/>
              <a:gd name="connsiteX784" fmla="*/ 4378710 w 7467600"/>
              <a:gd name="connsiteY784" fmla="*/ 1665516 h 6858000"/>
              <a:gd name="connsiteX785" fmla="*/ 4448798 w 7467600"/>
              <a:gd name="connsiteY785" fmla="*/ 1253024 h 6858000"/>
              <a:gd name="connsiteX786" fmla="*/ 4480315 w 7467600"/>
              <a:gd name="connsiteY786" fmla="*/ 1158454 h 6858000"/>
              <a:gd name="connsiteX787" fmla="*/ 4494133 w 7467600"/>
              <a:gd name="connsiteY787" fmla="*/ 1118676 h 6858000"/>
              <a:gd name="connsiteX788" fmla="*/ 4557898 w 7467600"/>
              <a:gd name="connsiteY788" fmla="*/ 900011 h 6858000"/>
              <a:gd name="connsiteX789" fmla="*/ 5870151 w 7467600"/>
              <a:gd name="connsiteY789" fmla="*/ 898890 h 6858000"/>
              <a:gd name="connsiteX790" fmla="*/ 5861335 w 7467600"/>
              <a:gd name="connsiteY790" fmla="*/ 899177 h 6858000"/>
              <a:gd name="connsiteX791" fmla="*/ 5843702 w 7467600"/>
              <a:gd name="connsiteY791" fmla="*/ 899748 h 6858000"/>
              <a:gd name="connsiteX792" fmla="*/ 5651107 w 7467600"/>
              <a:gd name="connsiteY792" fmla="*/ 920306 h 6858000"/>
              <a:gd name="connsiteX793" fmla="*/ 5459407 w 7467600"/>
              <a:gd name="connsiteY793" fmla="*/ 940975 h 6858000"/>
              <a:gd name="connsiteX794" fmla="*/ 5374846 w 7467600"/>
              <a:gd name="connsiteY794" fmla="*/ 941988 h 6858000"/>
              <a:gd name="connsiteX795" fmla="*/ 5256105 w 7467600"/>
              <a:gd name="connsiteY795" fmla="*/ 945632 h 6858000"/>
              <a:gd name="connsiteX796" fmla="*/ 5107071 w 7467600"/>
              <a:gd name="connsiteY796" fmla="*/ 969720 h 6858000"/>
              <a:gd name="connsiteX797" fmla="*/ 4998681 w 7467600"/>
              <a:gd name="connsiteY797" fmla="*/ 988771 h 6858000"/>
              <a:gd name="connsiteX798" fmla="*/ 5870151 w 7467600"/>
              <a:gd name="connsiteY798" fmla="*/ 898890 h 6858000"/>
              <a:gd name="connsiteX799" fmla="*/ 5504425 w 7467600"/>
              <a:gd name="connsiteY799" fmla="*/ 848067 h 6858000"/>
              <a:gd name="connsiteX800" fmla="*/ 4968849 w 7467600"/>
              <a:gd name="connsiteY800" fmla="*/ 962318 h 6858000"/>
              <a:gd name="connsiteX801" fmla="*/ 5104039 w 7467600"/>
              <a:gd name="connsiteY801" fmla="*/ 940634 h 6858000"/>
              <a:gd name="connsiteX802" fmla="*/ 5256311 w 7467600"/>
              <a:gd name="connsiteY802" fmla="*/ 916490 h 6858000"/>
              <a:gd name="connsiteX803" fmla="*/ 5377381 w 7467600"/>
              <a:gd name="connsiteY803" fmla="*/ 912671 h 6858000"/>
              <a:gd name="connsiteX804" fmla="*/ 5460148 w 7467600"/>
              <a:gd name="connsiteY804" fmla="*/ 911442 h 6858000"/>
              <a:gd name="connsiteX805" fmla="*/ 5648971 w 7467600"/>
              <a:gd name="connsiteY805" fmla="*/ 891331 h 6858000"/>
              <a:gd name="connsiteX806" fmla="*/ 5844807 w 7467600"/>
              <a:gd name="connsiteY806" fmla="*/ 870718 h 6858000"/>
              <a:gd name="connsiteX807" fmla="*/ 5862975 w 7467600"/>
              <a:gd name="connsiteY807" fmla="*/ 869756 h 6858000"/>
              <a:gd name="connsiteX808" fmla="*/ 5920887 w 7467600"/>
              <a:gd name="connsiteY808" fmla="*/ 865929 h 6858000"/>
              <a:gd name="connsiteX809" fmla="*/ 5504425 w 7467600"/>
              <a:gd name="connsiteY809" fmla="*/ 848067 h 6858000"/>
              <a:gd name="connsiteX810" fmla="*/ 3607114 w 7467600"/>
              <a:gd name="connsiteY810" fmla="*/ 467441 h 6858000"/>
              <a:gd name="connsiteX811" fmla="*/ 3296242 w 7467600"/>
              <a:gd name="connsiteY811" fmla="*/ 807991 h 6858000"/>
              <a:gd name="connsiteX812" fmla="*/ 3174674 w 7467600"/>
              <a:gd name="connsiteY812" fmla="*/ 919759 h 6858000"/>
              <a:gd name="connsiteX813" fmla="*/ 3042978 w 7467600"/>
              <a:gd name="connsiteY813" fmla="*/ 1054894 h 6858000"/>
              <a:gd name="connsiteX814" fmla="*/ 2968914 w 7467600"/>
              <a:gd name="connsiteY814" fmla="*/ 1133756 h 6858000"/>
              <a:gd name="connsiteX815" fmla="*/ 3103823 w 7467600"/>
              <a:gd name="connsiteY815" fmla="*/ 1026814 h 6858000"/>
              <a:gd name="connsiteX816" fmla="*/ 3607114 w 7467600"/>
              <a:gd name="connsiteY816" fmla="*/ 467441 h 6858000"/>
              <a:gd name="connsiteX817" fmla="*/ 3744487 w 7467600"/>
              <a:gd name="connsiteY817" fmla="*/ 383136 h 6858000"/>
              <a:gd name="connsiteX818" fmla="*/ 3970213 w 7467600"/>
              <a:gd name="connsiteY818" fmla="*/ 995559 h 6858000"/>
              <a:gd name="connsiteX819" fmla="*/ 3744487 w 7467600"/>
              <a:gd name="connsiteY819" fmla="*/ 383136 h 6858000"/>
              <a:gd name="connsiteX820" fmla="*/ 3624562 w 7467600"/>
              <a:gd name="connsiteY820" fmla="*/ 367041 h 6858000"/>
              <a:gd name="connsiteX821" fmla="*/ 3489712 w 7467600"/>
              <a:gd name="connsiteY821" fmla="*/ 485386 h 6858000"/>
              <a:gd name="connsiteX822" fmla="*/ 3182994 w 7467600"/>
              <a:gd name="connsiteY822" fmla="*/ 828265 h 6858000"/>
              <a:gd name="connsiteX823" fmla="*/ 2892114 w 7467600"/>
              <a:gd name="connsiteY823" fmla="*/ 1172635 h 6858000"/>
              <a:gd name="connsiteX824" fmla="*/ 3021459 w 7467600"/>
              <a:gd name="connsiteY824" fmla="*/ 1035385 h 6858000"/>
              <a:gd name="connsiteX825" fmla="*/ 3153873 w 7467600"/>
              <a:gd name="connsiteY825" fmla="*/ 898971 h 6858000"/>
              <a:gd name="connsiteX826" fmla="*/ 3276511 w 7467600"/>
              <a:gd name="connsiteY826" fmla="*/ 786423 h 6858000"/>
              <a:gd name="connsiteX827" fmla="*/ 3584154 w 7467600"/>
              <a:gd name="connsiteY827" fmla="*/ 448218 h 6858000"/>
              <a:gd name="connsiteX828" fmla="*/ 3624562 w 7467600"/>
              <a:gd name="connsiteY828" fmla="*/ 367041 h 6858000"/>
              <a:gd name="connsiteX829" fmla="*/ 3766672 w 7467600"/>
              <a:gd name="connsiteY829" fmla="*/ 359429 h 6858000"/>
              <a:gd name="connsiteX830" fmla="*/ 3996338 w 7467600"/>
              <a:gd name="connsiteY830" fmla="*/ 968237 h 6858000"/>
              <a:gd name="connsiteX831" fmla="*/ 3766672 w 7467600"/>
              <a:gd name="connsiteY831" fmla="*/ 359429 h 6858000"/>
              <a:gd name="connsiteX832" fmla="*/ 5805386 w 7467600"/>
              <a:gd name="connsiteY832" fmla="*/ 239240 h 6858000"/>
              <a:gd name="connsiteX833" fmla="*/ 5736947 w 7467600"/>
              <a:gd name="connsiteY833" fmla="*/ 261367 h 6858000"/>
              <a:gd name="connsiteX834" fmla="*/ 5427012 w 7467600"/>
              <a:gd name="connsiteY834" fmla="*/ 311272 h 6858000"/>
              <a:gd name="connsiteX835" fmla="*/ 5147818 w 7467600"/>
              <a:gd name="connsiteY835" fmla="*/ 322112 h 6858000"/>
              <a:gd name="connsiteX836" fmla="*/ 5060854 w 7467600"/>
              <a:gd name="connsiteY836" fmla="*/ 311882 h 6858000"/>
              <a:gd name="connsiteX837" fmla="*/ 4945989 w 7467600"/>
              <a:gd name="connsiteY837" fmla="*/ 300516 h 6858000"/>
              <a:gd name="connsiteX838" fmla="*/ 5410479 w 7467600"/>
              <a:gd name="connsiteY838" fmla="*/ 348434 h 6858000"/>
              <a:gd name="connsiteX839" fmla="*/ 5805386 w 7467600"/>
              <a:gd name="connsiteY839" fmla="*/ 239240 h 6858000"/>
              <a:gd name="connsiteX840" fmla="*/ 5905192 w 7467600"/>
              <a:gd name="connsiteY840" fmla="*/ 163079 h 6858000"/>
              <a:gd name="connsiteX841" fmla="*/ 5865655 w 7467600"/>
              <a:gd name="connsiteY841" fmla="*/ 171901 h 6858000"/>
              <a:gd name="connsiteX842" fmla="*/ 5259740 w 7467600"/>
              <a:gd name="connsiteY842" fmla="*/ 257013 h 6858000"/>
              <a:gd name="connsiteX843" fmla="*/ 5208466 w 7467600"/>
              <a:gd name="connsiteY843" fmla="*/ 257550 h 6858000"/>
              <a:gd name="connsiteX844" fmla="*/ 4980204 w 7467600"/>
              <a:gd name="connsiteY844" fmla="*/ 271903 h 6858000"/>
              <a:gd name="connsiteX845" fmla="*/ 5068068 w 7467600"/>
              <a:gd name="connsiteY845" fmla="*/ 282244 h 6858000"/>
              <a:gd name="connsiteX846" fmla="*/ 5153231 w 7467600"/>
              <a:gd name="connsiteY846" fmla="*/ 292240 h 6858000"/>
              <a:gd name="connsiteX847" fmla="*/ 5426491 w 7467600"/>
              <a:gd name="connsiteY847" fmla="*/ 281128 h 6858000"/>
              <a:gd name="connsiteX848" fmla="*/ 5731212 w 7467600"/>
              <a:gd name="connsiteY848" fmla="*/ 231951 h 6858000"/>
              <a:gd name="connsiteX849" fmla="*/ 5905192 w 7467600"/>
              <a:gd name="connsiteY849" fmla="*/ 163079 h 6858000"/>
              <a:gd name="connsiteX850" fmla="*/ 5944437 w 7467600"/>
              <a:gd name="connsiteY850" fmla="*/ 113829 h 6858000"/>
              <a:gd name="connsiteX851" fmla="*/ 5825032 w 7467600"/>
              <a:gd name="connsiteY851" fmla="*/ 146405 h 6858000"/>
              <a:gd name="connsiteX852" fmla="*/ 4955599 w 7467600"/>
              <a:gd name="connsiteY852" fmla="*/ 247008 h 6858000"/>
              <a:gd name="connsiteX853" fmla="*/ 5210104 w 7467600"/>
              <a:gd name="connsiteY853" fmla="*/ 228123 h 6858000"/>
              <a:gd name="connsiteX854" fmla="*/ 5261015 w 7467600"/>
              <a:gd name="connsiteY854" fmla="*/ 227087 h 6858000"/>
              <a:gd name="connsiteX855" fmla="*/ 5861181 w 7467600"/>
              <a:gd name="connsiteY855" fmla="*/ 143093 h 6858000"/>
              <a:gd name="connsiteX856" fmla="*/ 5961252 w 7467600"/>
              <a:gd name="connsiteY856" fmla="*/ 114820 h 6858000"/>
              <a:gd name="connsiteX857" fmla="*/ 5944437 w 7467600"/>
              <a:gd name="connsiteY857" fmla="*/ 113829 h 6858000"/>
              <a:gd name="connsiteX858" fmla="*/ 3882765 w 7467600"/>
              <a:gd name="connsiteY858" fmla="*/ 0 h 6858000"/>
              <a:gd name="connsiteX859" fmla="*/ 3995099 w 7467600"/>
              <a:gd name="connsiteY859" fmla="*/ 0 h 6858000"/>
              <a:gd name="connsiteX860" fmla="*/ 4163818 w 7467600"/>
              <a:gd name="connsiteY860" fmla="*/ 234104 h 6858000"/>
              <a:gd name="connsiteX861" fmla="*/ 4172099 w 7467600"/>
              <a:gd name="connsiteY861" fmla="*/ 234207 h 6858000"/>
              <a:gd name="connsiteX862" fmla="*/ 4784282 w 7467600"/>
              <a:gd name="connsiteY862" fmla="*/ 276561 h 6858000"/>
              <a:gd name="connsiteX863" fmla="*/ 4801687 w 7467600"/>
              <a:gd name="connsiteY863" fmla="*/ 267764 h 6858000"/>
              <a:gd name="connsiteX864" fmla="*/ 6082788 w 7467600"/>
              <a:gd name="connsiteY864" fmla="*/ 64119 h 6858000"/>
              <a:gd name="connsiteX865" fmla="*/ 6099442 w 7467600"/>
              <a:gd name="connsiteY865" fmla="*/ 82568 h 6858000"/>
              <a:gd name="connsiteX866" fmla="*/ 4804137 w 7467600"/>
              <a:gd name="connsiteY866" fmla="*/ 320931 h 6858000"/>
              <a:gd name="connsiteX867" fmla="*/ 4227047 w 7467600"/>
              <a:gd name="connsiteY867" fmla="*/ 313415 h 6858000"/>
              <a:gd name="connsiteX868" fmla="*/ 4346041 w 7467600"/>
              <a:gd name="connsiteY868" fmla="*/ 456086 h 6858000"/>
              <a:gd name="connsiteX869" fmla="*/ 4870967 w 7467600"/>
              <a:gd name="connsiteY869" fmla="*/ 963061 h 6858000"/>
              <a:gd name="connsiteX870" fmla="*/ 4889647 w 7467600"/>
              <a:gd name="connsiteY870" fmla="*/ 957147 h 6858000"/>
              <a:gd name="connsiteX871" fmla="*/ 5422504 w 7467600"/>
              <a:gd name="connsiteY871" fmla="*/ 805191 h 6858000"/>
              <a:gd name="connsiteX872" fmla="*/ 6087656 w 7467600"/>
              <a:gd name="connsiteY872" fmla="*/ 826703 h 6858000"/>
              <a:gd name="connsiteX873" fmla="*/ 6058717 w 7467600"/>
              <a:gd name="connsiteY873" fmla="*/ 865992 h 6858000"/>
              <a:gd name="connsiteX874" fmla="*/ 4974153 w 7467600"/>
              <a:gd name="connsiteY874" fmla="*/ 1045456 h 6858000"/>
              <a:gd name="connsiteX875" fmla="*/ 5627835 w 7467600"/>
              <a:gd name="connsiteY875" fmla="*/ 1472077 h 6858000"/>
              <a:gd name="connsiteX876" fmla="*/ 5629817 w 7467600"/>
              <a:gd name="connsiteY876" fmla="*/ 1471412 h 6858000"/>
              <a:gd name="connsiteX877" fmla="*/ 5634124 w 7467600"/>
              <a:gd name="connsiteY877" fmla="*/ 1470572 h 6858000"/>
              <a:gd name="connsiteX878" fmla="*/ 5755832 w 7467600"/>
              <a:gd name="connsiteY878" fmla="*/ 1383886 h 6858000"/>
              <a:gd name="connsiteX879" fmla="*/ 6014186 w 7467600"/>
              <a:gd name="connsiteY879" fmla="*/ 1279799 h 6858000"/>
              <a:gd name="connsiteX880" fmla="*/ 6901619 w 7467600"/>
              <a:gd name="connsiteY880" fmla="*/ 1047874 h 6858000"/>
              <a:gd name="connsiteX881" fmla="*/ 6931566 w 7467600"/>
              <a:gd name="connsiteY881" fmla="*/ 1062034 h 6858000"/>
              <a:gd name="connsiteX882" fmla="*/ 5790982 w 7467600"/>
              <a:gd name="connsiteY882" fmla="*/ 1561380 h 6858000"/>
              <a:gd name="connsiteX883" fmla="*/ 6188971 w 7467600"/>
              <a:gd name="connsiteY883" fmla="*/ 1755168 h 6858000"/>
              <a:gd name="connsiteX884" fmla="*/ 6202446 w 7467600"/>
              <a:gd name="connsiteY884" fmla="*/ 1752268 h 6858000"/>
              <a:gd name="connsiteX885" fmla="*/ 7179560 w 7467600"/>
              <a:gd name="connsiteY885" fmla="*/ 1467551 h 6858000"/>
              <a:gd name="connsiteX886" fmla="*/ 7158730 w 7467600"/>
              <a:gd name="connsiteY886" fmla="*/ 1507835 h 6858000"/>
              <a:gd name="connsiteX887" fmla="*/ 6326959 w 7467600"/>
              <a:gd name="connsiteY887" fmla="*/ 1817686 h 6858000"/>
              <a:gd name="connsiteX888" fmla="*/ 6537433 w 7467600"/>
              <a:gd name="connsiteY888" fmla="*/ 1907790 h 6858000"/>
              <a:gd name="connsiteX889" fmla="*/ 6550221 w 7467600"/>
              <a:gd name="connsiteY889" fmla="*/ 1910729 h 6858000"/>
              <a:gd name="connsiteX890" fmla="*/ 6964438 w 7467600"/>
              <a:gd name="connsiteY890" fmla="*/ 2209505 h 6858000"/>
              <a:gd name="connsiteX891" fmla="*/ 7367862 w 7467600"/>
              <a:gd name="connsiteY891" fmla="*/ 2806833 h 6858000"/>
              <a:gd name="connsiteX892" fmla="*/ 7364329 w 7467600"/>
              <a:gd name="connsiteY892" fmla="*/ 2826907 h 6858000"/>
              <a:gd name="connsiteX893" fmla="*/ 7290545 w 7467600"/>
              <a:gd name="connsiteY893" fmla="*/ 2850663 h 6858000"/>
              <a:gd name="connsiteX894" fmla="*/ 6472036 w 7467600"/>
              <a:gd name="connsiteY894" fmla="*/ 1959003 h 6858000"/>
              <a:gd name="connsiteX895" fmla="*/ 5792897 w 7467600"/>
              <a:gd name="connsiteY895" fmla="*/ 1647747 h 6858000"/>
              <a:gd name="connsiteX896" fmla="*/ 5842751 w 7467600"/>
              <a:gd name="connsiteY896" fmla="*/ 1816112 h 6858000"/>
              <a:gd name="connsiteX897" fmla="*/ 5847424 w 7467600"/>
              <a:gd name="connsiteY897" fmla="*/ 1815776 h 6858000"/>
              <a:gd name="connsiteX898" fmla="*/ 6399821 w 7467600"/>
              <a:gd name="connsiteY898" fmla="*/ 2344799 h 6858000"/>
              <a:gd name="connsiteX899" fmla="*/ 6323232 w 7467600"/>
              <a:gd name="connsiteY899" fmla="*/ 2389634 h 6858000"/>
              <a:gd name="connsiteX900" fmla="*/ 5942958 w 7467600"/>
              <a:gd name="connsiteY900" fmla="*/ 2077708 h 6858000"/>
              <a:gd name="connsiteX901" fmla="*/ 5921559 w 7467600"/>
              <a:gd name="connsiteY901" fmla="*/ 2378596 h 6858000"/>
              <a:gd name="connsiteX902" fmla="*/ 5817651 w 7467600"/>
              <a:gd name="connsiteY902" fmla="*/ 3023919 h 6858000"/>
              <a:gd name="connsiteX903" fmla="*/ 5729634 w 7467600"/>
              <a:gd name="connsiteY903" fmla="*/ 3051849 h 6858000"/>
              <a:gd name="connsiteX904" fmla="*/ 5611018 w 7467600"/>
              <a:gd name="connsiteY904" fmla="*/ 2316769 h 6858000"/>
              <a:gd name="connsiteX905" fmla="*/ 5687608 w 7467600"/>
              <a:gd name="connsiteY905" fmla="*/ 2039972 h 6858000"/>
              <a:gd name="connsiteX906" fmla="*/ 5657554 w 7467600"/>
              <a:gd name="connsiteY906" fmla="*/ 1576445 h 6858000"/>
              <a:gd name="connsiteX907" fmla="*/ 5150475 w 7467600"/>
              <a:gd name="connsiteY907" fmla="*/ 1274012 h 6858000"/>
              <a:gd name="connsiteX908" fmla="*/ 5349142 w 7467600"/>
              <a:gd name="connsiteY908" fmla="*/ 2204405 h 6858000"/>
              <a:gd name="connsiteX909" fmla="*/ 5262214 w 7467600"/>
              <a:gd name="connsiteY909" fmla="*/ 2233836 h 6858000"/>
              <a:gd name="connsiteX910" fmla="*/ 4981539 w 7467600"/>
              <a:gd name="connsiteY910" fmla="*/ 1542201 h 6858000"/>
              <a:gd name="connsiteX911" fmla="*/ 4958461 w 7467600"/>
              <a:gd name="connsiteY911" fmla="*/ 1136957 h 6858000"/>
              <a:gd name="connsiteX912" fmla="*/ 4655015 w 7467600"/>
              <a:gd name="connsiteY912" fmla="*/ 891426 h 6858000"/>
              <a:gd name="connsiteX913" fmla="*/ 4348002 w 7467600"/>
              <a:gd name="connsiteY913" fmla="*/ 2205895 h 6858000"/>
              <a:gd name="connsiteX914" fmla="*/ 4262250 w 7467600"/>
              <a:gd name="connsiteY914" fmla="*/ 2219972 h 6858000"/>
              <a:gd name="connsiteX915" fmla="*/ 4550611 w 7467600"/>
              <a:gd name="connsiteY915" fmla="*/ 817540 h 6858000"/>
              <a:gd name="connsiteX916" fmla="*/ 4564418 w 7467600"/>
              <a:gd name="connsiteY916" fmla="*/ 808293 h 6858000"/>
              <a:gd name="connsiteX917" fmla="*/ 4266388 w 7467600"/>
              <a:gd name="connsiteY917" fmla="*/ 500083 h 6858000"/>
              <a:gd name="connsiteX918" fmla="*/ 4032842 w 7467600"/>
              <a:gd name="connsiteY918" fmla="*/ 211809 h 6858000"/>
              <a:gd name="connsiteX919" fmla="*/ 3882765 w 7467600"/>
              <a:gd name="connsiteY919" fmla="*/ 0 h 6858000"/>
              <a:gd name="connsiteX920" fmla="*/ 3721337 w 7467600"/>
              <a:gd name="connsiteY920" fmla="*/ 0 h 6858000"/>
              <a:gd name="connsiteX921" fmla="*/ 3797544 w 7467600"/>
              <a:gd name="connsiteY921" fmla="*/ 0 h 6858000"/>
              <a:gd name="connsiteX922" fmla="*/ 3775734 w 7467600"/>
              <a:gd name="connsiteY922" fmla="*/ 95131 h 6858000"/>
              <a:gd name="connsiteX923" fmla="*/ 3724807 w 7467600"/>
              <a:gd name="connsiteY923" fmla="*/ 272257 h 6858000"/>
              <a:gd name="connsiteX924" fmla="*/ 3726844 w 7467600"/>
              <a:gd name="connsiteY924" fmla="*/ 282988 h 6858000"/>
              <a:gd name="connsiteX925" fmla="*/ 3742664 w 7467600"/>
              <a:gd name="connsiteY925" fmla="*/ 279918 h 6858000"/>
              <a:gd name="connsiteX926" fmla="*/ 4103910 w 7467600"/>
              <a:gd name="connsiteY926" fmla="*/ 1161917 h 6858000"/>
              <a:gd name="connsiteX927" fmla="*/ 4020269 w 7467600"/>
              <a:gd name="connsiteY927" fmla="*/ 1200406 h 6858000"/>
              <a:gd name="connsiteX928" fmla="*/ 3674882 w 7467600"/>
              <a:gd name="connsiteY928" fmla="*/ 488524 h 6858000"/>
              <a:gd name="connsiteX929" fmla="*/ 3132682 w 7467600"/>
              <a:gd name="connsiteY929" fmla="*/ 1072284 h 6858000"/>
              <a:gd name="connsiteX930" fmla="*/ 2716346 w 7467600"/>
              <a:gd name="connsiteY930" fmla="*/ 1276376 h 6858000"/>
              <a:gd name="connsiteX931" fmla="*/ 2716772 w 7467600"/>
              <a:gd name="connsiteY931" fmla="*/ 1255462 h 6858000"/>
              <a:gd name="connsiteX932" fmla="*/ 3471096 w 7467600"/>
              <a:gd name="connsiteY932" fmla="*/ 437072 h 6858000"/>
              <a:gd name="connsiteX933" fmla="*/ 3639057 w 7467600"/>
              <a:gd name="connsiteY933" fmla="*/ 286334 h 6858000"/>
              <a:gd name="connsiteX934" fmla="*/ 3640309 w 7467600"/>
              <a:gd name="connsiteY934" fmla="*/ 284664 h 6858000"/>
              <a:gd name="connsiteX935" fmla="*/ 3646022 w 7467600"/>
              <a:gd name="connsiteY935" fmla="*/ 276711 h 6858000"/>
              <a:gd name="connsiteX936" fmla="*/ 3707943 w 7467600"/>
              <a:gd name="connsiteY936" fmla="*/ 65958 h 6858000"/>
              <a:gd name="connsiteX937" fmla="*/ 3721337 w 7467600"/>
              <a:gd name="connsiteY937" fmla="*/ 0 h 6858000"/>
              <a:gd name="connsiteX938" fmla="*/ 2867960 w 7467600"/>
              <a:gd name="connsiteY938" fmla="*/ 0 h 6858000"/>
              <a:gd name="connsiteX939" fmla="*/ 2926351 w 7467600"/>
              <a:gd name="connsiteY939" fmla="*/ 0 h 6858000"/>
              <a:gd name="connsiteX940" fmla="*/ 2902823 w 7467600"/>
              <a:gd name="connsiteY940" fmla="*/ 262929 h 6858000"/>
              <a:gd name="connsiteX941" fmla="*/ 2940663 w 7467600"/>
              <a:gd name="connsiteY941" fmla="*/ 140884 h 6858000"/>
              <a:gd name="connsiteX942" fmla="*/ 2947039 w 7467600"/>
              <a:gd name="connsiteY942" fmla="*/ 122524 h 6858000"/>
              <a:gd name="connsiteX943" fmla="*/ 2984316 w 7467600"/>
              <a:gd name="connsiteY943" fmla="*/ 0 h 6858000"/>
              <a:gd name="connsiteX944" fmla="*/ 3016114 w 7467600"/>
              <a:gd name="connsiteY944" fmla="*/ 0 h 6858000"/>
              <a:gd name="connsiteX945" fmla="*/ 2979949 w 7467600"/>
              <a:gd name="connsiteY945" fmla="*/ 119274 h 6858000"/>
              <a:gd name="connsiteX946" fmla="*/ 3023879 w 7467600"/>
              <a:gd name="connsiteY946" fmla="*/ 0 h 6858000"/>
              <a:gd name="connsiteX947" fmla="*/ 3105400 w 7467600"/>
              <a:gd name="connsiteY947" fmla="*/ 0 h 6858000"/>
              <a:gd name="connsiteX948" fmla="*/ 3094669 w 7467600"/>
              <a:gd name="connsiteY948" fmla="*/ 30308 h 6858000"/>
              <a:gd name="connsiteX949" fmla="*/ 2901945 w 7467600"/>
              <a:gd name="connsiteY949" fmla="*/ 466538 h 6858000"/>
              <a:gd name="connsiteX950" fmla="*/ 2815209 w 7467600"/>
              <a:gd name="connsiteY950" fmla="*/ 497361 h 6858000"/>
              <a:gd name="connsiteX951" fmla="*/ 2844845 w 7467600"/>
              <a:gd name="connsiteY951" fmla="*/ 127638 h 6858000"/>
              <a:gd name="connsiteX952" fmla="*/ 2867960 w 7467600"/>
              <a:gd name="connsiteY952" fmla="*/ 0 h 6858000"/>
              <a:gd name="connsiteX953" fmla="*/ 1057230 w 7467600"/>
              <a:gd name="connsiteY953" fmla="*/ 0 h 6858000"/>
              <a:gd name="connsiteX954" fmla="*/ 1111003 w 7467600"/>
              <a:gd name="connsiteY954" fmla="*/ 0 h 6858000"/>
              <a:gd name="connsiteX955" fmla="*/ 1125553 w 7467600"/>
              <a:gd name="connsiteY955" fmla="*/ 52588 h 6858000"/>
              <a:gd name="connsiteX956" fmla="*/ 1304276 w 7467600"/>
              <a:gd name="connsiteY956" fmla="*/ 476275 h 6858000"/>
              <a:gd name="connsiteX957" fmla="*/ 1492066 w 7467600"/>
              <a:gd name="connsiteY957" fmla="*/ 886333 h 6858000"/>
              <a:gd name="connsiteX958" fmla="*/ 1423698 w 7467600"/>
              <a:gd name="connsiteY958" fmla="*/ 710817 h 6858000"/>
              <a:gd name="connsiteX959" fmla="*/ 1357609 w 7467600"/>
              <a:gd name="connsiteY959" fmla="*/ 532892 h 6858000"/>
              <a:gd name="connsiteX960" fmla="*/ 1309550 w 7467600"/>
              <a:gd name="connsiteY960" fmla="*/ 374031 h 6858000"/>
              <a:gd name="connsiteX961" fmla="*/ 1193673 w 7467600"/>
              <a:gd name="connsiteY961" fmla="*/ 49533 h 6858000"/>
              <a:gd name="connsiteX962" fmla="*/ 1164391 w 7467600"/>
              <a:gd name="connsiteY962" fmla="*/ 0 h 6858000"/>
              <a:gd name="connsiteX963" fmla="*/ 1200666 w 7467600"/>
              <a:gd name="connsiteY963" fmla="*/ 0 h 6858000"/>
              <a:gd name="connsiteX964" fmla="*/ 1223408 w 7467600"/>
              <a:gd name="connsiteY964" fmla="*/ 38996 h 6858000"/>
              <a:gd name="connsiteX965" fmla="*/ 1339635 w 7467600"/>
              <a:gd name="connsiteY965" fmla="*/ 365517 h 6858000"/>
              <a:gd name="connsiteX966" fmla="*/ 1387469 w 7467600"/>
              <a:gd name="connsiteY966" fmla="*/ 523079 h 6858000"/>
              <a:gd name="connsiteX967" fmla="*/ 1452685 w 7467600"/>
              <a:gd name="connsiteY967" fmla="*/ 699806 h 6858000"/>
              <a:gd name="connsiteX968" fmla="*/ 1492092 w 7467600"/>
              <a:gd name="connsiteY968" fmla="*/ 800424 h 6858000"/>
              <a:gd name="connsiteX969" fmla="*/ 1455302 w 7467600"/>
              <a:gd name="connsiteY969" fmla="*/ 632913 h 6858000"/>
              <a:gd name="connsiteX970" fmla="*/ 1222336 w 7467600"/>
              <a:gd name="connsiteY970" fmla="*/ 9480 h 6858000"/>
              <a:gd name="connsiteX971" fmla="*/ 1214634 w 7467600"/>
              <a:gd name="connsiteY971" fmla="*/ 0 h 6858000"/>
              <a:gd name="connsiteX972" fmla="*/ 1289827 w 7467600"/>
              <a:gd name="connsiteY972" fmla="*/ 0 h 6858000"/>
              <a:gd name="connsiteX973" fmla="*/ 1321076 w 7467600"/>
              <a:gd name="connsiteY973" fmla="*/ 59722 h 6858000"/>
              <a:gd name="connsiteX974" fmla="*/ 1512579 w 7467600"/>
              <a:gd name="connsiteY974" fmla="*/ 626441 h 6858000"/>
              <a:gd name="connsiteX975" fmla="*/ 1506076 w 7467600"/>
              <a:gd name="connsiteY975" fmla="*/ 1089289 h 6858000"/>
              <a:gd name="connsiteX976" fmla="*/ 1486346 w 7467600"/>
              <a:gd name="connsiteY976" fmla="*/ 1079919 h 6858000"/>
              <a:gd name="connsiteX977" fmla="*/ 1070511 w 7467600"/>
              <a:gd name="connsiteY977" fmla="*/ 48609 h 6858000"/>
              <a:gd name="connsiteX978" fmla="*/ 1057230 w 7467600"/>
              <a:gd name="connsiteY978" fmla="*/ 0 h 6858000"/>
              <a:gd name="connsiteX979" fmla="*/ 43151 w 7467600"/>
              <a:gd name="connsiteY979" fmla="*/ 0 h 6858000"/>
              <a:gd name="connsiteX980" fmla="*/ 95283 w 7467600"/>
              <a:gd name="connsiteY980" fmla="*/ 0 h 6858000"/>
              <a:gd name="connsiteX981" fmla="*/ 300708 w 7467600"/>
              <a:gd name="connsiteY981" fmla="*/ 154571 h 6858000"/>
              <a:gd name="connsiteX982" fmla="*/ 530414 w 7467600"/>
              <a:gd name="connsiteY982" fmla="*/ 354673 h 6858000"/>
              <a:gd name="connsiteX983" fmla="*/ 333785 w 7467600"/>
              <a:gd name="connsiteY983" fmla="*/ 161564 h 6858000"/>
              <a:gd name="connsiteX984" fmla="*/ 147005 w 7467600"/>
              <a:gd name="connsiteY984" fmla="*/ 0 h 6858000"/>
              <a:gd name="connsiteX985" fmla="*/ 272509 w 7467600"/>
              <a:gd name="connsiteY985" fmla="*/ 0 h 6858000"/>
              <a:gd name="connsiteX986" fmla="*/ 326276 w 7467600"/>
              <a:gd name="connsiteY986" fmla="*/ 45847 h 6858000"/>
              <a:gd name="connsiteX987" fmla="*/ 823759 w 7467600"/>
              <a:gd name="connsiteY987" fmla="*/ 574145 h 6858000"/>
              <a:gd name="connsiteX988" fmla="*/ 811254 w 7467600"/>
              <a:gd name="connsiteY988" fmla="*/ 665546 h 6858000"/>
              <a:gd name="connsiteX989" fmla="*/ 154042 w 7467600"/>
              <a:gd name="connsiteY989" fmla="*/ 261522 h 6858000"/>
              <a:gd name="connsiteX990" fmla="*/ 13550 w 7467600"/>
              <a:gd name="connsiteY990" fmla="*/ 158423 h 6858000"/>
              <a:gd name="connsiteX991" fmla="*/ 0 w 7467600"/>
              <a:gd name="connsiteY991" fmla="*/ 146618 h 6858000"/>
              <a:gd name="connsiteX992" fmla="*/ 0 w 7467600"/>
              <a:gd name="connsiteY992" fmla="*/ 59161 h 6858000"/>
              <a:gd name="connsiteX993" fmla="*/ 45427 w 7467600"/>
              <a:gd name="connsiteY993" fmla="*/ 101078 h 6858000"/>
              <a:gd name="connsiteX994" fmla="*/ 630103 w 7467600"/>
              <a:gd name="connsiteY994" fmla="*/ 485885 h 6858000"/>
              <a:gd name="connsiteX995" fmla="*/ 532040 w 7467600"/>
              <a:gd name="connsiteY995" fmla="*/ 399359 h 6858000"/>
              <a:gd name="connsiteX996" fmla="*/ 517618 w 7467600"/>
              <a:gd name="connsiteY996" fmla="*/ 385726 h 6858000"/>
              <a:gd name="connsiteX997" fmla="*/ 285074 w 7467600"/>
              <a:gd name="connsiteY997" fmla="*/ 182755 h 6858000"/>
              <a:gd name="connsiteX998" fmla="*/ 43151 w 7467600"/>
              <a:gd name="connsiteY998"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467600 w 7467600"/>
              <a:gd name="connsiteY127" fmla="*/ 5297634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7327465 w 7467600"/>
              <a:gd name="connsiteY139" fmla="*/ 5174181 h 6858000"/>
              <a:gd name="connsiteX140" fmla="*/ 7353035 w 7467600"/>
              <a:gd name="connsiteY140" fmla="*/ 5197318 h 6858000"/>
              <a:gd name="connsiteX141" fmla="*/ 7467600 w 7467600"/>
              <a:gd name="connsiteY141" fmla="*/ 5297634 h 6858000"/>
              <a:gd name="connsiteX142" fmla="*/ 1903353 w 7467600"/>
              <a:gd name="connsiteY142" fmla="*/ 5044827 h 6858000"/>
              <a:gd name="connsiteX143" fmla="*/ 1936931 w 7467600"/>
              <a:gd name="connsiteY143" fmla="*/ 5093954 h 6858000"/>
              <a:gd name="connsiteX144" fmla="*/ 2195868 w 7467600"/>
              <a:gd name="connsiteY144" fmla="*/ 5396574 h 6858000"/>
              <a:gd name="connsiteX145" fmla="*/ 2088852 w 7467600"/>
              <a:gd name="connsiteY145" fmla="*/ 5166123 h 6858000"/>
              <a:gd name="connsiteX146" fmla="*/ 1958241 w 7467600"/>
              <a:gd name="connsiteY146" fmla="*/ 5067955 h 6858000"/>
              <a:gd name="connsiteX147" fmla="*/ 1903353 w 7467600"/>
              <a:gd name="connsiteY147" fmla="*/ 5044827 h 6858000"/>
              <a:gd name="connsiteX148" fmla="*/ 1979378 w 7467600"/>
              <a:gd name="connsiteY148" fmla="*/ 4769504 h 6858000"/>
              <a:gd name="connsiteX149" fmla="*/ 2882120 w 7467600"/>
              <a:gd name="connsiteY149" fmla="*/ 5064547 h 6858000"/>
              <a:gd name="connsiteX150" fmla="*/ 2793103 w 7467600"/>
              <a:gd name="connsiteY150" fmla="*/ 5039699 h 6858000"/>
              <a:gd name="connsiteX151" fmla="*/ 2770041 w 7467600"/>
              <a:gd name="connsiteY151" fmla="*/ 5033634 h 6858000"/>
              <a:gd name="connsiteX152" fmla="*/ 1979378 w 7467600"/>
              <a:gd name="connsiteY152" fmla="*/ 4769504 h 6858000"/>
              <a:gd name="connsiteX153" fmla="*/ 1927410 w 7467600"/>
              <a:gd name="connsiteY153" fmla="*/ 4716164 h 6858000"/>
              <a:gd name="connsiteX154" fmla="*/ 1959587 w 7467600"/>
              <a:gd name="connsiteY154" fmla="*/ 4728849 h 6858000"/>
              <a:gd name="connsiteX155" fmla="*/ 2777707 w 7467600"/>
              <a:gd name="connsiteY155" fmla="*/ 5003991 h 6858000"/>
              <a:gd name="connsiteX156" fmla="*/ 2800768 w 7467600"/>
              <a:gd name="connsiteY156" fmla="*/ 5010056 h 6858000"/>
              <a:gd name="connsiteX157" fmla="*/ 2879408 w 7467600"/>
              <a:gd name="connsiteY157" fmla="*/ 5031590 h 6858000"/>
              <a:gd name="connsiteX158" fmla="*/ 2862295 w 7467600"/>
              <a:gd name="connsiteY158" fmla="*/ 5022958 h 6858000"/>
              <a:gd name="connsiteX159" fmla="*/ 2813343 w 7467600"/>
              <a:gd name="connsiteY159" fmla="*/ 4998369 h 6858000"/>
              <a:gd name="connsiteX160" fmla="*/ 2646245 w 7467600"/>
              <a:gd name="connsiteY160" fmla="*/ 4930999 h 6858000"/>
              <a:gd name="connsiteX161" fmla="*/ 1999243 w 7467600"/>
              <a:gd name="connsiteY161" fmla="*/ 4730524 h 6858000"/>
              <a:gd name="connsiteX162" fmla="*/ 1979527 w 7467600"/>
              <a:gd name="connsiteY162" fmla="*/ 4726651 h 6858000"/>
              <a:gd name="connsiteX163" fmla="*/ 1927410 w 7467600"/>
              <a:gd name="connsiteY163" fmla="*/ 4716164 h 6858000"/>
              <a:gd name="connsiteX164" fmla="*/ 1997014 w 7467600"/>
              <a:gd name="connsiteY164" fmla="*/ 4698007 h 6858000"/>
              <a:gd name="connsiteX165" fmla="*/ 2005458 w 7467600"/>
              <a:gd name="connsiteY165" fmla="*/ 4699540 h 6858000"/>
              <a:gd name="connsiteX166" fmla="*/ 2657186 w 7467600"/>
              <a:gd name="connsiteY166" fmla="*/ 4901687 h 6858000"/>
              <a:gd name="connsiteX167" fmla="*/ 2826662 w 7467600"/>
              <a:gd name="connsiteY167" fmla="*/ 4970362 h 6858000"/>
              <a:gd name="connsiteX168" fmla="*/ 2876100 w 7467600"/>
              <a:gd name="connsiteY168" fmla="*/ 4995397 h 6858000"/>
              <a:gd name="connsiteX169" fmla="*/ 3042600 w 7467600"/>
              <a:gd name="connsiteY169" fmla="*/ 5059532 h 6858000"/>
              <a:gd name="connsiteX170" fmla="*/ 1997014 w 7467600"/>
              <a:gd name="connsiteY170" fmla="*/ 4698007 h 6858000"/>
              <a:gd name="connsiteX171" fmla="*/ 2305292 w 7467600"/>
              <a:gd name="connsiteY171" fmla="*/ 4219492 h 6858000"/>
              <a:gd name="connsiteX172" fmla="*/ 3360922 w 7467600"/>
              <a:gd name="connsiteY172" fmla="*/ 4529373 h 6858000"/>
              <a:gd name="connsiteX173" fmla="*/ 3492420 w 7467600"/>
              <a:gd name="connsiteY173" fmla="*/ 4510145 h 6858000"/>
              <a:gd name="connsiteX174" fmla="*/ 3364086 w 7467600"/>
              <a:gd name="connsiteY174" fmla="*/ 4480340 h 6858000"/>
              <a:gd name="connsiteX175" fmla="*/ 3225818 w 7467600"/>
              <a:gd name="connsiteY175" fmla="*/ 4411822 h 6858000"/>
              <a:gd name="connsiteX176" fmla="*/ 3129696 w 7467600"/>
              <a:gd name="connsiteY176" fmla="*/ 4360704 h 6858000"/>
              <a:gd name="connsiteX177" fmla="*/ 2814545 w 7467600"/>
              <a:gd name="connsiteY177" fmla="*/ 4282955 h 6858000"/>
              <a:gd name="connsiteX178" fmla="*/ 2305292 w 7467600"/>
              <a:gd name="connsiteY178" fmla="*/ 4219492 h 6858000"/>
              <a:gd name="connsiteX179" fmla="*/ 2626982 w 7467600"/>
              <a:gd name="connsiteY179" fmla="*/ 4206450 h 6858000"/>
              <a:gd name="connsiteX180" fmla="*/ 2490617 w 7467600"/>
              <a:gd name="connsiteY180" fmla="*/ 4206951 h 6858000"/>
              <a:gd name="connsiteX181" fmla="*/ 2819869 w 7467600"/>
              <a:gd name="connsiteY181" fmla="*/ 4252936 h 6858000"/>
              <a:gd name="connsiteX182" fmla="*/ 3143018 w 7467600"/>
              <a:gd name="connsiteY182" fmla="*/ 4332698 h 6858000"/>
              <a:gd name="connsiteX183" fmla="*/ 3241520 w 7467600"/>
              <a:gd name="connsiteY183" fmla="*/ 4385112 h 6858000"/>
              <a:gd name="connsiteX184" fmla="*/ 3374575 w 7467600"/>
              <a:gd name="connsiteY184" fmla="*/ 4451517 h 6858000"/>
              <a:gd name="connsiteX185" fmla="*/ 3505221 w 7467600"/>
              <a:gd name="connsiteY185" fmla="*/ 4480757 h 6858000"/>
              <a:gd name="connsiteX186" fmla="*/ 2626982 w 7467600"/>
              <a:gd name="connsiteY186" fmla="*/ 4206450 h 6858000"/>
              <a:gd name="connsiteX187" fmla="*/ 1310106 w 7467600"/>
              <a:gd name="connsiteY187" fmla="*/ 3943217 h 6858000"/>
              <a:gd name="connsiteX188" fmla="*/ 854994 w 7467600"/>
              <a:gd name="connsiteY188" fmla="*/ 4399136 h 6858000"/>
              <a:gd name="connsiteX189" fmla="*/ 742462 w 7467600"/>
              <a:gd name="connsiteY189" fmla="*/ 4594648 h 6858000"/>
              <a:gd name="connsiteX190" fmla="*/ 820602 w 7467600"/>
              <a:gd name="connsiteY190" fmla="*/ 4485915 h 6858000"/>
              <a:gd name="connsiteX191" fmla="*/ 878295 w 7467600"/>
              <a:gd name="connsiteY191" fmla="*/ 4403594 h 6858000"/>
              <a:gd name="connsiteX192" fmla="*/ 1240607 w 7467600"/>
              <a:gd name="connsiteY192" fmla="*/ 4010401 h 6858000"/>
              <a:gd name="connsiteX193" fmla="*/ 1310106 w 7467600"/>
              <a:gd name="connsiteY193" fmla="*/ 3943217 h 6858000"/>
              <a:gd name="connsiteX194" fmla="*/ 1423113 w 7467600"/>
              <a:gd name="connsiteY194" fmla="*/ 3874565 h 6858000"/>
              <a:gd name="connsiteX195" fmla="*/ 1260565 w 7467600"/>
              <a:gd name="connsiteY195" fmla="*/ 4031982 h 6858000"/>
              <a:gd name="connsiteX196" fmla="*/ 901900 w 7467600"/>
              <a:gd name="connsiteY196" fmla="*/ 4421236 h 6858000"/>
              <a:gd name="connsiteX197" fmla="*/ 845044 w 7467600"/>
              <a:gd name="connsiteY197" fmla="*/ 4502436 h 6858000"/>
              <a:gd name="connsiteX198" fmla="*/ 685926 w 7467600"/>
              <a:gd name="connsiteY198" fmla="*/ 4703069 h 6858000"/>
              <a:gd name="connsiteX199" fmla="*/ 684248 w 7467600"/>
              <a:gd name="connsiteY199" fmla="*/ 4706721 h 6858000"/>
              <a:gd name="connsiteX200" fmla="*/ 1423113 w 7467600"/>
              <a:gd name="connsiteY200" fmla="*/ 3874565 h 6858000"/>
              <a:gd name="connsiteX201" fmla="*/ 3316479 w 7467600"/>
              <a:gd name="connsiteY201" fmla="*/ 3872136 h 6858000"/>
              <a:gd name="connsiteX202" fmla="*/ 3546806 w 7467600"/>
              <a:gd name="connsiteY202" fmla="*/ 4356139 h 6858000"/>
              <a:gd name="connsiteX203" fmla="*/ 3364433 w 7467600"/>
              <a:gd name="connsiteY203" fmla="*/ 3953121 h 6858000"/>
              <a:gd name="connsiteX204" fmla="*/ 3316479 w 7467600"/>
              <a:gd name="connsiteY204" fmla="*/ 3872136 h 6858000"/>
              <a:gd name="connsiteX205" fmla="*/ 3291335 w 7467600"/>
              <a:gd name="connsiteY205" fmla="*/ 3767420 h 6858000"/>
              <a:gd name="connsiteX206" fmla="*/ 3390805 w 7467600"/>
              <a:gd name="connsiteY206" fmla="*/ 3937163 h 6858000"/>
              <a:gd name="connsiteX207" fmla="*/ 3579062 w 7467600"/>
              <a:gd name="connsiteY207" fmla="*/ 4359040 h 6858000"/>
              <a:gd name="connsiteX208" fmla="*/ 3467355 w 7467600"/>
              <a:gd name="connsiteY208" fmla="*/ 3988130 h 6858000"/>
              <a:gd name="connsiteX209" fmla="*/ 3310753 w 7467600"/>
              <a:gd name="connsiteY209" fmla="*/ 3787140 h 6858000"/>
              <a:gd name="connsiteX210" fmla="*/ 3291335 w 7467600"/>
              <a:gd name="connsiteY210" fmla="*/ 3767420 h 6858000"/>
              <a:gd name="connsiteX211" fmla="*/ 1635889 w 7467600"/>
              <a:gd name="connsiteY211" fmla="*/ 3709494 h 6858000"/>
              <a:gd name="connsiteX212" fmla="*/ 1634800 w 7467600"/>
              <a:gd name="connsiteY212" fmla="*/ 3731111 h 6858000"/>
              <a:gd name="connsiteX213" fmla="*/ 1635889 w 7467600"/>
              <a:gd name="connsiteY213" fmla="*/ 3709494 h 6858000"/>
              <a:gd name="connsiteX214" fmla="*/ 1510397 w 7467600"/>
              <a:gd name="connsiteY214" fmla="*/ 3684705 h 6858000"/>
              <a:gd name="connsiteX215" fmla="*/ 1146550 w 7467600"/>
              <a:gd name="connsiteY215" fmla="*/ 3802012 h 6858000"/>
              <a:gd name="connsiteX216" fmla="*/ 698834 w 7467600"/>
              <a:gd name="connsiteY216" fmla="*/ 3952272 h 6858000"/>
              <a:gd name="connsiteX217" fmla="*/ 34256 w 7467600"/>
              <a:gd name="connsiteY217" fmla="*/ 4347603 h 6858000"/>
              <a:gd name="connsiteX218" fmla="*/ 527241 w 7467600"/>
              <a:gd name="connsiteY218" fmla="*/ 4065078 h 6858000"/>
              <a:gd name="connsiteX219" fmla="*/ 1510397 w 7467600"/>
              <a:gd name="connsiteY219" fmla="*/ 3684705 h 6858000"/>
              <a:gd name="connsiteX220" fmla="*/ 1313114 w 7467600"/>
              <a:gd name="connsiteY220" fmla="*/ 3655216 h 6858000"/>
              <a:gd name="connsiteX221" fmla="*/ 1109304 w 7467600"/>
              <a:gd name="connsiteY221" fmla="*/ 3669030 h 6858000"/>
              <a:gd name="connsiteX222" fmla="*/ 8129 w 7467600"/>
              <a:gd name="connsiteY222" fmla="*/ 4330519 h 6858000"/>
              <a:gd name="connsiteX223" fmla="*/ 687572 w 7467600"/>
              <a:gd name="connsiteY223" fmla="*/ 3925629 h 6858000"/>
              <a:gd name="connsiteX224" fmla="*/ 1138365 w 7467600"/>
              <a:gd name="connsiteY224" fmla="*/ 3774515 h 6858000"/>
              <a:gd name="connsiteX225" fmla="*/ 1505579 w 7467600"/>
              <a:gd name="connsiteY225" fmla="*/ 3655526 h 6858000"/>
              <a:gd name="connsiteX226" fmla="*/ 1313114 w 7467600"/>
              <a:gd name="connsiteY226" fmla="*/ 3655216 h 6858000"/>
              <a:gd name="connsiteX227" fmla="*/ 3655073 w 7467600"/>
              <a:gd name="connsiteY227" fmla="*/ 3650884 h 6858000"/>
              <a:gd name="connsiteX228" fmla="*/ 3989938 w 7467600"/>
              <a:gd name="connsiteY228" fmla="*/ 3991685 h 6858000"/>
              <a:gd name="connsiteX229" fmla="*/ 4393907 w 7467600"/>
              <a:gd name="connsiteY229" fmla="*/ 4261258 h 6858000"/>
              <a:gd name="connsiteX230" fmla="*/ 4648051 w 7467600"/>
              <a:gd name="connsiteY230" fmla="*/ 4374051 h 6858000"/>
              <a:gd name="connsiteX231" fmla="*/ 4383389 w 7467600"/>
              <a:gd name="connsiteY231" fmla="*/ 4184369 h 6858000"/>
              <a:gd name="connsiteX232" fmla="*/ 4165508 w 7467600"/>
              <a:gd name="connsiteY232" fmla="*/ 4035196 h 6858000"/>
              <a:gd name="connsiteX233" fmla="*/ 4068162 w 7467600"/>
              <a:gd name="connsiteY233" fmla="*/ 3953394 h 6858000"/>
              <a:gd name="connsiteX234" fmla="*/ 3981416 w 7467600"/>
              <a:gd name="connsiteY234" fmla="*/ 3880482 h 6858000"/>
              <a:gd name="connsiteX235" fmla="*/ 3800147 w 7467600"/>
              <a:gd name="connsiteY235" fmla="*/ 3749872 h 6858000"/>
              <a:gd name="connsiteX236" fmla="*/ 3655073 w 7467600"/>
              <a:gd name="connsiteY236" fmla="*/ 3650884 h 6858000"/>
              <a:gd name="connsiteX237" fmla="*/ 3670252 w 7467600"/>
              <a:gd name="connsiteY237" fmla="*/ 3622798 h 6858000"/>
              <a:gd name="connsiteX238" fmla="*/ 3817258 w 7467600"/>
              <a:gd name="connsiteY238" fmla="*/ 3723577 h 6858000"/>
              <a:gd name="connsiteX239" fmla="*/ 4000461 w 7467600"/>
              <a:gd name="connsiteY239" fmla="*/ 3855966 h 6858000"/>
              <a:gd name="connsiteX240" fmla="*/ 4088180 w 7467600"/>
              <a:gd name="connsiteY240" fmla="*/ 3929774 h 6858000"/>
              <a:gd name="connsiteX241" fmla="*/ 4184555 w 7467600"/>
              <a:gd name="connsiteY241" fmla="*/ 4010683 h 6858000"/>
              <a:gd name="connsiteX242" fmla="*/ 4399563 w 7467600"/>
              <a:gd name="connsiteY242" fmla="*/ 4158106 h 6858000"/>
              <a:gd name="connsiteX243" fmla="*/ 4684469 w 7467600"/>
              <a:gd name="connsiteY243" fmla="*/ 4364680 h 6858000"/>
              <a:gd name="connsiteX244" fmla="*/ 4690271 w 7467600"/>
              <a:gd name="connsiteY244" fmla="*/ 4370034 h 6858000"/>
              <a:gd name="connsiteX245" fmla="*/ 4136093 w 7467600"/>
              <a:gd name="connsiteY245" fmla="*/ 3858466 h 6858000"/>
              <a:gd name="connsiteX246" fmla="*/ 3670252 w 7467600"/>
              <a:gd name="connsiteY246" fmla="*/ 3622798 h 6858000"/>
              <a:gd name="connsiteX247" fmla="*/ 4440129 w 7467600"/>
              <a:gd name="connsiteY247" fmla="*/ 3448571 h 6858000"/>
              <a:gd name="connsiteX248" fmla="*/ 4856525 w 7467600"/>
              <a:gd name="connsiteY248" fmla="*/ 3915351 h 6858000"/>
              <a:gd name="connsiteX249" fmla="*/ 5059055 w 7467600"/>
              <a:gd name="connsiteY249" fmla="*/ 4108918 h 6858000"/>
              <a:gd name="connsiteX250" fmla="*/ 5290070 w 7467600"/>
              <a:gd name="connsiteY250" fmla="*/ 4263619 h 6858000"/>
              <a:gd name="connsiteX251" fmla="*/ 4834991 w 7467600"/>
              <a:gd name="connsiteY251" fmla="*/ 3830985 h 6858000"/>
              <a:gd name="connsiteX252" fmla="*/ 4440129 w 7467600"/>
              <a:gd name="connsiteY252" fmla="*/ 3448571 h 6858000"/>
              <a:gd name="connsiteX253" fmla="*/ 4441737 w 7467600"/>
              <a:gd name="connsiteY253" fmla="*/ 3399734 h 6858000"/>
              <a:gd name="connsiteX254" fmla="*/ 4431236 w 7467600"/>
              <a:gd name="connsiteY254" fmla="*/ 3400954 h 6858000"/>
              <a:gd name="connsiteX255" fmla="*/ 4557150 w 7467600"/>
              <a:gd name="connsiteY255" fmla="*/ 3510023 h 6858000"/>
              <a:gd name="connsiteX256" fmla="*/ 4856936 w 7467600"/>
              <a:gd name="connsiteY256" fmla="*/ 3809146 h 6858000"/>
              <a:gd name="connsiteX257" fmla="*/ 5111996 w 7467600"/>
              <a:gd name="connsiteY257" fmla="*/ 4065759 h 6858000"/>
              <a:gd name="connsiteX258" fmla="*/ 5388878 w 7467600"/>
              <a:gd name="connsiteY258" fmla="*/ 4300185 h 6858000"/>
              <a:gd name="connsiteX259" fmla="*/ 5425556 w 7467600"/>
              <a:gd name="connsiteY259" fmla="*/ 4308967 h 6858000"/>
              <a:gd name="connsiteX260" fmla="*/ 4943646 w 7467600"/>
              <a:gd name="connsiteY260" fmla="*/ 3822916 h 6858000"/>
              <a:gd name="connsiteX261" fmla="*/ 4594837 w 7467600"/>
              <a:gd name="connsiteY261" fmla="*/ 3532274 h 6858000"/>
              <a:gd name="connsiteX262" fmla="*/ 4441737 w 7467600"/>
              <a:gd name="connsiteY262" fmla="*/ 3399734 h 6858000"/>
              <a:gd name="connsiteX263" fmla="*/ 5425834 w 7467600"/>
              <a:gd name="connsiteY263" fmla="*/ 3162785 h 6858000"/>
              <a:gd name="connsiteX264" fmla="*/ 5401644 w 7467600"/>
              <a:gd name="connsiteY264" fmla="*/ 3617847 h 6858000"/>
              <a:gd name="connsiteX265" fmla="*/ 5467256 w 7467600"/>
              <a:gd name="connsiteY265" fmla="*/ 4175494 h 6858000"/>
              <a:gd name="connsiteX266" fmla="*/ 5448069 w 7467600"/>
              <a:gd name="connsiteY266" fmla="*/ 3567554 h 6858000"/>
              <a:gd name="connsiteX267" fmla="*/ 5425834 w 7467600"/>
              <a:gd name="connsiteY267" fmla="*/ 3162785 h 6858000"/>
              <a:gd name="connsiteX268" fmla="*/ 1318687 w 7467600"/>
              <a:gd name="connsiteY268" fmla="*/ 3113840 h 6858000"/>
              <a:gd name="connsiteX269" fmla="*/ 1066793 w 7467600"/>
              <a:gd name="connsiteY269" fmla="*/ 3212171 h 6858000"/>
              <a:gd name="connsiteX270" fmla="*/ 993319 w 7467600"/>
              <a:gd name="connsiteY270" fmla="*/ 3247648 h 6858000"/>
              <a:gd name="connsiteX271" fmla="*/ 853081 w 7467600"/>
              <a:gd name="connsiteY271" fmla="*/ 3312410 h 6858000"/>
              <a:gd name="connsiteX272" fmla="*/ 805957 w 7467600"/>
              <a:gd name="connsiteY272" fmla="*/ 3330443 h 6858000"/>
              <a:gd name="connsiteX273" fmla="*/ 1318687 w 7467600"/>
              <a:gd name="connsiteY273" fmla="*/ 3113840 h 6858000"/>
              <a:gd name="connsiteX274" fmla="*/ 5453702 w 7467600"/>
              <a:gd name="connsiteY274" fmla="*/ 3090882 h 6858000"/>
              <a:gd name="connsiteX275" fmla="*/ 5480135 w 7467600"/>
              <a:gd name="connsiteY275" fmla="*/ 3565802 h 6858000"/>
              <a:gd name="connsiteX276" fmla="*/ 5499023 w 7467600"/>
              <a:gd name="connsiteY276" fmla="*/ 4166310 h 6858000"/>
              <a:gd name="connsiteX277" fmla="*/ 5547022 w 7467600"/>
              <a:gd name="connsiteY277" fmla="*/ 3607838 h 6858000"/>
              <a:gd name="connsiteX278" fmla="*/ 5515964 w 7467600"/>
              <a:gd name="connsiteY278" fmla="*/ 3378541 h 6858000"/>
              <a:gd name="connsiteX279" fmla="*/ 5453702 w 7467600"/>
              <a:gd name="connsiteY279" fmla="*/ 3090882 h 6858000"/>
              <a:gd name="connsiteX280" fmla="*/ 1238695 w 7467600"/>
              <a:gd name="connsiteY280" fmla="*/ 3076820 h 6858000"/>
              <a:gd name="connsiteX281" fmla="*/ 716371 w 7467600"/>
              <a:gd name="connsiteY281" fmla="*/ 3293249 h 6858000"/>
              <a:gd name="connsiteX282" fmla="*/ 579522 w 7467600"/>
              <a:gd name="connsiteY282" fmla="*/ 3371759 h 6858000"/>
              <a:gd name="connsiteX283" fmla="*/ 600288 w 7467600"/>
              <a:gd name="connsiteY283" fmla="*/ 3365555 h 6858000"/>
              <a:gd name="connsiteX284" fmla="*/ 840692 w 7467600"/>
              <a:gd name="connsiteY284" fmla="*/ 3284921 h 6858000"/>
              <a:gd name="connsiteX285" fmla="*/ 979248 w 7467600"/>
              <a:gd name="connsiteY285" fmla="*/ 3221003 h 6858000"/>
              <a:gd name="connsiteX286" fmla="*/ 1053282 w 7467600"/>
              <a:gd name="connsiteY286" fmla="*/ 3185247 h 6858000"/>
              <a:gd name="connsiteX287" fmla="*/ 1320603 w 7467600"/>
              <a:gd name="connsiteY287" fmla="*/ 3081281 h 6858000"/>
              <a:gd name="connsiteX288" fmla="*/ 1238695 w 7467600"/>
              <a:gd name="connsiteY288" fmla="*/ 3076820 h 6858000"/>
              <a:gd name="connsiteX289" fmla="*/ 5425627 w 7467600"/>
              <a:gd name="connsiteY289" fmla="*/ 2954192 h 6858000"/>
              <a:gd name="connsiteX290" fmla="*/ 5470770 w 7467600"/>
              <a:gd name="connsiteY290" fmla="*/ 3005435 h 6858000"/>
              <a:gd name="connsiteX291" fmla="*/ 5519779 w 7467600"/>
              <a:gd name="connsiteY291" fmla="*/ 4359223 h 6858000"/>
              <a:gd name="connsiteX292" fmla="*/ 5520293 w 7467600"/>
              <a:gd name="connsiteY292" fmla="*/ 4360602 h 6858000"/>
              <a:gd name="connsiteX293" fmla="*/ 5767221 w 7467600"/>
              <a:gd name="connsiteY293" fmla="*/ 4665564 h 6858000"/>
              <a:gd name="connsiteX294" fmla="*/ 6937169 w 7467600"/>
              <a:gd name="connsiteY294" fmla="*/ 4815941 h 6858000"/>
              <a:gd name="connsiteX295" fmla="*/ 6953922 w 7467600"/>
              <a:gd name="connsiteY295" fmla="*/ 4890068 h 6858000"/>
              <a:gd name="connsiteX296" fmla="*/ 6071359 w 7467600"/>
              <a:gd name="connsiteY296" fmla="*/ 4770770 h 6858000"/>
              <a:gd name="connsiteX297" fmla="*/ 6038839 w 7467600"/>
              <a:gd name="connsiteY297" fmla="*/ 4764474 h 6858000"/>
              <a:gd name="connsiteX298" fmla="*/ 6038706 w 7467600"/>
              <a:gd name="connsiteY298" fmla="*/ 4763847 h 6858000"/>
              <a:gd name="connsiteX299" fmla="*/ 6037784 w 7467600"/>
              <a:gd name="connsiteY299" fmla="*/ 4764270 h 6858000"/>
              <a:gd name="connsiteX300" fmla="*/ 6038839 w 7467600"/>
              <a:gd name="connsiteY300" fmla="*/ 4764474 h 6858000"/>
              <a:gd name="connsiteX301" fmla="*/ 6040338 w 7467600"/>
              <a:gd name="connsiteY301" fmla="*/ 4771418 h 6858000"/>
              <a:gd name="connsiteX302" fmla="*/ 6024488 w 7467600"/>
              <a:gd name="connsiteY302" fmla="*/ 4809903 h 6858000"/>
              <a:gd name="connsiteX303" fmla="*/ 5599771 w 7467600"/>
              <a:gd name="connsiteY303" fmla="*/ 5509652 h 6858000"/>
              <a:gd name="connsiteX304" fmla="*/ 5548843 w 7467600"/>
              <a:gd name="connsiteY304" fmla="*/ 5563845 h 6858000"/>
              <a:gd name="connsiteX305" fmla="*/ 5940952 w 7467600"/>
              <a:gd name="connsiteY305" fmla="*/ 6250028 h 6858000"/>
              <a:gd name="connsiteX306" fmla="*/ 6043441 w 7467600"/>
              <a:gd name="connsiteY306" fmla="*/ 6665847 h 6858000"/>
              <a:gd name="connsiteX307" fmla="*/ 6093432 w 7467600"/>
              <a:gd name="connsiteY307" fmla="*/ 6858000 h 6858000"/>
              <a:gd name="connsiteX308" fmla="*/ 6034344 w 7467600"/>
              <a:gd name="connsiteY308" fmla="*/ 6858000 h 6858000"/>
              <a:gd name="connsiteX309" fmla="*/ 6026679 w 7467600"/>
              <a:gd name="connsiteY309" fmla="*/ 6836959 h 6858000"/>
              <a:gd name="connsiteX310" fmla="*/ 5800441 w 7467600"/>
              <a:gd name="connsiteY310" fmla="*/ 6335286 h 6858000"/>
              <a:gd name="connsiteX311" fmla="*/ 5526562 w 7467600"/>
              <a:gd name="connsiteY311" fmla="*/ 5705388 h 6858000"/>
              <a:gd name="connsiteX312" fmla="*/ 5519640 w 7467600"/>
              <a:gd name="connsiteY312" fmla="*/ 5683774 h 6858000"/>
              <a:gd name="connsiteX313" fmla="*/ 5844559 w 7467600"/>
              <a:gd name="connsiteY313" fmla="*/ 6553349 h 6858000"/>
              <a:gd name="connsiteX314" fmla="*/ 5975994 w 7467600"/>
              <a:gd name="connsiteY314" fmla="*/ 6858000 h 6858000"/>
              <a:gd name="connsiteX315" fmla="*/ 5898547 w 7467600"/>
              <a:gd name="connsiteY315" fmla="*/ 6858000 h 6858000"/>
              <a:gd name="connsiteX316" fmla="*/ 5682041 w 7467600"/>
              <a:gd name="connsiteY316" fmla="*/ 6355860 h 6858000"/>
              <a:gd name="connsiteX317" fmla="*/ 5461758 w 7467600"/>
              <a:gd name="connsiteY317" fmla="*/ 5820220 h 6858000"/>
              <a:gd name="connsiteX318" fmla="*/ 5237282 w 7467600"/>
              <a:gd name="connsiteY318" fmla="*/ 6579086 h 6858000"/>
              <a:gd name="connsiteX319" fmla="*/ 5115009 w 7467600"/>
              <a:gd name="connsiteY319" fmla="*/ 6858000 h 6858000"/>
              <a:gd name="connsiteX320" fmla="*/ 5028074 w 7467600"/>
              <a:gd name="connsiteY320" fmla="*/ 6858000 h 6858000"/>
              <a:gd name="connsiteX321" fmla="*/ 5079508 w 7467600"/>
              <a:gd name="connsiteY321" fmla="*/ 6749074 h 6858000"/>
              <a:gd name="connsiteX322" fmla="*/ 5371846 w 7467600"/>
              <a:gd name="connsiteY322" fmla="*/ 5924413 h 6858000"/>
              <a:gd name="connsiteX323" fmla="*/ 5270512 w 7467600"/>
              <a:gd name="connsiteY323" fmla="*/ 6138975 h 6858000"/>
              <a:gd name="connsiteX324" fmla="*/ 5062409 w 7467600"/>
              <a:gd name="connsiteY324" fmla="*/ 6653544 h 6858000"/>
              <a:gd name="connsiteX325" fmla="*/ 5036628 w 7467600"/>
              <a:gd name="connsiteY325" fmla="*/ 6754247 h 6858000"/>
              <a:gd name="connsiteX326" fmla="*/ 5009112 w 7467600"/>
              <a:gd name="connsiteY326" fmla="*/ 6858000 h 6858000"/>
              <a:gd name="connsiteX327" fmla="*/ 4976679 w 7467600"/>
              <a:gd name="connsiteY327" fmla="*/ 6858000 h 6858000"/>
              <a:gd name="connsiteX328" fmla="*/ 5006537 w 7467600"/>
              <a:gd name="connsiteY328" fmla="*/ 6747068 h 6858000"/>
              <a:gd name="connsiteX329" fmla="*/ 5032723 w 7467600"/>
              <a:gd name="connsiteY329" fmla="*/ 6644957 h 6858000"/>
              <a:gd name="connsiteX330" fmla="*/ 5242949 w 7467600"/>
              <a:gd name="connsiteY330" fmla="*/ 6125175 h 6858000"/>
              <a:gd name="connsiteX331" fmla="*/ 5286321 w 7467600"/>
              <a:gd name="connsiteY331" fmla="*/ 6033555 h 6858000"/>
              <a:gd name="connsiteX332" fmla="*/ 5008210 w 7467600"/>
              <a:gd name="connsiteY332" fmla="*/ 6649194 h 6858000"/>
              <a:gd name="connsiteX333" fmla="*/ 4986321 w 7467600"/>
              <a:gd name="connsiteY333" fmla="*/ 6765687 h 6858000"/>
              <a:gd name="connsiteX334" fmla="*/ 4973474 w 7467600"/>
              <a:gd name="connsiteY334" fmla="*/ 6858000 h 6858000"/>
              <a:gd name="connsiteX335" fmla="*/ 4907178 w 7467600"/>
              <a:gd name="connsiteY335" fmla="*/ 6858000 h 6858000"/>
              <a:gd name="connsiteX336" fmla="*/ 4910810 w 7467600"/>
              <a:gd name="connsiteY336" fmla="*/ 6829660 h 6858000"/>
              <a:gd name="connsiteX337" fmla="*/ 4987461 w 7467600"/>
              <a:gd name="connsiteY337" fmla="*/ 6432994 h 6858000"/>
              <a:gd name="connsiteX338" fmla="*/ 5179262 w 7467600"/>
              <a:gd name="connsiteY338" fmla="*/ 6035044 h 6858000"/>
              <a:gd name="connsiteX339" fmla="*/ 4689678 w 7467600"/>
              <a:gd name="connsiteY339" fmla="*/ 6440241 h 6858000"/>
              <a:gd name="connsiteX340" fmla="*/ 4477543 w 7467600"/>
              <a:gd name="connsiteY340" fmla="*/ 6674836 h 6858000"/>
              <a:gd name="connsiteX341" fmla="*/ 4329957 w 7467600"/>
              <a:gd name="connsiteY341" fmla="*/ 6858000 h 6858000"/>
              <a:gd name="connsiteX342" fmla="*/ 4218595 w 7467600"/>
              <a:gd name="connsiteY342" fmla="*/ 6858000 h 6858000"/>
              <a:gd name="connsiteX343" fmla="*/ 4368888 w 7467600"/>
              <a:gd name="connsiteY343" fmla="*/ 6668412 h 6858000"/>
              <a:gd name="connsiteX344" fmla="*/ 4563091 w 7467600"/>
              <a:gd name="connsiteY344" fmla="*/ 6442508 h 6858000"/>
              <a:gd name="connsiteX345" fmla="*/ 5387324 w 7467600"/>
              <a:gd name="connsiteY345" fmla="*/ 5705830 h 6858000"/>
              <a:gd name="connsiteX346" fmla="*/ 5073620 w 7467600"/>
              <a:gd name="connsiteY346" fmla="*/ 5955437 h 6858000"/>
              <a:gd name="connsiteX347" fmla="*/ 4689789 w 7467600"/>
              <a:gd name="connsiteY347" fmla="*/ 6268382 h 6858000"/>
              <a:gd name="connsiteX348" fmla="*/ 4418722 w 7467600"/>
              <a:gd name="connsiteY348" fmla="*/ 6570886 h 6858000"/>
              <a:gd name="connsiteX349" fmla="*/ 4214944 w 7467600"/>
              <a:gd name="connsiteY349" fmla="*/ 6858000 h 6858000"/>
              <a:gd name="connsiteX350" fmla="*/ 4177898 w 7467600"/>
              <a:gd name="connsiteY350" fmla="*/ 6858000 h 6858000"/>
              <a:gd name="connsiteX351" fmla="*/ 4391597 w 7467600"/>
              <a:gd name="connsiteY351" fmla="*/ 6556370 h 6858000"/>
              <a:gd name="connsiteX352" fmla="*/ 4668889 w 7467600"/>
              <a:gd name="connsiteY352" fmla="*/ 6246399 h 6858000"/>
              <a:gd name="connsiteX353" fmla="*/ 5055427 w 7467600"/>
              <a:gd name="connsiteY353" fmla="*/ 5931476 h 6858000"/>
              <a:gd name="connsiteX354" fmla="*/ 5371814 w 7467600"/>
              <a:gd name="connsiteY354" fmla="*/ 5678975 h 6858000"/>
              <a:gd name="connsiteX355" fmla="*/ 4987918 w 7467600"/>
              <a:gd name="connsiteY355" fmla="*/ 5838701 h 6858000"/>
              <a:gd name="connsiteX356" fmla="*/ 4317146 w 7467600"/>
              <a:gd name="connsiteY356" fmla="*/ 6587716 h 6858000"/>
              <a:gd name="connsiteX357" fmla="*/ 4171627 w 7467600"/>
              <a:gd name="connsiteY357" fmla="*/ 6858000 h 6858000"/>
              <a:gd name="connsiteX358" fmla="*/ 4081585 w 7467600"/>
              <a:gd name="connsiteY358" fmla="*/ 6858000 h 6858000"/>
              <a:gd name="connsiteX359" fmla="*/ 4238603 w 7467600"/>
              <a:gd name="connsiteY359" fmla="*/ 6559341 h 6858000"/>
              <a:gd name="connsiteX360" fmla="*/ 4778333 w 7467600"/>
              <a:gd name="connsiteY360" fmla="*/ 5873626 h 6858000"/>
              <a:gd name="connsiteX361" fmla="*/ 5414185 w 7467600"/>
              <a:gd name="connsiteY361" fmla="*/ 5573882 h 6858000"/>
              <a:gd name="connsiteX362" fmla="*/ 5959648 w 7467600"/>
              <a:gd name="connsiteY362" fmla="*/ 4760797 h 6858000"/>
              <a:gd name="connsiteX363" fmla="*/ 5355019 w 7467600"/>
              <a:gd name="connsiteY363" fmla="*/ 4734672 h 6858000"/>
              <a:gd name="connsiteX364" fmla="*/ 5083565 w 7467600"/>
              <a:gd name="connsiteY364" fmla="*/ 5179121 h 6858000"/>
              <a:gd name="connsiteX365" fmla="*/ 4713577 w 7467600"/>
              <a:gd name="connsiteY365" fmla="*/ 5616803 h 6858000"/>
              <a:gd name="connsiteX366" fmla="*/ 3989559 w 7467600"/>
              <a:gd name="connsiteY366" fmla="*/ 6145945 h 6858000"/>
              <a:gd name="connsiteX367" fmla="*/ 3939824 w 7467600"/>
              <a:gd name="connsiteY367" fmla="*/ 6066900 h 6858000"/>
              <a:gd name="connsiteX368" fmla="*/ 4584537 w 7467600"/>
              <a:gd name="connsiteY368" fmla="*/ 5324826 h 6858000"/>
              <a:gd name="connsiteX369" fmla="*/ 5037105 w 7467600"/>
              <a:gd name="connsiteY369" fmla="*/ 5088765 h 6858000"/>
              <a:gd name="connsiteX370" fmla="*/ 5039930 w 7467600"/>
              <a:gd name="connsiteY370" fmla="*/ 5089585 h 6858000"/>
              <a:gd name="connsiteX371" fmla="*/ 5263764 w 7467600"/>
              <a:gd name="connsiteY371" fmla="*/ 4735525 h 6858000"/>
              <a:gd name="connsiteX372" fmla="*/ 4086300 w 7467600"/>
              <a:gd name="connsiteY372" fmla="*/ 4884599 h 6858000"/>
              <a:gd name="connsiteX373" fmla="*/ 4085485 w 7467600"/>
              <a:gd name="connsiteY373" fmla="*/ 4899070 h 6858000"/>
              <a:gd name="connsiteX374" fmla="*/ 3871915 w 7467600"/>
              <a:gd name="connsiteY374" fmla="*/ 5253645 h 6858000"/>
              <a:gd name="connsiteX375" fmla="*/ 3799374 w 7467600"/>
              <a:gd name="connsiteY375" fmla="*/ 5466127 h 6858000"/>
              <a:gd name="connsiteX376" fmla="*/ 3498850 w 7467600"/>
              <a:gd name="connsiteY376" fmla="*/ 6661888 h 6858000"/>
              <a:gd name="connsiteX377" fmla="*/ 3399216 w 7467600"/>
              <a:gd name="connsiteY377" fmla="*/ 6858000 h 6858000"/>
              <a:gd name="connsiteX378" fmla="*/ 3303688 w 7467600"/>
              <a:gd name="connsiteY378" fmla="*/ 6858000 h 6858000"/>
              <a:gd name="connsiteX379" fmla="*/ 3391774 w 7467600"/>
              <a:gd name="connsiteY379" fmla="*/ 6697181 h 6858000"/>
              <a:gd name="connsiteX380" fmla="*/ 3735540 w 7467600"/>
              <a:gd name="connsiteY380" fmla="*/ 5546923 h 6858000"/>
              <a:gd name="connsiteX381" fmla="*/ 3729438 w 7467600"/>
              <a:gd name="connsiteY381" fmla="*/ 5569058 h 6858000"/>
              <a:gd name="connsiteX382" fmla="*/ 3707782 w 7467600"/>
              <a:gd name="connsiteY382" fmla="*/ 5644908 h 6858000"/>
              <a:gd name="connsiteX383" fmla="*/ 3583827 w 7467600"/>
              <a:gd name="connsiteY383" fmla="*/ 6039215 h 6858000"/>
              <a:gd name="connsiteX384" fmla="*/ 3547861 w 7467600"/>
              <a:gd name="connsiteY384" fmla="*/ 6129609 h 6858000"/>
              <a:gd name="connsiteX385" fmla="*/ 3490905 w 7467600"/>
              <a:gd name="connsiteY385" fmla="*/ 6277660 h 6858000"/>
              <a:gd name="connsiteX386" fmla="*/ 3455859 w 7467600"/>
              <a:gd name="connsiteY386" fmla="*/ 6391301 h 6858000"/>
              <a:gd name="connsiteX387" fmla="*/ 3429112 w 7467600"/>
              <a:gd name="connsiteY387" fmla="*/ 6479469 h 6858000"/>
              <a:gd name="connsiteX388" fmla="*/ 3304862 w 7467600"/>
              <a:gd name="connsiteY388" fmla="*/ 6796476 h 6858000"/>
              <a:gd name="connsiteX389" fmla="*/ 3276071 w 7467600"/>
              <a:gd name="connsiteY389" fmla="*/ 6858000 h 6858000"/>
              <a:gd name="connsiteX390" fmla="*/ 3240805 w 7467600"/>
              <a:gd name="connsiteY390" fmla="*/ 6858000 h 6858000"/>
              <a:gd name="connsiteX391" fmla="*/ 3275917 w 7467600"/>
              <a:gd name="connsiteY391" fmla="*/ 6783192 h 6858000"/>
              <a:gd name="connsiteX392" fmla="*/ 3399358 w 7467600"/>
              <a:gd name="connsiteY392" fmla="*/ 6469011 h 6858000"/>
              <a:gd name="connsiteX393" fmla="*/ 3425650 w 7467600"/>
              <a:gd name="connsiteY393" fmla="*/ 6381333 h 6858000"/>
              <a:gd name="connsiteX394" fmla="*/ 3460661 w 7467600"/>
              <a:gd name="connsiteY394" fmla="*/ 6266763 h 6858000"/>
              <a:gd name="connsiteX395" fmla="*/ 3518021 w 7467600"/>
              <a:gd name="connsiteY395" fmla="*/ 6117298 h 6858000"/>
              <a:gd name="connsiteX396" fmla="*/ 3554035 w 7467600"/>
              <a:gd name="connsiteY396" fmla="*/ 6027832 h 6858000"/>
              <a:gd name="connsiteX397" fmla="*/ 3677174 w 7467600"/>
              <a:gd name="connsiteY397" fmla="*/ 5636351 h 6858000"/>
              <a:gd name="connsiteX398" fmla="*/ 3698819 w 7467600"/>
              <a:gd name="connsiteY398" fmla="*/ 5560503 h 6858000"/>
              <a:gd name="connsiteX399" fmla="*/ 3702094 w 7467600"/>
              <a:gd name="connsiteY399" fmla="*/ 5549194 h 6858000"/>
              <a:gd name="connsiteX400" fmla="*/ 3398355 w 7467600"/>
              <a:gd name="connsiteY400" fmla="*/ 6094603 h 6858000"/>
              <a:gd name="connsiteX401" fmla="*/ 3193941 w 7467600"/>
              <a:gd name="connsiteY401" fmla="*/ 6798775 h 6858000"/>
              <a:gd name="connsiteX402" fmla="*/ 3184140 w 7467600"/>
              <a:gd name="connsiteY402" fmla="*/ 6858000 h 6858000"/>
              <a:gd name="connsiteX403" fmla="*/ 3099978 w 7467600"/>
              <a:gd name="connsiteY403" fmla="*/ 6858000 h 6858000"/>
              <a:gd name="connsiteX404" fmla="*/ 3101556 w 7467600"/>
              <a:gd name="connsiteY404" fmla="*/ 6843337 h 6858000"/>
              <a:gd name="connsiteX405" fmla="*/ 3370162 w 7467600"/>
              <a:gd name="connsiteY405" fmla="*/ 5785550 h 6858000"/>
              <a:gd name="connsiteX406" fmla="*/ 3746477 w 7467600"/>
              <a:gd name="connsiteY406" fmla="*/ 5377889 h 6858000"/>
              <a:gd name="connsiteX407" fmla="*/ 3863399 w 7467600"/>
              <a:gd name="connsiteY407" fmla="*/ 5087257 h 6858000"/>
              <a:gd name="connsiteX408" fmla="*/ 3968712 w 7467600"/>
              <a:gd name="connsiteY408" fmla="*/ 4913989 h 6858000"/>
              <a:gd name="connsiteX409" fmla="*/ 2792390 w 7467600"/>
              <a:gd name="connsiteY409" fmla="*/ 5382974 h 6858000"/>
              <a:gd name="connsiteX410" fmla="*/ 2714982 w 7467600"/>
              <a:gd name="connsiteY410" fmla="*/ 5427051 h 6858000"/>
              <a:gd name="connsiteX411" fmla="*/ 2813361 w 7467600"/>
              <a:gd name="connsiteY411" fmla="*/ 6023912 h 6858000"/>
              <a:gd name="connsiteX412" fmla="*/ 2688430 w 7467600"/>
              <a:gd name="connsiteY412" fmla="*/ 6801564 h 6858000"/>
              <a:gd name="connsiteX413" fmla="*/ 2629626 w 7467600"/>
              <a:gd name="connsiteY413" fmla="*/ 6763394 h 6858000"/>
              <a:gd name="connsiteX414" fmla="*/ 2565328 w 7467600"/>
              <a:gd name="connsiteY414" fmla="*/ 5516399 h 6858000"/>
              <a:gd name="connsiteX415" fmla="*/ 1922999 w 7467600"/>
              <a:gd name="connsiteY415" fmla="*/ 5980343 h 6858000"/>
              <a:gd name="connsiteX416" fmla="*/ 1950261 w 7467600"/>
              <a:gd name="connsiteY416" fmla="*/ 6405858 h 6858000"/>
              <a:gd name="connsiteX417" fmla="*/ 2365554 w 7467600"/>
              <a:gd name="connsiteY417" fmla="*/ 6759107 h 6858000"/>
              <a:gd name="connsiteX418" fmla="*/ 2424142 w 7467600"/>
              <a:gd name="connsiteY418" fmla="*/ 6858000 h 6858000"/>
              <a:gd name="connsiteX419" fmla="*/ 2395994 w 7467600"/>
              <a:gd name="connsiteY419" fmla="*/ 6858000 h 6858000"/>
              <a:gd name="connsiteX420" fmla="*/ 2392863 w 7467600"/>
              <a:gd name="connsiteY420" fmla="*/ 6852964 h 6858000"/>
              <a:gd name="connsiteX421" fmla="*/ 2017589 w 7467600"/>
              <a:gd name="connsiteY421" fmla="*/ 6493982 h 6858000"/>
              <a:gd name="connsiteX422" fmla="*/ 2147336 w 7467600"/>
              <a:gd name="connsiteY422" fmla="*/ 6594052 h 6858000"/>
              <a:gd name="connsiteX423" fmla="*/ 2207047 w 7467600"/>
              <a:gd name="connsiteY423" fmla="*/ 6654540 h 6858000"/>
              <a:gd name="connsiteX424" fmla="*/ 2299106 w 7467600"/>
              <a:gd name="connsiteY424" fmla="*/ 6778931 h 6858000"/>
              <a:gd name="connsiteX425" fmla="*/ 2314430 w 7467600"/>
              <a:gd name="connsiteY425" fmla="*/ 6801144 h 6858000"/>
              <a:gd name="connsiteX426" fmla="*/ 2352406 w 7467600"/>
              <a:gd name="connsiteY426" fmla="*/ 6858000 h 6858000"/>
              <a:gd name="connsiteX427" fmla="*/ 2314492 w 7467600"/>
              <a:gd name="connsiteY427" fmla="*/ 6858000 h 6858000"/>
              <a:gd name="connsiteX428" fmla="*/ 2288095 w 7467600"/>
              <a:gd name="connsiteY428" fmla="*/ 6818030 h 6858000"/>
              <a:gd name="connsiteX429" fmla="*/ 2272768 w 7467600"/>
              <a:gd name="connsiteY429" fmla="*/ 6795822 h 6858000"/>
              <a:gd name="connsiteX430" fmla="*/ 2182715 w 7467600"/>
              <a:gd name="connsiteY430" fmla="*/ 6675071 h 6858000"/>
              <a:gd name="connsiteX431" fmla="*/ 2032061 w 7467600"/>
              <a:gd name="connsiteY431" fmla="*/ 6541380 h 6858000"/>
              <a:gd name="connsiteX432" fmla="*/ 2257220 w 7467600"/>
              <a:gd name="connsiteY432" fmla="*/ 6826257 h 6858000"/>
              <a:gd name="connsiteX433" fmla="*/ 2281324 w 7467600"/>
              <a:gd name="connsiteY433" fmla="*/ 6858000 h 6858000"/>
              <a:gd name="connsiteX434" fmla="*/ 2242860 w 7467600"/>
              <a:gd name="connsiteY434" fmla="*/ 6858000 h 6858000"/>
              <a:gd name="connsiteX435" fmla="*/ 2232818 w 7467600"/>
              <a:gd name="connsiteY435" fmla="*/ 6844926 h 6858000"/>
              <a:gd name="connsiteX436" fmla="*/ 1990172 w 7467600"/>
              <a:gd name="connsiteY436" fmla="*/ 6542121 h 6858000"/>
              <a:gd name="connsiteX437" fmla="*/ 2124090 w 7467600"/>
              <a:gd name="connsiteY437" fmla="*/ 6761017 h 6858000"/>
              <a:gd name="connsiteX438" fmla="*/ 2200380 w 7467600"/>
              <a:gd name="connsiteY438" fmla="*/ 6858000 h 6858000"/>
              <a:gd name="connsiteX439" fmla="*/ 2147507 w 7467600"/>
              <a:gd name="connsiteY439" fmla="*/ 6858000 h 6858000"/>
              <a:gd name="connsiteX440" fmla="*/ 2070668 w 7467600"/>
              <a:gd name="connsiteY440" fmla="*/ 6761520 h 6858000"/>
              <a:gd name="connsiteX441" fmla="*/ 1975142 w 7467600"/>
              <a:gd name="connsiteY441" fmla="*/ 6585570 h 6858000"/>
              <a:gd name="connsiteX442" fmla="*/ 2050035 w 7467600"/>
              <a:gd name="connsiteY442" fmla="*/ 6813345 h 6858000"/>
              <a:gd name="connsiteX443" fmla="*/ 2063025 w 7467600"/>
              <a:gd name="connsiteY443" fmla="*/ 6858000 h 6858000"/>
              <a:gd name="connsiteX444" fmla="*/ 2021675 w 7467600"/>
              <a:gd name="connsiteY444" fmla="*/ 6858000 h 6858000"/>
              <a:gd name="connsiteX445" fmla="*/ 2019308 w 7467600"/>
              <a:gd name="connsiteY445" fmla="*/ 6847118 h 6858000"/>
              <a:gd name="connsiteX446" fmla="*/ 1938835 w 7467600"/>
              <a:gd name="connsiteY446" fmla="*/ 6551160 h 6858000"/>
              <a:gd name="connsiteX447" fmla="*/ 1953230 w 7467600"/>
              <a:gd name="connsiteY447" fmla="*/ 6759699 h 6858000"/>
              <a:gd name="connsiteX448" fmla="*/ 1956763 w 7467600"/>
              <a:gd name="connsiteY448" fmla="*/ 6778191 h 6858000"/>
              <a:gd name="connsiteX449" fmla="*/ 1967925 w 7467600"/>
              <a:gd name="connsiteY449" fmla="*/ 6858000 h 6858000"/>
              <a:gd name="connsiteX450" fmla="*/ 1936622 w 7467600"/>
              <a:gd name="connsiteY450" fmla="*/ 6858000 h 6858000"/>
              <a:gd name="connsiteX451" fmla="*/ 1926261 w 7467600"/>
              <a:gd name="connsiteY451" fmla="*/ 6784064 h 6858000"/>
              <a:gd name="connsiteX452" fmla="*/ 1922724 w 7467600"/>
              <a:gd name="connsiteY452" fmla="*/ 6765577 h 6858000"/>
              <a:gd name="connsiteX453" fmla="*/ 1904650 w 7467600"/>
              <a:gd name="connsiteY453" fmla="*/ 6639616 h 6858000"/>
              <a:gd name="connsiteX454" fmla="*/ 1885273 w 7467600"/>
              <a:gd name="connsiteY454" fmla="*/ 6858000 h 6858000"/>
              <a:gd name="connsiteX455" fmla="*/ 1854363 w 7467600"/>
              <a:gd name="connsiteY455" fmla="*/ 6858000 h 6858000"/>
              <a:gd name="connsiteX456" fmla="*/ 1880391 w 7467600"/>
              <a:gd name="connsiteY456" fmla="*/ 6603796 h 6858000"/>
              <a:gd name="connsiteX457" fmla="*/ 1818273 w 7467600"/>
              <a:gd name="connsiteY457" fmla="*/ 6715729 h 6858000"/>
              <a:gd name="connsiteX458" fmla="*/ 1794691 w 7467600"/>
              <a:gd name="connsiteY458" fmla="*/ 6843239 h 6858000"/>
              <a:gd name="connsiteX459" fmla="*/ 1794914 w 7467600"/>
              <a:gd name="connsiteY459" fmla="*/ 6858000 h 6858000"/>
              <a:gd name="connsiteX460" fmla="*/ 1746128 w 7467600"/>
              <a:gd name="connsiteY460" fmla="*/ 6858000 h 6858000"/>
              <a:gd name="connsiteX461" fmla="*/ 1753934 w 7467600"/>
              <a:gd name="connsiteY461" fmla="*/ 6724796 h 6858000"/>
              <a:gd name="connsiteX462" fmla="*/ 1792053 w 7467600"/>
              <a:gd name="connsiteY462" fmla="*/ 6572396 h 6858000"/>
              <a:gd name="connsiteX463" fmla="*/ 1862248 w 7467600"/>
              <a:gd name="connsiteY463" fmla="*/ 6266397 h 6858000"/>
              <a:gd name="connsiteX464" fmla="*/ 1862250 w 7467600"/>
              <a:gd name="connsiteY464" fmla="*/ 6033531 h 6858000"/>
              <a:gd name="connsiteX465" fmla="*/ 1211999 w 7467600"/>
              <a:gd name="connsiteY465" fmla="*/ 6683610 h 6858000"/>
              <a:gd name="connsiteX466" fmla="*/ 1213266 w 7467600"/>
              <a:gd name="connsiteY466" fmla="*/ 6691947 h 6858000"/>
              <a:gd name="connsiteX467" fmla="*/ 1203370 w 7467600"/>
              <a:gd name="connsiteY467" fmla="*/ 6850676 h 6858000"/>
              <a:gd name="connsiteX468" fmla="*/ 1203671 w 7467600"/>
              <a:gd name="connsiteY468" fmla="*/ 6858000 h 6858000"/>
              <a:gd name="connsiteX469" fmla="*/ 1143180 w 7467600"/>
              <a:gd name="connsiteY469" fmla="*/ 6858000 h 6858000"/>
              <a:gd name="connsiteX470" fmla="*/ 1142176 w 7467600"/>
              <a:gd name="connsiteY470" fmla="*/ 6766045 h 6858000"/>
              <a:gd name="connsiteX471" fmla="*/ 1067484 w 7467600"/>
              <a:gd name="connsiteY471" fmla="*/ 6858000 h 6858000"/>
              <a:gd name="connsiteX472" fmla="*/ 953928 w 7467600"/>
              <a:gd name="connsiteY472" fmla="*/ 6858000 h 6858000"/>
              <a:gd name="connsiteX473" fmla="*/ 959715 w 7467600"/>
              <a:gd name="connsiteY473" fmla="*/ 6850185 h 6858000"/>
              <a:gd name="connsiteX474" fmla="*/ 1483788 w 7467600"/>
              <a:gd name="connsiteY474" fmla="*/ 6259174 h 6858000"/>
              <a:gd name="connsiteX475" fmla="*/ 1100671 w 7467600"/>
              <a:gd name="connsiteY475" fmla="*/ 6252137 h 6858000"/>
              <a:gd name="connsiteX476" fmla="*/ 1090144 w 7467600"/>
              <a:gd name="connsiteY476" fmla="*/ 6256748 h 6858000"/>
              <a:gd name="connsiteX477" fmla="*/ 1095872 w 7467600"/>
              <a:gd name="connsiteY477" fmla="*/ 6271892 h 6858000"/>
              <a:gd name="connsiteX478" fmla="*/ 262785 w 7467600"/>
              <a:gd name="connsiteY478" fmla="*/ 6845450 h 6858000"/>
              <a:gd name="connsiteX479" fmla="*/ 209968 w 7467600"/>
              <a:gd name="connsiteY479" fmla="*/ 6770713 h 6858000"/>
              <a:gd name="connsiteX480" fmla="*/ 873460 w 7467600"/>
              <a:gd name="connsiteY480" fmla="*/ 6253768 h 6858000"/>
              <a:gd name="connsiteX481" fmla="*/ 192686 w 7467600"/>
              <a:gd name="connsiteY481" fmla="*/ 5849257 h 6858000"/>
              <a:gd name="connsiteX482" fmla="*/ 4696 w 7467600"/>
              <a:gd name="connsiteY482" fmla="*/ 5697668 h 6858000"/>
              <a:gd name="connsiteX483" fmla="*/ 0 w 7467600"/>
              <a:gd name="connsiteY483" fmla="*/ 5689984 h 6858000"/>
              <a:gd name="connsiteX484" fmla="*/ 0 w 7467600"/>
              <a:gd name="connsiteY484" fmla="*/ 5513472 h 6858000"/>
              <a:gd name="connsiteX485" fmla="*/ 174101 w 7467600"/>
              <a:gd name="connsiteY485" fmla="*/ 5620277 h 6858000"/>
              <a:gd name="connsiteX486" fmla="*/ 891800 w 7467600"/>
              <a:gd name="connsiteY486" fmla="*/ 6036935 h 6858000"/>
              <a:gd name="connsiteX487" fmla="*/ 1072219 w 7467600"/>
              <a:gd name="connsiteY487" fmla="*/ 6169443 h 6858000"/>
              <a:gd name="connsiteX488" fmla="*/ 1074117 w 7467600"/>
              <a:gd name="connsiteY488" fmla="*/ 6170301 h 6858000"/>
              <a:gd name="connsiteX489" fmla="*/ 1083114 w 7467600"/>
              <a:gd name="connsiteY489" fmla="*/ 6174131 h 6858000"/>
              <a:gd name="connsiteX490" fmla="*/ 1543010 w 7467600"/>
              <a:gd name="connsiteY490" fmla="*/ 6191140 h 6858000"/>
              <a:gd name="connsiteX491" fmla="*/ 1551080 w 7467600"/>
              <a:gd name="connsiteY491" fmla="*/ 6195006 h 6858000"/>
              <a:gd name="connsiteX492" fmla="*/ 2345443 w 7467600"/>
              <a:gd name="connsiteY492" fmla="*/ 5549882 h 6858000"/>
              <a:gd name="connsiteX493" fmla="*/ 1721499 w 7467600"/>
              <a:gd name="connsiteY493" fmla="*/ 5599969 h 6858000"/>
              <a:gd name="connsiteX494" fmla="*/ 767716 w 7467600"/>
              <a:gd name="connsiteY494" fmla="*/ 5472768 h 6858000"/>
              <a:gd name="connsiteX495" fmla="*/ 722147 w 7467600"/>
              <a:gd name="connsiteY495" fmla="*/ 5393091 h 6858000"/>
              <a:gd name="connsiteX496" fmla="*/ 1485552 w 7467600"/>
              <a:gd name="connsiteY496" fmla="*/ 5313202 h 6858000"/>
              <a:gd name="connsiteX497" fmla="*/ 2143004 w 7467600"/>
              <a:gd name="connsiteY497" fmla="*/ 5402420 h 6858000"/>
              <a:gd name="connsiteX498" fmla="*/ 1933391 w 7467600"/>
              <a:gd name="connsiteY498" fmla="*/ 5156971 h 6858000"/>
              <a:gd name="connsiteX499" fmla="*/ 1827118 w 7467600"/>
              <a:gd name="connsiteY499" fmla="*/ 4968410 h 6858000"/>
              <a:gd name="connsiteX500" fmla="*/ 1837349 w 7467600"/>
              <a:gd name="connsiteY500" fmla="*/ 4956357 h 6858000"/>
              <a:gd name="connsiteX501" fmla="*/ 2162835 w 7467600"/>
              <a:gd name="connsiteY501" fmla="*/ 5187853 h 6858000"/>
              <a:gd name="connsiteX502" fmla="*/ 2257167 w 7467600"/>
              <a:gd name="connsiteY502" fmla="*/ 5462123 h 6858000"/>
              <a:gd name="connsiteX503" fmla="*/ 2261598 w 7467600"/>
              <a:gd name="connsiteY503" fmla="*/ 5467998 h 6858000"/>
              <a:gd name="connsiteX504" fmla="*/ 2437177 w 7467600"/>
              <a:gd name="connsiteY504" fmla="*/ 5479608 h 6858000"/>
              <a:gd name="connsiteX505" fmla="*/ 2445247 w 7467600"/>
              <a:gd name="connsiteY505" fmla="*/ 5483476 h 6858000"/>
              <a:gd name="connsiteX506" fmla="*/ 2743626 w 7467600"/>
              <a:gd name="connsiteY506" fmla="*/ 5304819 h 6858000"/>
              <a:gd name="connsiteX507" fmla="*/ 3048102 w 7467600"/>
              <a:gd name="connsiteY507" fmla="*/ 5150595 h 6858000"/>
              <a:gd name="connsiteX508" fmla="*/ 1799414 w 7467600"/>
              <a:gd name="connsiteY508" fmla="*/ 4694732 h 6858000"/>
              <a:gd name="connsiteX509" fmla="*/ 1771735 w 7467600"/>
              <a:gd name="connsiteY509" fmla="*/ 4619929 h 6858000"/>
              <a:gd name="connsiteX510" fmla="*/ 3104273 w 7467600"/>
              <a:gd name="connsiteY510" fmla="*/ 5076159 h 6858000"/>
              <a:gd name="connsiteX511" fmla="*/ 3113245 w 7467600"/>
              <a:gd name="connsiteY511" fmla="*/ 5090705 h 6858000"/>
              <a:gd name="connsiteX512" fmla="*/ 3126294 w 7467600"/>
              <a:gd name="connsiteY512" fmla="*/ 5114400 h 6858000"/>
              <a:gd name="connsiteX513" fmla="*/ 3937433 w 7467600"/>
              <a:gd name="connsiteY513" fmla="*/ 4830473 h 6858000"/>
              <a:gd name="connsiteX514" fmla="*/ 3590475 w 7467600"/>
              <a:gd name="connsiteY514" fmla="*/ 4597974 h 6858000"/>
              <a:gd name="connsiteX515" fmla="*/ 3100264 w 7467600"/>
              <a:gd name="connsiteY515" fmla="*/ 4579845 h 6858000"/>
              <a:gd name="connsiteX516" fmla="*/ 2183576 w 7467600"/>
              <a:gd name="connsiteY516" fmla="*/ 4227150 h 6858000"/>
              <a:gd name="connsiteX517" fmla="*/ 2151029 w 7467600"/>
              <a:gd name="connsiteY517" fmla="*/ 4146947 h 6858000"/>
              <a:gd name="connsiteX518" fmla="*/ 3563434 w 7467600"/>
              <a:gd name="connsiteY518" fmla="*/ 4469115 h 6858000"/>
              <a:gd name="connsiteX519" fmla="*/ 3177952 w 7467600"/>
              <a:gd name="connsiteY519" fmla="*/ 3657386 h 6858000"/>
              <a:gd name="connsiteX520" fmla="*/ 3189263 w 7467600"/>
              <a:gd name="connsiteY520" fmla="*/ 3625726 h 6858000"/>
              <a:gd name="connsiteX521" fmla="*/ 3560912 w 7467600"/>
              <a:gd name="connsiteY521" fmla="*/ 4079863 h 6858000"/>
              <a:gd name="connsiteX522" fmla="*/ 3626636 w 7467600"/>
              <a:gd name="connsiteY522" fmla="*/ 4512230 h 6858000"/>
              <a:gd name="connsiteX523" fmla="*/ 3653088 w 7467600"/>
              <a:gd name="connsiteY523" fmla="*/ 4521417 h 6858000"/>
              <a:gd name="connsiteX524" fmla="*/ 3988128 w 7467600"/>
              <a:gd name="connsiteY524" fmla="*/ 4817267 h 6858000"/>
              <a:gd name="connsiteX525" fmla="*/ 4830582 w 7467600"/>
              <a:gd name="connsiteY525" fmla="*/ 4676000 h 6858000"/>
              <a:gd name="connsiteX526" fmla="*/ 4830100 w 7467600"/>
              <a:gd name="connsiteY526" fmla="*/ 4675554 h 6858000"/>
              <a:gd name="connsiteX527" fmla="*/ 4036318 w 7467600"/>
              <a:gd name="connsiteY527" fmla="*/ 4147013 h 6858000"/>
              <a:gd name="connsiteX528" fmla="*/ 3432098 w 7467600"/>
              <a:gd name="connsiteY528" fmla="*/ 3537312 h 6858000"/>
              <a:gd name="connsiteX529" fmla="*/ 3446761 w 7467600"/>
              <a:gd name="connsiteY529" fmla="*/ 3461278 h 6858000"/>
              <a:gd name="connsiteX530" fmla="*/ 4419733 w 7467600"/>
              <a:gd name="connsiteY530" fmla="*/ 3963555 h 6858000"/>
              <a:gd name="connsiteX531" fmla="*/ 4781371 w 7467600"/>
              <a:gd name="connsiteY531" fmla="*/ 4458604 h 6858000"/>
              <a:gd name="connsiteX532" fmla="*/ 4780440 w 7467600"/>
              <a:gd name="connsiteY532" fmla="*/ 4470290 h 6858000"/>
              <a:gd name="connsiteX533" fmla="*/ 4898954 w 7467600"/>
              <a:gd name="connsiteY533" fmla="*/ 4662092 h 6858000"/>
              <a:gd name="connsiteX534" fmla="*/ 4900699 w 7467600"/>
              <a:gd name="connsiteY534" fmla="*/ 4670867 h 6858000"/>
              <a:gd name="connsiteX535" fmla="*/ 5714511 w 7467600"/>
              <a:gd name="connsiteY535" fmla="*/ 4663483 h 6858000"/>
              <a:gd name="connsiteX536" fmla="*/ 5464793 w 7467600"/>
              <a:gd name="connsiteY536" fmla="*/ 4393556 h 6858000"/>
              <a:gd name="connsiteX537" fmla="*/ 5461897 w 7467600"/>
              <a:gd name="connsiteY537" fmla="*/ 4390879 h 6858000"/>
              <a:gd name="connsiteX538" fmla="*/ 4294126 w 7467600"/>
              <a:gd name="connsiteY538" fmla="*/ 3303048 h 6858000"/>
              <a:gd name="connsiteX539" fmla="*/ 4305321 w 7467600"/>
              <a:gd name="connsiteY539" fmla="*/ 3256953 h 6858000"/>
              <a:gd name="connsiteX540" fmla="*/ 4949299 w 7467600"/>
              <a:gd name="connsiteY540" fmla="*/ 3766336 h 6858000"/>
              <a:gd name="connsiteX541" fmla="*/ 5291452 w 7467600"/>
              <a:gd name="connsiteY541" fmla="*/ 4076801 h 6858000"/>
              <a:gd name="connsiteX542" fmla="*/ 5434998 w 7467600"/>
              <a:gd name="connsiteY542" fmla="*/ 4254100 h 6858000"/>
              <a:gd name="connsiteX543" fmla="*/ 5351015 w 7467600"/>
              <a:gd name="connsiteY543" fmla="*/ 3760989 h 6858000"/>
              <a:gd name="connsiteX544" fmla="*/ 5413780 w 7467600"/>
              <a:gd name="connsiteY544" fmla="*/ 2966265 h 6858000"/>
              <a:gd name="connsiteX545" fmla="*/ 5425627 w 7467600"/>
              <a:gd name="connsiteY545" fmla="*/ 2954192 h 6858000"/>
              <a:gd name="connsiteX546" fmla="*/ 6604735 w 7467600"/>
              <a:gd name="connsiteY546" fmla="*/ 2041381 h 6858000"/>
              <a:gd name="connsiteX547" fmla="*/ 7204487 w 7467600"/>
              <a:gd name="connsiteY547" fmla="*/ 2742112 h 6858000"/>
              <a:gd name="connsiteX548" fmla="*/ 7131592 w 7467600"/>
              <a:gd name="connsiteY548" fmla="*/ 2672096 h 6858000"/>
              <a:gd name="connsiteX549" fmla="*/ 6996344 w 7467600"/>
              <a:gd name="connsiteY549" fmla="*/ 2518310 h 6858000"/>
              <a:gd name="connsiteX550" fmla="*/ 6735495 w 7467600"/>
              <a:gd name="connsiteY550" fmla="*/ 2196890 h 6858000"/>
              <a:gd name="connsiteX551" fmla="*/ 6721901 w 7467600"/>
              <a:gd name="connsiteY551" fmla="*/ 2179274 h 6858000"/>
              <a:gd name="connsiteX552" fmla="*/ 6604735 w 7467600"/>
              <a:gd name="connsiteY552" fmla="*/ 2041381 h 6858000"/>
              <a:gd name="connsiteX553" fmla="*/ 6591670 w 7467600"/>
              <a:gd name="connsiteY553" fmla="*/ 1988277 h 6858000"/>
              <a:gd name="connsiteX554" fmla="*/ 6747349 w 7467600"/>
              <a:gd name="connsiteY554" fmla="*/ 2160069 h 6858000"/>
              <a:gd name="connsiteX555" fmla="*/ 6760943 w 7467600"/>
              <a:gd name="connsiteY555" fmla="*/ 2177686 h 6858000"/>
              <a:gd name="connsiteX556" fmla="*/ 7021065 w 7467600"/>
              <a:gd name="connsiteY556" fmla="*/ 2498102 h 6858000"/>
              <a:gd name="connsiteX557" fmla="*/ 7155223 w 7467600"/>
              <a:gd name="connsiteY557" fmla="*/ 2650386 h 6858000"/>
              <a:gd name="connsiteX558" fmla="*/ 7203167 w 7467600"/>
              <a:gd name="connsiteY558" fmla="*/ 2697288 h 6858000"/>
              <a:gd name="connsiteX559" fmla="*/ 6937703 w 7467600"/>
              <a:gd name="connsiteY559" fmla="*/ 2321981 h 6858000"/>
              <a:gd name="connsiteX560" fmla="*/ 6591670 w 7467600"/>
              <a:gd name="connsiteY560" fmla="*/ 1988277 h 6858000"/>
              <a:gd name="connsiteX561" fmla="*/ 5798671 w 7467600"/>
              <a:gd name="connsiteY561" fmla="*/ 1981601 h 6858000"/>
              <a:gd name="connsiteX562" fmla="*/ 5754709 w 7467600"/>
              <a:gd name="connsiteY562" fmla="*/ 2071454 h 6858000"/>
              <a:gd name="connsiteX563" fmla="*/ 5763044 w 7467600"/>
              <a:gd name="connsiteY563" fmla="*/ 2842206 h 6858000"/>
              <a:gd name="connsiteX564" fmla="*/ 5764974 w 7467600"/>
              <a:gd name="connsiteY564" fmla="*/ 2799609 h 6858000"/>
              <a:gd name="connsiteX565" fmla="*/ 5767665 w 7467600"/>
              <a:gd name="connsiteY565" fmla="*/ 2666409 h 6858000"/>
              <a:gd name="connsiteX566" fmla="*/ 5763055 w 7467600"/>
              <a:gd name="connsiteY566" fmla="*/ 2579705 h 6858000"/>
              <a:gd name="connsiteX567" fmla="*/ 5758079 w 7467600"/>
              <a:gd name="connsiteY567" fmla="*/ 2492508 h 6858000"/>
              <a:gd name="connsiteX568" fmla="*/ 5779325 w 7467600"/>
              <a:gd name="connsiteY568" fmla="*/ 2197069 h 6858000"/>
              <a:gd name="connsiteX569" fmla="*/ 5798671 w 7467600"/>
              <a:gd name="connsiteY569" fmla="*/ 1981601 h 6858000"/>
              <a:gd name="connsiteX570" fmla="*/ 5829202 w 7467600"/>
              <a:gd name="connsiteY570" fmla="*/ 1971679 h 6858000"/>
              <a:gd name="connsiteX571" fmla="*/ 5809558 w 7467600"/>
              <a:gd name="connsiteY571" fmla="*/ 2198043 h 6858000"/>
              <a:gd name="connsiteX572" fmla="*/ 5788653 w 7467600"/>
              <a:gd name="connsiteY572" fmla="*/ 2489430 h 6858000"/>
              <a:gd name="connsiteX573" fmla="*/ 5793439 w 7467600"/>
              <a:gd name="connsiteY573" fmla="*/ 2575235 h 6858000"/>
              <a:gd name="connsiteX574" fmla="*/ 5796837 w 7467600"/>
              <a:gd name="connsiteY574" fmla="*/ 2637633 h 6858000"/>
              <a:gd name="connsiteX575" fmla="*/ 5818614 w 7467600"/>
              <a:gd name="connsiteY575" fmla="*/ 2473055 h 6858000"/>
              <a:gd name="connsiteX576" fmla="*/ 5829202 w 7467600"/>
              <a:gd name="connsiteY576" fmla="*/ 1971679 h 6858000"/>
              <a:gd name="connsiteX577" fmla="*/ 5911389 w 7467600"/>
              <a:gd name="connsiteY577" fmla="*/ 1898371 h 6858000"/>
              <a:gd name="connsiteX578" fmla="*/ 6237627 w 7467600"/>
              <a:gd name="connsiteY578" fmla="*/ 2231921 h 6858000"/>
              <a:gd name="connsiteX579" fmla="*/ 5911389 w 7467600"/>
              <a:gd name="connsiteY579" fmla="*/ 1898371 h 6858000"/>
              <a:gd name="connsiteX580" fmla="*/ 6944437 w 7467600"/>
              <a:gd name="connsiteY580" fmla="*/ 1575402 h 6858000"/>
              <a:gd name="connsiteX581" fmla="*/ 6304730 w 7467600"/>
              <a:gd name="connsiteY581" fmla="*/ 1766654 h 6858000"/>
              <a:gd name="connsiteX582" fmla="*/ 6944437 w 7467600"/>
              <a:gd name="connsiteY582" fmla="*/ 1575402 h 6858000"/>
              <a:gd name="connsiteX583" fmla="*/ 7019523 w 7467600"/>
              <a:gd name="connsiteY583" fmla="*/ 1519450 h 6858000"/>
              <a:gd name="connsiteX584" fmla="*/ 6298091 w 7467600"/>
              <a:gd name="connsiteY584" fmla="*/ 1737122 h 6858000"/>
              <a:gd name="connsiteX585" fmla="*/ 7019523 w 7467600"/>
              <a:gd name="connsiteY585" fmla="*/ 1519450 h 6858000"/>
              <a:gd name="connsiteX586" fmla="*/ 2399523 w 7467600"/>
              <a:gd name="connsiteY586" fmla="*/ 1428234 h 6858000"/>
              <a:gd name="connsiteX587" fmla="*/ 2224982 w 7467600"/>
              <a:gd name="connsiteY587" fmla="*/ 1826201 h 6858000"/>
              <a:gd name="connsiteX588" fmla="*/ 2096099 w 7467600"/>
              <a:gd name="connsiteY588" fmla="*/ 2345900 h 6858000"/>
              <a:gd name="connsiteX589" fmla="*/ 2283317 w 7467600"/>
              <a:gd name="connsiteY589" fmla="*/ 1796925 h 6858000"/>
              <a:gd name="connsiteX590" fmla="*/ 2399523 w 7467600"/>
              <a:gd name="connsiteY590" fmla="*/ 1428234 h 6858000"/>
              <a:gd name="connsiteX591" fmla="*/ 2448558 w 7467600"/>
              <a:gd name="connsiteY591" fmla="*/ 1373435 h 6858000"/>
              <a:gd name="connsiteX592" fmla="*/ 2312521 w 7467600"/>
              <a:gd name="connsiteY592" fmla="*/ 1806140 h 6858000"/>
              <a:gd name="connsiteX593" fmla="*/ 2127533 w 7467600"/>
              <a:gd name="connsiteY593" fmla="*/ 2348380 h 6858000"/>
              <a:gd name="connsiteX594" fmla="*/ 2358080 w 7467600"/>
              <a:gd name="connsiteY594" fmla="*/ 1866134 h 6858000"/>
              <a:gd name="connsiteX595" fmla="*/ 2407436 w 7467600"/>
              <a:gd name="connsiteY595" fmla="*/ 1651070 h 6858000"/>
              <a:gd name="connsiteX596" fmla="*/ 2448558 w 7467600"/>
              <a:gd name="connsiteY596" fmla="*/ 1373435 h 6858000"/>
              <a:gd name="connsiteX597" fmla="*/ 278707 w 7467600"/>
              <a:gd name="connsiteY597" fmla="*/ 1352270 h 6858000"/>
              <a:gd name="connsiteX598" fmla="*/ 321570 w 7467600"/>
              <a:gd name="connsiteY598" fmla="*/ 1861610 h 6858000"/>
              <a:gd name="connsiteX599" fmla="*/ 294281 w 7467600"/>
              <a:gd name="connsiteY599" fmla="*/ 1440658 h 6858000"/>
              <a:gd name="connsiteX600" fmla="*/ 278707 w 7467600"/>
              <a:gd name="connsiteY600" fmla="*/ 1352270 h 6858000"/>
              <a:gd name="connsiteX601" fmla="*/ 1423821 w 7467600"/>
              <a:gd name="connsiteY601" fmla="*/ 1351958 h 6858000"/>
              <a:gd name="connsiteX602" fmla="*/ 1638521 w 7467600"/>
              <a:gd name="connsiteY602" fmla="*/ 1908470 h 6858000"/>
              <a:gd name="connsiteX603" fmla="*/ 1754199 w 7467600"/>
              <a:gd name="connsiteY603" fmla="*/ 2149284 h 6858000"/>
              <a:gd name="connsiteX604" fmla="*/ 1908359 w 7467600"/>
              <a:gd name="connsiteY604" fmla="*/ 2364988 h 6858000"/>
              <a:gd name="connsiteX605" fmla="*/ 1647661 w 7467600"/>
              <a:gd name="connsiteY605" fmla="*/ 1825945 h 6858000"/>
              <a:gd name="connsiteX606" fmla="*/ 1423821 w 7467600"/>
              <a:gd name="connsiteY606" fmla="*/ 1351958 h 6858000"/>
              <a:gd name="connsiteX607" fmla="*/ 1431890 w 7467600"/>
              <a:gd name="connsiteY607" fmla="*/ 1306475 h 6858000"/>
              <a:gd name="connsiteX608" fmla="*/ 1507597 w 7467600"/>
              <a:gd name="connsiteY608" fmla="*/ 1446132 h 6858000"/>
              <a:gd name="connsiteX609" fmla="*/ 1674586 w 7467600"/>
              <a:gd name="connsiteY609" fmla="*/ 1813832 h 6858000"/>
              <a:gd name="connsiteX610" fmla="*/ 1815950 w 7467600"/>
              <a:gd name="connsiteY610" fmla="*/ 2128564 h 6858000"/>
              <a:gd name="connsiteX611" fmla="*/ 1984242 w 7467600"/>
              <a:gd name="connsiteY611" fmla="*/ 2430829 h 6858000"/>
              <a:gd name="connsiteX612" fmla="*/ 2014023 w 7467600"/>
              <a:gd name="connsiteY612" fmla="*/ 2450995 h 6858000"/>
              <a:gd name="connsiteX613" fmla="*/ 1747337 w 7467600"/>
              <a:gd name="connsiteY613" fmla="*/ 1855264 h 6858000"/>
              <a:gd name="connsiteX614" fmla="*/ 1533749 w 7467600"/>
              <a:gd name="connsiteY614" fmla="*/ 1478656 h 6858000"/>
              <a:gd name="connsiteX615" fmla="*/ 1431890 w 7467600"/>
              <a:gd name="connsiteY615" fmla="*/ 1306475 h 6858000"/>
              <a:gd name="connsiteX616" fmla="*/ 5052692 w 7467600"/>
              <a:gd name="connsiteY616" fmla="*/ 1292994 h 6858000"/>
              <a:gd name="connsiteX617" fmla="*/ 5200661 w 7467600"/>
              <a:gd name="connsiteY617" fmla="*/ 1635186 h 6858000"/>
              <a:gd name="connsiteX618" fmla="*/ 5297138 w 7467600"/>
              <a:gd name="connsiteY618" fmla="*/ 1906351 h 6858000"/>
              <a:gd name="connsiteX619" fmla="*/ 5052692 w 7467600"/>
              <a:gd name="connsiteY619" fmla="*/ 1292994 h 6858000"/>
              <a:gd name="connsiteX620" fmla="*/ 5009948 w 7467600"/>
              <a:gd name="connsiteY620" fmla="*/ 1273619 h 6858000"/>
              <a:gd name="connsiteX621" fmla="*/ 5121777 w 7467600"/>
              <a:gd name="connsiteY621" fmla="*/ 1654213 h 6858000"/>
              <a:gd name="connsiteX622" fmla="*/ 5293545 w 7467600"/>
              <a:gd name="connsiteY622" fmla="*/ 2072247 h 6858000"/>
              <a:gd name="connsiteX623" fmla="*/ 5294042 w 7467600"/>
              <a:gd name="connsiteY623" fmla="*/ 2065019 h 6858000"/>
              <a:gd name="connsiteX624" fmla="*/ 5171936 w 7467600"/>
              <a:gd name="connsiteY624" fmla="*/ 1647613 h 6858000"/>
              <a:gd name="connsiteX625" fmla="*/ 5009948 w 7467600"/>
              <a:gd name="connsiteY625" fmla="*/ 1273619 h 6858000"/>
              <a:gd name="connsiteX626" fmla="*/ 655236 w 7467600"/>
              <a:gd name="connsiteY626" fmla="*/ 1268632 h 6858000"/>
              <a:gd name="connsiteX627" fmla="*/ 839521 w 7467600"/>
              <a:gd name="connsiteY627" fmla="*/ 1685315 h 6858000"/>
              <a:gd name="connsiteX628" fmla="*/ 1109416 w 7467600"/>
              <a:gd name="connsiteY628" fmla="*/ 2061663 h 6858000"/>
              <a:gd name="connsiteX629" fmla="*/ 1298300 w 7467600"/>
              <a:gd name="connsiteY629" fmla="*/ 2247742 h 6858000"/>
              <a:gd name="connsiteX630" fmla="*/ 1125871 w 7467600"/>
              <a:gd name="connsiteY630" fmla="*/ 1989513 h 6858000"/>
              <a:gd name="connsiteX631" fmla="*/ 981574 w 7467600"/>
              <a:gd name="connsiteY631" fmla="*/ 1783157 h 6858000"/>
              <a:gd name="connsiteX632" fmla="*/ 922198 w 7467600"/>
              <a:gd name="connsiteY632" fmla="*/ 1677437 h 6858000"/>
              <a:gd name="connsiteX633" fmla="*/ 869293 w 7467600"/>
              <a:gd name="connsiteY633" fmla="*/ 1583214 h 6858000"/>
              <a:gd name="connsiteX634" fmla="*/ 751431 w 7467600"/>
              <a:gd name="connsiteY634" fmla="*/ 1405731 h 6858000"/>
              <a:gd name="connsiteX635" fmla="*/ 655236 w 7467600"/>
              <a:gd name="connsiteY635" fmla="*/ 1268632 h 6858000"/>
              <a:gd name="connsiteX636" fmla="*/ 6516292 w 7467600"/>
              <a:gd name="connsiteY636" fmla="*/ 1263064 h 6858000"/>
              <a:gd name="connsiteX637" fmla="*/ 5736320 w 7467600"/>
              <a:gd name="connsiteY637" fmla="*/ 1501803 h 6858000"/>
              <a:gd name="connsiteX638" fmla="*/ 6516292 w 7467600"/>
              <a:gd name="connsiteY638" fmla="*/ 1263064 h 6858000"/>
              <a:gd name="connsiteX639" fmla="*/ 291466 w 7467600"/>
              <a:gd name="connsiteY639" fmla="*/ 1250369 h 6858000"/>
              <a:gd name="connsiteX640" fmla="*/ 323180 w 7467600"/>
              <a:gd name="connsiteY640" fmla="*/ 1435283 h 6858000"/>
              <a:gd name="connsiteX641" fmla="*/ 349381 w 7467600"/>
              <a:gd name="connsiteY641" fmla="*/ 1875041 h 6858000"/>
              <a:gd name="connsiteX642" fmla="*/ 374363 w 7467600"/>
              <a:gd name="connsiteY642" fmla="*/ 1506494 h 6858000"/>
              <a:gd name="connsiteX643" fmla="*/ 302168 w 7467600"/>
              <a:gd name="connsiteY643" fmla="*/ 1274495 h 6858000"/>
              <a:gd name="connsiteX644" fmla="*/ 291466 w 7467600"/>
              <a:gd name="connsiteY644" fmla="*/ 1250369 h 6858000"/>
              <a:gd name="connsiteX645" fmla="*/ 678222 w 7467600"/>
              <a:gd name="connsiteY645" fmla="*/ 1248670 h 6858000"/>
              <a:gd name="connsiteX646" fmla="*/ 775536 w 7467600"/>
              <a:gd name="connsiteY646" fmla="*/ 1388015 h 6858000"/>
              <a:gd name="connsiteX647" fmla="*/ 894529 w 7467600"/>
              <a:gd name="connsiteY647" fmla="*/ 1567739 h 6858000"/>
              <a:gd name="connsiteX648" fmla="*/ 948000 w 7467600"/>
              <a:gd name="connsiteY648" fmla="*/ 1663088 h 6858000"/>
              <a:gd name="connsiteX649" fmla="*/ 1006812 w 7467600"/>
              <a:gd name="connsiteY649" fmla="*/ 1767683 h 6858000"/>
              <a:gd name="connsiteX650" fmla="*/ 1149133 w 7467600"/>
              <a:gd name="connsiteY650" fmla="*/ 1971513 h 6858000"/>
              <a:gd name="connsiteX651" fmla="*/ 1333952 w 7467600"/>
              <a:gd name="connsiteY651" fmla="*/ 2251620 h 6858000"/>
              <a:gd name="connsiteX652" fmla="*/ 1337329 w 7467600"/>
              <a:gd name="connsiteY652" fmla="*/ 2258350 h 6858000"/>
              <a:gd name="connsiteX653" fmla="*/ 1014726 w 7467600"/>
              <a:gd name="connsiteY653" fmla="*/ 1615556 h 6858000"/>
              <a:gd name="connsiteX654" fmla="*/ 678222 w 7467600"/>
              <a:gd name="connsiteY654" fmla="*/ 1248670 h 6858000"/>
              <a:gd name="connsiteX655" fmla="*/ 6691602 w 7467600"/>
              <a:gd name="connsiteY655" fmla="*/ 1140573 h 6858000"/>
              <a:gd name="connsiteX656" fmla="*/ 6571100 w 7467600"/>
              <a:gd name="connsiteY656" fmla="*/ 1183662 h 6858000"/>
              <a:gd name="connsiteX657" fmla="*/ 6241687 w 7467600"/>
              <a:gd name="connsiteY657" fmla="*/ 1257600 h 6858000"/>
              <a:gd name="connsiteX658" fmla="*/ 5693009 w 7467600"/>
              <a:gd name="connsiteY658" fmla="*/ 1478256 h 6858000"/>
              <a:gd name="connsiteX659" fmla="*/ 6548420 w 7467600"/>
              <a:gd name="connsiteY659" fmla="*/ 1214599 h 6858000"/>
              <a:gd name="connsiteX660" fmla="*/ 6605473 w 7467600"/>
              <a:gd name="connsiteY660" fmla="*/ 1184686 h 6858000"/>
              <a:gd name="connsiteX661" fmla="*/ 6691602 w 7467600"/>
              <a:gd name="connsiteY661" fmla="*/ 1140573 h 6858000"/>
              <a:gd name="connsiteX662" fmla="*/ 4002475 w 7467600"/>
              <a:gd name="connsiteY662" fmla="*/ 1037802 h 6858000"/>
              <a:gd name="connsiteX663" fmla="*/ 4000324 w 7467600"/>
              <a:gd name="connsiteY663" fmla="*/ 1039362 h 6858000"/>
              <a:gd name="connsiteX664" fmla="*/ 4002862 w 7467600"/>
              <a:gd name="connsiteY664" fmla="*/ 1042866 h 6858000"/>
              <a:gd name="connsiteX665" fmla="*/ 4002475 w 7467600"/>
              <a:gd name="connsiteY665" fmla="*/ 1037802 h 6858000"/>
              <a:gd name="connsiteX666" fmla="*/ 506322 w 7467600"/>
              <a:gd name="connsiteY666" fmla="*/ 1020997 h 6858000"/>
              <a:gd name="connsiteX667" fmla="*/ 533068 w 7467600"/>
              <a:gd name="connsiteY667" fmla="*/ 1029409 h 6858000"/>
              <a:gd name="connsiteX668" fmla="*/ 1232525 w 7467600"/>
              <a:gd name="connsiteY668" fmla="*/ 1804675 h 6858000"/>
              <a:gd name="connsiteX669" fmla="*/ 1388858 w 7467600"/>
              <a:gd name="connsiteY669" fmla="*/ 2368011 h 6858000"/>
              <a:gd name="connsiteX670" fmla="*/ 1384098 w 7467600"/>
              <a:gd name="connsiteY670" fmla="*/ 2378125 h 6858000"/>
              <a:gd name="connsiteX671" fmla="*/ 1425393 w 7467600"/>
              <a:gd name="connsiteY671" fmla="*/ 2589124 h 6858000"/>
              <a:gd name="connsiteX672" fmla="*/ 1424001 w 7467600"/>
              <a:gd name="connsiteY672" fmla="*/ 2597541 h 6858000"/>
              <a:gd name="connsiteX673" fmla="*/ 2152729 w 7467600"/>
              <a:gd name="connsiteY673" fmla="*/ 2864487 h 6858000"/>
              <a:gd name="connsiteX674" fmla="*/ 2020609 w 7467600"/>
              <a:gd name="connsiteY674" fmla="*/ 2539671 h 6858000"/>
              <a:gd name="connsiteX675" fmla="*/ 2018920 w 7467600"/>
              <a:gd name="connsiteY675" fmla="*/ 2536309 h 6858000"/>
              <a:gd name="connsiteX676" fmla="*/ 1342441 w 7467600"/>
              <a:gd name="connsiteY676" fmla="*/ 1173017 h 6858000"/>
              <a:gd name="connsiteX677" fmla="*/ 1367925 w 7467600"/>
              <a:gd name="connsiteY677" fmla="*/ 1135648 h 6858000"/>
              <a:gd name="connsiteX678" fmla="*/ 1771401 w 7467600"/>
              <a:gd name="connsiteY678" fmla="*/ 1806673 h 6858000"/>
              <a:gd name="connsiteX679" fmla="*/ 1972385 w 7467600"/>
              <a:gd name="connsiteY679" fmla="*/ 2198735 h 6858000"/>
              <a:gd name="connsiteX680" fmla="*/ 2040892 w 7467600"/>
              <a:gd name="connsiteY680" fmla="*/ 2405205 h 6858000"/>
              <a:gd name="connsiteX681" fmla="*/ 2131689 w 7467600"/>
              <a:gd name="connsiteY681" fmla="*/ 1936926 h 6858000"/>
              <a:gd name="connsiteX682" fmla="*/ 2454820 w 7467600"/>
              <a:gd name="connsiteY682" fmla="*/ 1248808 h 6858000"/>
              <a:gd name="connsiteX683" fmla="*/ 2492512 w 7467600"/>
              <a:gd name="connsiteY683" fmla="*/ 1302920 h 6858000"/>
              <a:gd name="connsiteX684" fmla="*/ 2081216 w 7467600"/>
              <a:gd name="connsiteY684" fmla="*/ 2527513 h 6858000"/>
              <a:gd name="connsiteX685" fmla="*/ 2081211 w 7467600"/>
              <a:gd name="connsiteY685" fmla="*/ 2528916 h 6858000"/>
              <a:gd name="connsiteX686" fmla="*/ 2199067 w 7467600"/>
              <a:gd name="connsiteY686" fmla="*/ 2884061 h 6858000"/>
              <a:gd name="connsiteX687" fmla="*/ 3192586 w 7467600"/>
              <a:gd name="connsiteY687" fmla="*/ 3411496 h 6858000"/>
              <a:gd name="connsiteX688" fmla="*/ 3182620 w 7467600"/>
              <a:gd name="connsiteY688" fmla="*/ 3483279 h 6858000"/>
              <a:gd name="connsiteX689" fmla="*/ 2435119 w 7467600"/>
              <a:gd name="connsiteY689" fmla="*/ 3080173 h 6858000"/>
              <a:gd name="connsiteX690" fmla="*/ 2410152 w 7467600"/>
              <a:gd name="connsiteY690" fmla="*/ 3063751 h 6858000"/>
              <a:gd name="connsiteX691" fmla="*/ 2408099 w 7467600"/>
              <a:gd name="connsiteY691" fmla="*/ 3064403 h 6858000"/>
              <a:gd name="connsiteX692" fmla="*/ 2407218 w 7467600"/>
              <a:gd name="connsiteY692" fmla="*/ 3070324 h 6858000"/>
              <a:gd name="connsiteX693" fmla="*/ 2380138 w 7467600"/>
              <a:gd name="connsiteY693" fmla="*/ 3099341 h 6858000"/>
              <a:gd name="connsiteX694" fmla="*/ 1765923 w 7467600"/>
              <a:gd name="connsiteY694" fmla="*/ 3581043 h 6858000"/>
              <a:gd name="connsiteX695" fmla="*/ 1702258 w 7467600"/>
              <a:gd name="connsiteY695" fmla="*/ 3612286 h 6858000"/>
              <a:gd name="connsiteX696" fmla="*/ 1538370 w 7467600"/>
              <a:gd name="connsiteY696" fmla="*/ 3811804 h 6858000"/>
              <a:gd name="connsiteX697" fmla="*/ 542867 w 7467600"/>
              <a:gd name="connsiteY697" fmla="*/ 4944092 h 6858000"/>
              <a:gd name="connsiteX698" fmla="*/ 515800 w 7467600"/>
              <a:gd name="connsiteY698" fmla="*/ 4862180 h 6858000"/>
              <a:gd name="connsiteX699" fmla="*/ 909145 w 7467600"/>
              <a:gd name="connsiteY699" fmla="*/ 4199225 h 6858000"/>
              <a:gd name="connsiteX700" fmla="*/ 1214067 w 7467600"/>
              <a:gd name="connsiteY700" fmla="*/ 3908561 h 6858000"/>
              <a:gd name="connsiteX701" fmla="*/ 640967 w 7467600"/>
              <a:gd name="connsiteY701" fmla="*/ 4105601 h 6858000"/>
              <a:gd name="connsiteX702" fmla="*/ 112563 w 7467600"/>
              <a:gd name="connsiteY702" fmla="*/ 4396952 h 6858000"/>
              <a:gd name="connsiteX703" fmla="*/ 0 w 7467600"/>
              <a:gd name="connsiteY703" fmla="*/ 4466006 h 6858000"/>
              <a:gd name="connsiteX704" fmla="*/ 0 w 7467600"/>
              <a:gd name="connsiteY704" fmla="*/ 4233763 h 6858000"/>
              <a:gd name="connsiteX705" fmla="*/ 36881 w 7467600"/>
              <a:gd name="connsiteY705" fmla="*/ 4200118 h 6858000"/>
              <a:gd name="connsiteX706" fmla="*/ 910534 w 7467600"/>
              <a:gd name="connsiteY706" fmla="*/ 3629753 h 6858000"/>
              <a:gd name="connsiteX707" fmla="*/ 1578717 w 7467600"/>
              <a:gd name="connsiteY707" fmla="*/ 3575982 h 6858000"/>
              <a:gd name="connsiteX708" fmla="*/ 2338780 w 7467600"/>
              <a:gd name="connsiteY708" fmla="*/ 3033725 h 6858000"/>
              <a:gd name="connsiteX709" fmla="*/ 1807991 w 7467600"/>
              <a:gd name="connsiteY709" fmla="*/ 2807184 h 6858000"/>
              <a:gd name="connsiteX710" fmla="*/ 1416358 w 7467600"/>
              <a:gd name="connsiteY710" fmla="*/ 3112571 h 6858000"/>
              <a:gd name="connsiteX711" fmla="*/ 939066 w 7467600"/>
              <a:gd name="connsiteY711" fmla="*/ 3378798 h 6858000"/>
              <a:gd name="connsiteX712" fmla="*/ 115099 w 7467600"/>
              <a:gd name="connsiteY712" fmla="*/ 3607650 h 6858000"/>
              <a:gd name="connsiteX713" fmla="*/ 97284 w 7467600"/>
              <a:gd name="connsiteY713" fmla="*/ 3520393 h 6858000"/>
              <a:gd name="connsiteX714" fmla="*/ 922050 w 7467600"/>
              <a:gd name="connsiteY714" fmla="*/ 3074867 h 6858000"/>
              <a:gd name="connsiteX715" fmla="*/ 1405265 w 7467600"/>
              <a:gd name="connsiteY715" fmla="*/ 3016319 h 6858000"/>
              <a:gd name="connsiteX716" fmla="*/ 1407512 w 7467600"/>
              <a:gd name="connsiteY716" fmla="*/ 3018001 h 6858000"/>
              <a:gd name="connsiteX717" fmla="*/ 1726266 w 7467600"/>
              <a:gd name="connsiteY717" fmla="*/ 2777274 h 6858000"/>
              <a:gd name="connsiteX718" fmla="*/ 625390 w 7467600"/>
              <a:gd name="connsiteY718" fmla="*/ 2514541 h 6858000"/>
              <a:gd name="connsiteX719" fmla="*/ 619799 w 7467600"/>
              <a:gd name="connsiteY719" fmla="*/ 2527180 h 6858000"/>
              <a:gd name="connsiteX720" fmla="*/ 310030 w 7467600"/>
              <a:gd name="connsiteY720" fmla="*/ 2771818 h 6858000"/>
              <a:gd name="connsiteX721" fmla="*/ 173877 w 7467600"/>
              <a:gd name="connsiteY721" fmla="*/ 2937056 h 6858000"/>
              <a:gd name="connsiteX722" fmla="*/ 77889 w 7467600"/>
              <a:gd name="connsiteY722" fmla="*/ 3138440 h 6858000"/>
              <a:gd name="connsiteX723" fmla="*/ 0 w 7467600"/>
              <a:gd name="connsiteY723" fmla="*/ 3271395 h 6858000"/>
              <a:gd name="connsiteX724" fmla="*/ 0 w 7467600"/>
              <a:gd name="connsiteY724" fmla="*/ 3153002 h 6858000"/>
              <a:gd name="connsiteX725" fmla="*/ 2386 w 7467600"/>
              <a:gd name="connsiteY725" fmla="*/ 3149203 h 6858000"/>
              <a:gd name="connsiteX726" fmla="*/ 89753 w 7467600"/>
              <a:gd name="connsiteY726" fmla="*/ 2987702 h 6858000"/>
              <a:gd name="connsiteX727" fmla="*/ 76869 w 7467600"/>
              <a:gd name="connsiteY727" fmla="*/ 3005404 h 6858000"/>
              <a:gd name="connsiteX728" fmla="*/ 32049 w 7467600"/>
              <a:gd name="connsiteY728" fmla="*/ 3065814 h 6858000"/>
              <a:gd name="connsiteX729" fmla="*/ 0 w 7467600"/>
              <a:gd name="connsiteY729" fmla="*/ 3108744 h 6858000"/>
              <a:gd name="connsiteX730" fmla="*/ 0 w 7467600"/>
              <a:gd name="connsiteY730" fmla="*/ 3058059 h 6858000"/>
              <a:gd name="connsiteX731" fmla="*/ 7610 w 7467600"/>
              <a:gd name="connsiteY731" fmla="*/ 3047889 h 6858000"/>
              <a:gd name="connsiteX732" fmla="*/ 52419 w 7467600"/>
              <a:gd name="connsiteY732" fmla="*/ 2987479 h 6858000"/>
              <a:gd name="connsiteX733" fmla="*/ 59142 w 7467600"/>
              <a:gd name="connsiteY733" fmla="*/ 2978488 h 6858000"/>
              <a:gd name="connsiteX734" fmla="*/ 0 w 7467600"/>
              <a:gd name="connsiteY734" fmla="*/ 3015334 h 6858000"/>
              <a:gd name="connsiteX735" fmla="*/ 0 w 7467600"/>
              <a:gd name="connsiteY735" fmla="*/ 2914286 h 6858000"/>
              <a:gd name="connsiteX736" fmla="*/ 36383 w 7467600"/>
              <a:gd name="connsiteY736" fmla="*/ 2901128 h 6858000"/>
              <a:gd name="connsiteX737" fmla="*/ 156329 w 7467600"/>
              <a:gd name="connsiteY737" fmla="*/ 2840533 h 6858000"/>
              <a:gd name="connsiteX738" fmla="*/ 358355 w 7467600"/>
              <a:gd name="connsiteY738" fmla="*/ 2620471 h 6858000"/>
              <a:gd name="connsiteX739" fmla="*/ 510577 w 7467600"/>
              <a:gd name="connsiteY739" fmla="*/ 2501244 h 6858000"/>
              <a:gd name="connsiteX740" fmla="*/ 211967 w 7467600"/>
              <a:gd name="connsiteY740" fmla="*/ 2479171 h 6858000"/>
              <a:gd name="connsiteX741" fmla="*/ 0 w 7467600"/>
              <a:gd name="connsiteY741" fmla="*/ 2476398 h 6858000"/>
              <a:gd name="connsiteX742" fmla="*/ 0 w 7467600"/>
              <a:gd name="connsiteY742" fmla="*/ 2389189 h 6858000"/>
              <a:gd name="connsiteX743" fmla="*/ 103062 w 7467600"/>
              <a:gd name="connsiteY743" fmla="*/ 2389518 h 6858000"/>
              <a:gd name="connsiteX744" fmla="*/ 510734 w 7467600"/>
              <a:gd name="connsiteY744" fmla="*/ 2416201 h 6858000"/>
              <a:gd name="connsiteX745" fmla="*/ 279257 w 7467600"/>
              <a:gd name="connsiteY745" fmla="*/ 2092102 h 6858000"/>
              <a:gd name="connsiteX746" fmla="*/ 65265 w 7467600"/>
              <a:gd name="connsiteY746" fmla="*/ 2006049 h 6858000"/>
              <a:gd name="connsiteX747" fmla="*/ 0 w 7467600"/>
              <a:gd name="connsiteY747" fmla="*/ 1982532 h 6858000"/>
              <a:gd name="connsiteX748" fmla="*/ 0 w 7467600"/>
              <a:gd name="connsiteY748" fmla="*/ 1912789 h 6858000"/>
              <a:gd name="connsiteX749" fmla="*/ 97460 w 7467600"/>
              <a:gd name="connsiteY749" fmla="*/ 1953725 h 6858000"/>
              <a:gd name="connsiteX750" fmla="*/ 221272 w 7467600"/>
              <a:gd name="connsiteY750" fmla="*/ 1980766 h 6858000"/>
              <a:gd name="connsiteX751" fmla="*/ 116765 w 7467600"/>
              <a:gd name="connsiteY751" fmla="*/ 1911033 h 6858000"/>
              <a:gd name="connsiteX752" fmla="*/ 16405 w 7467600"/>
              <a:gd name="connsiteY752" fmla="*/ 1803412 h 6858000"/>
              <a:gd name="connsiteX753" fmla="*/ 0 w 7467600"/>
              <a:gd name="connsiteY753" fmla="*/ 1784777 h 6858000"/>
              <a:gd name="connsiteX754" fmla="*/ 0 w 7467600"/>
              <a:gd name="connsiteY754" fmla="*/ 1740082 h 6858000"/>
              <a:gd name="connsiteX755" fmla="*/ 39394 w 7467600"/>
              <a:gd name="connsiteY755" fmla="*/ 1784856 h 6858000"/>
              <a:gd name="connsiteX756" fmla="*/ 135813 w 7467600"/>
              <a:gd name="connsiteY756" fmla="*/ 1888838 h 6858000"/>
              <a:gd name="connsiteX757" fmla="*/ 242575 w 7467600"/>
              <a:gd name="connsiteY757" fmla="*/ 1958841 h 6858000"/>
              <a:gd name="connsiteX758" fmla="*/ 82197 w 7467600"/>
              <a:gd name="connsiteY758" fmla="*/ 1754826 h 6858000"/>
              <a:gd name="connsiteX759" fmla="*/ 0 w 7467600"/>
              <a:gd name="connsiteY759" fmla="*/ 1679650 h 6858000"/>
              <a:gd name="connsiteX760" fmla="*/ 0 w 7467600"/>
              <a:gd name="connsiteY760" fmla="*/ 1602463 h 6858000"/>
              <a:gd name="connsiteX761" fmla="*/ 84689 w 7467600"/>
              <a:gd name="connsiteY761" fmla="*/ 1677442 h 6858000"/>
              <a:gd name="connsiteX762" fmla="*/ 298437 w 7467600"/>
              <a:gd name="connsiteY762" fmla="*/ 1968019 h 6858000"/>
              <a:gd name="connsiteX763" fmla="*/ 227269 w 7467600"/>
              <a:gd name="connsiteY763" fmla="*/ 1114064 h 6858000"/>
              <a:gd name="connsiteX764" fmla="*/ 248003 w 7467600"/>
              <a:gd name="connsiteY764" fmla="*/ 1089613 h 6858000"/>
              <a:gd name="connsiteX765" fmla="*/ 427020 w 7467600"/>
              <a:gd name="connsiteY765" fmla="*/ 1619803 h 6858000"/>
              <a:gd name="connsiteX766" fmla="*/ 340345 w 7467600"/>
              <a:gd name="connsiteY766" fmla="*/ 2027739 h 6858000"/>
              <a:gd name="connsiteX767" fmla="*/ 360865 w 7467600"/>
              <a:gd name="connsiteY767" fmla="*/ 2044827 h 6858000"/>
              <a:gd name="connsiteX768" fmla="*/ 560414 w 7467600"/>
              <a:gd name="connsiteY768" fmla="*/ 2421457 h 6858000"/>
              <a:gd name="connsiteX769" fmla="*/ 1359703 w 7467600"/>
              <a:gd name="connsiteY769" fmla="*/ 2578554 h 6858000"/>
              <a:gd name="connsiteX770" fmla="*/ 1359422 w 7467600"/>
              <a:gd name="connsiteY770" fmla="*/ 2577994 h 6858000"/>
              <a:gd name="connsiteX771" fmla="*/ 828701 w 7467600"/>
              <a:gd name="connsiteY771" fmla="*/ 1839520 h 6858000"/>
              <a:gd name="connsiteX772" fmla="*/ 494427 w 7467600"/>
              <a:gd name="connsiteY772" fmla="*/ 1092333 h 6858000"/>
              <a:gd name="connsiteX773" fmla="*/ 506322 w 7467600"/>
              <a:gd name="connsiteY773" fmla="*/ 1020997 h 6858000"/>
              <a:gd name="connsiteX774" fmla="*/ 4570198 w 7467600"/>
              <a:gd name="connsiteY774" fmla="*/ 978081 h 6858000"/>
              <a:gd name="connsiteX775" fmla="*/ 4523691 w 7467600"/>
              <a:gd name="connsiteY775" fmla="*/ 1127776 h 6858000"/>
              <a:gd name="connsiteX776" fmla="*/ 4509875 w 7467600"/>
              <a:gd name="connsiteY776" fmla="*/ 1167552 h 6858000"/>
              <a:gd name="connsiteX777" fmla="*/ 4478168 w 7467600"/>
              <a:gd name="connsiteY777" fmla="*/ 1260735 h 6858000"/>
              <a:gd name="connsiteX778" fmla="*/ 4409309 w 7467600"/>
              <a:gd name="connsiteY778" fmla="*/ 1666996 h 6858000"/>
              <a:gd name="connsiteX779" fmla="*/ 4370031 w 7467600"/>
              <a:gd name="connsiteY779" fmla="*/ 1955666 h 6858000"/>
              <a:gd name="connsiteX780" fmla="*/ 4570198 w 7467600"/>
              <a:gd name="connsiteY780" fmla="*/ 978081 h 6858000"/>
              <a:gd name="connsiteX781" fmla="*/ 4557898 w 7467600"/>
              <a:gd name="connsiteY781" fmla="*/ 900011 h 6858000"/>
              <a:gd name="connsiteX782" fmla="*/ 4344840 w 7467600"/>
              <a:gd name="connsiteY782" fmla="*/ 1922038 h 6858000"/>
              <a:gd name="connsiteX783" fmla="*/ 4378710 w 7467600"/>
              <a:gd name="connsiteY783" fmla="*/ 1665516 h 6858000"/>
              <a:gd name="connsiteX784" fmla="*/ 4448798 w 7467600"/>
              <a:gd name="connsiteY784" fmla="*/ 1253024 h 6858000"/>
              <a:gd name="connsiteX785" fmla="*/ 4480315 w 7467600"/>
              <a:gd name="connsiteY785" fmla="*/ 1158454 h 6858000"/>
              <a:gd name="connsiteX786" fmla="*/ 4494133 w 7467600"/>
              <a:gd name="connsiteY786" fmla="*/ 1118676 h 6858000"/>
              <a:gd name="connsiteX787" fmla="*/ 4557898 w 7467600"/>
              <a:gd name="connsiteY787" fmla="*/ 900011 h 6858000"/>
              <a:gd name="connsiteX788" fmla="*/ 5870151 w 7467600"/>
              <a:gd name="connsiteY788" fmla="*/ 898890 h 6858000"/>
              <a:gd name="connsiteX789" fmla="*/ 5861335 w 7467600"/>
              <a:gd name="connsiteY789" fmla="*/ 899177 h 6858000"/>
              <a:gd name="connsiteX790" fmla="*/ 5843702 w 7467600"/>
              <a:gd name="connsiteY790" fmla="*/ 899748 h 6858000"/>
              <a:gd name="connsiteX791" fmla="*/ 5651107 w 7467600"/>
              <a:gd name="connsiteY791" fmla="*/ 920306 h 6858000"/>
              <a:gd name="connsiteX792" fmla="*/ 5459407 w 7467600"/>
              <a:gd name="connsiteY792" fmla="*/ 940975 h 6858000"/>
              <a:gd name="connsiteX793" fmla="*/ 5374846 w 7467600"/>
              <a:gd name="connsiteY793" fmla="*/ 941988 h 6858000"/>
              <a:gd name="connsiteX794" fmla="*/ 5256105 w 7467600"/>
              <a:gd name="connsiteY794" fmla="*/ 945632 h 6858000"/>
              <a:gd name="connsiteX795" fmla="*/ 5107071 w 7467600"/>
              <a:gd name="connsiteY795" fmla="*/ 969720 h 6858000"/>
              <a:gd name="connsiteX796" fmla="*/ 4998681 w 7467600"/>
              <a:gd name="connsiteY796" fmla="*/ 988771 h 6858000"/>
              <a:gd name="connsiteX797" fmla="*/ 5870151 w 7467600"/>
              <a:gd name="connsiteY797" fmla="*/ 898890 h 6858000"/>
              <a:gd name="connsiteX798" fmla="*/ 5504425 w 7467600"/>
              <a:gd name="connsiteY798" fmla="*/ 848067 h 6858000"/>
              <a:gd name="connsiteX799" fmla="*/ 4968849 w 7467600"/>
              <a:gd name="connsiteY799" fmla="*/ 962318 h 6858000"/>
              <a:gd name="connsiteX800" fmla="*/ 5104039 w 7467600"/>
              <a:gd name="connsiteY800" fmla="*/ 940634 h 6858000"/>
              <a:gd name="connsiteX801" fmla="*/ 5256311 w 7467600"/>
              <a:gd name="connsiteY801" fmla="*/ 916490 h 6858000"/>
              <a:gd name="connsiteX802" fmla="*/ 5377381 w 7467600"/>
              <a:gd name="connsiteY802" fmla="*/ 912671 h 6858000"/>
              <a:gd name="connsiteX803" fmla="*/ 5460148 w 7467600"/>
              <a:gd name="connsiteY803" fmla="*/ 911442 h 6858000"/>
              <a:gd name="connsiteX804" fmla="*/ 5648971 w 7467600"/>
              <a:gd name="connsiteY804" fmla="*/ 891331 h 6858000"/>
              <a:gd name="connsiteX805" fmla="*/ 5844807 w 7467600"/>
              <a:gd name="connsiteY805" fmla="*/ 870718 h 6858000"/>
              <a:gd name="connsiteX806" fmla="*/ 5862975 w 7467600"/>
              <a:gd name="connsiteY806" fmla="*/ 869756 h 6858000"/>
              <a:gd name="connsiteX807" fmla="*/ 5920887 w 7467600"/>
              <a:gd name="connsiteY807" fmla="*/ 865929 h 6858000"/>
              <a:gd name="connsiteX808" fmla="*/ 5504425 w 7467600"/>
              <a:gd name="connsiteY808" fmla="*/ 848067 h 6858000"/>
              <a:gd name="connsiteX809" fmla="*/ 3607114 w 7467600"/>
              <a:gd name="connsiteY809" fmla="*/ 467441 h 6858000"/>
              <a:gd name="connsiteX810" fmla="*/ 3296242 w 7467600"/>
              <a:gd name="connsiteY810" fmla="*/ 807991 h 6858000"/>
              <a:gd name="connsiteX811" fmla="*/ 3174674 w 7467600"/>
              <a:gd name="connsiteY811" fmla="*/ 919759 h 6858000"/>
              <a:gd name="connsiteX812" fmla="*/ 3042978 w 7467600"/>
              <a:gd name="connsiteY812" fmla="*/ 1054894 h 6858000"/>
              <a:gd name="connsiteX813" fmla="*/ 2968914 w 7467600"/>
              <a:gd name="connsiteY813" fmla="*/ 1133756 h 6858000"/>
              <a:gd name="connsiteX814" fmla="*/ 3103823 w 7467600"/>
              <a:gd name="connsiteY814" fmla="*/ 1026814 h 6858000"/>
              <a:gd name="connsiteX815" fmla="*/ 3607114 w 7467600"/>
              <a:gd name="connsiteY815" fmla="*/ 467441 h 6858000"/>
              <a:gd name="connsiteX816" fmla="*/ 3744487 w 7467600"/>
              <a:gd name="connsiteY816" fmla="*/ 383136 h 6858000"/>
              <a:gd name="connsiteX817" fmla="*/ 3970213 w 7467600"/>
              <a:gd name="connsiteY817" fmla="*/ 995559 h 6858000"/>
              <a:gd name="connsiteX818" fmla="*/ 3744487 w 7467600"/>
              <a:gd name="connsiteY818" fmla="*/ 383136 h 6858000"/>
              <a:gd name="connsiteX819" fmla="*/ 3624562 w 7467600"/>
              <a:gd name="connsiteY819" fmla="*/ 367041 h 6858000"/>
              <a:gd name="connsiteX820" fmla="*/ 3489712 w 7467600"/>
              <a:gd name="connsiteY820" fmla="*/ 485386 h 6858000"/>
              <a:gd name="connsiteX821" fmla="*/ 3182994 w 7467600"/>
              <a:gd name="connsiteY821" fmla="*/ 828265 h 6858000"/>
              <a:gd name="connsiteX822" fmla="*/ 2892114 w 7467600"/>
              <a:gd name="connsiteY822" fmla="*/ 1172635 h 6858000"/>
              <a:gd name="connsiteX823" fmla="*/ 3021459 w 7467600"/>
              <a:gd name="connsiteY823" fmla="*/ 1035385 h 6858000"/>
              <a:gd name="connsiteX824" fmla="*/ 3153873 w 7467600"/>
              <a:gd name="connsiteY824" fmla="*/ 898971 h 6858000"/>
              <a:gd name="connsiteX825" fmla="*/ 3276511 w 7467600"/>
              <a:gd name="connsiteY825" fmla="*/ 786423 h 6858000"/>
              <a:gd name="connsiteX826" fmla="*/ 3584154 w 7467600"/>
              <a:gd name="connsiteY826" fmla="*/ 448218 h 6858000"/>
              <a:gd name="connsiteX827" fmla="*/ 3624562 w 7467600"/>
              <a:gd name="connsiteY827" fmla="*/ 367041 h 6858000"/>
              <a:gd name="connsiteX828" fmla="*/ 3766672 w 7467600"/>
              <a:gd name="connsiteY828" fmla="*/ 359429 h 6858000"/>
              <a:gd name="connsiteX829" fmla="*/ 3996338 w 7467600"/>
              <a:gd name="connsiteY829" fmla="*/ 968237 h 6858000"/>
              <a:gd name="connsiteX830" fmla="*/ 3766672 w 7467600"/>
              <a:gd name="connsiteY830" fmla="*/ 359429 h 6858000"/>
              <a:gd name="connsiteX831" fmla="*/ 5805386 w 7467600"/>
              <a:gd name="connsiteY831" fmla="*/ 239240 h 6858000"/>
              <a:gd name="connsiteX832" fmla="*/ 5736947 w 7467600"/>
              <a:gd name="connsiteY832" fmla="*/ 261367 h 6858000"/>
              <a:gd name="connsiteX833" fmla="*/ 5427012 w 7467600"/>
              <a:gd name="connsiteY833" fmla="*/ 311272 h 6858000"/>
              <a:gd name="connsiteX834" fmla="*/ 5147818 w 7467600"/>
              <a:gd name="connsiteY834" fmla="*/ 322112 h 6858000"/>
              <a:gd name="connsiteX835" fmla="*/ 5060854 w 7467600"/>
              <a:gd name="connsiteY835" fmla="*/ 311882 h 6858000"/>
              <a:gd name="connsiteX836" fmla="*/ 4945989 w 7467600"/>
              <a:gd name="connsiteY836" fmla="*/ 300516 h 6858000"/>
              <a:gd name="connsiteX837" fmla="*/ 5410479 w 7467600"/>
              <a:gd name="connsiteY837" fmla="*/ 348434 h 6858000"/>
              <a:gd name="connsiteX838" fmla="*/ 5805386 w 7467600"/>
              <a:gd name="connsiteY838" fmla="*/ 239240 h 6858000"/>
              <a:gd name="connsiteX839" fmla="*/ 5905192 w 7467600"/>
              <a:gd name="connsiteY839" fmla="*/ 163079 h 6858000"/>
              <a:gd name="connsiteX840" fmla="*/ 5865655 w 7467600"/>
              <a:gd name="connsiteY840" fmla="*/ 171901 h 6858000"/>
              <a:gd name="connsiteX841" fmla="*/ 5259740 w 7467600"/>
              <a:gd name="connsiteY841" fmla="*/ 257013 h 6858000"/>
              <a:gd name="connsiteX842" fmla="*/ 5208466 w 7467600"/>
              <a:gd name="connsiteY842" fmla="*/ 257550 h 6858000"/>
              <a:gd name="connsiteX843" fmla="*/ 4980204 w 7467600"/>
              <a:gd name="connsiteY843" fmla="*/ 271903 h 6858000"/>
              <a:gd name="connsiteX844" fmla="*/ 5068068 w 7467600"/>
              <a:gd name="connsiteY844" fmla="*/ 282244 h 6858000"/>
              <a:gd name="connsiteX845" fmla="*/ 5153231 w 7467600"/>
              <a:gd name="connsiteY845" fmla="*/ 292240 h 6858000"/>
              <a:gd name="connsiteX846" fmla="*/ 5426491 w 7467600"/>
              <a:gd name="connsiteY846" fmla="*/ 281128 h 6858000"/>
              <a:gd name="connsiteX847" fmla="*/ 5731212 w 7467600"/>
              <a:gd name="connsiteY847" fmla="*/ 231951 h 6858000"/>
              <a:gd name="connsiteX848" fmla="*/ 5905192 w 7467600"/>
              <a:gd name="connsiteY848" fmla="*/ 163079 h 6858000"/>
              <a:gd name="connsiteX849" fmla="*/ 5944437 w 7467600"/>
              <a:gd name="connsiteY849" fmla="*/ 113829 h 6858000"/>
              <a:gd name="connsiteX850" fmla="*/ 5825032 w 7467600"/>
              <a:gd name="connsiteY850" fmla="*/ 146405 h 6858000"/>
              <a:gd name="connsiteX851" fmla="*/ 4955599 w 7467600"/>
              <a:gd name="connsiteY851" fmla="*/ 247008 h 6858000"/>
              <a:gd name="connsiteX852" fmla="*/ 5210104 w 7467600"/>
              <a:gd name="connsiteY852" fmla="*/ 228123 h 6858000"/>
              <a:gd name="connsiteX853" fmla="*/ 5261015 w 7467600"/>
              <a:gd name="connsiteY853" fmla="*/ 227087 h 6858000"/>
              <a:gd name="connsiteX854" fmla="*/ 5861181 w 7467600"/>
              <a:gd name="connsiteY854" fmla="*/ 143093 h 6858000"/>
              <a:gd name="connsiteX855" fmla="*/ 5961252 w 7467600"/>
              <a:gd name="connsiteY855" fmla="*/ 114820 h 6858000"/>
              <a:gd name="connsiteX856" fmla="*/ 5944437 w 7467600"/>
              <a:gd name="connsiteY856" fmla="*/ 113829 h 6858000"/>
              <a:gd name="connsiteX857" fmla="*/ 3882765 w 7467600"/>
              <a:gd name="connsiteY857" fmla="*/ 0 h 6858000"/>
              <a:gd name="connsiteX858" fmla="*/ 3995099 w 7467600"/>
              <a:gd name="connsiteY858" fmla="*/ 0 h 6858000"/>
              <a:gd name="connsiteX859" fmla="*/ 4163818 w 7467600"/>
              <a:gd name="connsiteY859" fmla="*/ 234104 h 6858000"/>
              <a:gd name="connsiteX860" fmla="*/ 4172099 w 7467600"/>
              <a:gd name="connsiteY860" fmla="*/ 234207 h 6858000"/>
              <a:gd name="connsiteX861" fmla="*/ 4784282 w 7467600"/>
              <a:gd name="connsiteY861" fmla="*/ 276561 h 6858000"/>
              <a:gd name="connsiteX862" fmla="*/ 4801687 w 7467600"/>
              <a:gd name="connsiteY862" fmla="*/ 267764 h 6858000"/>
              <a:gd name="connsiteX863" fmla="*/ 6082788 w 7467600"/>
              <a:gd name="connsiteY863" fmla="*/ 64119 h 6858000"/>
              <a:gd name="connsiteX864" fmla="*/ 6099442 w 7467600"/>
              <a:gd name="connsiteY864" fmla="*/ 82568 h 6858000"/>
              <a:gd name="connsiteX865" fmla="*/ 4804137 w 7467600"/>
              <a:gd name="connsiteY865" fmla="*/ 320931 h 6858000"/>
              <a:gd name="connsiteX866" fmla="*/ 4227047 w 7467600"/>
              <a:gd name="connsiteY866" fmla="*/ 313415 h 6858000"/>
              <a:gd name="connsiteX867" fmla="*/ 4346041 w 7467600"/>
              <a:gd name="connsiteY867" fmla="*/ 456086 h 6858000"/>
              <a:gd name="connsiteX868" fmla="*/ 4870967 w 7467600"/>
              <a:gd name="connsiteY868" fmla="*/ 963061 h 6858000"/>
              <a:gd name="connsiteX869" fmla="*/ 4889647 w 7467600"/>
              <a:gd name="connsiteY869" fmla="*/ 957147 h 6858000"/>
              <a:gd name="connsiteX870" fmla="*/ 5422504 w 7467600"/>
              <a:gd name="connsiteY870" fmla="*/ 805191 h 6858000"/>
              <a:gd name="connsiteX871" fmla="*/ 6087656 w 7467600"/>
              <a:gd name="connsiteY871" fmla="*/ 826703 h 6858000"/>
              <a:gd name="connsiteX872" fmla="*/ 6058717 w 7467600"/>
              <a:gd name="connsiteY872" fmla="*/ 865992 h 6858000"/>
              <a:gd name="connsiteX873" fmla="*/ 4974153 w 7467600"/>
              <a:gd name="connsiteY873" fmla="*/ 1045456 h 6858000"/>
              <a:gd name="connsiteX874" fmla="*/ 5627835 w 7467600"/>
              <a:gd name="connsiteY874" fmla="*/ 1472077 h 6858000"/>
              <a:gd name="connsiteX875" fmla="*/ 5629817 w 7467600"/>
              <a:gd name="connsiteY875" fmla="*/ 1471412 h 6858000"/>
              <a:gd name="connsiteX876" fmla="*/ 5634124 w 7467600"/>
              <a:gd name="connsiteY876" fmla="*/ 1470572 h 6858000"/>
              <a:gd name="connsiteX877" fmla="*/ 5755832 w 7467600"/>
              <a:gd name="connsiteY877" fmla="*/ 1383886 h 6858000"/>
              <a:gd name="connsiteX878" fmla="*/ 6014186 w 7467600"/>
              <a:gd name="connsiteY878" fmla="*/ 1279799 h 6858000"/>
              <a:gd name="connsiteX879" fmla="*/ 6901619 w 7467600"/>
              <a:gd name="connsiteY879" fmla="*/ 1047874 h 6858000"/>
              <a:gd name="connsiteX880" fmla="*/ 6931566 w 7467600"/>
              <a:gd name="connsiteY880" fmla="*/ 1062034 h 6858000"/>
              <a:gd name="connsiteX881" fmla="*/ 5790982 w 7467600"/>
              <a:gd name="connsiteY881" fmla="*/ 1561380 h 6858000"/>
              <a:gd name="connsiteX882" fmla="*/ 6188971 w 7467600"/>
              <a:gd name="connsiteY882" fmla="*/ 1755168 h 6858000"/>
              <a:gd name="connsiteX883" fmla="*/ 6202446 w 7467600"/>
              <a:gd name="connsiteY883" fmla="*/ 1752268 h 6858000"/>
              <a:gd name="connsiteX884" fmla="*/ 7179560 w 7467600"/>
              <a:gd name="connsiteY884" fmla="*/ 1467551 h 6858000"/>
              <a:gd name="connsiteX885" fmla="*/ 7158730 w 7467600"/>
              <a:gd name="connsiteY885" fmla="*/ 1507835 h 6858000"/>
              <a:gd name="connsiteX886" fmla="*/ 6326959 w 7467600"/>
              <a:gd name="connsiteY886" fmla="*/ 1817686 h 6858000"/>
              <a:gd name="connsiteX887" fmla="*/ 6537433 w 7467600"/>
              <a:gd name="connsiteY887" fmla="*/ 1907790 h 6858000"/>
              <a:gd name="connsiteX888" fmla="*/ 6550221 w 7467600"/>
              <a:gd name="connsiteY888" fmla="*/ 1910729 h 6858000"/>
              <a:gd name="connsiteX889" fmla="*/ 6964438 w 7467600"/>
              <a:gd name="connsiteY889" fmla="*/ 2209505 h 6858000"/>
              <a:gd name="connsiteX890" fmla="*/ 7367862 w 7467600"/>
              <a:gd name="connsiteY890" fmla="*/ 2806833 h 6858000"/>
              <a:gd name="connsiteX891" fmla="*/ 7364329 w 7467600"/>
              <a:gd name="connsiteY891" fmla="*/ 2826907 h 6858000"/>
              <a:gd name="connsiteX892" fmla="*/ 7290545 w 7467600"/>
              <a:gd name="connsiteY892" fmla="*/ 2850663 h 6858000"/>
              <a:gd name="connsiteX893" fmla="*/ 6472036 w 7467600"/>
              <a:gd name="connsiteY893" fmla="*/ 1959003 h 6858000"/>
              <a:gd name="connsiteX894" fmla="*/ 5792897 w 7467600"/>
              <a:gd name="connsiteY894" fmla="*/ 1647747 h 6858000"/>
              <a:gd name="connsiteX895" fmla="*/ 5842751 w 7467600"/>
              <a:gd name="connsiteY895" fmla="*/ 1816112 h 6858000"/>
              <a:gd name="connsiteX896" fmla="*/ 5847424 w 7467600"/>
              <a:gd name="connsiteY896" fmla="*/ 1815776 h 6858000"/>
              <a:gd name="connsiteX897" fmla="*/ 6399821 w 7467600"/>
              <a:gd name="connsiteY897" fmla="*/ 2344799 h 6858000"/>
              <a:gd name="connsiteX898" fmla="*/ 6323232 w 7467600"/>
              <a:gd name="connsiteY898" fmla="*/ 2389634 h 6858000"/>
              <a:gd name="connsiteX899" fmla="*/ 5942958 w 7467600"/>
              <a:gd name="connsiteY899" fmla="*/ 2077708 h 6858000"/>
              <a:gd name="connsiteX900" fmla="*/ 5921559 w 7467600"/>
              <a:gd name="connsiteY900" fmla="*/ 2378596 h 6858000"/>
              <a:gd name="connsiteX901" fmla="*/ 5817651 w 7467600"/>
              <a:gd name="connsiteY901" fmla="*/ 3023919 h 6858000"/>
              <a:gd name="connsiteX902" fmla="*/ 5729634 w 7467600"/>
              <a:gd name="connsiteY902" fmla="*/ 3051849 h 6858000"/>
              <a:gd name="connsiteX903" fmla="*/ 5611018 w 7467600"/>
              <a:gd name="connsiteY903" fmla="*/ 2316769 h 6858000"/>
              <a:gd name="connsiteX904" fmla="*/ 5687608 w 7467600"/>
              <a:gd name="connsiteY904" fmla="*/ 2039972 h 6858000"/>
              <a:gd name="connsiteX905" fmla="*/ 5657554 w 7467600"/>
              <a:gd name="connsiteY905" fmla="*/ 1576445 h 6858000"/>
              <a:gd name="connsiteX906" fmla="*/ 5150475 w 7467600"/>
              <a:gd name="connsiteY906" fmla="*/ 1274012 h 6858000"/>
              <a:gd name="connsiteX907" fmla="*/ 5349142 w 7467600"/>
              <a:gd name="connsiteY907" fmla="*/ 2204405 h 6858000"/>
              <a:gd name="connsiteX908" fmla="*/ 5262214 w 7467600"/>
              <a:gd name="connsiteY908" fmla="*/ 2233836 h 6858000"/>
              <a:gd name="connsiteX909" fmla="*/ 4981539 w 7467600"/>
              <a:gd name="connsiteY909" fmla="*/ 1542201 h 6858000"/>
              <a:gd name="connsiteX910" fmla="*/ 4958461 w 7467600"/>
              <a:gd name="connsiteY910" fmla="*/ 1136957 h 6858000"/>
              <a:gd name="connsiteX911" fmla="*/ 4655015 w 7467600"/>
              <a:gd name="connsiteY911" fmla="*/ 891426 h 6858000"/>
              <a:gd name="connsiteX912" fmla="*/ 4348002 w 7467600"/>
              <a:gd name="connsiteY912" fmla="*/ 2205895 h 6858000"/>
              <a:gd name="connsiteX913" fmla="*/ 4262250 w 7467600"/>
              <a:gd name="connsiteY913" fmla="*/ 2219972 h 6858000"/>
              <a:gd name="connsiteX914" fmla="*/ 4550611 w 7467600"/>
              <a:gd name="connsiteY914" fmla="*/ 817540 h 6858000"/>
              <a:gd name="connsiteX915" fmla="*/ 4564418 w 7467600"/>
              <a:gd name="connsiteY915" fmla="*/ 808293 h 6858000"/>
              <a:gd name="connsiteX916" fmla="*/ 4266388 w 7467600"/>
              <a:gd name="connsiteY916" fmla="*/ 500083 h 6858000"/>
              <a:gd name="connsiteX917" fmla="*/ 4032842 w 7467600"/>
              <a:gd name="connsiteY917" fmla="*/ 211809 h 6858000"/>
              <a:gd name="connsiteX918" fmla="*/ 3882765 w 7467600"/>
              <a:gd name="connsiteY918" fmla="*/ 0 h 6858000"/>
              <a:gd name="connsiteX919" fmla="*/ 3721337 w 7467600"/>
              <a:gd name="connsiteY919" fmla="*/ 0 h 6858000"/>
              <a:gd name="connsiteX920" fmla="*/ 3797544 w 7467600"/>
              <a:gd name="connsiteY920" fmla="*/ 0 h 6858000"/>
              <a:gd name="connsiteX921" fmla="*/ 3775734 w 7467600"/>
              <a:gd name="connsiteY921" fmla="*/ 95131 h 6858000"/>
              <a:gd name="connsiteX922" fmla="*/ 3724807 w 7467600"/>
              <a:gd name="connsiteY922" fmla="*/ 272257 h 6858000"/>
              <a:gd name="connsiteX923" fmla="*/ 3726844 w 7467600"/>
              <a:gd name="connsiteY923" fmla="*/ 282988 h 6858000"/>
              <a:gd name="connsiteX924" fmla="*/ 3742664 w 7467600"/>
              <a:gd name="connsiteY924" fmla="*/ 279918 h 6858000"/>
              <a:gd name="connsiteX925" fmla="*/ 4103910 w 7467600"/>
              <a:gd name="connsiteY925" fmla="*/ 1161917 h 6858000"/>
              <a:gd name="connsiteX926" fmla="*/ 4020269 w 7467600"/>
              <a:gd name="connsiteY926" fmla="*/ 1200406 h 6858000"/>
              <a:gd name="connsiteX927" fmla="*/ 3674882 w 7467600"/>
              <a:gd name="connsiteY927" fmla="*/ 488524 h 6858000"/>
              <a:gd name="connsiteX928" fmla="*/ 3132682 w 7467600"/>
              <a:gd name="connsiteY928" fmla="*/ 1072284 h 6858000"/>
              <a:gd name="connsiteX929" fmla="*/ 2716346 w 7467600"/>
              <a:gd name="connsiteY929" fmla="*/ 1276376 h 6858000"/>
              <a:gd name="connsiteX930" fmla="*/ 2716772 w 7467600"/>
              <a:gd name="connsiteY930" fmla="*/ 1255462 h 6858000"/>
              <a:gd name="connsiteX931" fmla="*/ 3471096 w 7467600"/>
              <a:gd name="connsiteY931" fmla="*/ 437072 h 6858000"/>
              <a:gd name="connsiteX932" fmla="*/ 3639057 w 7467600"/>
              <a:gd name="connsiteY932" fmla="*/ 286334 h 6858000"/>
              <a:gd name="connsiteX933" fmla="*/ 3640309 w 7467600"/>
              <a:gd name="connsiteY933" fmla="*/ 284664 h 6858000"/>
              <a:gd name="connsiteX934" fmla="*/ 3646022 w 7467600"/>
              <a:gd name="connsiteY934" fmla="*/ 276711 h 6858000"/>
              <a:gd name="connsiteX935" fmla="*/ 3707943 w 7467600"/>
              <a:gd name="connsiteY935" fmla="*/ 65958 h 6858000"/>
              <a:gd name="connsiteX936" fmla="*/ 3721337 w 7467600"/>
              <a:gd name="connsiteY936" fmla="*/ 0 h 6858000"/>
              <a:gd name="connsiteX937" fmla="*/ 2867960 w 7467600"/>
              <a:gd name="connsiteY937" fmla="*/ 0 h 6858000"/>
              <a:gd name="connsiteX938" fmla="*/ 2926351 w 7467600"/>
              <a:gd name="connsiteY938" fmla="*/ 0 h 6858000"/>
              <a:gd name="connsiteX939" fmla="*/ 2902823 w 7467600"/>
              <a:gd name="connsiteY939" fmla="*/ 262929 h 6858000"/>
              <a:gd name="connsiteX940" fmla="*/ 2940663 w 7467600"/>
              <a:gd name="connsiteY940" fmla="*/ 140884 h 6858000"/>
              <a:gd name="connsiteX941" fmla="*/ 2947039 w 7467600"/>
              <a:gd name="connsiteY941" fmla="*/ 122524 h 6858000"/>
              <a:gd name="connsiteX942" fmla="*/ 2984316 w 7467600"/>
              <a:gd name="connsiteY942" fmla="*/ 0 h 6858000"/>
              <a:gd name="connsiteX943" fmla="*/ 3016114 w 7467600"/>
              <a:gd name="connsiteY943" fmla="*/ 0 h 6858000"/>
              <a:gd name="connsiteX944" fmla="*/ 2979949 w 7467600"/>
              <a:gd name="connsiteY944" fmla="*/ 119274 h 6858000"/>
              <a:gd name="connsiteX945" fmla="*/ 3023879 w 7467600"/>
              <a:gd name="connsiteY945" fmla="*/ 0 h 6858000"/>
              <a:gd name="connsiteX946" fmla="*/ 3105400 w 7467600"/>
              <a:gd name="connsiteY946" fmla="*/ 0 h 6858000"/>
              <a:gd name="connsiteX947" fmla="*/ 3094669 w 7467600"/>
              <a:gd name="connsiteY947" fmla="*/ 30308 h 6858000"/>
              <a:gd name="connsiteX948" fmla="*/ 2901945 w 7467600"/>
              <a:gd name="connsiteY948" fmla="*/ 466538 h 6858000"/>
              <a:gd name="connsiteX949" fmla="*/ 2815209 w 7467600"/>
              <a:gd name="connsiteY949" fmla="*/ 497361 h 6858000"/>
              <a:gd name="connsiteX950" fmla="*/ 2844845 w 7467600"/>
              <a:gd name="connsiteY950" fmla="*/ 127638 h 6858000"/>
              <a:gd name="connsiteX951" fmla="*/ 2867960 w 7467600"/>
              <a:gd name="connsiteY951" fmla="*/ 0 h 6858000"/>
              <a:gd name="connsiteX952" fmla="*/ 1057230 w 7467600"/>
              <a:gd name="connsiteY952" fmla="*/ 0 h 6858000"/>
              <a:gd name="connsiteX953" fmla="*/ 1111003 w 7467600"/>
              <a:gd name="connsiteY953" fmla="*/ 0 h 6858000"/>
              <a:gd name="connsiteX954" fmla="*/ 1125553 w 7467600"/>
              <a:gd name="connsiteY954" fmla="*/ 52588 h 6858000"/>
              <a:gd name="connsiteX955" fmla="*/ 1304276 w 7467600"/>
              <a:gd name="connsiteY955" fmla="*/ 476275 h 6858000"/>
              <a:gd name="connsiteX956" fmla="*/ 1492066 w 7467600"/>
              <a:gd name="connsiteY956" fmla="*/ 886333 h 6858000"/>
              <a:gd name="connsiteX957" fmla="*/ 1423698 w 7467600"/>
              <a:gd name="connsiteY957" fmla="*/ 710817 h 6858000"/>
              <a:gd name="connsiteX958" fmla="*/ 1357609 w 7467600"/>
              <a:gd name="connsiteY958" fmla="*/ 532892 h 6858000"/>
              <a:gd name="connsiteX959" fmla="*/ 1309550 w 7467600"/>
              <a:gd name="connsiteY959" fmla="*/ 374031 h 6858000"/>
              <a:gd name="connsiteX960" fmla="*/ 1193673 w 7467600"/>
              <a:gd name="connsiteY960" fmla="*/ 49533 h 6858000"/>
              <a:gd name="connsiteX961" fmla="*/ 1164391 w 7467600"/>
              <a:gd name="connsiteY961" fmla="*/ 0 h 6858000"/>
              <a:gd name="connsiteX962" fmla="*/ 1200666 w 7467600"/>
              <a:gd name="connsiteY962" fmla="*/ 0 h 6858000"/>
              <a:gd name="connsiteX963" fmla="*/ 1223408 w 7467600"/>
              <a:gd name="connsiteY963" fmla="*/ 38996 h 6858000"/>
              <a:gd name="connsiteX964" fmla="*/ 1339635 w 7467600"/>
              <a:gd name="connsiteY964" fmla="*/ 365517 h 6858000"/>
              <a:gd name="connsiteX965" fmla="*/ 1387469 w 7467600"/>
              <a:gd name="connsiteY965" fmla="*/ 523079 h 6858000"/>
              <a:gd name="connsiteX966" fmla="*/ 1452685 w 7467600"/>
              <a:gd name="connsiteY966" fmla="*/ 699806 h 6858000"/>
              <a:gd name="connsiteX967" fmla="*/ 1492092 w 7467600"/>
              <a:gd name="connsiteY967" fmla="*/ 800424 h 6858000"/>
              <a:gd name="connsiteX968" fmla="*/ 1455302 w 7467600"/>
              <a:gd name="connsiteY968" fmla="*/ 632913 h 6858000"/>
              <a:gd name="connsiteX969" fmla="*/ 1222336 w 7467600"/>
              <a:gd name="connsiteY969" fmla="*/ 9480 h 6858000"/>
              <a:gd name="connsiteX970" fmla="*/ 1214634 w 7467600"/>
              <a:gd name="connsiteY970" fmla="*/ 0 h 6858000"/>
              <a:gd name="connsiteX971" fmla="*/ 1289827 w 7467600"/>
              <a:gd name="connsiteY971" fmla="*/ 0 h 6858000"/>
              <a:gd name="connsiteX972" fmla="*/ 1321076 w 7467600"/>
              <a:gd name="connsiteY972" fmla="*/ 59722 h 6858000"/>
              <a:gd name="connsiteX973" fmla="*/ 1512579 w 7467600"/>
              <a:gd name="connsiteY973" fmla="*/ 626441 h 6858000"/>
              <a:gd name="connsiteX974" fmla="*/ 1506076 w 7467600"/>
              <a:gd name="connsiteY974" fmla="*/ 1089289 h 6858000"/>
              <a:gd name="connsiteX975" fmla="*/ 1486346 w 7467600"/>
              <a:gd name="connsiteY975" fmla="*/ 1079919 h 6858000"/>
              <a:gd name="connsiteX976" fmla="*/ 1070511 w 7467600"/>
              <a:gd name="connsiteY976" fmla="*/ 48609 h 6858000"/>
              <a:gd name="connsiteX977" fmla="*/ 1057230 w 7467600"/>
              <a:gd name="connsiteY977" fmla="*/ 0 h 6858000"/>
              <a:gd name="connsiteX978" fmla="*/ 43151 w 7467600"/>
              <a:gd name="connsiteY978" fmla="*/ 0 h 6858000"/>
              <a:gd name="connsiteX979" fmla="*/ 95283 w 7467600"/>
              <a:gd name="connsiteY979" fmla="*/ 0 h 6858000"/>
              <a:gd name="connsiteX980" fmla="*/ 300708 w 7467600"/>
              <a:gd name="connsiteY980" fmla="*/ 154571 h 6858000"/>
              <a:gd name="connsiteX981" fmla="*/ 530414 w 7467600"/>
              <a:gd name="connsiteY981" fmla="*/ 354673 h 6858000"/>
              <a:gd name="connsiteX982" fmla="*/ 333785 w 7467600"/>
              <a:gd name="connsiteY982" fmla="*/ 161564 h 6858000"/>
              <a:gd name="connsiteX983" fmla="*/ 147005 w 7467600"/>
              <a:gd name="connsiteY983" fmla="*/ 0 h 6858000"/>
              <a:gd name="connsiteX984" fmla="*/ 272509 w 7467600"/>
              <a:gd name="connsiteY984" fmla="*/ 0 h 6858000"/>
              <a:gd name="connsiteX985" fmla="*/ 326276 w 7467600"/>
              <a:gd name="connsiteY985" fmla="*/ 45847 h 6858000"/>
              <a:gd name="connsiteX986" fmla="*/ 823759 w 7467600"/>
              <a:gd name="connsiteY986" fmla="*/ 574145 h 6858000"/>
              <a:gd name="connsiteX987" fmla="*/ 811254 w 7467600"/>
              <a:gd name="connsiteY987" fmla="*/ 665546 h 6858000"/>
              <a:gd name="connsiteX988" fmla="*/ 154042 w 7467600"/>
              <a:gd name="connsiteY988" fmla="*/ 261522 h 6858000"/>
              <a:gd name="connsiteX989" fmla="*/ 13550 w 7467600"/>
              <a:gd name="connsiteY989" fmla="*/ 158423 h 6858000"/>
              <a:gd name="connsiteX990" fmla="*/ 0 w 7467600"/>
              <a:gd name="connsiteY990" fmla="*/ 146618 h 6858000"/>
              <a:gd name="connsiteX991" fmla="*/ 0 w 7467600"/>
              <a:gd name="connsiteY991" fmla="*/ 59161 h 6858000"/>
              <a:gd name="connsiteX992" fmla="*/ 45427 w 7467600"/>
              <a:gd name="connsiteY992" fmla="*/ 101078 h 6858000"/>
              <a:gd name="connsiteX993" fmla="*/ 630103 w 7467600"/>
              <a:gd name="connsiteY993" fmla="*/ 485885 h 6858000"/>
              <a:gd name="connsiteX994" fmla="*/ 532040 w 7467600"/>
              <a:gd name="connsiteY994" fmla="*/ 399359 h 6858000"/>
              <a:gd name="connsiteX995" fmla="*/ 517618 w 7467600"/>
              <a:gd name="connsiteY995" fmla="*/ 385726 h 6858000"/>
              <a:gd name="connsiteX996" fmla="*/ 285074 w 7467600"/>
              <a:gd name="connsiteY996" fmla="*/ 182755 h 6858000"/>
              <a:gd name="connsiteX997" fmla="*/ 43151 w 7467600"/>
              <a:gd name="connsiteY997"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53035 w 7467600"/>
              <a:gd name="connsiteY127" fmla="*/ 5197318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7327465 w 7467600"/>
              <a:gd name="connsiteY139" fmla="*/ 5174181 h 6858000"/>
              <a:gd name="connsiteX140" fmla="*/ 7353035 w 7467600"/>
              <a:gd name="connsiteY140" fmla="*/ 5197318 h 6858000"/>
              <a:gd name="connsiteX141" fmla="*/ 1903353 w 7467600"/>
              <a:gd name="connsiteY141" fmla="*/ 5044827 h 6858000"/>
              <a:gd name="connsiteX142" fmla="*/ 1936931 w 7467600"/>
              <a:gd name="connsiteY142" fmla="*/ 5093954 h 6858000"/>
              <a:gd name="connsiteX143" fmla="*/ 2195868 w 7467600"/>
              <a:gd name="connsiteY143" fmla="*/ 5396574 h 6858000"/>
              <a:gd name="connsiteX144" fmla="*/ 2088852 w 7467600"/>
              <a:gd name="connsiteY144" fmla="*/ 5166123 h 6858000"/>
              <a:gd name="connsiteX145" fmla="*/ 1958241 w 7467600"/>
              <a:gd name="connsiteY145" fmla="*/ 5067955 h 6858000"/>
              <a:gd name="connsiteX146" fmla="*/ 1903353 w 7467600"/>
              <a:gd name="connsiteY146" fmla="*/ 5044827 h 6858000"/>
              <a:gd name="connsiteX147" fmla="*/ 1979378 w 7467600"/>
              <a:gd name="connsiteY147" fmla="*/ 4769504 h 6858000"/>
              <a:gd name="connsiteX148" fmla="*/ 2882120 w 7467600"/>
              <a:gd name="connsiteY148" fmla="*/ 5064547 h 6858000"/>
              <a:gd name="connsiteX149" fmla="*/ 2793103 w 7467600"/>
              <a:gd name="connsiteY149" fmla="*/ 5039699 h 6858000"/>
              <a:gd name="connsiteX150" fmla="*/ 2770041 w 7467600"/>
              <a:gd name="connsiteY150" fmla="*/ 5033634 h 6858000"/>
              <a:gd name="connsiteX151" fmla="*/ 1979378 w 7467600"/>
              <a:gd name="connsiteY151" fmla="*/ 4769504 h 6858000"/>
              <a:gd name="connsiteX152" fmla="*/ 1927410 w 7467600"/>
              <a:gd name="connsiteY152" fmla="*/ 4716164 h 6858000"/>
              <a:gd name="connsiteX153" fmla="*/ 1959587 w 7467600"/>
              <a:gd name="connsiteY153" fmla="*/ 4728849 h 6858000"/>
              <a:gd name="connsiteX154" fmla="*/ 2777707 w 7467600"/>
              <a:gd name="connsiteY154" fmla="*/ 5003991 h 6858000"/>
              <a:gd name="connsiteX155" fmla="*/ 2800768 w 7467600"/>
              <a:gd name="connsiteY155" fmla="*/ 5010056 h 6858000"/>
              <a:gd name="connsiteX156" fmla="*/ 2879408 w 7467600"/>
              <a:gd name="connsiteY156" fmla="*/ 5031590 h 6858000"/>
              <a:gd name="connsiteX157" fmla="*/ 2862295 w 7467600"/>
              <a:gd name="connsiteY157" fmla="*/ 5022958 h 6858000"/>
              <a:gd name="connsiteX158" fmla="*/ 2813343 w 7467600"/>
              <a:gd name="connsiteY158" fmla="*/ 4998369 h 6858000"/>
              <a:gd name="connsiteX159" fmla="*/ 2646245 w 7467600"/>
              <a:gd name="connsiteY159" fmla="*/ 4930999 h 6858000"/>
              <a:gd name="connsiteX160" fmla="*/ 1999243 w 7467600"/>
              <a:gd name="connsiteY160" fmla="*/ 4730524 h 6858000"/>
              <a:gd name="connsiteX161" fmla="*/ 1979527 w 7467600"/>
              <a:gd name="connsiteY161" fmla="*/ 4726651 h 6858000"/>
              <a:gd name="connsiteX162" fmla="*/ 1927410 w 7467600"/>
              <a:gd name="connsiteY162" fmla="*/ 4716164 h 6858000"/>
              <a:gd name="connsiteX163" fmla="*/ 1997014 w 7467600"/>
              <a:gd name="connsiteY163" fmla="*/ 4698007 h 6858000"/>
              <a:gd name="connsiteX164" fmla="*/ 2005458 w 7467600"/>
              <a:gd name="connsiteY164" fmla="*/ 4699540 h 6858000"/>
              <a:gd name="connsiteX165" fmla="*/ 2657186 w 7467600"/>
              <a:gd name="connsiteY165" fmla="*/ 4901687 h 6858000"/>
              <a:gd name="connsiteX166" fmla="*/ 2826662 w 7467600"/>
              <a:gd name="connsiteY166" fmla="*/ 4970362 h 6858000"/>
              <a:gd name="connsiteX167" fmla="*/ 2876100 w 7467600"/>
              <a:gd name="connsiteY167" fmla="*/ 4995397 h 6858000"/>
              <a:gd name="connsiteX168" fmla="*/ 3042600 w 7467600"/>
              <a:gd name="connsiteY168" fmla="*/ 5059532 h 6858000"/>
              <a:gd name="connsiteX169" fmla="*/ 1997014 w 7467600"/>
              <a:gd name="connsiteY169" fmla="*/ 4698007 h 6858000"/>
              <a:gd name="connsiteX170" fmla="*/ 2305292 w 7467600"/>
              <a:gd name="connsiteY170" fmla="*/ 4219492 h 6858000"/>
              <a:gd name="connsiteX171" fmla="*/ 3360922 w 7467600"/>
              <a:gd name="connsiteY171" fmla="*/ 4529373 h 6858000"/>
              <a:gd name="connsiteX172" fmla="*/ 3492420 w 7467600"/>
              <a:gd name="connsiteY172" fmla="*/ 4510145 h 6858000"/>
              <a:gd name="connsiteX173" fmla="*/ 3364086 w 7467600"/>
              <a:gd name="connsiteY173" fmla="*/ 4480340 h 6858000"/>
              <a:gd name="connsiteX174" fmla="*/ 3225818 w 7467600"/>
              <a:gd name="connsiteY174" fmla="*/ 4411822 h 6858000"/>
              <a:gd name="connsiteX175" fmla="*/ 3129696 w 7467600"/>
              <a:gd name="connsiteY175" fmla="*/ 4360704 h 6858000"/>
              <a:gd name="connsiteX176" fmla="*/ 2814545 w 7467600"/>
              <a:gd name="connsiteY176" fmla="*/ 4282955 h 6858000"/>
              <a:gd name="connsiteX177" fmla="*/ 2305292 w 7467600"/>
              <a:gd name="connsiteY177" fmla="*/ 4219492 h 6858000"/>
              <a:gd name="connsiteX178" fmla="*/ 2626982 w 7467600"/>
              <a:gd name="connsiteY178" fmla="*/ 4206450 h 6858000"/>
              <a:gd name="connsiteX179" fmla="*/ 2490617 w 7467600"/>
              <a:gd name="connsiteY179" fmla="*/ 4206951 h 6858000"/>
              <a:gd name="connsiteX180" fmla="*/ 2819869 w 7467600"/>
              <a:gd name="connsiteY180" fmla="*/ 4252936 h 6858000"/>
              <a:gd name="connsiteX181" fmla="*/ 3143018 w 7467600"/>
              <a:gd name="connsiteY181" fmla="*/ 4332698 h 6858000"/>
              <a:gd name="connsiteX182" fmla="*/ 3241520 w 7467600"/>
              <a:gd name="connsiteY182" fmla="*/ 4385112 h 6858000"/>
              <a:gd name="connsiteX183" fmla="*/ 3374575 w 7467600"/>
              <a:gd name="connsiteY183" fmla="*/ 4451517 h 6858000"/>
              <a:gd name="connsiteX184" fmla="*/ 3505221 w 7467600"/>
              <a:gd name="connsiteY184" fmla="*/ 4480757 h 6858000"/>
              <a:gd name="connsiteX185" fmla="*/ 2626982 w 7467600"/>
              <a:gd name="connsiteY185" fmla="*/ 4206450 h 6858000"/>
              <a:gd name="connsiteX186" fmla="*/ 1310106 w 7467600"/>
              <a:gd name="connsiteY186" fmla="*/ 3943217 h 6858000"/>
              <a:gd name="connsiteX187" fmla="*/ 854994 w 7467600"/>
              <a:gd name="connsiteY187" fmla="*/ 4399136 h 6858000"/>
              <a:gd name="connsiteX188" fmla="*/ 742462 w 7467600"/>
              <a:gd name="connsiteY188" fmla="*/ 4594648 h 6858000"/>
              <a:gd name="connsiteX189" fmla="*/ 820602 w 7467600"/>
              <a:gd name="connsiteY189" fmla="*/ 4485915 h 6858000"/>
              <a:gd name="connsiteX190" fmla="*/ 878295 w 7467600"/>
              <a:gd name="connsiteY190" fmla="*/ 4403594 h 6858000"/>
              <a:gd name="connsiteX191" fmla="*/ 1240607 w 7467600"/>
              <a:gd name="connsiteY191" fmla="*/ 4010401 h 6858000"/>
              <a:gd name="connsiteX192" fmla="*/ 1310106 w 7467600"/>
              <a:gd name="connsiteY192" fmla="*/ 3943217 h 6858000"/>
              <a:gd name="connsiteX193" fmla="*/ 1423113 w 7467600"/>
              <a:gd name="connsiteY193" fmla="*/ 3874565 h 6858000"/>
              <a:gd name="connsiteX194" fmla="*/ 1260565 w 7467600"/>
              <a:gd name="connsiteY194" fmla="*/ 4031982 h 6858000"/>
              <a:gd name="connsiteX195" fmla="*/ 901900 w 7467600"/>
              <a:gd name="connsiteY195" fmla="*/ 4421236 h 6858000"/>
              <a:gd name="connsiteX196" fmla="*/ 845044 w 7467600"/>
              <a:gd name="connsiteY196" fmla="*/ 4502436 h 6858000"/>
              <a:gd name="connsiteX197" fmla="*/ 685926 w 7467600"/>
              <a:gd name="connsiteY197" fmla="*/ 4703069 h 6858000"/>
              <a:gd name="connsiteX198" fmla="*/ 684248 w 7467600"/>
              <a:gd name="connsiteY198" fmla="*/ 4706721 h 6858000"/>
              <a:gd name="connsiteX199" fmla="*/ 1423113 w 7467600"/>
              <a:gd name="connsiteY199" fmla="*/ 3874565 h 6858000"/>
              <a:gd name="connsiteX200" fmla="*/ 3316479 w 7467600"/>
              <a:gd name="connsiteY200" fmla="*/ 3872136 h 6858000"/>
              <a:gd name="connsiteX201" fmla="*/ 3546806 w 7467600"/>
              <a:gd name="connsiteY201" fmla="*/ 4356139 h 6858000"/>
              <a:gd name="connsiteX202" fmla="*/ 3364433 w 7467600"/>
              <a:gd name="connsiteY202" fmla="*/ 3953121 h 6858000"/>
              <a:gd name="connsiteX203" fmla="*/ 3316479 w 7467600"/>
              <a:gd name="connsiteY203" fmla="*/ 3872136 h 6858000"/>
              <a:gd name="connsiteX204" fmla="*/ 3291335 w 7467600"/>
              <a:gd name="connsiteY204" fmla="*/ 3767420 h 6858000"/>
              <a:gd name="connsiteX205" fmla="*/ 3390805 w 7467600"/>
              <a:gd name="connsiteY205" fmla="*/ 3937163 h 6858000"/>
              <a:gd name="connsiteX206" fmla="*/ 3579062 w 7467600"/>
              <a:gd name="connsiteY206" fmla="*/ 4359040 h 6858000"/>
              <a:gd name="connsiteX207" fmla="*/ 3467355 w 7467600"/>
              <a:gd name="connsiteY207" fmla="*/ 3988130 h 6858000"/>
              <a:gd name="connsiteX208" fmla="*/ 3310753 w 7467600"/>
              <a:gd name="connsiteY208" fmla="*/ 3787140 h 6858000"/>
              <a:gd name="connsiteX209" fmla="*/ 3291335 w 7467600"/>
              <a:gd name="connsiteY209" fmla="*/ 3767420 h 6858000"/>
              <a:gd name="connsiteX210" fmla="*/ 1635889 w 7467600"/>
              <a:gd name="connsiteY210" fmla="*/ 3709494 h 6858000"/>
              <a:gd name="connsiteX211" fmla="*/ 1634800 w 7467600"/>
              <a:gd name="connsiteY211" fmla="*/ 3731111 h 6858000"/>
              <a:gd name="connsiteX212" fmla="*/ 1635889 w 7467600"/>
              <a:gd name="connsiteY212" fmla="*/ 3709494 h 6858000"/>
              <a:gd name="connsiteX213" fmla="*/ 1510397 w 7467600"/>
              <a:gd name="connsiteY213" fmla="*/ 3684705 h 6858000"/>
              <a:gd name="connsiteX214" fmla="*/ 1146550 w 7467600"/>
              <a:gd name="connsiteY214" fmla="*/ 3802012 h 6858000"/>
              <a:gd name="connsiteX215" fmla="*/ 698834 w 7467600"/>
              <a:gd name="connsiteY215" fmla="*/ 3952272 h 6858000"/>
              <a:gd name="connsiteX216" fmla="*/ 34256 w 7467600"/>
              <a:gd name="connsiteY216" fmla="*/ 4347603 h 6858000"/>
              <a:gd name="connsiteX217" fmla="*/ 527241 w 7467600"/>
              <a:gd name="connsiteY217" fmla="*/ 4065078 h 6858000"/>
              <a:gd name="connsiteX218" fmla="*/ 1510397 w 7467600"/>
              <a:gd name="connsiteY218" fmla="*/ 3684705 h 6858000"/>
              <a:gd name="connsiteX219" fmla="*/ 1313114 w 7467600"/>
              <a:gd name="connsiteY219" fmla="*/ 3655216 h 6858000"/>
              <a:gd name="connsiteX220" fmla="*/ 1109304 w 7467600"/>
              <a:gd name="connsiteY220" fmla="*/ 3669030 h 6858000"/>
              <a:gd name="connsiteX221" fmla="*/ 8129 w 7467600"/>
              <a:gd name="connsiteY221" fmla="*/ 4330519 h 6858000"/>
              <a:gd name="connsiteX222" fmla="*/ 687572 w 7467600"/>
              <a:gd name="connsiteY222" fmla="*/ 3925629 h 6858000"/>
              <a:gd name="connsiteX223" fmla="*/ 1138365 w 7467600"/>
              <a:gd name="connsiteY223" fmla="*/ 3774515 h 6858000"/>
              <a:gd name="connsiteX224" fmla="*/ 1505579 w 7467600"/>
              <a:gd name="connsiteY224" fmla="*/ 3655526 h 6858000"/>
              <a:gd name="connsiteX225" fmla="*/ 1313114 w 7467600"/>
              <a:gd name="connsiteY225" fmla="*/ 3655216 h 6858000"/>
              <a:gd name="connsiteX226" fmla="*/ 3655073 w 7467600"/>
              <a:gd name="connsiteY226" fmla="*/ 3650884 h 6858000"/>
              <a:gd name="connsiteX227" fmla="*/ 3989938 w 7467600"/>
              <a:gd name="connsiteY227" fmla="*/ 3991685 h 6858000"/>
              <a:gd name="connsiteX228" fmla="*/ 4393907 w 7467600"/>
              <a:gd name="connsiteY228" fmla="*/ 4261258 h 6858000"/>
              <a:gd name="connsiteX229" fmla="*/ 4648051 w 7467600"/>
              <a:gd name="connsiteY229" fmla="*/ 4374051 h 6858000"/>
              <a:gd name="connsiteX230" fmla="*/ 4383389 w 7467600"/>
              <a:gd name="connsiteY230" fmla="*/ 4184369 h 6858000"/>
              <a:gd name="connsiteX231" fmla="*/ 4165508 w 7467600"/>
              <a:gd name="connsiteY231" fmla="*/ 4035196 h 6858000"/>
              <a:gd name="connsiteX232" fmla="*/ 4068162 w 7467600"/>
              <a:gd name="connsiteY232" fmla="*/ 3953394 h 6858000"/>
              <a:gd name="connsiteX233" fmla="*/ 3981416 w 7467600"/>
              <a:gd name="connsiteY233" fmla="*/ 3880482 h 6858000"/>
              <a:gd name="connsiteX234" fmla="*/ 3800147 w 7467600"/>
              <a:gd name="connsiteY234" fmla="*/ 3749872 h 6858000"/>
              <a:gd name="connsiteX235" fmla="*/ 3655073 w 7467600"/>
              <a:gd name="connsiteY235" fmla="*/ 3650884 h 6858000"/>
              <a:gd name="connsiteX236" fmla="*/ 3670252 w 7467600"/>
              <a:gd name="connsiteY236" fmla="*/ 3622798 h 6858000"/>
              <a:gd name="connsiteX237" fmla="*/ 3817258 w 7467600"/>
              <a:gd name="connsiteY237" fmla="*/ 3723577 h 6858000"/>
              <a:gd name="connsiteX238" fmla="*/ 4000461 w 7467600"/>
              <a:gd name="connsiteY238" fmla="*/ 3855966 h 6858000"/>
              <a:gd name="connsiteX239" fmla="*/ 4088180 w 7467600"/>
              <a:gd name="connsiteY239" fmla="*/ 3929774 h 6858000"/>
              <a:gd name="connsiteX240" fmla="*/ 4184555 w 7467600"/>
              <a:gd name="connsiteY240" fmla="*/ 4010683 h 6858000"/>
              <a:gd name="connsiteX241" fmla="*/ 4399563 w 7467600"/>
              <a:gd name="connsiteY241" fmla="*/ 4158106 h 6858000"/>
              <a:gd name="connsiteX242" fmla="*/ 4684469 w 7467600"/>
              <a:gd name="connsiteY242" fmla="*/ 4364680 h 6858000"/>
              <a:gd name="connsiteX243" fmla="*/ 4690271 w 7467600"/>
              <a:gd name="connsiteY243" fmla="*/ 4370034 h 6858000"/>
              <a:gd name="connsiteX244" fmla="*/ 4136093 w 7467600"/>
              <a:gd name="connsiteY244" fmla="*/ 3858466 h 6858000"/>
              <a:gd name="connsiteX245" fmla="*/ 3670252 w 7467600"/>
              <a:gd name="connsiteY245" fmla="*/ 3622798 h 6858000"/>
              <a:gd name="connsiteX246" fmla="*/ 4440129 w 7467600"/>
              <a:gd name="connsiteY246" fmla="*/ 3448571 h 6858000"/>
              <a:gd name="connsiteX247" fmla="*/ 4856525 w 7467600"/>
              <a:gd name="connsiteY247" fmla="*/ 3915351 h 6858000"/>
              <a:gd name="connsiteX248" fmla="*/ 5059055 w 7467600"/>
              <a:gd name="connsiteY248" fmla="*/ 4108918 h 6858000"/>
              <a:gd name="connsiteX249" fmla="*/ 5290070 w 7467600"/>
              <a:gd name="connsiteY249" fmla="*/ 4263619 h 6858000"/>
              <a:gd name="connsiteX250" fmla="*/ 4834991 w 7467600"/>
              <a:gd name="connsiteY250" fmla="*/ 3830985 h 6858000"/>
              <a:gd name="connsiteX251" fmla="*/ 4440129 w 7467600"/>
              <a:gd name="connsiteY251" fmla="*/ 3448571 h 6858000"/>
              <a:gd name="connsiteX252" fmla="*/ 4441737 w 7467600"/>
              <a:gd name="connsiteY252" fmla="*/ 3399734 h 6858000"/>
              <a:gd name="connsiteX253" fmla="*/ 4431236 w 7467600"/>
              <a:gd name="connsiteY253" fmla="*/ 3400954 h 6858000"/>
              <a:gd name="connsiteX254" fmla="*/ 4557150 w 7467600"/>
              <a:gd name="connsiteY254" fmla="*/ 3510023 h 6858000"/>
              <a:gd name="connsiteX255" fmla="*/ 4856936 w 7467600"/>
              <a:gd name="connsiteY255" fmla="*/ 3809146 h 6858000"/>
              <a:gd name="connsiteX256" fmla="*/ 5111996 w 7467600"/>
              <a:gd name="connsiteY256" fmla="*/ 4065759 h 6858000"/>
              <a:gd name="connsiteX257" fmla="*/ 5388878 w 7467600"/>
              <a:gd name="connsiteY257" fmla="*/ 4300185 h 6858000"/>
              <a:gd name="connsiteX258" fmla="*/ 5425556 w 7467600"/>
              <a:gd name="connsiteY258" fmla="*/ 4308967 h 6858000"/>
              <a:gd name="connsiteX259" fmla="*/ 4943646 w 7467600"/>
              <a:gd name="connsiteY259" fmla="*/ 3822916 h 6858000"/>
              <a:gd name="connsiteX260" fmla="*/ 4594837 w 7467600"/>
              <a:gd name="connsiteY260" fmla="*/ 3532274 h 6858000"/>
              <a:gd name="connsiteX261" fmla="*/ 4441737 w 7467600"/>
              <a:gd name="connsiteY261" fmla="*/ 3399734 h 6858000"/>
              <a:gd name="connsiteX262" fmla="*/ 5425834 w 7467600"/>
              <a:gd name="connsiteY262" fmla="*/ 3162785 h 6858000"/>
              <a:gd name="connsiteX263" fmla="*/ 5401644 w 7467600"/>
              <a:gd name="connsiteY263" fmla="*/ 3617847 h 6858000"/>
              <a:gd name="connsiteX264" fmla="*/ 5467256 w 7467600"/>
              <a:gd name="connsiteY264" fmla="*/ 4175494 h 6858000"/>
              <a:gd name="connsiteX265" fmla="*/ 5448069 w 7467600"/>
              <a:gd name="connsiteY265" fmla="*/ 3567554 h 6858000"/>
              <a:gd name="connsiteX266" fmla="*/ 5425834 w 7467600"/>
              <a:gd name="connsiteY266" fmla="*/ 3162785 h 6858000"/>
              <a:gd name="connsiteX267" fmla="*/ 1318687 w 7467600"/>
              <a:gd name="connsiteY267" fmla="*/ 3113840 h 6858000"/>
              <a:gd name="connsiteX268" fmla="*/ 1066793 w 7467600"/>
              <a:gd name="connsiteY268" fmla="*/ 3212171 h 6858000"/>
              <a:gd name="connsiteX269" fmla="*/ 993319 w 7467600"/>
              <a:gd name="connsiteY269" fmla="*/ 3247648 h 6858000"/>
              <a:gd name="connsiteX270" fmla="*/ 853081 w 7467600"/>
              <a:gd name="connsiteY270" fmla="*/ 3312410 h 6858000"/>
              <a:gd name="connsiteX271" fmla="*/ 805957 w 7467600"/>
              <a:gd name="connsiteY271" fmla="*/ 3330443 h 6858000"/>
              <a:gd name="connsiteX272" fmla="*/ 1318687 w 7467600"/>
              <a:gd name="connsiteY272" fmla="*/ 3113840 h 6858000"/>
              <a:gd name="connsiteX273" fmla="*/ 5453702 w 7467600"/>
              <a:gd name="connsiteY273" fmla="*/ 3090882 h 6858000"/>
              <a:gd name="connsiteX274" fmla="*/ 5480135 w 7467600"/>
              <a:gd name="connsiteY274" fmla="*/ 3565802 h 6858000"/>
              <a:gd name="connsiteX275" fmla="*/ 5499023 w 7467600"/>
              <a:gd name="connsiteY275" fmla="*/ 4166310 h 6858000"/>
              <a:gd name="connsiteX276" fmla="*/ 5547022 w 7467600"/>
              <a:gd name="connsiteY276" fmla="*/ 3607838 h 6858000"/>
              <a:gd name="connsiteX277" fmla="*/ 5515964 w 7467600"/>
              <a:gd name="connsiteY277" fmla="*/ 3378541 h 6858000"/>
              <a:gd name="connsiteX278" fmla="*/ 5453702 w 7467600"/>
              <a:gd name="connsiteY278" fmla="*/ 3090882 h 6858000"/>
              <a:gd name="connsiteX279" fmla="*/ 1238695 w 7467600"/>
              <a:gd name="connsiteY279" fmla="*/ 3076820 h 6858000"/>
              <a:gd name="connsiteX280" fmla="*/ 716371 w 7467600"/>
              <a:gd name="connsiteY280" fmla="*/ 3293249 h 6858000"/>
              <a:gd name="connsiteX281" fmla="*/ 579522 w 7467600"/>
              <a:gd name="connsiteY281" fmla="*/ 3371759 h 6858000"/>
              <a:gd name="connsiteX282" fmla="*/ 600288 w 7467600"/>
              <a:gd name="connsiteY282" fmla="*/ 3365555 h 6858000"/>
              <a:gd name="connsiteX283" fmla="*/ 840692 w 7467600"/>
              <a:gd name="connsiteY283" fmla="*/ 3284921 h 6858000"/>
              <a:gd name="connsiteX284" fmla="*/ 979248 w 7467600"/>
              <a:gd name="connsiteY284" fmla="*/ 3221003 h 6858000"/>
              <a:gd name="connsiteX285" fmla="*/ 1053282 w 7467600"/>
              <a:gd name="connsiteY285" fmla="*/ 3185247 h 6858000"/>
              <a:gd name="connsiteX286" fmla="*/ 1320603 w 7467600"/>
              <a:gd name="connsiteY286" fmla="*/ 3081281 h 6858000"/>
              <a:gd name="connsiteX287" fmla="*/ 1238695 w 7467600"/>
              <a:gd name="connsiteY287" fmla="*/ 3076820 h 6858000"/>
              <a:gd name="connsiteX288" fmla="*/ 5425627 w 7467600"/>
              <a:gd name="connsiteY288" fmla="*/ 2954192 h 6858000"/>
              <a:gd name="connsiteX289" fmla="*/ 5470770 w 7467600"/>
              <a:gd name="connsiteY289" fmla="*/ 3005435 h 6858000"/>
              <a:gd name="connsiteX290" fmla="*/ 5519779 w 7467600"/>
              <a:gd name="connsiteY290" fmla="*/ 4359223 h 6858000"/>
              <a:gd name="connsiteX291" fmla="*/ 5520293 w 7467600"/>
              <a:gd name="connsiteY291" fmla="*/ 4360602 h 6858000"/>
              <a:gd name="connsiteX292" fmla="*/ 5767221 w 7467600"/>
              <a:gd name="connsiteY292" fmla="*/ 4665564 h 6858000"/>
              <a:gd name="connsiteX293" fmla="*/ 6937169 w 7467600"/>
              <a:gd name="connsiteY293" fmla="*/ 4815941 h 6858000"/>
              <a:gd name="connsiteX294" fmla="*/ 6953922 w 7467600"/>
              <a:gd name="connsiteY294" fmla="*/ 4890068 h 6858000"/>
              <a:gd name="connsiteX295" fmla="*/ 6071359 w 7467600"/>
              <a:gd name="connsiteY295" fmla="*/ 4770770 h 6858000"/>
              <a:gd name="connsiteX296" fmla="*/ 6038839 w 7467600"/>
              <a:gd name="connsiteY296" fmla="*/ 4764474 h 6858000"/>
              <a:gd name="connsiteX297" fmla="*/ 6038706 w 7467600"/>
              <a:gd name="connsiteY297" fmla="*/ 4763847 h 6858000"/>
              <a:gd name="connsiteX298" fmla="*/ 6037784 w 7467600"/>
              <a:gd name="connsiteY298" fmla="*/ 4764270 h 6858000"/>
              <a:gd name="connsiteX299" fmla="*/ 6038839 w 7467600"/>
              <a:gd name="connsiteY299" fmla="*/ 4764474 h 6858000"/>
              <a:gd name="connsiteX300" fmla="*/ 6040338 w 7467600"/>
              <a:gd name="connsiteY300" fmla="*/ 4771418 h 6858000"/>
              <a:gd name="connsiteX301" fmla="*/ 6024488 w 7467600"/>
              <a:gd name="connsiteY301" fmla="*/ 4809903 h 6858000"/>
              <a:gd name="connsiteX302" fmla="*/ 5599771 w 7467600"/>
              <a:gd name="connsiteY302" fmla="*/ 5509652 h 6858000"/>
              <a:gd name="connsiteX303" fmla="*/ 5548843 w 7467600"/>
              <a:gd name="connsiteY303" fmla="*/ 5563845 h 6858000"/>
              <a:gd name="connsiteX304" fmla="*/ 5940952 w 7467600"/>
              <a:gd name="connsiteY304" fmla="*/ 6250028 h 6858000"/>
              <a:gd name="connsiteX305" fmla="*/ 6043441 w 7467600"/>
              <a:gd name="connsiteY305" fmla="*/ 6665847 h 6858000"/>
              <a:gd name="connsiteX306" fmla="*/ 6093432 w 7467600"/>
              <a:gd name="connsiteY306" fmla="*/ 6858000 h 6858000"/>
              <a:gd name="connsiteX307" fmla="*/ 6034344 w 7467600"/>
              <a:gd name="connsiteY307" fmla="*/ 6858000 h 6858000"/>
              <a:gd name="connsiteX308" fmla="*/ 6026679 w 7467600"/>
              <a:gd name="connsiteY308" fmla="*/ 6836959 h 6858000"/>
              <a:gd name="connsiteX309" fmla="*/ 5800441 w 7467600"/>
              <a:gd name="connsiteY309" fmla="*/ 6335286 h 6858000"/>
              <a:gd name="connsiteX310" fmla="*/ 5526562 w 7467600"/>
              <a:gd name="connsiteY310" fmla="*/ 5705388 h 6858000"/>
              <a:gd name="connsiteX311" fmla="*/ 5519640 w 7467600"/>
              <a:gd name="connsiteY311" fmla="*/ 5683774 h 6858000"/>
              <a:gd name="connsiteX312" fmla="*/ 5844559 w 7467600"/>
              <a:gd name="connsiteY312" fmla="*/ 6553349 h 6858000"/>
              <a:gd name="connsiteX313" fmla="*/ 5975994 w 7467600"/>
              <a:gd name="connsiteY313" fmla="*/ 6858000 h 6858000"/>
              <a:gd name="connsiteX314" fmla="*/ 5898547 w 7467600"/>
              <a:gd name="connsiteY314" fmla="*/ 6858000 h 6858000"/>
              <a:gd name="connsiteX315" fmla="*/ 5682041 w 7467600"/>
              <a:gd name="connsiteY315" fmla="*/ 6355860 h 6858000"/>
              <a:gd name="connsiteX316" fmla="*/ 5461758 w 7467600"/>
              <a:gd name="connsiteY316" fmla="*/ 5820220 h 6858000"/>
              <a:gd name="connsiteX317" fmla="*/ 5237282 w 7467600"/>
              <a:gd name="connsiteY317" fmla="*/ 6579086 h 6858000"/>
              <a:gd name="connsiteX318" fmla="*/ 5115009 w 7467600"/>
              <a:gd name="connsiteY318" fmla="*/ 6858000 h 6858000"/>
              <a:gd name="connsiteX319" fmla="*/ 5028074 w 7467600"/>
              <a:gd name="connsiteY319" fmla="*/ 6858000 h 6858000"/>
              <a:gd name="connsiteX320" fmla="*/ 5079508 w 7467600"/>
              <a:gd name="connsiteY320" fmla="*/ 6749074 h 6858000"/>
              <a:gd name="connsiteX321" fmla="*/ 5371846 w 7467600"/>
              <a:gd name="connsiteY321" fmla="*/ 5924413 h 6858000"/>
              <a:gd name="connsiteX322" fmla="*/ 5270512 w 7467600"/>
              <a:gd name="connsiteY322" fmla="*/ 6138975 h 6858000"/>
              <a:gd name="connsiteX323" fmla="*/ 5062409 w 7467600"/>
              <a:gd name="connsiteY323" fmla="*/ 6653544 h 6858000"/>
              <a:gd name="connsiteX324" fmla="*/ 5036628 w 7467600"/>
              <a:gd name="connsiteY324" fmla="*/ 6754247 h 6858000"/>
              <a:gd name="connsiteX325" fmla="*/ 5009112 w 7467600"/>
              <a:gd name="connsiteY325" fmla="*/ 6858000 h 6858000"/>
              <a:gd name="connsiteX326" fmla="*/ 4976679 w 7467600"/>
              <a:gd name="connsiteY326" fmla="*/ 6858000 h 6858000"/>
              <a:gd name="connsiteX327" fmla="*/ 5006537 w 7467600"/>
              <a:gd name="connsiteY327" fmla="*/ 6747068 h 6858000"/>
              <a:gd name="connsiteX328" fmla="*/ 5032723 w 7467600"/>
              <a:gd name="connsiteY328" fmla="*/ 6644957 h 6858000"/>
              <a:gd name="connsiteX329" fmla="*/ 5242949 w 7467600"/>
              <a:gd name="connsiteY329" fmla="*/ 6125175 h 6858000"/>
              <a:gd name="connsiteX330" fmla="*/ 5286321 w 7467600"/>
              <a:gd name="connsiteY330" fmla="*/ 6033555 h 6858000"/>
              <a:gd name="connsiteX331" fmla="*/ 5008210 w 7467600"/>
              <a:gd name="connsiteY331" fmla="*/ 6649194 h 6858000"/>
              <a:gd name="connsiteX332" fmla="*/ 4986321 w 7467600"/>
              <a:gd name="connsiteY332" fmla="*/ 6765687 h 6858000"/>
              <a:gd name="connsiteX333" fmla="*/ 4973474 w 7467600"/>
              <a:gd name="connsiteY333" fmla="*/ 6858000 h 6858000"/>
              <a:gd name="connsiteX334" fmla="*/ 4907178 w 7467600"/>
              <a:gd name="connsiteY334" fmla="*/ 6858000 h 6858000"/>
              <a:gd name="connsiteX335" fmla="*/ 4910810 w 7467600"/>
              <a:gd name="connsiteY335" fmla="*/ 6829660 h 6858000"/>
              <a:gd name="connsiteX336" fmla="*/ 4987461 w 7467600"/>
              <a:gd name="connsiteY336" fmla="*/ 6432994 h 6858000"/>
              <a:gd name="connsiteX337" fmla="*/ 5179262 w 7467600"/>
              <a:gd name="connsiteY337" fmla="*/ 6035044 h 6858000"/>
              <a:gd name="connsiteX338" fmla="*/ 4689678 w 7467600"/>
              <a:gd name="connsiteY338" fmla="*/ 6440241 h 6858000"/>
              <a:gd name="connsiteX339" fmla="*/ 4477543 w 7467600"/>
              <a:gd name="connsiteY339" fmla="*/ 6674836 h 6858000"/>
              <a:gd name="connsiteX340" fmla="*/ 4329957 w 7467600"/>
              <a:gd name="connsiteY340" fmla="*/ 6858000 h 6858000"/>
              <a:gd name="connsiteX341" fmla="*/ 4218595 w 7467600"/>
              <a:gd name="connsiteY341" fmla="*/ 6858000 h 6858000"/>
              <a:gd name="connsiteX342" fmla="*/ 4368888 w 7467600"/>
              <a:gd name="connsiteY342" fmla="*/ 6668412 h 6858000"/>
              <a:gd name="connsiteX343" fmla="*/ 4563091 w 7467600"/>
              <a:gd name="connsiteY343" fmla="*/ 6442508 h 6858000"/>
              <a:gd name="connsiteX344" fmla="*/ 5387324 w 7467600"/>
              <a:gd name="connsiteY344" fmla="*/ 5705830 h 6858000"/>
              <a:gd name="connsiteX345" fmla="*/ 5073620 w 7467600"/>
              <a:gd name="connsiteY345" fmla="*/ 5955437 h 6858000"/>
              <a:gd name="connsiteX346" fmla="*/ 4689789 w 7467600"/>
              <a:gd name="connsiteY346" fmla="*/ 6268382 h 6858000"/>
              <a:gd name="connsiteX347" fmla="*/ 4418722 w 7467600"/>
              <a:gd name="connsiteY347" fmla="*/ 6570886 h 6858000"/>
              <a:gd name="connsiteX348" fmla="*/ 4214944 w 7467600"/>
              <a:gd name="connsiteY348" fmla="*/ 6858000 h 6858000"/>
              <a:gd name="connsiteX349" fmla="*/ 4177898 w 7467600"/>
              <a:gd name="connsiteY349" fmla="*/ 6858000 h 6858000"/>
              <a:gd name="connsiteX350" fmla="*/ 4391597 w 7467600"/>
              <a:gd name="connsiteY350" fmla="*/ 6556370 h 6858000"/>
              <a:gd name="connsiteX351" fmla="*/ 4668889 w 7467600"/>
              <a:gd name="connsiteY351" fmla="*/ 6246399 h 6858000"/>
              <a:gd name="connsiteX352" fmla="*/ 5055427 w 7467600"/>
              <a:gd name="connsiteY352" fmla="*/ 5931476 h 6858000"/>
              <a:gd name="connsiteX353" fmla="*/ 5371814 w 7467600"/>
              <a:gd name="connsiteY353" fmla="*/ 5678975 h 6858000"/>
              <a:gd name="connsiteX354" fmla="*/ 4987918 w 7467600"/>
              <a:gd name="connsiteY354" fmla="*/ 5838701 h 6858000"/>
              <a:gd name="connsiteX355" fmla="*/ 4317146 w 7467600"/>
              <a:gd name="connsiteY355" fmla="*/ 6587716 h 6858000"/>
              <a:gd name="connsiteX356" fmla="*/ 4171627 w 7467600"/>
              <a:gd name="connsiteY356" fmla="*/ 6858000 h 6858000"/>
              <a:gd name="connsiteX357" fmla="*/ 4081585 w 7467600"/>
              <a:gd name="connsiteY357" fmla="*/ 6858000 h 6858000"/>
              <a:gd name="connsiteX358" fmla="*/ 4238603 w 7467600"/>
              <a:gd name="connsiteY358" fmla="*/ 6559341 h 6858000"/>
              <a:gd name="connsiteX359" fmla="*/ 4778333 w 7467600"/>
              <a:gd name="connsiteY359" fmla="*/ 5873626 h 6858000"/>
              <a:gd name="connsiteX360" fmla="*/ 5414185 w 7467600"/>
              <a:gd name="connsiteY360" fmla="*/ 5573882 h 6858000"/>
              <a:gd name="connsiteX361" fmla="*/ 5959648 w 7467600"/>
              <a:gd name="connsiteY361" fmla="*/ 4760797 h 6858000"/>
              <a:gd name="connsiteX362" fmla="*/ 5355019 w 7467600"/>
              <a:gd name="connsiteY362" fmla="*/ 4734672 h 6858000"/>
              <a:gd name="connsiteX363" fmla="*/ 5083565 w 7467600"/>
              <a:gd name="connsiteY363" fmla="*/ 5179121 h 6858000"/>
              <a:gd name="connsiteX364" fmla="*/ 4713577 w 7467600"/>
              <a:gd name="connsiteY364" fmla="*/ 5616803 h 6858000"/>
              <a:gd name="connsiteX365" fmla="*/ 3989559 w 7467600"/>
              <a:gd name="connsiteY365" fmla="*/ 6145945 h 6858000"/>
              <a:gd name="connsiteX366" fmla="*/ 3939824 w 7467600"/>
              <a:gd name="connsiteY366" fmla="*/ 6066900 h 6858000"/>
              <a:gd name="connsiteX367" fmla="*/ 4584537 w 7467600"/>
              <a:gd name="connsiteY367" fmla="*/ 5324826 h 6858000"/>
              <a:gd name="connsiteX368" fmla="*/ 5037105 w 7467600"/>
              <a:gd name="connsiteY368" fmla="*/ 5088765 h 6858000"/>
              <a:gd name="connsiteX369" fmla="*/ 5039930 w 7467600"/>
              <a:gd name="connsiteY369" fmla="*/ 5089585 h 6858000"/>
              <a:gd name="connsiteX370" fmla="*/ 5263764 w 7467600"/>
              <a:gd name="connsiteY370" fmla="*/ 4735525 h 6858000"/>
              <a:gd name="connsiteX371" fmla="*/ 4086300 w 7467600"/>
              <a:gd name="connsiteY371" fmla="*/ 4884599 h 6858000"/>
              <a:gd name="connsiteX372" fmla="*/ 4085485 w 7467600"/>
              <a:gd name="connsiteY372" fmla="*/ 4899070 h 6858000"/>
              <a:gd name="connsiteX373" fmla="*/ 3871915 w 7467600"/>
              <a:gd name="connsiteY373" fmla="*/ 5253645 h 6858000"/>
              <a:gd name="connsiteX374" fmla="*/ 3799374 w 7467600"/>
              <a:gd name="connsiteY374" fmla="*/ 5466127 h 6858000"/>
              <a:gd name="connsiteX375" fmla="*/ 3498850 w 7467600"/>
              <a:gd name="connsiteY375" fmla="*/ 6661888 h 6858000"/>
              <a:gd name="connsiteX376" fmla="*/ 3399216 w 7467600"/>
              <a:gd name="connsiteY376" fmla="*/ 6858000 h 6858000"/>
              <a:gd name="connsiteX377" fmla="*/ 3303688 w 7467600"/>
              <a:gd name="connsiteY377" fmla="*/ 6858000 h 6858000"/>
              <a:gd name="connsiteX378" fmla="*/ 3391774 w 7467600"/>
              <a:gd name="connsiteY378" fmla="*/ 6697181 h 6858000"/>
              <a:gd name="connsiteX379" fmla="*/ 3735540 w 7467600"/>
              <a:gd name="connsiteY379" fmla="*/ 5546923 h 6858000"/>
              <a:gd name="connsiteX380" fmla="*/ 3729438 w 7467600"/>
              <a:gd name="connsiteY380" fmla="*/ 5569058 h 6858000"/>
              <a:gd name="connsiteX381" fmla="*/ 3707782 w 7467600"/>
              <a:gd name="connsiteY381" fmla="*/ 5644908 h 6858000"/>
              <a:gd name="connsiteX382" fmla="*/ 3583827 w 7467600"/>
              <a:gd name="connsiteY382" fmla="*/ 6039215 h 6858000"/>
              <a:gd name="connsiteX383" fmla="*/ 3547861 w 7467600"/>
              <a:gd name="connsiteY383" fmla="*/ 6129609 h 6858000"/>
              <a:gd name="connsiteX384" fmla="*/ 3490905 w 7467600"/>
              <a:gd name="connsiteY384" fmla="*/ 6277660 h 6858000"/>
              <a:gd name="connsiteX385" fmla="*/ 3455859 w 7467600"/>
              <a:gd name="connsiteY385" fmla="*/ 6391301 h 6858000"/>
              <a:gd name="connsiteX386" fmla="*/ 3429112 w 7467600"/>
              <a:gd name="connsiteY386" fmla="*/ 6479469 h 6858000"/>
              <a:gd name="connsiteX387" fmla="*/ 3304862 w 7467600"/>
              <a:gd name="connsiteY387" fmla="*/ 6796476 h 6858000"/>
              <a:gd name="connsiteX388" fmla="*/ 3276071 w 7467600"/>
              <a:gd name="connsiteY388" fmla="*/ 6858000 h 6858000"/>
              <a:gd name="connsiteX389" fmla="*/ 3240805 w 7467600"/>
              <a:gd name="connsiteY389" fmla="*/ 6858000 h 6858000"/>
              <a:gd name="connsiteX390" fmla="*/ 3275917 w 7467600"/>
              <a:gd name="connsiteY390" fmla="*/ 6783192 h 6858000"/>
              <a:gd name="connsiteX391" fmla="*/ 3399358 w 7467600"/>
              <a:gd name="connsiteY391" fmla="*/ 6469011 h 6858000"/>
              <a:gd name="connsiteX392" fmla="*/ 3425650 w 7467600"/>
              <a:gd name="connsiteY392" fmla="*/ 6381333 h 6858000"/>
              <a:gd name="connsiteX393" fmla="*/ 3460661 w 7467600"/>
              <a:gd name="connsiteY393" fmla="*/ 6266763 h 6858000"/>
              <a:gd name="connsiteX394" fmla="*/ 3518021 w 7467600"/>
              <a:gd name="connsiteY394" fmla="*/ 6117298 h 6858000"/>
              <a:gd name="connsiteX395" fmla="*/ 3554035 w 7467600"/>
              <a:gd name="connsiteY395" fmla="*/ 6027832 h 6858000"/>
              <a:gd name="connsiteX396" fmla="*/ 3677174 w 7467600"/>
              <a:gd name="connsiteY396" fmla="*/ 5636351 h 6858000"/>
              <a:gd name="connsiteX397" fmla="*/ 3698819 w 7467600"/>
              <a:gd name="connsiteY397" fmla="*/ 5560503 h 6858000"/>
              <a:gd name="connsiteX398" fmla="*/ 3702094 w 7467600"/>
              <a:gd name="connsiteY398" fmla="*/ 5549194 h 6858000"/>
              <a:gd name="connsiteX399" fmla="*/ 3398355 w 7467600"/>
              <a:gd name="connsiteY399" fmla="*/ 6094603 h 6858000"/>
              <a:gd name="connsiteX400" fmla="*/ 3193941 w 7467600"/>
              <a:gd name="connsiteY400" fmla="*/ 6798775 h 6858000"/>
              <a:gd name="connsiteX401" fmla="*/ 3184140 w 7467600"/>
              <a:gd name="connsiteY401" fmla="*/ 6858000 h 6858000"/>
              <a:gd name="connsiteX402" fmla="*/ 3099978 w 7467600"/>
              <a:gd name="connsiteY402" fmla="*/ 6858000 h 6858000"/>
              <a:gd name="connsiteX403" fmla="*/ 3101556 w 7467600"/>
              <a:gd name="connsiteY403" fmla="*/ 6843337 h 6858000"/>
              <a:gd name="connsiteX404" fmla="*/ 3370162 w 7467600"/>
              <a:gd name="connsiteY404" fmla="*/ 5785550 h 6858000"/>
              <a:gd name="connsiteX405" fmla="*/ 3746477 w 7467600"/>
              <a:gd name="connsiteY405" fmla="*/ 5377889 h 6858000"/>
              <a:gd name="connsiteX406" fmla="*/ 3863399 w 7467600"/>
              <a:gd name="connsiteY406" fmla="*/ 5087257 h 6858000"/>
              <a:gd name="connsiteX407" fmla="*/ 3968712 w 7467600"/>
              <a:gd name="connsiteY407" fmla="*/ 4913989 h 6858000"/>
              <a:gd name="connsiteX408" fmla="*/ 2792390 w 7467600"/>
              <a:gd name="connsiteY408" fmla="*/ 5382974 h 6858000"/>
              <a:gd name="connsiteX409" fmla="*/ 2714982 w 7467600"/>
              <a:gd name="connsiteY409" fmla="*/ 5427051 h 6858000"/>
              <a:gd name="connsiteX410" fmla="*/ 2813361 w 7467600"/>
              <a:gd name="connsiteY410" fmla="*/ 6023912 h 6858000"/>
              <a:gd name="connsiteX411" fmla="*/ 2688430 w 7467600"/>
              <a:gd name="connsiteY411" fmla="*/ 6801564 h 6858000"/>
              <a:gd name="connsiteX412" fmla="*/ 2629626 w 7467600"/>
              <a:gd name="connsiteY412" fmla="*/ 6763394 h 6858000"/>
              <a:gd name="connsiteX413" fmla="*/ 2565328 w 7467600"/>
              <a:gd name="connsiteY413" fmla="*/ 5516399 h 6858000"/>
              <a:gd name="connsiteX414" fmla="*/ 1922999 w 7467600"/>
              <a:gd name="connsiteY414" fmla="*/ 5980343 h 6858000"/>
              <a:gd name="connsiteX415" fmla="*/ 1950261 w 7467600"/>
              <a:gd name="connsiteY415" fmla="*/ 6405858 h 6858000"/>
              <a:gd name="connsiteX416" fmla="*/ 2365554 w 7467600"/>
              <a:gd name="connsiteY416" fmla="*/ 6759107 h 6858000"/>
              <a:gd name="connsiteX417" fmla="*/ 2424142 w 7467600"/>
              <a:gd name="connsiteY417" fmla="*/ 6858000 h 6858000"/>
              <a:gd name="connsiteX418" fmla="*/ 2395994 w 7467600"/>
              <a:gd name="connsiteY418" fmla="*/ 6858000 h 6858000"/>
              <a:gd name="connsiteX419" fmla="*/ 2392863 w 7467600"/>
              <a:gd name="connsiteY419" fmla="*/ 6852964 h 6858000"/>
              <a:gd name="connsiteX420" fmla="*/ 2017589 w 7467600"/>
              <a:gd name="connsiteY420" fmla="*/ 6493982 h 6858000"/>
              <a:gd name="connsiteX421" fmla="*/ 2147336 w 7467600"/>
              <a:gd name="connsiteY421" fmla="*/ 6594052 h 6858000"/>
              <a:gd name="connsiteX422" fmla="*/ 2207047 w 7467600"/>
              <a:gd name="connsiteY422" fmla="*/ 6654540 h 6858000"/>
              <a:gd name="connsiteX423" fmla="*/ 2299106 w 7467600"/>
              <a:gd name="connsiteY423" fmla="*/ 6778931 h 6858000"/>
              <a:gd name="connsiteX424" fmla="*/ 2314430 w 7467600"/>
              <a:gd name="connsiteY424" fmla="*/ 6801144 h 6858000"/>
              <a:gd name="connsiteX425" fmla="*/ 2352406 w 7467600"/>
              <a:gd name="connsiteY425" fmla="*/ 6858000 h 6858000"/>
              <a:gd name="connsiteX426" fmla="*/ 2314492 w 7467600"/>
              <a:gd name="connsiteY426" fmla="*/ 6858000 h 6858000"/>
              <a:gd name="connsiteX427" fmla="*/ 2288095 w 7467600"/>
              <a:gd name="connsiteY427" fmla="*/ 6818030 h 6858000"/>
              <a:gd name="connsiteX428" fmla="*/ 2272768 w 7467600"/>
              <a:gd name="connsiteY428" fmla="*/ 6795822 h 6858000"/>
              <a:gd name="connsiteX429" fmla="*/ 2182715 w 7467600"/>
              <a:gd name="connsiteY429" fmla="*/ 6675071 h 6858000"/>
              <a:gd name="connsiteX430" fmla="*/ 2032061 w 7467600"/>
              <a:gd name="connsiteY430" fmla="*/ 6541380 h 6858000"/>
              <a:gd name="connsiteX431" fmla="*/ 2257220 w 7467600"/>
              <a:gd name="connsiteY431" fmla="*/ 6826257 h 6858000"/>
              <a:gd name="connsiteX432" fmla="*/ 2281324 w 7467600"/>
              <a:gd name="connsiteY432" fmla="*/ 6858000 h 6858000"/>
              <a:gd name="connsiteX433" fmla="*/ 2242860 w 7467600"/>
              <a:gd name="connsiteY433" fmla="*/ 6858000 h 6858000"/>
              <a:gd name="connsiteX434" fmla="*/ 2232818 w 7467600"/>
              <a:gd name="connsiteY434" fmla="*/ 6844926 h 6858000"/>
              <a:gd name="connsiteX435" fmla="*/ 1990172 w 7467600"/>
              <a:gd name="connsiteY435" fmla="*/ 6542121 h 6858000"/>
              <a:gd name="connsiteX436" fmla="*/ 2124090 w 7467600"/>
              <a:gd name="connsiteY436" fmla="*/ 6761017 h 6858000"/>
              <a:gd name="connsiteX437" fmla="*/ 2200380 w 7467600"/>
              <a:gd name="connsiteY437" fmla="*/ 6858000 h 6858000"/>
              <a:gd name="connsiteX438" fmla="*/ 2147507 w 7467600"/>
              <a:gd name="connsiteY438" fmla="*/ 6858000 h 6858000"/>
              <a:gd name="connsiteX439" fmla="*/ 2070668 w 7467600"/>
              <a:gd name="connsiteY439" fmla="*/ 6761520 h 6858000"/>
              <a:gd name="connsiteX440" fmla="*/ 1975142 w 7467600"/>
              <a:gd name="connsiteY440" fmla="*/ 6585570 h 6858000"/>
              <a:gd name="connsiteX441" fmla="*/ 2050035 w 7467600"/>
              <a:gd name="connsiteY441" fmla="*/ 6813345 h 6858000"/>
              <a:gd name="connsiteX442" fmla="*/ 2063025 w 7467600"/>
              <a:gd name="connsiteY442" fmla="*/ 6858000 h 6858000"/>
              <a:gd name="connsiteX443" fmla="*/ 2021675 w 7467600"/>
              <a:gd name="connsiteY443" fmla="*/ 6858000 h 6858000"/>
              <a:gd name="connsiteX444" fmla="*/ 2019308 w 7467600"/>
              <a:gd name="connsiteY444" fmla="*/ 6847118 h 6858000"/>
              <a:gd name="connsiteX445" fmla="*/ 1938835 w 7467600"/>
              <a:gd name="connsiteY445" fmla="*/ 6551160 h 6858000"/>
              <a:gd name="connsiteX446" fmla="*/ 1953230 w 7467600"/>
              <a:gd name="connsiteY446" fmla="*/ 6759699 h 6858000"/>
              <a:gd name="connsiteX447" fmla="*/ 1956763 w 7467600"/>
              <a:gd name="connsiteY447" fmla="*/ 6778191 h 6858000"/>
              <a:gd name="connsiteX448" fmla="*/ 1967925 w 7467600"/>
              <a:gd name="connsiteY448" fmla="*/ 6858000 h 6858000"/>
              <a:gd name="connsiteX449" fmla="*/ 1936622 w 7467600"/>
              <a:gd name="connsiteY449" fmla="*/ 6858000 h 6858000"/>
              <a:gd name="connsiteX450" fmla="*/ 1926261 w 7467600"/>
              <a:gd name="connsiteY450" fmla="*/ 6784064 h 6858000"/>
              <a:gd name="connsiteX451" fmla="*/ 1922724 w 7467600"/>
              <a:gd name="connsiteY451" fmla="*/ 6765577 h 6858000"/>
              <a:gd name="connsiteX452" fmla="*/ 1904650 w 7467600"/>
              <a:gd name="connsiteY452" fmla="*/ 6639616 h 6858000"/>
              <a:gd name="connsiteX453" fmla="*/ 1885273 w 7467600"/>
              <a:gd name="connsiteY453" fmla="*/ 6858000 h 6858000"/>
              <a:gd name="connsiteX454" fmla="*/ 1854363 w 7467600"/>
              <a:gd name="connsiteY454" fmla="*/ 6858000 h 6858000"/>
              <a:gd name="connsiteX455" fmla="*/ 1880391 w 7467600"/>
              <a:gd name="connsiteY455" fmla="*/ 6603796 h 6858000"/>
              <a:gd name="connsiteX456" fmla="*/ 1818273 w 7467600"/>
              <a:gd name="connsiteY456" fmla="*/ 6715729 h 6858000"/>
              <a:gd name="connsiteX457" fmla="*/ 1794691 w 7467600"/>
              <a:gd name="connsiteY457" fmla="*/ 6843239 h 6858000"/>
              <a:gd name="connsiteX458" fmla="*/ 1794914 w 7467600"/>
              <a:gd name="connsiteY458" fmla="*/ 6858000 h 6858000"/>
              <a:gd name="connsiteX459" fmla="*/ 1746128 w 7467600"/>
              <a:gd name="connsiteY459" fmla="*/ 6858000 h 6858000"/>
              <a:gd name="connsiteX460" fmla="*/ 1753934 w 7467600"/>
              <a:gd name="connsiteY460" fmla="*/ 6724796 h 6858000"/>
              <a:gd name="connsiteX461" fmla="*/ 1792053 w 7467600"/>
              <a:gd name="connsiteY461" fmla="*/ 6572396 h 6858000"/>
              <a:gd name="connsiteX462" fmla="*/ 1862248 w 7467600"/>
              <a:gd name="connsiteY462" fmla="*/ 6266397 h 6858000"/>
              <a:gd name="connsiteX463" fmla="*/ 1862250 w 7467600"/>
              <a:gd name="connsiteY463" fmla="*/ 6033531 h 6858000"/>
              <a:gd name="connsiteX464" fmla="*/ 1211999 w 7467600"/>
              <a:gd name="connsiteY464" fmla="*/ 6683610 h 6858000"/>
              <a:gd name="connsiteX465" fmla="*/ 1213266 w 7467600"/>
              <a:gd name="connsiteY465" fmla="*/ 6691947 h 6858000"/>
              <a:gd name="connsiteX466" fmla="*/ 1203370 w 7467600"/>
              <a:gd name="connsiteY466" fmla="*/ 6850676 h 6858000"/>
              <a:gd name="connsiteX467" fmla="*/ 1203671 w 7467600"/>
              <a:gd name="connsiteY467" fmla="*/ 6858000 h 6858000"/>
              <a:gd name="connsiteX468" fmla="*/ 1143180 w 7467600"/>
              <a:gd name="connsiteY468" fmla="*/ 6858000 h 6858000"/>
              <a:gd name="connsiteX469" fmla="*/ 1142176 w 7467600"/>
              <a:gd name="connsiteY469" fmla="*/ 6766045 h 6858000"/>
              <a:gd name="connsiteX470" fmla="*/ 1067484 w 7467600"/>
              <a:gd name="connsiteY470" fmla="*/ 6858000 h 6858000"/>
              <a:gd name="connsiteX471" fmla="*/ 953928 w 7467600"/>
              <a:gd name="connsiteY471" fmla="*/ 6858000 h 6858000"/>
              <a:gd name="connsiteX472" fmla="*/ 959715 w 7467600"/>
              <a:gd name="connsiteY472" fmla="*/ 6850185 h 6858000"/>
              <a:gd name="connsiteX473" fmla="*/ 1483788 w 7467600"/>
              <a:gd name="connsiteY473" fmla="*/ 6259174 h 6858000"/>
              <a:gd name="connsiteX474" fmla="*/ 1100671 w 7467600"/>
              <a:gd name="connsiteY474" fmla="*/ 6252137 h 6858000"/>
              <a:gd name="connsiteX475" fmla="*/ 1090144 w 7467600"/>
              <a:gd name="connsiteY475" fmla="*/ 6256748 h 6858000"/>
              <a:gd name="connsiteX476" fmla="*/ 1095872 w 7467600"/>
              <a:gd name="connsiteY476" fmla="*/ 6271892 h 6858000"/>
              <a:gd name="connsiteX477" fmla="*/ 262785 w 7467600"/>
              <a:gd name="connsiteY477" fmla="*/ 6845450 h 6858000"/>
              <a:gd name="connsiteX478" fmla="*/ 209968 w 7467600"/>
              <a:gd name="connsiteY478" fmla="*/ 6770713 h 6858000"/>
              <a:gd name="connsiteX479" fmla="*/ 873460 w 7467600"/>
              <a:gd name="connsiteY479" fmla="*/ 6253768 h 6858000"/>
              <a:gd name="connsiteX480" fmla="*/ 192686 w 7467600"/>
              <a:gd name="connsiteY480" fmla="*/ 5849257 h 6858000"/>
              <a:gd name="connsiteX481" fmla="*/ 4696 w 7467600"/>
              <a:gd name="connsiteY481" fmla="*/ 5697668 h 6858000"/>
              <a:gd name="connsiteX482" fmla="*/ 0 w 7467600"/>
              <a:gd name="connsiteY482" fmla="*/ 5689984 h 6858000"/>
              <a:gd name="connsiteX483" fmla="*/ 0 w 7467600"/>
              <a:gd name="connsiteY483" fmla="*/ 5513472 h 6858000"/>
              <a:gd name="connsiteX484" fmla="*/ 174101 w 7467600"/>
              <a:gd name="connsiteY484" fmla="*/ 5620277 h 6858000"/>
              <a:gd name="connsiteX485" fmla="*/ 891800 w 7467600"/>
              <a:gd name="connsiteY485" fmla="*/ 6036935 h 6858000"/>
              <a:gd name="connsiteX486" fmla="*/ 1072219 w 7467600"/>
              <a:gd name="connsiteY486" fmla="*/ 6169443 h 6858000"/>
              <a:gd name="connsiteX487" fmla="*/ 1074117 w 7467600"/>
              <a:gd name="connsiteY487" fmla="*/ 6170301 h 6858000"/>
              <a:gd name="connsiteX488" fmla="*/ 1083114 w 7467600"/>
              <a:gd name="connsiteY488" fmla="*/ 6174131 h 6858000"/>
              <a:gd name="connsiteX489" fmla="*/ 1543010 w 7467600"/>
              <a:gd name="connsiteY489" fmla="*/ 6191140 h 6858000"/>
              <a:gd name="connsiteX490" fmla="*/ 1551080 w 7467600"/>
              <a:gd name="connsiteY490" fmla="*/ 6195006 h 6858000"/>
              <a:gd name="connsiteX491" fmla="*/ 2345443 w 7467600"/>
              <a:gd name="connsiteY491" fmla="*/ 5549882 h 6858000"/>
              <a:gd name="connsiteX492" fmla="*/ 1721499 w 7467600"/>
              <a:gd name="connsiteY492" fmla="*/ 5599969 h 6858000"/>
              <a:gd name="connsiteX493" fmla="*/ 767716 w 7467600"/>
              <a:gd name="connsiteY493" fmla="*/ 5472768 h 6858000"/>
              <a:gd name="connsiteX494" fmla="*/ 722147 w 7467600"/>
              <a:gd name="connsiteY494" fmla="*/ 5393091 h 6858000"/>
              <a:gd name="connsiteX495" fmla="*/ 1485552 w 7467600"/>
              <a:gd name="connsiteY495" fmla="*/ 5313202 h 6858000"/>
              <a:gd name="connsiteX496" fmla="*/ 2143004 w 7467600"/>
              <a:gd name="connsiteY496" fmla="*/ 5402420 h 6858000"/>
              <a:gd name="connsiteX497" fmla="*/ 1933391 w 7467600"/>
              <a:gd name="connsiteY497" fmla="*/ 5156971 h 6858000"/>
              <a:gd name="connsiteX498" fmla="*/ 1827118 w 7467600"/>
              <a:gd name="connsiteY498" fmla="*/ 4968410 h 6858000"/>
              <a:gd name="connsiteX499" fmla="*/ 1837349 w 7467600"/>
              <a:gd name="connsiteY499" fmla="*/ 4956357 h 6858000"/>
              <a:gd name="connsiteX500" fmla="*/ 2162835 w 7467600"/>
              <a:gd name="connsiteY500" fmla="*/ 5187853 h 6858000"/>
              <a:gd name="connsiteX501" fmla="*/ 2257167 w 7467600"/>
              <a:gd name="connsiteY501" fmla="*/ 5462123 h 6858000"/>
              <a:gd name="connsiteX502" fmla="*/ 2261598 w 7467600"/>
              <a:gd name="connsiteY502" fmla="*/ 5467998 h 6858000"/>
              <a:gd name="connsiteX503" fmla="*/ 2437177 w 7467600"/>
              <a:gd name="connsiteY503" fmla="*/ 5479608 h 6858000"/>
              <a:gd name="connsiteX504" fmla="*/ 2445247 w 7467600"/>
              <a:gd name="connsiteY504" fmla="*/ 5483476 h 6858000"/>
              <a:gd name="connsiteX505" fmla="*/ 2743626 w 7467600"/>
              <a:gd name="connsiteY505" fmla="*/ 5304819 h 6858000"/>
              <a:gd name="connsiteX506" fmla="*/ 3048102 w 7467600"/>
              <a:gd name="connsiteY506" fmla="*/ 5150595 h 6858000"/>
              <a:gd name="connsiteX507" fmla="*/ 1799414 w 7467600"/>
              <a:gd name="connsiteY507" fmla="*/ 4694732 h 6858000"/>
              <a:gd name="connsiteX508" fmla="*/ 1771735 w 7467600"/>
              <a:gd name="connsiteY508" fmla="*/ 4619929 h 6858000"/>
              <a:gd name="connsiteX509" fmla="*/ 3104273 w 7467600"/>
              <a:gd name="connsiteY509" fmla="*/ 5076159 h 6858000"/>
              <a:gd name="connsiteX510" fmla="*/ 3113245 w 7467600"/>
              <a:gd name="connsiteY510" fmla="*/ 5090705 h 6858000"/>
              <a:gd name="connsiteX511" fmla="*/ 3126294 w 7467600"/>
              <a:gd name="connsiteY511" fmla="*/ 5114400 h 6858000"/>
              <a:gd name="connsiteX512" fmla="*/ 3937433 w 7467600"/>
              <a:gd name="connsiteY512" fmla="*/ 4830473 h 6858000"/>
              <a:gd name="connsiteX513" fmla="*/ 3590475 w 7467600"/>
              <a:gd name="connsiteY513" fmla="*/ 4597974 h 6858000"/>
              <a:gd name="connsiteX514" fmla="*/ 3100264 w 7467600"/>
              <a:gd name="connsiteY514" fmla="*/ 4579845 h 6858000"/>
              <a:gd name="connsiteX515" fmla="*/ 2183576 w 7467600"/>
              <a:gd name="connsiteY515" fmla="*/ 4227150 h 6858000"/>
              <a:gd name="connsiteX516" fmla="*/ 2151029 w 7467600"/>
              <a:gd name="connsiteY516" fmla="*/ 4146947 h 6858000"/>
              <a:gd name="connsiteX517" fmla="*/ 3563434 w 7467600"/>
              <a:gd name="connsiteY517" fmla="*/ 4469115 h 6858000"/>
              <a:gd name="connsiteX518" fmla="*/ 3177952 w 7467600"/>
              <a:gd name="connsiteY518" fmla="*/ 3657386 h 6858000"/>
              <a:gd name="connsiteX519" fmla="*/ 3189263 w 7467600"/>
              <a:gd name="connsiteY519" fmla="*/ 3625726 h 6858000"/>
              <a:gd name="connsiteX520" fmla="*/ 3560912 w 7467600"/>
              <a:gd name="connsiteY520" fmla="*/ 4079863 h 6858000"/>
              <a:gd name="connsiteX521" fmla="*/ 3626636 w 7467600"/>
              <a:gd name="connsiteY521" fmla="*/ 4512230 h 6858000"/>
              <a:gd name="connsiteX522" fmla="*/ 3653088 w 7467600"/>
              <a:gd name="connsiteY522" fmla="*/ 4521417 h 6858000"/>
              <a:gd name="connsiteX523" fmla="*/ 3988128 w 7467600"/>
              <a:gd name="connsiteY523" fmla="*/ 4817267 h 6858000"/>
              <a:gd name="connsiteX524" fmla="*/ 4830582 w 7467600"/>
              <a:gd name="connsiteY524" fmla="*/ 4676000 h 6858000"/>
              <a:gd name="connsiteX525" fmla="*/ 4830100 w 7467600"/>
              <a:gd name="connsiteY525" fmla="*/ 4675554 h 6858000"/>
              <a:gd name="connsiteX526" fmla="*/ 4036318 w 7467600"/>
              <a:gd name="connsiteY526" fmla="*/ 4147013 h 6858000"/>
              <a:gd name="connsiteX527" fmla="*/ 3432098 w 7467600"/>
              <a:gd name="connsiteY527" fmla="*/ 3537312 h 6858000"/>
              <a:gd name="connsiteX528" fmla="*/ 3446761 w 7467600"/>
              <a:gd name="connsiteY528" fmla="*/ 3461278 h 6858000"/>
              <a:gd name="connsiteX529" fmla="*/ 4419733 w 7467600"/>
              <a:gd name="connsiteY529" fmla="*/ 3963555 h 6858000"/>
              <a:gd name="connsiteX530" fmla="*/ 4781371 w 7467600"/>
              <a:gd name="connsiteY530" fmla="*/ 4458604 h 6858000"/>
              <a:gd name="connsiteX531" fmla="*/ 4780440 w 7467600"/>
              <a:gd name="connsiteY531" fmla="*/ 4470290 h 6858000"/>
              <a:gd name="connsiteX532" fmla="*/ 4898954 w 7467600"/>
              <a:gd name="connsiteY532" fmla="*/ 4662092 h 6858000"/>
              <a:gd name="connsiteX533" fmla="*/ 4900699 w 7467600"/>
              <a:gd name="connsiteY533" fmla="*/ 4670867 h 6858000"/>
              <a:gd name="connsiteX534" fmla="*/ 5714511 w 7467600"/>
              <a:gd name="connsiteY534" fmla="*/ 4663483 h 6858000"/>
              <a:gd name="connsiteX535" fmla="*/ 5464793 w 7467600"/>
              <a:gd name="connsiteY535" fmla="*/ 4393556 h 6858000"/>
              <a:gd name="connsiteX536" fmla="*/ 5461897 w 7467600"/>
              <a:gd name="connsiteY536" fmla="*/ 4390879 h 6858000"/>
              <a:gd name="connsiteX537" fmla="*/ 4294126 w 7467600"/>
              <a:gd name="connsiteY537" fmla="*/ 3303048 h 6858000"/>
              <a:gd name="connsiteX538" fmla="*/ 4305321 w 7467600"/>
              <a:gd name="connsiteY538" fmla="*/ 3256953 h 6858000"/>
              <a:gd name="connsiteX539" fmla="*/ 4949299 w 7467600"/>
              <a:gd name="connsiteY539" fmla="*/ 3766336 h 6858000"/>
              <a:gd name="connsiteX540" fmla="*/ 5291452 w 7467600"/>
              <a:gd name="connsiteY540" fmla="*/ 4076801 h 6858000"/>
              <a:gd name="connsiteX541" fmla="*/ 5434998 w 7467600"/>
              <a:gd name="connsiteY541" fmla="*/ 4254100 h 6858000"/>
              <a:gd name="connsiteX542" fmla="*/ 5351015 w 7467600"/>
              <a:gd name="connsiteY542" fmla="*/ 3760989 h 6858000"/>
              <a:gd name="connsiteX543" fmla="*/ 5413780 w 7467600"/>
              <a:gd name="connsiteY543" fmla="*/ 2966265 h 6858000"/>
              <a:gd name="connsiteX544" fmla="*/ 5425627 w 7467600"/>
              <a:gd name="connsiteY544" fmla="*/ 2954192 h 6858000"/>
              <a:gd name="connsiteX545" fmla="*/ 6604735 w 7467600"/>
              <a:gd name="connsiteY545" fmla="*/ 2041381 h 6858000"/>
              <a:gd name="connsiteX546" fmla="*/ 7204487 w 7467600"/>
              <a:gd name="connsiteY546" fmla="*/ 2742112 h 6858000"/>
              <a:gd name="connsiteX547" fmla="*/ 7131592 w 7467600"/>
              <a:gd name="connsiteY547" fmla="*/ 2672096 h 6858000"/>
              <a:gd name="connsiteX548" fmla="*/ 6996344 w 7467600"/>
              <a:gd name="connsiteY548" fmla="*/ 2518310 h 6858000"/>
              <a:gd name="connsiteX549" fmla="*/ 6735495 w 7467600"/>
              <a:gd name="connsiteY549" fmla="*/ 2196890 h 6858000"/>
              <a:gd name="connsiteX550" fmla="*/ 6721901 w 7467600"/>
              <a:gd name="connsiteY550" fmla="*/ 2179274 h 6858000"/>
              <a:gd name="connsiteX551" fmla="*/ 6604735 w 7467600"/>
              <a:gd name="connsiteY551" fmla="*/ 2041381 h 6858000"/>
              <a:gd name="connsiteX552" fmla="*/ 6591670 w 7467600"/>
              <a:gd name="connsiteY552" fmla="*/ 1988277 h 6858000"/>
              <a:gd name="connsiteX553" fmla="*/ 6747349 w 7467600"/>
              <a:gd name="connsiteY553" fmla="*/ 2160069 h 6858000"/>
              <a:gd name="connsiteX554" fmla="*/ 6760943 w 7467600"/>
              <a:gd name="connsiteY554" fmla="*/ 2177686 h 6858000"/>
              <a:gd name="connsiteX555" fmla="*/ 7021065 w 7467600"/>
              <a:gd name="connsiteY555" fmla="*/ 2498102 h 6858000"/>
              <a:gd name="connsiteX556" fmla="*/ 7155223 w 7467600"/>
              <a:gd name="connsiteY556" fmla="*/ 2650386 h 6858000"/>
              <a:gd name="connsiteX557" fmla="*/ 7203167 w 7467600"/>
              <a:gd name="connsiteY557" fmla="*/ 2697288 h 6858000"/>
              <a:gd name="connsiteX558" fmla="*/ 6937703 w 7467600"/>
              <a:gd name="connsiteY558" fmla="*/ 2321981 h 6858000"/>
              <a:gd name="connsiteX559" fmla="*/ 6591670 w 7467600"/>
              <a:gd name="connsiteY559" fmla="*/ 1988277 h 6858000"/>
              <a:gd name="connsiteX560" fmla="*/ 5798671 w 7467600"/>
              <a:gd name="connsiteY560" fmla="*/ 1981601 h 6858000"/>
              <a:gd name="connsiteX561" fmla="*/ 5754709 w 7467600"/>
              <a:gd name="connsiteY561" fmla="*/ 2071454 h 6858000"/>
              <a:gd name="connsiteX562" fmla="*/ 5763044 w 7467600"/>
              <a:gd name="connsiteY562" fmla="*/ 2842206 h 6858000"/>
              <a:gd name="connsiteX563" fmla="*/ 5764974 w 7467600"/>
              <a:gd name="connsiteY563" fmla="*/ 2799609 h 6858000"/>
              <a:gd name="connsiteX564" fmla="*/ 5767665 w 7467600"/>
              <a:gd name="connsiteY564" fmla="*/ 2666409 h 6858000"/>
              <a:gd name="connsiteX565" fmla="*/ 5763055 w 7467600"/>
              <a:gd name="connsiteY565" fmla="*/ 2579705 h 6858000"/>
              <a:gd name="connsiteX566" fmla="*/ 5758079 w 7467600"/>
              <a:gd name="connsiteY566" fmla="*/ 2492508 h 6858000"/>
              <a:gd name="connsiteX567" fmla="*/ 5779325 w 7467600"/>
              <a:gd name="connsiteY567" fmla="*/ 2197069 h 6858000"/>
              <a:gd name="connsiteX568" fmla="*/ 5798671 w 7467600"/>
              <a:gd name="connsiteY568" fmla="*/ 1981601 h 6858000"/>
              <a:gd name="connsiteX569" fmla="*/ 5829202 w 7467600"/>
              <a:gd name="connsiteY569" fmla="*/ 1971679 h 6858000"/>
              <a:gd name="connsiteX570" fmla="*/ 5809558 w 7467600"/>
              <a:gd name="connsiteY570" fmla="*/ 2198043 h 6858000"/>
              <a:gd name="connsiteX571" fmla="*/ 5788653 w 7467600"/>
              <a:gd name="connsiteY571" fmla="*/ 2489430 h 6858000"/>
              <a:gd name="connsiteX572" fmla="*/ 5793439 w 7467600"/>
              <a:gd name="connsiteY572" fmla="*/ 2575235 h 6858000"/>
              <a:gd name="connsiteX573" fmla="*/ 5796837 w 7467600"/>
              <a:gd name="connsiteY573" fmla="*/ 2637633 h 6858000"/>
              <a:gd name="connsiteX574" fmla="*/ 5818614 w 7467600"/>
              <a:gd name="connsiteY574" fmla="*/ 2473055 h 6858000"/>
              <a:gd name="connsiteX575" fmla="*/ 5829202 w 7467600"/>
              <a:gd name="connsiteY575" fmla="*/ 1971679 h 6858000"/>
              <a:gd name="connsiteX576" fmla="*/ 5911389 w 7467600"/>
              <a:gd name="connsiteY576" fmla="*/ 1898371 h 6858000"/>
              <a:gd name="connsiteX577" fmla="*/ 6237627 w 7467600"/>
              <a:gd name="connsiteY577" fmla="*/ 2231921 h 6858000"/>
              <a:gd name="connsiteX578" fmla="*/ 5911389 w 7467600"/>
              <a:gd name="connsiteY578" fmla="*/ 1898371 h 6858000"/>
              <a:gd name="connsiteX579" fmla="*/ 6944437 w 7467600"/>
              <a:gd name="connsiteY579" fmla="*/ 1575402 h 6858000"/>
              <a:gd name="connsiteX580" fmla="*/ 6304730 w 7467600"/>
              <a:gd name="connsiteY580" fmla="*/ 1766654 h 6858000"/>
              <a:gd name="connsiteX581" fmla="*/ 6944437 w 7467600"/>
              <a:gd name="connsiteY581" fmla="*/ 1575402 h 6858000"/>
              <a:gd name="connsiteX582" fmla="*/ 7019523 w 7467600"/>
              <a:gd name="connsiteY582" fmla="*/ 1519450 h 6858000"/>
              <a:gd name="connsiteX583" fmla="*/ 6298091 w 7467600"/>
              <a:gd name="connsiteY583" fmla="*/ 1737122 h 6858000"/>
              <a:gd name="connsiteX584" fmla="*/ 7019523 w 7467600"/>
              <a:gd name="connsiteY584" fmla="*/ 1519450 h 6858000"/>
              <a:gd name="connsiteX585" fmla="*/ 2399523 w 7467600"/>
              <a:gd name="connsiteY585" fmla="*/ 1428234 h 6858000"/>
              <a:gd name="connsiteX586" fmla="*/ 2224982 w 7467600"/>
              <a:gd name="connsiteY586" fmla="*/ 1826201 h 6858000"/>
              <a:gd name="connsiteX587" fmla="*/ 2096099 w 7467600"/>
              <a:gd name="connsiteY587" fmla="*/ 2345900 h 6858000"/>
              <a:gd name="connsiteX588" fmla="*/ 2283317 w 7467600"/>
              <a:gd name="connsiteY588" fmla="*/ 1796925 h 6858000"/>
              <a:gd name="connsiteX589" fmla="*/ 2399523 w 7467600"/>
              <a:gd name="connsiteY589" fmla="*/ 1428234 h 6858000"/>
              <a:gd name="connsiteX590" fmla="*/ 2448558 w 7467600"/>
              <a:gd name="connsiteY590" fmla="*/ 1373435 h 6858000"/>
              <a:gd name="connsiteX591" fmla="*/ 2312521 w 7467600"/>
              <a:gd name="connsiteY591" fmla="*/ 1806140 h 6858000"/>
              <a:gd name="connsiteX592" fmla="*/ 2127533 w 7467600"/>
              <a:gd name="connsiteY592" fmla="*/ 2348380 h 6858000"/>
              <a:gd name="connsiteX593" fmla="*/ 2358080 w 7467600"/>
              <a:gd name="connsiteY593" fmla="*/ 1866134 h 6858000"/>
              <a:gd name="connsiteX594" fmla="*/ 2407436 w 7467600"/>
              <a:gd name="connsiteY594" fmla="*/ 1651070 h 6858000"/>
              <a:gd name="connsiteX595" fmla="*/ 2448558 w 7467600"/>
              <a:gd name="connsiteY595" fmla="*/ 1373435 h 6858000"/>
              <a:gd name="connsiteX596" fmla="*/ 278707 w 7467600"/>
              <a:gd name="connsiteY596" fmla="*/ 1352270 h 6858000"/>
              <a:gd name="connsiteX597" fmla="*/ 321570 w 7467600"/>
              <a:gd name="connsiteY597" fmla="*/ 1861610 h 6858000"/>
              <a:gd name="connsiteX598" fmla="*/ 294281 w 7467600"/>
              <a:gd name="connsiteY598" fmla="*/ 1440658 h 6858000"/>
              <a:gd name="connsiteX599" fmla="*/ 278707 w 7467600"/>
              <a:gd name="connsiteY599" fmla="*/ 1352270 h 6858000"/>
              <a:gd name="connsiteX600" fmla="*/ 1423821 w 7467600"/>
              <a:gd name="connsiteY600" fmla="*/ 1351958 h 6858000"/>
              <a:gd name="connsiteX601" fmla="*/ 1638521 w 7467600"/>
              <a:gd name="connsiteY601" fmla="*/ 1908470 h 6858000"/>
              <a:gd name="connsiteX602" fmla="*/ 1754199 w 7467600"/>
              <a:gd name="connsiteY602" fmla="*/ 2149284 h 6858000"/>
              <a:gd name="connsiteX603" fmla="*/ 1908359 w 7467600"/>
              <a:gd name="connsiteY603" fmla="*/ 2364988 h 6858000"/>
              <a:gd name="connsiteX604" fmla="*/ 1647661 w 7467600"/>
              <a:gd name="connsiteY604" fmla="*/ 1825945 h 6858000"/>
              <a:gd name="connsiteX605" fmla="*/ 1423821 w 7467600"/>
              <a:gd name="connsiteY605" fmla="*/ 1351958 h 6858000"/>
              <a:gd name="connsiteX606" fmla="*/ 1431890 w 7467600"/>
              <a:gd name="connsiteY606" fmla="*/ 1306475 h 6858000"/>
              <a:gd name="connsiteX607" fmla="*/ 1507597 w 7467600"/>
              <a:gd name="connsiteY607" fmla="*/ 1446132 h 6858000"/>
              <a:gd name="connsiteX608" fmla="*/ 1674586 w 7467600"/>
              <a:gd name="connsiteY608" fmla="*/ 1813832 h 6858000"/>
              <a:gd name="connsiteX609" fmla="*/ 1815950 w 7467600"/>
              <a:gd name="connsiteY609" fmla="*/ 2128564 h 6858000"/>
              <a:gd name="connsiteX610" fmla="*/ 1984242 w 7467600"/>
              <a:gd name="connsiteY610" fmla="*/ 2430829 h 6858000"/>
              <a:gd name="connsiteX611" fmla="*/ 2014023 w 7467600"/>
              <a:gd name="connsiteY611" fmla="*/ 2450995 h 6858000"/>
              <a:gd name="connsiteX612" fmla="*/ 1747337 w 7467600"/>
              <a:gd name="connsiteY612" fmla="*/ 1855264 h 6858000"/>
              <a:gd name="connsiteX613" fmla="*/ 1533749 w 7467600"/>
              <a:gd name="connsiteY613" fmla="*/ 1478656 h 6858000"/>
              <a:gd name="connsiteX614" fmla="*/ 1431890 w 7467600"/>
              <a:gd name="connsiteY614" fmla="*/ 1306475 h 6858000"/>
              <a:gd name="connsiteX615" fmla="*/ 5052692 w 7467600"/>
              <a:gd name="connsiteY615" fmla="*/ 1292994 h 6858000"/>
              <a:gd name="connsiteX616" fmla="*/ 5200661 w 7467600"/>
              <a:gd name="connsiteY616" fmla="*/ 1635186 h 6858000"/>
              <a:gd name="connsiteX617" fmla="*/ 5297138 w 7467600"/>
              <a:gd name="connsiteY617" fmla="*/ 1906351 h 6858000"/>
              <a:gd name="connsiteX618" fmla="*/ 5052692 w 7467600"/>
              <a:gd name="connsiteY618" fmla="*/ 1292994 h 6858000"/>
              <a:gd name="connsiteX619" fmla="*/ 5009948 w 7467600"/>
              <a:gd name="connsiteY619" fmla="*/ 1273619 h 6858000"/>
              <a:gd name="connsiteX620" fmla="*/ 5121777 w 7467600"/>
              <a:gd name="connsiteY620" fmla="*/ 1654213 h 6858000"/>
              <a:gd name="connsiteX621" fmla="*/ 5293545 w 7467600"/>
              <a:gd name="connsiteY621" fmla="*/ 2072247 h 6858000"/>
              <a:gd name="connsiteX622" fmla="*/ 5294042 w 7467600"/>
              <a:gd name="connsiteY622" fmla="*/ 2065019 h 6858000"/>
              <a:gd name="connsiteX623" fmla="*/ 5171936 w 7467600"/>
              <a:gd name="connsiteY623" fmla="*/ 1647613 h 6858000"/>
              <a:gd name="connsiteX624" fmla="*/ 5009948 w 7467600"/>
              <a:gd name="connsiteY624" fmla="*/ 1273619 h 6858000"/>
              <a:gd name="connsiteX625" fmla="*/ 655236 w 7467600"/>
              <a:gd name="connsiteY625" fmla="*/ 1268632 h 6858000"/>
              <a:gd name="connsiteX626" fmla="*/ 839521 w 7467600"/>
              <a:gd name="connsiteY626" fmla="*/ 1685315 h 6858000"/>
              <a:gd name="connsiteX627" fmla="*/ 1109416 w 7467600"/>
              <a:gd name="connsiteY627" fmla="*/ 2061663 h 6858000"/>
              <a:gd name="connsiteX628" fmla="*/ 1298300 w 7467600"/>
              <a:gd name="connsiteY628" fmla="*/ 2247742 h 6858000"/>
              <a:gd name="connsiteX629" fmla="*/ 1125871 w 7467600"/>
              <a:gd name="connsiteY629" fmla="*/ 1989513 h 6858000"/>
              <a:gd name="connsiteX630" fmla="*/ 981574 w 7467600"/>
              <a:gd name="connsiteY630" fmla="*/ 1783157 h 6858000"/>
              <a:gd name="connsiteX631" fmla="*/ 922198 w 7467600"/>
              <a:gd name="connsiteY631" fmla="*/ 1677437 h 6858000"/>
              <a:gd name="connsiteX632" fmla="*/ 869293 w 7467600"/>
              <a:gd name="connsiteY632" fmla="*/ 1583214 h 6858000"/>
              <a:gd name="connsiteX633" fmla="*/ 751431 w 7467600"/>
              <a:gd name="connsiteY633" fmla="*/ 1405731 h 6858000"/>
              <a:gd name="connsiteX634" fmla="*/ 655236 w 7467600"/>
              <a:gd name="connsiteY634" fmla="*/ 1268632 h 6858000"/>
              <a:gd name="connsiteX635" fmla="*/ 6516292 w 7467600"/>
              <a:gd name="connsiteY635" fmla="*/ 1263064 h 6858000"/>
              <a:gd name="connsiteX636" fmla="*/ 5736320 w 7467600"/>
              <a:gd name="connsiteY636" fmla="*/ 1501803 h 6858000"/>
              <a:gd name="connsiteX637" fmla="*/ 6516292 w 7467600"/>
              <a:gd name="connsiteY637" fmla="*/ 1263064 h 6858000"/>
              <a:gd name="connsiteX638" fmla="*/ 291466 w 7467600"/>
              <a:gd name="connsiteY638" fmla="*/ 1250369 h 6858000"/>
              <a:gd name="connsiteX639" fmla="*/ 323180 w 7467600"/>
              <a:gd name="connsiteY639" fmla="*/ 1435283 h 6858000"/>
              <a:gd name="connsiteX640" fmla="*/ 349381 w 7467600"/>
              <a:gd name="connsiteY640" fmla="*/ 1875041 h 6858000"/>
              <a:gd name="connsiteX641" fmla="*/ 374363 w 7467600"/>
              <a:gd name="connsiteY641" fmla="*/ 1506494 h 6858000"/>
              <a:gd name="connsiteX642" fmla="*/ 302168 w 7467600"/>
              <a:gd name="connsiteY642" fmla="*/ 1274495 h 6858000"/>
              <a:gd name="connsiteX643" fmla="*/ 291466 w 7467600"/>
              <a:gd name="connsiteY643" fmla="*/ 1250369 h 6858000"/>
              <a:gd name="connsiteX644" fmla="*/ 678222 w 7467600"/>
              <a:gd name="connsiteY644" fmla="*/ 1248670 h 6858000"/>
              <a:gd name="connsiteX645" fmla="*/ 775536 w 7467600"/>
              <a:gd name="connsiteY645" fmla="*/ 1388015 h 6858000"/>
              <a:gd name="connsiteX646" fmla="*/ 894529 w 7467600"/>
              <a:gd name="connsiteY646" fmla="*/ 1567739 h 6858000"/>
              <a:gd name="connsiteX647" fmla="*/ 948000 w 7467600"/>
              <a:gd name="connsiteY647" fmla="*/ 1663088 h 6858000"/>
              <a:gd name="connsiteX648" fmla="*/ 1006812 w 7467600"/>
              <a:gd name="connsiteY648" fmla="*/ 1767683 h 6858000"/>
              <a:gd name="connsiteX649" fmla="*/ 1149133 w 7467600"/>
              <a:gd name="connsiteY649" fmla="*/ 1971513 h 6858000"/>
              <a:gd name="connsiteX650" fmla="*/ 1333952 w 7467600"/>
              <a:gd name="connsiteY650" fmla="*/ 2251620 h 6858000"/>
              <a:gd name="connsiteX651" fmla="*/ 1337329 w 7467600"/>
              <a:gd name="connsiteY651" fmla="*/ 2258350 h 6858000"/>
              <a:gd name="connsiteX652" fmla="*/ 1014726 w 7467600"/>
              <a:gd name="connsiteY652" fmla="*/ 1615556 h 6858000"/>
              <a:gd name="connsiteX653" fmla="*/ 678222 w 7467600"/>
              <a:gd name="connsiteY653" fmla="*/ 1248670 h 6858000"/>
              <a:gd name="connsiteX654" fmla="*/ 6691602 w 7467600"/>
              <a:gd name="connsiteY654" fmla="*/ 1140573 h 6858000"/>
              <a:gd name="connsiteX655" fmla="*/ 6571100 w 7467600"/>
              <a:gd name="connsiteY655" fmla="*/ 1183662 h 6858000"/>
              <a:gd name="connsiteX656" fmla="*/ 6241687 w 7467600"/>
              <a:gd name="connsiteY656" fmla="*/ 1257600 h 6858000"/>
              <a:gd name="connsiteX657" fmla="*/ 5693009 w 7467600"/>
              <a:gd name="connsiteY657" fmla="*/ 1478256 h 6858000"/>
              <a:gd name="connsiteX658" fmla="*/ 6548420 w 7467600"/>
              <a:gd name="connsiteY658" fmla="*/ 1214599 h 6858000"/>
              <a:gd name="connsiteX659" fmla="*/ 6605473 w 7467600"/>
              <a:gd name="connsiteY659" fmla="*/ 1184686 h 6858000"/>
              <a:gd name="connsiteX660" fmla="*/ 6691602 w 7467600"/>
              <a:gd name="connsiteY660" fmla="*/ 1140573 h 6858000"/>
              <a:gd name="connsiteX661" fmla="*/ 4002475 w 7467600"/>
              <a:gd name="connsiteY661" fmla="*/ 1037802 h 6858000"/>
              <a:gd name="connsiteX662" fmla="*/ 4000324 w 7467600"/>
              <a:gd name="connsiteY662" fmla="*/ 1039362 h 6858000"/>
              <a:gd name="connsiteX663" fmla="*/ 4002862 w 7467600"/>
              <a:gd name="connsiteY663" fmla="*/ 1042866 h 6858000"/>
              <a:gd name="connsiteX664" fmla="*/ 4002475 w 7467600"/>
              <a:gd name="connsiteY664" fmla="*/ 1037802 h 6858000"/>
              <a:gd name="connsiteX665" fmla="*/ 506322 w 7467600"/>
              <a:gd name="connsiteY665" fmla="*/ 1020997 h 6858000"/>
              <a:gd name="connsiteX666" fmla="*/ 533068 w 7467600"/>
              <a:gd name="connsiteY666" fmla="*/ 1029409 h 6858000"/>
              <a:gd name="connsiteX667" fmla="*/ 1232525 w 7467600"/>
              <a:gd name="connsiteY667" fmla="*/ 1804675 h 6858000"/>
              <a:gd name="connsiteX668" fmla="*/ 1388858 w 7467600"/>
              <a:gd name="connsiteY668" fmla="*/ 2368011 h 6858000"/>
              <a:gd name="connsiteX669" fmla="*/ 1384098 w 7467600"/>
              <a:gd name="connsiteY669" fmla="*/ 2378125 h 6858000"/>
              <a:gd name="connsiteX670" fmla="*/ 1425393 w 7467600"/>
              <a:gd name="connsiteY670" fmla="*/ 2589124 h 6858000"/>
              <a:gd name="connsiteX671" fmla="*/ 1424001 w 7467600"/>
              <a:gd name="connsiteY671" fmla="*/ 2597541 h 6858000"/>
              <a:gd name="connsiteX672" fmla="*/ 2152729 w 7467600"/>
              <a:gd name="connsiteY672" fmla="*/ 2864487 h 6858000"/>
              <a:gd name="connsiteX673" fmla="*/ 2020609 w 7467600"/>
              <a:gd name="connsiteY673" fmla="*/ 2539671 h 6858000"/>
              <a:gd name="connsiteX674" fmla="*/ 2018920 w 7467600"/>
              <a:gd name="connsiteY674" fmla="*/ 2536309 h 6858000"/>
              <a:gd name="connsiteX675" fmla="*/ 1342441 w 7467600"/>
              <a:gd name="connsiteY675" fmla="*/ 1173017 h 6858000"/>
              <a:gd name="connsiteX676" fmla="*/ 1367925 w 7467600"/>
              <a:gd name="connsiteY676" fmla="*/ 1135648 h 6858000"/>
              <a:gd name="connsiteX677" fmla="*/ 1771401 w 7467600"/>
              <a:gd name="connsiteY677" fmla="*/ 1806673 h 6858000"/>
              <a:gd name="connsiteX678" fmla="*/ 1972385 w 7467600"/>
              <a:gd name="connsiteY678" fmla="*/ 2198735 h 6858000"/>
              <a:gd name="connsiteX679" fmla="*/ 2040892 w 7467600"/>
              <a:gd name="connsiteY679" fmla="*/ 2405205 h 6858000"/>
              <a:gd name="connsiteX680" fmla="*/ 2131689 w 7467600"/>
              <a:gd name="connsiteY680" fmla="*/ 1936926 h 6858000"/>
              <a:gd name="connsiteX681" fmla="*/ 2454820 w 7467600"/>
              <a:gd name="connsiteY681" fmla="*/ 1248808 h 6858000"/>
              <a:gd name="connsiteX682" fmla="*/ 2492512 w 7467600"/>
              <a:gd name="connsiteY682" fmla="*/ 1302920 h 6858000"/>
              <a:gd name="connsiteX683" fmla="*/ 2081216 w 7467600"/>
              <a:gd name="connsiteY683" fmla="*/ 2527513 h 6858000"/>
              <a:gd name="connsiteX684" fmla="*/ 2081211 w 7467600"/>
              <a:gd name="connsiteY684" fmla="*/ 2528916 h 6858000"/>
              <a:gd name="connsiteX685" fmla="*/ 2199067 w 7467600"/>
              <a:gd name="connsiteY685" fmla="*/ 2884061 h 6858000"/>
              <a:gd name="connsiteX686" fmla="*/ 3192586 w 7467600"/>
              <a:gd name="connsiteY686" fmla="*/ 3411496 h 6858000"/>
              <a:gd name="connsiteX687" fmla="*/ 3182620 w 7467600"/>
              <a:gd name="connsiteY687" fmla="*/ 3483279 h 6858000"/>
              <a:gd name="connsiteX688" fmla="*/ 2435119 w 7467600"/>
              <a:gd name="connsiteY688" fmla="*/ 3080173 h 6858000"/>
              <a:gd name="connsiteX689" fmla="*/ 2410152 w 7467600"/>
              <a:gd name="connsiteY689" fmla="*/ 3063751 h 6858000"/>
              <a:gd name="connsiteX690" fmla="*/ 2408099 w 7467600"/>
              <a:gd name="connsiteY690" fmla="*/ 3064403 h 6858000"/>
              <a:gd name="connsiteX691" fmla="*/ 2407218 w 7467600"/>
              <a:gd name="connsiteY691" fmla="*/ 3070324 h 6858000"/>
              <a:gd name="connsiteX692" fmla="*/ 2380138 w 7467600"/>
              <a:gd name="connsiteY692" fmla="*/ 3099341 h 6858000"/>
              <a:gd name="connsiteX693" fmla="*/ 1765923 w 7467600"/>
              <a:gd name="connsiteY693" fmla="*/ 3581043 h 6858000"/>
              <a:gd name="connsiteX694" fmla="*/ 1702258 w 7467600"/>
              <a:gd name="connsiteY694" fmla="*/ 3612286 h 6858000"/>
              <a:gd name="connsiteX695" fmla="*/ 1538370 w 7467600"/>
              <a:gd name="connsiteY695" fmla="*/ 3811804 h 6858000"/>
              <a:gd name="connsiteX696" fmla="*/ 542867 w 7467600"/>
              <a:gd name="connsiteY696" fmla="*/ 4944092 h 6858000"/>
              <a:gd name="connsiteX697" fmla="*/ 515800 w 7467600"/>
              <a:gd name="connsiteY697" fmla="*/ 4862180 h 6858000"/>
              <a:gd name="connsiteX698" fmla="*/ 909145 w 7467600"/>
              <a:gd name="connsiteY698" fmla="*/ 4199225 h 6858000"/>
              <a:gd name="connsiteX699" fmla="*/ 1214067 w 7467600"/>
              <a:gd name="connsiteY699" fmla="*/ 3908561 h 6858000"/>
              <a:gd name="connsiteX700" fmla="*/ 640967 w 7467600"/>
              <a:gd name="connsiteY700" fmla="*/ 4105601 h 6858000"/>
              <a:gd name="connsiteX701" fmla="*/ 112563 w 7467600"/>
              <a:gd name="connsiteY701" fmla="*/ 4396952 h 6858000"/>
              <a:gd name="connsiteX702" fmla="*/ 0 w 7467600"/>
              <a:gd name="connsiteY702" fmla="*/ 4466006 h 6858000"/>
              <a:gd name="connsiteX703" fmla="*/ 0 w 7467600"/>
              <a:gd name="connsiteY703" fmla="*/ 4233763 h 6858000"/>
              <a:gd name="connsiteX704" fmla="*/ 36881 w 7467600"/>
              <a:gd name="connsiteY704" fmla="*/ 4200118 h 6858000"/>
              <a:gd name="connsiteX705" fmla="*/ 910534 w 7467600"/>
              <a:gd name="connsiteY705" fmla="*/ 3629753 h 6858000"/>
              <a:gd name="connsiteX706" fmla="*/ 1578717 w 7467600"/>
              <a:gd name="connsiteY706" fmla="*/ 3575982 h 6858000"/>
              <a:gd name="connsiteX707" fmla="*/ 2338780 w 7467600"/>
              <a:gd name="connsiteY707" fmla="*/ 3033725 h 6858000"/>
              <a:gd name="connsiteX708" fmla="*/ 1807991 w 7467600"/>
              <a:gd name="connsiteY708" fmla="*/ 2807184 h 6858000"/>
              <a:gd name="connsiteX709" fmla="*/ 1416358 w 7467600"/>
              <a:gd name="connsiteY709" fmla="*/ 3112571 h 6858000"/>
              <a:gd name="connsiteX710" fmla="*/ 939066 w 7467600"/>
              <a:gd name="connsiteY710" fmla="*/ 3378798 h 6858000"/>
              <a:gd name="connsiteX711" fmla="*/ 115099 w 7467600"/>
              <a:gd name="connsiteY711" fmla="*/ 3607650 h 6858000"/>
              <a:gd name="connsiteX712" fmla="*/ 97284 w 7467600"/>
              <a:gd name="connsiteY712" fmla="*/ 3520393 h 6858000"/>
              <a:gd name="connsiteX713" fmla="*/ 922050 w 7467600"/>
              <a:gd name="connsiteY713" fmla="*/ 3074867 h 6858000"/>
              <a:gd name="connsiteX714" fmla="*/ 1405265 w 7467600"/>
              <a:gd name="connsiteY714" fmla="*/ 3016319 h 6858000"/>
              <a:gd name="connsiteX715" fmla="*/ 1407512 w 7467600"/>
              <a:gd name="connsiteY715" fmla="*/ 3018001 h 6858000"/>
              <a:gd name="connsiteX716" fmla="*/ 1726266 w 7467600"/>
              <a:gd name="connsiteY716" fmla="*/ 2777274 h 6858000"/>
              <a:gd name="connsiteX717" fmla="*/ 625390 w 7467600"/>
              <a:gd name="connsiteY717" fmla="*/ 2514541 h 6858000"/>
              <a:gd name="connsiteX718" fmla="*/ 619799 w 7467600"/>
              <a:gd name="connsiteY718" fmla="*/ 2527180 h 6858000"/>
              <a:gd name="connsiteX719" fmla="*/ 310030 w 7467600"/>
              <a:gd name="connsiteY719" fmla="*/ 2771818 h 6858000"/>
              <a:gd name="connsiteX720" fmla="*/ 173877 w 7467600"/>
              <a:gd name="connsiteY720" fmla="*/ 2937056 h 6858000"/>
              <a:gd name="connsiteX721" fmla="*/ 77889 w 7467600"/>
              <a:gd name="connsiteY721" fmla="*/ 3138440 h 6858000"/>
              <a:gd name="connsiteX722" fmla="*/ 0 w 7467600"/>
              <a:gd name="connsiteY722" fmla="*/ 3271395 h 6858000"/>
              <a:gd name="connsiteX723" fmla="*/ 0 w 7467600"/>
              <a:gd name="connsiteY723" fmla="*/ 3153002 h 6858000"/>
              <a:gd name="connsiteX724" fmla="*/ 2386 w 7467600"/>
              <a:gd name="connsiteY724" fmla="*/ 3149203 h 6858000"/>
              <a:gd name="connsiteX725" fmla="*/ 89753 w 7467600"/>
              <a:gd name="connsiteY725" fmla="*/ 2987702 h 6858000"/>
              <a:gd name="connsiteX726" fmla="*/ 76869 w 7467600"/>
              <a:gd name="connsiteY726" fmla="*/ 3005404 h 6858000"/>
              <a:gd name="connsiteX727" fmla="*/ 32049 w 7467600"/>
              <a:gd name="connsiteY727" fmla="*/ 3065814 h 6858000"/>
              <a:gd name="connsiteX728" fmla="*/ 0 w 7467600"/>
              <a:gd name="connsiteY728" fmla="*/ 3108744 h 6858000"/>
              <a:gd name="connsiteX729" fmla="*/ 0 w 7467600"/>
              <a:gd name="connsiteY729" fmla="*/ 3058059 h 6858000"/>
              <a:gd name="connsiteX730" fmla="*/ 7610 w 7467600"/>
              <a:gd name="connsiteY730" fmla="*/ 3047889 h 6858000"/>
              <a:gd name="connsiteX731" fmla="*/ 52419 w 7467600"/>
              <a:gd name="connsiteY731" fmla="*/ 2987479 h 6858000"/>
              <a:gd name="connsiteX732" fmla="*/ 59142 w 7467600"/>
              <a:gd name="connsiteY732" fmla="*/ 2978488 h 6858000"/>
              <a:gd name="connsiteX733" fmla="*/ 0 w 7467600"/>
              <a:gd name="connsiteY733" fmla="*/ 3015334 h 6858000"/>
              <a:gd name="connsiteX734" fmla="*/ 0 w 7467600"/>
              <a:gd name="connsiteY734" fmla="*/ 2914286 h 6858000"/>
              <a:gd name="connsiteX735" fmla="*/ 36383 w 7467600"/>
              <a:gd name="connsiteY735" fmla="*/ 2901128 h 6858000"/>
              <a:gd name="connsiteX736" fmla="*/ 156329 w 7467600"/>
              <a:gd name="connsiteY736" fmla="*/ 2840533 h 6858000"/>
              <a:gd name="connsiteX737" fmla="*/ 358355 w 7467600"/>
              <a:gd name="connsiteY737" fmla="*/ 2620471 h 6858000"/>
              <a:gd name="connsiteX738" fmla="*/ 510577 w 7467600"/>
              <a:gd name="connsiteY738" fmla="*/ 2501244 h 6858000"/>
              <a:gd name="connsiteX739" fmla="*/ 211967 w 7467600"/>
              <a:gd name="connsiteY739" fmla="*/ 2479171 h 6858000"/>
              <a:gd name="connsiteX740" fmla="*/ 0 w 7467600"/>
              <a:gd name="connsiteY740" fmla="*/ 2476398 h 6858000"/>
              <a:gd name="connsiteX741" fmla="*/ 0 w 7467600"/>
              <a:gd name="connsiteY741" fmla="*/ 2389189 h 6858000"/>
              <a:gd name="connsiteX742" fmla="*/ 103062 w 7467600"/>
              <a:gd name="connsiteY742" fmla="*/ 2389518 h 6858000"/>
              <a:gd name="connsiteX743" fmla="*/ 510734 w 7467600"/>
              <a:gd name="connsiteY743" fmla="*/ 2416201 h 6858000"/>
              <a:gd name="connsiteX744" fmla="*/ 279257 w 7467600"/>
              <a:gd name="connsiteY744" fmla="*/ 2092102 h 6858000"/>
              <a:gd name="connsiteX745" fmla="*/ 65265 w 7467600"/>
              <a:gd name="connsiteY745" fmla="*/ 2006049 h 6858000"/>
              <a:gd name="connsiteX746" fmla="*/ 0 w 7467600"/>
              <a:gd name="connsiteY746" fmla="*/ 1982532 h 6858000"/>
              <a:gd name="connsiteX747" fmla="*/ 0 w 7467600"/>
              <a:gd name="connsiteY747" fmla="*/ 1912789 h 6858000"/>
              <a:gd name="connsiteX748" fmla="*/ 97460 w 7467600"/>
              <a:gd name="connsiteY748" fmla="*/ 1953725 h 6858000"/>
              <a:gd name="connsiteX749" fmla="*/ 221272 w 7467600"/>
              <a:gd name="connsiteY749" fmla="*/ 1980766 h 6858000"/>
              <a:gd name="connsiteX750" fmla="*/ 116765 w 7467600"/>
              <a:gd name="connsiteY750" fmla="*/ 1911033 h 6858000"/>
              <a:gd name="connsiteX751" fmla="*/ 16405 w 7467600"/>
              <a:gd name="connsiteY751" fmla="*/ 1803412 h 6858000"/>
              <a:gd name="connsiteX752" fmla="*/ 0 w 7467600"/>
              <a:gd name="connsiteY752" fmla="*/ 1784777 h 6858000"/>
              <a:gd name="connsiteX753" fmla="*/ 0 w 7467600"/>
              <a:gd name="connsiteY753" fmla="*/ 1740082 h 6858000"/>
              <a:gd name="connsiteX754" fmla="*/ 39394 w 7467600"/>
              <a:gd name="connsiteY754" fmla="*/ 1784856 h 6858000"/>
              <a:gd name="connsiteX755" fmla="*/ 135813 w 7467600"/>
              <a:gd name="connsiteY755" fmla="*/ 1888838 h 6858000"/>
              <a:gd name="connsiteX756" fmla="*/ 242575 w 7467600"/>
              <a:gd name="connsiteY756" fmla="*/ 1958841 h 6858000"/>
              <a:gd name="connsiteX757" fmla="*/ 82197 w 7467600"/>
              <a:gd name="connsiteY757" fmla="*/ 1754826 h 6858000"/>
              <a:gd name="connsiteX758" fmla="*/ 0 w 7467600"/>
              <a:gd name="connsiteY758" fmla="*/ 1679650 h 6858000"/>
              <a:gd name="connsiteX759" fmla="*/ 0 w 7467600"/>
              <a:gd name="connsiteY759" fmla="*/ 1602463 h 6858000"/>
              <a:gd name="connsiteX760" fmla="*/ 84689 w 7467600"/>
              <a:gd name="connsiteY760" fmla="*/ 1677442 h 6858000"/>
              <a:gd name="connsiteX761" fmla="*/ 298437 w 7467600"/>
              <a:gd name="connsiteY761" fmla="*/ 1968019 h 6858000"/>
              <a:gd name="connsiteX762" fmla="*/ 227269 w 7467600"/>
              <a:gd name="connsiteY762" fmla="*/ 1114064 h 6858000"/>
              <a:gd name="connsiteX763" fmla="*/ 248003 w 7467600"/>
              <a:gd name="connsiteY763" fmla="*/ 1089613 h 6858000"/>
              <a:gd name="connsiteX764" fmla="*/ 427020 w 7467600"/>
              <a:gd name="connsiteY764" fmla="*/ 1619803 h 6858000"/>
              <a:gd name="connsiteX765" fmla="*/ 340345 w 7467600"/>
              <a:gd name="connsiteY765" fmla="*/ 2027739 h 6858000"/>
              <a:gd name="connsiteX766" fmla="*/ 360865 w 7467600"/>
              <a:gd name="connsiteY766" fmla="*/ 2044827 h 6858000"/>
              <a:gd name="connsiteX767" fmla="*/ 560414 w 7467600"/>
              <a:gd name="connsiteY767" fmla="*/ 2421457 h 6858000"/>
              <a:gd name="connsiteX768" fmla="*/ 1359703 w 7467600"/>
              <a:gd name="connsiteY768" fmla="*/ 2578554 h 6858000"/>
              <a:gd name="connsiteX769" fmla="*/ 1359422 w 7467600"/>
              <a:gd name="connsiteY769" fmla="*/ 2577994 h 6858000"/>
              <a:gd name="connsiteX770" fmla="*/ 828701 w 7467600"/>
              <a:gd name="connsiteY770" fmla="*/ 1839520 h 6858000"/>
              <a:gd name="connsiteX771" fmla="*/ 494427 w 7467600"/>
              <a:gd name="connsiteY771" fmla="*/ 1092333 h 6858000"/>
              <a:gd name="connsiteX772" fmla="*/ 506322 w 7467600"/>
              <a:gd name="connsiteY772" fmla="*/ 1020997 h 6858000"/>
              <a:gd name="connsiteX773" fmla="*/ 4570198 w 7467600"/>
              <a:gd name="connsiteY773" fmla="*/ 978081 h 6858000"/>
              <a:gd name="connsiteX774" fmla="*/ 4523691 w 7467600"/>
              <a:gd name="connsiteY774" fmla="*/ 1127776 h 6858000"/>
              <a:gd name="connsiteX775" fmla="*/ 4509875 w 7467600"/>
              <a:gd name="connsiteY775" fmla="*/ 1167552 h 6858000"/>
              <a:gd name="connsiteX776" fmla="*/ 4478168 w 7467600"/>
              <a:gd name="connsiteY776" fmla="*/ 1260735 h 6858000"/>
              <a:gd name="connsiteX777" fmla="*/ 4409309 w 7467600"/>
              <a:gd name="connsiteY777" fmla="*/ 1666996 h 6858000"/>
              <a:gd name="connsiteX778" fmla="*/ 4370031 w 7467600"/>
              <a:gd name="connsiteY778" fmla="*/ 1955666 h 6858000"/>
              <a:gd name="connsiteX779" fmla="*/ 4570198 w 7467600"/>
              <a:gd name="connsiteY779" fmla="*/ 978081 h 6858000"/>
              <a:gd name="connsiteX780" fmla="*/ 4557898 w 7467600"/>
              <a:gd name="connsiteY780" fmla="*/ 900011 h 6858000"/>
              <a:gd name="connsiteX781" fmla="*/ 4344840 w 7467600"/>
              <a:gd name="connsiteY781" fmla="*/ 1922038 h 6858000"/>
              <a:gd name="connsiteX782" fmla="*/ 4378710 w 7467600"/>
              <a:gd name="connsiteY782" fmla="*/ 1665516 h 6858000"/>
              <a:gd name="connsiteX783" fmla="*/ 4448798 w 7467600"/>
              <a:gd name="connsiteY783" fmla="*/ 1253024 h 6858000"/>
              <a:gd name="connsiteX784" fmla="*/ 4480315 w 7467600"/>
              <a:gd name="connsiteY784" fmla="*/ 1158454 h 6858000"/>
              <a:gd name="connsiteX785" fmla="*/ 4494133 w 7467600"/>
              <a:gd name="connsiteY785" fmla="*/ 1118676 h 6858000"/>
              <a:gd name="connsiteX786" fmla="*/ 4557898 w 7467600"/>
              <a:gd name="connsiteY786" fmla="*/ 900011 h 6858000"/>
              <a:gd name="connsiteX787" fmla="*/ 5870151 w 7467600"/>
              <a:gd name="connsiteY787" fmla="*/ 898890 h 6858000"/>
              <a:gd name="connsiteX788" fmla="*/ 5861335 w 7467600"/>
              <a:gd name="connsiteY788" fmla="*/ 899177 h 6858000"/>
              <a:gd name="connsiteX789" fmla="*/ 5843702 w 7467600"/>
              <a:gd name="connsiteY789" fmla="*/ 899748 h 6858000"/>
              <a:gd name="connsiteX790" fmla="*/ 5651107 w 7467600"/>
              <a:gd name="connsiteY790" fmla="*/ 920306 h 6858000"/>
              <a:gd name="connsiteX791" fmla="*/ 5459407 w 7467600"/>
              <a:gd name="connsiteY791" fmla="*/ 940975 h 6858000"/>
              <a:gd name="connsiteX792" fmla="*/ 5374846 w 7467600"/>
              <a:gd name="connsiteY792" fmla="*/ 941988 h 6858000"/>
              <a:gd name="connsiteX793" fmla="*/ 5256105 w 7467600"/>
              <a:gd name="connsiteY793" fmla="*/ 945632 h 6858000"/>
              <a:gd name="connsiteX794" fmla="*/ 5107071 w 7467600"/>
              <a:gd name="connsiteY794" fmla="*/ 969720 h 6858000"/>
              <a:gd name="connsiteX795" fmla="*/ 4998681 w 7467600"/>
              <a:gd name="connsiteY795" fmla="*/ 988771 h 6858000"/>
              <a:gd name="connsiteX796" fmla="*/ 5870151 w 7467600"/>
              <a:gd name="connsiteY796" fmla="*/ 898890 h 6858000"/>
              <a:gd name="connsiteX797" fmla="*/ 5504425 w 7467600"/>
              <a:gd name="connsiteY797" fmla="*/ 848067 h 6858000"/>
              <a:gd name="connsiteX798" fmla="*/ 4968849 w 7467600"/>
              <a:gd name="connsiteY798" fmla="*/ 962318 h 6858000"/>
              <a:gd name="connsiteX799" fmla="*/ 5104039 w 7467600"/>
              <a:gd name="connsiteY799" fmla="*/ 940634 h 6858000"/>
              <a:gd name="connsiteX800" fmla="*/ 5256311 w 7467600"/>
              <a:gd name="connsiteY800" fmla="*/ 916490 h 6858000"/>
              <a:gd name="connsiteX801" fmla="*/ 5377381 w 7467600"/>
              <a:gd name="connsiteY801" fmla="*/ 912671 h 6858000"/>
              <a:gd name="connsiteX802" fmla="*/ 5460148 w 7467600"/>
              <a:gd name="connsiteY802" fmla="*/ 911442 h 6858000"/>
              <a:gd name="connsiteX803" fmla="*/ 5648971 w 7467600"/>
              <a:gd name="connsiteY803" fmla="*/ 891331 h 6858000"/>
              <a:gd name="connsiteX804" fmla="*/ 5844807 w 7467600"/>
              <a:gd name="connsiteY804" fmla="*/ 870718 h 6858000"/>
              <a:gd name="connsiteX805" fmla="*/ 5862975 w 7467600"/>
              <a:gd name="connsiteY805" fmla="*/ 869756 h 6858000"/>
              <a:gd name="connsiteX806" fmla="*/ 5920887 w 7467600"/>
              <a:gd name="connsiteY806" fmla="*/ 865929 h 6858000"/>
              <a:gd name="connsiteX807" fmla="*/ 5504425 w 7467600"/>
              <a:gd name="connsiteY807" fmla="*/ 848067 h 6858000"/>
              <a:gd name="connsiteX808" fmla="*/ 3607114 w 7467600"/>
              <a:gd name="connsiteY808" fmla="*/ 467441 h 6858000"/>
              <a:gd name="connsiteX809" fmla="*/ 3296242 w 7467600"/>
              <a:gd name="connsiteY809" fmla="*/ 807991 h 6858000"/>
              <a:gd name="connsiteX810" fmla="*/ 3174674 w 7467600"/>
              <a:gd name="connsiteY810" fmla="*/ 919759 h 6858000"/>
              <a:gd name="connsiteX811" fmla="*/ 3042978 w 7467600"/>
              <a:gd name="connsiteY811" fmla="*/ 1054894 h 6858000"/>
              <a:gd name="connsiteX812" fmla="*/ 2968914 w 7467600"/>
              <a:gd name="connsiteY812" fmla="*/ 1133756 h 6858000"/>
              <a:gd name="connsiteX813" fmla="*/ 3103823 w 7467600"/>
              <a:gd name="connsiteY813" fmla="*/ 1026814 h 6858000"/>
              <a:gd name="connsiteX814" fmla="*/ 3607114 w 7467600"/>
              <a:gd name="connsiteY814" fmla="*/ 467441 h 6858000"/>
              <a:gd name="connsiteX815" fmla="*/ 3744487 w 7467600"/>
              <a:gd name="connsiteY815" fmla="*/ 383136 h 6858000"/>
              <a:gd name="connsiteX816" fmla="*/ 3970213 w 7467600"/>
              <a:gd name="connsiteY816" fmla="*/ 995559 h 6858000"/>
              <a:gd name="connsiteX817" fmla="*/ 3744487 w 7467600"/>
              <a:gd name="connsiteY817" fmla="*/ 383136 h 6858000"/>
              <a:gd name="connsiteX818" fmla="*/ 3624562 w 7467600"/>
              <a:gd name="connsiteY818" fmla="*/ 367041 h 6858000"/>
              <a:gd name="connsiteX819" fmla="*/ 3489712 w 7467600"/>
              <a:gd name="connsiteY819" fmla="*/ 485386 h 6858000"/>
              <a:gd name="connsiteX820" fmla="*/ 3182994 w 7467600"/>
              <a:gd name="connsiteY820" fmla="*/ 828265 h 6858000"/>
              <a:gd name="connsiteX821" fmla="*/ 2892114 w 7467600"/>
              <a:gd name="connsiteY821" fmla="*/ 1172635 h 6858000"/>
              <a:gd name="connsiteX822" fmla="*/ 3021459 w 7467600"/>
              <a:gd name="connsiteY822" fmla="*/ 1035385 h 6858000"/>
              <a:gd name="connsiteX823" fmla="*/ 3153873 w 7467600"/>
              <a:gd name="connsiteY823" fmla="*/ 898971 h 6858000"/>
              <a:gd name="connsiteX824" fmla="*/ 3276511 w 7467600"/>
              <a:gd name="connsiteY824" fmla="*/ 786423 h 6858000"/>
              <a:gd name="connsiteX825" fmla="*/ 3584154 w 7467600"/>
              <a:gd name="connsiteY825" fmla="*/ 448218 h 6858000"/>
              <a:gd name="connsiteX826" fmla="*/ 3624562 w 7467600"/>
              <a:gd name="connsiteY826" fmla="*/ 367041 h 6858000"/>
              <a:gd name="connsiteX827" fmla="*/ 3766672 w 7467600"/>
              <a:gd name="connsiteY827" fmla="*/ 359429 h 6858000"/>
              <a:gd name="connsiteX828" fmla="*/ 3996338 w 7467600"/>
              <a:gd name="connsiteY828" fmla="*/ 968237 h 6858000"/>
              <a:gd name="connsiteX829" fmla="*/ 3766672 w 7467600"/>
              <a:gd name="connsiteY829" fmla="*/ 359429 h 6858000"/>
              <a:gd name="connsiteX830" fmla="*/ 5805386 w 7467600"/>
              <a:gd name="connsiteY830" fmla="*/ 239240 h 6858000"/>
              <a:gd name="connsiteX831" fmla="*/ 5736947 w 7467600"/>
              <a:gd name="connsiteY831" fmla="*/ 261367 h 6858000"/>
              <a:gd name="connsiteX832" fmla="*/ 5427012 w 7467600"/>
              <a:gd name="connsiteY832" fmla="*/ 311272 h 6858000"/>
              <a:gd name="connsiteX833" fmla="*/ 5147818 w 7467600"/>
              <a:gd name="connsiteY833" fmla="*/ 322112 h 6858000"/>
              <a:gd name="connsiteX834" fmla="*/ 5060854 w 7467600"/>
              <a:gd name="connsiteY834" fmla="*/ 311882 h 6858000"/>
              <a:gd name="connsiteX835" fmla="*/ 4945989 w 7467600"/>
              <a:gd name="connsiteY835" fmla="*/ 300516 h 6858000"/>
              <a:gd name="connsiteX836" fmla="*/ 5410479 w 7467600"/>
              <a:gd name="connsiteY836" fmla="*/ 348434 h 6858000"/>
              <a:gd name="connsiteX837" fmla="*/ 5805386 w 7467600"/>
              <a:gd name="connsiteY837" fmla="*/ 239240 h 6858000"/>
              <a:gd name="connsiteX838" fmla="*/ 5905192 w 7467600"/>
              <a:gd name="connsiteY838" fmla="*/ 163079 h 6858000"/>
              <a:gd name="connsiteX839" fmla="*/ 5865655 w 7467600"/>
              <a:gd name="connsiteY839" fmla="*/ 171901 h 6858000"/>
              <a:gd name="connsiteX840" fmla="*/ 5259740 w 7467600"/>
              <a:gd name="connsiteY840" fmla="*/ 257013 h 6858000"/>
              <a:gd name="connsiteX841" fmla="*/ 5208466 w 7467600"/>
              <a:gd name="connsiteY841" fmla="*/ 257550 h 6858000"/>
              <a:gd name="connsiteX842" fmla="*/ 4980204 w 7467600"/>
              <a:gd name="connsiteY842" fmla="*/ 271903 h 6858000"/>
              <a:gd name="connsiteX843" fmla="*/ 5068068 w 7467600"/>
              <a:gd name="connsiteY843" fmla="*/ 282244 h 6858000"/>
              <a:gd name="connsiteX844" fmla="*/ 5153231 w 7467600"/>
              <a:gd name="connsiteY844" fmla="*/ 292240 h 6858000"/>
              <a:gd name="connsiteX845" fmla="*/ 5426491 w 7467600"/>
              <a:gd name="connsiteY845" fmla="*/ 281128 h 6858000"/>
              <a:gd name="connsiteX846" fmla="*/ 5731212 w 7467600"/>
              <a:gd name="connsiteY846" fmla="*/ 231951 h 6858000"/>
              <a:gd name="connsiteX847" fmla="*/ 5905192 w 7467600"/>
              <a:gd name="connsiteY847" fmla="*/ 163079 h 6858000"/>
              <a:gd name="connsiteX848" fmla="*/ 5944437 w 7467600"/>
              <a:gd name="connsiteY848" fmla="*/ 113829 h 6858000"/>
              <a:gd name="connsiteX849" fmla="*/ 5825032 w 7467600"/>
              <a:gd name="connsiteY849" fmla="*/ 146405 h 6858000"/>
              <a:gd name="connsiteX850" fmla="*/ 4955599 w 7467600"/>
              <a:gd name="connsiteY850" fmla="*/ 247008 h 6858000"/>
              <a:gd name="connsiteX851" fmla="*/ 5210104 w 7467600"/>
              <a:gd name="connsiteY851" fmla="*/ 228123 h 6858000"/>
              <a:gd name="connsiteX852" fmla="*/ 5261015 w 7467600"/>
              <a:gd name="connsiteY852" fmla="*/ 227087 h 6858000"/>
              <a:gd name="connsiteX853" fmla="*/ 5861181 w 7467600"/>
              <a:gd name="connsiteY853" fmla="*/ 143093 h 6858000"/>
              <a:gd name="connsiteX854" fmla="*/ 5961252 w 7467600"/>
              <a:gd name="connsiteY854" fmla="*/ 114820 h 6858000"/>
              <a:gd name="connsiteX855" fmla="*/ 5944437 w 7467600"/>
              <a:gd name="connsiteY855" fmla="*/ 113829 h 6858000"/>
              <a:gd name="connsiteX856" fmla="*/ 3882765 w 7467600"/>
              <a:gd name="connsiteY856" fmla="*/ 0 h 6858000"/>
              <a:gd name="connsiteX857" fmla="*/ 3995099 w 7467600"/>
              <a:gd name="connsiteY857" fmla="*/ 0 h 6858000"/>
              <a:gd name="connsiteX858" fmla="*/ 4163818 w 7467600"/>
              <a:gd name="connsiteY858" fmla="*/ 234104 h 6858000"/>
              <a:gd name="connsiteX859" fmla="*/ 4172099 w 7467600"/>
              <a:gd name="connsiteY859" fmla="*/ 234207 h 6858000"/>
              <a:gd name="connsiteX860" fmla="*/ 4784282 w 7467600"/>
              <a:gd name="connsiteY860" fmla="*/ 276561 h 6858000"/>
              <a:gd name="connsiteX861" fmla="*/ 4801687 w 7467600"/>
              <a:gd name="connsiteY861" fmla="*/ 267764 h 6858000"/>
              <a:gd name="connsiteX862" fmla="*/ 6082788 w 7467600"/>
              <a:gd name="connsiteY862" fmla="*/ 64119 h 6858000"/>
              <a:gd name="connsiteX863" fmla="*/ 6099442 w 7467600"/>
              <a:gd name="connsiteY863" fmla="*/ 82568 h 6858000"/>
              <a:gd name="connsiteX864" fmla="*/ 4804137 w 7467600"/>
              <a:gd name="connsiteY864" fmla="*/ 320931 h 6858000"/>
              <a:gd name="connsiteX865" fmla="*/ 4227047 w 7467600"/>
              <a:gd name="connsiteY865" fmla="*/ 313415 h 6858000"/>
              <a:gd name="connsiteX866" fmla="*/ 4346041 w 7467600"/>
              <a:gd name="connsiteY866" fmla="*/ 456086 h 6858000"/>
              <a:gd name="connsiteX867" fmla="*/ 4870967 w 7467600"/>
              <a:gd name="connsiteY867" fmla="*/ 963061 h 6858000"/>
              <a:gd name="connsiteX868" fmla="*/ 4889647 w 7467600"/>
              <a:gd name="connsiteY868" fmla="*/ 957147 h 6858000"/>
              <a:gd name="connsiteX869" fmla="*/ 5422504 w 7467600"/>
              <a:gd name="connsiteY869" fmla="*/ 805191 h 6858000"/>
              <a:gd name="connsiteX870" fmla="*/ 6087656 w 7467600"/>
              <a:gd name="connsiteY870" fmla="*/ 826703 h 6858000"/>
              <a:gd name="connsiteX871" fmla="*/ 6058717 w 7467600"/>
              <a:gd name="connsiteY871" fmla="*/ 865992 h 6858000"/>
              <a:gd name="connsiteX872" fmla="*/ 4974153 w 7467600"/>
              <a:gd name="connsiteY872" fmla="*/ 1045456 h 6858000"/>
              <a:gd name="connsiteX873" fmla="*/ 5627835 w 7467600"/>
              <a:gd name="connsiteY873" fmla="*/ 1472077 h 6858000"/>
              <a:gd name="connsiteX874" fmla="*/ 5629817 w 7467600"/>
              <a:gd name="connsiteY874" fmla="*/ 1471412 h 6858000"/>
              <a:gd name="connsiteX875" fmla="*/ 5634124 w 7467600"/>
              <a:gd name="connsiteY875" fmla="*/ 1470572 h 6858000"/>
              <a:gd name="connsiteX876" fmla="*/ 5755832 w 7467600"/>
              <a:gd name="connsiteY876" fmla="*/ 1383886 h 6858000"/>
              <a:gd name="connsiteX877" fmla="*/ 6014186 w 7467600"/>
              <a:gd name="connsiteY877" fmla="*/ 1279799 h 6858000"/>
              <a:gd name="connsiteX878" fmla="*/ 6901619 w 7467600"/>
              <a:gd name="connsiteY878" fmla="*/ 1047874 h 6858000"/>
              <a:gd name="connsiteX879" fmla="*/ 6931566 w 7467600"/>
              <a:gd name="connsiteY879" fmla="*/ 1062034 h 6858000"/>
              <a:gd name="connsiteX880" fmla="*/ 5790982 w 7467600"/>
              <a:gd name="connsiteY880" fmla="*/ 1561380 h 6858000"/>
              <a:gd name="connsiteX881" fmla="*/ 6188971 w 7467600"/>
              <a:gd name="connsiteY881" fmla="*/ 1755168 h 6858000"/>
              <a:gd name="connsiteX882" fmla="*/ 6202446 w 7467600"/>
              <a:gd name="connsiteY882" fmla="*/ 1752268 h 6858000"/>
              <a:gd name="connsiteX883" fmla="*/ 7179560 w 7467600"/>
              <a:gd name="connsiteY883" fmla="*/ 1467551 h 6858000"/>
              <a:gd name="connsiteX884" fmla="*/ 7158730 w 7467600"/>
              <a:gd name="connsiteY884" fmla="*/ 1507835 h 6858000"/>
              <a:gd name="connsiteX885" fmla="*/ 6326959 w 7467600"/>
              <a:gd name="connsiteY885" fmla="*/ 1817686 h 6858000"/>
              <a:gd name="connsiteX886" fmla="*/ 6537433 w 7467600"/>
              <a:gd name="connsiteY886" fmla="*/ 1907790 h 6858000"/>
              <a:gd name="connsiteX887" fmla="*/ 6550221 w 7467600"/>
              <a:gd name="connsiteY887" fmla="*/ 1910729 h 6858000"/>
              <a:gd name="connsiteX888" fmla="*/ 6964438 w 7467600"/>
              <a:gd name="connsiteY888" fmla="*/ 2209505 h 6858000"/>
              <a:gd name="connsiteX889" fmla="*/ 7367862 w 7467600"/>
              <a:gd name="connsiteY889" fmla="*/ 2806833 h 6858000"/>
              <a:gd name="connsiteX890" fmla="*/ 7364329 w 7467600"/>
              <a:gd name="connsiteY890" fmla="*/ 2826907 h 6858000"/>
              <a:gd name="connsiteX891" fmla="*/ 7290545 w 7467600"/>
              <a:gd name="connsiteY891" fmla="*/ 2850663 h 6858000"/>
              <a:gd name="connsiteX892" fmla="*/ 6472036 w 7467600"/>
              <a:gd name="connsiteY892" fmla="*/ 1959003 h 6858000"/>
              <a:gd name="connsiteX893" fmla="*/ 5792897 w 7467600"/>
              <a:gd name="connsiteY893" fmla="*/ 1647747 h 6858000"/>
              <a:gd name="connsiteX894" fmla="*/ 5842751 w 7467600"/>
              <a:gd name="connsiteY894" fmla="*/ 1816112 h 6858000"/>
              <a:gd name="connsiteX895" fmla="*/ 5847424 w 7467600"/>
              <a:gd name="connsiteY895" fmla="*/ 1815776 h 6858000"/>
              <a:gd name="connsiteX896" fmla="*/ 6399821 w 7467600"/>
              <a:gd name="connsiteY896" fmla="*/ 2344799 h 6858000"/>
              <a:gd name="connsiteX897" fmla="*/ 6323232 w 7467600"/>
              <a:gd name="connsiteY897" fmla="*/ 2389634 h 6858000"/>
              <a:gd name="connsiteX898" fmla="*/ 5942958 w 7467600"/>
              <a:gd name="connsiteY898" fmla="*/ 2077708 h 6858000"/>
              <a:gd name="connsiteX899" fmla="*/ 5921559 w 7467600"/>
              <a:gd name="connsiteY899" fmla="*/ 2378596 h 6858000"/>
              <a:gd name="connsiteX900" fmla="*/ 5817651 w 7467600"/>
              <a:gd name="connsiteY900" fmla="*/ 3023919 h 6858000"/>
              <a:gd name="connsiteX901" fmla="*/ 5729634 w 7467600"/>
              <a:gd name="connsiteY901" fmla="*/ 3051849 h 6858000"/>
              <a:gd name="connsiteX902" fmla="*/ 5611018 w 7467600"/>
              <a:gd name="connsiteY902" fmla="*/ 2316769 h 6858000"/>
              <a:gd name="connsiteX903" fmla="*/ 5687608 w 7467600"/>
              <a:gd name="connsiteY903" fmla="*/ 2039972 h 6858000"/>
              <a:gd name="connsiteX904" fmla="*/ 5657554 w 7467600"/>
              <a:gd name="connsiteY904" fmla="*/ 1576445 h 6858000"/>
              <a:gd name="connsiteX905" fmla="*/ 5150475 w 7467600"/>
              <a:gd name="connsiteY905" fmla="*/ 1274012 h 6858000"/>
              <a:gd name="connsiteX906" fmla="*/ 5349142 w 7467600"/>
              <a:gd name="connsiteY906" fmla="*/ 2204405 h 6858000"/>
              <a:gd name="connsiteX907" fmla="*/ 5262214 w 7467600"/>
              <a:gd name="connsiteY907" fmla="*/ 2233836 h 6858000"/>
              <a:gd name="connsiteX908" fmla="*/ 4981539 w 7467600"/>
              <a:gd name="connsiteY908" fmla="*/ 1542201 h 6858000"/>
              <a:gd name="connsiteX909" fmla="*/ 4958461 w 7467600"/>
              <a:gd name="connsiteY909" fmla="*/ 1136957 h 6858000"/>
              <a:gd name="connsiteX910" fmla="*/ 4655015 w 7467600"/>
              <a:gd name="connsiteY910" fmla="*/ 891426 h 6858000"/>
              <a:gd name="connsiteX911" fmla="*/ 4348002 w 7467600"/>
              <a:gd name="connsiteY911" fmla="*/ 2205895 h 6858000"/>
              <a:gd name="connsiteX912" fmla="*/ 4262250 w 7467600"/>
              <a:gd name="connsiteY912" fmla="*/ 2219972 h 6858000"/>
              <a:gd name="connsiteX913" fmla="*/ 4550611 w 7467600"/>
              <a:gd name="connsiteY913" fmla="*/ 817540 h 6858000"/>
              <a:gd name="connsiteX914" fmla="*/ 4564418 w 7467600"/>
              <a:gd name="connsiteY914" fmla="*/ 808293 h 6858000"/>
              <a:gd name="connsiteX915" fmla="*/ 4266388 w 7467600"/>
              <a:gd name="connsiteY915" fmla="*/ 500083 h 6858000"/>
              <a:gd name="connsiteX916" fmla="*/ 4032842 w 7467600"/>
              <a:gd name="connsiteY916" fmla="*/ 211809 h 6858000"/>
              <a:gd name="connsiteX917" fmla="*/ 3882765 w 7467600"/>
              <a:gd name="connsiteY917" fmla="*/ 0 h 6858000"/>
              <a:gd name="connsiteX918" fmla="*/ 3721337 w 7467600"/>
              <a:gd name="connsiteY918" fmla="*/ 0 h 6858000"/>
              <a:gd name="connsiteX919" fmla="*/ 3797544 w 7467600"/>
              <a:gd name="connsiteY919" fmla="*/ 0 h 6858000"/>
              <a:gd name="connsiteX920" fmla="*/ 3775734 w 7467600"/>
              <a:gd name="connsiteY920" fmla="*/ 95131 h 6858000"/>
              <a:gd name="connsiteX921" fmla="*/ 3724807 w 7467600"/>
              <a:gd name="connsiteY921" fmla="*/ 272257 h 6858000"/>
              <a:gd name="connsiteX922" fmla="*/ 3726844 w 7467600"/>
              <a:gd name="connsiteY922" fmla="*/ 282988 h 6858000"/>
              <a:gd name="connsiteX923" fmla="*/ 3742664 w 7467600"/>
              <a:gd name="connsiteY923" fmla="*/ 279918 h 6858000"/>
              <a:gd name="connsiteX924" fmla="*/ 4103910 w 7467600"/>
              <a:gd name="connsiteY924" fmla="*/ 1161917 h 6858000"/>
              <a:gd name="connsiteX925" fmla="*/ 4020269 w 7467600"/>
              <a:gd name="connsiteY925" fmla="*/ 1200406 h 6858000"/>
              <a:gd name="connsiteX926" fmla="*/ 3674882 w 7467600"/>
              <a:gd name="connsiteY926" fmla="*/ 488524 h 6858000"/>
              <a:gd name="connsiteX927" fmla="*/ 3132682 w 7467600"/>
              <a:gd name="connsiteY927" fmla="*/ 1072284 h 6858000"/>
              <a:gd name="connsiteX928" fmla="*/ 2716346 w 7467600"/>
              <a:gd name="connsiteY928" fmla="*/ 1276376 h 6858000"/>
              <a:gd name="connsiteX929" fmla="*/ 2716772 w 7467600"/>
              <a:gd name="connsiteY929" fmla="*/ 1255462 h 6858000"/>
              <a:gd name="connsiteX930" fmla="*/ 3471096 w 7467600"/>
              <a:gd name="connsiteY930" fmla="*/ 437072 h 6858000"/>
              <a:gd name="connsiteX931" fmla="*/ 3639057 w 7467600"/>
              <a:gd name="connsiteY931" fmla="*/ 286334 h 6858000"/>
              <a:gd name="connsiteX932" fmla="*/ 3640309 w 7467600"/>
              <a:gd name="connsiteY932" fmla="*/ 284664 h 6858000"/>
              <a:gd name="connsiteX933" fmla="*/ 3646022 w 7467600"/>
              <a:gd name="connsiteY933" fmla="*/ 276711 h 6858000"/>
              <a:gd name="connsiteX934" fmla="*/ 3707943 w 7467600"/>
              <a:gd name="connsiteY934" fmla="*/ 65958 h 6858000"/>
              <a:gd name="connsiteX935" fmla="*/ 3721337 w 7467600"/>
              <a:gd name="connsiteY935" fmla="*/ 0 h 6858000"/>
              <a:gd name="connsiteX936" fmla="*/ 2867960 w 7467600"/>
              <a:gd name="connsiteY936" fmla="*/ 0 h 6858000"/>
              <a:gd name="connsiteX937" fmla="*/ 2926351 w 7467600"/>
              <a:gd name="connsiteY937" fmla="*/ 0 h 6858000"/>
              <a:gd name="connsiteX938" fmla="*/ 2902823 w 7467600"/>
              <a:gd name="connsiteY938" fmla="*/ 262929 h 6858000"/>
              <a:gd name="connsiteX939" fmla="*/ 2940663 w 7467600"/>
              <a:gd name="connsiteY939" fmla="*/ 140884 h 6858000"/>
              <a:gd name="connsiteX940" fmla="*/ 2947039 w 7467600"/>
              <a:gd name="connsiteY940" fmla="*/ 122524 h 6858000"/>
              <a:gd name="connsiteX941" fmla="*/ 2984316 w 7467600"/>
              <a:gd name="connsiteY941" fmla="*/ 0 h 6858000"/>
              <a:gd name="connsiteX942" fmla="*/ 3016114 w 7467600"/>
              <a:gd name="connsiteY942" fmla="*/ 0 h 6858000"/>
              <a:gd name="connsiteX943" fmla="*/ 2979949 w 7467600"/>
              <a:gd name="connsiteY943" fmla="*/ 119274 h 6858000"/>
              <a:gd name="connsiteX944" fmla="*/ 3023879 w 7467600"/>
              <a:gd name="connsiteY944" fmla="*/ 0 h 6858000"/>
              <a:gd name="connsiteX945" fmla="*/ 3105400 w 7467600"/>
              <a:gd name="connsiteY945" fmla="*/ 0 h 6858000"/>
              <a:gd name="connsiteX946" fmla="*/ 3094669 w 7467600"/>
              <a:gd name="connsiteY946" fmla="*/ 30308 h 6858000"/>
              <a:gd name="connsiteX947" fmla="*/ 2901945 w 7467600"/>
              <a:gd name="connsiteY947" fmla="*/ 466538 h 6858000"/>
              <a:gd name="connsiteX948" fmla="*/ 2815209 w 7467600"/>
              <a:gd name="connsiteY948" fmla="*/ 497361 h 6858000"/>
              <a:gd name="connsiteX949" fmla="*/ 2844845 w 7467600"/>
              <a:gd name="connsiteY949" fmla="*/ 127638 h 6858000"/>
              <a:gd name="connsiteX950" fmla="*/ 2867960 w 7467600"/>
              <a:gd name="connsiteY950" fmla="*/ 0 h 6858000"/>
              <a:gd name="connsiteX951" fmla="*/ 1057230 w 7467600"/>
              <a:gd name="connsiteY951" fmla="*/ 0 h 6858000"/>
              <a:gd name="connsiteX952" fmla="*/ 1111003 w 7467600"/>
              <a:gd name="connsiteY952" fmla="*/ 0 h 6858000"/>
              <a:gd name="connsiteX953" fmla="*/ 1125553 w 7467600"/>
              <a:gd name="connsiteY953" fmla="*/ 52588 h 6858000"/>
              <a:gd name="connsiteX954" fmla="*/ 1304276 w 7467600"/>
              <a:gd name="connsiteY954" fmla="*/ 476275 h 6858000"/>
              <a:gd name="connsiteX955" fmla="*/ 1492066 w 7467600"/>
              <a:gd name="connsiteY955" fmla="*/ 886333 h 6858000"/>
              <a:gd name="connsiteX956" fmla="*/ 1423698 w 7467600"/>
              <a:gd name="connsiteY956" fmla="*/ 710817 h 6858000"/>
              <a:gd name="connsiteX957" fmla="*/ 1357609 w 7467600"/>
              <a:gd name="connsiteY957" fmla="*/ 532892 h 6858000"/>
              <a:gd name="connsiteX958" fmla="*/ 1309550 w 7467600"/>
              <a:gd name="connsiteY958" fmla="*/ 374031 h 6858000"/>
              <a:gd name="connsiteX959" fmla="*/ 1193673 w 7467600"/>
              <a:gd name="connsiteY959" fmla="*/ 49533 h 6858000"/>
              <a:gd name="connsiteX960" fmla="*/ 1164391 w 7467600"/>
              <a:gd name="connsiteY960" fmla="*/ 0 h 6858000"/>
              <a:gd name="connsiteX961" fmla="*/ 1200666 w 7467600"/>
              <a:gd name="connsiteY961" fmla="*/ 0 h 6858000"/>
              <a:gd name="connsiteX962" fmla="*/ 1223408 w 7467600"/>
              <a:gd name="connsiteY962" fmla="*/ 38996 h 6858000"/>
              <a:gd name="connsiteX963" fmla="*/ 1339635 w 7467600"/>
              <a:gd name="connsiteY963" fmla="*/ 365517 h 6858000"/>
              <a:gd name="connsiteX964" fmla="*/ 1387469 w 7467600"/>
              <a:gd name="connsiteY964" fmla="*/ 523079 h 6858000"/>
              <a:gd name="connsiteX965" fmla="*/ 1452685 w 7467600"/>
              <a:gd name="connsiteY965" fmla="*/ 699806 h 6858000"/>
              <a:gd name="connsiteX966" fmla="*/ 1492092 w 7467600"/>
              <a:gd name="connsiteY966" fmla="*/ 800424 h 6858000"/>
              <a:gd name="connsiteX967" fmla="*/ 1455302 w 7467600"/>
              <a:gd name="connsiteY967" fmla="*/ 632913 h 6858000"/>
              <a:gd name="connsiteX968" fmla="*/ 1222336 w 7467600"/>
              <a:gd name="connsiteY968" fmla="*/ 9480 h 6858000"/>
              <a:gd name="connsiteX969" fmla="*/ 1214634 w 7467600"/>
              <a:gd name="connsiteY969" fmla="*/ 0 h 6858000"/>
              <a:gd name="connsiteX970" fmla="*/ 1289827 w 7467600"/>
              <a:gd name="connsiteY970" fmla="*/ 0 h 6858000"/>
              <a:gd name="connsiteX971" fmla="*/ 1321076 w 7467600"/>
              <a:gd name="connsiteY971" fmla="*/ 59722 h 6858000"/>
              <a:gd name="connsiteX972" fmla="*/ 1512579 w 7467600"/>
              <a:gd name="connsiteY972" fmla="*/ 626441 h 6858000"/>
              <a:gd name="connsiteX973" fmla="*/ 1506076 w 7467600"/>
              <a:gd name="connsiteY973" fmla="*/ 1089289 h 6858000"/>
              <a:gd name="connsiteX974" fmla="*/ 1486346 w 7467600"/>
              <a:gd name="connsiteY974" fmla="*/ 1079919 h 6858000"/>
              <a:gd name="connsiteX975" fmla="*/ 1070511 w 7467600"/>
              <a:gd name="connsiteY975" fmla="*/ 48609 h 6858000"/>
              <a:gd name="connsiteX976" fmla="*/ 1057230 w 7467600"/>
              <a:gd name="connsiteY976" fmla="*/ 0 h 6858000"/>
              <a:gd name="connsiteX977" fmla="*/ 43151 w 7467600"/>
              <a:gd name="connsiteY977" fmla="*/ 0 h 6858000"/>
              <a:gd name="connsiteX978" fmla="*/ 95283 w 7467600"/>
              <a:gd name="connsiteY978" fmla="*/ 0 h 6858000"/>
              <a:gd name="connsiteX979" fmla="*/ 300708 w 7467600"/>
              <a:gd name="connsiteY979" fmla="*/ 154571 h 6858000"/>
              <a:gd name="connsiteX980" fmla="*/ 530414 w 7467600"/>
              <a:gd name="connsiteY980" fmla="*/ 354673 h 6858000"/>
              <a:gd name="connsiteX981" fmla="*/ 333785 w 7467600"/>
              <a:gd name="connsiteY981" fmla="*/ 161564 h 6858000"/>
              <a:gd name="connsiteX982" fmla="*/ 147005 w 7467600"/>
              <a:gd name="connsiteY982" fmla="*/ 0 h 6858000"/>
              <a:gd name="connsiteX983" fmla="*/ 272509 w 7467600"/>
              <a:gd name="connsiteY983" fmla="*/ 0 h 6858000"/>
              <a:gd name="connsiteX984" fmla="*/ 326276 w 7467600"/>
              <a:gd name="connsiteY984" fmla="*/ 45847 h 6858000"/>
              <a:gd name="connsiteX985" fmla="*/ 823759 w 7467600"/>
              <a:gd name="connsiteY985" fmla="*/ 574145 h 6858000"/>
              <a:gd name="connsiteX986" fmla="*/ 811254 w 7467600"/>
              <a:gd name="connsiteY986" fmla="*/ 665546 h 6858000"/>
              <a:gd name="connsiteX987" fmla="*/ 154042 w 7467600"/>
              <a:gd name="connsiteY987" fmla="*/ 261522 h 6858000"/>
              <a:gd name="connsiteX988" fmla="*/ 13550 w 7467600"/>
              <a:gd name="connsiteY988" fmla="*/ 158423 h 6858000"/>
              <a:gd name="connsiteX989" fmla="*/ 0 w 7467600"/>
              <a:gd name="connsiteY989" fmla="*/ 146618 h 6858000"/>
              <a:gd name="connsiteX990" fmla="*/ 0 w 7467600"/>
              <a:gd name="connsiteY990" fmla="*/ 59161 h 6858000"/>
              <a:gd name="connsiteX991" fmla="*/ 45427 w 7467600"/>
              <a:gd name="connsiteY991" fmla="*/ 101078 h 6858000"/>
              <a:gd name="connsiteX992" fmla="*/ 630103 w 7467600"/>
              <a:gd name="connsiteY992" fmla="*/ 485885 h 6858000"/>
              <a:gd name="connsiteX993" fmla="*/ 532040 w 7467600"/>
              <a:gd name="connsiteY993" fmla="*/ 399359 h 6858000"/>
              <a:gd name="connsiteX994" fmla="*/ 517618 w 7467600"/>
              <a:gd name="connsiteY994" fmla="*/ 385726 h 6858000"/>
              <a:gd name="connsiteX995" fmla="*/ 285074 w 7467600"/>
              <a:gd name="connsiteY995" fmla="*/ 182755 h 6858000"/>
              <a:gd name="connsiteX996" fmla="*/ 43151 w 7467600"/>
              <a:gd name="connsiteY996"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27465 w 7467600"/>
              <a:gd name="connsiteY127" fmla="*/ 5174181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7327465 w 7467600"/>
              <a:gd name="connsiteY139" fmla="*/ 5174181 h 6858000"/>
              <a:gd name="connsiteX140" fmla="*/ 1903353 w 7467600"/>
              <a:gd name="connsiteY140" fmla="*/ 5044827 h 6858000"/>
              <a:gd name="connsiteX141" fmla="*/ 1936931 w 7467600"/>
              <a:gd name="connsiteY141" fmla="*/ 5093954 h 6858000"/>
              <a:gd name="connsiteX142" fmla="*/ 2195868 w 7467600"/>
              <a:gd name="connsiteY142" fmla="*/ 5396574 h 6858000"/>
              <a:gd name="connsiteX143" fmla="*/ 2088852 w 7467600"/>
              <a:gd name="connsiteY143" fmla="*/ 5166123 h 6858000"/>
              <a:gd name="connsiteX144" fmla="*/ 1958241 w 7467600"/>
              <a:gd name="connsiteY144" fmla="*/ 5067955 h 6858000"/>
              <a:gd name="connsiteX145" fmla="*/ 1903353 w 7467600"/>
              <a:gd name="connsiteY145" fmla="*/ 5044827 h 6858000"/>
              <a:gd name="connsiteX146" fmla="*/ 1979378 w 7467600"/>
              <a:gd name="connsiteY146" fmla="*/ 4769504 h 6858000"/>
              <a:gd name="connsiteX147" fmla="*/ 2882120 w 7467600"/>
              <a:gd name="connsiteY147" fmla="*/ 5064547 h 6858000"/>
              <a:gd name="connsiteX148" fmla="*/ 2793103 w 7467600"/>
              <a:gd name="connsiteY148" fmla="*/ 5039699 h 6858000"/>
              <a:gd name="connsiteX149" fmla="*/ 2770041 w 7467600"/>
              <a:gd name="connsiteY149" fmla="*/ 5033634 h 6858000"/>
              <a:gd name="connsiteX150" fmla="*/ 1979378 w 7467600"/>
              <a:gd name="connsiteY150" fmla="*/ 4769504 h 6858000"/>
              <a:gd name="connsiteX151" fmla="*/ 1927410 w 7467600"/>
              <a:gd name="connsiteY151" fmla="*/ 4716164 h 6858000"/>
              <a:gd name="connsiteX152" fmla="*/ 1959587 w 7467600"/>
              <a:gd name="connsiteY152" fmla="*/ 4728849 h 6858000"/>
              <a:gd name="connsiteX153" fmla="*/ 2777707 w 7467600"/>
              <a:gd name="connsiteY153" fmla="*/ 5003991 h 6858000"/>
              <a:gd name="connsiteX154" fmla="*/ 2800768 w 7467600"/>
              <a:gd name="connsiteY154" fmla="*/ 5010056 h 6858000"/>
              <a:gd name="connsiteX155" fmla="*/ 2879408 w 7467600"/>
              <a:gd name="connsiteY155" fmla="*/ 5031590 h 6858000"/>
              <a:gd name="connsiteX156" fmla="*/ 2862295 w 7467600"/>
              <a:gd name="connsiteY156" fmla="*/ 5022958 h 6858000"/>
              <a:gd name="connsiteX157" fmla="*/ 2813343 w 7467600"/>
              <a:gd name="connsiteY157" fmla="*/ 4998369 h 6858000"/>
              <a:gd name="connsiteX158" fmla="*/ 2646245 w 7467600"/>
              <a:gd name="connsiteY158" fmla="*/ 4930999 h 6858000"/>
              <a:gd name="connsiteX159" fmla="*/ 1999243 w 7467600"/>
              <a:gd name="connsiteY159" fmla="*/ 4730524 h 6858000"/>
              <a:gd name="connsiteX160" fmla="*/ 1979527 w 7467600"/>
              <a:gd name="connsiteY160" fmla="*/ 4726651 h 6858000"/>
              <a:gd name="connsiteX161" fmla="*/ 1927410 w 7467600"/>
              <a:gd name="connsiteY161" fmla="*/ 4716164 h 6858000"/>
              <a:gd name="connsiteX162" fmla="*/ 1997014 w 7467600"/>
              <a:gd name="connsiteY162" fmla="*/ 4698007 h 6858000"/>
              <a:gd name="connsiteX163" fmla="*/ 2005458 w 7467600"/>
              <a:gd name="connsiteY163" fmla="*/ 4699540 h 6858000"/>
              <a:gd name="connsiteX164" fmla="*/ 2657186 w 7467600"/>
              <a:gd name="connsiteY164" fmla="*/ 4901687 h 6858000"/>
              <a:gd name="connsiteX165" fmla="*/ 2826662 w 7467600"/>
              <a:gd name="connsiteY165" fmla="*/ 4970362 h 6858000"/>
              <a:gd name="connsiteX166" fmla="*/ 2876100 w 7467600"/>
              <a:gd name="connsiteY166" fmla="*/ 4995397 h 6858000"/>
              <a:gd name="connsiteX167" fmla="*/ 3042600 w 7467600"/>
              <a:gd name="connsiteY167" fmla="*/ 5059532 h 6858000"/>
              <a:gd name="connsiteX168" fmla="*/ 1997014 w 7467600"/>
              <a:gd name="connsiteY168" fmla="*/ 4698007 h 6858000"/>
              <a:gd name="connsiteX169" fmla="*/ 2305292 w 7467600"/>
              <a:gd name="connsiteY169" fmla="*/ 4219492 h 6858000"/>
              <a:gd name="connsiteX170" fmla="*/ 3360922 w 7467600"/>
              <a:gd name="connsiteY170" fmla="*/ 4529373 h 6858000"/>
              <a:gd name="connsiteX171" fmla="*/ 3492420 w 7467600"/>
              <a:gd name="connsiteY171" fmla="*/ 4510145 h 6858000"/>
              <a:gd name="connsiteX172" fmla="*/ 3364086 w 7467600"/>
              <a:gd name="connsiteY172" fmla="*/ 4480340 h 6858000"/>
              <a:gd name="connsiteX173" fmla="*/ 3225818 w 7467600"/>
              <a:gd name="connsiteY173" fmla="*/ 4411822 h 6858000"/>
              <a:gd name="connsiteX174" fmla="*/ 3129696 w 7467600"/>
              <a:gd name="connsiteY174" fmla="*/ 4360704 h 6858000"/>
              <a:gd name="connsiteX175" fmla="*/ 2814545 w 7467600"/>
              <a:gd name="connsiteY175" fmla="*/ 4282955 h 6858000"/>
              <a:gd name="connsiteX176" fmla="*/ 2305292 w 7467600"/>
              <a:gd name="connsiteY176" fmla="*/ 4219492 h 6858000"/>
              <a:gd name="connsiteX177" fmla="*/ 2626982 w 7467600"/>
              <a:gd name="connsiteY177" fmla="*/ 4206450 h 6858000"/>
              <a:gd name="connsiteX178" fmla="*/ 2490617 w 7467600"/>
              <a:gd name="connsiteY178" fmla="*/ 4206951 h 6858000"/>
              <a:gd name="connsiteX179" fmla="*/ 2819869 w 7467600"/>
              <a:gd name="connsiteY179" fmla="*/ 4252936 h 6858000"/>
              <a:gd name="connsiteX180" fmla="*/ 3143018 w 7467600"/>
              <a:gd name="connsiteY180" fmla="*/ 4332698 h 6858000"/>
              <a:gd name="connsiteX181" fmla="*/ 3241520 w 7467600"/>
              <a:gd name="connsiteY181" fmla="*/ 4385112 h 6858000"/>
              <a:gd name="connsiteX182" fmla="*/ 3374575 w 7467600"/>
              <a:gd name="connsiteY182" fmla="*/ 4451517 h 6858000"/>
              <a:gd name="connsiteX183" fmla="*/ 3505221 w 7467600"/>
              <a:gd name="connsiteY183" fmla="*/ 4480757 h 6858000"/>
              <a:gd name="connsiteX184" fmla="*/ 2626982 w 7467600"/>
              <a:gd name="connsiteY184" fmla="*/ 4206450 h 6858000"/>
              <a:gd name="connsiteX185" fmla="*/ 1310106 w 7467600"/>
              <a:gd name="connsiteY185" fmla="*/ 3943217 h 6858000"/>
              <a:gd name="connsiteX186" fmla="*/ 854994 w 7467600"/>
              <a:gd name="connsiteY186" fmla="*/ 4399136 h 6858000"/>
              <a:gd name="connsiteX187" fmla="*/ 742462 w 7467600"/>
              <a:gd name="connsiteY187" fmla="*/ 4594648 h 6858000"/>
              <a:gd name="connsiteX188" fmla="*/ 820602 w 7467600"/>
              <a:gd name="connsiteY188" fmla="*/ 4485915 h 6858000"/>
              <a:gd name="connsiteX189" fmla="*/ 878295 w 7467600"/>
              <a:gd name="connsiteY189" fmla="*/ 4403594 h 6858000"/>
              <a:gd name="connsiteX190" fmla="*/ 1240607 w 7467600"/>
              <a:gd name="connsiteY190" fmla="*/ 4010401 h 6858000"/>
              <a:gd name="connsiteX191" fmla="*/ 1310106 w 7467600"/>
              <a:gd name="connsiteY191" fmla="*/ 3943217 h 6858000"/>
              <a:gd name="connsiteX192" fmla="*/ 1423113 w 7467600"/>
              <a:gd name="connsiteY192" fmla="*/ 3874565 h 6858000"/>
              <a:gd name="connsiteX193" fmla="*/ 1260565 w 7467600"/>
              <a:gd name="connsiteY193" fmla="*/ 4031982 h 6858000"/>
              <a:gd name="connsiteX194" fmla="*/ 901900 w 7467600"/>
              <a:gd name="connsiteY194" fmla="*/ 4421236 h 6858000"/>
              <a:gd name="connsiteX195" fmla="*/ 845044 w 7467600"/>
              <a:gd name="connsiteY195" fmla="*/ 4502436 h 6858000"/>
              <a:gd name="connsiteX196" fmla="*/ 685926 w 7467600"/>
              <a:gd name="connsiteY196" fmla="*/ 4703069 h 6858000"/>
              <a:gd name="connsiteX197" fmla="*/ 684248 w 7467600"/>
              <a:gd name="connsiteY197" fmla="*/ 4706721 h 6858000"/>
              <a:gd name="connsiteX198" fmla="*/ 1423113 w 7467600"/>
              <a:gd name="connsiteY198" fmla="*/ 3874565 h 6858000"/>
              <a:gd name="connsiteX199" fmla="*/ 3316479 w 7467600"/>
              <a:gd name="connsiteY199" fmla="*/ 3872136 h 6858000"/>
              <a:gd name="connsiteX200" fmla="*/ 3546806 w 7467600"/>
              <a:gd name="connsiteY200" fmla="*/ 4356139 h 6858000"/>
              <a:gd name="connsiteX201" fmla="*/ 3364433 w 7467600"/>
              <a:gd name="connsiteY201" fmla="*/ 3953121 h 6858000"/>
              <a:gd name="connsiteX202" fmla="*/ 3316479 w 7467600"/>
              <a:gd name="connsiteY202" fmla="*/ 3872136 h 6858000"/>
              <a:gd name="connsiteX203" fmla="*/ 3291335 w 7467600"/>
              <a:gd name="connsiteY203" fmla="*/ 3767420 h 6858000"/>
              <a:gd name="connsiteX204" fmla="*/ 3390805 w 7467600"/>
              <a:gd name="connsiteY204" fmla="*/ 3937163 h 6858000"/>
              <a:gd name="connsiteX205" fmla="*/ 3579062 w 7467600"/>
              <a:gd name="connsiteY205" fmla="*/ 4359040 h 6858000"/>
              <a:gd name="connsiteX206" fmla="*/ 3467355 w 7467600"/>
              <a:gd name="connsiteY206" fmla="*/ 3988130 h 6858000"/>
              <a:gd name="connsiteX207" fmla="*/ 3310753 w 7467600"/>
              <a:gd name="connsiteY207" fmla="*/ 3787140 h 6858000"/>
              <a:gd name="connsiteX208" fmla="*/ 3291335 w 7467600"/>
              <a:gd name="connsiteY208" fmla="*/ 3767420 h 6858000"/>
              <a:gd name="connsiteX209" fmla="*/ 1635889 w 7467600"/>
              <a:gd name="connsiteY209" fmla="*/ 3709494 h 6858000"/>
              <a:gd name="connsiteX210" fmla="*/ 1634800 w 7467600"/>
              <a:gd name="connsiteY210" fmla="*/ 3731111 h 6858000"/>
              <a:gd name="connsiteX211" fmla="*/ 1635889 w 7467600"/>
              <a:gd name="connsiteY211" fmla="*/ 3709494 h 6858000"/>
              <a:gd name="connsiteX212" fmla="*/ 1510397 w 7467600"/>
              <a:gd name="connsiteY212" fmla="*/ 3684705 h 6858000"/>
              <a:gd name="connsiteX213" fmla="*/ 1146550 w 7467600"/>
              <a:gd name="connsiteY213" fmla="*/ 3802012 h 6858000"/>
              <a:gd name="connsiteX214" fmla="*/ 698834 w 7467600"/>
              <a:gd name="connsiteY214" fmla="*/ 3952272 h 6858000"/>
              <a:gd name="connsiteX215" fmla="*/ 34256 w 7467600"/>
              <a:gd name="connsiteY215" fmla="*/ 4347603 h 6858000"/>
              <a:gd name="connsiteX216" fmla="*/ 527241 w 7467600"/>
              <a:gd name="connsiteY216" fmla="*/ 4065078 h 6858000"/>
              <a:gd name="connsiteX217" fmla="*/ 1510397 w 7467600"/>
              <a:gd name="connsiteY217" fmla="*/ 3684705 h 6858000"/>
              <a:gd name="connsiteX218" fmla="*/ 1313114 w 7467600"/>
              <a:gd name="connsiteY218" fmla="*/ 3655216 h 6858000"/>
              <a:gd name="connsiteX219" fmla="*/ 1109304 w 7467600"/>
              <a:gd name="connsiteY219" fmla="*/ 3669030 h 6858000"/>
              <a:gd name="connsiteX220" fmla="*/ 8129 w 7467600"/>
              <a:gd name="connsiteY220" fmla="*/ 4330519 h 6858000"/>
              <a:gd name="connsiteX221" fmla="*/ 687572 w 7467600"/>
              <a:gd name="connsiteY221" fmla="*/ 3925629 h 6858000"/>
              <a:gd name="connsiteX222" fmla="*/ 1138365 w 7467600"/>
              <a:gd name="connsiteY222" fmla="*/ 3774515 h 6858000"/>
              <a:gd name="connsiteX223" fmla="*/ 1505579 w 7467600"/>
              <a:gd name="connsiteY223" fmla="*/ 3655526 h 6858000"/>
              <a:gd name="connsiteX224" fmla="*/ 1313114 w 7467600"/>
              <a:gd name="connsiteY224" fmla="*/ 3655216 h 6858000"/>
              <a:gd name="connsiteX225" fmla="*/ 3655073 w 7467600"/>
              <a:gd name="connsiteY225" fmla="*/ 3650884 h 6858000"/>
              <a:gd name="connsiteX226" fmla="*/ 3989938 w 7467600"/>
              <a:gd name="connsiteY226" fmla="*/ 3991685 h 6858000"/>
              <a:gd name="connsiteX227" fmla="*/ 4393907 w 7467600"/>
              <a:gd name="connsiteY227" fmla="*/ 4261258 h 6858000"/>
              <a:gd name="connsiteX228" fmla="*/ 4648051 w 7467600"/>
              <a:gd name="connsiteY228" fmla="*/ 4374051 h 6858000"/>
              <a:gd name="connsiteX229" fmla="*/ 4383389 w 7467600"/>
              <a:gd name="connsiteY229" fmla="*/ 4184369 h 6858000"/>
              <a:gd name="connsiteX230" fmla="*/ 4165508 w 7467600"/>
              <a:gd name="connsiteY230" fmla="*/ 4035196 h 6858000"/>
              <a:gd name="connsiteX231" fmla="*/ 4068162 w 7467600"/>
              <a:gd name="connsiteY231" fmla="*/ 3953394 h 6858000"/>
              <a:gd name="connsiteX232" fmla="*/ 3981416 w 7467600"/>
              <a:gd name="connsiteY232" fmla="*/ 3880482 h 6858000"/>
              <a:gd name="connsiteX233" fmla="*/ 3800147 w 7467600"/>
              <a:gd name="connsiteY233" fmla="*/ 3749872 h 6858000"/>
              <a:gd name="connsiteX234" fmla="*/ 3655073 w 7467600"/>
              <a:gd name="connsiteY234" fmla="*/ 3650884 h 6858000"/>
              <a:gd name="connsiteX235" fmla="*/ 3670252 w 7467600"/>
              <a:gd name="connsiteY235" fmla="*/ 3622798 h 6858000"/>
              <a:gd name="connsiteX236" fmla="*/ 3817258 w 7467600"/>
              <a:gd name="connsiteY236" fmla="*/ 3723577 h 6858000"/>
              <a:gd name="connsiteX237" fmla="*/ 4000461 w 7467600"/>
              <a:gd name="connsiteY237" fmla="*/ 3855966 h 6858000"/>
              <a:gd name="connsiteX238" fmla="*/ 4088180 w 7467600"/>
              <a:gd name="connsiteY238" fmla="*/ 3929774 h 6858000"/>
              <a:gd name="connsiteX239" fmla="*/ 4184555 w 7467600"/>
              <a:gd name="connsiteY239" fmla="*/ 4010683 h 6858000"/>
              <a:gd name="connsiteX240" fmla="*/ 4399563 w 7467600"/>
              <a:gd name="connsiteY240" fmla="*/ 4158106 h 6858000"/>
              <a:gd name="connsiteX241" fmla="*/ 4684469 w 7467600"/>
              <a:gd name="connsiteY241" fmla="*/ 4364680 h 6858000"/>
              <a:gd name="connsiteX242" fmla="*/ 4690271 w 7467600"/>
              <a:gd name="connsiteY242" fmla="*/ 4370034 h 6858000"/>
              <a:gd name="connsiteX243" fmla="*/ 4136093 w 7467600"/>
              <a:gd name="connsiteY243" fmla="*/ 3858466 h 6858000"/>
              <a:gd name="connsiteX244" fmla="*/ 3670252 w 7467600"/>
              <a:gd name="connsiteY244" fmla="*/ 3622798 h 6858000"/>
              <a:gd name="connsiteX245" fmla="*/ 4440129 w 7467600"/>
              <a:gd name="connsiteY245" fmla="*/ 3448571 h 6858000"/>
              <a:gd name="connsiteX246" fmla="*/ 4856525 w 7467600"/>
              <a:gd name="connsiteY246" fmla="*/ 3915351 h 6858000"/>
              <a:gd name="connsiteX247" fmla="*/ 5059055 w 7467600"/>
              <a:gd name="connsiteY247" fmla="*/ 4108918 h 6858000"/>
              <a:gd name="connsiteX248" fmla="*/ 5290070 w 7467600"/>
              <a:gd name="connsiteY248" fmla="*/ 4263619 h 6858000"/>
              <a:gd name="connsiteX249" fmla="*/ 4834991 w 7467600"/>
              <a:gd name="connsiteY249" fmla="*/ 3830985 h 6858000"/>
              <a:gd name="connsiteX250" fmla="*/ 4440129 w 7467600"/>
              <a:gd name="connsiteY250" fmla="*/ 3448571 h 6858000"/>
              <a:gd name="connsiteX251" fmla="*/ 4441737 w 7467600"/>
              <a:gd name="connsiteY251" fmla="*/ 3399734 h 6858000"/>
              <a:gd name="connsiteX252" fmla="*/ 4431236 w 7467600"/>
              <a:gd name="connsiteY252" fmla="*/ 3400954 h 6858000"/>
              <a:gd name="connsiteX253" fmla="*/ 4557150 w 7467600"/>
              <a:gd name="connsiteY253" fmla="*/ 3510023 h 6858000"/>
              <a:gd name="connsiteX254" fmla="*/ 4856936 w 7467600"/>
              <a:gd name="connsiteY254" fmla="*/ 3809146 h 6858000"/>
              <a:gd name="connsiteX255" fmla="*/ 5111996 w 7467600"/>
              <a:gd name="connsiteY255" fmla="*/ 4065759 h 6858000"/>
              <a:gd name="connsiteX256" fmla="*/ 5388878 w 7467600"/>
              <a:gd name="connsiteY256" fmla="*/ 4300185 h 6858000"/>
              <a:gd name="connsiteX257" fmla="*/ 5425556 w 7467600"/>
              <a:gd name="connsiteY257" fmla="*/ 4308967 h 6858000"/>
              <a:gd name="connsiteX258" fmla="*/ 4943646 w 7467600"/>
              <a:gd name="connsiteY258" fmla="*/ 3822916 h 6858000"/>
              <a:gd name="connsiteX259" fmla="*/ 4594837 w 7467600"/>
              <a:gd name="connsiteY259" fmla="*/ 3532274 h 6858000"/>
              <a:gd name="connsiteX260" fmla="*/ 4441737 w 7467600"/>
              <a:gd name="connsiteY260" fmla="*/ 3399734 h 6858000"/>
              <a:gd name="connsiteX261" fmla="*/ 5425834 w 7467600"/>
              <a:gd name="connsiteY261" fmla="*/ 3162785 h 6858000"/>
              <a:gd name="connsiteX262" fmla="*/ 5401644 w 7467600"/>
              <a:gd name="connsiteY262" fmla="*/ 3617847 h 6858000"/>
              <a:gd name="connsiteX263" fmla="*/ 5467256 w 7467600"/>
              <a:gd name="connsiteY263" fmla="*/ 4175494 h 6858000"/>
              <a:gd name="connsiteX264" fmla="*/ 5448069 w 7467600"/>
              <a:gd name="connsiteY264" fmla="*/ 3567554 h 6858000"/>
              <a:gd name="connsiteX265" fmla="*/ 5425834 w 7467600"/>
              <a:gd name="connsiteY265" fmla="*/ 3162785 h 6858000"/>
              <a:gd name="connsiteX266" fmla="*/ 1318687 w 7467600"/>
              <a:gd name="connsiteY266" fmla="*/ 3113840 h 6858000"/>
              <a:gd name="connsiteX267" fmla="*/ 1066793 w 7467600"/>
              <a:gd name="connsiteY267" fmla="*/ 3212171 h 6858000"/>
              <a:gd name="connsiteX268" fmla="*/ 993319 w 7467600"/>
              <a:gd name="connsiteY268" fmla="*/ 3247648 h 6858000"/>
              <a:gd name="connsiteX269" fmla="*/ 853081 w 7467600"/>
              <a:gd name="connsiteY269" fmla="*/ 3312410 h 6858000"/>
              <a:gd name="connsiteX270" fmla="*/ 805957 w 7467600"/>
              <a:gd name="connsiteY270" fmla="*/ 3330443 h 6858000"/>
              <a:gd name="connsiteX271" fmla="*/ 1318687 w 7467600"/>
              <a:gd name="connsiteY271" fmla="*/ 3113840 h 6858000"/>
              <a:gd name="connsiteX272" fmla="*/ 5453702 w 7467600"/>
              <a:gd name="connsiteY272" fmla="*/ 3090882 h 6858000"/>
              <a:gd name="connsiteX273" fmla="*/ 5480135 w 7467600"/>
              <a:gd name="connsiteY273" fmla="*/ 3565802 h 6858000"/>
              <a:gd name="connsiteX274" fmla="*/ 5499023 w 7467600"/>
              <a:gd name="connsiteY274" fmla="*/ 4166310 h 6858000"/>
              <a:gd name="connsiteX275" fmla="*/ 5547022 w 7467600"/>
              <a:gd name="connsiteY275" fmla="*/ 3607838 h 6858000"/>
              <a:gd name="connsiteX276" fmla="*/ 5515964 w 7467600"/>
              <a:gd name="connsiteY276" fmla="*/ 3378541 h 6858000"/>
              <a:gd name="connsiteX277" fmla="*/ 5453702 w 7467600"/>
              <a:gd name="connsiteY277" fmla="*/ 3090882 h 6858000"/>
              <a:gd name="connsiteX278" fmla="*/ 1238695 w 7467600"/>
              <a:gd name="connsiteY278" fmla="*/ 3076820 h 6858000"/>
              <a:gd name="connsiteX279" fmla="*/ 716371 w 7467600"/>
              <a:gd name="connsiteY279" fmla="*/ 3293249 h 6858000"/>
              <a:gd name="connsiteX280" fmla="*/ 579522 w 7467600"/>
              <a:gd name="connsiteY280" fmla="*/ 3371759 h 6858000"/>
              <a:gd name="connsiteX281" fmla="*/ 600288 w 7467600"/>
              <a:gd name="connsiteY281" fmla="*/ 3365555 h 6858000"/>
              <a:gd name="connsiteX282" fmla="*/ 840692 w 7467600"/>
              <a:gd name="connsiteY282" fmla="*/ 3284921 h 6858000"/>
              <a:gd name="connsiteX283" fmla="*/ 979248 w 7467600"/>
              <a:gd name="connsiteY283" fmla="*/ 3221003 h 6858000"/>
              <a:gd name="connsiteX284" fmla="*/ 1053282 w 7467600"/>
              <a:gd name="connsiteY284" fmla="*/ 3185247 h 6858000"/>
              <a:gd name="connsiteX285" fmla="*/ 1320603 w 7467600"/>
              <a:gd name="connsiteY285" fmla="*/ 3081281 h 6858000"/>
              <a:gd name="connsiteX286" fmla="*/ 1238695 w 7467600"/>
              <a:gd name="connsiteY286" fmla="*/ 3076820 h 6858000"/>
              <a:gd name="connsiteX287" fmla="*/ 5425627 w 7467600"/>
              <a:gd name="connsiteY287" fmla="*/ 2954192 h 6858000"/>
              <a:gd name="connsiteX288" fmla="*/ 5470770 w 7467600"/>
              <a:gd name="connsiteY288" fmla="*/ 3005435 h 6858000"/>
              <a:gd name="connsiteX289" fmla="*/ 5519779 w 7467600"/>
              <a:gd name="connsiteY289" fmla="*/ 4359223 h 6858000"/>
              <a:gd name="connsiteX290" fmla="*/ 5520293 w 7467600"/>
              <a:gd name="connsiteY290" fmla="*/ 4360602 h 6858000"/>
              <a:gd name="connsiteX291" fmla="*/ 5767221 w 7467600"/>
              <a:gd name="connsiteY291" fmla="*/ 4665564 h 6858000"/>
              <a:gd name="connsiteX292" fmla="*/ 6937169 w 7467600"/>
              <a:gd name="connsiteY292" fmla="*/ 4815941 h 6858000"/>
              <a:gd name="connsiteX293" fmla="*/ 6953922 w 7467600"/>
              <a:gd name="connsiteY293" fmla="*/ 4890068 h 6858000"/>
              <a:gd name="connsiteX294" fmla="*/ 6071359 w 7467600"/>
              <a:gd name="connsiteY294" fmla="*/ 4770770 h 6858000"/>
              <a:gd name="connsiteX295" fmla="*/ 6038839 w 7467600"/>
              <a:gd name="connsiteY295" fmla="*/ 4764474 h 6858000"/>
              <a:gd name="connsiteX296" fmla="*/ 6038706 w 7467600"/>
              <a:gd name="connsiteY296" fmla="*/ 4763847 h 6858000"/>
              <a:gd name="connsiteX297" fmla="*/ 6037784 w 7467600"/>
              <a:gd name="connsiteY297" fmla="*/ 4764270 h 6858000"/>
              <a:gd name="connsiteX298" fmla="*/ 6038839 w 7467600"/>
              <a:gd name="connsiteY298" fmla="*/ 4764474 h 6858000"/>
              <a:gd name="connsiteX299" fmla="*/ 6040338 w 7467600"/>
              <a:gd name="connsiteY299" fmla="*/ 4771418 h 6858000"/>
              <a:gd name="connsiteX300" fmla="*/ 6024488 w 7467600"/>
              <a:gd name="connsiteY300" fmla="*/ 4809903 h 6858000"/>
              <a:gd name="connsiteX301" fmla="*/ 5599771 w 7467600"/>
              <a:gd name="connsiteY301" fmla="*/ 5509652 h 6858000"/>
              <a:gd name="connsiteX302" fmla="*/ 5548843 w 7467600"/>
              <a:gd name="connsiteY302" fmla="*/ 5563845 h 6858000"/>
              <a:gd name="connsiteX303" fmla="*/ 5940952 w 7467600"/>
              <a:gd name="connsiteY303" fmla="*/ 6250028 h 6858000"/>
              <a:gd name="connsiteX304" fmla="*/ 6043441 w 7467600"/>
              <a:gd name="connsiteY304" fmla="*/ 6665847 h 6858000"/>
              <a:gd name="connsiteX305" fmla="*/ 6093432 w 7467600"/>
              <a:gd name="connsiteY305" fmla="*/ 6858000 h 6858000"/>
              <a:gd name="connsiteX306" fmla="*/ 6034344 w 7467600"/>
              <a:gd name="connsiteY306" fmla="*/ 6858000 h 6858000"/>
              <a:gd name="connsiteX307" fmla="*/ 6026679 w 7467600"/>
              <a:gd name="connsiteY307" fmla="*/ 6836959 h 6858000"/>
              <a:gd name="connsiteX308" fmla="*/ 5800441 w 7467600"/>
              <a:gd name="connsiteY308" fmla="*/ 6335286 h 6858000"/>
              <a:gd name="connsiteX309" fmla="*/ 5526562 w 7467600"/>
              <a:gd name="connsiteY309" fmla="*/ 5705388 h 6858000"/>
              <a:gd name="connsiteX310" fmla="*/ 5519640 w 7467600"/>
              <a:gd name="connsiteY310" fmla="*/ 5683774 h 6858000"/>
              <a:gd name="connsiteX311" fmla="*/ 5844559 w 7467600"/>
              <a:gd name="connsiteY311" fmla="*/ 6553349 h 6858000"/>
              <a:gd name="connsiteX312" fmla="*/ 5975994 w 7467600"/>
              <a:gd name="connsiteY312" fmla="*/ 6858000 h 6858000"/>
              <a:gd name="connsiteX313" fmla="*/ 5898547 w 7467600"/>
              <a:gd name="connsiteY313" fmla="*/ 6858000 h 6858000"/>
              <a:gd name="connsiteX314" fmla="*/ 5682041 w 7467600"/>
              <a:gd name="connsiteY314" fmla="*/ 6355860 h 6858000"/>
              <a:gd name="connsiteX315" fmla="*/ 5461758 w 7467600"/>
              <a:gd name="connsiteY315" fmla="*/ 5820220 h 6858000"/>
              <a:gd name="connsiteX316" fmla="*/ 5237282 w 7467600"/>
              <a:gd name="connsiteY316" fmla="*/ 6579086 h 6858000"/>
              <a:gd name="connsiteX317" fmla="*/ 5115009 w 7467600"/>
              <a:gd name="connsiteY317" fmla="*/ 6858000 h 6858000"/>
              <a:gd name="connsiteX318" fmla="*/ 5028074 w 7467600"/>
              <a:gd name="connsiteY318" fmla="*/ 6858000 h 6858000"/>
              <a:gd name="connsiteX319" fmla="*/ 5079508 w 7467600"/>
              <a:gd name="connsiteY319" fmla="*/ 6749074 h 6858000"/>
              <a:gd name="connsiteX320" fmla="*/ 5371846 w 7467600"/>
              <a:gd name="connsiteY320" fmla="*/ 5924413 h 6858000"/>
              <a:gd name="connsiteX321" fmla="*/ 5270512 w 7467600"/>
              <a:gd name="connsiteY321" fmla="*/ 6138975 h 6858000"/>
              <a:gd name="connsiteX322" fmla="*/ 5062409 w 7467600"/>
              <a:gd name="connsiteY322" fmla="*/ 6653544 h 6858000"/>
              <a:gd name="connsiteX323" fmla="*/ 5036628 w 7467600"/>
              <a:gd name="connsiteY323" fmla="*/ 6754247 h 6858000"/>
              <a:gd name="connsiteX324" fmla="*/ 5009112 w 7467600"/>
              <a:gd name="connsiteY324" fmla="*/ 6858000 h 6858000"/>
              <a:gd name="connsiteX325" fmla="*/ 4976679 w 7467600"/>
              <a:gd name="connsiteY325" fmla="*/ 6858000 h 6858000"/>
              <a:gd name="connsiteX326" fmla="*/ 5006537 w 7467600"/>
              <a:gd name="connsiteY326" fmla="*/ 6747068 h 6858000"/>
              <a:gd name="connsiteX327" fmla="*/ 5032723 w 7467600"/>
              <a:gd name="connsiteY327" fmla="*/ 6644957 h 6858000"/>
              <a:gd name="connsiteX328" fmla="*/ 5242949 w 7467600"/>
              <a:gd name="connsiteY328" fmla="*/ 6125175 h 6858000"/>
              <a:gd name="connsiteX329" fmla="*/ 5286321 w 7467600"/>
              <a:gd name="connsiteY329" fmla="*/ 6033555 h 6858000"/>
              <a:gd name="connsiteX330" fmla="*/ 5008210 w 7467600"/>
              <a:gd name="connsiteY330" fmla="*/ 6649194 h 6858000"/>
              <a:gd name="connsiteX331" fmla="*/ 4986321 w 7467600"/>
              <a:gd name="connsiteY331" fmla="*/ 6765687 h 6858000"/>
              <a:gd name="connsiteX332" fmla="*/ 4973474 w 7467600"/>
              <a:gd name="connsiteY332" fmla="*/ 6858000 h 6858000"/>
              <a:gd name="connsiteX333" fmla="*/ 4907178 w 7467600"/>
              <a:gd name="connsiteY333" fmla="*/ 6858000 h 6858000"/>
              <a:gd name="connsiteX334" fmla="*/ 4910810 w 7467600"/>
              <a:gd name="connsiteY334" fmla="*/ 6829660 h 6858000"/>
              <a:gd name="connsiteX335" fmla="*/ 4987461 w 7467600"/>
              <a:gd name="connsiteY335" fmla="*/ 6432994 h 6858000"/>
              <a:gd name="connsiteX336" fmla="*/ 5179262 w 7467600"/>
              <a:gd name="connsiteY336" fmla="*/ 6035044 h 6858000"/>
              <a:gd name="connsiteX337" fmla="*/ 4689678 w 7467600"/>
              <a:gd name="connsiteY337" fmla="*/ 6440241 h 6858000"/>
              <a:gd name="connsiteX338" fmla="*/ 4477543 w 7467600"/>
              <a:gd name="connsiteY338" fmla="*/ 6674836 h 6858000"/>
              <a:gd name="connsiteX339" fmla="*/ 4329957 w 7467600"/>
              <a:gd name="connsiteY339" fmla="*/ 6858000 h 6858000"/>
              <a:gd name="connsiteX340" fmla="*/ 4218595 w 7467600"/>
              <a:gd name="connsiteY340" fmla="*/ 6858000 h 6858000"/>
              <a:gd name="connsiteX341" fmla="*/ 4368888 w 7467600"/>
              <a:gd name="connsiteY341" fmla="*/ 6668412 h 6858000"/>
              <a:gd name="connsiteX342" fmla="*/ 4563091 w 7467600"/>
              <a:gd name="connsiteY342" fmla="*/ 6442508 h 6858000"/>
              <a:gd name="connsiteX343" fmla="*/ 5387324 w 7467600"/>
              <a:gd name="connsiteY343" fmla="*/ 5705830 h 6858000"/>
              <a:gd name="connsiteX344" fmla="*/ 5073620 w 7467600"/>
              <a:gd name="connsiteY344" fmla="*/ 5955437 h 6858000"/>
              <a:gd name="connsiteX345" fmla="*/ 4689789 w 7467600"/>
              <a:gd name="connsiteY345" fmla="*/ 6268382 h 6858000"/>
              <a:gd name="connsiteX346" fmla="*/ 4418722 w 7467600"/>
              <a:gd name="connsiteY346" fmla="*/ 6570886 h 6858000"/>
              <a:gd name="connsiteX347" fmla="*/ 4214944 w 7467600"/>
              <a:gd name="connsiteY347" fmla="*/ 6858000 h 6858000"/>
              <a:gd name="connsiteX348" fmla="*/ 4177898 w 7467600"/>
              <a:gd name="connsiteY348" fmla="*/ 6858000 h 6858000"/>
              <a:gd name="connsiteX349" fmla="*/ 4391597 w 7467600"/>
              <a:gd name="connsiteY349" fmla="*/ 6556370 h 6858000"/>
              <a:gd name="connsiteX350" fmla="*/ 4668889 w 7467600"/>
              <a:gd name="connsiteY350" fmla="*/ 6246399 h 6858000"/>
              <a:gd name="connsiteX351" fmla="*/ 5055427 w 7467600"/>
              <a:gd name="connsiteY351" fmla="*/ 5931476 h 6858000"/>
              <a:gd name="connsiteX352" fmla="*/ 5371814 w 7467600"/>
              <a:gd name="connsiteY352" fmla="*/ 5678975 h 6858000"/>
              <a:gd name="connsiteX353" fmla="*/ 4987918 w 7467600"/>
              <a:gd name="connsiteY353" fmla="*/ 5838701 h 6858000"/>
              <a:gd name="connsiteX354" fmla="*/ 4317146 w 7467600"/>
              <a:gd name="connsiteY354" fmla="*/ 6587716 h 6858000"/>
              <a:gd name="connsiteX355" fmla="*/ 4171627 w 7467600"/>
              <a:gd name="connsiteY355" fmla="*/ 6858000 h 6858000"/>
              <a:gd name="connsiteX356" fmla="*/ 4081585 w 7467600"/>
              <a:gd name="connsiteY356" fmla="*/ 6858000 h 6858000"/>
              <a:gd name="connsiteX357" fmla="*/ 4238603 w 7467600"/>
              <a:gd name="connsiteY357" fmla="*/ 6559341 h 6858000"/>
              <a:gd name="connsiteX358" fmla="*/ 4778333 w 7467600"/>
              <a:gd name="connsiteY358" fmla="*/ 5873626 h 6858000"/>
              <a:gd name="connsiteX359" fmla="*/ 5414185 w 7467600"/>
              <a:gd name="connsiteY359" fmla="*/ 5573882 h 6858000"/>
              <a:gd name="connsiteX360" fmla="*/ 5959648 w 7467600"/>
              <a:gd name="connsiteY360" fmla="*/ 4760797 h 6858000"/>
              <a:gd name="connsiteX361" fmla="*/ 5355019 w 7467600"/>
              <a:gd name="connsiteY361" fmla="*/ 4734672 h 6858000"/>
              <a:gd name="connsiteX362" fmla="*/ 5083565 w 7467600"/>
              <a:gd name="connsiteY362" fmla="*/ 5179121 h 6858000"/>
              <a:gd name="connsiteX363" fmla="*/ 4713577 w 7467600"/>
              <a:gd name="connsiteY363" fmla="*/ 5616803 h 6858000"/>
              <a:gd name="connsiteX364" fmla="*/ 3989559 w 7467600"/>
              <a:gd name="connsiteY364" fmla="*/ 6145945 h 6858000"/>
              <a:gd name="connsiteX365" fmla="*/ 3939824 w 7467600"/>
              <a:gd name="connsiteY365" fmla="*/ 6066900 h 6858000"/>
              <a:gd name="connsiteX366" fmla="*/ 4584537 w 7467600"/>
              <a:gd name="connsiteY366" fmla="*/ 5324826 h 6858000"/>
              <a:gd name="connsiteX367" fmla="*/ 5037105 w 7467600"/>
              <a:gd name="connsiteY367" fmla="*/ 5088765 h 6858000"/>
              <a:gd name="connsiteX368" fmla="*/ 5039930 w 7467600"/>
              <a:gd name="connsiteY368" fmla="*/ 5089585 h 6858000"/>
              <a:gd name="connsiteX369" fmla="*/ 5263764 w 7467600"/>
              <a:gd name="connsiteY369" fmla="*/ 4735525 h 6858000"/>
              <a:gd name="connsiteX370" fmla="*/ 4086300 w 7467600"/>
              <a:gd name="connsiteY370" fmla="*/ 4884599 h 6858000"/>
              <a:gd name="connsiteX371" fmla="*/ 4085485 w 7467600"/>
              <a:gd name="connsiteY371" fmla="*/ 4899070 h 6858000"/>
              <a:gd name="connsiteX372" fmla="*/ 3871915 w 7467600"/>
              <a:gd name="connsiteY372" fmla="*/ 5253645 h 6858000"/>
              <a:gd name="connsiteX373" fmla="*/ 3799374 w 7467600"/>
              <a:gd name="connsiteY373" fmla="*/ 5466127 h 6858000"/>
              <a:gd name="connsiteX374" fmla="*/ 3498850 w 7467600"/>
              <a:gd name="connsiteY374" fmla="*/ 6661888 h 6858000"/>
              <a:gd name="connsiteX375" fmla="*/ 3399216 w 7467600"/>
              <a:gd name="connsiteY375" fmla="*/ 6858000 h 6858000"/>
              <a:gd name="connsiteX376" fmla="*/ 3303688 w 7467600"/>
              <a:gd name="connsiteY376" fmla="*/ 6858000 h 6858000"/>
              <a:gd name="connsiteX377" fmla="*/ 3391774 w 7467600"/>
              <a:gd name="connsiteY377" fmla="*/ 6697181 h 6858000"/>
              <a:gd name="connsiteX378" fmla="*/ 3735540 w 7467600"/>
              <a:gd name="connsiteY378" fmla="*/ 5546923 h 6858000"/>
              <a:gd name="connsiteX379" fmla="*/ 3729438 w 7467600"/>
              <a:gd name="connsiteY379" fmla="*/ 5569058 h 6858000"/>
              <a:gd name="connsiteX380" fmla="*/ 3707782 w 7467600"/>
              <a:gd name="connsiteY380" fmla="*/ 5644908 h 6858000"/>
              <a:gd name="connsiteX381" fmla="*/ 3583827 w 7467600"/>
              <a:gd name="connsiteY381" fmla="*/ 6039215 h 6858000"/>
              <a:gd name="connsiteX382" fmla="*/ 3547861 w 7467600"/>
              <a:gd name="connsiteY382" fmla="*/ 6129609 h 6858000"/>
              <a:gd name="connsiteX383" fmla="*/ 3490905 w 7467600"/>
              <a:gd name="connsiteY383" fmla="*/ 6277660 h 6858000"/>
              <a:gd name="connsiteX384" fmla="*/ 3455859 w 7467600"/>
              <a:gd name="connsiteY384" fmla="*/ 6391301 h 6858000"/>
              <a:gd name="connsiteX385" fmla="*/ 3429112 w 7467600"/>
              <a:gd name="connsiteY385" fmla="*/ 6479469 h 6858000"/>
              <a:gd name="connsiteX386" fmla="*/ 3304862 w 7467600"/>
              <a:gd name="connsiteY386" fmla="*/ 6796476 h 6858000"/>
              <a:gd name="connsiteX387" fmla="*/ 3276071 w 7467600"/>
              <a:gd name="connsiteY387" fmla="*/ 6858000 h 6858000"/>
              <a:gd name="connsiteX388" fmla="*/ 3240805 w 7467600"/>
              <a:gd name="connsiteY388" fmla="*/ 6858000 h 6858000"/>
              <a:gd name="connsiteX389" fmla="*/ 3275917 w 7467600"/>
              <a:gd name="connsiteY389" fmla="*/ 6783192 h 6858000"/>
              <a:gd name="connsiteX390" fmla="*/ 3399358 w 7467600"/>
              <a:gd name="connsiteY390" fmla="*/ 6469011 h 6858000"/>
              <a:gd name="connsiteX391" fmla="*/ 3425650 w 7467600"/>
              <a:gd name="connsiteY391" fmla="*/ 6381333 h 6858000"/>
              <a:gd name="connsiteX392" fmla="*/ 3460661 w 7467600"/>
              <a:gd name="connsiteY392" fmla="*/ 6266763 h 6858000"/>
              <a:gd name="connsiteX393" fmla="*/ 3518021 w 7467600"/>
              <a:gd name="connsiteY393" fmla="*/ 6117298 h 6858000"/>
              <a:gd name="connsiteX394" fmla="*/ 3554035 w 7467600"/>
              <a:gd name="connsiteY394" fmla="*/ 6027832 h 6858000"/>
              <a:gd name="connsiteX395" fmla="*/ 3677174 w 7467600"/>
              <a:gd name="connsiteY395" fmla="*/ 5636351 h 6858000"/>
              <a:gd name="connsiteX396" fmla="*/ 3698819 w 7467600"/>
              <a:gd name="connsiteY396" fmla="*/ 5560503 h 6858000"/>
              <a:gd name="connsiteX397" fmla="*/ 3702094 w 7467600"/>
              <a:gd name="connsiteY397" fmla="*/ 5549194 h 6858000"/>
              <a:gd name="connsiteX398" fmla="*/ 3398355 w 7467600"/>
              <a:gd name="connsiteY398" fmla="*/ 6094603 h 6858000"/>
              <a:gd name="connsiteX399" fmla="*/ 3193941 w 7467600"/>
              <a:gd name="connsiteY399" fmla="*/ 6798775 h 6858000"/>
              <a:gd name="connsiteX400" fmla="*/ 3184140 w 7467600"/>
              <a:gd name="connsiteY400" fmla="*/ 6858000 h 6858000"/>
              <a:gd name="connsiteX401" fmla="*/ 3099978 w 7467600"/>
              <a:gd name="connsiteY401" fmla="*/ 6858000 h 6858000"/>
              <a:gd name="connsiteX402" fmla="*/ 3101556 w 7467600"/>
              <a:gd name="connsiteY402" fmla="*/ 6843337 h 6858000"/>
              <a:gd name="connsiteX403" fmla="*/ 3370162 w 7467600"/>
              <a:gd name="connsiteY403" fmla="*/ 5785550 h 6858000"/>
              <a:gd name="connsiteX404" fmla="*/ 3746477 w 7467600"/>
              <a:gd name="connsiteY404" fmla="*/ 5377889 h 6858000"/>
              <a:gd name="connsiteX405" fmla="*/ 3863399 w 7467600"/>
              <a:gd name="connsiteY405" fmla="*/ 5087257 h 6858000"/>
              <a:gd name="connsiteX406" fmla="*/ 3968712 w 7467600"/>
              <a:gd name="connsiteY406" fmla="*/ 4913989 h 6858000"/>
              <a:gd name="connsiteX407" fmla="*/ 2792390 w 7467600"/>
              <a:gd name="connsiteY407" fmla="*/ 5382974 h 6858000"/>
              <a:gd name="connsiteX408" fmla="*/ 2714982 w 7467600"/>
              <a:gd name="connsiteY408" fmla="*/ 5427051 h 6858000"/>
              <a:gd name="connsiteX409" fmla="*/ 2813361 w 7467600"/>
              <a:gd name="connsiteY409" fmla="*/ 6023912 h 6858000"/>
              <a:gd name="connsiteX410" fmla="*/ 2688430 w 7467600"/>
              <a:gd name="connsiteY410" fmla="*/ 6801564 h 6858000"/>
              <a:gd name="connsiteX411" fmla="*/ 2629626 w 7467600"/>
              <a:gd name="connsiteY411" fmla="*/ 6763394 h 6858000"/>
              <a:gd name="connsiteX412" fmla="*/ 2565328 w 7467600"/>
              <a:gd name="connsiteY412" fmla="*/ 5516399 h 6858000"/>
              <a:gd name="connsiteX413" fmla="*/ 1922999 w 7467600"/>
              <a:gd name="connsiteY413" fmla="*/ 5980343 h 6858000"/>
              <a:gd name="connsiteX414" fmla="*/ 1950261 w 7467600"/>
              <a:gd name="connsiteY414" fmla="*/ 6405858 h 6858000"/>
              <a:gd name="connsiteX415" fmla="*/ 2365554 w 7467600"/>
              <a:gd name="connsiteY415" fmla="*/ 6759107 h 6858000"/>
              <a:gd name="connsiteX416" fmla="*/ 2424142 w 7467600"/>
              <a:gd name="connsiteY416" fmla="*/ 6858000 h 6858000"/>
              <a:gd name="connsiteX417" fmla="*/ 2395994 w 7467600"/>
              <a:gd name="connsiteY417" fmla="*/ 6858000 h 6858000"/>
              <a:gd name="connsiteX418" fmla="*/ 2392863 w 7467600"/>
              <a:gd name="connsiteY418" fmla="*/ 6852964 h 6858000"/>
              <a:gd name="connsiteX419" fmla="*/ 2017589 w 7467600"/>
              <a:gd name="connsiteY419" fmla="*/ 6493982 h 6858000"/>
              <a:gd name="connsiteX420" fmla="*/ 2147336 w 7467600"/>
              <a:gd name="connsiteY420" fmla="*/ 6594052 h 6858000"/>
              <a:gd name="connsiteX421" fmla="*/ 2207047 w 7467600"/>
              <a:gd name="connsiteY421" fmla="*/ 6654540 h 6858000"/>
              <a:gd name="connsiteX422" fmla="*/ 2299106 w 7467600"/>
              <a:gd name="connsiteY422" fmla="*/ 6778931 h 6858000"/>
              <a:gd name="connsiteX423" fmla="*/ 2314430 w 7467600"/>
              <a:gd name="connsiteY423" fmla="*/ 6801144 h 6858000"/>
              <a:gd name="connsiteX424" fmla="*/ 2352406 w 7467600"/>
              <a:gd name="connsiteY424" fmla="*/ 6858000 h 6858000"/>
              <a:gd name="connsiteX425" fmla="*/ 2314492 w 7467600"/>
              <a:gd name="connsiteY425" fmla="*/ 6858000 h 6858000"/>
              <a:gd name="connsiteX426" fmla="*/ 2288095 w 7467600"/>
              <a:gd name="connsiteY426" fmla="*/ 6818030 h 6858000"/>
              <a:gd name="connsiteX427" fmla="*/ 2272768 w 7467600"/>
              <a:gd name="connsiteY427" fmla="*/ 6795822 h 6858000"/>
              <a:gd name="connsiteX428" fmla="*/ 2182715 w 7467600"/>
              <a:gd name="connsiteY428" fmla="*/ 6675071 h 6858000"/>
              <a:gd name="connsiteX429" fmla="*/ 2032061 w 7467600"/>
              <a:gd name="connsiteY429" fmla="*/ 6541380 h 6858000"/>
              <a:gd name="connsiteX430" fmla="*/ 2257220 w 7467600"/>
              <a:gd name="connsiteY430" fmla="*/ 6826257 h 6858000"/>
              <a:gd name="connsiteX431" fmla="*/ 2281324 w 7467600"/>
              <a:gd name="connsiteY431" fmla="*/ 6858000 h 6858000"/>
              <a:gd name="connsiteX432" fmla="*/ 2242860 w 7467600"/>
              <a:gd name="connsiteY432" fmla="*/ 6858000 h 6858000"/>
              <a:gd name="connsiteX433" fmla="*/ 2232818 w 7467600"/>
              <a:gd name="connsiteY433" fmla="*/ 6844926 h 6858000"/>
              <a:gd name="connsiteX434" fmla="*/ 1990172 w 7467600"/>
              <a:gd name="connsiteY434" fmla="*/ 6542121 h 6858000"/>
              <a:gd name="connsiteX435" fmla="*/ 2124090 w 7467600"/>
              <a:gd name="connsiteY435" fmla="*/ 6761017 h 6858000"/>
              <a:gd name="connsiteX436" fmla="*/ 2200380 w 7467600"/>
              <a:gd name="connsiteY436" fmla="*/ 6858000 h 6858000"/>
              <a:gd name="connsiteX437" fmla="*/ 2147507 w 7467600"/>
              <a:gd name="connsiteY437" fmla="*/ 6858000 h 6858000"/>
              <a:gd name="connsiteX438" fmla="*/ 2070668 w 7467600"/>
              <a:gd name="connsiteY438" fmla="*/ 6761520 h 6858000"/>
              <a:gd name="connsiteX439" fmla="*/ 1975142 w 7467600"/>
              <a:gd name="connsiteY439" fmla="*/ 6585570 h 6858000"/>
              <a:gd name="connsiteX440" fmla="*/ 2050035 w 7467600"/>
              <a:gd name="connsiteY440" fmla="*/ 6813345 h 6858000"/>
              <a:gd name="connsiteX441" fmla="*/ 2063025 w 7467600"/>
              <a:gd name="connsiteY441" fmla="*/ 6858000 h 6858000"/>
              <a:gd name="connsiteX442" fmla="*/ 2021675 w 7467600"/>
              <a:gd name="connsiteY442" fmla="*/ 6858000 h 6858000"/>
              <a:gd name="connsiteX443" fmla="*/ 2019308 w 7467600"/>
              <a:gd name="connsiteY443" fmla="*/ 6847118 h 6858000"/>
              <a:gd name="connsiteX444" fmla="*/ 1938835 w 7467600"/>
              <a:gd name="connsiteY444" fmla="*/ 6551160 h 6858000"/>
              <a:gd name="connsiteX445" fmla="*/ 1953230 w 7467600"/>
              <a:gd name="connsiteY445" fmla="*/ 6759699 h 6858000"/>
              <a:gd name="connsiteX446" fmla="*/ 1956763 w 7467600"/>
              <a:gd name="connsiteY446" fmla="*/ 6778191 h 6858000"/>
              <a:gd name="connsiteX447" fmla="*/ 1967925 w 7467600"/>
              <a:gd name="connsiteY447" fmla="*/ 6858000 h 6858000"/>
              <a:gd name="connsiteX448" fmla="*/ 1936622 w 7467600"/>
              <a:gd name="connsiteY448" fmla="*/ 6858000 h 6858000"/>
              <a:gd name="connsiteX449" fmla="*/ 1926261 w 7467600"/>
              <a:gd name="connsiteY449" fmla="*/ 6784064 h 6858000"/>
              <a:gd name="connsiteX450" fmla="*/ 1922724 w 7467600"/>
              <a:gd name="connsiteY450" fmla="*/ 6765577 h 6858000"/>
              <a:gd name="connsiteX451" fmla="*/ 1904650 w 7467600"/>
              <a:gd name="connsiteY451" fmla="*/ 6639616 h 6858000"/>
              <a:gd name="connsiteX452" fmla="*/ 1885273 w 7467600"/>
              <a:gd name="connsiteY452" fmla="*/ 6858000 h 6858000"/>
              <a:gd name="connsiteX453" fmla="*/ 1854363 w 7467600"/>
              <a:gd name="connsiteY453" fmla="*/ 6858000 h 6858000"/>
              <a:gd name="connsiteX454" fmla="*/ 1880391 w 7467600"/>
              <a:gd name="connsiteY454" fmla="*/ 6603796 h 6858000"/>
              <a:gd name="connsiteX455" fmla="*/ 1818273 w 7467600"/>
              <a:gd name="connsiteY455" fmla="*/ 6715729 h 6858000"/>
              <a:gd name="connsiteX456" fmla="*/ 1794691 w 7467600"/>
              <a:gd name="connsiteY456" fmla="*/ 6843239 h 6858000"/>
              <a:gd name="connsiteX457" fmla="*/ 1794914 w 7467600"/>
              <a:gd name="connsiteY457" fmla="*/ 6858000 h 6858000"/>
              <a:gd name="connsiteX458" fmla="*/ 1746128 w 7467600"/>
              <a:gd name="connsiteY458" fmla="*/ 6858000 h 6858000"/>
              <a:gd name="connsiteX459" fmla="*/ 1753934 w 7467600"/>
              <a:gd name="connsiteY459" fmla="*/ 6724796 h 6858000"/>
              <a:gd name="connsiteX460" fmla="*/ 1792053 w 7467600"/>
              <a:gd name="connsiteY460" fmla="*/ 6572396 h 6858000"/>
              <a:gd name="connsiteX461" fmla="*/ 1862248 w 7467600"/>
              <a:gd name="connsiteY461" fmla="*/ 6266397 h 6858000"/>
              <a:gd name="connsiteX462" fmla="*/ 1862250 w 7467600"/>
              <a:gd name="connsiteY462" fmla="*/ 6033531 h 6858000"/>
              <a:gd name="connsiteX463" fmla="*/ 1211999 w 7467600"/>
              <a:gd name="connsiteY463" fmla="*/ 6683610 h 6858000"/>
              <a:gd name="connsiteX464" fmla="*/ 1213266 w 7467600"/>
              <a:gd name="connsiteY464" fmla="*/ 6691947 h 6858000"/>
              <a:gd name="connsiteX465" fmla="*/ 1203370 w 7467600"/>
              <a:gd name="connsiteY465" fmla="*/ 6850676 h 6858000"/>
              <a:gd name="connsiteX466" fmla="*/ 1203671 w 7467600"/>
              <a:gd name="connsiteY466" fmla="*/ 6858000 h 6858000"/>
              <a:gd name="connsiteX467" fmla="*/ 1143180 w 7467600"/>
              <a:gd name="connsiteY467" fmla="*/ 6858000 h 6858000"/>
              <a:gd name="connsiteX468" fmla="*/ 1142176 w 7467600"/>
              <a:gd name="connsiteY468" fmla="*/ 6766045 h 6858000"/>
              <a:gd name="connsiteX469" fmla="*/ 1067484 w 7467600"/>
              <a:gd name="connsiteY469" fmla="*/ 6858000 h 6858000"/>
              <a:gd name="connsiteX470" fmla="*/ 953928 w 7467600"/>
              <a:gd name="connsiteY470" fmla="*/ 6858000 h 6858000"/>
              <a:gd name="connsiteX471" fmla="*/ 959715 w 7467600"/>
              <a:gd name="connsiteY471" fmla="*/ 6850185 h 6858000"/>
              <a:gd name="connsiteX472" fmla="*/ 1483788 w 7467600"/>
              <a:gd name="connsiteY472" fmla="*/ 6259174 h 6858000"/>
              <a:gd name="connsiteX473" fmla="*/ 1100671 w 7467600"/>
              <a:gd name="connsiteY473" fmla="*/ 6252137 h 6858000"/>
              <a:gd name="connsiteX474" fmla="*/ 1090144 w 7467600"/>
              <a:gd name="connsiteY474" fmla="*/ 6256748 h 6858000"/>
              <a:gd name="connsiteX475" fmla="*/ 1095872 w 7467600"/>
              <a:gd name="connsiteY475" fmla="*/ 6271892 h 6858000"/>
              <a:gd name="connsiteX476" fmla="*/ 262785 w 7467600"/>
              <a:gd name="connsiteY476" fmla="*/ 6845450 h 6858000"/>
              <a:gd name="connsiteX477" fmla="*/ 209968 w 7467600"/>
              <a:gd name="connsiteY477" fmla="*/ 6770713 h 6858000"/>
              <a:gd name="connsiteX478" fmla="*/ 873460 w 7467600"/>
              <a:gd name="connsiteY478" fmla="*/ 6253768 h 6858000"/>
              <a:gd name="connsiteX479" fmla="*/ 192686 w 7467600"/>
              <a:gd name="connsiteY479" fmla="*/ 5849257 h 6858000"/>
              <a:gd name="connsiteX480" fmla="*/ 4696 w 7467600"/>
              <a:gd name="connsiteY480" fmla="*/ 5697668 h 6858000"/>
              <a:gd name="connsiteX481" fmla="*/ 0 w 7467600"/>
              <a:gd name="connsiteY481" fmla="*/ 5689984 h 6858000"/>
              <a:gd name="connsiteX482" fmla="*/ 0 w 7467600"/>
              <a:gd name="connsiteY482" fmla="*/ 5513472 h 6858000"/>
              <a:gd name="connsiteX483" fmla="*/ 174101 w 7467600"/>
              <a:gd name="connsiteY483" fmla="*/ 5620277 h 6858000"/>
              <a:gd name="connsiteX484" fmla="*/ 891800 w 7467600"/>
              <a:gd name="connsiteY484" fmla="*/ 6036935 h 6858000"/>
              <a:gd name="connsiteX485" fmla="*/ 1072219 w 7467600"/>
              <a:gd name="connsiteY485" fmla="*/ 6169443 h 6858000"/>
              <a:gd name="connsiteX486" fmla="*/ 1074117 w 7467600"/>
              <a:gd name="connsiteY486" fmla="*/ 6170301 h 6858000"/>
              <a:gd name="connsiteX487" fmla="*/ 1083114 w 7467600"/>
              <a:gd name="connsiteY487" fmla="*/ 6174131 h 6858000"/>
              <a:gd name="connsiteX488" fmla="*/ 1543010 w 7467600"/>
              <a:gd name="connsiteY488" fmla="*/ 6191140 h 6858000"/>
              <a:gd name="connsiteX489" fmla="*/ 1551080 w 7467600"/>
              <a:gd name="connsiteY489" fmla="*/ 6195006 h 6858000"/>
              <a:gd name="connsiteX490" fmla="*/ 2345443 w 7467600"/>
              <a:gd name="connsiteY490" fmla="*/ 5549882 h 6858000"/>
              <a:gd name="connsiteX491" fmla="*/ 1721499 w 7467600"/>
              <a:gd name="connsiteY491" fmla="*/ 5599969 h 6858000"/>
              <a:gd name="connsiteX492" fmla="*/ 767716 w 7467600"/>
              <a:gd name="connsiteY492" fmla="*/ 5472768 h 6858000"/>
              <a:gd name="connsiteX493" fmla="*/ 722147 w 7467600"/>
              <a:gd name="connsiteY493" fmla="*/ 5393091 h 6858000"/>
              <a:gd name="connsiteX494" fmla="*/ 1485552 w 7467600"/>
              <a:gd name="connsiteY494" fmla="*/ 5313202 h 6858000"/>
              <a:gd name="connsiteX495" fmla="*/ 2143004 w 7467600"/>
              <a:gd name="connsiteY495" fmla="*/ 5402420 h 6858000"/>
              <a:gd name="connsiteX496" fmla="*/ 1933391 w 7467600"/>
              <a:gd name="connsiteY496" fmla="*/ 5156971 h 6858000"/>
              <a:gd name="connsiteX497" fmla="*/ 1827118 w 7467600"/>
              <a:gd name="connsiteY497" fmla="*/ 4968410 h 6858000"/>
              <a:gd name="connsiteX498" fmla="*/ 1837349 w 7467600"/>
              <a:gd name="connsiteY498" fmla="*/ 4956357 h 6858000"/>
              <a:gd name="connsiteX499" fmla="*/ 2162835 w 7467600"/>
              <a:gd name="connsiteY499" fmla="*/ 5187853 h 6858000"/>
              <a:gd name="connsiteX500" fmla="*/ 2257167 w 7467600"/>
              <a:gd name="connsiteY500" fmla="*/ 5462123 h 6858000"/>
              <a:gd name="connsiteX501" fmla="*/ 2261598 w 7467600"/>
              <a:gd name="connsiteY501" fmla="*/ 5467998 h 6858000"/>
              <a:gd name="connsiteX502" fmla="*/ 2437177 w 7467600"/>
              <a:gd name="connsiteY502" fmla="*/ 5479608 h 6858000"/>
              <a:gd name="connsiteX503" fmla="*/ 2445247 w 7467600"/>
              <a:gd name="connsiteY503" fmla="*/ 5483476 h 6858000"/>
              <a:gd name="connsiteX504" fmla="*/ 2743626 w 7467600"/>
              <a:gd name="connsiteY504" fmla="*/ 5304819 h 6858000"/>
              <a:gd name="connsiteX505" fmla="*/ 3048102 w 7467600"/>
              <a:gd name="connsiteY505" fmla="*/ 5150595 h 6858000"/>
              <a:gd name="connsiteX506" fmla="*/ 1799414 w 7467600"/>
              <a:gd name="connsiteY506" fmla="*/ 4694732 h 6858000"/>
              <a:gd name="connsiteX507" fmla="*/ 1771735 w 7467600"/>
              <a:gd name="connsiteY507" fmla="*/ 4619929 h 6858000"/>
              <a:gd name="connsiteX508" fmla="*/ 3104273 w 7467600"/>
              <a:gd name="connsiteY508" fmla="*/ 5076159 h 6858000"/>
              <a:gd name="connsiteX509" fmla="*/ 3113245 w 7467600"/>
              <a:gd name="connsiteY509" fmla="*/ 5090705 h 6858000"/>
              <a:gd name="connsiteX510" fmla="*/ 3126294 w 7467600"/>
              <a:gd name="connsiteY510" fmla="*/ 5114400 h 6858000"/>
              <a:gd name="connsiteX511" fmla="*/ 3937433 w 7467600"/>
              <a:gd name="connsiteY511" fmla="*/ 4830473 h 6858000"/>
              <a:gd name="connsiteX512" fmla="*/ 3590475 w 7467600"/>
              <a:gd name="connsiteY512" fmla="*/ 4597974 h 6858000"/>
              <a:gd name="connsiteX513" fmla="*/ 3100264 w 7467600"/>
              <a:gd name="connsiteY513" fmla="*/ 4579845 h 6858000"/>
              <a:gd name="connsiteX514" fmla="*/ 2183576 w 7467600"/>
              <a:gd name="connsiteY514" fmla="*/ 4227150 h 6858000"/>
              <a:gd name="connsiteX515" fmla="*/ 2151029 w 7467600"/>
              <a:gd name="connsiteY515" fmla="*/ 4146947 h 6858000"/>
              <a:gd name="connsiteX516" fmla="*/ 3563434 w 7467600"/>
              <a:gd name="connsiteY516" fmla="*/ 4469115 h 6858000"/>
              <a:gd name="connsiteX517" fmla="*/ 3177952 w 7467600"/>
              <a:gd name="connsiteY517" fmla="*/ 3657386 h 6858000"/>
              <a:gd name="connsiteX518" fmla="*/ 3189263 w 7467600"/>
              <a:gd name="connsiteY518" fmla="*/ 3625726 h 6858000"/>
              <a:gd name="connsiteX519" fmla="*/ 3560912 w 7467600"/>
              <a:gd name="connsiteY519" fmla="*/ 4079863 h 6858000"/>
              <a:gd name="connsiteX520" fmla="*/ 3626636 w 7467600"/>
              <a:gd name="connsiteY520" fmla="*/ 4512230 h 6858000"/>
              <a:gd name="connsiteX521" fmla="*/ 3653088 w 7467600"/>
              <a:gd name="connsiteY521" fmla="*/ 4521417 h 6858000"/>
              <a:gd name="connsiteX522" fmla="*/ 3988128 w 7467600"/>
              <a:gd name="connsiteY522" fmla="*/ 4817267 h 6858000"/>
              <a:gd name="connsiteX523" fmla="*/ 4830582 w 7467600"/>
              <a:gd name="connsiteY523" fmla="*/ 4676000 h 6858000"/>
              <a:gd name="connsiteX524" fmla="*/ 4830100 w 7467600"/>
              <a:gd name="connsiteY524" fmla="*/ 4675554 h 6858000"/>
              <a:gd name="connsiteX525" fmla="*/ 4036318 w 7467600"/>
              <a:gd name="connsiteY525" fmla="*/ 4147013 h 6858000"/>
              <a:gd name="connsiteX526" fmla="*/ 3432098 w 7467600"/>
              <a:gd name="connsiteY526" fmla="*/ 3537312 h 6858000"/>
              <a:gd name="connsiteX527" fmla="*/ 3446761 w 7467600"/>
              <a:gd name="connsiteY527" fmla="*/ 3461278 h 6858000"/>
              <a:gd name="connsiteX528" fmla="*/ 4419733 w 7467600"/>
              <a:gd name="connsiteY528" fmla="*/ 3963555 h 6858000"/>
              <a:gd name="connsiteX529" fmla="*/ 4781371 w 7467600"/>
              <a:gd name="connsiteY529" fmla="*/ 4458604 h 6858000"/>
              <a:gd name="connsiteX530" fmla="*/ 4780440 w 7467600"/>
              <a:gd name="connsiteY530" fmla="*/ 4470290 h 6858000"/>
              <a:gd name="connsiteX531" fmla="*/ 4898954 w 7467600"/>
              <a:gd name="connsiteY531" fmla="*/ 4662092 h 6858000"/>
              <a:gd name="connsiteX532" fmla="*/ 4900699 w 7467600"/>
              <a:gd name="connsiteY532" fmla="*/ 4670867 h 6858000"/>
              <a:gd name="connsiteX533" fmla="*/ 5714511 w 7467600"/>
              <a:gd name="connsiteY533" fmla="*/ 4663483 h 6858000"/>
              <a:gd name="connsiteX534" fmla="*/ 5464793 w 7467600"/>
              <a:gd name="connsiteY534" fmla="*/ 4393556 h 6858000"/>
              <a:gd name="connsiteX535" fmla="*/ 5461897 w 7467600"/>
              <a:gd name="connsiteY535" fmla="*/ 4390879 h 6858000"/>
              <a:gd name="connsiteX536" fmla="*/ 4294126 w 7467600"/>
              <a:gd name="connsiteY536" fmla="*/ 3303048 h 6858000"/>
              <a:gd name="connsiteX537" fmla="*/ 4305321 w 7467600"/>
              <a:gd name="connsiteY537" fmla="*/ 3256953 h 6858000"/>
              <a:gd name="connsiteX538" fmla="*/ 4949299 w 7467600"/>
              <a:gd name="connsiteY538" fmla="*/ 3766336 h 6858000"/>
              <a:gd name="connsiteX539" fmla="*/ 5291452 w 7467600"/>
              <a:gd name="connsiteY539" fmla="*/ 4076801 h 6858000"/>
              <a:gd name="connsiteX540" fmla="*/ 5434998 w 7467600"/>
              <a:gd name="connsiteY540" fmla="*/ 4254100 h 6858000"/>
              <a:gd name="connsiteX541" fmla="*/ 5351015 w 7467600"/>
              <a:gd name="connsiteY541" fmla="*/ 3760989 h 6858000"/>
              <a:gd name="connsiteX542" fmla="*/ 5413780 w 7467600"/>
              <a:gd name="connsiteY542" fmla="*/ 2966265 h 6858000"/>
              <a:gd name="connsiteX543" fmla="*/ 5425627 w 7467600"/>
              <a:gd name="connsiteY543" fmla="*/ 2954192 h 6858000"/>
              <a:gd name="connsiteX544" fmla="*/ 6604735 w 7467600"/>
              <a:gd name="connsiteY544" fmla="*/ 2041381 h 6858000"/>
              <a:gd name="connsiteX545" fmla="*/ 7204487 w 7467600"/>
              <a:gd name="connsiteY545" fmla="*/ 2742112 h 6858000"/>
              <a:gd name="connsiteX546" fmla="*/ 7131592 w 7467600"/>
              <a:gd name="connsiteY546" fmla="*/ 2672096 h 6858000"/>
              <a:gd name="connsiteX547" fmla="*/ 6996344 w 7467600"/>
              <a:gd name="connsiteY547" fmla="*/ 2518310 h 6858000"/>
              <a:gd name="connsiteX548" fmla="*/ 6735495 w 7467600"/>
              <a:gd name="connsiteY548" fmla="*/ 2196890 h 6858000"/>
              <a:gd name="connsiteX549" fmla="*/ 6721901 w 7467600"/>
              <a:gd name="connsiteY549" fmla="*/ 2179274 h 6858000"/>
              <a:gd name="connsiteX550" fmla="*/ 6604735 w 7467600"/>
              <a:gd name="connsiteY550" fmla="*/ 2041381 h 6858000"/>
              <a:gd name="connsiteX551" fmla="*/ 6591670 w 7467600"/>
              <a:gd name="connsiteY551" fmla="*/ 1988277 h 6858000"/>
              <a:gd name="connsiteX552" fmla="*/ 6747349 w 7467600"/>
              <a:gd name="connsiteY552" fmla="*/ 2160069 h 6858000"/>
              <a:gd name="connsiteX553" fmla="*/ 6760943 w 7467600"/>
              <a:gd name="connsiteY553" fmla="*/ 2177686 h 6858000"/>
              <a:gd name="connsiteX554" fmla="*/ 7021065 w 7467600"/>
              <a:gd name="connsiteY554" fmla="*/ 2498102 h 6858000"/>
              <a:gd name="connsiteX555" fmla="*/ 7155223 w 7467600"/>
              <a:gd name="connsiteY555" fmla="*/ 2650386 h 6858000"/>
              <a:gd name="connsiteX556" fmla="*/ 7203167 w 7467600"/>
              <a:gd name="connsiteY556" fmla="*/ 2697288 h 6858000"/>
              <a:gd name="connsiteX557" fmla="*/ 6937703 w 7467600"/>
              <a:gd name="connsiteY557" fmla="*/ 2321981 h 6858000"/>
              <a:gd name="connsiteX558" fmla="*/ 6591670 w 7467600"/>
              <a:gd name="connsiteY558" fmla="*/ 1988277 h 6858000"/>
              <a:gd name="connsiteX559" fmla="*/ 5798671 w 7467600"/>
              <a:gd name="connsiteY559" fmla="*/ 1981601 h 6858000"/>
              <a:gd name="connsiteX560" fmla="*/ 5754709 w 7467600"/>
              <a:gd name="connsiteY560" fmla="*/ 2071454 h 6858000"/>
              <a:gd name="connsiteX561" fmla="*/ 5763044 w 7467600"/>
              <a:gd name="connsiteY561" fmla="*/ 2842206 h 6858000"/>
              <a:gd name="connsiteX562" fmla="*/ 5764974 w 7467600"/>
              <a:gd name="connsiteY562" fmla="*/ 2799609 h 6858000"/>
              <a:gd name="connsiteX563" fmla="*/ 5767665 w 7467600"/>
              <a:gd name="connsiteY563" fmla="*/ 2666409 h 6858000"/>
              <a:gd name="connsiteX564" fmla="*/ 5763055 w 7467600"/>
              <a:gd name="connsiteY564" fmla="*/ 2579705 h 6858000"/>
              <a:gd name="connsiteX565" fmla="*/ 5758079 w 7467600"/>
              <a:gd name="connsiteY565" fmla="*/ 2492508 h 6858000"/>
              <a:gd name="connsiteX566" fmla="*/ 5779325 w 7467600"/>
              <a:gd name="connsiteY566" fmla="*/ 2197069 h 6858000"/>
              <a:gd name="connsiteX567" fmla="*/ 5798671 w 7467600"/>
              <a:gd name="connsiteY567" fmla="*/ 1981601 h 6858000"/>
              <a:gd name="connsiteX568" fmla="*/ 5829202 w 7467600"/>
              <a:gd name="connsiteY568" fmla="*/ 1971679 h 6858000"/>
              <a:gd name="connsiteX569" fmla="*/ 5809558 w 7467600"/>
              <a:gd name="connsiteY569" fmla="*/ 2198043 h 6858000"/>
              <a:gd name="connsiteX570" fmla="*/ 5788653 w 7467600"/>
              <a:gd name="connsiteY570" fmla="*/ 2489430 h 6858000"/>
              <a:gd name="connsiteX571" fmla="*/ 5793439 w 7467600"/>
              <a:gd name="connsiteY571" fmla="*/ 2575235 h 6858000"/>
              <a:gd name="connsiteX572" fmla="*/ 5796837 w 7467600"/>
              <a:gd name="connsiteY572" fmla="*/ 2637633 h 6858000"/>
              <a:gd name="connsiteX573" fmla="*/ 5818614 w 7467600"/>
              <a:gd name="connsiteY573" fmla="*/ 2473055 h 6858000"/>
              <a:gd name="connsiteX574" fmla="*/ 5829202 w 7467600"/>
              <a:gd name="connsiteY574" fmla="*/ 1971679 h 6858000"/>
              <a:gd name="connsiteX575" fmla="*/ 5911389 w 7467600"/>
              <a:gd name="connsiteY575" fmla="*/ 1898371 h 6858000"/>
              <a:gd name="connsiteX576" fmla="*/ 6237627 w 7467600"/>
              <a:gd name="connsiteY576" fmla="*/ 2231921 h 6858000"/>
              <a:gd name="connsiteX577" fmla="*/ 5911389 w 7467600"/>
              <a:gd name="connsiteY577" fmla="*/ 1898371 h 6858000"/>
              <a:gd name="connsiteX578" fmla="*/ 6944437 w 7467600"/>
              <a:gd name="connsiteY578" fmla="*/ 1575402 h 6858000"/>
              <a:gd name="connsiteX579" fmla="*/ 6304730 w 7467600"/>
              <a:gd name="connsiteY579" fmla="*/ 1766654 h 6858000"/>
              <a:gd name="connsiteX580" fmla="*/ 6944437 w 7467600"/>
              <a:gd name="connsiteY580" fmla="*/ 1575402 h 6858000"/>
              <a:gd name="connsiteX581" fmla="*/ 7019523 w 7467600"/>
              <a:gd name="connsiteY581" fmla="*/ 1519450 h 6858000"/>
              <a:gd name="connsiteX582" fmla="*/ 6298091 w 7467600"/>
              <a:gd name="connsiteY582" fmla="*/ 1737122 h 6858000"/>
              <a:gd name="connsiteX583" fmla="*/ 7019523 w 7467600"/>
              <a:gd name="connsiteY583" fmla="*/ 1519450 h 6858000"/>
              <a:gd name="connsiteX584" fmla="*/ 2399523 w 7467600"/>
              <a:gd name="connsiteY584" fmla="*/ 1428234 h 6858000"/>
              <a:gd name="connsiteX585" fmla="*/ 2224982 w 7467600"/>
              <a:gd name="connsiteY585" fmla="*/ 1826201 h 6858000"/>
              <a:gd name="connsiteX586" fmla="*/ 2096099 w 7467600"/>
              <a:gd name="connsiteY586" fmla="*/ 2345900 h 6858000"/>
              <a:gd name="connsiteX587" fmla="*/ 2283317 w 7467600"/>
              <a:gd name="connsiteY587" fmla="*/ 1796925 h 6858000"/>
              <a:gd name="connsiteX588" fmla="*/ 2399523 w 7467600"/>
              <a:gd name="connsiteY588" fmla="*/ 1428234 h 6858000"/>
              <a:gd name="connsiteX589" fmla="*/ 2448558 w 7467600"/>
              <a:gd name="connsiteY589" fmla="*/ 1373435 h 6858000"/>
              <a:gd name="connsiteX590" fmla="*/ 2312521 w 7467600"/>
              <a:gd name="connsiteY590" fmla="*/ 1806140 h 6858000"/>
              <a:gd name="connsiteX591" fmla="*/ 2127533 w 7467600"/>
              <a:gd name="connsiteY591" fmla="*/ 2348380 h 6858000"/>
              <a:gd name="connsiteX592" fmla="*/ 2358080 w 7467600"/>
              <a:gd name="connsiteY592" fmla="*/ 1866134 h 6858000"/>
              <a:gd name="connsiteX593" fmla="*/ 2407436 w 7467600"/>
              <a:gd name="connsiteY593" fmla="*/ 1651070 h 6858000"/>
              <a:gd name="connsiteX594" fmla="*/ 2448558 w 7467600"/>
              <a:gd name="connsiteY594" fmla="*/ 1373435 h 6858000"/>
              <a:gd name="connsiteX595" fmla="*/ 278707 w 7467600"/>
              <a:gd name="connsiteY595" fmla="*/ 1352270 h 6858000"/>
              <a:gd name="connsiteX596" fmla="*/ 321570 w 7467600"/>
              <a:gd name="connsiteY596" fmla="*/ 1861610 h 6858000"/>
              <a:gd name="connsiteX597" fmla="*/ 294281 w 7467600"/>
              <a:gd name="connsiteY597" fmla="*/ 1440658 h 6858000"/>
              <a:gd name="connsiteX598" fmla="*/ 278707 w 7467600"/>
              <a:gd name="connsiteY598" fmla="*/ 1352270 h 6858000"/>
              <a:gd name="connsiteX599" fmla="*/ 1423821 w 7467600"/>
              <a:gd name="connsiteY599" fmla="*/ 1351958 h 6858000"/>
              <a:gd name="connsiteX600" fmla="*/ 1638521 w 7467600"/>
              <a:gd name="connsiteY600" fmla="*/ 1908470 h 6858000"/>
              <a:gd name="connsiteX601" fmla="*/ 1754199 w 7467600"/>
              <a:gd name="connsiteY601" fmla="*/ 2149284 h 6858000"/>
              <a:gd name="connsiteX602" fmla="*/ 1908359 w 7467600"/>
              <a:gd name="connsiteY602" fmla="*/ 2364988 h 6858000"/>
              <a:gd name="connsiteX603" fmla="*/ 1647661 w 7467600"/>
              <a:gd name="connsiteY603" fmla="*/ 1825945 h 6858000"/>
              <a:gd name="connsiteX604" fmla="*/ 1423821 w 7467600"/>
              <a:gd name="connsiteY604" fmla="*/ 1351958 h 6858000"/>
              <a:gd name="connsiteX605" fmla="*/ 1431890 w 7467600"/>
              <a:gd name="connsiteY605" fmla="*/ 1306475 h 6858000"/>
              <a:gd name="connsiteX606" fmla="*/ 1507597 w 7467600"/>
              <a:gd name="connsiteY606" fmla="*/ 1446132 h 6858000"/>
              <a:gd name="connsiteX607" fmla="*/ 1674586 w 7467600"/>
              <a:gd name="connsiteY607" fmla="*/ 1813832 h 6858000"/>
              <a:gd name="connsiteX608" fmla="*/ 1815950 w 7467600"/>
              <a:gd name="connsiteY608" fmla="*/ 2128564 h 6858000"/>
              <a:gd name="connsiteX609" fmla="*/ 1984242 w 7467600"/>
              <a:gd name="connsiteY609" fmla="*/ 2430829 h 6858000"/>
              <a:gd name="connsiteX610" fmla="*/ 2014023 w 7467600"/>
              <a:gd name="connsiteY610" fmla="*/ 2450995 h 6858000"/>
              <a:gd name="connsiteX611" fmla="*/ 1747337 w 7467600"/>
              <a:gd name="connsiteY611" fmla="*/ 1855264 h 6858000"/>
              <a:gd name="connsiteX612" fmla="*/ 1533749 w 7467600"/>
              <a:gd name="connsiteY612" fmla="*/ 1478656 h 6858000"/>
              <a:gd name="connsiteX613" fmla="*/ 1431890 w 7467600"/>
              <a:gd name="connsiteY613" fmla="*/ 1306475 h 6858000"/>
              <a:gd name="connsiteX614" fmla="*/ 5052692 w 7467600"/>
              <a:gd name="connsiteY614" fmla="*/ 1292994 h 6858000"/>
              <a:gd name="connsiteX615" fmla="*/ 5200661 w 7467600"/>
              <a:gd name="connsiteY615" fmla="*/ 1635186 h 6858000"/>
              <a:gd name="connsiteX616" fmla="*/ 5297138 w 7467600"/>
              <a:gd name="connsiteY616" fmla="*/ 1906351 h 6858000"/>
              <a:gd name="connsiteX617" fmla="*/ 5052692 w 7467600"/>
              <a:gd name="connsiteY617" fmla="*/ 1292994 h 6858000"/>
              <a:gd name="connsiteX618" fmla="*/ 5009948 w 7467600"/>
              <a:gd name="connsiteY618" fmla="*/ 1273619 h 6858000"/>
              <a:gd name="connsiteX619" fmla="*/ 5121777 w 7467600"/>
              <a:gd name="connsiteY619" fmla="*/ 1654213 h 6858000"/>
              <a:gd name="connsiteX620" fmla="*/ 5293545 w 7467600"/>
              <a:gd name="connsiteY620" fmla="*/ 2072247 h 6858000"/>
              <a:gd name="connsiteX621" fmla="*/ 5294042 w 7467600"/>
              <a:gd name="connsiteY621" fmla="*/ 2065019 h 6858000"/>
              <a:gd name="connsiteX622" fmla="*/ 5171936 w 7467600"/>
              <a:gd name="connsiteY622" fmla="*/ 1647613 h 6858000"/>
              <a:gd name="connsiteX623" fmla="*/ 5009948 w 7467600"/>
              <a:gd name="connsiteY623" fmla="*/ 1273619 h 6858000"/>
              <a:gd name="connsiteX624" fmla="*/ 655236 w 7467600"/>
              <a:gd name="connsiteY624" fmla="*/ 1268632 h 6858000"/>
              <a:gd name="connsiteX625" fmla="*/ 839521 w 7467600"/>
              <a:gd name="connsiteY625" fmla="*/ 1685315 h 6858000"/>
              <a:gd name="connsiteX626" fmla="*/ 1109416 w 7467600"/>
              <a:gd name="connsiteY626" fmla="*/ 2061663 h 6858000"/>
              <a:gd name="connsiteX627" fmla="*/ 1298300 w 7467600"/>
              <a:gd name="connsiteY627" fmla="*/ 2247742 h 6858000"/>
              <a:gd name="connsiteX628" fmla="*/ 1125871 w 7467600"/>
              <a:gd name="connsiteY628" fmla="*/ 1989513 h 6858000"/>
              <a:gd name="connsiteX629" fmla="*/ 981574 w 7467600"/>
              <a:gd name="connsiteY629" fmla="*/ 1783157 h 6858000"/>
              <a:gd name="connsiteX630" fmla="*/ 922198 w 7467600"/>
              <a:gd name="connsiteY630" fmla="*/ 1677437 h 6858000"/>
              <a:gd name="connsiteX631" fmla="*/ 869293 w 7467600"/>
              <a:gd name="connsiteY631" fmla="*/ 1583214 h 6858000"/>
              <a:gd name="connsiteX632" fmla="*/ 751431 w 7467600"/>
              <a:gd name="connsiteY632" fmla="*/ 1405731 h 6858000"/>
              <a:gd name="connsiteX633" fmla="*/ 655236 w 7467600"/>
              <a:gd name="connsiteY633" fmla="*/ 1268632 h 6858000"/>
              <a:gd name="connsiteX634" fmla="*/ 6516292 w 7467600"/>
              <a:gd name="connsiteY634" fmla="*/ 1263064 h 6858000"/>
              <a:gd name="connsiteX635" fmla="*/ 5736320 w 7467600"/>
              <a:gd name="connsiteY635" fmla="*/ 1501803 h 6858000"/>
              <a:gd name="connsiteX636" fmla="*/ 6516292 w 7467600"/>
              <a:gd name="connsiteY636" fmla="*/ 1263064 h 6858000"/>
              <a:gd name="connsiteX637" fmla="*/ 291466 w 7467600"/>
              <a:gd name="connsiteY637" fmla="*/ 1250369 h 6858000"/>
              <a:gd name="connsiteX638" fmla="*/ 323180 w 7467600"/>
              <a:gd name="connsiteY638" fmla="*/ 1435283 h 6858000"/>
              <a:gd name="connsiteX639" fmla="*/ 349381 w 7467600"/>
              <a:gd name="connsiteY639" fmla="*/ 1875041 h 6858000"/>
              <a:gd name="connsiteX640" fmla="*/ 374363 w 7467600"/>
              <a:gd name="connsiteY640" fmla="*/ 1506494 h 6858000"/>
              <a:gd name="connsiteX641" fmla="*/ 302168 w 7467600"/>
              <a:gd name="connsiteY641" fmla="*/ 1274495 h 6858000"/>
              <a:gd name="connsiteX642" fmla="*/ 291466 w 7467600"/>
              <a:gd name="connsiteY642" fmla="*/ 1250369 h 6858000"/>
              <a:gd name="connsiteX643" fmla="*/ 678222 w 7467600"/>
              <a:gd name="connsiteY643" fmla="*/ 1248670 h 6858000"/>
              <a:gd name="connsiteX644" fmla="*/ 775536 w 7467600"/>
              <a:gd name="connsiteY644" fmla="*/ 1388015 h 6858000"/>
              <a:gd name="connsiteX645" fmla="*/ 894529 w 7467600"/>
              <a:gd name="connsiteY645" fmla="*/ 1567739 h 6858000"/>
              <a:gd name="connsiteX646" fmla="*/ 948000 w 7467600"/>
              <a:gd name="connsiteY646" fmla="*/ 1663088 h 6858000"/>
              <a:gd name="connsiteX647" fmla="*/ 1006812 w 7467600"/>
              <a:gd name="connsiteY647" fmla="*/ 1767683 h 6858000"/>
              <a:gd name="connsiteX648" fmla="*/ 1149133 w 7467600"/>
              <a:gd name="connsiteY648" fmla="*/ 1971513 h 6858000"/>
              <a:gd name="connsiteX649" fmla="*/ 1333952 w 7467600"/>
              <a:gd name="connsiteY649" fmla="*/ 2251620 h 6858000"/>
              <a:gd name="connsiteX650" fmla="*/ 1337329 w 7467600"/>
              <a:gd name="connsiteY650" fmla="*/ 2258350 h 6858000"/>
              <a:gd name="connsiteX651" fmla="*/ 1014726 w 7467600"/>
              <a:gd name="connsiteY651" fmla="*/ 1615556 h 6858000"/>
              <a:gd name="connsiteX652" fmla="*/ 678222 w 7467600"/>
              <a:gd name="connsiteY652" fmla="*/ 1248670 h 6858000"/>
              <a:gd name="connsiteX653" fmla="*/ 6691602 w 7467600"/>
              <a:gd name="connsiteY653" fmla="*/ 1140573 h 6858000"/>
              <a:gd name="connsiteX654" fmla="*/ 6571100 w 7467600"/>
              <a:gd name="connsiteY654" fmla="*/ 1183662 h 6858000"/>
              <a:gd name="connsiteX655" fmla="*/ 6241687 w 7467600"/>
              <a:gd name="connsiteY655" fmla="*/ 1257600 h 6858000"/>
              <a:gd name="connsiteX656" fmla="*/ 5693009 w 7467600"/>
              <a:gd name="connsiteY656" fmla="*/ 1478256 h 6858000"/>
              <a:gd name="connsiteX657" fmla="*/ 6548420 w 7467600"/>
              <a:gd name="connsiteY657" fmla="*/ 1214599 h 6858000"/>
              <a:gd name="connsiteX658" fmla="*/ 6605473 w 7467600"/>
              <a:gd name="connsiteY658" fmla="*/ 1184686 h 6858000"/>
              <a:gd name="connsiteX659" fmla="*/ 6691602 w 7467600"/>
              <a:gd name="connsiteY659" fmla="*/ 1140573 h 6858000"/>
              <a:gd name="connsiteX660" fmla="*/ 4002475 w 7467600"/>
              <a:gd name="connsiteY660" fmla="*/ 1037802 h 6858000"/>
              <a:gd name="connsiteX661" fmla="*/ 4000324 w 7467600"/>
              <a:gd name="connsiteY661" fmla="*/ 1039362 h 6858000"/>
              <a:gd name="connsiteX662" fmla="*/ 4002862 w 7467600"/>
              <a:gd name="connsiteY662" fmla="*/ 1042866 h 6858000"/>
              <a:gd name="connsiteX663" fmla="*/ 4002475 w 7467600"/>
              <a:gd name="connsiteY663" fmla="*/ 1037802 h 6858000"/>
              <a:gd name="connsiteX664" fmla="*/ 506322 w 7467600"/>
              <a:gd name="connsiteY664" fmla="*/ 1020997 h 6858000"/>
              <a:gd name="connsiteX665" fmla="*/ 533068 w 7467600"/>
              <a:gd name="connsiteY665" fmla="*/ 1029409 h 6858000"/>
              <a:gd name="connsiteX666" fmla="*/ 1232525 w 7467600"/>
              <a:gd name="connsiteY666" fmla="*/ 1804675 h 6858000"/>
              <a:gd name="connsiteX667" fmla="*/ 1388858 w 7467600"/>
              <a:gd name="connsiteY667" fmla="*/ 2368011 h 6858000"/>
              <a:gd name="connsiteX668" fmla="*/ 1384098 w 7467600"/>
              <a:gd name="connsiteY668" fmla="*/ 2378125 h 6858000"/>
              <a:gd name="connsiteX669" fmla="*/ 1425393 w 7467600"/>
              <a:gd name="connsiteY669" fmla="*/ 2589124 h 6858000"/>
              <a:gd name="connsiteX670" fmla="*/ 1424001 w 7467600"/>
              <a:gd name="connsiteY670" fmla="*/ 2597541 h 6858000"/>
              <a:gd name="connsiteX671" fmla="*/ 2152729 w 7467600"/>
              <a:gd name="connsiteY671" fmla="*/ 2864487 h 6858000"/>
              <a:gd name="connsiteX672" fmla="*/ 2020609 w 7467600"/>
              <a:gd name="connsiteY672" fmla="*/ 2539671 h 6858000"/>
              <a:gd name="connsiteX673" fmla="*/ 2018920 w 7467600"/>
              <a:gd name="connsiteY673" fmla="*/ 2536309 h 6858000"/>
              <a:gd name="connsiteX674" fmla="*/ 1342441 w 7467600"/>
              <a:gd name="connsiteY674" fmla="*/ 1173017 h 6858000"/>
              <a:gd name="connsiteX675" fmla="*/ 1367925 w 7467600"/>
              <a:gd name="connsiteY675" fmla="*/ 1135648 h 6858000"/>
              <a:gd name="connsiteX676" fmla="*/ 1771401 w 7467600"/>
              <a:gd name="connsiteY676" fmla="*/ 1806673 h 6858000"/>
              <a:gd name="connsiteX677" fmla="*/ 1972385 w 7467600"/>
              <a:gd name="connsiteY677" fmla="*/ 2198735 h 6858000"/>
              <a:gd name="connsiteX678" fmla="*/ 2040892 w 7467600"/>
              <a:gd name="connsiteY678" fmla="*/ 2405205 h 6858000"/>
              <a:gd name="connsiteX679" fmla="*/ 2131689 w 7467600"/>
              <a:gd name="connsiteY679" fmla="*/ 1936926 h 6858000"/>
              <a:gd name="connsiteX680" fmla="*/ 2454820 w 7467600"/>
              <a:gd name="connsiteY680" fmla="*/ 1248808 h 6858000"/>
              <a:gd name="connsiteX681" fmla="*/ 2492512 w 7467600"/>
              <a:gd name="connsiteY681" fmla="*/ 1302920 h 6858000"/>
              <a:gd name="connsiteX682" fmla="*/ 2081216 w 7467600"/>
              <a:gd name="connsiteY682" fmla="*/ 2527513 h 6858000"/>
              <a:gd name="connsiteX683" fmla="*/ 2081211 w 7467600"/>
              <a:gd name="connsiteY683" fmla="*/ 2528916 h 6858000"/>
              <a:gd name="connsiteX684" fmla="*/ 2199067 w 7467600"/>
              <a:gd name="connsiteY684" fmla="*/ 2884061 h 6858000"/>
              <a:gd name="connsiteX685" fmla="*/ 3192586 w 7467600"/>
              <a:gd name="connsiteY685" fmla="*/ 3411496 h 6858000"/>
              <a:gd name="connsiteX686" fmla="*/ 3182620 w 7467600"/>
              <a:gd name="connsiteY686" fmla="*/ 3483279 h 6858000"/>
              <a:gd name="connsiteX687" fmla="*/ 2435119 w 7467600"/>
              <a:gd name="connsiteY687" fmla="*/ 3080173 h 6858000"/>
              <a:gd name="connsiteX688" fmla="*/ 2410152 w 7467600"/>
              <a:gd name="connsiteY688" fmla="*/ 3063751 h 6858000"/>
              <a:gd name="connsiteX689" fmla="*/ 2408099 w 7467600"/>
              <a:gd name="connsiteY689" fmla="*/ 3064403 h 6858000"/>
              <a:gd name="connsiteX690" fmla="*/ 2407218 w 7467600"/>
              <a:gd name="connsiteY690" fmla="*/ 3070324 h 6858000"/>
              <a:gd name="connsiteX691" fmla="*/ 2380138 w 7467600"/>
              <a:gd name="connsiteY691" fmla="*/ 3099341 h 6858000"/>
              <a:gd name="connsiteX692" fmla="*/ 1765923 w 7467600"/>
              <a:gd name="connsiteY692" fmla="*/ 3581043 h 6858000"/>
              <a:gd name="connsiteX693" fmla="*/ 1702258 w 7467600"/>
              <a:gd name="connsiteY693" fmla="*/ 3612286 h 6858000"/>
              <a:gd name="connsiteX694" fmla="*/ 1538370 w 7467600"/>
              <a:gd name="connsiteY694" fmla="*/ 3811804 h 6858000"/>
              <a:gd name="connsiteX695" fmla="*/ 542867 w 7467600"/>
              <a:gd name="connsiteY695" fmla="*/ 4944092 h 6858000"/>
              <a:gd name="connsiteX696" fmla="*/ 515800 w 7467600"/>
              <a:gd name="connsiteY696" fmla="*/ 4862180 h 6858000"/>
              <a:gd name="connsiteX697" fmla="*/ 909145 w 7467600"/>
              <a:gd name="connsiteY697" fmla="*/ 4199225 h 6858000"/>
              <a:gd name="connsiteX698" fmla="*/ 1214067 w 7467600"/>
              <a:gd name="connsiteY698" fmla="*/ 3908561 h 6858000"/>
              <a:gd name="connsiteX699" fmla="*/ 640967 w 7467600"/>
              <a:gd name="connsiteY699" fmla="*/ 4105601 h 6858000"/>
              <a:gd name="connsiteX700" fmla="*/ 112563 w 7467600"/>
              <a:gd name="connsiteY700" fmla="*/ 4396952 h 6858000"/>
              <a:gd name="connsiteX701" fmla="*/ 0 w 7467600"/>
              <a:gd name="connsiteY701" fmla="*/ 4466006 h 6858000"/>
              <a:gd name="connsiteX702" fmla="*/ 0 w 7467600"/>
              <a:gd name="connsiteY702" fmla="*/ 4233763 h 6858000"/>
              <a:gd name="connsiteX703" fmla="*/ 36881 w 7467600"/>
              <a:gd name="connsiteY703" fmla="*/ 4200118 h 6858000"/>
              <a:gd name="connsiteX704" fmla="*/ 910534 w 7467600"/>
              <a:gd name="connsiteY704" fmla="*/ 3629753 h 6858000"/>
              <a:gd name="connsiteX705" fmla="*/ 1578717 w 7467600"/>
              <a:gd name="connsiteY705" fmla="*/ 3575982 h 6858000"/>
              <a:gd name="connsiteX706" fmla="*/ 2338780 w 7467600"/>
              <a:gd name="connsiteY706" fmla="*/ 3033725 h 6858000"/>
              <a:gd name="connsiteX707" fmla="*/ 1807991 w 7467600"/>
              <a:gd name="connsiteY707" fmla="*/ 2807184 h 6858000"/>
              <a:gd name="connsiteX708" fmla="*/ 1416358 w 7467600"/>
              <a:gd name="connsiteY708" fmla="*/ 3112571 h 6858000"/>
              <a:gd name="connsiteX709" fmla="*/ 939066 w 7467600"/>
              <a:gd name="connsiteY709" fmla="*/ 3378798 h 6858000"/>
              <a:gd name="connsiteX710" fmla="*/ 115099 w 7467600"/>
              <a:gd name="connsiteY710" fmla="*/ 3607650 h 6858000"/>
              <a:gd name="connsiteX711" fmla="*/ 97284 w 7467600"/>
              <a:gd name="connsiteY711" fmla="*/ 3520393 h 6858000"/>
              <a:gd name="connsiteX712" fmla="*/ 922050 w 7467600"/>
              <a:gd name="connsiteY712" fmla="*/ 3074867 h 6858000"/>
              <a:gd name="connsiteX713" fmla="*/ 1405265 w 7467600"/>
              <a:gd name="connsiteY713" fmla="*/ 3016319 h 6858000"/>
              <a:gd name="connsiteX714" fmla="*/ 1407512 w 7467600"/>
              <a:gd name="connsiteY714" fmla="*/ 3018001 h 6858000"/>
              <a:gd name="connsiteX715" fmla="*/ 1726266 w 7467600"/>
              <a:gd name="connsiteY715" fmla="*/ 2777274 h 6858000"/>
              <a:gd name="connsiteX716" fmla="*/ 625390 w 7467600"/>
              <a:gd name="connsiteY716" fmla="*/ 2514541 h 6858000"/>
              <a:gd name="connsiteX717" fmla="*/ 619799 w 7467600"/>
              <a:gd name="connsiteY717" fmla="*/ 2527180 h 6858000"/>
              <a:gd name="connsiteX718" fmla="*/ 310030 w 7467600"/>
              <a:gd name="connsiteY718" fmla="*/ 2771818 h 6858000"/>
              <a:gd name="connsiteX719" fmla="*/ 173877 w 7467600"/>
              <a:gd name="connsiteY719" fmla="*/ 2937056 h 6858000"/>
              <a:gd name="connsiteX720" fmla="*/ 77889 w 7467600"/>
              <a:gd name="connsiteY720" fmla="*/ 3138440 h 6858000"/>
              <a:gd name="connsiteX721" fmla="*/ 0 w 7467600"/>
              <a:gd name="connsiteY721" fmla="*/ 3271395 h 6858000"/>
              <a:gd name="connsiteX722" fmla="*/ 0 w 7467600"/>
              <a:gd name="connsiteY722" fmla="*/ 3153002 h 6858000"/>
              <a:gd name="connsiteX723" fmla="*/ 2386 w 7467600"/>
              <a:gd name="connsiteY723" fmla="*/ 3149203 h 6858000"/>
              <a:gd name="connsiteX724" fmla="*/ 89753 w 7467600"/>
              <a:gd name="connsiteY724" fmla="*/ 2987702 h 6858000"/>
              <a:gd name="connsiteX725" fmla="*/ 76869 w 7467600"/>
              <a:gd name="connsiteY725" fmla="*/ 3005404 h 6858000"/>
              <a:gd name="connsiteX726" fmla="*/ 32049 w 7467600"/>
              <a:gd name="connsiteY726" fmla="*/ 3065814 h 6858000"/>
              <a:gd name="connsiteX727" fmla="*/ 0 w 7467600"/>
              <a:gd name="connsiteY727" fmla="*/ 3108744 h 6858000"/>
              <a:gd name="connsiteX728" fmla="*/ 0 w 7467600"/>
              <a:gd name="connsiteY728" fmla="*/ 3058059 h 6858000"/>
              <a:gd name="connsiteX729" fmla="*/ 7610 w 7467600"/>
              <a:gd name="connsiteY729" fmla="*/ 3047889 h 6858000"/>
              <a:gd name="connsiteX730" fmla="*/ 52419 w 7467600"/>
              <a:gd name="connsiteY730" fmla="*/ 2987479 h 6858000"/>
              <a:gd name="connsiteX731" fmla="*/ 59142 w 7467600"/>
              <a:gd name="connsiteY731" fmla="*/ 2978488 h 6858000"/>
              <a:gd name="connsiteX732" fmla="*/ 0 w 7467600"/>
              <a:gd name="connsiteY732" fmla="*/ 3015334 h 6858000"/>
              <a:gd name="connsiteX733" fmla="*/ 0 w 7467600"/>
              <a:gd name="connsiteY733" fmla="*/ 2914286 h 6858000"/>
              <a:gd name="connsiteX734" fmla="*/ 36383 w 7467600"/>
              <a:gd name="connsiteY734" fmla="*/ 2901128 h 6858000"/>
              <a:gd name="connsiteX735" fmla="*/ 156329 w 7467600"/>
              <a:gd name="connsiteY735" fmla="*/ 2840533 h 6858000"/>
              <a:gd name="connsiteX736" fmla="*/ 358355 w 7467600"/>
              <a:gd name="connsiteY736" fmla="*/ 2620471 h 6858000"/>
              <a:gd name="connsiteX737" fmla="*/ 510577 w 7467600"/>
              <a:gd name="connsiteY737" fmla="*/ 2501244 h 6858000"/>
              <a:gd name="connsiteX738" fmla="*/ 211967 w 7467600"/>
              <a:gd name="connsiteY738" fmla="*/ 2479171 h 6858000"/>
              <a:gd name="connsiteX739" fmla="*/ 0 w 7467600"/>
              <a:gd name="connsiteY739" fmla="*/ 2476398 h 6858000"/>
              <a:gd name="connsiteX740" fmla="*/ 0 w 7467600"/>
              <a:gd name="connsiteY740" fmla="*/ 2389189 h 6858000"/>
              <a:gd name="connsiteX741" fmla="*/ 103062 w 7467600"/>
              <a:gd name="connsiteY741" fmla="*/ 2389518 h 6858000"/>
              <a:gd name="connsiteX742" fmla="*/ 510734 w 7467600"/>
              <a:gd name="connsiteY742" fmla="*/ 2416201 h 6858000"/>
              <a:gd name="connsiteX743" fmla="*/ 279257 w 7467600"/>
              <a:gd name="connsiteY743" fmla="*/ 2092102 h 6858000"/>
              <a:gd name="connsiteX744" fmla="*/ 65265 w 7467600"/>
              <a:gd name="connsiteY744" fmla="*/ 2006049 h 6858000"/>
              <a:gd name="connsiteX745" fmla="*/ 0 w 7467600"/>
              <a:gd name="connsiteY745" fmla="*/ 1982532 h 6858000"/>
              <a:gd name="connsiteX746" fmla="*/ 0 w 7467600"/>
              <a:gd name="connsiteY746" fmla="*/ 1912789 h 6858000"/>
              <a:gd name="connsiteX747" fmla="*/ 97460 w 7467600"/>
              <a:gd name="connsiteY747" fmla="*/ 1953725 h 6858000"/>
              <a:gd name="connsiteX748" fmla="*/ 221272 w 7467600"/>
              <a:gd name="connsiteY748" fmla="*/ 1980766 h 6858000"/>
              <a:gd name="connsiteX749" fmla="*/ 116765 w 7467600"/>
              <a:gd name="connsiteY749" fmla="*/ 1911033 h 6858000"/>
              <a:gd name="connsiteX750" fmla="*/ 16405 w 7467600"/>
              <a:gd name="connsiteY750" fmla="*/ 1803412 h 6858000"/>
              <a:gd name="connsiteX751" fmla="*/ 0 w 7467600"/>
              <a:gd name="connsiteY751" fmla="*/ 1784777 h 6858000"/>
              <a:gd name="connsiteX752" fmla="*/ 0 w 7467600"/>
              <a:gd name="connsiteY752" fmla="*/ 1740082 h 6858000"/>
              <a:gd name="connsiteX753" fmla="*/ 39394 w 7467600"/>
              <a:gd name="connsiteY753" fmla="*/ 1784856 h 6858000"/>
              <a:gd name="connsiteX754" fmla="*/ 135813 w 7467600"/>
              <a:gd name="connsiteY754" fmla="*/ 1888838 h 6858000"/>
              <a:gd name="connsiteX755" fmla="*/ 242575 w 7467600"/>
              <a:gd name="connsiteY755" fmla="*/ 1958841 h 6858000"/>
              <a:gd name="connsiteX756" fmla="*/ 82197 w 7467600"/>
              <a:gd name="connsiteY756" fmla="*/ 1754826 h 6858000"/>
              <a:gd name="connsiteX757" fmla="*/ 0 w 7467600"/>
              <a:gd name="connsiteY757" fmla="*/ 1679650 h 6858000"/>
              <a:gd name="connsiteX758" fmla="*/ 0 w 7467600"/>
              <a:gd name="connsiteY758" fmla="*/ 1602463 h 6858000"/>
              <a:gd name="connsiteX759" fmla="*/ 84689 w 7467600"/>
              <a:gd name="connsiteY759" fmla="*/ 1677442 h 6858000"/>
              <a:gd name="connsiteX760" fmla="*/ 298437 w 7467600"/>
              <a:gd name="connsiteY760" fmla="*/ 1968019 h 6858000"/>
              <a:gd name="connsiteX761" fmla="*/ 227269 w 7467600"/>
              <a:gd name="connsiteY761" fmla="*/ 1114064 h 6858000"/>
              <a:gd name="connsiteX762" fmla="*/ 248003 w 7467600"/>
              <a:gd name="connsiteY762" fmla="*/ 1089613 h 6858000"/>
              <a:gd name="connsiteX763" fmla="*/ 427020 w 7467600"/>
              <a:gd name="connsiteY763" fmla="*/ 1619803 h 6858000"/>
              <a:gd name="connsiteX764" fmla="*/ 340345 w 7467600"/>
              <a:gd name="connsiteY764" fmla="*/ 2027739 h 6858000"/>
              <a:gd name="connsiteX765" fmla="*/ 360865 w 7467600"/>
              <a:gd name="connsiteY765" fmla="*/ 2044827 h 6858000"/>
              <a:gd name="connsiteX766" fmla="*/ 560414 w 7467600"/>
              <a:gd name="connsiteY766" fmla="*/ 2421457 h 6858000"/>
              <a:gd name="connsiteX767" fmla="*/ 1359703 w 7467600"/>
              <a:gd name="connsiteY767" fmla="*/ 2578554 h 6858000"/>
              <a:gd name="connsiteX768" fmla="*/ 1359422 w 7467600"/>
              <a:gd name="connsiteY768" fmla="*/ 2577994 h 6858000"/>
              <a:gd name="connsiteX769" fmla="*/ 828701 w 7467600"/>
              <a:gd name="connsiteY769" fmla="*/ 1839520 h 6858000"/>
              <a:gd name="connsiteX770" fmla="*/ 494427 w 7467600"/>
              <a:gd name="connsiteY770" fmla="*/ 1092333 h 6858000"/>
              <a:gd name="connsiteX771" fmla="*/ 506322 w 7467600"/>
              <a:gd name="connsiteY771" fmla="*/ 1020997 h 6858000"/>
              <a:gd name="connsiteX772" fmla="*/ 4570198 w 7467600"/>
              <a:gd name="connsiteY772" fmla="*/ 978081 h 6858000"/>
              <a:gd name="connsiteX773" fmla="*/ 4523691 w 7467600"/>
              <a:gd name="connsiteY773" fmla="*/ 1127776 h 6858000"/>
              <a:gd name="connsiteX774" fmla="*/ 4509875 w 7467600"/>
              <a:gd name="connsiteY774" fmla="*/ 1167552 h 6858000"/>
              <a:gd name="connsiteX775" fmla="*/ 4478168 w 7467600"/>
              <a:gd name="connsiteY775" fmla="*/ 1260735 h 6858000"/>
              <a:gd name="connsiteX776" fmla="*/ 4409309 w 7467600"/>
              <a:gd name="connsiteY776" fmla="*/ 1666996 h 6858000"/>
              <a:gd name="connsiteX777" fmla="*/ 4370031 w 7467600"/>
              <a:gd name="connsiteY777" fmla="*/ 1955666 h 6858000"/>
              <a:gd name="connsiteX778" fmla="*/ 4570198 w 7467600"/>
              <a:gd name="connsiteY778" fmla="*/ 978081 h 6858000"/>
              <a:gd name="connsiteX779" fmla="*/ 4557898 w 7467600"/>
              <a:gd name="connsiteY779" fmla="*/ 900011 h 6858000"/>
              <a:gd name="connsiteX780" fmla="*/ 4344840 w 7467600"/>
              <a:gd name="connsiteY780" fmla="*/ 1922038 h 6858000"/>
              <a:gd name="connsiteX781" fmla="*/ 4378710 w 7467600"/>
              <a:gd name="connsiteY781" fmla="*/ 1665516 h 6858000"/>
              <a:gd name="connsiteX782" fmla="*/ 4448798 w 7467600"/>
              <a:gd name="connsiteY782" fmla="*/ 1253024 h 6858000"/>
              <a:gd name="connsiteX783" fmla="*/ 4480315 w 7467600"/>
              <a:gd name="connsiteY783" fmla="*/ 1158454 h 6858000"/>
              <a:gd name="connsiteX784" fmla="*/ 4494133 w 7467600"/>
              <a:gd name="connsiteY784" fmla="*/ 1118676 h 6858000"/>
              <a:gd name="connsiteX785" fmla="*/ 4557898 w 7467600"/>
              <a:gd name="connsiteY785" fmla="*/ 900011 h 6858000"/>
              <a:gd name="connsiteX786" fmla="*/ 5870151 w 7467600"/>
              <a:gd name="connsiteY786" fmla="*/ 898890 h 6858000"/>
              <a:gd name="connsiteX787" fmla="*/ 5861335 w 7467600"/>
              <a:gd name="connsiteY787" fmla="*/ 899177 h 6858000"/>
              <a:gd name="connsiteX788" fmla="*/ 5843702 w 7467600"/>
              <a:gd name="connsiteY788" fmla="*/ 899748 h 6858000"/>
              <a:gd name="connsiteX789" fmla="*/ 5651107 w 7467600"/>
              <a:gd name="connsiteY789" fmla="*/ 920306 h 6858000"/>
              <a:gd name="connsiteX790" fmla="*/ 5459407 w 7467600"/>
              <a:gd name="connsiteY790" fmla="*/ 940975 h 6858000"/>
              <a:gd name="connsiteX791" fmla="*/ 5374846 w 7467600"/>
              <a:gd name="connsiteY791" fmla="*/ 941988 h 6858000"/>
              <a:gd name="connsiteX792" fmla="*/ 5256105 w 7467600"/>
              <a:gd name="connsiteY792" fmla="*/ 945632 h 6858000"/>
              <a:gd name="connsiteX793" fmla="*/ 5107071 w 7467600"/>
              <a:gd name="connsiteY793" fmla="*/ 969720 h 6858000"/>
              <a:gd name="connsiteX794" fmla="*/ 4998681 w 7467600"/>
              <a:gd name="connsiteY794" fmla="*/ 988771 h 6858000"/>
              <a:gd name="connsiteX795" fmla="*/ 5870151 w 7467600"/>
              <a:gd name="connsiteY795" fmla="*/ 898890 h 6858000"/>
              <a:gd name="connsiteX796" fmla="*/ 5504425 w 7467600"/>
              <a:gd name="connsiteY796" fmla="*/ 848067 h 6858000"/>
              <a:gd name="connsiteX797" fmla="*/ 4968849 w 7467600"/>
              <a:gd name="connsiteY797" fmla="*/ 962318 h 6858000"/>
              <a:gd name="connsiteX798" fmla="*/ 5104039 w 7467600"/>
              <a:gd name="connsiteY798" fmla="*/ 940634 h 6858000"/>
              <a:gd name="connsiteX799" fmla="*/ 5256311 w 7467600"/>
              <a:gd name="connsiteY799" fmla="*/ 916490 h 6858000"/>
              <a:gd name="connsiteX800" fmla="*/ 5377381 w 7467600"/>
              <a:gd name="connsiteY800" fmla="*/ 912671 h 6858000"/>
              <a:gd name="connsiteX801" fmla="*/ 5460148 w 7467600"/>
              <a:gd name="connsiteY801" fmla="*/ 911442 h 6858000"/>
              <a:gd name="connsiteX802" fmla="*/ 5648971 w 7467600"/>
              <a:gd name="connsiteY802" fmla="*/ 891331 h 6858000"/>
              <a:gd name="connsiteX803" fmla="*/ 5844807 w 7467600"/>
              <a:gd name="connsiteY803" fmla="*/ 870718 h 6858000"/>
              <a:gd name="connsiteX804" fmla="*/ 5862975 w 7467600"/>
              <a:gd name="connsiteY804" fmla="*/ 869756 h 6858000"/>
              <a:gd name="connsiteX805" fmla="*/ 5920887 w 7467600"/>
              <a:gd name="connsiteY805" fmla="*/ 865929 h 6858000"/>
              <a:gd name="connsiteX806" fmla="*/ 5504425 w 7467600"/>
              <a:gd name="connsiteY806" fmla="*/ 848067 h 6858000"/>
              <a:gd name="connsiteX807" fmla="*/ 3607114 w 7467600"/>
              <a:gd name="connsiteY807" fmla="*/ 467441 h 6858000"/>
              <a:gd name="connsiteX808" fmla="*/ 3296242 w 7467600"/>
              <a:gd name="connsiteY808" fmla="*/ 807991 h 6858000"/>
              <a:gd name="connsiteX809" fmla="*/ 3174674 w 7467600"/>
              <a:gd name="connsiteY809" fmla="*/ 919759 h 6858000"/>
              <a:gd name="connsiteX810" fmla="*/ 3042978 w 7467600"/>
              <a:gd name="connsiteY810" fmla="*/ 1054894 h 6858000"/>
              <a:gd name="connsiteX811" fmla="*/ 2968914 w 7467600"/>
              <a:gd name="connsiteY811" fmla="*/ 1133756 h 6858000"/>
              <a:gd name="connsiteX812" fmla="*/ 3103823 w 7467600"/>
              <a:gd name="connsiteY812" fmla="*/ 1026814 h 6858000"/>
              <a:gd name="connsiteX813" fmla="*/ 3607114 w 7467600"/>
              <a:gd name="connsiteY813" fmla="*/ 467441 h 6858000"/>
              <a:gd name="connsiteX814" fmla="*/ 3744487 w 7467600"/>
              <a:gd name="connsiteY814" fmla="*/ 383136 h 6858000"/>
              <a:gd name="connsiteX815" fmla="*/ 3970213 w 7467600"/>
              <a:gd name="connsiteY815" fmla="*/ 995559 h 6858000"/>
              <a:gd name="connsiteX816" fmla="*/ 3744487 w 7467600"/>
              <a:gd name="connsiteY816" fmla="*/ 383136 h 6858000"/>
              <a:gd name="connsiteX817" fmla="*/ 3624562 w 7467600"/>
              <a:gd name="connsiteY817" fmla="*/ 367041 h 6858000"/>
              <a:gd name="connsiteX818" fmla="*/ 3489712 w 7467600"/>
              <a:gd name="connsiteY818" fmla="*/ 485386 h 6858000"/>
              <a:gd name="connsiteX819" fmla="*/ 3182994 w 7467600"/>
              <a:gd name="connsiteY819" fmla="*/ 828265 h 6858000"/>
              <a:gd name="connsiteX820" fmla="*/ 2892114 w 7467600"/>
              <a:gd name="connsiteY820" fmla="*/ 1172635 h 6858000"/>
              <a:gd name="connsiteX821" fmla="*/ 3021459 w 7467600"/>
              <a:gd name="connsiteY821" fmla="*/ 1035385 h 6858000"/>
              <a:gd name="connsiteX822" fmla="*/ 3153873 w 7467600"/>
              <a:gd name="connsiteY822" fmla="*/ 898971 h 6858000"/>
              <a:gd name="connsiteX823" fmla="*/ 3276511 w 7467600"/>
              <a:gd name="connsiteY823" fmla="*/ 786423 h 6858000"/>
              <a:gd name="connsiteX824" fmla="*/ 3584154 w 7467600"/>
              <a:gd name="connsiteY824" fmla="*/ 448218 h 6858000"/>
              <a:gd name="connsiteX825" fmla="*/ 3624562 w 7467600"/>
              <a:gd name="connsiteY825" fmla="*/ 367041 h 6858000"/>
              <a:gd name="connsiteX826" fmla="*/ 3766672 w 7467600"/>
              <a:gd name="connsiteY826" fmla="*/ 359429 h 6858000"/>
              <a:gd name="connsiteX827" fmla="*/ 3996338 w 7467600"/>
              <a:gd name="connsiteY827" fmla="*/ 968237 h 6858000"/>
              <a:gd name="connsiteX828" fmla="*/ 3766672 w 7467600"/>
              <a:gd name="connsiteY828" fmla="*/ 359429 h 6858000"/>
              <a:gd name="connsiteX829" fmla="*/ 5805386 w 7467600"/>
              <a:gd name="connsiteY829" fmla="*/ 239240 h 6858000"/>
              <a:gd name="connsiteX830" fmla="*/ 5736947 w 7467600"/>
              <a:gd name="connsiteY830" fmla="*/ 261367 h 6858000"/>
              <a:gd name="connsiteX831" fmla="*/ 5427012 w 7467600"/>
              <a:gd name="connsiteY831" fmla="*/ 311272 h 6858000"/>
              <a:gd name="connsiteX832" fmla="*/ 5147818 w 7467600"/>
              <a:gd name="connsiteY832" fmla="*/ 322112 h 6858000"/>
              <a:gd name="connsiteX833" fmla="*/ 5060854 w 7467600"/>
              <a:gd name="connsiteY833" fmla="*/ 311882 h 6858000"/>
              <a:gd name="connsiteX834" fmla="*/ 4945989 w 7467600"/>
              <a:gd name="connsiteY834" fmla="*/ 300516 h 6858000"/>
              <a:gd name="connsiteX835" fmla="*/ 5410479 w 7467600"/>
              <a:gd name="connsiteY835" fmla="*/ 348434 h 6858000"/>
              <a:gd name="connsiteX836" fmla="*/ 5805386 w 7467600"/>
              <a:gd name="connsiteY836" fmla="*/ 239240 h 6858000"/>
              <a:gd name="connsiteX837" fmla="*/ 5905192 w 7467600"/>
              <a:gd name="connsiteY837" fmla="*/ 163079 h 6858000"/>
              <a:gd name="connsiteX838" fmla="*/ 5865655 w 7467600"/>
              <a:gd name="connsiteY838" fmla="*/ 171901 h 6858000"/>
              <a:gd name="connsiteX839" fmla="*/ 5259740 w 7467600"/>
              <a:gd name="connsiteY839" fmla="*/ 257013 h 6858000"/>
              <a:gd name="connsiteX840" fmla="*/ 5208466 w 7467600"/>
              <a:gd name="connsiteY840" fmla="*/ 257550 h 6858000"/>
              <a:gd name="connsiteX841" fmla="*/ 4980204 w 7467600"/>
              <a:gd name="connsiteY841" fmla="*/ 271903 h 6858000"/>
              <a:gd name="connsiteX842" fmla="*/ 5068068 w 7467600"/>
              <a:gd name="connsiteY842" fmla="*/ 282244 h 6858000"/>
              <a:gd name="connsiteX843" fmla="*/ 5153231 w 7467600"/>
              <a:gd name="connsiteY843" fmla="*/ 292240 h 6858000"/>
              <a:gd name="connsiteX844" fmla="*/ 5426491 w 7467600"/>
              <a:gd name="connsiteY844" fmla="*/ 281128 h 6858000"/>
              <a:gd name="connsiteX845" fmla="*/ 5731212 w 7467600"/>
              <a:gd name="connsiteY845" fmla="*/ 231951 h 6858000"/>
              <a:gd name="connsiteX846" fmla="*/ 5905192 w 7467600"/>
              <a:gd name="connsiteY846" fmla="*/ 163079 h 6858000"/>
              <a:gd name="connsiteX847" fmla="*/ 5944437 w 7467600"/>
              <a:gd name="connsiteY847" fmla="*/ 113829 h 6858000"/>
              <a:gd name="connsiteX848" fmla="*/ 5825032 w 7467600"/>
              <a:gd name="connsiteY848" fmla="*/ 146405 h 6858000"/>
              <a:gd name="connsiteX849" fmla="*/ 4955599 w 7467600"/>
              <a:gd name="connsiteY849" fmla="*/ 247008 h 6858000"/>
              <a:gd name="connsiteX850" fmla="*/ 5210104 w 7467600"/>
              <a:gd name="connsiteY850" fmla="*/ 228123 h 6858000"/>
              <a:gd name="connsiteX851" fmla="*/ 5261015 w 7467600"/>
              <a:gd name="connsiteY851" fmla="*/ 227087 h 6858000"/>
              <a:gd name="connsiteX852" fmla="*/ 5861181 w 7467600"/>
              <a:gd name="connsiteY852" fmla="*/ 143093 h 6858000"/>
              <a:gd name="connsiteX853" fmla="*/ 5961252 w 7467600"/>
              <a:gd name="connsiteY853" fmla="*/ 114820 h 6858000"/>
              <a:gd name="connsiteX854" fmla="*/ 5944437 w 7467600"/>
              <a:gd name="connsiteY854" fmla="*/ 113829 h 6858000"/>
              <a:gd name="connsiteX855" fmla="*/ 3882765 w 7467600"/>
              <a:gd name="connsiteY855" fmla="*/ 0 h 6858000"/>
              <a:gd name="connsiteX856" fmla="*/ 3995099 w 7467600"/>
              <a:gd name="connsiteY856" fmla="*/ 0 h 6858000"/>
              <a:gd name="connsiteX857" fmla="*/ 4163818 w 7467600"/>
              <a:gd name="connsiteY857" fmla="*/ 234104 h 6858000"/>
              <a:gd name="connsiteX858" fmla="*/ 4172099 w 7467600"/>
              <a:gd name="connsiteY858" fmla="*/ 234207 h 6858000"/>
              <a:gd name="connsiteX859" fmla="*/ 4784282 w 7467600"/>
              <a:gd name="connsiteY859" fmla="*/ 276561 h 6858000"/>
              <a:gd name="connsiteX860" fmla="*/ 4801687 w 7467600"/>
              <a:gd name="connsiteY860" fmla="*/ 267764 h 6858000"/>
              <a:gd name="connsiteX861" fmla="*/ 6082788 w 7467600"/>
              <a:gd name="connsiteY861" fmla="*/ 64119 h 6858000"/>
              <a:gd name="connsiteX862" fmla="*/ 6099442 w 7467600"/>
              <a:gd name="connsiteY862" fmla="*/ 82568 h 6858000"/>
              <a:gd name="connsiteX863" fmla="*/ 4804137 w 7467600"/>
              <a:gd name="connsiteY863" fmla="*/ 320931 h 6858000"/>
              <a:gd name="connsiteX864" fmla="*/ 4227047 w 7467600"/>
              <a:gd name="connsiteY864" fmla="*/ 313415 h 6858000"/>
              <a:gd name="connsiteX865" fmla="*/ 4346041 w 7467600"/>
              <a:gd name="connsiteY865" fmla="*/ 456086 h 6858000"/>
              <a:gd name="connsiteX866" fmla="*/ 4870967 w 7467600"/>
              <a:gd name="connsiteY866" fmla="*/ 963061 h 6858000"/>
              <a:gd name="connsiteX867" fmla="*/ 4889647 w 7467600"/>
              <a:gd name="connsiteY867" fmla="*/ 957147 h 6858000"/>
              <a:gd name="connsiteX868" fmla="*/ 5422504 w 7467600"/>
              <a:gd name="connsiteY868" fmla="*/ 805191 h 6858000"/>
              <a:gd name="connsiteX869" fmla="*/ 6087656 w 7467600"/>
              <a:gd name="connsiteY869" fmla="*/ 826703 h 6858000"/>
              <a:gd name="connsiteX870" fmla="*/ 6058717 w 7467600"/>
              <a:gd name="connsiteY870" fmla="*/ 865992 h 6858000"/>
              <a:gd name="connsiteX871" fmla="*/ 4974153 w 7467600"/>
              <a:gd name="connsiteY871" fmla="*/ 1045456 h 6858000"/>
              <a:gd name="connsiteX872" fmla="*/ 5627835 w 7467600"/>
              <a:gd name="connsiteY872" fmla="*/ 1472077 h 6858000"/>
              <a:gd name="connsiteX873" fmla="*/ 5629817 w 7467600"/>
              <a:gd name="connsiteY873" fmla="*/ 1471412 h 6858000"/>
              <a:gd name="connsiteX874" fmla="*/ 5634124 w 7467600"/>
              <a:gd name="connsiteY874" fmla="*/ 1470572 h 6858000"/>
              <a:gd name="connsiteX875" fmla="*/ 5755832 w 7467600"/>
              <a:gd name="connsiteY875" fmla="*/ 1383886 h 6858000"/>
              <a:gd name="connsiteX876" fmla="*/ 6014186 w 7467600"/>
              <a:gd name="connsiteY876" fmla="*/ 1279799 h 6858000"/>
              <a:gd name="connsiteX877" fmla="*/ 6901619 w 7467600"/>
              <a:gd name="connsiteY877" fmla="*/ 1047874 h 6858000"/>
              <a:gd name="connsiteX878" fmla="*/ 6931566 w 7467600"/>
              <a:gd name="connsiteY878" fmla="*/ 1062034 h 6858000"/>
              <a:gd name="connsiteX879" fmla="*/ 5790982 w 7467600"/>
              <a:gd name="connsiteY879" fmla="*/ 1561380 h 6858000"/>
              <a:gd name="connsiteX880" fmla="*/ 6188971 w 7467600"/>
              <a:gd name="connsiteY880" fmla="*/ 1755168 h 6858000"/>
              <a:gd name="connsiteX881" fmla="*/ 6202446 w 7467600"/>
              <a:gd name="connsiteY881" fmla="*/ 1752268 h 6858000"/>
              <a:gd name="connsiteX882" fmla="*/ 7179560 w 7467600"/>
              <a:gd name="connsiteY882" fmla="*/ 1467551 h 6858000"/>
              <a:gd name="connsiteX883" fmla="*/ 7158730 w 7467600"/>
              <a:gd name="connsiteY883" fmla="*/ 1507835 h 6858000"/>
              <a:gd name="connsiteX884" fmla="*/ 6326959 w 7467600"/>
              <a:gd name="connsiteY884" fmla="*/ 1817686 h 6858000"/>
              <a:gd name="connsiteX885" fmla="*/ 6537433 w 7467600"/>
              <a:gd name="connsiteY885" fmla="*/ 1907790 h 6858000"/>
              <a:gd name="connsiteX886" fmla="*/ 6550221 w 7467600"/>
              <a:gd name="connsiteY886" fmla="*/ 1910729 h 6858000"/>
              <a:gd name="connsiteX887" fmla="*/ 6964438 w 7467600"/>
              <a:gd name="connsiteY887" fmla="*/ 2209505 h 6858000"/>
              <a:gd name="connsiteX888" fmla="*/ 7367862 w 7467600"/>
              <a:gd name="connsiteY888" fmla="*/ 2806833 h 6858000"/>
              <a:gd name="connsiteX889" fmla="*/ 7364329 w 7467600"/>
              <a:gd name="connsiteY889" fmla="*/ 2826907 h 6858000"/>
              <a:gd name="connsiteX890" fmla="*/ 7290545 w 7467600"/>
              <a:gd name="connsiteY890" fmla="*/ 2850663 h 6858000"/>
              <a:gd name="connsiteX891" fmla="*/ 6472036 w 7467600"/>
              <a:gd name="connsiteY891" fmla="*/ 1959003 h 6858000"/>
              <a:gd name="connsiteX892" fmla="*/ 5792897 w 7467600"/>
              <a:gd name="connsiteY892" fmla="*/ 1647747 h 6858000"/>
              <a:gd name="connsiteX893" fmla="*/ 5842751 w 7467600"/>
              <a:gd name="connsiteY893" fmla="*/ 1816112 h 6858000"/>
              <a:gd name="connsiteX894" fmla="*/ 5847424 w 7467600"/>
              <a:gd name="connsiteY894" fmla="*/ 1815776 h 6858000"/>
              <a:gd name="connsiteX895" fmla="*/ 6399821 w 7467600"/>
              <a:gd name="connsiteY895" fmla="*/ 2344799 h 6858000"/>
              <a:gd name="connsiteX896" fmla="*/ 6323232 w 7467600"/>
              <a:gd name="connsiteY896" fmla="*/ 2389634 h 6858000"/>
              <a:gd name="connsiteX897" fmla="*/ 5942958 w 7467600"/>
              <a:gd name="connsiteY897" fmla="*/ 2077708 h 6858000"/>
              <a:gd name="connsiteX898" fmla="*/ 5921559 w 7467600"/>
              <a:gd name="connsiteY898" fmla="*/ 2378596 h 6858000"/>
              <a:gd name="connsiteX899" fmla="*/ 5817651 w 7467600"/>
              <a:gd name="connsiteY899" fmla="*/ 3023919 h 6858000"/>
              <a:gd name="connsiteX900" fmla="*/ 5729634 w 7467600"/>
              <a:gd name="connsiteY900" fmla="*/ 3051849 h 6858000"/>
              <a:gd name="connsiteX901" fmla="*/ 5611018 w 7467600"/>
              <a:gd name="connsiteY901" fmla="*/ 2316769 h 6858000"/>
              <a:gd name="connsiteX902" fmla="*/ 5687608 w 7467600"/>
              <a:gd name="connsiteY902" fmla="*/ 2039972 h 6858000"/>
              <a:gd name="connsiteX903" fmla="*/ 5657554 w 7467600"/>
              <a:gd name="connsiteY903" fmla="*/ 1576445 h 6858000"/>
              <a:gd name="connsiteX904" fmla="*/ 5150475 w 7467600"/>
              <a:gd name="connsiteY904" fmla="*/ 1274012 h 6858000"/>
              <a:gd name="connsiteX905" fmla="*/ 5349142 w 7467600"/>
              <a:gd name="connsiteY905" fmla="*/ 2204405 h 6858000"/>
              <a:gd name="connsiteX906" fmla="*/ 5262214 w 7467600"/>
              <a:gd name="connsiteY906" fmla="*/ 2233836 h 6858000"/>
              <a:gd name="connsiteX907" fmla="*/ 4981539 w 7467600"/>
              <a:gd name="connsiteY907" fmla="*/ 1542201 h 6858000"/>
              <a:gd name="connsiteX908" fmla="*/ 4958461 w 7467600"/>
              <a:gd name="connsiteY908" fmla="*/ 1136957 h 6858000"/>
              <a:gd name="connsiteX909" fmla="*/ 4655015 w 7467600"/>
              <a:gd name="connsiteY909" fmla="*/ 891426 h 6858000"/>
              <a:gd name="connsiteX910" fmla="*/ 4348002 w 7467600"/>
              <a:gd name="connsiteY910" fmla="*/ 2205895 h 6858000"/>
              <a:gd name="connsiteX911" fmla="*/ 4262250 w 7467600"/>
              <a:gd name="connsiteY911" fmla="*/ 2219972 h 6858000"/>
              <a:gd name="connsiteX912" fmla="*/ 4550611 w 7467600"/>
              <a:gd name="connsiteY912" fmla="*/ 817540 h 6858000"/>
              <a:gd name="connsiteX913" fmla="*/ 4564418 w 7467600"/>
              <a:gd name="connsiteY913" fmla="*/ 808293 h 6858000"/>
              <a:gd name="connsiteX914" fmla="*/ 4266388 w 7467600"/>
              <a:gd name="connsiteY914" fmla="*/ 500083 h 6858000"/>
              <a:gd name="connsiteX915" fmla="*/ 4032842 w 7467600"/>
              <a:gd name="connsiteY915" fmla="*/ 211809 h 6858000"/>
              <a:gd name="connsiteX916" fmla="*/ 3882765 w 7467600"/>
              <a:gd name="connsiteY916" fmla="*/ 0 h 6858000"/>
              <a:gd name="connsiteX917" fmla="*/ 3721337 w 7467600"/>
              <a:gd name="connsiteY917" fmla="*/ 0 h 6858000"/>
              <a:gd name="connsiteX918" fmla="*/ 3797544 w 7467600"/>
              <a:gd name="connsiteY918" fmla="*/ 0 h 6858000"/>
              <a:gd name="connsiteX919" fmla="*/ 3775734 w 7467600"/>
              <a:gd name="connsiteY919" fmla="*/ 95131 h 6858000"/>
              <a:gd name="connsiteX920" fmla="*/ 3724807 w 7467600"/>
              <a:gd name="connsiteY920" fmla="*/ 272257 h 6858000"/>
              <a:gd name="connsiteX921" fmla="*/ 3726844 w 7467600"/>
              <a:gd name="connsiteY921" fmla="*/ 282988 h 6858000"/>
              <a:gd name="connsiteX922" fmla="*/ 3742664 w 7467600"/>
              <a:gd name="connsiteY922" fmla="*/ 279918 h 6858000"/>
              <a:gd name="connsiteX923" fmla="*/ 4103910 w 7467600"/>
              <a:gd name="connsiteY923" fmla="*/ 1161917 h 6858000"/>
              <a:gd name="connsiteX924" fmla="*/ 4020269 w 7467600"/>
              <a:gd name="connsiteY924" fmla="*/ 1200406 h 6858000"/>
              <a:gd name="connsiteX925" fmla="*/ 3674882 w 7467600"/>
              <a:gd name="connsiteY925" fmla="*/ 488524 h 6858000"/>
              <a:gd name="connsiteX926" fmla="*/ 3132682 w 7467600"/>
              <a:gd name="connsiteY926" fmla="*/ 1072284 h 6858000"/>
              <a:gd name="connsiteX927" fmla="*/ 2716346 w 7467600"/>
              <a:gd name="connsiteY927" fmla="*/ 1276376 h 6858000"/>
              <a:gd name="connsiteX928" fmla="*/ 2716772 w 7467600"/>
              <a:gd name="connsiteY928" fmla="*/ 1255462 h 6858000"/>
              <a:gd name="connsiteX929" fmla="*/ 3471096 w 7467600"/>
              <a:gd name="connsiteY929" fmla="*/ 437072 h 6858000"/>
              <a:gd name="connsiteX930" fmla="*/ 3639057 w 7467600"/>
              <a:gd name="connsiteY930" fmla="*/ 286334 h 6858000"/>
              <a:gd name="connsiteX931" fmla="*/ 3640309 w 7467600"/>
              <a:gd name="connsiteY931" fmla="*/ 284664 h 6858000"/>
              <a:gd name="connsiteX932" fmla="*/ 3646022 w 7467600"/>
              <a:gd name="connsiteY932" fmla="*/ 276711 h 6858000"/>
              <a:gd name="connsiteX933" fmla="*/ 3707943 w 7467600"/>
              <a:gd name="connsiteY933" fmla="*/ 65958 h 6858000"/>
              <a:gd name="connsiteX934" fmla="*/ 3721337 w 7467600"/>
              <a:gd name="connsiteY934" fmla="*/ 0 h 6858000"/>
              <a:gd name="connsiteX935" fmla="*/ 2867960 w 7467600"/>
              <a:gd name="connsiteY935" fmla="*/ 0 h 6858000"/>
              <a:gd name="connsiteX936" fmla="*/ 2926351 w 7467600"/>
              <a:gd name="connsiteY936" fmla="*/ 0 h 6858000"/>
              <a:gd name="connsiteX937" fmla="*/ 2902823 w 7467600"/>
              <a:gd name="connsiteY937" fmla="*/ 262929 h 6858000"/>
              <a:gd name="connsiteX938" fmla="*/ 2940663 w 7467600"/>
              <a:gd name="connsiteY938" fmla="*/ 140884 h 6858000"/>
              <a:gd name="connsiteX939" fmla="*/ 2947039 w 7467600"/>
              <a:gd name="connsiteY939" fmla="*/ 122524 h 6858000"/>
              <a:gd name="connsiteX940" fmla="*/ 2984316 w 7467600"/>
              <a:gd name="connsiteY940" fmla="*/ 0 h 6858000"/>
              <a:gd name="connsiteX941" fmla="*/ 3016114 w 7467600"/>
              <a:gd name="connsiteY941" fmla="*/ 0 h 6858000"/>
              <a:gd name="connsiteX942" fmla="*/ 2979949 w 7467600"/>
              <a:gd name="connsiteY942" fmla="*/ 119274 h 6858000"/>
              <a:gd name="connsiteX943" fmla="*/ 3023879 w 7467600"/>
              <a:gd name="connsiteY943" fmla="*/ 0 h 6858000"/>
              <a:gd name="connsiteX944" fmla="*/ 3105400 w 7467600"/>
              <a:gd name="connsiteY944" fmla="*/ 0 h 6858000"/>
              <a:gd name="connsiteX945" fmla="*/ 3094669 w 7467600"/>
              <a:gd name="connsiteY945" fmla="*/ 30308 h 6858000"/>
              <a:gd name="connsiteX946" fmla="*/ 2901945 w 7467600"/>
              <a:gd name="connsiteY946" fmla="*/ 466538 h 6858000"/>
              <a:gd name="connsiteX947" fmla="*/ 2815209 w 7467600"/>
              <a:gd name="connsiteY947" fmla="*/ 497361 h 6858000"/>
              <a:gd name="connsiteX948" fmla="*/ 2844845 w 7467600"/>
              <a:gd name="connsiteY948" fmla="*/ 127638 h 6858000"/>
              <a:gd name="connsiteX949" fmla="*/ 2867960 w 7467600"/>
              <a:gd name="connsiteY949" fmla="*/ 0 h 6858000"/>
              <a:gd name="connsiteX950" fmla="*/ 1057230 w 7467600"/>
              <a:gd name="connsiteY950" fmla="*/ 0 h 6858000"/>
              <a:gd name="connsiteX951" fmla="*/ 1111003 w 7467600"/>
              <a:gd name="connsiteY951" fmla="*/ 0 h 6858000"/>
              <a:gd name="connsiteX952" fmla="*/ 1125553 w 7467600"/>
              <a:gd name="connsiteY952" fmla="*/ 52588 h 6858000"/>
              <a:gd name="connsiteX953" fmla="*/ 1304276 w 7467600"/>
              <a:gd name="connsiteY953" fmla="*/ 476275 h 6858000"/>
              <a:gd name="connsiteX954" fmla="*/ 1492066 w 7467600"/>
              <a:gd name="connsiteY954" fmla="*/ 886333 h 6858000"/>
              <a:gd name="connsiteX955" fmla="*/ 1423698 w 7467600"/>
              <a:gd name="connsiteY955" fmla="*/ 710817 h 6858000"/>
              <a:gd name="connsiteX956" fmla="*/ 1357609 w 7467600"/>
              <a:gd name="connsiteY956" fmla="*/ 532892 h 6858000"/>
              <a:gd name="connsiteX957" fmla="*/ 1309550 w 7467600"/>
              <a:gd name="connsiteY957" fmla="*/ 374031 h 6858000"/>
              <a:gd name="connsiteX958" fmla="*/ 1193673 w 7467600"/>
              <a:gd name="connsiteY958" fmla="*/ 49533 h 6858000"/>
              <a:gd name="connsiteX959" fmla="*/ 1164391 w 7467600"/>
              <a:gd name="connsiteY959" fmla="*/ 0 h 6858000"/>
              <a:gd name="connsiteX960" fmla="*/ 1200666 w 7467600"/>
              <a:gd name="connsiteY960" fmla="*/ 0 h 6858000"/>
              <a:gd name="connsiteX961" fmla="*/ 1223408 w 7467600"/>
              <a:gd name="connsiteY961" fmla="*/ 38996 h 6858000"/>
              <a:gd name="connsiteX962" fmla="*/ 1339635 w 7467600"/>
              <a:gd name="connsiteY962" fmla="*/ 365517 h 6858000"/>
              <a:gd name="connsiteX963" fmla="*/ 1387469 w 7467600"/>
              <a:gd name="connsiteY963" fmla="*/ 523079 h 6858000"/>
              <a:gd name="connsiteX964" fmla="*/ 1452685 w 7467600"/>
              <a:gd name="connsiteY964" fmla="*/ 699806 h 6858000"/>
              <a:gd name="connsiteX965" fmla="*/ 1492092 w 7467600"/>
              <a:gd name="connsiteY965" fmla="*/ 800424 h 6858000"/>
              <a:gd name="connsiteX966" fmla="*/ 1455302 w 7467600"/>
              <a:gd name="connsiteY966" fmla="*/ 632913 h 6858000"/>
              <a:gd name="connsiteX967" fmla="*/ 1222336 w 7467600"/>
              <a:gd name="connsiteY967" fmla="*/ 9480 h 6858000"/>
              <a:gd name="connsiteX968" fmla="*/ 1214634 w 7467600"/>
              <a:gd name="connsiteY968" fmla="*/ 0 h 6858000"/>
              <a:gd name="connsiteX969" fmla="*/ 1289827 w 7467600"/>
              <a:gd name="connsiteY969" fmla="*/ 0 h 6858000"/>
              <a:gd name="connsiteX970" fmla="*/ 1321076 w 7467600"/>
              <a:gd name="connsiteY970" fmla="*/ 59722 h 6858000"/>
              <a:gd name="connsiteX971" fmla="*/ 1512579 w 7467600"/>
              <a:gd name="connsiteY971" fmla="*/ 626441 h 6858000"/>
              <a:gd name="connsiteX972" fmla="*/ 1506076 w 7467600"/>
              <a:gd name="connsiteY972" fmla="*/ 1089289 h 6858000"/>
              <a:gd name="connsiteX973" fmla="*/ 1486346 w 7467600"/>
              <a:gd name="connsiteY973" fmla="*/ 1079919 h 6858000"/>
              <a:gd name="connsiteX974" fmla="*/ 1070511 w 7467600"/>
              <a:gd name="connsiteY974" fmla="*/ 48609 h 6858000"/>
              <a:gd name="connsiteX975" fmla="*/ 1057230 w 7467600"/>
              <a:gd name="connsiteY975" fmla="*/ 0 h 6858000"/>
              <a:gd name="connsiteX976" fmla="*/ 43151 w 7467600"/>
              <a:gd name="connsiteY976" fmla="*/ 0 h 6858000"/>
              <a:gd name="connsiteX977" fmla="*/ 95283 w 7467600"/>
              <a:gd name="connsiteY977" fmla="*/ 0 h 6858000"/>
              <a:gd name="connsiteX978" fmla="*/ 300708 w 7467600"/>
              <a:gd name="connsiteY978" fmla="*/ 154571 h 6858000"/>
              <a:gd name="connsiteX979" fmla="*/ 530414 w 7467600"/>
              <a:gd name="connsiteY979" fmla="*/ 354673 h 6858000"/>
              <a:gd name="connsiteX980" fmla="*/ 333785 w 7467600"/>
              <a:gd name="connsiteY980" fmla="*/ 161564 h 6858000"/>
              <a:gd name="connsiteX981" fmla="*/ 147005 w 7467600"/>
              <a:gd name="connsiteY981" fmla="*/ 0 h 6858000"/>
              <a:gd name="connsiteX982" fmla="*/ 272509 w 7467600"/>
              <a:gd name="connsiteY982" fmla="*/ 0 h 6858000"/>
              <a:gd name="connsiteX983" fmla="*/ 326276 w 7467600"/>
              <a:gd name="connsiteY983" fmla="*/ 45847 h 6858000"/>
              <a:gd name="connsiteX984" fmla="*/ 823759 w 7467600"/>
              <a:gd name="connsiteY984" fmla="*/ 574145 h 6858000"/>
              <a:gd name="connsiteX985" fmla="*/ 811254 w 7467600"/>
              <a:gd name="connsiteY985" fmla="*/ 665546 h 6858000"/>
              <a:gd name="connsiteX986" fmla="*/ 154042 w 7467600"/>
              <a:gd name="connsiteY986" fmla="*/ 261522 h 6858000"/>
              <a:gd name="connsiteX987" fmla="*/ 13550 w 7467600"/>
              <a:gd name="connsiteY987" fmla="*/ 158423 h 6858000"/>
              <a:gd name="connsiteX988" fmla="*/ 0 w 7467600"/>
              <a:gd name="connsiteY988" fmla="*/ 146618 h 6858000"/>
              <a:gd name="connsiteX989" fmla="*/ 0 w 7467600"/>
              <a:gd name="connsiteY989" fmla="*/ 59161 h 6858000"/>
              <a:gd name="connsiteX990" fmla="*/ 45427 w 7467600"/>
              <a:gd name="connsiteY990" fmla="*/ 101078 h 6858000"/>
              <a:gd name="connsiteX991" fmla="*/ 630103 w 7467600"/>
              <a:gd name="connsiteY991" fmla="*/ 485885 h 6858000"/>
              <a:gd name="connsiteX992" fmla="*/ 532040 w 7467600"/>
              <a:gd name="connsiteY992" fmla="*/ 399359 h 6858000"/>
              <a:gd name="connsiteX993" fmla="*/ 517618 w 7467600"/>
              <a:gd name="connsiteY993" fmla="*/ 385726 h 6858000"/>
              <a:gd name="connsiteX994" fmla="*/ 285074 w 7467600"/>
              <a:gd name="connsiteY994" fmla="*/ 182755 h 6858000"/>
              <a:gd name="connsiteX995" fmla="*/ 43151 w 7467600"/>
              <a:gd name="connsiteY995"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467600 w 7467600"/>
              <a:gd name="connsiteY127" fmla="*/ 5277736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1903353 w 7467600"/>
              <a:gd name="connsiteY139" fmla="*/ 5044827 h 6858000"/>
              <a:gd name="connsiteX140" fmla="*/ 1936931 w 7467600"/>
              <a:gd name="connsiteY140" fmla="*/ 5093954 h 6858000"/>
              <a:gd name="connsiteX141" fmla="*/ 2195868 w 7467600"/>
              <a:gd name="connsiteY141" fmla="*/ 5396574 h 6858000"/>
              <a:gd name="connsiteX142" fmla="*/ 2088852 w 7467600"/>
              <a:gd name="connsiteY142" fmla="*/ 5166123 h 6858000"/>
              <a:gd name="connsiteX143" fmla="*/ 1958241 w 7467600"/>
              <a:gd name="connsiteY143" fmla="*/ 5067955 h 6858000"/>
              <a:gd name="connsiteX144" fmla="*/ 1903353 w 7467600"/>
              <a:gd name="connsiteY144" fmla="*/ 5044827 h 6858000"/>
              <a:gd name="connsiteX145" fmla="*/ 1979378 w 7467600"/>
              <a:gd name="connsiteY145" fmla="*/ 4769504 h 6858000"/>
              <a:gd name="connsiteX146" fmla="*/ 2882120 w 7467600"/>
              <a:gd name="connsiteY146" fmla="*/ 5064547 h 6858000"/>
              <a:gd name="connsiteX147" fmla="*/ 2793103 w 7467600"/>
              <a:gd name="connsiteY147" fmla="*/ 5039699 h 6858000"/>
              <a:gd name="connsiteX148" fmla="*/ 2770041 w 7467600"/>
              <a:gd name="connsiteY148" fmla="*/ 5033634 h 6858000"/>
              <a:gd name="connsiteX149" fmla="*/ 1979378 w 7467600"/>
              <a:gd name="connsiteY149" fmla="*/ 4769504 h 6858000"/>
              <a:gd name="connsiteX150" fmla="*/ 1927410 w 7467600"/>
              <a:gd name="connsiteY150" fmla="*/ 4716164 h 6858000"/>
              <a:gd name="connsiteX151" fmla="*/ 1959587 w 7467600"/>
              <a:gd name="connsiteY151" fmla="*/ 4728849 h 6858000"/>
              <a:gd name="connsiteX152" fmla="*/ 2777707 w 7467600"/>
              <a:gd name="connsiteY152" fmla="*/ 5003991 h 6858000"/>
              <a:gd name="connsiteX153" fmla="*/ 2800768 w 7467600"/>
              <a:gd name="connsiteY153" fmla="*/ 5010056 h 6858000"/>
              <a:gd name="connsiteX154" fmla="*/ 2879408 w 7467600"/>
              <a:gd name="connsiteY154" fmla="*/ 5031590 h 6858000"/>
              <a:gd name="connsiteX155" fmla="*/ 2862295 w 7467600"/>
              <a:gd name="connsiteY155" fmla="*/ 5022958 h 6858000"/>
              <a:gd name="connsiteX156" fmla="*/ 2813343 w 7467600"/>
              <a:gd name="connsiteY156" fmla="*/ 4998369 h 6858000"/>
              <a:gd name="connsiteX157" fmla="*/ 2646245 w 7467600"/>
              <a:gd name="connsiteY157" fmla="*/ 4930999 h 6858000"/>
              <a:gd name="connsiteX158" fmla="*/ 1999243 w 7467600"/>
              <a:gd name="connsiteY158" fmla="*/ 4730524 h 6858000"/>
              <a:gd name="connsiteX159" fmla="*/ 1979527 w 7467600"/>
              <a:gd name="connsiteY159" fmla="*/ 4726651 h 6858000"/>
              <a:gd name="connsiteX160" fmla="*/ 1927410 w 7467600"/>
              <a:gd name="connsiteY160" fmla="*/ 4716164 h 6858000"/>
              <a:gd name="connsiteX161" fmla="*/ 1997014 w 7467600"/>
              <a:gd name="connsiteY161" fmla="*/ 4698007 h 6858000"/>
              <a:gd name="connsiteX162" fmla="*/ 2005458 w 7467600"/>
              <a:gd name="connsiteY162" fmla="*/ 4699540 h 6858000"/>
              <a:gd name="connsiteX163" fmla="*/ 2657186 w 7467600"/>
              <a:gd name="connsiteY163" fmla="*/ 4901687 h 6858000"/>
              <a:gd name="connsiteX164" fmla="*/ 2826662 w 7467600"/>
              <a:gd name="connsiteY164" fmla="*/ 4970362 h 6858000"/>
              <a:gd name="connsiteX165" fmla="*/ 2876100 w 7467600"/>
              <a:gd name="connsiteY165" fmla="*/ 4995397 h 6858000"/>
              <a:gd name="connsiteX166" fmla="*/ 3042600 w 7467600"/>
              <a:gd name="connsiteY166" fmla="*/ 5059532 h 6858000"/>
              <a:gd name="connsiteX167" fmla="*/ 1997014 w 7467600"/>
              <a:gd name="connsiteY167" fmla="*/ 4698007 h 6858000"/>
              <a:gd name="connsiteX168" fmla="*/ 2305292 w 7467600"/>
              <a:gd name="connsiteY168" fmla="*/ 4219492 h 6858000"/>
              <a:gd name="connsiteX169" fmla="*/ 3360922 w 7467600"/>
              <a:gd name="connsiteY169" fmla="*/ 4529373 h 6858000"/>
              <a:gd name="connsiteX170" fmla="*/ 3492420 w 7467600"/>
              <a:gd name="connsiteY170" fmla="*/ 4510145 h 6858000"/>
              <a:gd name="connsiteX171" fmla="*/ 3364086 w 7467600"/>
              <a:gd name="connsiteY171" fmla="*/ 4480340 h 6858000"/>
              <a:gd name="connsiteX172" fmla="*/ 3225818 w 7467600"/>
              <a:gd name="connsiteY172" fmla="*/ 4411822 h 6858000"/>
              <a:gd name="connsiteX173" fmla="*/ 3129696 w 7467600"/>
              <a:gd name="connsiteY173" fmla="*/ 4360704 h 6858000"/>
              <a:gd name="connsiteX174" fmla="*/ 2814545 w 7467600"/>
              <a:gd name="connsiteY174" fmla="*/ 4282955 h 6858000"/>
              <a:gd name="connsiteX175" fmla="*/ 2305292 w 7467600"/>
              <a:gd name="connsiteY175" fmla="*/ 4219492 h 6858000"/>
              <a:gd name="connsiteX176" fmla="*/ 2626982 w 7467600"/>
              <a:gd name="connsiteY176" fmla="*/ 4206450 h 6858000"/>
              <a:gd name="connsiteX177" fmla="*/ 2490617 w 7467600"/>
              <a:gd name="connsiteY177" fmla="*/ 4206951 h 6858000"/>
              <a:gd name="connsiteX178" fmla="*/ 2819869 w 7467600"/>
              <a:gd name="connsiteY178" fmla="*/ 4252936 h 6858000"/>
              <a:gd name="connsiteX179" fmla="*/ 3143018 w 7467600"/>
              <a:gd name="connsiteY179" fmla="*/ 4332698 h 6858000"/>
              <a:gd name="connsiteX180" fmla="*/ 3241520 w 7467600"/>
              <a:gd name="connsiteY180" fmla="*/ 4385112 h 6858000"/>
              <a:gd name="connsiteX181" fmla="*/ 3374575 w 7467600"/>
              <a:gd name="connsiteY181" fmla="*/ 4451517 h 6858000"/>
              <a:gd name="connsiteX182" fmla="*/ 3505221 w 7467600"/>
              <a:gd name="connsiteY182" fmla="*/ 4480757 h 6858000"/>
              <a:gd name="connsiteX183" fmla="*/ 2626982 w 7467600"/>
              <a:gd name="connsiteY183" fmla="*/ 4206450 h 6858000"/>
              <a:gd name="connsiteX184" fmla="*/ 1310106 w 7467600"/>
              <a:gd name="connsiteY184" fmla="*/ 3943217 h 6858000"/>
              <a:gd name="connsiteX185" fmla="*/ 854994 w 7467600"/>
              <a:gd name="connsiteY185" fmla="*/ 4399136 h 6858000"/>
              <a:gd name="connsiteX186" fmla="*/ 742462 w 7467600"/>
              <a:gd name="connsiteY186" fmla="*/ 4594648 h 6858000"/>
              <a:gd name="connsiteX187" fmla="*/ 820602 w 7467600"/>
              <a:gd name="connsiteY187" fmla="*/ 4485915 h 6858000"/>
              <a:gd name="connsiteX188" fmla="*/ 878295 w 7467600"/>
              <a:gd name="connsiteY188" fmla="*/ 4403594 h 6858000"/>
              <a:gd name="connsiteX189" fmla="*/ 1240607 w 7467600"/>
              <a:gd name="connsiteY189" fmla="*/ 4010401 h 6858000"/>
              <a:gd name="connsiteX190" fmla="*/ 1310106 w 7467600"/>
              <a:gd name="connsiteY190" fmla="*/ 3943217 h 6858000"/>
              <a:gd name="connsiteX191" fmla="*/ 1423113 w 7467600"/>
              <a:gd name="connsiteY191" fmla="*/ 3874565 h 6858000"/>
              <a:gd name="connsiteX192" fmla="*/ 1260565 w 7467600"/>
              <a:gd name="connsiteY192" fmla="*/ 4031982 h 6858000"/>
              <a:gd name="connsiteX193" fmla="*/ 901900 w 7467600"/>
              <a:gd name="connsiteY193" fmla="*/ 4421236 h 6858000"/>
              <a:gd name="connsiteX194" fmla="*/ 845044 w 7467600"/>
              <a:gd name="connsiteY194" fmla="*/ 4502436 h 6858000"/>
              <a:gd name="connsiteX195" fmla="*/ 685926 w 7467600"/>
              <a:gd name="connsiteY195" fmla="*/ 4703069 h 6858000"/>
              <a:gd name="connsiteX196" fmla="*/ 684248 w 7467600"/>
              <a:gd name="connsiteY196" fmla="*/ 4706721 h 6858000"/>
              <a:gd name="connsiteX197" fmla="*/ 1423113 w 7467600"/>
              <a:gd name="connsiteY197" fmla="*/ 3874565 h 6858000"/>
              <a:gd name="connsiteX198" fmla="*/ 3316479 w 7467600"/>
              <a:gd name="connsiteY198" fmla="*/ 3872136 h 6858000"/>
              <a:gd name="connsiteX199" fmla="*/ 3546806 w 7467600"/>
              <a:gd name="connsiteY199" fmla="*/ 4356139 h 6858000"/>
              <a:gd name="connsiteX200" fmla="*/ 3364433 w 7467600"/>
              <a:gd name="connsiteY200" fmla="*/ 3953121 h 6858000"/>
              <a:gd name="connsiteX201" fmla="*/ 3316479 w 7467600"/>
              <a:gd name="connsiteY201" fmla="*/ 3872136 h 6858000"/>
              <a:gd name="connsiteX202" fmla="*/ 3291335 w 7467600"/>
              <a:gd name="connsiteY202" fmla="*/ 3767420 h 6858000"/>
              <a:gd name="connsiteX203" fmla="*/ 3390805 w 7467600"/>
              <a:gd name="connsiteY203" fmla="*/ 3937163 h 6858000"/>
              <a:gd name="connsiteX204" fmla="*/ 3579062 w 7467600"/>
              <a:gd name="connsiteY204" fmla="*/ 4359040 h 6858000"/>
              <a:gd name="connsiteX205" fmla="*/ 3467355 w 7467600"/>
              <a:gd name="connsiteY205" fmla="*/ 3988130 h 6858000"/>
              <a:gd name="connsiteX206" fmla="*/ 3310753 w 7467600"/>
              <a:gd name="connsiteY206" fmla="*/ 3787140 h 6858000"/>
              <a:gd name="connsiteX207" fmla="*/ 3291335 w 7467600"/>
              <a:gd name="connsiteY207" fmla="*/ 3767420 h 6858000"/>
              <a:gd name="connsiteX208" fmla="*/ 1635889 w 7467600"/>
              <a:gd name="connsiteY208" fmla="*/ 3709494 h 6858000"/>
              <a:gd name="connsiteX209" fmla="*/ 1634800 w 7467600"/>
              <a:gd name="connsiteY209" fmla="*/ 3731111 h 6858000"/>
              <a:gd name="connsiteX210" fmla="*/ 1635889 w 7467600"/>
              <a:gd name="connsiteY210" fmla="*/ 3709494 h 6858000"/>
              <a:gd name="connsiteX211" fmla="*/ 1510397 w 7467600"/>
              <a:gd name="connsiteY211" fmla="*/ 3684705 h 6858000"/>
              <a:gd name="connsiteX212" fmla="*/ 1146550 w 7467600"/>
              <a:gd name="connsiteY212" fmla="*/ 3802012 h 6858000"/>
              <a:gd name="connsiteX213" fmla="*/ 698834 w 7467600"/>
              <a:gd name="connsiteY213" fmla="*/ 3952272 h 6858000"/>
              <a:gd name="connsiteX214" fmla="*/ 34256 w 7467600"/>
              <a:gd name="connsiteY214" fmla="*/ 4347603 h 6858000"/>
              <a:gd name="connsiteX215" fmla="*/ 527241 w 7467600"/>
              <a:gd name="connsiteY215" fmla="*/ 4065078 h 6858000"/>
              <a:gd name="connsiteX216" fmla="*/ 1510397 w 7467600"/>
              <a:gd name="connsiteY216" fmla="*/ 3684705 h 6858000"/>
              <a:gd name="connsiteX217" fmla="*/ 1313114 w 7467600"/>
              <a:gd name="connsiteY217" fmla="*/ 3655216 h 6858000"/>
              <a:gd name="connsiteX218" fmla="*/ 1109304 w 7467600"/>
              <a:gd name="connsiteY218" fmla="*/ 3669030 h 6858000"/>
              <a:gd name="connsiteX219" fmla="*/ 8129 w 7467600"/>
              <a:gd name="connsiteY219" fmla="*/ 4330519 h 6858000"/>
              <a:gd name="connsiteX220" fmla="*/ 687572 w 7467600"/>
              <a:gd name="connsiteY220" fmla="*/ 3925629 h 6858000"/>
              <a:gd name="connsiteX221" fmla="*/ 1138365 w 7467600"/>
              <a:gd name="connsiteY221" fmla="*/ 3774515 h 6858000"/>
              <a:gd name="connsiteX222" fmla="*/ 1505579 w 7467600"/>
              <a:gd name="connsiteY222" fmla="*/ 3655526 h 6858000"/>
              <a:gd name="connsiteX223" fmla="*/ 1313114 w 7467600"/>
              <a:gd name="connsiteY223" fmla="*/ 3655216 h 6858000"/>
              <a:gd name="connsiteX224" fmla="*/ 3655073 w 7467600"/>
              <a:gd name="connsiteY224" fmla="*/ 3650884 h 6858000"/>
              <a:gd name="connsiteX225" fmla="*/ 3989938 w 7467600"/>
              <a:gd name="connsiteY225" fmla="*/ 3991685 h 6858000"/>
              <a:gd name="connsiteX226" fmla="*/ 4393907 w 7467600"/>
              <a:gd name="connsiteY226" fmla="*/ 4261258 h 6858000"/>
              <a:gd name="connsiteX227" fmla="*/ 4648051 w 7467600"/>
              <a:gd name="connsiteY227" fmla="*/ 4374051 h 6858000"/>
              <a:gd name="connsiteX228" fmla="*/ 4383389 w 7467600"/>
              <a:gd name="connsiteY228" fmla="*/ 4184369 h 6858000"/>
              <a:gd name="connsiteX229" fmla="*/ 4165508 w 7467600"/>
              <a:gd name="connsiteY229" fmla="*/ 4035196 h 6858000"/>
              <a:gd name="connsiteX230" fmla="*/ 4068162 w 7467600"/>
              <a:gd name="connsiteY230" fmla="*/ 3953394 h 6858000"/>
              <a:gd name="connsiteX231" fmla="*/ 3981416 w 7467600"/>
              <a:gd name="connsiteY231" fmla="*/ 3880482 h 6858000"/>
              <a:gd name="connsiteX232" fmla="*/ 3800147 w 7467600"/>
              <a:gd name="connsiteY232" fmla="*/ 3749872 h 6858000"/>
              <a:gd name="connsiteX233" fmla="*/ 3655073 w 7467600"/>
              <a:gd name="connsiteY233" fmla="*/ 3650884 h 6858000"/>
              <a:gd name="connsiteX234" fmla="*/ 3670252 w 7467600"/>
              <a:gd name="connsiteY234" fmla="*/ 3622798 h 6858000"/>
              <a:gd name="connsiteX235" fmla="*/ 3817258 w 7467600"/>
              <a:gd name="connsiteY235" fmla="*/ 3723577 h 6858000"/>
              <a:gd name="connsiteX236" fmla="*/ 4000461 w 7467600"/>
              <a:gd name="connsiteY236" fmla="*/ 3855966 h 6858000"/>
              <a:gd name="connsiteX237" fmla="*/ 4088180 w 7467600"/>
              <a:gd name="connsiteY237" fmla="*/ 3929774 h 6858000"/>
              <a:gd name="connsiteX238" fmla="*/ 4184555 w 7467600"/>
              <a:gd name="connsiteY238" fmla="*/ 4010683 h 6858000"/>
              <a:gd name="connsiteX239" fmla="*/ 4399563 w 7467600"/>
              <a:gd name="connsiteY239" fmla="*/ 4158106 h 6858000"/>
              <a:gd name="connsiteX240" fmla="*/ 4684469 w 7467600"/>
              <a:gd name="connsiteY240" fmla="*/ 4364680 h 6858000"/>
              <a:gd name="connsiteX241" fmla="*/ 4690271 w 7467600"/>
              <a:gd name="connsiteY241" fmla="*/ 4370034 h 6858000"/>
              <a:gd name="connsiteX242" fmla="*/ 4136093 w 7467600"/>
              <a:gd name="connsiteY242" fmla="*/ 3858466 h 6858000"/>
              <a:gd name="connsiteX243" fmla="*/ 3670252 w 7467600"/>
              <a:gd name="connsiteY243" fmla="*/ 3622798 h 6858000"/>
              <a:gd name="connsiteX244" fmla="*/ 4440129 w 7467600"/>
              <a:gd name="connsiteY244" fmla="*/ 3448571 h 6858000"/>
              <a:gd name="connsiteX245" fmla="*/ 4856525 w 7467600"/>
              <a:gd name="connsiteY245" fmla="*/ 3915351 h 6858000"/>
              <a:gd name="connsiteX246" fmla="*/ 5059055 w 7467600"/>
              <a:gd name="connsiteY246" fmla="*/ 4108918 h 6858000"/>
              <a:gd name="connsiteX247" fmla="*/ 5290070 w 7467600"/>
              <a:gd name="connsiteY247" fmla="*/ 4263619 h 6858000"/>
              <a:gd name="connsiteX248" fmla="*/ 4834991 w 7467600"/>
              <a:gd name="connsiteY248" fmla="*/ 3830985 h 6858000"/>
              <a:gd name="connsiteX249" fmla="*/ 4440129 w 7467600"/>
              <a:gd name="connsiteY249" fmla="*/ 3448571 h 6858000"/>
              <a:gd name="connsiteX250" fmla="*/ 4441737 w 7467600"/>
              <a:gd name="connsiteY250" fmla="*/ 3399734 h 6858000"/>
              <a:gd name="connsiteX251" fmla="*/ 4431236 w 7467600"/>
              <a:gd name="connsiteY251" fmla="*/ 3400954 h 6858000"/>
              <a:gd name="connsiteX252" fmla="*/ 4557150 w 7467600"/>
              <a:gd name="connsiteY252" fmla="*/ 3510023 h 6858000"/>
              <a:gd name="connsiteX253" fmla="*/ 4856936 w 7467600"/>
              <a:gd name="connsiteY253" fmla="*/ 3809146 h 6858000"/>
              <a:gd name="connsiteX254" fmla="*/ 5111996 w 7467600"/>
              <a:gd name="connsiteY254" fmla="*/ 4065759 h 6858000"/>
              <a:gd name="connsiteX255" fmla="*/ 5388878 w 7467600"/>
              <a:gd name="connsiteY255" fmla="*/ 4300185 h 6858000"/>
              <a:gd name="connsiteX256" fmla="*/ 5425556 w 7467600"/>
              <a:gd name="connsiteY256" fmla="*/ 4308967 h 6858000"/>
              <a:gd name="connsiteX257" fmla="*/ 4943646 w 7467600"/>
              <a:gd name="connsiteY257" fmla="*/ 3822916 h 6858000"/>
              <a:gd name="connsiteX258" fmla="*/ 4594837 w 7467600"/>
              <a:gd name="connsiteY258" fmla="*/ 3532274 h 6858000"/>
              <a:gd name="connsiteX259" fmla="*/ 4441737 w 7467600"/>
              <a:gd name="connsiteY259" fmla="*/ 3399734 h 6858000"/>
              <a:gd name="connsiteX260" fmla="*/ 5425834 w 7467600"/>
              <a:gd name="connsiteY260" fmla="*/ 3162785 h 6858000"/>
              <a:gd name="connsiteX261" fmla="*/ 5401644 w 7467600"/>
              <a:gd name="connsiteY261" fmla="*/ 3617847 h 6858000"/>
              <a:gd name="connsiteX262" fmla="*/ 5467256 w 7467600"/>
              <a:gd name="connsiteY262" fmla="*/ 4175494 h 6858000"/>
              <a:gd name="connsiteX263" fmla="*/ 5448069 w 7467600"/>
              <a:gd name="connsiteY263" fmla="*/ 3567554 h 6858000"/>
              <a:gd name="connsiteX264" fmla="*/ 5425834 w 7467600"/>
              <a:gd name="connsiteY264" fmla="*/ 3162785 h 6858000"/>
              <a:gd name="connsiteX265" fmla="*/ 1318687 w 7467600"/>
              <a:gd name="connsiteY265" fmla="*/ 3113840 h 6858000"/>
              <a:gd name="connsiteX266" fmla="*/ 1066793 w 7467600"/>
              <a:gd name="connsiteY266" fmla="*/ 3212171 h 6858000"/>
              <a:gd name="connsiteX267" fmla="*/ 993319 w 7467600"/>
              <a:gd name="connsiteY267" fmla="*/ 3247648 h 6858000"/>
              <a:gd name="connsiteX268" fmla="*/ 853081 w 7467600"/>
              <a:gd name="connsiteY268" fmla="*/ 3312410 h 6858000"/>
              <a:gd name="connsiteX269" fmla="*/ 805957 w 7467600"/>
              <a:gd name="connsiteY269" fmla="*/ 3330443 h 6858000"/>
              <a:gd name="connsiteX270" fmla="*/ 1318687 w 7467600"/>
              <a:gd name="connsiteY270" fmla="*/ 3113840 h 6858000"/>
              <a:gd name="connsiteX271" fmla="*/ 5453702 w 7467600"/>
              <a:gd name="connsiteY271" fmla="*/ 3090882 h 6858000"/>
              <a:gd name="connsiteX272" fmla="*/ 5480135 w 7467600"/>
              <a:gd name="connsiteY272" fmla="*/ 3565802 h 6858000"/>
              <a:gd name="connsiteX273" fmla="*/ 5499023 w 7467600"/>
              <a:gd name="connsiteY273" fmla="*/ 4166310 h 6858000"/>
              <a:gd name="connsiteX274" fmla="*/ 5547022 w 7467600"/>
              <a:gd name="connsiteY274" fmla="*/ 3607838 h 6858000"/>
              <a:gd name="connsiteX275" fmla="*/ 5515964 w 7467600"/>
              <a:gd name="connsiteY275" fmla="*/ 3378541 h 6858000"/>
              <a:gd name="connsiteX276" fmla="*/ 5453702 w 7467600"/>
              <a:gd name="connsiteY276" fmla="*/ 3090882 h 6858000"/>
              <a:gd name="connsiteX277" fmla="*/ 1238695 w 7467600"/>
              <a:gd name="connsiteY277" fmla="*/ 3076820 h 6858000"/>
              <a:gd name="connsiteX278" fmla="*/ 716371 w 7467600"/>
              <a:gd name="connsiteY278" fmla="*/ 3293249 h 6858000"/>
              <a:gd name="connsiteX279" fmla="*/ 579522 w 7467600"/>
              <a:gd name="connsiteY279" fmla="*/ 3371759 h 6858000"/>
              <a:gd name="connsiteX280" fmla="*/ 600288 w 7467600"/>
              <a:gd name="connsiteY280" fmla="*/ 3365555 h 6858000"/>
              <a:gd name="connsiteX281" fmla="*/ 840692 w 7467600"/>
              <a:gd name="connsiteY281" fmla="*/ 3284921 h 6858000"/>
              <a:gd name="connsiteX282" fmla="*/ 979248 w 7467600"/>
              <a:gd name="connsiteY282" fmla="*/ 3221003 h 6858000"/>
              <a:gd name="connsiteX283" fmla="*/ 1053282 w 7467600"/>
              <a:gd name="connsiteY283" fmla="*/ 3185247 h 6858000"/>
              <a:gd name="connsiteX284" fmla="*/ 1320603 w 7467600"/>
              <a:gd name="connsiteY284" fmla="*/ 3081281 h 6858000"/>
              <a:gd name="connsiteX285" fmla="*/ 1238695 w 7467600"/>
              <a:gd name="connsiteY285" fmla="*/ 3076820 h 6858000"/>
              <a:gd name="connsiteX286" fmla="*/ 5425627 w 7467600"/>
              <a:gd name="connsiteY286" fmla="*/ 2954192 h 6858000"/>
              <a:gd name="connsiteX287" fmla="*/ 5470770 w 7467600"/>
              <a:gd name="connsiteY287" fmla="*/ 3005435 h 6858000"/>
              <a:gd name="connsiteX288" fmla="*/ 5519779 w 7467600"/>
              <a:gd name="connsiteY288" fmla="*/ 4359223 h 6858000"/>
              <a:gd name="connsiteX289" fmla="*/ 5520293 w 7467600"/>
              <a:gd name="connsiteY289" fmla="*/ 4360602 h 6858000"/>
              <a:gd name="connsiteX290" fmla="*/ 5767221 w 7467600"/>
              <a:gd name="connsiteY290" fmla="*/ 4665564 h 6858000"/>
              <a:gd name="connsiteX291" fmla="*/ 6937169 w 7467600"/>
              <a:gd name="connsiteY291" fmla="*/ 4815941 h 6858000"/>
              <a:gd name="connsiteX292" fmla="*/ 6953922 w 7467600"/>
              <a:gd name="connsiteY292" fmla="*/ 4890068 h 6858000"/>
              <a:gd name="connsiteX293" fmla="*/ 6071359 w 7467600"/>
              <a:gd name="connsiteY293" fmla="*/ 4770770 h 6858000"/>
              <a:gd name="connsiteX294" fmla="*/ 6038839 w 7467600"/>
              <a:gd name="connsiteY294" fmla="*/ 4764474 h 6858000"/>
              <a:gd name="connsiteX295" fmla="*/ 6038706 w 7467600"/>
              <a:gd name="connsiteY295" fmla="*/ 4763847 h 6858000"/>
              <a:gd name="connsiteX296" fmla="*/ 6037784 w 7467600"/>
              <a:gd name="connsiteY296" fmla="*/ 4764270 h 6858000"/>
              <a:gd name="connsiteX297" fmla="*/ 6038839 w 7467600"/>
              <a:gd name="connsiteY297" fmla="*/ 4764474 h 6858000"/>
              <a:gd name="connsiteX298" fmla="*/ 6040338 w 7467600"/>
              <a:gd name="connsiteY298" fmla="*/ 4771418 h 6858000"/>
              <a:gd name="connsiteX299" fmla="*/ 6024488 w 7467600"/>
              <a:gd name="connsiteY299" fmla="*/ 4809903 h 6858000"/>
              <a:gd name="connsiteX300" fmla="*/ 5599771 w 7467600"/>
              <a:gd name="connsiteY300" fmla="*/ 5509652 h 6858000"/>
              <a:gd name="connsiteX301" fmla="*/ 5548843 w 7467600"/>
              <a:gd name="connsiteY301" fmla="*/ 5563845 h 6858000"/>
              <a:gd name="connsiteX302" fmla="*/ 5940952 w 7467600"/>
              <a:gd name="connsiteY302" fmla="*/ 6250028 h 6858000"/>
              <a:gd name="connsiteX303" fmla="*/ 6043441 w 7467600"/>
              <a:gd name="connsiteY303" fmla="*/ 6665847 h 6858000"/>
              <a:gd name="connsiteX304" fmla="*/ 6093432 w 7467600"/>
              <a:gd name="connsiteY304" fmla="*/ 6858000 h 6858000"/>
              <a:gd name="connsiteX305" fmla="*/ 6034344 w 7467600"/>
              <a:gd name="connsiteY305" fmla="*/ 6858000 h 6858000"/>
              <a:gd name="connsiteX306" fmla="*/ 6026679 w 7467600"/>
              <a:gd name="connsiteY306" fmla="*/ 6836959 h 6858000"/>
              <a:gd name="connsiteX307" fmla="*/ 5800441 w 7467600"/>
              <a:gd name="connsiteY307" fmla="*/ 6335286 h 6858000"/>
              <a:gd name="connsiteX308" fmla="*/ 5526562 w 7467600"/>
              <a:gd name="connsiteY308" fmla="*/ 5705388 h 6858000"/>
              <a:gd name="connsiteX309" fmla="*/ 5519640 w 7467600"/>
              <a:gd name="connsiteY309" fmla="*/ 5683774 h 6858000"/>
              <a:gd name="connsiteX310" fmla="*/ 5844559 w 7467600"/>
              <a:gd name="connsiteY310" fmla="*/ 6553349 h 6858000"/>
              <a:gd name="connsiteX311" fmla="*/ 5975994 w 7467600"/>
              <a:gd name="connsiteY311" fmla="*/ 6858000 h 6858000"/>
              <a:gd name="connsiteX312" fmla="*/ 5898547 w 7467600"/>
              <a:gd name="connsiteY312" fmla="*/ 6858000 h 6858000"/>
              <a:gd name="connsiteX313" fmla="*/ 5682041 w 7467600"/>
              <a:gd name="connsiteY313" fmla="*/ 6355860 h 6858000"/>
              <a:gd name="connsiteX314" fmla="*/ 5461758 w 7467600"/>
              <a:gd name="connsiteY314" fmla="*/ 5820220 h 6858000"/>
              <a:gd name="connsiteX315" fmla="*/ 5237282 w 7467600"/>
              <a:gd name="connsiteY315" fmla="*/ 6579086 h 6858000"/>
              <a:gd name="connsiteX316" fmla="*/ 5115009 w 7467600"/>
              <a:gd name="connsiteY316" fmla="*/ 6858000 h 6858000"/>
              <a:gd name="connsiteX317" fmla="*/ 5028074 w 7467600"/>
              <a:gd name="connsiteY317" fmla="*/ 6858000 h 6858000"/>
              <a:gd name="connsiteX318" fmla="*/ 5079508 w 7467600"/>
              <a:gd name="connsiteY318" fmla="*/ 6749074 h 6858000"/>
              <a:gd name="connsiteX319" fmla="*/ 5371846 w 7467600"/>
              <a:gd name="connsiteY319" fmla="*/ 5924413 h 6858000"/>
              <a:gd name="connsiteX320" fmla="*/ 5270512 w 7467600"/>
              <a:gd name="connsiteY320" fmla="*/ 6138975 h 6858000"/>
              <a:gd name="connsiteX321" fmla="*/ 5062409 w 7467600"/>
              <a:gd name="connsiteY321" fmla="*/ 6653544 h 6858000"/>
              <a:gd name="connsiteX322" fmla="*/ 5036628 w 7467600"/>
              <a:gd name="connsiteY322" fmla="*/ 6754247 h 6858000"/>
              <a:gd name="connsiteX323" fmla="*/ 5009112 w 7467600"/>
              <a:gd name="connsiteY323" fmla="*/ 6858000 h 6858000"/>
              <a:gd name="connsiteX324" fmla="*/ 4976679 w 7467600"/>
              <a:gd name="connsiteY324" fmla="*/ 6858000 h 6858000"/>
              <a:gd name="connsiteX325" fmla="*/ 5006537 w 7467600"/>
              <a:gd name="connsiteY325" fmla="*/ 6747068 h 6858000"/>
              <a:gd name="connsiteX326" fmla="*/ 5032723 w 7467600"/>
              <a:gd name="connsiteY326" fmla="*/ 6644957 h 6858000"/>
              <a:gd name="connsiteX327" fmla="*/ 5242949 w 7467600"/>
              <a:gd name="connsiteY327" fmla="*/ 6125175 h 6858000"/>
              <a:gd name="connsiteX328" fmla="*/ 5286321 w 7467600"/>
              <a:gd name="connsiteY328" fmla="*/ 6033555 h 6858000"/>
              <a:gd name="connsiteX329" fmla="*/ 5008210 w 7467600"/>
              <a:gd name="connsiteY329" fmla="*/ 6649194 h 6858000"/>
              <a:gd name="connsiteX330" fmla="*/ 4986321 w 7467600"/>
              <a:gd name="connsiteY330" fmla="*/ 6765687 h 6858000"/>
              <a:gd name="connsiteX331" fmla="*/ 4973474 w 7467600"/>
              <a:gd name="connsiteY331" fmla="*/ 6858000 h 6858000"/>
              <a:gd name="connsiteX332" fmla="*/ 4907178 w 7467600"/>
              <a:gd name="connsiteY332" fmla="*/ 6858000 h 6858000"/>
              <a:gd name="connsiteX333" fmla="*/ 4910810 w 7467600"/>
              <a:gd name="connsiteY333" fmla="*/ 6829660 h 6858000"/>
              <a:gd name="connsiteX334" fmla="*/ 4987461 w 7467600"/>
              <a:gd name="connsiteY334" fmla="*/ 6432994 h 6858000"/>
              <a:gd name="connsiteX335" fmla="*/ 5179262 w 7467600"/>
              <a:gd name="connsiteY335" fmla="*/ 6035044 h 6858000"/>
              <a:gd name="connsiteX336" fmla="*/ 4689678 w 7467600"/>
              <a:gd name="connsiteY336" fmla="*/ 6440241 h 6858000"/>
              <a:gd name="connsiteX337" fmla="*/ 4477543 w 7467600"/>
              <a:gd name="connsiteY337" fmla="*/ 6674836 h 6858000"/>
              <a:gd name="connsiteX338" fmla="*/ 4329957 w 7467600"/>
              <a:gd name="connsiteY338" fmla="*/ 6858000 h 6858000"/>
              <a:gd name="connsiteX339" fmla="*/ 4218595 w 7467600"/>
              <a:gd name="connsiteY339" fmla="*/ 6858000 h 6858000"/>
              <a:gd name="connsiteX340" fmla="*/ 4368888 w 7467600"/>
              <a:gd name="connsiteY340" fmla="*/ 6668412 h 6858000"/>
              <a:gd name="connsiteX341" fmla="*/ 4563091 w 7467600"/>
              <a:gd name="connsiteY341" fmla="*/ 6442508 h 6858000"/>
              <a:gd name="connsiteX342" fmla="*/ 5387324 w 7467600"/>
              <a:gd name="connsiteY342" fmla="*/ 5705830 h 6858000"/>
              <a:gd name="connsiteX343" fmla="*/ 5073620 w 7467600"/>
              <a:gd name="connsiteY343" fmla="*/ 5955437 h 6858000"/>
              <a:gd name="connsiteX344" fmla="*/ 4689789 w 7467600"/>
              <a:gd name="connsiteY344" fmla="*/ 6268382 h 6858000"/>
              <a:gd name="connsiteX345" fmla="*/ 4418722 w 7467600"/>
              <a:gd name="connsiteY345" fmla="*/ 6570886 h 6858000"/>
              <a:gd name="connsiteX346" fmla="*/ 4214944 w 7467600"/>
              <a:gd name="connsiteY346" fmla="*/ 6858000 h 6858000"/>
              <a:gd name="connsiteX347" fmla="*/ 4177898 w 7467600"/>
              <a:gd name="connsiteY347" fmla="*/ 6858000 h 6858000"/>
              <a:gd name="connsiteX348" fmla="*/ 4391597 w 7467600"/>
              <a:gd name="connsiteY348" fmla="*/ 6556370 h 6858000"/>
              <a:gd name="connsiteX349" fmla="*/ 4668889 w 7467600"/>
              <a:gd name="connsiteY349" fmla="*/ 6246399 h 6858000"/>
              <a:gd name="connsiteX350" fmla="*/ 5055427 w 7467600"/>
              <a:gd name="connsiteY350" fmla="*/ 5931476 h 6858000"/>
              <a:gd name="connsiteX351" fmla="*/ 5371814 w 7467600"/>
              <a:gd name="connsiteY351" fmla="*/ 5678975 h 6858000"/>
              <a:gd name="connsiteX352" fmla="*/ 4987918 w 7467600"/>
              <a:gd name="connsiteY352" fmla="*/ 5838701 h 6858000"/>
              <a:gd name="connsiteX353" fmla="*/ 4317146 w 7467600"/>
              <a:gd name="connsiteY353" fmla="*/ 6587716 h 6858000"/>
              <a:gd name="connsiteX354" fmla="*/ 4171627 w 7467600"/>
              <a:gd name="connsiteY354" fmla="*/ 6858000 h 6858000"/>
              <a:gd name="connsiteX355" fmla="*/ 4081585 w 7467600"/>
              <a:gd name="connsiteY355" fmla="*/ 6858000 h 6858000"/>
              <a:gd name="connsiteX356" fmla="*/ 4238603 w 7467600"/>
              <a:gd name="connsiteY356" fmla="*/ 6559341 h 6858000"/>
              <a:gd name="connsiteX357" fmla="*/ 4778333 w 7467600"/>
              <a:gd name="connsiteY357" fmla="*/ 5873626 h 6858000"/>
              <a:gd name="connsiteX358" fmla="*/ 5414185 w 7467600"/>
              <a:gd name="connsiteY358" fmla="*/ 5573882 h 6858000"/>
              <a:gd name="connsiteX359" fmla="*/ 5959648 w 7467600"/>
              <a:gd name="connsiteY359" fmla="*/ 4760797 h 6858000"/>
              <a:gd name="connsiteX360" fmla="*/ 5355019 w 7467600"/>
              <a:gd name="connsiteY360" fmla="*/ 4734672 h 6858000"/>
              <a:gd name="connsiteX361" fmla="*/ 5083565 w 7467600"/>
              <a:gd name="connsiteY361" fmla="*/ 5179121 h 6858000"/>
              <a:gd name="connsiteX362" fmla="*/ 4713577 w 7467600"/>
              <a:gd name="connsiteY362" fmla="*/ 5616803 h 6858000"/>
              <a:gd name="connsiteX363" fmla="*/ 3989559 w 7467600"/>
              <a:gd name="connsiteY363" fmla="*/ 6145945 h 6858000"/>
              <a:gd name="connsiteX364" fmla="*/ 3939824 w 7467600"/>
              <a:gd name="connsiteY364" fmla="*/ 6066900 h 6858000"/>
              <a:gd name="connsiteX365" fmla="*/ 4584537 w 7467600"/>
              <a:gd name="connsiteY365" fmla="*/ 5324826 h 6858000"/>
              <a:gd name="connsiteX366" fmla="*/ 5037105 w 7467600"/>
              <a:gd name="connsiteY366" fmla="*/ 5088765 h 6858000"/>
              <a:gd name="connsiteX367" fmla="*/ 5039930 w 7467600"/>
              <a:gd name="connsiteY367" fmla="*/ 5089585 h 6858000"/>
              <a:gd name="connsiteX368" fmla="*/ 5263764 w 7467600"/>
              <a:gd name="connsiteY368" fmla="*/ 4735525 h 6858000"/>
              <a:gd name="connsiteX369" fmla="*/ 4086300 w 7467600"/>
              <a:gd name="connsiteY369" fmla="*/ 4884599 h 6858000"/>
              <a:gd name="connsiteX370" fmla="*/ 4085485 w 7467600"/>
              <a:gd name="connsiteY370" fmla="*/ 4899070 h 6858000"/>
              <a:gd name="connsiteX371" fmla="*/ 3871915 w 7467600"/>
              <a:gd name="connsiteY371" fmla="*/ 5253645 h 6858000"/>
              <a:gd name="connsiteX372" fmla="*/ 3799374 w 7467600"/>
              <a:gd name="connsiteY372" fmla="*/ 5466127 h 6858000"/>
              <a:gd name="connsiteX373" fmla="*/ 3498850 w 7467600"/>
              <a:gd name="connsiteY373" fmla="*/ 6661888 h 6858000"/>
              <a:gd name="connsiteX374" fmla="*/ 3399216 w 7467600"/>
              <a:gd name="connsiteY374" fmla="*/ 6858000 h 6858000"/>
              <a:gd name="connsiteX375" fmla="*/ 3303688 w 7467600"/>
              <a:gd name="connsiteY375" fmla="*/ 6858000 h 6858000"/>
              <a:gd name="connsiteX376" fmla="*/ 3391774 w 7467600"/>
              <a:gd name="connsiteY376" fmla="*/ 6697181 h 6858000"/>
              <a:gd name="connsiteX377" fmla="*/ 3735540 w 7467600"/>
              <a:gd name="connsiteY377" fmla="*/ 5546923 h 6858000"/>
              <a:gd name="connsiteX378" fmla="*/ 3729438 w 7467600"/>
              <a:gd name="connsiteY378" fmla="*/ 5569058 h 6858000"/>
              <a:gd name="connsiteX379" fmla="*/ 3707782 w 7467600"/>
              <a:gd name="connsiteY379" fmla="*/ 5644908 h 6858000"/>
              <a:gd name="connsiteX380" fmla="*/ 3583827 w 7467600"/>
              <a:gd name="connsiteY380" fmla="*/ 6039215 h 6858000"/>
              <a:gd name="connsiteX381" fmla="*/ 3547861 w 7467600"/>
              <a:gd name="connsiteY381" fmla="*/ 6129609 h 6858000"/>
              <a:gd name="connsiteX382" fmla="*/ 3490905 w 7467600"/>
              <a:gd name="connsiteY382" fmla="*/ 6277660 h 6858000"/>
              <a:gd name="connsiteX383" fmla="*/ 3455859 w 7467600"/>
              <a:gd name="connsiteY383" fmla="*/ 6391301 h 6858000"/>
              <a:gd name="connsiteX384" fmla="*/ 3429112 w 7467600"/>
              <a:gd name="connsiteY384" fmla="*/ 6479469 h 6858000"/>
              <a:gd name="connsiteX385" fmla="*/ 3304862 w 7467600"/>
              <a:gd name="connsiteY385" fmla="*/ 6796476 h 6858000"/>
              <a:gd name="connsiteX386" fmla="*/ 3276071 w 7467600"/>
              <a:gd name="connsiteY386" fmla="*/ 6858000 h 6858000"/>
              <a:gd name="connsiteX387" fmla="*/ 3240805 w 7467600"/>
              <a:gd name="connsiteY387" fmla="*/ 6858000 h 6858000"/>
              <a:gd name="connsiteX388" fmla="*/ 3275917 w 7467600"/>
              <a:gd name="connsiteY388" fmla="*/ 6783192 h 6858000"/>
              <a:gd name="connsiteX389" fmla="*/ 3399358 w 7467600"/>
              <a:gd name="connsiteY389" fmla="*/ 6469011 h 6858000"/>
              <a:gd name="connsiteX390" fmla="*/ 3425650 w 7467600"/>
              <a:gd name="connsiteY390" fmla="*/ 6381333 h 6858000"/>
              <a:gd name="connsiteX391" fmla="*/ 3460661 w 7467600"/>
              <a:gd name="connsiteY391" fmla="*/ 6266763 h 6858000"/>
              <a:gd name="connsiteX392" fmla="*/ 3518021 w 7467600"/>
              <a:gd name="connsiteY392" fmla="*/ 6117298 h 6858000"/>
              <a:gd name="connsiteX393" fmla="*/ 3554035 w 7467600"/>
              <a:gd name="connsiteY393" fmla="*/ 6027832 h 6858000"/>
              <a:gd name="connsiteX394" fmla="*/ 3677174 w 7467600"/>
              <a:gd name="connsiteY394" fmla="*/ 5636351 h 6858000"/>
              <a:gd name="connsiteX395" fmla="*/ 3698819 w 7467600"/>
              <a:gd name="connsiteY395" fmla="*/ 5560503 h 6858000"/>
              <a:gd name="connsiteX396" fmla="*/ 3702094 w 7467600"/>
              <a:gd name="connsiteY396" fmla="*/ 5549194 h 6858000"/>
              <a:gd name="connsiteX397" fmla="*/ 3398355 w 7467600"/>
              <a:gd name="connsiteY397" fmla="*/ 6094603 h 6858000"/>
              <a:gd name="connsiteX398" fmla="*/ 3193941 w 7467600"/>
              <a:gd name="connsiteY398" fmla="*/ 6798775 h 6858000"/>
              <a:gd name="connsiteX399" fmla="*/ 3184140 w 7467600"/>
              <a:gd name="connsiteY399" fmla="*/ 6858000 h 6858000"/>
              <a:gd name="connsiteX400" fmla="*/ 3099978 w 7467600"/>
              <a:gd name="connsiteY400" fmla="*/ 6858000 h 6858000"/>
              <a:gd name="connsiteX401" fmla="*/ 3101556 w 7467600"/>
              <a:gd name="connsiteY401" fmla="*/ 6843337 h 6858000"/>
              <a:gd name="connsiteX402" fmla="*/ 3370162 w 7467600"/>
              <a:gd name="connsiteY402" fmla="*/ 5785550 h 6858000"/>
              <a:gd name="connsiteX403" fmla="*/ 3746477 w 7467600"/>
              <a:gd name="connsiteY403" fmla="*/ 5377889 h 6858000"/>
              <a:gd name="connsiteX404" fmla="*/ 3863399 w 7467600"/>
              <a:gd name="connsiteY404" fmla="*/ 5087257 h 6858000"/>
              <a:gd name="connsiteX405" fmla="*/ 3968712 w 7467600"/>
              <a:gd name="connsiteY405" fmla="*/ 4913989 h 6858000"/>
              <a:gd name="connsiteX406" fmla="*/ 2792390 w 7467600"/>
              <a:gd name="connsiteY406" fmla="*/ 5382974 h 6858000"/>
              <a:gd name="connsiteX407" fmla="*/ 2714982 w 7467600"/>
              <a:gd name="connsiteY407" fmla="*/ 5427051 h 6858000"/>
              <a:gd name="connsiteX408" fmla="*/ 2813361 w 7467600"/>
              <a:gd name="connsiteY408" fmla="*/ 6023912 h 6858000"/>
              <a:gd name="connsiteX409" fmla="*/ 2688430 w 7467600"/>
              <a:gd name="connsiteY409" fmla="*/ 6801564 h 6858000"/>
              <a:gd name="connsiteX410" fmla="*/ 2629626 w 7467600"/>
              <a:gd name="connsiteY410" fmla="*/ 6763394 h 6858000"/>
              <a:gd name="connsiteX411" fmla="*/ 2565328 w 7467600"/>
              <a:gd name="connsiteY411" fmla="*/ 5516399 h 6858000"/>
              <a:gd name="connsiteX412" fmla="*/ 1922999 w 7467600"/>
              <a:gd name="connsiteY412" fmla="*/ 5980343 h 6858000"/>
              <a:gd name="connsiteX413" fmla="*/ 1950261 w 7467600"/>
              <a:gd name="connsiteY413" fmla="*/ 6405858 h 6858000"/>
              <a:gd name="connsiteX414" fmla="*/ 2365554 w 7467600"/>
              <a:gd name="connsiteY414" fmla="*/ 6759107 h 6858000"/>
              <a:gd name="connsiteX415" fmla="*/ 2424142 w 7467600"/>
              <a:gd name="connsiteY415" fmla="*/ 6858000 h 6858000"/>
              <a:gd name="connsiteX416" fmla="*/ 2395994 w 7467600"/>
              <a:gd name="connsiteY416" fmla="*/ 6858000 h 6858000"/>
              <a:gd name="connsiteX417" fmla="*/ 2392863 w 7467600"/>
              <a:gd name="connsiteY417" fmla="*/ 6852964 h 6858000"/>
              <a:gd name="connsiteX418" fmla="*/ 2017589 w 7467600"/>
              <a:gd name="connsiteY418" fmla="*/ 6493982 h 6858000"/>
              <a:gd name="connsiteX419" fmla="*/ 2147336 w 7467600"/>
              <a:gd name="connsiteY419" fmla="*/ 6594052 h 6858000"/>
              <a:gd name="connsiteX420" fmla="*/ 2207047 w 7467600"/>
              <a:gd name="connsiteY420" fmla="*/ 6654540 h 6858000"/>
              <a:gd name="connsiteX421" fmla="*/ 2299106 w 7467600"/>
              <a:gd name="connsiteY421" fmla="*/ 6778931 h 6858000"/>
              <a:gd name="connsiteX422" fmla="*/ 2314430 w 7467600"/>
              <a:gd name="connsiteY422" fmla="*/ 6801144 h 6858000"/>
              <a:gd name="connsiteX423" fmla="*/ 2352406 w 7467600"/>
              <a:gd name="connsiteY423" fmla="*/ 6858000 h 6858000"/>
              <a:gd name="connsiteX424" fmla="*/ 2314492 w 7467600"/>
              <a:gd name="connsiteY424" fmla="*/ 6858000 h 6858000"/>
              <a:gd name="connsiteX425" fmla="*/ 2288095 w 7467600"/>
              <a:gd name="connsiteY425" fmla="*/ 6818030 h 6858000"/>
              <a:gd name="connsiteX426" fmla="*/ 2272768 w 7467600"/>
              <a:gd name="connsiteY426" fmla="*/ 6795822 h 6858000"/>
              <a:gd name="connsiteX427" fmla="*/ 2182715 w 7467600"/>
              <a:gd name="connsiteY427" fmla="*/ 6675071 h 6858000"/>
              <a:gd name="connsiteX428" fmla="*/ 2032061 w 7467600"/>
              <a:gd name="connsiteY428" fmla="*/ 6541380 h 6858000"/>
              <a:gd name="connsiteX429" fmla="*/ 2257220 w 7467600"/>
              <a:gd name="connsiteY429" fmla="*/ 6826257 h 6858000"/>
              <a:gd name="connsiteX430" fmla="*/ 2281324 w 7467600"/>
              <a:gd name="connsiteY430" fmla="*/ 6858000 h 6858000"/>
              <a:gd name="connsiteX431" fmla="*/ 2242860 w 7467600"/>
              <a:gd name="connsiteY431" fmla="*/ 6858000 h 6858000"/>
              <a:gd name="connsiteX432" fmla="*/ 2232818 w 7467600"/>
              <a:gd name="connsiteY432" fmla="*/ 6844926 h 6858000"/>
              <a:gd name="connsiteX433" fmla="*/ 1990172 w 7467600"/>
              <a:gd name="connsiteY433" fmla="*/ 6542121 h 6858000"/>
              <a:gd name="connsiteX434" fmla="*/ 2124090 w 7467600"/>
              <a:gd name="connsiteY434" fmla="*/ 6761017 h 6858000"/>
              <a:gd name="connsiteX435" fmla="*/ 2200380 w 7467600"/>
              <a:gd name="connsiteY435" fmla="*/ 6858000 h 6858000"/>
              <a:gd name="connsiteX436" fmla="*/ 2147507 w 7467600"/>
              <a:gd name="connsiteY436" fmla="*/ 6858000 h 6858000"/>
              <a:gd name="connsiteX437" fmla="*/ 2070668 w 7467600"/>
              <a:gd name="connsiteY437" fmla="*/ 6761520 h 6858000"/>
              <a:gd name="connsiteX438" fmla="*/ 1975142 w 7467600"/>
              <a:gd name="connsiteY438" fmla="*/ 6585570 h 6858000"/>
              <a:gd name="connsiteX439" fmla="*/ 2050035 w 7467600"/>
              <a:gd name="connsiteY439" fmla="*/ 6813345 h 6858000"/>
              <a:gd name="connsiteX440" fmla="*/ 2063025 w 7467600"/>
              <a:gd name="connsiteY440" fmla="*/ 6858000 h 6858000"/>
              <a:gd name="connsiteX441" fmla="*/ 2021675 w 7467600"/>
              <a:gd name="connsiteY441" fmla="*/ 6858000 h 6858000"/>
              <a:gd name="connsiteX442" fmla="*/ 2019308 w 7467600"/>
              <a:gd name="connsiteY442" fmla="*/ 6847118 h 6858000"/>
              <a:gd name="connsiteX443" fmla="*/ 1938835 w 7467600"/>
              <a:gd name="connsiteY443" fmla="*/ 6551160 h 6858000"/>
              <a:gd name="connsiteX444" fmla="*/ 1953230 w 7467600"/>
              <a:gd name="connsiteY444" fmla="*/ 6759699 h 6858000"/>
              <a:gd name="connsiteX445" fmla="*/ 1956763 w 7467600"/>
              <a:gd name="connsiteY445" fmla="*/ 6778191 h 6858000"/>
              <a:gd name="connsiteX446" fmla="*/ 1967925 w 7467600"/>
              <a:gd name="connsiteY446" fmla="*/ 6858000 h 6858000"/>
              <a:gd name="connsiteX447" fmla="*/ 1936622 w 7467600"/>
              <a:gd name="connsiteY447" fmla="*/ 6858000 h 6858000"/>
              <a:gd name="connsiteX448" fmla="*/ 1926261 w 7467600"/>
              <a:gd name="connsiteY448" fmla="*/ 6784064 h 6858000"/>
              <a:gd name="connsiteX449" fmla="*/ 1922724 w 7467600"/>
              <a:gd name="connsiteY449" fmla="*/ 6765577 h 6858000"/>
              <a:gd name="connsiteX450" fmla="*/ 1904650 w 7467600"/>
              <a:gd name="connsiteY450" fmla="*/ 6639616 h 6858000"/>
              <a:gd name="connsiteX451" fmla="*/ 1885273 w 7467600"/>
              <a:gd name="connsiteY451" fmla="*/ 6858000 h 6858000"/>
              <a:gd name="connsiteX452" fmla="*/ 1854363 w 7467600"/>
              <a:gd name="connsiteY452" fmla="*/ 6858000 h 6858000"/>
              <a:gd name="connsiteX453" fmla="*/ 1880391 w 7467600"/>
              <a:gd name="connsiteY453" fmla="*/ 6603796 h 6858000"/>
              <a:gd name="connsiteX454" fmla="*/ 1818273 w 7467600"/>
              <a:gd name="connsiteY454" fmla="*/ 6715729 h 6858000"/>
              <a:gd name="connsiteX455" fmla="*/ 1794691 w 7467600"/>
              <a:gd name="connsiteY455" fmla="*/ 6843239 h 6858000"/>
              <a:gd name="connsiteX456" fmla="*/ 1794914 w 7467600"/>
              <a:gd name="connsiteY456" fmla="*/ 6858000 h 6858000"/>
              <a:gd name="connsiteX457" fmla="*/ 1746128 w 7467600"/>
              <a:gd name="connsiteY457" fmla="*/ 6858000 h 6858000"/>
              <a:gd name="connsiteX458" fmla="*/ 1753934 w 7467600"/>
              <a:gd name="connsiteY458" fmla="*/ 6724796 h 6858000"/>
              <a:gd name="connsiteX459" fmla="*/ 1792053 w 7467600"/>
              <a:gd name="connsiteY459" fmla="*/ 6572396 h 6858000"/>
              <a:gd name="connsiteX460" fmla="*/ 1862248 w 7467600"/>
              <a:gd name="connsiteY460" fmla="*/ 6266397 h 6858000"/>
              <a:gd name="connsiteX461" fmla="*/ 1862250 w 7467600"/>
              <a:gd name="connsiteY461" fmla="*/ 6033531 h 6858000"/>
              <a:gd name="connsiteX462" fmla="*/ 1211999 w 7467600"/>
              <a:gd name="connsiteY462" fmla="*/ 6683610 h 6858000"/>
              <a:gd name="connsiteX463" fmla="*/ 1213266 w 7467600"/>
              <a:gd name="connsiteY463" fmla="*/ 6691947 h 6858000"/>
              <a:gd name="connsiteX464" fmla="*/ 1203370 w 7467600"/>
              <a:gd name="connsiteY464" fmla="*/ 6850676 h 6858000"/>
              <a:gd name="connsiteX465" fmla="*/ 1203671 w 7467600"/>
              <a:gd name="connsiteY465" fmla="*/ 6858000 h 6858000"/>
              <a:gd name="connsiteX466" fmla="*/ 1143180 w 7467600"/>
              <a:gd name="connsiteY466" fmla="*/ 6858000 h 6858000"/>
              <a:gd name="connsiteX467" fmla="*/ 1142176 w 7467600"/>
              <a:gd name="connsiteY467" fmla="*/ 6766045 h 6858000"/>
              <a:gd name="connsiteX468" fmla="*/ 1067484 w 7467600"/>
              <a:gd name="connsiteY468" fmla="*/ 6858000 h 6858000"/>
              <a:gd name="connsiteX469" fmla="*/ 953928 w 7467600"/>
              <a:gd name="connsiteY469" fmla="*/ 6858000 h 6858000"/>
              <a:gd name="connsiteX470" fmla="*/ 959715 w 7467600"/>
              <a:gd name="connsiteY470" fmla="*/ 6850185 h 6858000"/>
              <a:gd name="connsiteX471" fmla="*/ 1483788 w 7467600"/>
              <a:gd name="connsiteY471" fmla="*/ 6259174 h 6858000"/>
              <a:gd name="connsiteX472" fmla="*/ 1100671 w 7467600"/>
              <a:gd name="connsiteY472" fmla="*/ 6252137 h 6858000"/>
              <a:gd name="connsiteX473" fmla="*/ 1090144 w 7467600"/>
              <a:gd name="connsiteY473" fmla="*/ 6256748 h 6858000"/>
              <a:gd name="connsiteX474" fmla="*/ 1095872 w 7467600"/>
              <a:gd name="connsiteY474" fmla="*/ 6271892 h 6858000"/>
              <a:gd name="connsiteX475" fmla="*/ 262785 w 7467600"/>
              <a:gd name="connsiteY475" fmla="*/ 6845450 h 6858000"/>
              <a:gd name="connsiteX476" fmla="*/ 209968 w 7467600"/>
              <a:gd name="connsiteY476" fmla="*/ 6770713 h 6858000"/>
              <a:gd name="connsiteX477" fmla="*/ 873460 w 7467600"/>
              <a:gd name="connsiteY477" fmla="*/ 6253768 h 6858000"/>
              <a:gd name="connsiteX478" fmla="*/ 192686 w 7467600"/>
              <a:gd name="connsiteY478" fmla="*/ 5849257 h 6858000"/>
              <a:gd name="connsiteX479" fmla="*/ 4696 w 7467600"/>
              <a:gd name="connsiteY479" fmla="*/ 5697668 h 6858000"/>
              <a:gd name="connsiteX480" fmla="*/ 0 w 7467600"/>
              <a:gd name="connsiteY480" fmla="*/ 5689984 h 6858000"/>
              <a:gd name="connsiteX481" fmla="*/ 0 w 7467600"/>
              <a:gd name="connsiteY481" fmla="*/ 5513472 h 6858000"/>
              <a:gd name="connsiteX482" fmla="*/ 174101 w 7467600"/>
              <a:gd name="connsiteY482" fmla="*/ 5620277 h 6858000"/>
              <a:gd name="connsiteX483" fmla="*/ 891800 w 7467600"/>
              <a:gd name="connsiteY483" fmla="*/ 6036935 h 6858000"/>
              <a:gd name="connsiteX484" fmla="*/ 1072219 w 7467600"/>
              <a:gd name="connsiteY484" fmla="*/ 6169443 h 6858000"/>
              <a:gd name="connsiteX485" fmla="*/ 1074117 w 7467600"/>
              <a:gd name="connsiteY485" fmla="*/ 6170301 h 6858000"/>
              <a:gd name="connsiteX486" fmla="*/ 1083114 w 7467600"/>
              <a:gd name="connsiteY486" fmla="*/ 6174131 h 6858000"/>
              <a:gd name="connsiteX487" fmla="*/ 1543010 w 7467600"/>
              <a:gd name="connsiteY487" fmla="*/ 6191140 h 6858000"/>
              <a:gd name="connsiteX488" fmla="*/ 1551080 w 7467600"/>
              <a:gd name="connsiteY488" fmla="*/ 6195006 h 6858000"/>
              <a:gd name="connsiteX489" fmla="*/ 2345443 w 7467600"/>
              <a:gd name="connsiteY489" fmla="*/ 5549882 h 6858000"/>
              <a:gd name="connsiteX490" fmla="*/ 1721499 w 7467600"/>
              <a:gd name="connsiteY490" fmla="*/ 5599969 h 6858000"/>
              <a:gd name="connsiteX491" fmla="*/ 767716 w 7467600"/>
              <a:gd name="connsiteY491" fmla="*/ 5472768 h 6858000"/>
              <a:gd name="connsiteX492" fmla="*/ 722147 w 7467600"/>
              <a:gd name="connsiteY492" fmla="*/ 5393091 h 6858000"/>
              <a:gd name="connsiteX493" fmla="*/ 1485552 w 7467600"/>
              <a:gd name="connsiteY493" fmla="*/ 5313202 h 6858000"/>
              <a:gd name="connsiteX494" fmla="*/ 2143004 w 7467600"/>
              <a:gd name="connsiteY494" fmla="*/ 5402420 h 6858000"/>
              <a:gd name="connsiteX495" fmla="*/ 1933391 w 7467600"/>
              <a:gd name="connsiteY495" fmla="*/ 5156971 h 6858000"/>
              <a:gd name="connsiteX496" fmla="*/ 1827118 w 7467600"/>
              <a:gd name="connsiteY496" fmla="*/ 4968410 h 6858000"/>
              <a:gd name="connsiteX497" fmla="*/ 1837349 w 7467600"/>
              <a:gd name="connsiteY497" fmla="*/ 4956357 h 6858000"/>
              <a:gd name="connsiteX498" fmla="*/ 2162835 w 7467600"/>
              <a:gd name="connsiteY498" fmla="*/ 5187853 h 6858000"/>
              <a:gd name="connsiteX499" fmla="*/ 2257167 w 7467600"/>
              <a:gd name="connsiteY499" fmla="*/ 5462123 h 6858000"/>
              <a:gd name="connsiteX500" fmla="*/ 2261598 w 7467600"/>
              <a:gd name="connsiteY500" fmla="*/ 5467998 h 6858000"/>
              <a:gd name="connsiteX501" fmla="*/ 2437177 w 7467600"/>
              <a:gd name="connsiteY501" fmla="*/ 5479608 h 6858000"/>
              <a:gd name="connsiteX502" fmla="*/ 2445247 w 7467600"/>
              <a:gd name="connsiteY502" fmla="*/ 5483476 h 6858000"/>
              <a:gd name="connsiteX503" fmla="*/ 2743626 w 7467600"/>
              <a:gd name="connsiteY503" fmla="*/ 5304819 h 6858000"/>
              <a:gd name="connsiteX504" fmla="*/ 3048102 w 7467600"/>
              <a:gd name="connsiteY504" fmla="*/ 5150595 h 6858000"/>
              <a:gd name="connsiteX505" fmla="*/ 1799414 w 7467600"/>
              <a:gd name="connsiteY505" fmla="*/ 4694732 h 6858000"/>
              <a:gd name="connsiteX506" fmla="*/ 1771735 w 7467600"/>
              <a:gd name="connsiteY506" fmla="*/ 4619929 h 6858000"/>
              <a:gd name="connsiteX507" fmla="*/ 3104273 w 7467600"/>
              <a:gd name="connsiteY507" fmla="*/ 5076159 h 6858000"/>
              <a:gd name="connsiteX508" fmla="*/ 3113245 w 7467600"/>
              <a:gd name="connsiteY508" fmla="*/ 5090705 h 6858000"/>
              <a:gd name="connsiteX509" fmla="*/ 3126294 w 7467600"/>
              <a:gd name="connsiteY509" fmla="*/ 5114400 h 6858000"/>
              <a:gd name="connsiteX510" fmla="*/ 3937433 w 7467600"/>
              <a:gd name="connsiteY510" fmla="*/ 4830473 h 6858000"/>
              <a:gd name="connsiteX511" fmla="*/ 3590475 w 7467600"/>
              <a:gd name="connsiteY511" fmla="*/ 4597974 h 6858000"/>
              <a:gd name="connsiteX512" fmla="*/ 3100264 w 7467600"/>
              <a:gd name="connsiteY512" fmla="*/ 4579845 h 6858000"/>
              <a:gd name="connsiteX513" fmla="*/ 2183576 w 7467600"/>
              <a:gd name="connsiteY513" fmla="*/ 4227150 h 6858000"/>
              <a:gd name="connsiteX514" fmla="*/ 2151029 w 7467600"/>
              <a:gd name="connsiteY514" fmla="*/ 4146947 h 6858000"/>
              <a:gd name="connsiteX515" fmla="*/ 3563434 w 7467600"/>
              <a:gd name="connsiteY515" fmla="*/ 4469115 h 6858000"/>
              <a:gd name="connsiteX516" fmla="*/ 3177952 w 7467600"/>
              <a:gd name="connsiteY516" fmla="*/ 3657386 h 6858000"/>
              <a:gd name="connsiteX517" fmla="*/ 3189263 w 7467600"/>
              <a:gd name="connsiteY517" fmla="*/ 3625726 h 6858000"/>
              <a:gd name="connsiteX518" fmla="*/ 3560912 w 7467600"/>
              <a:gd name="connsiteY518" fmla="*/ 4079863 h 6858000"/>
              <a:gd name="connsiteX519" fmla="*/ 3626636 w 7467600"/>
              <a:gd name="connsiteY519" fmla="*/ 4512230 h 6858000"/>
              <a:gd name="connsiteX520" fmla="*/ 3653088 w 7467600"/>
              <a:gd name="connsiteY520" fmla="*/ 4521417 h 6858000"/>
              <a:gd name="connsiteX521" fmla="*/ 3988128 w 7467600"/>
              <a:gd name="connsiteY521" fmla="*/ 4817267 h 6858000"/>
              <a:gd name="connsiteX522" fmla="*/ 4830582 w 7467600"/>
              <a:gd name="connsiteY522" fmla="*/ 4676000 h 6858000"/>
              <a:gd name="connsiteX523" fmla="*/ 4830100 w 7467600"/>
              <a:gd name="connsiteY523" fmla="*/ 4675554 h 6858000"/>
              <a:gd name="connsiteX524" fmla="*/ 4036318 w 7467600"/>
              <a:gd name="connsiteY524" fmla="*/ 4147013 h 6858000"/>
              <a:gd name="connsiteX525" fmla="*/ 3432098 w 7467600"/>
              <a:gd name="connsiteY525" fmla="*/ 3537312 h 6858000"/>
              <a:gd name="connsiteX526" fmla="*/ 3446761 w 7467600"/>
              <a:gd name="connsiteY526" fmla="*/ 3461278 h 6858000"/>
              <a:gd name="connsiteX527" fmla="*/ 4419733 w 7467600"/>
              <a:gd name="connsiteY527" fmla="*/ 3963555 h 6858000"/>
              <a:gd name="connsiteX528" fmla="*/ 4781371 w 7467600"/>
              <a:gd name="connsiteY528" fmla="*/ 4458604 h 6858000"/>
              <a:gd name="connsiteX529" fmla="*/ 4780440 w 7467600"/>
              <a:gd name="connsiteY529" fmla="*/ 4470290 h 6858000"/>
              <a:gd name="connsiteX530" fmla="*/ 4898954 w 7467600"/>
              <a:gd name="connsiteY530" fmla="*/ 4662092 h 6858000"/>
              <a:gd name="connsiteX531" fmla="*/ 4900699 w 7467600"/>
              <a:gd name="connsiteY531" fmla="*/ 4670867 h 6858000"/>
              <a:gd name="connsiteX532" fmla="*/ 5714511 w 7467600"/>
              <a:gd name="connsiteY532" fmla="*/ 4663483 h 6858000"/>
              <a:gd name="connsiteX533" fmla="*/ 5464793 w 7467600"/>
              <a:gd name="connsiteY533" fmla="*/ 4393556 h 6858000"/>
              <a:gd name="connsiteX534" fmla="*/ 5461897 w 7467600"/>
              <a:gd name="connsiteY534" fmla="*/ 4390879 h 6858000"/>
              <a:gd name="connsiteX535" fmla="*/ 4294126 w 7467600"/>
              <a:gd name="connsiteY535" fmla="*/ 3303048 h 6858000"/>
              <a:gd name="connsiteX536" fmla="*/ 4305321 w 7467600"/>
              <a:gd name="connsiteY536" fmla="*/ 3256953 h 6858000"/>
              <a:gd name="connsiteX537" fmla="*/ 4949299 w 7467600"/>
              <a:gd name="connsiteY537" fmla="*/ 3766336 h 6858000"/>
              <a:gd name="connsiteX538" fmla="*/ 5291452 w 7467600"/>
              <a:gd name="connsiteY538" fmla="*/ 4076801 h 6858000"/>
              <a:gd name="connsiteX539" fmla="*/ 5434998 w 7467600"/>
              <a:gd name="connsiteY539" fmla="*/ 4254100 h 6858000"/>
              <a:gd name="connsiteX540" fmla="*/ 5351015 w 7467600"/>
              <a:gd name="connsiteY540" fmla="*/ 3760989 h 6858000"/>
              <a:gd name="connsiteX541" fmla="*/ 5413780 w 7467600"/>
              <a:gd name="connsiteY541" fmla="*/ 2966265 h 6858000"/>
              <a:gd name="connsiteX542" fmla="*/ 5425627 w 7467600"/>
              <a:gd name="connsiteY542" fmla="*/ 2954192 h 6858000"/>
              <a:gd name="connsiteX543" fmla="*/ 6604735 w 7467600"/>
              <a:gd name="connsiteY543" fmla="*/ 2041381 h 6858000"/>
              <a:gd name="connsiteX544" fmla="*/ 7204487 w 7467600"/>
              <a:gd name="connsiteY544" fmla="*/ 2742112 h 6858000"/>
              <a:gd name="connsiteX545" fmla="*/ 7131592 w 7467600"/>
              <a:gd name="connsiteY545" fmla="*/ 2672096 h 6858000"/>
              <a:gd name="connsiteX546" fmla="*/ 6996344 w 7467600"/>
              <a:gd name="connsiteY546" fmla="*/ 2518310 h 6858000"/>
              <a:gd name="connsiteX547" fmla="*/ 6735495 w 7467600"/>
              <a:gd name="connsiteY547" fmla="*/ 2196890 h 6858000"/>
              <a:gd name="connsiteX548" fmla="*/ 6721901 w 7467600"/>
              <a:gd name="connsiteY548" fmla="*/ 2179274 h 6858000"/>
              <a:gd name="connsiteX549" fmla="*/ 6604735 w 7467600"/>
              <a:gd name="connsiteY549" fmla="*/ 2041381 h 6858000"/>
              <a:gd name="connsiteX550" fmla="*/ 6591670 w 7467600"/>
              <a:gd name="connsiteY550" fmla="*/ 1988277 h 6858000"/>
              <a:gd name="connsiteX551" fmla="*/ 6747349 w 7467600"/>
              <a:gd name="connsiteY551" fmla="*/ 2160069 h 6858000"/>
              <a:gd name="connsiteX552" fmla="*/ 6760943 w 7467600"/>
              <a:gd name="connsiteY552" fmla="*/ 2177686 h 6858000"/>
              <a:gd name="connsiteX553" fmla="*/ 7021065 w 7467600"/>
              <a:gd name="connsiteY553" fmla="*/ 2498102 h 6858000"/>
              <a:gd name="connsiteX554" fmla="*/ 7155223 w 7467600"/>
              <a:gd name="connsiteY554" fmla="*/ 2650386 h 6858000"/>
              <a:gd name="connsiteX555" fmla="*/ 7203167 w 7467600"/>
              <a:gd name="connsiteY555" fmla="*/ 2697288 h 6858000"/>
              <a:gd name="connsiteX556" fmla="*/ 6937703 w 7467600"/>
              <a:gd name="connsiteY556" fmla="*/ 2321981 h 6858000"/>
              <a:gd name="connsiteX557" fmla="*/ 6591670 w 7467600"/>
              <a:gd name="connsiteY557" fmla="*/ 1988277 h 6858000"/>
              <a:gd name="connsiteX558" fmla="*/ 5798671 w 7467600"/>
              <a:gd name="connsiteY558" fmla="*/ 1981601 h 6858000"/>
              <a:gd name="connsiteX559" fmla="*/ 5754709 w 7467600"/>
              <a:gd name="connsiteY559" fmla="*/ 2071454 h 6858000"/>
              <a:gd name="connsiteX560" fmla="*/ 5763044 w 7467600"/>
              <a:gd name="connsiteY560" fmla="*/ 2842206 h 6858000"/>
              <a:gd name="connsiteX561" fmla="*/ 5764974 w 7467600"/>
              <a:gd name="connsiteY561" fmla="*/ 2799609 h 6858000"/>
              <a:gd name="connsiteX562" fmla="*/ 5767665 w 7467600"/>
              <a:gd name="connsiteY562" fmla="*/ 2666409 h 6858000"/>
              <a:gd name="connsiteX563" fmla="*/ 5763055 w 7467600"/>
              <a:gd name="connsiteY563" fmla="*/ 2579705 h 6858000"/>
              <a:gd name="connsiteX564" fmla="*/ 5758079 w 7467600"/>
              <a:gd name="connsiteY564" fmla="*/ 2492508 h 6858000"/>
              <a:gd name="connsiteX565" fmla="*/ 5779325 w 7467600"/>
              <a:gd name="connsiteY565" fmla="*/ 2197069 h 6858000"/>
              <a:gd name="connsiteX566" fmla="*/ 5798671 w 7467600"/>
              <a:gd name="connsiteY566" fmla="*/ 1981601 h 6858000"/>
              <a:gd name="connsiteX567" fmla="*/ 5829202 w 7467600"/>
              <a:gd name="connsiteY567" fmla="*/ 1971679 h 6858000"/>
              <a:gd name="connsiteX568" fmla="*/ 5809558 w 7467600"/>
              <a:gd name="connsiteY568" fmla="*/ 2198043 h 6858000"/>
              <a:gd name="connsiteX569" fmla="*/ 5788653 w 7467600"/>
              <a:gd name="connsiteY569" fmla="*/ 2489430 h 6858000"/>
              <a:gd name="connsiteX570" fmla="*/ 5793439 w 7467600"/>
              <a:gd name="connsiteY570" fmla="*/ 2575235 h 6858000"/>
              <a:gd name="connsiteX571" fmla="*/ 5796837 w 7467600"/>
              <a:gd name="connsiteY571" fmla="*/ 2637633 h 6858000"/>
              <a:gd name="connsiteX572" fmla="*/ 5818614 w 7467600"/>
              <a:gd name="connsiteY572" fmla="*/ 2473055 h 6858000"/>
              <a:gd name="connsiteX573" fmla="*/ 5829202 w 7467600"/>
              <a:gd name="connsiteY573" fmla="*/ 1971679 h 6858000"/>
              <a:gd name="connsiteX574" fmla="*/ 5911389 w 7467600"/>
              <a:gd name="connsiteY574" fmla="*/ 1898371 h 6858000"/>
              <a:gd name="connsiteX575" fmla="*/ 6237627 w 7467600"/>
              <a:gd name="connsiteY575" fmla="*/ 2231921 h 6858000"/>
              <a:gd name="connsiteX576" fmla="*/ 5911389 w 7467600"/>
              <a:gd name="connsiteY576" fmla="*/ 1898371 h 6858000"/>
              <a:gd name="connsiteX577" fmla="*/ 6944437 w 7467600"/>
              <a:gd name="connsiteY577" fmla="*/ 1575402 h 6858000"/>
              <a:gd name="connsiteX578" fmla="*/ 6304730 w 7467600"/>
              <a:gd name="connsiteY578" fmla="*/ 1766654 h 6858000"/>
              <a:gd name="connsiteX579" fmla="*/ 6944437 w 7467600"/>
              <a:gd name="connsiteY579" fmla="*/ 1575402 h 6858000"/>
              <a:gd name="connsiteX580" fmla="*/ 7019523 w 7467600"/>
              <a:gd name="connsiteY580" fmla="*/ 1519450 h 6858000"/>
              <a:gd name="connsiteX581" fmla="*/ 6298091 w 7467600"/>
              <a:gd name="connsiteY581" fmla="*/ 1737122 h 6858000"/>
              <a:gd name="connsiteX582" fmla="*/ 7019523 w 7467600"/>
              <a:gd name="connsiteY582" fmla="*/ 1519450 h 6858000"/>
              <a:gd name="connsiteX583" fmla="*/ 2399523 w 7467600"/>
              <a:gd name="connsiteY583" fmla="*/ 1428234 h 6858000"/>
              <a:gd name="connsiteX584" fmla="*/ 2224982 w 7467600"/>
              <a:gd name="connsiteY584" fmla="*/ 1826201 h 6858000"/>
              <a:gd name="connsiteX585" fmla="*/ 2096099 w 7467600"/>
              <a:gd name="connsiteY585" fmla="*/ 2345900 h 6858000"/>
              <a:gd name="connsiteX586" fmla="*/ 2283317 w 7467600"/>
              <a:gd name="connsiteY586" fmla="*/ 1796925 h 6858000"/>
              <a:gd name="connsiteX587" fmla="*/ 2399523 w 7467600"/>
              <a:gd name="connsiteY587" fmla="*/ 1428234 h 6858000"/>
              <a:gd name="connsiteX588" fmla="*/ 2448558 w 7467600"/>
              <a:gd name="connsiteY588" fmla="*/ 1373435 h 6858000"/>
              <a:gd name="connsiteX589" fmla="*/ 2312521 w 7467600"/>
              <a:gd name="connsiteY589" fmla="*/ 1806140 h 6858000"/>
              <a:gd name="connsiteX590" fmla="*/ 2127533 w 7467600"/>
              <a:gd name="connsiteY590" fmla="*/ 2348380 h 6858000"/>
              <a:gd name="connsiteX591" fmla="*/ 2358080 w 7467600"/>
              <a:gd name="connsiteY591" fmla="*/ 1866134 h 6858000"/>
              <a:gd name="connsiteX592" fmla="*/ 2407436 w 7467600"/>
              <a:gd name="connsiteY592" fmla="*/ 1651070 h 6858000"/>
              <a:gd name="connsiteX593" fmla="*/ 2448558 w 7467600"/>
              <a:gd name="connsiteY593" fmla="*/ 1373435 h 6858000"/>
              <a:gd name="connsiteX594" fmla="*/ 278707 w 7467600"/>
              <a:gd name="connsiteY594" fmla="*/ 1352270 h 6858000"/>
              <a:gd name="connsiteX595" fmla="*/ 321570 w 7467600"/>
              <a:gd name="connsiteY595" fmla="*/ 1861610 h 6858000"/>
              <a:gd name="connsiteX596" fmla="*/ 294281 w 7467600"/>
              <a:gd name="connsiteY596" fmla="*/ 1440658 h 6858000"/>
              <a:gd name="connsiteX597" fmla="*/ 278707 w 7467600"/>
              <a:gd name="connsiteY597" fmla="*/ 1352270 h 6858000"/>
              <a:gd name="connsiteX598" fmla="*/ 1423821 w 7467600"/>
              <a:gd name="connsiteY598" fmla="*/ 1351958 h 6858000"/>
              <a:gd name="connsiteX599" fmla="*/ 1638521 w 7467600"/>
              <a:gd name="connsiteY599" fmla="*/ 1908470 h 6858000"/>
              <a:gd name="connsiteX600" fmla="*/ 1754199 w 7467600"/>
              <a:gd name="connsiteY600" fmla="*/ 2149284 h 6858000"/>
              <a:gd name="connsiteX601" fmla="*/ 1908359 w 7467600"/>
              <a:gd name="connsiteY601" fmla="*/ 2364988 h 6858000"/>
              <a:gd name="connsiteX602" fmla="*/ 1647661 w 7467600"/>
              <a:gd name="connsiteY602" fmla="*/ 1825945 h 6858000"/>
              <a:gd name="connsiteX603" fmla="*/ 1423821 w 7467600"/>
              <a:gd name="connsiteY603" fmla="*/ 1351958 h 6858000"/>
              <a:gd name="connsiteX604" fmla="*/ 1431890 w 7467600"/>
              <a:gd name="connsiteY604" fmla="*/ 1306475 h 6858000"/>
              <a:gd name="connsiteX605" fmla="*/ 1507597 w 7467600"/>
              <a:gd name="connsiteY605" fmla="*/ 1446132 h 6858000"/>
              <a:gd name="connsiteX606" fmla="*/ 1674586 w 7467600"/>
              <a:gd name="connsiteY606" fmla="*/ 1813832 h 6858000"/>
              <a:gd name="connsiteX607" fmla="*/ 1815950 w 7467600"/>
              <a:gd name="connsiteY607" fmla="*/ 2128564 h 6858000"/>
              <a:gd name="connsiteX608" fmla="*/ 1984242 w 7467600"/>
              <a:gd name="connsiteY608" fmla="*/ 2430829 h 6858000"/>
              <a:gd name="connsiteX609" fmla="*/ 2014023 w 7467600"/>
              <a:gd name="connsiteY609" fmla="*/ 2450995 h 6858000"/>
              <a:gd name="connsiteX610" fmla="*/ 1747337 w 7467600"/>
              <a:gd name="connsiteY610" fmla="*/ 1855264 h 6858000"/>
              <a:gd name="connsiteX611" fmla="*/ 1533749 w 7467600"/>
              <a:gd name="connsiteY611" fmla="*/ 1478656 h 6858000"/>
              <a:gd name="connsiteX612" fmla="*/ 1431890 w 7467600"/>
              <a:gd name="connsiteY612" fmla="*/ 1306475 h 6858000"/>
              <a:gd name="connsiteX613" fmla="*/ 5052692 w 7467600"/>
              <a:gd name="connsiteY613" fmla="*/ 1292994 h 6858000"/>
              <a:gd name="connsiteX614" fmla="*/ 5200661 w 7467600"/>
              <a:gd name="connsiteY614" fmla="*/ 1635186 h 6858000"/>
              <a:gd name="connsiteX615" fmla="*/ 5297138 w 7467600"/>
              <a:gd name="connsiteY615" fmla="*/ 1906351 h 6858000"/>
              <a:gd name="connsiteX616" fmla="*/ 5052692 w 7467600"/>
              <a:gd name="connsiteY616" fmla="*/ 1292994 h 6858000"/>
              <a:gd name="connsiteX617" fmla="*/ 5009948 w 7467600"/>
              <a:gd name="connsiteY617" fmla="*/ 1273619 h 6858000"/>
              <a:gd name="connsiteX618" fmla="*/ 5121777 w 7467600"/>
              <a:gd name="connsiteY618" fmla="*/ 1654213 h 6858000"/>
              <a:gd name="connsiteX619" fmla="*/ 5293545 w 7467600"/>
              <a:gd name="connsiteY619" fmla="*/ 2072247 h 6858000"/>
              <a:gd name="connsiteX620" fmla="*/ 5294042 w 7467600"/>
              <a:gd name="connsiteY620" fmla="*/ 2065019 h 6858000"/>
              <a:gd name="connsiteX621" fmla="*/ 5171936 w 7467600"/>
              <a:gd name="connsiteY621" fmla="*/ 1647613 h 6858000"/>
              <a:gd name="connsiteX622" fmla="*/ 5009948 w 7467600"/>
              <a:gd name="connsiteY622" fmla="*/ 1273619 h 6858000"/>
              <a:gd name="connsiteX623" fmla="*/ 655236 w 7467600"/>
              <a:gd name="connsiteY623" fmla="*/ 1268632 h 6858000"/>
              <a:gd name="connsiteX624" fmla="*/ 839521 w 7467600"/>
              <a:gd name="connsiteY624" fmla="*/ 1685315 h 6858000"/>
              <a:gd name="connsiteX625" fmla="*/ 1109416 w 7467600"/>
              <a:gd name="connsiteY625" fmla="*/ 2061663 h 6858000"/>
              <a:gd name="connsiteX626" fmla="*/ 1298300 w 7467600"/>
              <a:gd name="connsiteY626" fmla="*/ 2247742 h 6858000"/>
              <a:gd name="connsiteX627" fmla="*/ 1125871 w 7467600"/>
              <a:gd name="connsiteY627" fmla="*/ 1989513 h 6858000"/>
              <a:gd name="connsiteX628" fmla="*/ 981574 w 7467600"/>
              <a:gd name="connsiteY628" fmla="*/ 1783157 h 6858000"/>
              <a:gd name="connsiteX629" fmla="*/ 922198 w 7467600"/>
              <a:gd name="connsiteY629" fmla="*/ 1677437 h 6858000"/>
              <a:gd name="connsiteX630" fmla="*/ 869293 w 7467600"/>
              <a:gd name="connsiteY630" fmla="*/ 1583214 h 6858000"/>
              <a:gd name="connsiteX631" fmla="*/ 751431 w 7467600"/>
              <a:gd name="connsiteY631" fmla="*/ 1405731 h 6858000"/>
              <a:gd name="connsiteX632" fmla="*/ 655236 w 7467600"/>
              <a:gd name="connsiteY632" fmla="*/ 1268632 h 6858000"/>
              <a:gd name="connsiteX633" fmla="*/ 6516292 w 7467600"/>
              <a:gd name="connsiteY633" fmla="*/ 1263064 h 6858000"/>
              <a:gd name="connsiteX634" fmla="*/ 5736320 w 7467600"/>
              <a:gd name="connsiteY634" fmla="*/ 1501803 h 6858000"/>
              <a:gd name="connsiteX635" fmla="*/ 6516292 w 7467600"/>
              <a:gd name="connsiteY635" fmla="*/ 1263064 h 6858000"/>
              <a:gd name="connsiteX636" fmla="*/ 291466 w 7467600"/>
              <a:gd name="connsiteY636" fmla="*/ 1250369 h 6858000"/>
              <a:gd name="connsiteX637" fmla="*/ 323180 w 7467600"/>
              <a:gd name="connsiteY637" fmla="*/ 1435283 h 6858000"/>
              <a:gd name="connsiteX638" fmla="*/ 349381 w 7467600"/>
              <a:gd name="connsiteY638" fmla="*/ 1875041 h 6858000"/>
              <a:gd name="connsiteX639" fmla="*/ 374363 w 7467600"/>
              <a:gd name="connsiteY639" fmla="*/ 1506494 h 6858000"/>
              <a:gd name="connsiteX640" fmla="*/ 302168 w 7467600"/>
              <a:gd name="connsiteY640" fmla="*/ 1274495 h 6858000"/>
              <a:gd name="connsiteX641" fmla="*/ 291466 w 7467600"/>
              <a:gd name="connsiteY641" fmla="*/ 1250369 h 6858000"/>
              <a:gd name="connsiteX642" fmla="*/ 678222 w 7467600"/>
              <a:gd name="connsiteY642" fmla="*/ 1248670 h 6858000"/>
              <a:gd name="connsiteX643" fmla="*/ 775536 w 7467600"/>
              <a:gd name="connsiteY643" fmla="*/ 1388015 h 6858000"/>
              <a:gd name="connsiteX644" fmla="*/ 894529 w 7467600"/>
              <a:gd name="connsiteY644" fmla="*/ 1567739 h 6858000"/>
              <a:gd name="connsiteX645" fmla="*/ 948000 w 7467600"/>
              <a:gd name="connsiteY645" fmla="*/ 1663088 h 6858000"/>
              <a:gd name="connsiteX646" fmla="*/ 1006812 w 7467600"/>
              <a:gd name="connsiteY646" fmla="*/ 1767683 h 6858000"/>
              <a:gd name="connsiteX647" fmla="*/ 1149133 w 7467600"/>
              <a:gd name="connsiteY647" fmla="*/ 1971513 h 6858000"/>
              <a:gd name="connsiteX648" fmla="*/ 1333952 w 7467600"/>
              <a:gd name="connsiteY648" fmla="*/ 2251620 h 6858000"/>
              <a:gd name="connsiteX649" fmla="*/ 1337329 w 7467600"/>
              <a:gd name="connsiteY649" fmla="*/ 2258350 h 6858000"/>
              <a:gd name="connsiteX650" fmla="*/ 1014726 w 7467600"/>
              <a:gd name="connsiteY650" fmla="*/ 1615556 h 6858000"/>
              <a:gd name="connsiteX651" fmla="*/ 678222 w 7467600"/>
              <a:gd name="connsiteY651" fmla="*/ 1248670 h 6858000"/>
              <a:gd name="connsiteX652" fmla="*/ 6691602 w 7467600"/>
              <a:gd name="connsiteY652" fmla="*/ 1140573 h 6858000"/>
              <a:gd name="connsiteX653" fmla="*/ 6571100 w 7467600"/>
              <a:gd name="connsiteY653" fmla="*/ 1183662 h 6858000"/>
              <a:gd name="connsiteX654" fmla="*/ 6241687 w 7467600"/>
              <a:gd name="connsiteY654" fmla="*/ 1257600 h 6858000"/>
              <a:gd name="connsiteX655" fmla="*/ 5693009 w 7467600"/>
              <a:gd name="connsiteY655" fmla="*/ 1478256 h 6858000"/>
              <a:gd name="connsiteX656" fmla="*/ 6548420 w 7467600"/>
              <a:gd name="connsiteY656" fmla="*/ 1214599 h 6858000"/>
              <a:gd name="connsiteX657" fmla="*/ 6605473 w 7467600"/>
              <a:gd name="connsiteY657" fmla="*/ 1184686 h 6858000"/>
              <a:gd name="connsiteX658" fmla="*/ 6691602 w 7467600"/>
              <a:gd name="connsiteY658" fmla="*/ 1140573 h 6858000"/>
              <a:gd name="connsiteX659" fmla="*/ 4002475 w 7467600"/>
              <a:gd name="connsiteY659" fmla="*/ 1037802 h 6858000"/>
              <a:gd name="connsiteX660" fmla="*/ 4000324 w 7467600"/>
              <a:gd name="connsiteY660" fmla="*/ 1039362 h 6858000"/>
              <a:gd name="connsiteX661" fmla="*/ 4002862 w 7467600"/>
              <a:gd name="connsiteY661" fmla="*/ 1042866 h 6858000"/>
              <a:gd name="connsiteX662" fmla="*/ 4002475 w 7467600"/>
              <a:gd name="connsiteY662" fmla="*/ 1037802 h 6858000"/>
              <a:gd name="connsiteX663" fmla="*/ 506322 w 7467600"/>
              <a:gd name="connsiteY663" fmla="*/ 1020997 h 6858000"/>
              <a:gd name="connsiteX664" fmla="*/ 533068 w 7467600"/>
              <a:gd name="connsiteY664" fmla="*/ 1029409 h 6858000"/>
              <a:gd name="connsiteX665" fmla="*/ 1232525 w 7467600"/>
              <a:gd name="connsiteY665" fmla="*/ 1804675 h 6858000"/>
              <a:gd name="connsiteX666" fmla="*/ 1388858 w 7467600"/>
              <a:gd name="connsiteY666" fmla="*/ 2368011 h 6858000"/>
              <a:gd name="connsiteX667" fmla="*/ 1384098 w 7467600"/>
              <a:gd name="connsiteY667" fmla="*/ 2378125 h 6858000"/>
              <a:gd name="connsiteX668" fmla="*/ 1425393 w 7467600"/>
              <a:gd name="connsiteY668" fmla="*/ 2589124 h 6858000"/>
              <a:gd name="connsiteX669" fmla="*/ 1424001 w 7467600"/>
              <a:gd name="connsiteY669" fmla="*/ 2597541 h 6858000"/>
              <a:gd name="connsiteX670" fmla="*/ 2152729 w 7467600"/>
              <a:gd name="connsiteY670" fmla="*/ 2864487 h 6858000"/>
              <a:gd name="connsiteX671" fmla="*/ 2020609 w 7467600"/>
              <a:gd name="connsiteY671" fmla="*/ 2539671 h 6858000"/>
              <a:gd name="connsiteX672" fmla="*/ 2018920 w 7467600"/>
              <a:gd name="connsiteY672" fmla="*/ 2536309 h 6858000"/>
              <a:gd name="connsiteX673" fmla="*/ 1342441 w 7467600"/>
              <a:gd name="connsiteY673" fmla="*/ 1173017 h 6858000"/>
              <a:gd name="connsiteX674" fmla="*/ 1367925 w 7467600"/>
              <a:gd name="connsiteY674" fmla="*/ 1135648 h 6858000"/>
              <a:gd name="connsiteX675" fmla="*/ 1771401 w 7467600"/>
              <a:gd name="connsiteY675" fmla="*/ 1806673 h 6858000"/>
              <a:gd name="connsiteX676" fmla="*/ 1972385 w 7467600"/>
              <a:gd name="connsiteY676" fmla="*/ 2198735 h 6858000"/>
              <a:gd name="connsiteX677" fmla="*/ 2040892 w 7467600"/>
              <a:gd name="connsiteY677" fmla="*/ 2405205 h 6858000"/>
              <a:gd name="connsiteX678" fmla="*/ 2131689 w 7467600"/>
              <a:gd name="connsiteY678" fmla="*/ 1936926 h 6858000"/>
              <a:gd name="connsiteX679" fmla="*/ 2454820 w 7467600"/>
              <a:gd name="connsiteY679" fmla="*/ 1248808 h 6858000"/>
              <a:gd name="connsiteX680" fmla="*/ 2492512 w 7467600"/>
              <a:gd name="connsiteY680" fmla="*/ 1302920 h 6858000"/>
              <a:gd name="connsiteX681" fmla="*/ 2081216 w 7467600"/>
              <a:gd name="connsiteY681" fmla="*/ 2527513 h 6858000"/>
              <a:gd name="connsiteX682" fmla="*/ 2081211 w 7467600"/>
              <a:gd name="connsiteY682" fmla="*/ 2528916 h 6858000"/>
              <a:gd name="connsiteX683" fmla="*/ 2199067 w 7467600"/>
              <a:gd name="connsiteY683" fmla="*/ 2884061 h 6858000"/>
              <a:gd name="connsiteX684" fmla="*/ 3192586 w 7467600"/>
              <a:gd name="connsiteY684" fmla="*/ 3411496 h 6858000"/>
              <a:gd name="connsiteX685" fmla="*/ 3182620 w 7467600"/>
              <a:gd name="connsiteY685" fmla="*/ 3483279 h 6858000"/>
              <a:gd name="connsiteX686" fmla="*/ 2435119 w 7467600"/>
              <a:gd name="connsiteY686" fmla="*/ 3080173 h 6858000"/>
              <a:gd name="connsiteX687" fmla="*/ 2410152 w 7467600"/>
              <a:gd name="connsiteY687" fmla="*/ 3063751 h 6858000"/>
              <a:gd name="connsiteX688" fmla="*/ 2408099 w 7467600"/>
              <a:gd name="connsiteY688" fmla="*/ 3064403 h 6858000"/>
              <a:gd name="connsiteX689" fmla="*/ 2407218 w 7467600"/>
              <a:gd name="connsiteY689" fmla="*/ 3070324 h 6858000"/>
              <a:gd name="connsiteX690" fmla="*/ 2380138 w 7467600"/>
              <a:gd name="connsiteY690" fmla="*/ 3099341 h 6858000"/>
              <a:gd name="connsiteX691" fmla="*/ 1765923 w 7467600"/>
              <a:gd name="connsiteY691" fmla="*/ 3581043 h 6858000"/>
              <a:gd name="connsiteX692" fmla="*/ 1702258 w 7467600"/>
              <a:gd name="connsiteY692" fmla="*/ 3612286 h 6858000"/>
              <a:gd name="connsiteX693" fmla="*/ 1538370 w 7467600"/>
              <a:gd name="connsiteY693" fmla="*/ 3811804 h 6858000"/>
              <a:gd name="connsiteX694" fmla="*/ 542867 w 7467600"/>
              <a:gd name="connsiteY694" fmla="*/ 4944092 h 6858000"/>
              <a:gd name="connsiteX695" fmla="*/ 515800 w 7467600"/>
              <a:gd name="connsiteY695" fmla="*/ 4862180 h 6858000"/>
              <a:gd name="connsiteX696" fmla="*/ 909145 w 7467600"/>
              <a:gd name="connsiteY696" fmla="*/ 4199225 h 6858000"/>
              <a:gd name="connsiteX697" fmla="*/ 1214067 w 7467600"/>
              <a:gd name="connsiteY697" fmla="*/ 3908561 h 6858000"/>
              <a:gd name="connsiteX698" fmla="*/ 640967 w 7467600"/>
              <a:gd name="connsiteY698" fmla="*/ 4105601 h 6858000"/>
              <a:gd name="connsiteX699" fmla="*/ 112563 w 7467600"/>
              <a:gd name="connsiteY699" fmla="*/ 4396952 h 6858000"/>
              <a:gd name="connsiteX700" fmla="*/ 0 w 7467600"/>
              <a:gd name="connsiteY700" fmla="*/ 4466006 h 6858000"/>
              <a:gd name="connsiteX701" fmla="*/ 0 w 7467600"/>
              <a:gd name="connsiteY701" fmla="*/ 4233763 h 6858000"/>
              <a:gd name="connsiteX702" fmla="*/ 36881 w 7467600"/>
              <a:gd name="connsiteY702" fmla="*/ 4200118 h 6858000"/>
              <a:gd name="connsiteX703" fmla="*/ 910534 w 7467600"/>
              <a:gd name="connsiteY703" fmla="*/ 3629753 h 6858000"/>
              <a:gd name="connsiteX704" fmla="*/ 1578717 w 7467600"/>
              <a:gd name="connsiteY704" fmla="*/ 3575982 h 6858000"/>
              <a:gd name="connsiteX705" fmla="*/ 2338780 w 7467600"/>
              <a:gd name="connsiteY705" fmla="*/ 3033725 h 6858000"/>
              <a:gd name="connsiteX706" fmla="*/ 1807991 w 7467600"/>
              <a:gd name="connsiteY706" fmla="*/ 2807184 h 6858000"/>
              <a:gd name="connsiteX707" fmla="*/ 1416358 w 7467600"/>
              <a:gd name="connsiteY707" fmla="*/ 3112571 h 6858000"/>
              <a:gd name="connsiteX708" fmla="*/ 939066 w 7467600"/>
              <a:gd name="connsiteY708" fmla="*/ 3378798 h 6858000"/>
              <a:gd name="connsiteX709" fmla="*/ 115099 w 7467600"/>
              <a:gd name="connsiteY709" fmla="*/ 3607650 h 6858000"/>
              <a:gd name="connsiteX710" fmla="*/ 97284 w 7467600"/>
              <a:gd name="connsiteY710" fmla="*/ 3520393 h 6858000"/>
              <a:gd name="connsiteX711" fmla="*/ 922050 w 7467600"/>
              <a:gd name="connsiteY711" fmla="*/ 3074867 h 6858000"/>
              <a:gd name="connsiteX712" fmla="*/ 1405265 w 7467600"/>
              <a:gd name="connsiteY712" fmla="*/ 3016319 h 6858000"/>
              <a:gd name="connsiteX713" fmla="*/ 1407512 w 7467600"/>
              <a:gd name="connsiteY713" fmla="*/ 3018001 h 6858000"/>
              <a:gd name="connsiteX714" fmla="*/ 1726266 w 7467600"/>
              <a:gd name="connsiteY714" fmla="*/ 2777274 h 6858000"/>
              <a:gd name="connsiteX715" fmla="*/ 625390 w 7467600"/>
              <a:gd name="connsiteY715" fmla="*/ 2514541 h 6858000"/>
              <a:gd name="connsiteX716" fmla="*/ 619799 w 7467600"/>
              <a:gd name="connsiteY716" fmla="*/ 2527180 h 6858000"/>
              <a:gd name="connsiteX717" fmla="*/ 310030 w 7467600"/>
              <a:gd name="connsiteY717" fmla="*/ 2771818 h 6858000"/>
              <a:gd name="connsiteX718" fmla="*/ 173877 w 7467600"/>
              <a:gd name="connsiteY718" fmla="*/ 2937056 h 6858000"/>
              <a:gd name="connsiteX719" fmla="*/ 77889 w 7467600"/>
              <a:gd name="connsiteY719" fmla="*/ 3138440 h 6858000"/>
              <a:gd name="connsiteX720" fmla="*/ 0 w 7467600"/>
              <a:gd name="connsiteY720" fmla="*/ 3271395 h 6858000"/>
              <a:gd name="connsiteX721" fmla="*/ 0 w 7467600"/>
              <a:gd name="connsiteY721" fmla="*/ 3153002 h 6858000"/>
              <a:gd name="connsiteX722" fmla="*/ 2386 w 7467600"/>
              <a:gd name="connsiteY722" fmla="*/ 3149203 h 6858000"/>
              <a:gd name="connsiteX723" fmla="*/ 89753 w 7467600"/>
              <a:gd name="connsiteY723" fmla="*/ 2987702 h 6858000"/>
              <a:gd name="connsiteX724" fmla="*/ 76869 w 7467600"/>
              <a:gd name="connsiteY724" fmla="*/ 3005404 h 6858000"/>
              <a:gd name="connsiteX725" fmla="*/ 32049 w 7467600"/>
              <a:gd name="connsiteY725" fmla="*/ 3065814 h 6858000"/>
              <a:gd name="connsiteX726" fmla="*/ 0 w 7467600"/>
              <a:gd name="connsiteY726" fmla="*/ 3108744 h 6858000"/>
              <a:gd name="connsiteX727" fmla="*/ 0 w 7467600"/>
              <a:gd name="connsiteY727" fmla="*/ 3058059 h 6858000"/>
              <a:gd name="connsiteX728" fmla="*/ 7610 w 7467600"/>
              <a:gd name="connsiteY728" fmla="*/ 3047889 h 6858000"/>
              <a:gd name="connsiteX729" fmla="*/ 52419 w 7467600"/>
              <a:gd name="connsiteY729" fmla="*/ 2987479 h 6858000"/>
              <a:gd name="connsiteX730" fmla="*/ 59142 w 7467600"/>
              <a:gd name="connsiteY730" fmla="*/ 2978488 h 6858000"/>
              <a:gd name="connsiteX731" fmla="*/ 0 w 7467600"/>
              <a:gd name="connsiteY731" fmla="*/ 3015334 h 6858000"/>
              <a:gd name="connsiteX732" fmla="*/ 0 w 7467600"/>
              <a:gd name="connsiteY732" fmla="*/ 2914286 h 6858000"/>
              <a:gd name="connsiteX733" fmla="*/ 36383 w 7467600"/>
              <a:gd name="connsiteY733" fmla="*/ 2901128 h 6858000"/>
              <a:gd name="connsiteX734" fmla="*/ 156329 w 7467600"/>
              <a:gd name="connsiteY734" fmla="*/ 2840533 h 6858000"/>
              <a:gd name="connsiteX735" fmla="*/ 358355 w 7467600"/>
              <a:gd name="connsiteY735" fmla="*/ 2620471 h 6858000"/>
              <a:gd name="connsiteX736" fmla="*/ 510577 w 7467600"/>
              <a:gd name="connsiteY736" fmla="*/ 2501244 h 6858000"/>
              <a:gd name="connsiteX737" fmla="*/ 211967 w 7467600"/>
              <a:gd name="connsiteY737" fmla="*/ 2479171 h 6858000"/>
              <a:gd name="connsiteX738" fmla="*/ 0 w 7467600"/>
              <a:gd name="connsiteY738" fmla="*/ 2476398 h 6858000"/>
              <a:gd name="connsiteX739" fmla="*/ 0 w 7467600"/>
              <a:gd name="connsiteY739" fmla="*/ 2389189 h 6858000"/>
              <a:gd name="connsiteX740" fmla="*/ 103062 w 7467600"/>
              <a:gd name="connsiteY740" fmla="*/ 2389518 h 6858000"/>
              <a:gd name="connsiteX741" fmla="*/ 510734 w 7467600"/>
              <a:gd name="connsiteY741" fmla="*/ 2416201 h 6858000"/>
              <a:gd name="connsiteX742" fmla="*/ 279257 w 7467600"/>
              <a:gd name="connsiteY742" fmla="*/ 2092102 h 6858000"/>
              <a:gd name="connsiteX743" fmla="*/ 65265 w 7467600"/>
              <a:gd name="connsiteY743" fmla="*/ 2006049 h 6858000"/>
              <a:gd name="connsiteX744" fmla="*/ 0 w 7467600"/>
              <a:gd name="connsiteY744" fmla="*/ 1982532 h 6858000"/>
              <a:gd name="connsiteX745" fmla="*/ 0 w 7467600"/>
              <a:gd name="connsiteY745" fmla="*/ 1912789 h 6858000"/>
              <a:gd name="connsiteX746" fmla="*/ 97460 w 7467600"/>
              <a:gd name="connsiteY746" fmla="*/ 1953725 h 6858000"/>
              <a:gd name="connsiteX747" fmla="*/ 221272 w 7467600"/>
              <a:gd name="connsiteY747" fmla="*/ 1980766 h 6858000"/>
              <a:gd name="connsiteX748" fmla="*/ 116765 w 7467600"/>
              <a:gd name="connsiteY748" fmla="*/ 1911033 h 6858000"/>
              <a:gd name="connsiteX749" fmla="*/ 16405 w 7467600"/>
              <a:gd name="connsiteY749" fmla="*/ 1803412 h 6858000"/>
              <a:gd name="connsiteX750" fmla="*/ 0 w 7467600"/>
              <a:gd name="connsiteY750" fmla="*/ 1784777 h 6858000"/>
              <a:gd name="connsiteX751" fmla="*/ 0 w 7467600"/>
              <a:gd name="connsiteY751" fmla="*/ 1740082 h 6858000"/>
              <a:gd name="connsiteX752" fmla="*/ 39394 w 7467600"/>
              <a:gd name="connsiteY752" fmla="*/ 1784856 h 6858000"/>
              <a:gd name="connsiteX753" fmla="*/ 135813 w 7467600"/>
              <a:gd name="connsiteY753" fmla="*/ 1888838 h 6858000"/>
              <a:gd name="connsiteX754" fmla="*/ 242575 w 7467600"/>
              <a:gd name="connsiteY754" fmla="*/ 1958841 h 6858000"/>
              <a:gd name="connsiteX755" fmla="*/ 82197 w 7467600"/>
              <a:gd name="connsiteY755" fmla="*/ 1754826 h 6858000"/>
              <a:gd name="connsiteX756" fmla="*/ 0 w 7467600"/>
              <a:gd name="connsiteY756" fmla="*/ 1679650 h 6858000"/>
              <a:gd name="connsiteX757" fmla="*/ 0 w 7467600"/>
              <a:gd name="connsiteY757" fmla="*/ 1602463 h 6858000"/>
              <a:gd name="connsiteX758" fmla="*/ 84689 w 7467600"/>
              <a:gd name="connsiteY758" fmla="*/ 1677442 h 6858000"/>
              <a:gd name="connsiteX759" fmla="*/ 298437 w 7467600"/>
              <a:gd name="connsiteY759" fmla="*/ 1968019 h 6858000"/>
              <a:gd name="connsiteX760" fmla="*/ 227269 w 7467600"/>
              <a:gd name="connsiteY760" fmla="*/ 1114064 h 6858000"/>
              <a:gd name="connsiteX761" fmla="*/ 248003 w 7467600"/>
              <a:gd name="connsiteY761" fmla="*/ 1089613 h 6858000"/>
              <a:gd name="connsiteX762" fmla="*/ 427020 w 7467600"/>
              <a:gd name="connsiteY762" fmla="*/ 1619803 h 6858000"/>
              <a:gd name="connsiteX763" fmla="*/ 340345 w 7467600"/>
              <a:gd name="connsiteY763" fmla="*/ 2027739 h 6858000"/>
              <a:gd name="connsiteX764" fmla="*/ 360865 w 7467600"/>
              <a:gd name="connsiteY764" fmla="*/ 2044827 h 6858000"/>
              <a:gd name="connsiteX765" fmla="*/ 560414 w 7467600"/>
              <a:gd name="connsiteY765" fmla="*/ 2421457 h 6858000"/>
              <a:gd name="connsiteX766" fmla="*/ 1359703 w 7467600"/>
              <a:gd name="connsiteY766" fmla="*/ 2578554 h 6858000"/>
              <a:gd name="connsiteX767" fmla="*/ 1359422 w 7467600"/>
              <a:gd name="connsiteY767" fmla="*/ 2577994 h 6858000"/>
              <a:gd name="connsiteX768" fmla="*/ 828701 w 7467600"/>
              <a:gd name="connsiteY768" fmla="*/ 1839520 h 6858000"/>
              <a:gd name="connsiteX769" fmla="*/ 494427 w 7467600"/>
              <a:gd name="connsiteY769" fmla="*/ 1092333 h 6858000"/>
              <a:gd name="connsiteX770" fmla="*/ 506322 w 7467600"/>
              <a:gd name="connsiteY770" fmla="*/ 1020997 h 6858000"/>
              <a:gd name="connsiteX771" fmla="*/ 4570198 w 7467600"/>
              <a:gd name="connsiteY771" fmla="*/ 978081 h 6858000"/>
              <a:gd name="connsiteX772" fmla="*/ 4523691 w 7467600"/>
              <a:gd name="connsiteY772" fmla="*/ 1127776 h 6858000"/>
              <a:gd name="connsiteX773" fmla="*/ 4509875 w 7467600"/>
              <a:gd name="connsiteY773" fmla="*/ 1167552 h 6858000"/>
              <a:gd name="connsiteX774" fmla="*/ 4478168 w 7467600"/>
              <a:gd name="connsiteY774" fmla="*/ 1260735 h 6858000"/>
              <a:gd name="connsiteX775" fmla="*/ 4409309 w 7467600"/>
              <a:gd name="connsiteY775" fmla="*/ 1666996 h 6858000"/>
              <a:gd name="connsiteX776" fmla="*/ 4370031 w 7467600"/>
              <a:gd name="connsiteY776" fmla="*/ 1955666 h 6858000"/>
              <a:gd name="connsiteX777" fmla="*/ 4570198 w 7467600"/>
              <a:gd name="connsiteY777" fmla="*/ 978081 h 6858000"/>
              <a:gd name="connsiteX778" fmla="*/ 4557898 w 7467600"/>
              <a:gd name="connsiteY778" fmla="*/ 900011 h 6858000"/>
              <a:gd name="connsiteX779" fmla="*/ 4344840 w 7467600"/>
              <a:gd name="connsiteY779" fmla="*/ 1922038 h 6858000"/>
              <a:gd name="connsiteX780" fmla="*/ 4378710 w 7467600"/>
              <a:gd name="connsiteY780" fmla="*/ 1665516 h 6858000"/>
              <a:gd name="connsiteX781" fmla="*/ 4448798 w 7467600"/>
              <a:gd name="connsiteY781" fmla="*/ 1253024 h 6858000"/>
              <a:gd name="connsiteX782" fmla="*/ 4480315 w 7467600"/>
              <a:gd name="connsiteY782" fmla="*/ 1158454 h 6858000"/>
              <a:gd name="connsiteX783" fmla="*/ 4494133 w 7467600"/>
              <a:gd name="connsiteY783" fmla="*/ 1118676 h 6858000"/>
              <a:gd name="connsiteX784" fmla="*/ 4557898 w 7467600"/>
              <a:gd name="connsiteY784" fmla="*/ 900011 h 6858000"/>
              <a:gd name="connsiteX785" fmla="*/ 5870151 w 7467600"/>
              <a:gd name="connsiteY785" fmla="*/ 898890 h 6858000"/>
              <a:gd name="connsiteX786" fmla="*/ 5861335 w 7467600"/>
              <a:gd name="connsiteY786" fmla="*/ 899177 h 6858000"/>
              <a:gd name="connsiteX787" fmla="*/ 5843702 w 7467600"/>
              <a:gd name="connsiteY787" fmla="*/ 899748 h 6858000"/>
              <a:gd name="connsiteX788" fmla="*/ 5651107 w 7467600"/>
              <a:gd name="connsiteY788" fmla="*/ 920306 h 6858000"/>
              <a:gd name="connsiteX789" fmla="*/ 5459407 w 7467600"/>
              <a:gd name="connsiteY789" fmla="*/ 940975 h 6858000"/>
              <a:gd name="connsiteX790" fmla="*/ 5374846 w 7467600"/>
              <a:gd name="connsiteY790" fmla="*/ 941988 h 6858000"/>
              <a:gd name="connsiteX791" fmla="*/ 5256105 w 7467600"/>
              <a:gd name="connsiteY791" fmla="*/ 945632 h 6858000"/>
              <a:gd name="connsiteX792" fmla="*/ 5107071 w 7467600"/>
              <a:gd name="connsiteY792" fmla="*/ 969720 h 6858000"/>
              <a:gd name="connsiteX793" fmla="*/ 4998681 w 7467600"/>
              <a:gd name="connsiteY793" fmla="*/ 988771 h 6858000"/>
              <a:gd name="connsiteX794" fmla="*/ 5870151 w 7467600"/>
              <a:gd name="connsiteY794" fmla="*/ 898890 h 6858000"/>
              <a:gd name="connsiteX795" fmla="*/ 5504425 w 7467600"/>
              <a:gd name="connsiteY795" fmla="*/ 848067 h 6858000"/>
              <a:gd name="connsiteX796" fmla="*/ 4968849 w 7467600"/>
              <a:gd name="connsiteY796" fmla="*/ 962318 h 6858000"/>
              <a:gd name="connsiteX797" fmla="*/ 5104039 w 7467600"/>
              <a:gd name="connsiteY797" fmla="*/ 940634 h 6858000"/>
              <a:gd name="connsiteX798" fmla="*/ 5256311 w 7467600"/>
              <a:gd name="connsiteY798" fmla="*/ 916490 h 6858000"/>
              <a:gd name="connsiteX799" fmla="*/ 5377381 w 7467600"/>
              <a:gd name="connsiteY799" fmla="*/ 912671 h 6858000"/>
              <a:gd name="connsiteX800" fmla="*/ 5460148 w 7467600"/>
              <a:gd name="connsiteY800" fmla="*/ 911442 h 6858000"/>
              <a:gd name="connsiteX801" fmla="*/ 5648971 w 7467600"/>
              <a:gd name="connsiteY801" fmla="*/ 891331 h 6858000"/>
              <a:gd name="connsiteX802" fmla="*/ 5844807 w 7467600"/>
              <a:gd name="connsiteY802" fmla="*/ 870718 h 6858000"/>
              <a:gd name="connsiteX803" fmla="*/ 5862975 w 7467600"/>
              <a:gd name="connsiteY803" fmla="*/ 869756 h 6858000"/>
              <a:gd name="connsiteX804" fmla="*/ 5920887 w 7467600"/>
              <a:gd name="connsiteY804" fmla="*/ 865929 h 6858000"/>
              <a:gd name="connsiteX805" fmla="*/ 5504425 w 7467600"/>
              <a:gd name="connsiteY805" fmla="*/ 848067 h 6858000"/>
              <a:gd name="connsiteX806" fmla="*/ 3607114 w 7467600"/>
              <a:gd name="connsiteY806" fmla="*/ 467441 h 6858000"/>
              <a:gd name="connsiteX807" fmla="*/ 3296242 w 7467600"/>
              <a:gd name="connsiteY807" fmla="*/ 807991 h 6858000"/>
              <a:gd name="connsiteX808" fmla="*/ 3174674 w 7467600"/>
              <a:gd name="connsiteY808" fmla="*/ 919759 h 6858000"/>
              <a:gd name="connsiteX809" fmla="*/ 3042978 w 7467600"/>
              <a:gd name="connsiteY809" fmla="*/ 1054894 h 6858000"/>
              <a:gd name="connsiteX810" fmla="*/ 2968914 w 7467600"/>
              <a:gd name="connsiteY810" fmla="*/ 1133756 h 6858000"/>
              <a:gd name="connsiteX811" fmla="*/ 3103823 w 7467600"/>
              <a:gd name="connsiteY811" fmla="*/ 1026814 h 6858000"/>
              <a:gd name="connsiteX812" fmla="*/ 3607114 w 7467600"/>
              <a:gd name="connsiteY812" fmla="*/ 467441 h 6858000"/>
              <a:gd name="connsiteX813" fmla="*/ 3744487 w 7467600"/>
              <a:gd name="connsiteY813" fmla="*/ 383136 h 6858000"/>
              <a:gd name="connsiteX814" fmla="*/ 3970213 w 7467600"/>
              <a:gd name="connsiteY814" fmla="*/ 995559 h 6858000"/>
              <a:gd name="connsiteX815" fmla="*/ 3744487 w 7467600"/>
              <a:gd name="connsiteY815" fmla="*/ 383136 h 6858000"/>
              <a:gd name="connsiteX816" fmla="*/ 3624562 w 7467600"/>
              <a:gd name="connsiteY816" fmla="*/ 367041 h 6858000"/>
              <a:gd name="connsiteX817" fmla="*/ 3489712 w 7467600"/>
              <a:gd name="connsiteY817" fmla="*/ 485386 h 6858000"/>
              <a:gd name="connsiteX818" fmla="*/ 3182994 w 7467600"/>
              <a:gd name="connsiteY818" fmla="*/ 828265 h 6858000"/>
              <a:gd name="connsiteX819" fmla="*/ 2892114 w 7467600"/>
              <a:gd name="connsiteY819" fmla="*/ 1172635 h 6858000"/>
              <a:gd name="connsiteX820" fmla="*/ 3021459 w 7467600"/>
              <a:gd name="connsiteY820" fmla="*/ 1035385 h 6858000"/>
              <a:gd name="connsiteX821" fmla="*/ 3153873 w 7467600"/>
              <a:gd name="connsiteY821" fmla="*/ 898971 h 6858000"/>
              <a:gd name="connsiteX822" fmla="*/ 3276511 w 7467600"/>
              <a:gd name="connsiteY822" fmla="*/ 786423 h 6858000"/>
              <a:gd name="connsiteX823" fmla="*/ 3584154 w 7467600"/>
              <a:gd name="connsiteY823" fmla="*/ 448218 h 6858000"/>
              <a:gd name="connsiteX824" fmla="*/ 3624562 w 7467600"/>
              <a:gd name="connsiteY824" fmla="*/ 367041 h 6858000"/>
              <a:gd name="connsiteX825" fmla="*/ 3766672 w 7467600"/>
              <a:gd name="connsiteY825" fmla="*/ 359429 h 6858000"/>
              <a:gd name="connsiteX826" fmla="*/ 3996338 w 7467600"/>
              <a:gd name="connsiteY826" fmla="*/ 968237 h 6858000"/>
              <a:gd name="connsiteX827" fmla="*/ 3766672 w 7467600"/>
              <a:gd name="connsiteY827" fmla="*/ 359429 h 6858000"/>
              <a:gd name="connsiteX828" fmla="*/ 5805386 w 7467600"/>
              <a:gd name="connsiteY828" fmla="*/ 239240 h 6858000"/>
              <a:gd name="connsiteX829" fmla="*/ 5736947 w 7467600"/>
              <a:gd name="connsiteY829" fmla="*/ 261367 h 6858000"/>
              <a:gd name="connsiteX830" fmla="*/ 5427012 w 7467600"/>
              <a:gd name="connsiteY830" fmla="*/ 311272 h 6858000"/>
              <a:gd name="connsiteX831" fmla="*/ 5147818 w 7467600"/>
              <a:gd name="connsiteY831" fmla="*/ 322112 h 6858000"/>
              <a:gd name="connsiteX832" fmla="*/ 5060854 w 7467600"/>
              <a:gd name="connsiteY832" fmla="*/ 311882 h 6858000"/>
              <a:gd name="connsiteX833" fmla="*/ 4945989 w 7467600"/>
              <a:gd name="connsiteY833" fmla="*/ 300516 h 6858000"/>
              <a:gd name="connsiteX834" fmla="*/ 5410479 w 7467600"/>
              <a:gd name="connsiteY834" fmla="*/ 348434 h 6858000"/>
              <a:gd name="connsiteX835" fmla="*/ 5805386 w 7467600"/>
              <a:gd name="connsiteY835" fmla="*/ 239240 h 6858000"/>
              <a:gd name="connsiteX836" fmla="*/ 5905192 w 7467600"/>
              <a:gd name="connsiteY836" fmla="*/ 163079 h 6858000"/>
              <a:gd name="connsiteX837" fmla="*/ 5865655 w 7467600"/>
              <a:gd name="connsiteY837" fmla="*/ 171901 h 6858000"/>
              <a:gd name="connsiteX838" fmla="*/ 5259740 w 7467600"/>
              <a:gd name="connsiteY838" fmla="*/ 257013 h 6858000"/>
              <a:gd name="connsiteX839" fmla="*/ 5208466 w 7467600"/>
              <a:gd name="connsiteY839" fmla="*/ 257550 h 6858000"/>
              <a:gd name="connsiteX840" fmla="*/ 4980204 w 7467600"/>
              <a:gd name="connsiteY840" fmla="*/ 271903 h 6858000"/>
              <a:gd name="connsiteX841" fmla="*/ 5068068 w 7467600"/>
              <a:gd name="connsiteY841" fmla="*/ 282244 h 6858000"/>
              <a:gd name="connsiteX842" fmla="*/ 5153231 w 7467600"/>
              <a:gd name="connsiteY842" fmla="*/ 292240 h 6858000"/>
              <a:gd name="connsiteX843" fmla="*/ 5426491 w 7467600"/>
              <a:gd name="connsiteY843" fmla="*/ 281128 h 6858000"/>
              <a:gd name="connsiteX844" fmla="*/ 5731212 w 7467600"/>
              <a:gd name="connsiteY844" fmla="*/ 231951 h 6858000"/>
              <a:gd name="connsiteX845" fmla="*/ 5905192 w 7467600"/>
              <a:gd name="connsiteY845" fmla="*/ 163079 h 6858000"/>
              <a:gd name="connsiteX846" fmla="*/ 5944437 w 7467600"/>
              <a:gd name="connsiteY846" fmla="*/ 113829 h 6858000"/>
              <a:gd name="connsiteX847" fmla="*/ 5825032 w 7467600"/>
              <a:gd name="connsiteY847" fmla="*/ 146405 h 6858000"/>
              <a:gd name="connsiteX848" fmla="*/ 4955599 w 7467600"/>
              <a:gd name="connsiteY848" fmla="*/ 247008 h 6858000"/>
              <a:gd name="connsiteX849" fmla="*/ 5210104 w 7467600"/>
              <a:gd name="connsiteY849" fmla="*/ 228123 h 6858000"/>
              <a:gd name="connsiteX850" fmla="*/ 5261015 w 7467600"/>
              <a:gd name="connsiteY850" fmla="*/ 227087 h 6858000"/>
              <a:gd name="connsiteX851" fmla="*/ 5861181 w 7467600"/>
              <a:gd name="connsiteY851" fmla="*/ 143093 h 6858000"/>
              <a:gd name="connsiteX852" fmla="*/ 5961252 w 7467600"/>
              <a:gd name="connsiteY852" fmla="*/ 114820 h 6858000"/>
              <a:gd name="connsiteX853" fmla="*/ 5944437 w 7467600"/>
              <a:gd name="connsiteY853" fmla="*/ 113829 h 6858000"/>
              <a:gd name="connsiteX854" fmla="*/ 3882765 w 7467600"/>
              <a:gd name="connsiteY854" fmla="*/ 0 h 6858000"/>
              <a:gd name="connsiteX855" fmla="*/ 3995099 w 7467600"/>
              <a:gd name="connsiteY855" fmla="*/ 0 h 6858000"/>
              <a:gd name="connsiteX856" fmla="*/ 4163818 w 7467600"/>
              <a:gd name="connsiteY856" fmla="*/ 234104 h 6858000"/>
              <a:gd name="connsiteX857" fmla="*/ 4172099 w 7467600"/>
              <a:gd name="connsiteY857" fmla="*/ 234207 h 6858000"/>
              <a:gd name="connsiteX858" fmla="*/ 4784282 w 7467600"/>
              <a:gd name="connsiteY858" fmla="*/ 276561 h 6858000"/>
              <a:gd name="connsiteX859" fmla="*/ 4801687 w 7467600"/>
              <a:gd name="connsiteY859" fmla="*/ 267764 h 6858000"/>
              <a:gd name="connsiteX860" fmla="*/ 6082788 w 7467600"/>
              <a:gd name="connsiteY860" fmla="*/ 64119 h 6858000"/>
              <a:gd name="connsiteX861" fmla="*/ 6099442 w 7467600"/>
              <a:gd name="connsiteY861" fmla="*/ 82568 h 6858000"/>
              <a:gd name="connsiteX862" fmla="*/ 4804137 w 7467600"/>
              <a:gd name="connsiteY862" fmla="*/ 320931 h 6858000"/>
              <a:gd name="connsiteX863" fmla="*/ 4227047 w 7467600"/>
              <a:gd name="connsiteY863" fmla="*/ 313415 h 6858000"/>
              <a:gd name="connsiteX864" fmla="*/ 4346041 w 7467600"/>
              <a:gd name="connsiteY864" fmla="*/ 456086 h 6858000"/>
              <a:gd name="connsiteX865" fmla="*/ 4870967 w 7467600"/>
              <a:gd name="connsiteY865" fmla="*/ 963061 h 6858000"/>
              <a:gd name="connsiteX866" fmla="*/ 4889647 w 7467600"/>
              <a:gd name="connsiteY866" fmla="*/ 957147 h 6858000"/>
              <a:gd name="connsiteX867" fmla="*/ 5422504 w 7467600"/>
              <a:gd name="connsiteY867" fmla="*/ 805191 h 6858000"/>
              <a:gd name="connsiteX868" fmla="*/ 6087656 w 7467600"/>
              <a:gd name="connsiteY868" fmla="*/ 826703 h 6858000"/>
              <a:gd name="connsiteX869" fmla="*/ 6058717 w 7467600"/>
              <a:gd name="connsiteY869" fmla="*/ 865992 h 6858000"/>
              <a:gd name="connsiteX870" fmla="*/ 4974153 w 7467600"/>
              <a:gd name="connsiteY870" fmla="*/ 1045456 h 6858000"/>
              <a:gd name="connsiteX871" fmla="*/ 5627835 w 7467600"/>
              <a:gd name="connsiteY871" fmla="*/ 1472077 h 6858000"/>
              <a:gd name="connsiteX872" fmla="*/ 5629817 w 7467600"/>
              <a:gd name="connsiteY872" fmla="*/ 1471412 h 6858000"/>
              <a:gd name="connsiteX873" fmla="*/ 5634124 w 7467600"/>
              <a:gd name="connsiteY873" fmla="*/ 1470572 h 6858000"/>
              <a:gd name="connsiteX874" fmla="*/ 5755832 w 7467600"/>
              <a:gd name="connsiteY874" fmla="*/ 1383886 h 6858000"/>
              <a:gd name="connsiteX875" fmla="*/ 6014186 w 7467600"/>
              <a:gd name="connsiteY875" fmla="*/ 1279799 h 6858000"/>
              <a:gd name="connsiteX876" fmla="*/ 6901619 w 7467600"/>
              <a:gd name="connsiteY876" fmla="*/ 1047874 h 6858000"/>
              <a:gd name="connsiteX877" fmla="*/ 6931566 w 7467600"/>
              <a:gd name="connsiteY877" fmla="*/ 1062034 h 6858000"/>
              <a:gd name="connsiteX878" fmla="*/ 5790982 w 7467600"/>
              <a:gd name="connsiteY878" fmla="*/ 1561380 h 6858000"/>
              <a:gd name="connsiteX879" fmla="*/ 6188971 w 7467600"/>
              <a:gd name="connsiteY879" fmla="*/ 1755168 h 6858000"/>
              <a:gd name="connsiteX880" fmla="*/ 6202446 w 7467600"/>
              <a:gd name="connsiteY880" fmla="*/ 1752268 h 6858000"/>
              <a:gd name="connsiteX881" fmla="*/ 7179560 w 7467600"/>
              <a:gd name="connsiteY881" fmla="*/ 1467551 h 6858000"/>
              <a:gd name="connsiteX882" fmla="*/ 7158730 w 7467600"/>
              <a:gd name="connsiteY882" fmla="*/ 1507835 h 6858000"/>
              <a:gd name="connsiteX883" fmla="*/ 6326959 w 7467600"/>
              <a:gd name="connsiteY883" fmla="*/ 1817686 h 6858000"/>
              <a:gd name="connsiteX884" fmla="*/ 6537433 w 7467600"/>
              <a:gd name="connsiteY884" fmla="*/ 1907790 h 6858000"/>
              <a:gd name="connsiteX885" fmla="*/ 6550221 w 7467600"/>
              <a:gd name="connsiteY885" fmla="*/ 1910729 h 6858000"/>
              <a:gd name="connsiteX886" fmla="*/ 6964438 w 7467600"/>
              <a:gd name="connsiteY886" fmla="*/ 2209505 h 6858000"/>
              <a:gd name="connsiteX887" fmla="*/ 7367862 w 7467600"/>
              <a:gd name="connsiteY887" fmla="*/ 2806833 h 6858000"/>
              <a:gd name="connsiteX888" fmla="*/ 7364329 w 7467600"/>
              <a:gd name="connsiteY888" fmla="*/ 2826907 h 6858000"/>
              <a:gd name="connsiteX889" fmla="*/ 7290545 w 7467600"/>
              <a:gd name="connsiteY889" fmla="*/ 2850663 h 6858000"/>
              <a:gd name="connsiteX890" fmla="*/ 6472036 w 7467600"/>
              <a:gd name="connsiteY890" fmla="*/ 1959003 h 6858000"/>
              <a:gd name="connsiteX891" fmla="*/ 5792897 w 7467600"/>
              <a:gd name="connsiteY891" fmla="*/ 1647747 h 6858000"/>
              <a:gd name="connsiteX892" fmla="*/ 5842751 w 7467600"/>
              <a:gd name="connsiteY892" fmla="*/ 1816112 h 6858000"/>
              <a:gd name="connsiteX893" fmla="*/ 5847424 w 7467600"/>
              <a:gd name="connsiteY893" fmla="*/ 1815776 h 6858000"/>
              <a:gd name="connsiteX894" fmla="*/ 6399821 w 7467600"/>
              <a:gd name="connsiteY894" fmla="*/ 2344799 h 6858000"/>
              <a:gd name="connsiteX895" fmla="*/ 6323232 w 7467600"/>
              <a:gd name="connsiteY895" fmla="*/ 2389634 h 6858000"/>
              <a:gd name="connsiteX896" fmla="*/ 5942958 w 7467600"/>
              <a:gd name="connsiteY896" fmla="*/ 2077708 h 6858000"/>
              <a:gd name="connsiteX897" fmla="*/ 5921559 w 7467600"/>
              <a:gd name="connsiteY897" fmla="*/ 2378596 h 6858000"/>
              <a:gd name="connsiteX898" fmla="*/ 5817651 w 7467600"/>
              <a:gd name="connsiteY898" fmla="*/ 3023919 h 6858000"/>
              <a:gd name="connsiteX899" fmla="*/ 5729634 w 7467600"/>
              <a:gd name="connsiteY899" fmla="*/ 3051849 h 6858000"/>
              <a:gd name="connsiteX900" fmla="*/ 5611018 w 7467600"/>
              <a:gd name="connsiteY900" fmla="*/ 2316769 h 6858000"/>
              <a:gd name="connsiteX901" fmla="*/ 5687608 w 7467600"/>
              <a:gd name="connsiteY901" fmla="*/ 2039972 h 6858000"/>
              <a:gd name="connsiteX902" fmla="*/ 5657554 w 7467600"/>
              <a:gd name="connsiteY902" fmla="*/ 1576445 h 6858000"/>
              <a:gd name="connsiteX903" fmla="*/ 5150475 w 7467600"/>
              <a:gd name="connsiteY903" fmla="*/ 1274012 h 6858000"/>
              <a:gd name="connsiteX904" fmla="*/ 5349142 w 7467600"/>
              <a:gd name="connsiteY904" fmla="*/ 2204405 h 6858000"/>
              <a:gd name="connsiteX905" fmla="*/ 5262214 w 7467600"/>
              <a:gd name="connsiteY905" fmla="*/ 2233836 h 6858000"/>
              <a:gd name="connsiteX906" fmla="*/ 4981539 w 7467600"/>
              <a:gd name="connsiteY906" fmla="*/ 1542201 h 6858000"/>
              <a:gd name="connsiteX907" fmla="*/ 4958461 w 7467600"/>
              <a:gd name="connsiteY907" fmla="*/ 1136957 h 6858000"/>
              <a:gd name="connsiteX908" fmla="*/ 4655015 w 7467600"/>
              <a:gd name="connsiteY908" fmla="*/ 891426 h 6858000"/>
              <a:gd name="connsiteX909" fmla="*/ 4348002 w 7467600"/>
              <a:gd name="connsiteY909" fmla="*/ 2205895 h 6858000"/>
              <a:gd name="connsiteX910" fmla="*/ 4262250 w 7467600"/>
              <a:gd name="connsiteY910" fmla="*/ 2219972 h 6858000"/>
              <a:gd name="connsiteX911" fmla="*/ 4550611 w 7467600"/>
              <a:gd name="connsiteY911" fmla="*/ 817540 h 6858000"/>
              <a:gd name="connsiteX912" fmla="*/ 4564418 w 7467600"/>
              <a:gd name="connsiteY912" fmla="*/ 808293 h 6858000"/>
              <a:gd name="connsiteX913" fmla="*/ 4266388 w 7467600"/>
              <a:gd name="connsiteY913" fmla="*/ 500083 h 6858000"/>
              <a:gd name="connsiteX914" fmla="*/ 4032842 w 7467600"/>
              <a:gd name="connsiteY914" fmla="*/ 211809 h 6858000"/>
              <a:gd name="connsiteX915" fmla="*/ 3882765 w 7467600"/>
              <a:gd name="connsiteY915" fmla="*/ 0 h 6858000"/>
              <a:gd name="connsiteX916" fmla="*/ 3721337 w 7467600"/>
              <a:gd name="connsiteY916" fmla="*/ 0 h 6858000"/>
              <a:gd name="connsiteX917" fmla="*/ 3797544 w 7467600"/>
              <a:gd name="connsiteY917" fmla="*/ 0 h 6858000"/>
              <a:gd name="connsiteX918" fmla="*/ 3775734 w 7467600"/>
              <a:gd name="connsiteY918" fmla="*/ 95131 h 6858000"/>
              <a:gd name="connsiteX919" fmla="*/ 3724807 w 7467600"/>
              <a:gd name="connsiteY919" fmla="*/ 272257 h 6858000"/>
              <a:gd name="connsiteX920" fmla="*/ 3726844 w 7467600"/>
              <a:gd name="connsiteY920" fmla="*/ 282988 h 6858000"/>
              <a:gd name="connsiteX921" fmla="*/ 3742664 w 7467600"/>
              <a:gd name="connsiteY921" fmla="*/ 279918 h 6858000"/>
              <a:gd name="connsiteX922" fmla="*/ 4103910 w 7467600"/>
              <a:gd name="connsiteY922" fmla="*/ 1161917 h 6858000"/>
              <a:gd name="connsiteX923" fmla="*/ 4020269 w 7467600"/>
              <a:gd name="connsiteY923" fmla="*/ 1200406 h 6858000"/>
              <a:gd name="connsiteX924" fmla="*/ 3674882 w 7467600"/>
              <a:gd name="connsiteY924" fmla="*/ 488524 h 6858000"/>
              <a:gd name="connsiteX925" fmla="*/ 3132682 w 7467600"/>
              <a:gd name="connsiteY925" fmla="*/ 1072284 h 6858000"/>
              <a:gd name="connsiteX926" fmla="*/ 2716346 w 7467600"/>
              <a:gd name="connsiteY926" fmla="*/ 1276376 h 6858000"/>
              <a:gd name="connsiteX927" fmla="*/ 2716772 w 7467600"/>
              <a:gd name="connsiteY927" fmla="*/ 1255462 h 6858000"/>
              <a:gd name="connsiteX928" fmla="*/ 3471096 w 7467600"/>
              <a:gd name="connsiteY928" fmla="*/ 437072 h 6858000"/>
              <a:gd name="connsiteX929" fmla="*/ 3639057 w 7467600"/>
              <a:gd name="connsiteY929" fmla="*/ 286334 h 6858000"/>
              <a:gd name="connsiteX930" fmla="*/ 3640309 w 7467600"/>
              <a:gd name="connsiteY930" fmla="*/ 284664 h 6858000"/>
              <a:gd name="connsiteX931" fmla="*/ 3646022 w 7467600"/>
              <a:gd name="connsiteY931" fmla="*/ 276711 h 6858000"/>
              <a:gd name="connsiteX932" fmla="*/ 3707943 w 7467600"/>
              <a:gd name="connsiteY932" fmla="*/ 65958 h 6858000"/>
              <a:gd name="connsiteX933" fmla="*/ 3721337 w 7467600"/>
              <a:gd name="connsiteY933" fmla="*/ 0 h 6858000"/>
              <a:gd name="connsiteX934" fmla="*/ 2867960 w 7467600"/>
              <a:gd name="connsiteY934" fmla="*/ 0 h 6858000"/>
              <a:gd name="connsiteX935" fmla="*/ 2926351 w 7467600"/>
              <a:gd name="connsiteY935" fmla="*/ 0 h 6858000"/>
              <a:gd name="connsiteX936" fmla="*/ 2902823 w 7467600"/>
              <a:gd name="connsiteY936" fmla="*/ 262929 h 6858000"/>
              <a:gd name="connsiteX937" fmla="*/ 2940663 w 7467600"/>
              <a:gd name="connsiteY937" fmla="*/ 140884 h 6858000"/>
              <a:gd name="connsiteX938" fmla="*/ 2947039 w 7467600"/>
              <a:gd name="connsiteY938" fmla="*/ 122524 h 6858000"/>
              <a:gd name="connsiteX939" fmla="*/ 2984316 w 7467600"/>
              <a:gd name="connsiteY939" fmla="*/ 0 h 6858000"/>
              <a:gd name="connsiteX940" fmla="*/ 3016114 w 7467600"/>
              <a:gd name="connsiteY940" fmla="*/ 0 h 6858000"/>
              <a:gd name="connsiteX941" fmla="*/ 2979949 w 7467600"/>
              <a:gd name="connsiteY941" fmla="*/ 119274 h 6858000"/>
              <a:gd name="connsiteX942" fmla="*/ 3023879 w 7467600"/>
              <a:gd name="connsiteY942" fmla="*/ 0 h 6858000"/>
              <a:gd name="connsiteX943" fmla="*/ 3105400 w 7467600"/>
              <a:gd name="connsiteY943" fmla="*/ 0 h 6858000"/>
              <a:gd name="connsiteX944" fmla="*/ 3094669 w 7467600"/>
              <a:gd name="connsiteY944" fmla="*/ 30308 h 6858000"/>
              <a:gd name="connsiteX945" fmla="*/ 2901945 w 7467600"/>
              <a:gd name="connsiteY945" fmla="*/ 466538 h 6858000"/>
              <a:gd name="connsiteX946" fmla="*/ 2815209 w 7467600"/>
              <a:gd name="connsiteY946" fmla="*/ 497361 h 6858000"/>
              <a:gd name="connsiteX947" fmla="*/ 2844845 w 7467600"/>
              <a:gd name="connsiteY947" fmla="*/ 127638 h 6858000"/>
              <a:gd name="connsiteX948" fmla="*/ 2867960 w 7467600"/>
              <a:gd name="connsiteY948" fmla="*/ 0 h 6858000"/>
              <a:gd name="connsiteX949" fmla="*/ 1057230 w 7467600"/>
              <a:gd name="connsiteY949" fmla="*/ 0 h 6858000"/>
              <a:gd name="connsiteX950" fmla="*/ 1111003 w 7467600"/>
              <a:gd name="connsiteY950" fmla="*/ 0 h 6858000"/>
              <a:gd name="connsiteX951" fmla="*/ 1125553 w 7467600"/>
              <a:gd name="connsiteY951" fmla="*/ 52588 h 6858000"/>
              <a:gd name="connsiteX952" fmla="*/ 1304276 w 7467600"/>
              <a:gd name="connsiteY952" fmla="*/ 476275 h 6858000"/>
              <a:gd name="connsiteX953" fmla="*/ 1492066 w 7467600"/>
              <a:gd name="connsiteY953" fmla="*/ 886333 h 6858000"/>
              <a:gd name="connsiteX954" fmla="*/ 1423698 w 7467600"/>
              <a:gd name="connsiteY954" fmla="*/ 710817 h 6858000"/>
              <a:gd name="connsiteX955" fmla="*/ 1357609 w 7467600"/>
              <a:gd name="connsiteY955" fmla="*/ 532892 h 6858000"/>
              <a:gd name="connsiteX956" fmla="*/ 1309550 w 7467600"/>
              <a:gd name="connsiteY956" fmla="*/ 374031 h 6858000"/>
              <a:gd name="connsiteX957" fmla="*/ 1193673 w 7467600"/>
              <a:gd name="connsiteY957" fmla="*/ 49533 h 6858000"/>
              <a:gd name="connsiteX958" fmla="*/ 1164391 w 7467600"/>
              <a:gd name="connsiteY958" fmla="*/ 0 h 6858000"/>
              <a:gd name="connsiteX959" fmla="*/ 1200666 w 7467600"/>
              <a:gd name="connsiteY959" fmla="*/ 0 h 6858000"/>
              <a:gd name="connsiteX960" fmla="*/ 1223408 w 7467600"/>
              <a:gd name="connsiteY960" fmla="*/ 38996 h 6858000"/>
              <a:gd name="connsiteX961" fmla="*/ 1339635 w 7467600"/>
              <a:gd name="connsiteY961" fmla="*/ 365517 h 6858000"/>
              <a:gd name="connsiteX962" fmla="*/ 1387469 w 7467600"/>
              <a:gd name="connsiteY962" fmla="*/ 523079 h 6858000"/>
              <a:gd name="connsiteX963" fmla="*/ 1452685 w 7467600"/>
              <a:gd name="connsiteY963" fmla="*/ 699806 h 6858000"/>
              <a:gd name="connsiteX964" fmla="*/ 1492092 w 7467600"/>
              <a:gd name="connsiteY964" fmla="*/ 800424 h 6858000"/>
              <a:gd name="connsiteX965" fmla="*/ 1455302 w 7467600"/>
              <a:gd name="connsiteY965" fmla="*/ 632913 h 6858000"/>
              <a:gd name="connsiteX966" fmla="*/ 1222336 w 7467600"/>
              <a:gd name="connsiteY966" fmla="*/ 9480 h 6858000"/>
              <a:gd name="connsiteX967" fmla="*/ 1214634 w 7467600"/>
              <a:gd name="connsiteY967" fmla="*/ 0 h 6858000"/>
              <a:gd name="connsiteX968" fmla="*/ 1289827 w 7467600"/>
              <a:gd name="connsiteY968" fmla="*/ 0 h 6858000"/>
              <a:gd name="connsiteX969" fmla="*/ 1321076 w 7467600"/>
              <a:gd name="connsiteY969" fmla="*/ 59722 h 6858000"/>
              <a:gd name="connsiteX970" fmla="*/ 1512579 w 7467600"/>
              <a:gd name="connsiteY970" fmla="*/ 626441 h 6858000"/>
              <a:gd name="connsiteX971" fmla="*/ 1506076 w 7467600"/>
              <a:gd name="connsiteY971" fmla="*/ 1089289 h 6858000"/>
              <a:gd name="connsiteX972" fmla="*/ 1486346 w 7467600"/>
              <a:gd name="connsiteY972" fmla="*/ 1079919 h 6858000"/>
              <a:gd name="connsiteX973" fmla="*/ 1070511 w 7467600"/>
              <a:gd name="connsiteY973" fmla="*/ 48609 h 6858000"/>
              <a:gd name="connsiteX974" fmla="*/ 1057230 w 7467600"/>
              <a:gd name="connsiteY974" fmla="*/ 0 h 6858000"/>
              <a:gd name="connsiteX975" fmla="*/ 43151 w 7467600"/>
              <a:gd name="connsiteY975" fmla="*/ 0 h 6858000"/>
              <a:gd name="connsiteX976" fmla="*/ 95283 w 7467600"/>
              <a:gd name="connsiteY976" fmla="*/ 0 h 6858000"/>
              <a:gd name="connsiteX977" fmla="*/ 300708 w 7467600"/>
              <a:gd name="connsiteY977" fmla="*/ 154571 h 6858000"/>
              <a:gd name="connsiteX978" fmla="*/ 530414 w 7467600"/>
              <a:gd name="connsiteY978" fmla="*/ 354673 h 6858000"/>
              <a:gd name="connsiteX979" fmla="*/ 333785 w 7467600"/>
              <a:gd name="connsiteY979" fmla="*/ 161564 h 6858000"/>
              <a:gd name="connsiteX980" fmla="*/ 147005 w 7467600"/>
              <a:gd name="connsiteY980" fmla="*/ 0 h 6858000"/>
              <a:gd name="connsiteX981" fmla="*/ 272509 w 7467600"/>
              <a:gd name="connsiteY981" fmla="*/ 0 h 6858000"/>
              <a:gd name="connsiteX982" fmla="*/ 326276 w 7467600"/>
              <a:gd name="connsiteY982" fmla="*/ 45847 h 6858000"/>
              <a:gd name="connsiteX983" fmla="*/ 823759 w 7467600"/>
              <a:gd name="connsiteY983" fmla="*/ 574145 h 6858000"/>
              <a:gd name="connsiteX984" fmla="*/ 811254 w 7467600"/>
              <a:gd name="connsiteY984" fmla="*/ 665546 h 6858000"/>
              <a:gd name="connsiteX985" fmla="*/ 154042 w 7467600"/>
              <a:gd name="connsiteY985" fmla="*/ 261522 h 6858000"/>
              <a:gd name="connsiteX986" fmla="*/ 13550 w 7467600"/>
              <a:gd name="connsiteY986" fmla="*/ 158423 h 6858000"/>
              <a:gd name="connsiteX987" fmla="*/ 0 w 7467600"/>
              <a:gd name="connsiteY987" fmla="*/ 146618 h 6858000"/>
              <a:gd name="connsiteX988" fmla="*/ 0 w 7467600"/>
              <a:gd name="connsiteY988" fmla="*/ 59161 h 6858000"/>
              <a:gd name="connsiteX989" fmla="*/ 45427 w 7467600"/>
              <a:gd name="connsiteY989" fmla="*/ 101078 h 6858000"/>
              <a:gd name="connsiteX990" fmla="*/ 630103 w 7467600"/>
              <a:gd name="connsiteY990" fmla="*/ 485885 h 6858000"/>
              <a:gd name="connsiteX991" fmla="*/ 532040 w 7467600"/>
              <a:gd name="connsiteY991" fmla="*/ 399359 h 6858000"/>
              <a:gd name="connsiteX992" fmla="*/ 517618 w 7467600"/>
              <a:gd name="connsiteY992" fmla="*/ 385726 h 6858000"/>
              <a:gd name="connsiteX993" fmla="*/ 285074 w 7467600"/>
              <a:gd name="connsiteY993" fmla="*/ 182755 h 6858000"/>
              <a:gd name="connsiteX994" fmla="*/ 43151 w 7467600"/>
              <a:gd name="connsiteY994"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467600 w 7467600"/>
              <a:gd name="connsiteY127" fmla="*/ 5277736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77736 h 6858000"/>
              <a:gd name="connsiteX138" fmla="*/ 1903353 w 7467600"/>
              <a:gd name="connsiteY138" fmla="*/ 5044827 h 6858000"/>
              <a:gd name="connsiteX139" fmla="*/ 1936931 w 7467600"/>
              <a:gd name="connsiteY139" fmla="*/ 5093954 h 6858000"/>
              <a:gd name="connsiteX140" fmla="*/ 2195868 w 7467600"/>
              <a:gd name="connsiteY140" fmla="*/ 5396574 h 6858000"/>
              <a:gd name="connsiteX141" fmla="*/ 2088852 w 7467600"/>
              <a:gd name="connsiteY141" fmla="*/ 5166123 h 6858000"/>
              <a:gd name="connsiteX142" fmla="*/ 1958241 w 7467600"/>
              <a:gd name="connsiteY142" fmla="*/ 5067955 h 6858000"/>
              <a:gd name="connsiteX143" fmla="*/ 1903353 w 7467600"/>
              <a:gd name="connsiteY143" fmla="*/ 5044827 h 6858000"/>
              <a:gd name="connsiteX144" fmla="*/ 1979378 w 7467600"/>
              <a:gd name="connsiteY144" fmla="*/ 4769504 h 6858000"/>
              <a:gd name="connsiteX145" fmla="*/ 2882120 w 7467600"/>
              <a:gd name="connsiteY145" fmla="*/ 5064547 h 6858000"/>
              <a:gd name="connsiteX146" fmla="*/ 2793103 w 7467600"/>
              <a:gd name="connsiteY146" fmla="*/ 5039699 h 6858000"/>
              <a:gd name="connsiteX147" fmla="*/ 2770041 w 7467600"/>
              <a:gd name="connsiteY147" fmla="*/ 5033634 h 6858000"/>
              <a:gd name="connsiteX148" fmla="*/ 1979378 w 7467600"/>
              <a:gd name="connsiteY148" fmla="*/ 4769504 h 6858000"/>
              <a:gd name="connsiteX149" fmla="*/ 1927410 w 7467600"/>
              <a:gd name="connsiteY149" fmla="*/ 4716164 h 6858000"/>
              <a:gd name="connsiteX150" fmla="*/ 1959587 w 7467600"/>
              <a:gd name="connsiteY150" fmla="*/ 4728849 h 6858000"/>
              <a:gd name="connsiteX151" fmla="*/ 2777707 w 7467600"/>
              <a:gd name="connsiteY151" fmla="*/ 5003991 h 6858000"/>
              <a:gd name="connsiteX152" fmla="*/ 2800768 w 7467600"/>
              <a:gd name="connsiteY152" fmla="*/ 5010056 h 6858000"/>
              <a:gd name="connsiteX153" fmla="*/ 2879408 w 7467600"/>
              <a:gd name="connsiteY153" fmla="*/ 5031590 h 6858000"/>
              <a:gd name="connsiteX154" fmla="*/ 2862295 w 7467600"/>
              <a:gd name="connsiteY154" fmla="*/ 5022958 h 6858000"/>
              <a:gd name="connsiteX155" fmla="*/ 2813343 w 7467600"/>
              <a:gd name="connsiteY155" fmla="*/ 4998369 h 6858000"/>
              <a:gd name="connsiteX156" fmla="*/ 2646245 w 7467600"/>
              <a:gd name="connsiteY156" fmla="*/ 4930999 h 6858000"/>
              <a:gd name="connsiteX157" fmla="*/ 1999243 w 7467600"/>
              <a:gd name="connsiteY157" fmla="*/ 4730524 h 6858000"/>
              <a:gd name="connsiteX158" fmla="*/ 1979527 w 7467600"/>
              <a:gd name="connsiteY158" fmla="*/ 4726651 h 6858000"/>
              <a:gd name="connsiteX159" fmla="*/ 1927410 w 7467600"/>
              <a:gd name="connsiteY159" fmla="*/ 4716164 h 6858000"/>
              <a:gd name="connsiteX160" fmla="*/ 1997014 w 7467600"/>
              <a:gd name="connsiteY160" fmla="*/ 4698007 h 6858000"/>
              <a:gd name="connsiteX161" fmla="*/ 2005458 w 7467600"/>
              <a:gd name="connsiteY161" fmla="*/ 4699540 h 6858000"/>
              <a:gd name="connsiteX162" fmla="*/ 2657186 w 7467600"/>
              <a:gd name="connsiteY162" fmla="*/ 4901687 h 6858000"/>
              <a:gd name="connsiteX163" fmla="*/ 2826662 w 7467600"/>
              <a:gd name="connsiteY163" fmla="*/ 4970362 h 6858000"/>
              <a:gd name="connsiteX164" fmla="*/ 2876100 w 7467600"/>
              <a:gd name="connsiteY164" fmla="*/ 4995397 h 6858000"/>
              <a:gd name="connsiteX165" fmla="*/ 3042600 w 7467600"/>
              <a:gd name="connsiteY165" fmla="*/ 5059532 h 6858000"/>
              <a:gd name="connsiteX166" fmla="*/ 1997014 w 7467600"/>
              <a:gd name="connsiteY166" fmla="*/ 4698007 h 6858000"/>
              <a:gd name="connsiteX167" fmla="*/ 2305292 w 7467600"/>
              <a:gd name="connsiteY167" fmla="*/ 4219492 h 6858000"/>
              <a:gd name="connsiteX168" fmla="*/ 3360922 w 7467600"/>
              <a:gd name="connsiteY168" fmla="*/ 4529373 h 6858000"/>
              <a:gd name="connsiteX169" fmla="*/ 3492420 w 7467600"/>
              <a:gd name="connsiteY169" fmla="*/ 4510145 h 6858000"/>
              <a:gd name="connsiteX170" fmla="*/ 3364086 w 7467600"/>
              <a:gd name="connsiteY170" fmla="*/ 4480340 h 6858000"/>
              <a:gd name="connsiteX171" fmla="*/ 3225818 w 7467600"/>
              <a:gd name="connsiteY171" fmla="*/ 4411822 h 6858000"/>
              <a:gd name="connsiteX172" fmla="*/ 3129696 w 7467600"/>
              <a:gd name="connsiteY172" fmla="*/ 4360704 h 6858000"/>
              <a:gd name="connsiteX173" fmla="*/ 2814545 w 7467600"/>
              <a:gd name="connsiteY173" fmla="*/ 4282955 h 6858000"/>
              <a:gd name="connsiteX174" fmla="*/ 2305292 w 7467600"/>
              <a:gd name="connsiteY174" fmla="*/ 4219492 h 6858000"/>
              <a:gd name="connsiteX175" fmla="*/ 2626982 w 7467600"/>
              <a:gd name="connsiteY175" fmla="*/ 4206450 h 6858000"/>
              <a:gd name="connsiteX176" fmla="*/ 2490617 w 7467600"/>
              <a:gd name="connsiteY176" fmla="*/ 4206951 h 6858000"/>
              <a:gd name="connsiteX177" fmla="*/ 2819869 w 7467600"/>
              <a:gd name="connsiteY177" fmla="*/ 4252936 h 6858000"/>
              <a:gd name="connsiteX178" fmla="*/ 3143018 w 7467600"/>
              <a:gd name="connsiteY178" fmla="*/ 4332698 h 6858000"/>
              <a:gd name="connsiteX179" fmla="*/ 3241520 w 7467600"/>
              <a:gd name="connsiteY179" fmla="*/ 4385112 h 6858000"/>
              <a:gd name="connsiteX180" fmla="*/ 3374575 w 7467600"/>
              <a:gd name="connsiteY180" fmla="*/ 4451517 h 6858000"/>
              <a:gd name="connsiteX181" fmla="*/ 3505221 w 7467600"/>
              <a:gd name="connsiteY181" fmla="*/ 4480757 h 6858000"/>
              <a:gd name="connsiteX182" fmla="*/ 2626982 w 7467600"/>
              <a:gd name="connsiteY182" fmla="*/ 4206450 h 6858000"/>
              <a:gd name="connsiteX183" fmla="*/ 1310106 w 7467600"/>
              <a:gd name="connsiteY183" fmla="*/ 3943217 h 6858000"/>
              <a:gd name="connsiteX184" fmla="*/ 854994 w 7467600"/>
              <a:gd name="connsiteY184" fmla="*/ 4399136 h 6858000"/>
              <a:gd name="connsiteX185" fmla="*/ 742462 w 7467600"/>
              <a:gd name="connsiteY185" fmla="*/ 4594648 h 6858000"/>
              <a:gd name="connsiteX186" fmla="*/ 820602 w 7467600"/>
              <a:gd name="connsiteY186" fmla="*/ 4485915 h 6858000"/>
              <a:gd name="connsiteX187" fmla="*/ 878295 w 7467600"/>
              <a:gd name="connsiteY187" fmla="*/ 4403594 h 6858000"/>
              <a:gd name="connsiteX188" fmla="*/ 1240607 w 7467600"/>
              <a:gd name="connsiteY188" fmla="*/ 4010401 h 6858000"/>
              <a:gd name="connsiteX189" fmla="*/ 1310106 w 7467600"/>
              <a:gd name="connsiteY189" fmla="*/ 3943217 h 6858000"/>
              <a:gd name="connsiteX190" fmla="*/ 1423113 w 7467600"/>
              <a:gd name="connsiteY190" fmla="*/ 3874565 h 6858000"/>
              <a:gd name="connsiteX191" fmla="*/ 1260565 w 7467600"/>
              <a:gd name="connsiteY191" fmla="*/ 4031982 h 6858000"/>
              <a:gd name="connsiteX192" fmla="*/ 901900 w 7467600"/>
              <a:gd name="connsiteY192" fmla="*/ 4421236 h 6858000"/>
              <a:gd name="connsiteX193" fmla="*/ 845044 w 7467600"/>
              <a:gd name="connsiteY193" fmla="*/ 4502436 h 6858000"/>
              <a:gd name="connsiteX194" fmla="*/ 685926 w 7467600"/>
              <a:gd name="connsiteY194" fmla="*/ 4703069 h 6858000"/>
              <a:gd name="connsiteX195" fmla="*/ 684248 w 7467600"/>
              <a:gd name="connsiteY195" fmla="*/ 4706721 h 6858000"/>
              <a:gd name="connsiteX196" fmla="*/ 1423113 w 7467600"/>
              <a:gd name="connsiteY196" fmla="*/ 3874565 h 6858000"/>
              <a:gd name="connsiteX197" fmla="*/ 3316479 w 7467600"/>
              <a:gd name="connsiteY197" fmla="*/ 3872136 h 6858000"/>
              <a:gd name="connsiteX198" fmla="*/ 3546806 w 7467600"/>
              <a:gd name="connsiteY198" fmla="*/ 4356139 h 6858000"/>
              <a:gd name="connsiteX199" fmla="*/ 3364433 w 7467600"/>
              <a:gd name="connsiteY199" fmla="*/ 3953121 h 6858000"/>
              <a:gd name="connsiteX200" fmla="*/ 3316479 w 7467600"/>
              <a:gd name="connsiteY200" fmla="*/ 3872136 h 6858000"/>
              <a:gd name="connsiteX201" fmla="*/ 3291335 w 7467600"/>
              <a:gd name="connsiteY201" fmla="*/ 3767420 h 6858000"/>
              <a:gd name="connsiteX202" fmla="*/ 3390805 w 7467600"/>
              <a:gd name="connsiteY202" fmla="*/ 3937163 h 6858000"/>
              <a:gd name="connsiteX203" fmla="*/ 3579062 w 7467600"/>
              <a:gd name="connsiteY203" fmla="*/ 4359040 h 6858000"/>
              <a:gd name="connsiteX204" fmla="*/ 3467355 w 7467600"/>
              <a:gd name="connsiteY204" fmla="*/ 3988130 h 6858000"/>
              <a:gd name="connsiteX205" fmla="*/ 3310753 w 7467600"/>
              <a:gd name="connsiteY205" fmla="*/ 3787140 h 6858000"/>
              <a:gd name="connsiteX206" fmla="*/ 3291335 w 7467600"/>
              <a:gd name="connsiteY206" fmla="*/ 3767420 h 6858000"/>
              <a:gd name="connsiteX207" fmla="*/ 1635889 w 7467600"/>
              <a:gd name="connsiteY207" fmla="*/ 3709494 h 6858000"/>
              <a:gd name="connsiteX208" fmla="*/ 1634800 w 7467600"/>
              <a:gd name="connsiteY208" fmla="*/ 3731111 h 6858000"/>
              <a:gd name="connsiteX209" fmla="*/ 1635889 w 7467600"/>
              <a:gd name="connsiteY209" fmla="*/ 3709494 h 6858000"/>
              <a:gd name="connsiteX210" fmla="*/ 1510397 w 7467600"/>
              <a:gd name="connsiteY210" fmla="*/ 3684705 h 6858000"/>
              <a:gd name="connsiteX211" fmla="*/ 1146550 w 7467600"/>
              <a:gd name="connsiteY211" fmla="*/ 3802012 h 6858000"/>
              <a:gd name="connsiteX212" fmla="*/ 698834 w 7467600"/>
              <a:gd name="connsiteY212" fmla="*/ 3952272 h 6858000"/>
              <a:gd name="connsiteX213" fmla="*/ 34256 w 7467600"/>
              <a:gd name="connsiteY213" fmla="*/ 4347603 h 6858000"/>
              <a:gd name="connsiteX214" fmla="*/ 527241 w 7467600"/>
              <a:gd name="connsiteY214" fmla="*/ 4065078 h 6858000"/>
              <a:gd name="connsiteX215" fmla="*/ 1510397 w 7467600"/>
              <a:gd name="connsiteY215" fmla="*/ 3684705 h 6858000"/>
              <a:gd name="connsiteX216" fmla="*/ 1313114 w 7467600"/>
              <a:gd name="connsiteY216" fmla="*/ 3655216 h 6858000"/>
              <a:gd name="connsiteX217" fmla="*/ 1109304 w 7467600"/>
              <a:gd name="connsiteY217" fmla="*/ 3669030 h 6858000"/>
              <a:gd name="connsiteX218" fmla="*/ 8129 w 7467600"/>
              <a:gd name="connsiteY218" fmla="*/ 4330519 h 6858000"/>
              <a:gd name="connsiteX219" fmla="*/ 687572 w 7467600"/>
              <a:gd name="connsiteY219" fmla="*/ 3925629 h 6858000"/>
              <a:gd name="connsiteX220" fmla="*/ 1138365 w 7467600"/>
              <a:gd name="connsiteY220" fmla="*/ 3774515 h 6858000"/>
              <a:gd name="connsiteX221" fmla="*/ 1505579 w 7467600"/>
              <a:gd name="connsiteY221" fmla="*/ 3655526 h 6858000"/>
              <a:gd name="connsiteX222" fmla="*/ 1313114 w 7467600"/>
              <a:gd name="connsiteY222" fmla="*/ 3655216 h 6858000"/>
              <a:gd name="connsiteX223" fmla="*/ 3655073 w 7467600"/>
              <a:gd name="connsiteY223" fmla="*/ 3650884 h 6858000"/>
              <a:gd name="connsiteX224" fmla="*/ 3989938 w 7467600"/>
              <a:gd name="connsiteY224" fmla="*/ 3991685 h 6858000"/>
              <a:gd name="connsiteX225" fmla="*/ 4393907 w 7467600"/>
              <a:gd name="connsiteY225" fmla="*/ 4261258 h 6858000"/>
              <a:gd name="connsiteX226" fmla="*/ 4648051 w 7467600"/>
              <a:gd name="connsiteY226" fmla="*/ 4374051 h 6858000"/>
              <a:gd name="connsiteX227" fmla="*/ 4383389 w 7467600"/>
              <a:gd name="connsiteY227" fmla="*/ 4184369 h 6858000"/>
              <a:gd name="connsiteX228" fmla="*/ 4165508 w 7467600"/>
              <a:gd name="connsiteY228" fmla="*/ 4035196 h 6858000"/>
              <a:gd name="connsiteX229" fmla="*/ 4068162 w 7467600"/>
              <a:gd name="connsiteY229" fmla="*/ 3953394 h 6858000"/>
              <a:gd name="connsiteX230" fmla="*/ 3981416 w 7467600"/>
              <a:gd name="connsiteY230" fmla="*/ 3880482 h 6858000"/>
              <a:gd name="connsiteX231" fmla="*/ 3800147 w 7467600"/>
              <a:gd name="connsiteY231" fmla="*/ 3749872 h 6858000"/>
              <a:gd name="connsiteX232" fmla="*/ 3655073 w 7467600"/>
              <a:gd name="connsiteY232" fmla="*/ 3650884 h 6858000"/>
              <a:gd name="connsiteX233" fmla="*/ 3670252 w 7467600"/>
              <a:gd name="connsiteY233" fmla="*/ 3622798 h 6858000"/>
              <a:gd name="connsiteX234" fmla="*/ 3817258 w 7467600"/>
              <a:gd name="connsiteY234" fmla="*/ 3723577 h 6858000"/>
              <a:gd name="connsiteX235" fmla="*/ 4000461 w 7467600"/>
              <a:gd name="connsiteY235" fmla="*/ 3855966 h 6858000"/>
              <a:gd name="connsiteX236" fmla="*/ 4088180 w 7467600"/>
              <a:gd name="connsiteY236" fmla="*/ 3929774 h 6858000"/>
              <a:gd name="connsiteX237" fmla="*/ 4184555 w 7467600"/>
              <a:gd name="connsiteY237" fmla="*/ 4010683 h 6858000"/>
              <a:gd name="connsiteX238" fmla="*/ 4399563 w 7467600"/>
              <a:gd name="connsiteY238" fmla="*/ 4158106 h 6858000"/>
              <a:gd name="connsiteX239" fmla="*/ 4684469 w 7467600"/>
              <a:gd name="connsiteY239" fmla="*/ 4364680 h 6858000"/>
              <a:gd name="connsiteX240" fmla="*/ 4690271 w 7467600"/>
              <a:gd name="connsiteY240" fmla="*/ 4370034 h 6858000"/>
              <a:gd name="connsiteX241" fmla="*/ 4136093 w 7467600"/>
              <a:gd name="connsiteY241" fmla="*/ 3858466 h 6858000"/>
              <a:gd name="connsiteX242" fmla="*/ 3670252 w 7467600"/>
              <a:gd name="connsiteY242" fmla="*/ 3622798 h 6858000"/>
              <a:gd name="connsiteX243" fmla="*/ 4440129 w 7467600"/>
              <a:gd name="connsiteY243" fmla="*/ 3448571 h 6858000"/>
              <a:gd name="connsiteX244" fmla="*/ 4856525 w 7467600"/>
              <a:gd name="connsiteY244" fmla="*/ 3915351 h 6858000"/>
              <a:gd name="connsiteX245" fmla="*/ 5059055 w 7467600"/>
              <a:gd name="connsiteY245" fmla="*/ 4108918 h 6858000"/>
              <a:gd name="connsiteX246" fmla="*/ 5290070 w 7467600"/>
              <a:gd name="connsiteY246" fmla="*/ 4263619 h 6858000"/>
              <a:gd name="connsiteX247" fmla="*/ 4834991 w 7467600"/>
              <a:gd name="connsiteY247" fmla="*/ 3830985 h 6858000"/>
              <a:gd name="connsiteX248" fmla="*/ 4440129 w 7467600"/>
              <a:gd name="connsiteY248" fmla="*/ 3448571 h 6858000"/>
              <a:gd name="connsiteX249" fmla="*/ 4441737 w 7467600"/>
              <a:gd name="connsiteY249" fmla="*/ 3399734 h 6858000"/>
              <a:gd name="connsiteX250" fmla="*/ 4431236 w 7467600"/>
              <a:gd name="connsiteY250" fmla="*/ 3400954 h 6858000"/>
              <a:gd name="connsiteX251" fmla="*/ 4557150 w 7467600"/>
              <a:gd name="connsiteY251" fmla="*/ 3510023 h 6858000"/>
              <a:gd name="connsiteX252" fmla="*/ 4856936 w 7467600"/>
              <a:gd name="connsiteY252" fmla="*/ 3809146 h 6858000"/>
              <a:gd name="connsiteX253" fmla="*/ 5111996 w 7467600"/>
              <a:gd name="connsiteY253" fmla="*/ 4065759 h 6858000"/>
              <a:gd name="connsiteX254" fmla="*/ 5388878 w 7467600"/>
              <a:gd name="connsiteY254" fmla="*/ 4300185 h 6858000"/>
              <a:gd name="connsiteX255" fmla="*/ 5425556 w 7467600"/>
              <a:gd name="connsiteY255" fmla="*/ 4308967 h 6858000"/>
              <a:gd name="connsiteX256" fmla="*/ 4943646 w 7467600"/>
              <a:gd name="connsiteY256" fmla="*/ 3822916 h 6858000"/>
              <a:gd name="connsiteX257" fmla="*/ 4594837 w 7467600"/>
              <a:gd name="connsiteY257" fmla="*/ 3532274 h 6858000"/>
              <a:gd name="connsiteX258" fmla="*/ 4441737 w 7467600"/>
              <a:gd name="connsiteY258" fmla="*/ 3399734 h 6858000"/>
              <a:gd name="connsiteX259" fmla="*/ 5425834 w 7467600"/>
              <a:gd name="connsiteY259" fmla="*/ 3162785 h 6858000"/>
              <a:gd name="connsiteX260" fmla="*/ 5401644 w 7467600"/>
              <a:gd name="connsiteY260" fmla="*/ 3617847 h 6858000"/>
              <a:gd name="connsiteX261" fmla="*/ 5467256 w 7467600"/>
              <a:gd name="connsiteY261" fmla="*/ 4175494 h 6858000"/>
              <a:gd name="connsiteX262" fmla="*/ 5448069 w 7467600"/>
              <a:gd name="connsiteY262" fmla="*/ 3567554 h 6858000"/>
              <a:gd name="connsiteX263" fmla="*/ 5425834 w 7467600"/>
              <a:gd name="connsiteY263" fmla="*/ 3162785 h 6858000"/>
              <a:gd name="connsiteX264" fmla="*/ 1318687 w 7467600"/>
              <a:gd name="connsiteY264" fmla="*/ 3113840 h 6858000"/>
              <a:gd name="connsiteX265" fmla="*/ 1066793 w 7467600"/>
              <a:gd name="connsiteY265" fmla="*/ 3212171 h 6858000"/>
              <a:gd name="connsiteX266" fmla="*/ 993319 w 7467600"/>
              <a:gd name="connsiteY266" fmla="*/ 3247648 h 6858000"/>
              <a:gd name="connsiteX267" fmla="*/ 853081 w 7467600"/>
              <a:gd name="connsiteY267" fmla="*/ 3312410 h 6858000"/>
              <a:gd name="connsiteX268" fmla="*/ 805957 w 7467600"/>
              <a:gd name="connsiteY268" fmla="*/ 3330443 h 6858000"/>
              <a:gd name="connsiteX269" fmla="*/ 1318687 w 7467600"/>
              <a:gd name="connsiteY269" fmla="*/ 3113840 h 6858000"/>
              <a:gd name="connsiteX270" fmla="*/ 5453702 w 7467600"/>
              <a:gd name="connsiteY270" fmla="*/ 3090882 h 6858000"/>
              <a:gd name="connsiteX271" fmla="*/ 5480135 w 7467600"/>
              <a:gd name="connsiteY271" fmla="*/ 3565802 h 6858000"/>
              <a:gd name="connsiteX272" fmla="*/ 5499023 w 7467600"/>
              <a:gd name="connsiteY272" fmla="*/ 4166310 h 6858000"/>
              <a:gd name="connsiteX273" fmla="*/ 5547022 w 7467600"/>
              <a:gd name="connsiteY273" fmla="*/ 3607838 h 6858000"/>
              <a:gd name="connsiteX274" fmla="*/ 5515964 w 7467600"/>
              <a:gd name="connsiteY274" fmla="*/ 3378541 h 6858000"/>
              <a:gd name="connsiteX275" fmla="*/ 5453702 w 7467600"/>
              <a:gd name="connsiteY275" fmla="*/ 3090882 h 6858000"/>
              <a:gd name="connsiteX276" fmla="*/ 1238695 w 7467600"/>
              <a:gd name="connsiteY276" fmla="*/ 3076820 h 6858000"/>
              <a:gd name="connsiteX277" fmla="*/ 716371 w 7467600"/>
              <a:gd name="connsiteY277" fmla="*/ 3293249 h 6858000"/>
              <a:gd name="connsiteX278" fmla="*/ 579522 w 7467600"/>
              <a:gd name="connsiteY278" fmla="*/ 3371759 h 6858000"/>
              <a:gd name="connsiteX279" fmla="*/ 600288 w 7467600"/>
              <a:gd name="connsiteY279" fmla="*/ 3365555 h 6858000"/>
              <a:gd name="connsiteX280" fmla="*/ 840692 w 7467600"/>
              <a:gd name="connsiteY280" fmla="*/ 3284921 h 6858000"/>
              <a:gd name="connsiteX281" fmla="*/ 979248 w 7467600"/>
              <a:gd name="connsiteY281" fmla="*/ 3221003 h 6858000"/>
              <a:gd name="connsiteX282" fmla="*/ 1053282 w 7467600"/>
              <a:gd name="connsiteY282" fmla="*/ 3185247 h 6858000"/>
              <a:gd name="connsiteX283" fmla="*/ 1320603 w 7467600"/>
              <a:gd name="connsiteY283" fmla="*/ 3081281 h 6858000"/>
              <a:gd name="connsiteX284" fmla="*/ 1238695 w 7467600"/>
              <a:gd name="connsiteY284" fmla="*/ 3076820 h 6858000"/>
              <a:gd name="connsiteX285" fmla="*/ 5425627 w 7467600"/>
              <a:gd name="connsiteY285" fmla="*/ 2954192 h 6858000"/>
              <a:gd name="connsiteX286" fmla="*/ 5470770 w 7467600"/>
              <a:gd name="connsiteY286" fmla="*/ 3005435 h 6858000"/>
              <a:gd name="connsiteX287" fmla="*/ 5519779 w 7467600"/>
              <a:gd name="connsiteY287" fmla="*/ 4359223 h 6858000"/>
              <a:gd name="connsiteX288" fmla="*/ 5520293 w 7467600"/>
              <a:gd name="connsiteY288" fmla="*/ 4360602 h 6858000"/>
              <a:gd name="connsiteX289" fmla="*/ 5767221 w 7467600"/>
              <a:gd name="connsiteY289" fmla="*/ 4665564 h 6858000"/>
              <a:gd name="connsiteX290" fmla="*/ 6937169 w 7467600"/>
              <a:gd name="connsiteY290" fmla="*/ 4815941 h 6858000"/>
              <a:gd name="connsiteX291" fmla="*/ 6953922 w 7467600"/>
              <a:gd name="connsiteY291" fmla="*/ 4890068 h 6858000"/>
              <a:gd name="connsiteX292" fmla="*/ 6071359 w 7467600"/>
              <a:gd name="connsiteY292" fmla="*/ 4770770 h 6858000"/>
              <a:gd name="connsiteX293" fmla="*/ 6038839 w 7467600"/>
              <a:gd name="connsiteY293" fmla="*/ 4764474 h 6858000"/>
              <a:gd name="connsiteX294" fmla="*/ 6038706 w 7467600"/>
              <a:gd name="connsiteY294" fmla="*/ 4763847 h 6858000"/>
              <a:gd name="connsiteX295" fmla="*/ 6037784 w 7467600"/>
              <a:gd name="connsiteY295" fmla="*/ 4764270 h 6858000"/>
              <a:gd name="connsiteX296" fmla="*/ 6038839 w 7467600"/>
              <a:gd name="connsiteY296" fmla="*/ 4764474 h 6858000"/>
              <a:gd name="connsiteX297" fmla="*/ 6040338 w 7467600"/>
              <a:gd name="connsiteY297" fmla="*/ 4771418 h 6858000"/>
              <a:gd name="connsiteX298" fmla="*/ 6024488 w 7467600"/>
              <a:gd name="connsiteY298" fmla="*/ 4809903 h 6858000"/>
              <a:gd name="connsiteX299" fmla="*/ 5599771 w 7467600"/>
              <a:gd name="connsiteY299" fmla="*/ 5509652 h 6858000"/>
              <a:gd name="connsiteX300" fmla="*/ 5548843 w 7467600"/>
              <a:gd name="connsiteY300" fmla="*/ 5563845 h 6858000"/>
              <a:gd name="connsiteX301" fmla="*/ 5940952 w 7467600"/>
              <a:gd name="connsiteY301" fmla="*/ 6250028 h 6858000"/>
              <a:gd name="connsiteX302" fmla="*/ 6043441 w 7467600"/>
              <a:gd name="connsiteY302" fmla="*/ 6665847 h 6858000"/>
              <a:gd name="connsiteX303" fmla="*/ 6093432 w 7467600"/>
              <a:gd name="connsiteY303" fmla="*/ 6858000 h 6858000"/>
              <a:gd name="connsiteX304" fmla="*/ 6034344 w 7467600"/>
              <a:gd name="connsiteY304" fmla="*/ 6858000 h 6858000"/>
              <a:gd name="connsiteX305" fmla="*/ 6026679 w 7467600"/>
              <a:gd name="connsiteY305" fmla="*/ 6836959 h 6858000"/>
              <a:gd name="connsiteX306" fmla="*/ 5800441 w 7467600"/>
              <a:gd name="connsiteY306" fmla="*/ 6335286 h 6858000"/>
              <a:gd name="connsiteX307" fmla="*/ 5526562 w 7467600"/>
              <a:gd name="connsiteY307" fmla="*/ 5705388 h 6858000"/>
              <a:gd name="connsiteX308" fmla="*/ 5519640 w 7467600"/>
              <a:gd name="connsiteY308" fmla="*/ 5683774 h 6858000"/>
              <a:gd name="connsiteX309" fmla="*/ 5844559 w 7467600"/>
              <a:gd name="connsiteY309" fmla="*/ 6553349 h 6858000"/>
              <a:gd name="connsiteX310" fmla="*/ 5975994 w 7467600"/>
              <a:gd name="connsiteY310" fmla="*/ 6858000 h 6858000"/>
              <a:gd name="connsiteX311" fmla="*/ 5898547 w 7467600"/>
              <a:gd name="connsiteY311" fmla="*/ 6858000 h 6858000"/>
              <a:gd name="connsiteX312" fmla="*/ 5682041 w 7467600"/>
              <a:gd name="connsiteY312" fmla="*/ 6355860 h 6858000"/>
              <a:gd name="connsiteX313" fmla="*/ 5461758 w 7467600"/>
              <a:gd name="connsiteY313" fmla="*/ 5820220 h 6858000"/>
              <a:gd name="connsiteX314" fmla="*/ 5237282 w 7467600"/>
              <a:gd name="connsiteY314" fmla="*/ 6579086 h 6858000"/>
              <a:gd name="connsiteX315" fmla="*/ 5115009 w 7467600"/>
              <a:gd name="connsiteY315" fmla="*/ 6858000 h 6858000"/>
              <a:gd name="connsiteX316" fmla="*/ 5028074 w 7467600"/>
              <a:gd name="connsiteY316" fmla="*/ 6858000 h 6858000"/>
              <a:gd name="connsiteX317" fmla="*/ 5079508 w 7467600"/>
              <a:gd name="connsiteY317" fmla="*/ 6749074 h 6858000"/>
              <a:gd name="connsiteX318" fmla="*/ 5371846 w 7467600"/>
              <a:gd name="connsiteY318" fmla="*/ 5924413 h 6858000"/>
              <a:gd name="connsiteX319" fmla="*/ 5270512 w 7467600"/>
              <a:gd name="connsiteY319" fmla="*/ 6138975 h 6858000"/>
              <a:gd name="connsiteX320" fmla="*/ 5062409 w 7467600"/>
              <a:gd name="connsiteY320" fmla="*/ 6653544 h 6858000"/>
              <a:gd name="connsiteX321" fmla="*/ 5036628 w 7467600"/>
              <a:gd name="connsiteY321" fmla="*/ 6754247 h 6858000"/>
              <a:gd name="connsiteX322" fmla="*/ 5009112 w 7467600"/>
              <a:gd name="connsiteY322" fmla="*/ 6858000 h 6858000"/>
              <a:gd name="connsiteX323" fmla="*/ 4976679 w 7467600"/>
              <a:gd name="connsiteY323" fmla="*/ 6858000 h 6858000"/>
              <a:gd name="connsiteX324" fmla="*/ 5006537 w 7467600"/>
              <a:gd name="connsiteY324" fmla="*/ 6747068 h 6858000"/>
              <a:gd name="connsiteX325" fmla="*/ 5032723 w 7467600"/>
              <a:gd name="connsiteY325" fmla="*/ 6644957 h 6858000"/>
              <a:gd name="connsiteX326" fmla="*/ 5242949 w 7467600"/>
              <a:gd name="connsiteY326" fmla="*/ 6125175 h 6858000"/>
              <a:gd name="connsiteX327" fmla="*/ 5286321 w 7467600"/>
              <a:gd name="connsiteY327" fmla="*/ 6033555 h 6858000"/>
              <a:gd name="connsiteX328" fmla="*/ 5008210 w 7467600"/>
              <a:gd name="connsiteY328" fmla="*/ 6649194 h 6858000"/>
              <a:gd name="connsiteX329" fmla="*/ 4986321 w 7467600"/>
              <a:gd name="connsiteY329" fmla="*/ 6765687 h 6858000"/>
              <a:gd name="connsiteX330" fmla="*/ 4973474 w 7467600"/>
              <a:gd name="connsiteY330" fmla="*/ 6858000 h 6858000"/>
              <a:gd name="connsiteX331" fmla="*/ 4907178 w 7467600"/>
              <a:gd name="connsiteY331" fmla="*/ 6858000 h 6858000"/>
              <a:gd name="connsiteX332" fmla="*/ 4910810 w 7467600"/>
              <a:gd name="connsiteY332" fmla="*/ 6829660 h 6858000"/>
              <a:gd name="connsiteX333" fmla="*/ 4987461 w 7467600"/>
              <a:gd name="connsiteY333" fmla="*/ 6432994 h 6858000"/>
              <a:gd name="connsiteX334" fmla="*/ 5179262 w 7467600"/>
              <a:gd name="connsiteY334" fmla="*/ 6035044 h 6858000"/>
              <a:gd name="connsiteX335" fmla="*/ 4689678 w 7467600"/>
              <a:gd name="connsiteY335" fmla="*/ 6440241 h 6858000"/>
              <a:gd name="connsiteX336" fmla="*/ 4477543 w 7467600"/>
              <a:gd name="connsiteY336" fmla="*/ 6674836 h 6858000"/>
              <a:gd name="connsiteX337" fmla="*/ 4329957 w 7467600"/>
              <a:gd name="connsiteY337" fmla="*/ 6858000 h 6858000"/>
              <a:gd name="connsiteX338" fmla="*/ 4218595 w 7467600"/>
              <a:gd name="connsiteY338" fmla="*/ 6858000 h 6858000"/>
              <a:gd name="connsiteX339" fmla="*/ 4368888 w 7467600"/>
              <a:gd name="connsiteY339" fmla="*/ 6668412 h 6858000"/>
              <a:gd name="connsiteX340" fmla="*/ 4563091 w 7467600"/>
              <a:gd name="connsiteY340" fmla="*/ 6442508 h 6858000"/>
              <a:gd name="connsiteX341" fmla="*/ 5387324 w 7467600"/>
              <a:gd name="connsiteY341" fmla="*/ 5705830 h 6858000"/>
              <a:gd name="connsiteX342" fmla="*/ 5073620 w 7467600"/>
              <a:gd name="connsiteY342" fmla="*/ 5955437 h 6858000"/>
              <a:gd name="connsiteX343" fmla="*/ 4689789 w 7467600"/>
              <a:gd name="connsiteY343" fmla="*/ 6268382 h 6858000"/>
              <a:gd name="connsiteX344" fmla="*/ 4418722 w 7467600"/>
              <a:gd name="connsiteY344" fmla="*/ 6570886 h 6858000"/>
              <a:gd name="connsiteX345" fmla="*/ 4214944 w 7467600"/>
              <a:gd name="connsiteY345" fmla="*/ 6858000 h 6858000"/>
              <a:gd name="connsiteX346" fmla="*/ 4177898 w 7467600"/>
              <a:gd name="connsiteY346" fmla="*/ 6858000 h 6858000"/>
              <a:gd name="connsiteX347" fmla="*/ 4391597 w 7467600"/>
              <a:gd name="connsiteY347" fmla="*/ 6556370 h 6858000"/>
              <a:gd name="connsiteX348" fmla="*/ 4668889 w 7467600"/>
              <a:gd name="connsiteY348" fmla="*/ 6246399 h 6858000"/>
              <a:gd name="connsiteX349" fmla="*/ 5055427 w 7467600"/>
              <a:gd name="connsiteY349" fmla="*/ 5931476 h 6858000"/>
              <a:gd name="connsiteX350" fmla="*/ 5371814 w 7467600"/>
              <a:gd name="connsiteY350" fmla="*/ 5678975 h 6858000"/>
              <a:gd name="connsiteX351" fmla="*/ 4987918 w 7467600"/>
              <a:gd name="connsiteY351" fmla="*/ 5838701 h 6858000"/>
              <a:gd name="connsiteX352" fmla="*/ 4317146 w 7467600"/>
              <a:gd name="connsiteY352" fmla="*/ 6587716 h 6858000"/>
              <a:gd name="connsiteX353" fmla="*/ 4171627 w 7467600"/>
              <a:gd name="connsiteY353" fmla="*/ 6858000 h 6858000"/>
              <a:gd name="connsiteX354" fmla="*/ 4081585 w 7467600"/>
              <a:gd name="connsiteY354" fmla="*/ 6858000 h 6858000"/>
              <a:gd name="connsiteX355" fmla="*/ 4238603 w 7467600"/>
              <a:gd name="connsiteY355" fmla="*/ 6559341 h 6858000"/>
              <a:gd name="connsiteX356" fmla="*/ 4778333 w 7467600"/>
              <a:gd name="connsiteY356" fmla="*/ 5873626 h 6858000"/>
              <a:gd name="connsiteX357" fmla="*/ 5414185 w 7467600"/>
              <a:gd name="connsiteY357" fmla="*/ 5573882 h 6858000"/>
              <a:gd name="connsiteX358" fmla="*/ 5959648 w 7467600"/>
              <a:gd name="connsiteY358" fmla="*/ 4760797 h 6858000"/>
              <a:gd name="connsiteX359" fmla="*/ 5355019 w 7467600"/>
              <a:gd name="connsiteY359" fmla="*/ 4734672 h 6858000"/>
              <a:gd name="connsiteX360" fmla="*/ 5083565 w 7467600"/>
              <a:gd name="connsiteY360" fmla="*/ 5179121 h 6858000"/>
              <a:gd name="connsiteX361" fmla="*/ 4713577 w 7467600"/>
              <a:gd name="connsiteY361" fmla="*/ 5616803 h 6858000"/>
              <a:gd name="connsiteX362" fmla="*/ 3989559 w 7467600"/>
              <a:gd name="connsiteY362" fmla="*/ 6145945 h 6858000"/>
              <a:gd name="connsiteX363" fmla="*/ 3939824 w 7467600"/>
              <a:gd name="connsiteY363" fmla="*/ 6066900 h 6858000"/>
              <a:gd name="connsiteX364" fmla="*/ 4584537 w 7467600"/>
              <a:gd name="connsiteY364" fmla="*/ 5324826 h 6858000"/>
              <a:gd name="connsiteX365" fmla="*/ 5037105 w 7467600"/>
              <a:gd name="connsiteY365" fmla="*/ 5088765 h 6858000"/>
              <a:gd name="connsiteX366" fmla="*/ 5039930 w 7467600"/>
              <a:gd name="connsiteY366" fmla="*/ 5089585 h 6858000"/>
              <a:gd name="connsiteX367" fmla="*/ 5263764 w 7467600"/>
              <a:gd name="connsiteY367" fmla="*/ 4735525 h 6858000"/>
              <a:gd name="connsiteX368" fmla="*/ 4086300 w 7467600"/>
              <a:gd name="connsiteY368" fmla="*/ 4884599 h 6858000"/>
              <a:gd name="connsiteX369" fmla="*/ 4085485 w 7467600"/>
              <a:gd name="connsiteY369" fmla="*/ 4899070 h 6858000"/>
              <a:gd name="connsiteX370" fmla="*/ 3871915 w 7467600"/>
              <a:gd name="connsiteY370" fmla="*/ 5253645 h 6858000"/>
              <a:gd name="connsiteX371" fmla="*/ 3799374 w 7467600"/>
              <a:gd name="connsiteY371" fmla="*/ 5466127 h 6858000"/>
              <a:gd name="connsiteX372" fmla="*/ 3498850 w 7467600"/>
              <a:gd name="connsiteY372" fmla="*/ 6661888 h 6858000"/>
              <a:gd name="connsiteX373" fmla="*/ 3399216 w 7467600"/>
              <a:gd name="connsiteY373" fmla="*/ 6858000 h 6858000"/>
              <a:gd name="connsiteX374" fmla="*/ 3303688 w 7467600"/>
              <a:gd name="connsiteY374" fmla="*/ 6858000 h 6858000"/>
              <a:gd name="connsiteX375" fmla="*/ 3391774 w 7467600"/>
              <a:gd name="connsiteY375" fmla="*/ 6697181 h 6858000"/>
              <a:gd name="connsiteX376" fmla="*/ 3735540 w 7467600"/>
              <a:gd name="connsiteY376" fmla="*/ 5546923 h 6858000"/>
              <a:gd name="connsiteX377" fmla="*/ 3729438 w 7467600"/>
              <a:gd name="connsiteY377" fmla="*/ 5569058 h 6858000"/>
              <a:gd name="connsiteX378" fmla="*/ 3707782 w 7467600"/>
              <a:gd name="connsiteY378" fmla="*/ 5644908 h 6858000"/>
              <a:gd name="connsiteX379" fmla="*/ 3583827 w 7467600"/>
              <a:gd name="connsiteY379" fmla="*/ 6039215 h 6858000"/>
              <a:gd name="connsiteX380" fmla="*/ 3547861 w 7467600"/>
              <a:gd name="connsiteY380" fmla="*/ 6129609 h 6858000"/>
              <a:gd name="connsiteX381" fmla="*/ 3490905 w 7467600"/>
              <a:gd name="connsiteY381" fmla="*/ 6277660 h 6858000"/>
              <a:gd name="connsiteX382" fmla="*/ 3455859 w 7467600"/>
              <a:gd name="connsiteY382" fmla="*/ 6391301 h 6858000"/>
              <a:gd name="connsiteX383" fmla="*/ 3429112 w 7467600"/>
              <a:gd name="connsiteY383" fmla="*/ 6479469 h 6858000"/>
              <a:gd name="connsiteX384" fmla="*/ 3304862 w 7467600"/>
              <a:gd name="connsiteY384" fmla="*/ 6796476 h 6858000"/>
              <a:gd name="connsiteX385" fmla="*/ 3276071 w 7467600"/>
              <a:gd name="connsiteY385" fmla="*/ 6858000 h 6858000"/>
              <a:gd name="connsiteX386" fmla="*/ 3240805 w 7467600"/>
              <a:gd name="connsiteY386" fmla="*/ 6858000 h 6858000"/>
              <a:gd name="connsiteX387" fmla="*/ 3275917 w 7467600"/>
              <a:gd name="connsiteY387" fmla="*/ 6783192 h 6858000"/>
              <a:gd name="connsiteX388" fmla="*/ 3399358 w 7467600"/>
              <a:gd name="connsiteY388" fmla="*/ 6469011 h 6858000"/>
              <a:gd name="connsiteX389" fmla="*/ 3425650 w 7467600"/>
              <a:gd name="connsiteY389" fmla="*/ 6381333 h 6858000"/>
              <a:gd name="connsiteX390" fmla="*/ 3460661 w 7467600"/>
              <a:gd name="connsiteY390" fmla="*/ 6266763 h 6858000"/>
              <a:gd name="connsiteX391" fmla="*/ 3518021 w 7467600"/>
              <a:gd name="connsiteY391" fmla="*/ 6117298 h 6858000"/>
              <a:gd name="connsiteX392" fmla="*/ 3554035 w 7467600"/>
              <a:gd name="connsiteY392" fmla="*/ 6027832 h 6858000"/>
              <a:gd name="connsiteX393" fmla="*/ 3677174 w 7467600"/>
              <a:gd name="connsiteY393" fmla="*/ 5636351 h 6858000"/>
              <a:gd name="connsiteX394" fmla="*/ 3698819 w 7467600"/>
              <a:gd name="connsiteY394" fmla="*/ 5560503 h 6858000"/>
              <a:gd name="connsiteX395" fmla="*/ 3702094 w 7467600"/>
              <a:gd name="connsiteY395" fmla="*/ 5549194 h 6858000"/>
              <a:gd name="connsiteX396" fmla="*/ 3398355 w 7467600"/>
              <a:gd name="connsiteY396" fmla="*/ 6094603 h 6858000"/>
              <a:gd name="connsiteX397" fmla="*/ 3193941 w 7467600"/>
              <a:gd name="connsiteY397" fmla="*/ 6798775 h 6858000"/>
              <a:gd name="connsiteX398" fmla="*/ 3184140 w 7467600"/>
              <a:gd name="connsiteY398" fmla="*/ 6858000 h 6858000"/>
              <a:gd name="connsiteX399" fmla="*/ 3099978 w 7467600"/>
              <a:gd name="connsiteY399" fmla="*/ 6858000 h 6858000"/>
              <a:gd name="connsiteX400" fmla="*/ 3101556 w 7467600"/>
              <a:gd name="connsiteY400" fmla="*/ 6843337 h 6858000"/>
              <a:gd name="connsiteX401" fmla="*/ 3370162 w 7467600"/>
              <a:gd name="connsiteY401" fmla="*/ 5785550 h 6858000"/>
              <a:gd name="connsiteX402" fmla="*/ 3746477 w 7467600"/>
              <a:gd name="connsiteY402" fmla="*/ 5377889 h 6858000"/>
              <a:gd name="connsiteX403" fmla="*/ 3863399 w 7467600"/>
              <a:gd name="connsiteY403" fmla="*/ 5087257 h 6858000"/>
              <a:gd name="connsiteX404" fmla="*/ 3968712 w 7467600"/>
              <a:gd name="connsiteY404" fmla="*/ 4913989 h 6858000"/>
              <a:gd name="connsiteX405" fmla="*/ 2792390 w 7467600"/>
              <a:gd name="connsiteY405" fmla="*/ 5382974 h 6858000"/>
              <a:gd name="connsiteX406" fmla="*/ 2714982 w 7467600"/>
              <a:gd name="connsiteY406" fmla="*/ 5427051 h 6858000"/>
              <a:gd name="connsiteX407" fmla="*/ 2813361 w 7467600"/>
              <a:gd name="connsiteY407" fmla="*/ 6023912 h 6858000"/>
              <a:gd name="connsiteX408" fmla="*/ 2688430 w 7467600"/>
              <a:gd name="connsiteY408" fmla="*/ 6801564 h 6858000"/>
              <a:gd name="connsiteX409" fmla="*/ 2629626 w 7467600"/>
              <a:gd name="connsiteY409" fmla="*/ 6763394 h 6858000"/>
              <a:gd name="connsiteX410" fmla="*/ 2565328 w 7467600"/>
              <a:gd name="connsiteY410" fmla="*/ 5516399 h 6858000"/>
              <a:gd name="connsiteX411" fmla="*/ 1922999 w 7467600"/>
              <a:gd name="connsiteY411" fmla="*/ 5980343 h 6858000"/>
              <a:gd name="connsiteX412" fmla="*/ 1950261 w 7467600"/>
              <a:gd name="connsiteY412" fmla="*/ 6405858 h 6858000"/>
              <a:gd name="connsiteX413" fmla="*/ 2365554 w 7467600"/>
              <a:gd name="connsiteY413" fmla="*/ 6759107 h 6858000"/>
              <a:gd name="connsiteX414" fmla="*/ 2424142 w 7467600"/>
              <a:gd name="connsiteY414" fmla="*/ 6858000 h 6858000"/>
              <a:gd name="connsiteX415" fmla="*/ 2395994 w 7467600"/>
              <a:gd name="connsiteY415" fmla="*/ 6858000 h 6858000"/>
              <a:gd name="connsiteX416" fmla="*/ 2392863 w 7467600"/>
              <a:gd name="connsiteY416" fmla="*/ 6852964 h 6858000"/>
              <a:gd name="connsiteX417" fmla="*/ 2017589 w 7467600"/>
              <a:gd name="connsiteY417" fmla="*/ 6493982 h 6858000"/>
              <a:gd name="connsiteX418" fmla="*/ 2147336 w 7467600"/>
              <a:gd name="connsiteY418" fmla="*/ 6594052 h 6858000"/>
              <a:gd name="connsiteX419" fmla="*/ 2207047 w 7467600"/>
              <a:gd name="connsiteY419" fmla="*/ 6654540 h 6858000"/>
              <a:gd name="connsiteX420" fmla="*/ 2299106 w 7467600"/>
              <a:gd name="connsiteY420" fmla="*/ 6778931 h 6858000"/>
              <a:gd name="connsiteX421" fmla="*/ 2314430 w 7467600"/>
              <a:gd name="connsiteY421" fmla="*/ 6801144 h 6858000"/>
              <a:gd name="connsiteX422" fmla="*/ 2352406 w 7467600"/>
              <a:gd name="connsiteY422" fmla="*/ 6858000 h 6858000"/>
              <a:gd name="connsiteX423" fmla="*/ 2314492 w 7467600"/>
              <a:gd name="connsiteY423" fmla="*/ 6858000 h 6858000"/>
              <a:gd name="connsiteX424" fmla="*/ 2288095 w 7467600"/>
              <a:gd name="connsiteY424" fmla="*/ 6818030 h 6858000"/>
              <a:gd name="connsiteX425" fmla="*/ 2272768 w 7467600"/>
              <a:gd name="connsiteY425" fmla="*/ 6795822 h 6858000"/>
              <a:gd name="connsiteX426" fmla="*/ 2182715 w 7467600"/>
              <a:gd name="connsiteY426" fmla="*/ 6675071 h 6858000"/>
              <a:gd name="connsiteX427" fmla="*/ 2032061 w 7467600"/>
              <a:gd name="connsiteY427" fmla="*/ 6541380 h 6858000"/>
              <a:gd name="connsiteX428" fmla="*/ 2257220 w 7467600"/>
              <a:gd name="connsiteY428" fmla="*/ 6826257 h 6858000"/>
              <a:gd name="connsiteX429" fmla="*/ 2281324 w 7467600"/>
              <a:gd name="connsiteY429" fmla="*/ 6858000 h 6858000"/>
              <a:gd name="connsiteX430" fmla="*/ 2242860 w 7467600"/>
              <a:gd name="connsiteY430" fmla="*/ 6858000 h 6858000"/>
              <a:gd name="connsiteX431" fmla="*/ 2232818 w 7467600"/>
              <a:gd name="connsiteY431" fmla="*/ 6844926 h 6858000"/>
              <a:gd name="connsiteX432" fmla="*/ 1990172 w 7467600"/>
              <a:gd name="connsiteY432" fmla="*/ 6542121 h 6858000"/>
              <a:gd name="connsiteX433" fmla="*/ 2124090 w 7467600"/>
              <a:gd name="connsiteY433" fmla="*/ 6761017 h 6858000"/>
              <a:gd name="connsiteX434" fmla="*/ 2200380 w 7467600"/>
              <a:gd name="connsiteY434" fmla="*/ 6858000 h 6858000"/>
              <a:gd name="connsiteX435" fmla="*/ 2147507 w 7467600"/>
              <a:gd name="connsiteY435" fmla="*/ 6858000 h 6858000"/>
              <a:gd name="connsiteX436" fmla="*/ 2070668 w 7467600"/>
              <a:gd name="connsiteY436" fmla="*/ 6761520 h 6858000"/>
              <a:gd name="connsiteX437" fmla="*/ 1975142 w 7467600"/>
              <a:gd name="connsiteY437" fmla="*/ 6585570 h 6858000"/>
              <a:gd name="connsiteX438" fmla="*/ 2050035 w 7467600"/>
              <a:gd name="connsiteY438" fmla="*/ 6813345 h 6858000"/>
              <a:gd name="connsiteX439" fmla="*/ 2063025 w 7467600"/>
              <a:gd name="connsiteY439" fmla="*/ 6858000 h 6858000"/>
              <a:gd name="connsiteX440" fmla="*/ 2021675 w 7467600"/>
              <a:gd name="connsiteY440" fmla="*/ 6858000 h 6858000"/>
              <a:gd name="connsiteX441" fmla="*/ 2019308 w 7467600"/>
              <a:gd name="connsiteY441" fmla="*/ 6847118 h 6858000"/>
              <a:gd name="connsiteX442" fmla="*/ 1938835 w 7467600"/>
              <a:gd name="connsiteY442" fmla="*/ 6551160 h 6858000"/>
              <a:gd name="connsiteX443" fmla="*/ 1953230 w 7467600"/>
              <a:gd name="connsiteY443" fmla="*/ 6759699 h 6858000"/>
              <a:gd name="connsiteX444" fmla="*/ 1956763 w 7467600"/>
              <a:gd name="connsiteY444" fmla="*/ 6778191 h 6858000"/>
              <a:gd name="connsiteX445" fmla="*/ 1967925 w 7467600"/>
              <a:gd name="connsiteY445" fmla="*/ 6858000 h 6858000"/>
              <a:gd name="connsiteX446" fmla="*/ 1936622 w 7467600"/>
              <a:gd name="connsiteY446" fmla="*/ 6858000 h 6858000"/>
              <a:gd name="connsiteX447" fmla="*/ 1926261 w 7467600"/>
              <a:gd name="connsiteY447" fmla="*/ 6784064 h 6858000"/>
              <a:gd name="connsiteX448" fmla="*/ 1922724 w 7467600"/>
              <a:gd name="connsiteY448" fmla="*/ 6765577 h 6858000"/>
              <a:gd name="connsiteX449" fmla="*/ 1904650 w 7467600"/>
              <a:gd name="connsiteY449" fmla="*/ 6639616 h 6858000"/>
              <a:gd name="connsiteX450" fmla="*/ 1885273 w 7467600"/>
              <a:gd name="connsiteY450" fmla="*/ 6858000 h 6858000"/>
              <a:gd name="connsiteX451" fmla="*/ 1854363 w 7467600"/>
              <a:gd name="connsiteY451" fmla="*/ 6858000 h 6858000"/>
              <a:gd name="connsiteX452" fmla="*/ 1880391 w 7467600"/>
              <a:gd name="connsiteY452" fmla="*/ 6603796 h 6858000"/>
              <a:gd name="connsiteX453" fmla="*/ 1818273 w 7467600"/>
              <a:gd name="connsiteY453" fmla="*/ 6715729 h 6858000"/>
              <a:gd name="connsiteX454" fmla="*/ 1794691 w 7467600"/>
              <a:gd name="connsiteY454" fmla="*/ 6843239 h 6858000"/>
              <a:gd name="connsiteX455" fmla="*/ 1794914 w 7467600"/>
              <a:gd name="connsiteY455" fmla="*/ 6858000 h 6858000"/>
              <a:gd name="connsiteX456" fmla="*/ 1746128 w 7467600"/>
              <a:gd name="connsiteY456" fmla="*/ 6858000 h 6858000"/>
              <a:gd name="connsiteX457" fmla="*/ 1753934 w 7467600"/>
              <a:gd name="connsiteY457" fmla="*/ 6724796 h 6858000"/>
              <a:gd name="connsiteX458" fmla="*/ 1792053 w 7467600"/>
              <a:gd name="connsiteY458" fmla="*/ 6572396 h 6858000"/>
              <a:gd name="connsiteX459" fmla="*/ 1862248 w 7467600"/>
              <a:gd name="connsiteY459" fmla="*/ 6266397 h 6858000"/>
              <a:gd name="connsiteX460" fmla="*/ 1862250 w 7467600"/>
              <a:gd name="connsiteY460" fmla="*/ 6033531 h 6858000"/>
              <a:gd name="connsiteX461" fmla="*/ 1211999 w 7467600"/>
              <a:gd name="connsiteY461" fmla="*/ 6683610 h 6858000"/>
              <a:gd name="connsiteX462" fmla="*/ 1213266 w 7467600"/>
              <a:gd name="connsiteY462" fmla="*/ 6691947 h 6858000"/>
              <a:gd name="connsiteX463" fmla="*/ 1203370 w 7467600"/>
              <a:gd name="connsiteY463" fmla="*/ 6850676 h 6858000"/>
              <a:gd name="connsiteX464" fmla="*/ 1203671 w 7467600"/>
              <a:gd name="connsiteY464" fmla="*/ 6858000 h 6858000"/>
              <a:gd name="connsiteX465" fmla="*/ 1143180 w 7467600"/>
              <a:gd name="connsiteY465" fmla="*/ 6858000 h 6858000"/>
              <a:gd name="connsiteX466" fmla="*/ 1142176 w 7467600"/>
              <a:gd name="connsiteY466" fmla="*/ 6766045 h 6858000"/>
              <a:gd name="connsiteX467" fmla="*/ 1067484 w 7467600"/>
              <a:gd name="connsiteY467" fmla="*/ 6858000 h 6858000"/>
              <a:gd name="connsiteX468" fmla="*/ 953928 w 7467600"/>
              <a:gd name="connsiteY468" fmla="*/ 6858000 h 6858000"/>
              <a:gd name="connsiteX469" fmla="*/ 959715 w 7467600"/>
              <a:gd name="connsiteY469" fmla="*/ 6850185 h 6858000"/>
              <a:gd name="connsiteX470" fmla="*/ 1483788 w 7467600"/>
              <a:gd name="connsiteY470" fmla="*/ 6259174 h 6858000"/>
              <a:gd name="connsiteX471" fmla="*/ 1100671 w 7467600"/>
              <a:gd name="connsiteY471" fmla="*/ 6252137 h 6858000"/>
              <a:gd name="connsiteX472" fmla="*/ 1090144 w 7467600"/>
              <a:gd name="connsiteY472" fmla="*/ 6256748 h 6858000"/>
              <a:gd name="connsiteX473" fmla="*/ 1095872 w 7467600"/>
              <a:gd name="connsiteY473" fmla="*/ 6271892 h 6858000"/>
              <a:gd name="connsiteX474" fmla="*/ 262785 w 7467600"/>
              <a:gd name="connsiteY474" fmla="*/ 6845450 h 6858000"/>
              <a:gd name="connsiteX475" fmla="*/ 209968 w 7467600"/>
              <a:gd name="connsiteY475" fmla="*/ 6770713 h 6858000"/>
              <a:gd name="connsiteX476" fmla="*/ 873460 w 7467600"/>
              <a:gd name="connsiteY476" fmla="*/ 6253768 h 6858000"/>
              <a:gd name="connsiteX477" fmla="*/ 192686 w 7467600"/>
              <a:gd name="connsiteY477" fmla="*/ 5849257 h 6858000"/>
              <a:gd name="connsiteX478" fmla="*/ 4696 w 7467600"/>
              <a:gd name="connsiteY478" fmla="*/ 5697668 h 6858000"/>
              <a:gd name="connsiteX479" fmla="*/ 0 w 7467600"/>
              <a:gd name="connsiteY479" fmla="*/ 5689984 h 6858000"/>
              <a:gd name="connsiteX480" fmla="*/ 0 w 7467600"/>
              <a:gd name="connsiteY480" fmla="*/ 5513472 h 6858000"/>
              <a:gd name="connsiteX481" fmla="*/ 174101 w 7467600"/>
              <a:gd name="connsiteY481" fmla="*/ 5620277 h 6858000"/>
              <a:gd name="connsiteX482" fmla="*/ 891800 w 7467600"/>
              <a:gd name="connsiteY482" fmla="*/ 6036935 h 6858000"/>
              <a:gd name="connsiteX483" fmla="*/ 1072219 w 7467600"/>
              <a:gd name="connsiteY483" fmla="*/ 6169443 h 6858000"/>
              <a:gd name="connsiteX484" fmla="*/ 1074117 w 7467600"/>
              <a:gd name="connsiteY484" fmla="*/ 6170301 h 6858000"/>
              <a:gd name="connsiteX485" fmla="*/ 1083114 w 7467600"/>
              <a:gd name="connsiteY485" fmla="*/ 6174131 h 6858000"/>
              <a:gd name="connsiteX486" fmla="*/ 1543010 w 7467600"/>
              <a:gd name="connsiteY486" fmla="*/ 6191140 h 6858000"/>
              <a:gd name="connsiteX487" fmla="*/ 1551080 w 7467600"/>
              <a:gd name="connsiteY487" fmla="*/ 6195006 h 6858000"/>
              <a:gd name="connsiteX488" fmla="*/ 2345443 w 7467600"/>
              <a:gd name="connsiteY488" fmla="*/ 5549882 h 6858000"/>
              <a:gd name="connsiteX489" fmla="*/ 1721499 w 7467600"/>
              <a:gd name="connsiteY489" fmla="*/ 5599969 h 6858000"/>
              <a:gd name="connsiteX490" fmla="*/ 767716 w 7467600"/>
              <a:gd name="connsiteY490" fmla="*/ 5472768 h 6858000"/>
              <a:gd name="connsiteX491" fmla="*/ 722147 w 7467600"/>
              <a:gd name="connsiteY491" fmla="*/ 5393091 h 6858000"/>
              <a:gd name="connsiteX492" fmla="*/ 1485552 w 7467600"/>
              <a:gd name="connsiteY492" fmla="*/ 5313202 h 6858000"/>
              <a:gd name="connsiteX493" fmla="*/ 2143004 w 7467600"/>
              <a:gd name="connsiteY493" fmla="*/ 5402420 h 6858000"/>
              <a:gd name="connsiteX494" fmla="*/ 1933391 w 7467600"/>
              <a:gd name="connsiteY494" fmla="*/ 5156971 h 6858000"/>
              <a:gd name="connsiteX495" fmla="*/ 1827118 w 7467600"/>
              <a:gd name="connsiteY495" fmla="*/ 4968410 h 6858000"/>
              <a:gd name="connsiteX496" fmla="*/ 1837349 w 7467600"/>
              <a:gd name="connsiteY496" fmla="*/ 4956357 h 6858000"/>
              <a:gd name="connsiteX497" fmla="*/ 2162835 w 7467600"/>
              <a:gd name="connsiteY497" fmla="*/ 5187853 h 6858000"/>
              <a:gd name="connsiteX498" fmla="*/ 2257167 w 7467600"/>
              <a:gd name="connsiteY498" fmla="*/ 5462123 h 6858000"/>
              <a:gd name="connsiteX499" fmla="*/ 2261598 w 7467600"/>
              <a:gd name="connsiteY499" fmla="*/ 5467998 h 6858000"/>
              <a:gd name="connsiteX500" fmla="*/ 2437177 w 7467600"/>
              <a:gd name="connsiteY500" fmla="*/ 5479608 h 6858000"/>
              <a:gd name="connsiteX501" fmla="*/ 2445247 w 7467600"/>
              <a:gd name="connsiteY501" fmla="*/ 5483476 h 6858000"/>
              <a:gd name="connsiteX502" fmla="*/ 2743626 w 7467600"/>
              <a:gd name="connsiteY502" fmla="*/ 5304819 h 6858000"/>
              <a:gd name="connsiteX503" fmla="*/ 3048102 w 7467600"/>
              <a:gd name="connsiteY503" fmla="*/ 5150595 h 6858000"/>
              <a:gd name="connsiteX504" fmla="*/ 1799414 w 7467600"/>
              <a:gd name="connsiteY504" fmla="*/ 4694732 h 6858000"/>
              <a:gd name="connsiteX505" fmla="*/ 1771735 w 7467600"/>
              <a:gd name="connsiteY505" fmla="*/ 4619929 h 6858000"/>
              <a:gd name="connsiteX506" fmla="*/ 3104273 w 7467600"/>
              <a:gd name="connsiteY506" fmla="*/ 5076159 h 6858000"/>
              <a:gd name="connsiteX507" fmla="*/ 3113245 w 7467600"/>
              <a:gd name="connsiteY507" fmla="*/ 5090705 h 6858000"/>
              <a:gd name="connsiteX508" fmla="*/ 3126294 w 7467600"/>
              <a:gd name="connsiteY508" fmla="*/ 5114400 h 6858000"/>
              <a:gd name="connsiteX509" fmla="*/ 3937433 w 7467600"/>
              <a:gd name="connsiteY509" fmla="*/ 4830473 h 6858000"/>
              <a:gd name="connsiteX510" fmla="*/ 3590475 w 7467600"/>
              <a:gd name="connsiteY510" fmla="*/ 4597974 h 6858000"/>
              <a:gd name="connsiteX511" fmla="*/ 3100264 w 7467600"/>
              <a:gd name="connsiteY511" fmla="*/ 4579845 h 6858000"/>
              <a:gd name="connsiteX512" fmla="*/ 2183576 w 7467600"/>
              <a:gd name="connsiteY512" fmla="*/ 4227150 h 6858000"/>
              <a:gd name="connsiteX513" fmla="*/ 2151029 w 7467600"/>
              <a:gd name="connsiteY513" fmla="*/ 4146947 h 6858000"/>
              <a:gd name="connsiteX514" fmla="*/ 3563434 w 7467600"/>
              <a:gd name="connsiteY514" fmla="*/ 4469115 h 6858000"/>
              <a:gd name="connsiteX515" fmla="*/ 3177952 w 7467600"/>
              <a:gd name="connsiteY515" fmla="*/ 3657386 h 6858000"/>
              <a:gd name="connsiteX516" fmla="*/ 3189263 w 7467600"/>
              <a:gd name="connsiteY516" fmla="*/ 3625726 h 6858000"/>
              <a:gd name="connsiteX517" fmla="*/ 3560912 w 7467600"/>
              <a:gd name="connsiteY517" fmla="*/ 4079863 h 6858000"/>
              <a:gd name="connsiteX518" fmla="*/ 3626636 w 7467600"/>
              <a:gd name="connsiteY518" fmla="*/ 4512230 h 6858000"/>
              <a:gd name="connsiteX519" fmla="*/ 3653088 w 7467600"/>
              <a:gd name="connsiteY519" fmla="*/ 4521417 h 6858000"/>
              <a:gd name="connsiteX520" fmla="*/ 3988128 w 7467600"/>
              <a:gd name="connsiteY520" fmla="*/ 4817267 h 6858000"/>
              <a:gd name="connsiteX521" fmla="*/ 4830582 w 7467600"/>
              <a:gd name="connsiteY521" fmla="*/ 4676000 h 6858000"/>
              <a:gd name="connsiteX522" fmla="*/ 4830100 w 7467600"/>
              <a:gd name="connsiteY522" fmla="*/ 4675554 h 6858000"/>
              <a:gd name="connsiteX523" fmla="*/ 4036318 w 7467600"/>
              <a:gd name="connsiteY523" fmla="*/ 4147013 h 6858000"/>
              <a:gd name="connsiteX524" fmla="*/ 3432098 w 7467600"/>
              <a:gd name="connsiteY524" fmla="*/ 3537312 h 6858000"/>
              <a:gd name="connsiteX525" fmla="*/ 3446761 w 7467600"/>
              <a:gd name="connsiteY525" fmla="*/ 3461278 h 6858000"/>
              <a:gd name="connsiteX526" fmla="*/ 4419733 w 7467600"/>
              <a:gd name="connsiteY526" fmla="*/ 3963555 h 6858000"/>
              <a:gd name="connsiteX527" fmla="*/ 4781371 w 7467600"/>
              <a:gd name="connsiteY527" fmla="*/ 4458604 h 6858000"/>
              <a:gd name="connsiteX528" fmla="*/ 4780440 w 7467600"/>
              <a:gd name="connsiteY528" fmla="*/ 4470290 h 6858000"/>
              <a:gd name="connsiteX529" fmla="*/ 4898954 w 7467600"/>
              <a:gd name="connsiteY529" fmla="*/ 4662092 h 6858000"/>
              <a:gd name="connsiteX530" fmla="*/ 4900699 w 7467600"/>
              <a:gd name="connsiteY530" fmla="*/ 4670867 h 6858000"/>
              <a:gd name="connsiteX531" fmla="*/ 5714511 w 7467600"/>
              <a:gd name="connsiteY531" fmla="*/ 4663483 h 6858000"/>
              <a:gd name="connsiteX532" fmla="*/ 5464793 w 7467600"/>
              <a:gd name="connsiteY532" fmla="*/ 4393556 h 6858000"/>
              <a:gd name="connsiteX533" fmla="*/ 5461897 w 7467600"/>
              <a:gd name="connsiteY533" fmla="*/ 4390879 h 6858000"/>
              <a:gd name="connsiteX534" fmla="*/ 4294126 w 7467600"/>
              <a:gd name="connsiteY534" fmla="*/ 3303048 h 6858000"/>
              <a:gd name="connsiteX535" fmla="*/ 4305321 w 7467600"/>
              <a:gd name="connsiteY535" fmla="*/ 3256953 h 6858000"/>
              <a:gd name="connsiteX536" fmla="*/ 4949299 w 7467600"/>
              <a:gd name="connsiteY536" fmla="*/ 3766336 h 6858000"/>
              <a:gd name="connsiteX537" fmla="*/ 5291452 w 7467600"/>
              <a:gd name="connsiteY537" fmla="*/ 4076801 h 6858000"/>
              <a:gd name="connsiteX538" fmla="*/ 5434998 w 7467600"/>
              <a:gd name="connsiteY538" fmla="*/ 4254100 h 6858000"/>
              <a:gd name="connsiteX539" fmla="*/ 5351015 w 7467600"/>
              <a:gd name="connsiteY539" fmla="*/ 3760989 h 6858000"/>
              <a:gd name="connsiteX540" fmla="*/ 5413780 w 7467600"/>
              <a:gd name="connsiteY540" fmla="*/ 2966265 h 6858000"/>
              <a:gd name="connsiteX541" fmla="*/ 5425627 w 7467600"/>
              <a:gd name="connsiteY541" fmla="*/ 2954192 h 6858000"/>
              <a:gd name="connsiteX542" fmla="*/ 6604735 w 7467600"/>
              <a:gd name="connsiteY542" fmla="*/ 2041381 h 6858000"/>
              <a:gd name="connsiteX543" fmla="*/ 7204487 w 7467600"/>
              <a:gd name="connsiteY543" fmla="*/ 2742112 h 6858000"/>
              <a:gd name="connsiteX544" fmla="*/ 7131592 w 7467600"/>
              <a:gd name="connsiteY544" fmla="*/ 2672096 h 6858000"/>
              <a:gd name="connsiteX545" fmla="*/ 6996344 w 7467600"/>
              <a:gd name="connsiteY545" fmla="*/ 2518310 h 6858000"/>
              <a:gd name="connsiteX546" fmla="*/ 6735495 w 7467600"/>
              <a:gd name="connsiteY546" fmla="*/ 2196890 h 6858000"/>
              <a:gd name="connsiteX547" fmla="*/ 6721901 w 7467600"/>
              <a:gd name="connsiteY547" fmla="*/ 2179274 h 6858000"/>
              <a:gd name="connsiteX548" fmla="*/ 6604735 w 7467600"/>
              <a:gd name="connsiteY548" fmla="*/ 2041381 h 6858000"/>
              <a:gd name="connsiteX549" fmla="*/ 6591670 w 7467600"/>
              <a:gd name="connsiteY549" fmla="*/ 1988277 h 6858000"/>
              <a:gd name="connsiteX550" fmla="*/ 6747349 w 7467600"/>
              <a:gd name="connsiteY550" fmla="*/ 2160069 h 6858000"/>
              <a:gd name="connsiteX551" fmla="*/ 6760943 w 7467600"/>
              <a:gd name="connsiteY551" fmla="*/ 2177686 h 6858000"/>
              <a:gd name="connsiteX552" fmla="*/ 7021065 w 7467600"/>
              <a:gd name="connsiteY552" fmla="*/ 2498102 h 6858000"/>
              <a:gd name="connsiteX553" fmla="*/ 7155223 w 7467600"/>
              <a:gd name="connsiteY553" fmla="*/ 2650386 h 6858000"/>
              <a:gd name="connsiteX554" fmla="*/ 7203167 w 7467600"/>
              <a:gd name="connsiteY554" fmla="*/ 2697288 h 6858000"/>
              <a:gd name="connsiteX555" fmla="*/ 6937703 w 7467600"/>
              <a:gd name="connsiteY555" fmla="*/ 2321981 h 6858000"/>
              <a:gd name="connsiteX556" fmla="*/ 6591670 w 7467600"/>
              <a:gd name="connsiteY556" fmla="*/ 1988277 h 6858000"/>
              <a:gd name="connsiteX557" fmla="*/ 5798671 w 7467600"/>
              <a:gd name="connsiteY557" fmla="*/ 1981601 h 6858000"/>
              <a:gd name="connsiteX558" fmla="*/ 5754709 w 7467600"/>
              <a:gd name="connsiteY558" fmla="*/ 2071454 h 6858000"/>
              <a:gd name="connsiteX559" fmla="*/ 5763044 w 7467600"/>
              <a:gd name="connsiteY559" fmla="*/ 2842206 h 6858000"/>
              <a:gd name="connsiteX560" fmla="*/ 5764974 w 7467600"/>
              <a:gd name="connsiteY560" fmla="*/ 2799609 h 6858000"/>
              <a:gd name="connsiteX561" fmla="*/ 5767665 w 7467600"/>
              <a:gd name="connsiteY561" fmla="*/ 2666409 h 6858000"/>
              <a:gd name="connsiteX562" fmla="*/ 5763055 w 7467600"/>
              <a:gd name="connsiteY562" fmla="*/ 2579705 h 6858000"/>
              <a:gd name="connsiteX563" fmla="*/ 5758079 w 7467600"/>
              <a:gd name="connsiteY563" fmla="*/ 2492508 h 6858000"/>
              <a:gd name="connsiteX564" fmla="*/ 5779325 w 7467600"/>
              <a:gd name="connsiteY564" fmla="*/ 2197069 h 6858000"/>
              <a:gd name="connsiteX565" fmla="*/ 5798671 w 7467600"/>
              <a:gd name="connsiteY565" fmla="*/ 1981601 h 6858000"/>
              <a:gd name="connsiteX566" fmla="*/ 5829202 w 7467600"/>
              <a:gd name="connsiteY566" fmla="*/ 1971679 h 6858000"/>
              <a:gd name="connsiteX567" fmla="*/ 5809558 w 7467600"/>
              <a:gd name="connsiteY567" fmla="*/ 2198043 h 6858000"/>
              <a:gd name="connsiteX568" fmla="*/ 5788653 w 7467600"/>
              <a:gd name="connsiteY568" fmla="*/ 2489430 h 6858000"/>
              <a:gd name="connsiteX569" fmla="*/ 5793439 w 7467600"/>
              <a:gd name="connsiteY569" fmla="*/ 2575235 h 6858000"/>
              <a:gd name="connsiteX570" fmla="*/ 5796837 w 7467600"/>
              <a:gd name="connsiteY570" fmla="*/ 2637633 h 6858000"/>
              <a:gd name="connsiteX571" fmla="*/ 5818614 w 7467600"/>
              <a:gd name="connsiteY571" fmla="*/ 2473055 h 6858000"/>
              <a:gd name="connsiteX572" fmla="*/ 5829202 w 7467600"/>
              <a:gd name="connsiteY572" fmla="*/ 1971679 h 6858000"/>
              <a:gd name="connsiteX573" fmla="*/ 5911389 w 7467600"/>
              <a:gd name="connsiteY573" fmla="*/ 1898371 h 6858000"/>
              <a:gd name="connsiteX574" fmla="*/ 6237627 w 7467600"/>
              <a:gd name="connsiteY574" fmla="*/ 2231921 h 6858000"/>
              <a:gd name="connsiteX575" fmla="*/ 5911389 w 7467600"/>
              <a:gd name="connsiteY575" fmla="*/ 1898371 h 6858000"/>
              <a:gd name="connsiteX576" fmla="*/ 6944437 w 7467600"/>
              <a:gd name="connsiteY576" fmla="*/ 1575402 h 6858000"/>
              <a:gd name="connsiteX577" fmla="*/ 6304730 w 7467600"/>
              <a:gd name="connsiteY577" fmla="*/ 1766654 h 6858000"/>
              <a:gd name="connsiteX578" fmla="*/ 6944437 w 7467600"/>
              <a:gd name="connsiteY578" fmla="*/ 1575402 h 6858000"/>
              <a:gd name="connsiteX579" fmla="*/ 7019523 w 7467600"/>
              <a:gd name="connsiteY579" fmla="*/ 1519450 h 6858000"/>
              <a:gd name="connsiteX580" fmla="*/ 6298091 w 7467600"/>
              <a:gd name="connsiteY580" fmla="*/ 1737122 h 6858000"/>
              <a:gd name="connsiteX581" fmla="*/ 7019523 w 7467600"/>
              <a:gd name="connsiteY581" fmla="*/ 1519450 h 6858000"/>
              <a:gd name="connsiteX582" fmla="*/ 2399523 w 7467600"/>
              <a:gd name="connsiteY582" fmla="*/ 1428234 h 6858000"/>
              <a:gd name="connsiteX583" fmla="*/ 2224982 w 7467600"/>
              <a:gd name="connsiteY583" fmla="*/ 1826201 h 6858000"/>
              <a:gd name="connsiteX584" fmla="*/ 2096099 w 7467600"/>
              <a:gd name="connsiteY584" fmla="*/ 2345900 h 6858000"/>
              <a:gd name="connsiteX585" fmla="*/ 2283317 w 7467600"/>
              <a:gd name="connsiteY585" fmla="*/ 1796925 h 6858000"/>
              <a:gd name="connsiteX586" fmla="*/ 2399523 w 7467600"/>
              <a:gd name="connsiteY586" fmla="*/ 1428234 h 6858000"/>
              <a:gd name="connsiteX587" fmla="*/ 2448558 w 7467600"/>
              <a:gd name="connsiteY587" fmla="*/ 1373435 h 6858000"/>
              <a:gd name="connsiteX588" fmla="*/ 2312521 w 7467600"/>
              <a:gd name="connsiteY588" fmla="*/ 1806140 h 6858000"/>
              <a:gd name="connsiteX589" fmla="*/ 2127533 w 7467600"/>
              <a:gd name="connsiteY589" fmla="*/ 2348380 h 6858000"/>
              <a:gd name="connsiteX590" fmla="*/ 2358080 w 7467600"/>
              <a:gd name="connsiteY590" fmla="*/ 1866134 h 6858000"/>
              <a:gd name="connsiteX591" fmla="*/ 2407436 w 7467600"/>
              <a:gd name="connsiteY591" fmla="*/ 1651070 h 6858000"/>
              <a:gd name="connsiteX592" fmla="*/ 2448558 w 7467600"/>
              <a:gd name="connsiteY592" fmla="*/ 1373435 h 6858000"/>
              <a:gd name="connsiteX593" fmla="*/ 278707 w 7467600"/>
              <a:gd name="connsiteY593" fmla="*/ 1352270 h 6858000"/>
              <a:gd name="connsiteX594" fmla="*/ 321570 w 7467600"/>
              <a:gd name="connsiteY594" fmla="*/ 1861610 h 6858000"/>
              <a:gd name="connsiteX595" fmla="*/ 294281 w 7467600"/>
              <a:gd name="connsiteY595" fmla="*/ 1440658 h 6858000"/>
              <a:gd name="connsiteX596" fmla="*/ 278707 w 7467600"/>
              <a:gd name="connsiteY596" fmla="*/ 1352270 h 6858000"/>
              <a:gd name="connsiteX597" fmla="*/ 1423821 w 7467600"/>
              <a:gd name="connsiteY597" fmla="*/ 1351958 h 6858000"/>
              <a:gd name="connsiteX598" fmla="*/ 1638521 w 7467600"/>
              <a:gd name="connsiteY598" fmla="*/ 1908470 h 6858000"/>
              <a:gd name="connsiteX599" fmla="*/ 1754199 w 7467600"/>
              <a:gd name="connsiteY599" fmla="*/ 2149284 h 6858000"/>
              <a:gd name="connsiteX600" fmla="*/ 1908359 w 7467600"/>
              <a:gd name="connsiteY600" fmla="*/ 2364988 h 6858000"/>
              <a:gd name="connsiteX601" fmla="*/ 1647661 w 7467600"/>
              <a:gd name="connsiteY601" fmla="*/ 1825945 h 6858000"/>
              <a:gd name="connsiteX602" fmla="*/ 1423821 w 7467600"/>
              <a:gd name="connsiteY602" fmla="*/ 1351958 h 6858000"/>
              <a:gd name="connsiteX603" fmla="*/ 1431890 w 7467600"/>
              <a:gd name="connsiteY603" fmla="*/ 1306475 h 6858000"/>
              <a:gd name="connsiteX604" fmla="*/ 1507597 w 7467600"/>
              <a:gd name="connsiteY604" fmla="*/ 1446132 h 6858000"/>
              <a:gd name="connsiteX605" fmla="*/ 1674586 w 7467600"/>
              <a:gd name="connsiteY605" fmla="*/ 1813832 h 6858000"/>
              <a:gd name="connsiteX606" fmla="*/ 1815950 w 7467600"/>
              <a:gd name="connsiteY606" fmla="*/ 2128564 h 6858000"/>
              <a:gd name="connsiteX607" fmla="*/ 1984242 w 7467600"/>
              <a:gd name="connsiteY607" fmla="*/ 2430829 h 6858000"/>
              <a:gd name="connsiteX608" fmla="*/ 2014023 w 7467600"/>
              <a:gd name="connsiteY608" fmla="*/ 2450995 h 6858000"/>
              <a:gd name="connsiteX609" fmla="*/ 1747337 w 7467600"/>
              <a:gd name="connsiteY609" fmla="*/ 1855264 h 6858000"/>
              <a:gd name="connsiteX610" fmla="*/ 1533749 w 7467600"/>
              <a:gd name="connsiteY610" fmla="*/ 1478656 h 6858000"/>
              <a:gd name="connsiteX611" fmla="*/ 1431890 w 7467600"/>
              <a:gd name="connsiteY611" fmla="*/ 1306475 h 6858000"/>
              <a:gd name="connsiteX612" fmla="*/ 5052692 w 7467600"/>
              <a:gd name="connsiteY612" fmla="*/ 1292994 h 6858000"/>
              <a:gd name="connsiteX613" fmla="*/ 5200661 w 7467600"/>
              <a:gd name="connsiteY613" fmla="*/ 1635186 h 6858000"/>
              <a:gd name="connsiteX614" fmla="*/ 5297138 w 7467600"/>
              <a:gd name="connsiteY614" fmla="*/ 1906351 h 6858000"/>
              <a:gd name="connsiteX615" fmla="*/ 5052692 w 7467600"/>
              <a:gd name="connsiteY615" fmla="*/ 1292994 h 6858000"/>
              <a:gd name="connsiteX616" fmla="*/ 5009948 w 7467600"/>
              <a:gd name="connsiteY616" fmla="*/ 1273619 h 6858000"/>
              <a:gd name="connsiteX617" fmla="*/ 5121777 w 7467600"/>
              <a:gd name="connsiteY617" fmla="*/ 1654213 h 6858000"/>
              <a:gd name="connsiteX618" fmla="*/ 5293545 w 7467600"/>
              <a:gd name="connsiteY618" fmla="*/ 2072247 h 6858000"/>
              <a:gd name="connsiteX619" fmla="*/ 5294042 w 7467600"/>
              <a:gd name="connsiteY619" fmla="*/ 2065019 h 6858000"/>
              <a:gd name="connsiteX620" fmla="*/ 5171936 w 7467600"/>
              <a:gd name="connsiteY620" fmla="*/ 1647613 h 6858000"/>
              <a:gd name="connsiteX621" fmla="*/ 5009948 w 7467600"/>
              <a:gd name="connsiteY621" fmla="*/ 1273619 h 6858000"/>
              <a:gd name="connsiteX622" fmla="*/ 655236 w 7467600"/>
              <a:gd name="connsiteY622" fmla="*/ 1268632 h 6858000"/>
              <a:gd name="connsiteX623" fmla="*/ 839521 w 7467600"/>
              <a:gd name="connsiteY623" fmla="*/ 1685315 h 6858000"/>
              <a:gd name="connsiteX624" fmla="*/ 1109416 w 7467600"/>
              <a:gd name="connsiteY624" fmla="*/ 2061663 h 6858000"/>
              <a:gd name="connsiteX625" fmla="*/ 1298300 w 7467600"/>
              <a:gd name="connsiteY625" fmla="*/ 2247742 h 6858000"/>
              <a:gd name="connsiteX626" fmla="*/ 1125871 w 7467600"/>
              <a:gd name="connsiteY626" fmla="*/ 1989513 h 6858000"/>
              <a:gd name="connsiteX627" fmla="*/ 981574 w 7467600"/>
              <a:gd name="connsiteY627" fmla="*/ 1783157 h 6858000"/>
              <a:gd name="connsiteX628" fmla="*/ 922198 w 7467600"/>
              <a:gd name="connsiteY628" fmla="*/ 1677437 h 6858000"/>
              <a:gd name="connsiteX629" fmla="*/ 869293 w 7467600"/>
              <a:gd name="connsiteY629" fmla="*/ 1583214 h 6858000"/>
              <a:gd name="connsiteX630" fmla="*/ 751431 w 7467600"/>
              <a:gd name="connsiteY630" fmla="*/ 1405731 h 6858000"/>
              <a:gd name="connsiteX631" fmla="*/ 655236 w 7467600"/>
              <a:gd name="connsiteY631" fmla="*/ 1268632 h 6858000"/>
              <a:gd name="connsiteX632" fmla="*/ 6516292 w 7467600"/>
              <a:gd name="connsiteY632" fmla="*/ 1263064 h 6858000"/>
              <a:gd name="connsiteX633" fmla="*/ 5736320 w 7467600"/>
              <a:gd name="connsiteY633" fmla="*/ 1501803 h 6858000"/>
              <a:gd name="connsiteX634" fmla="*/ 6516292 w 7467600"/>
              <a:gd name="connsiteY634" fmla="*/ 1263064 h 6858000"/>
              <a:gd name="connsiteX635" fmla="*/ 291466 w 7467600"/>
              <a:gd name="connsiteY635" fmla="*/ 1250369 h 6858000"/>
              <a:gd name="connsiteX636" fmla="*/ 323180 w 7467600"/>
              <a:gd name="connsiteY636" fmla="*/ 1435283 h 6858000"/>
              <a:gd name="connsiteX637" fmla="*/ 349381 w 7467600"/>
              <a:gd name="connsiteY637" fmla="*/ 1875041 h 6858000"/>
              <a:gd name="connsiteX638" fmla="*/ 374363 w 7467600"/>
              <a:gd name="connsiteY638" fmla="*/ 1506494 h 6858000"/>
              <a:gd name="connsiteX639" fmla="*/ 302168 w 7467600"/>
              <a:gd name="connsiteY639" fmla="*/ 1274495 h 6858000"/>
              <a:gd name="connsiteX640" fmla="*/ 291466 w 7467600"/>
              <a:gd name="connsiteY640" fmla="*/ 1250369 h 6858000"/>
              <a:gd name="connsiteX641" fmla="*/ 678222 w 7467600"/>
              <a:gd name="connsiteY641" fmla="*/ 1248670 h 6858000"/>
              <a:gd name="connsiteX642" fmla="*/ 775536 w 7467600"/>
              <a:gd name="connsiteY642" fmla="*/ 1388015 h 6858000"/>
              <a:gd name="connsiteX643" fmla="*/ 894529 w 7467600"/>
              <a:gd name="connsiteY643" fmla="*/ 1567739 h 6858000"/>
              <a:gd name="connsiteX644" fmla="*/ 948000 w 7467600"/>
              <a:gd name="connsiteY644" fmla="*/ 1663088 h 6858000"/>
              <a:gd name="connsiteX645" fmla="*/ 1006812 w 7467600"/>
              <a:gd name="connsiteY645" fmla="*/ 1767683 h 6858000"/>
              <a:gd name="connsiteX646" fmla="*/ 1149133 w 7467600"/>
              <a:gd name="connsiteY646" fmla="*/ 1971513 h 6858000"/>
              <a:gd name="connsiteX647" fmla="*/ 1333952 w 7467600"/>
              <a:gd name="connsiteY647" fmla="*/ 2251620 h 6858000"/>
              <a:gd name="connsiteX648" fmla="*/ 1337329 w 7467600"/>
              <a:gd name="connsiteY648" fmla="*/ 2258350 h 6858000"/>
              <a:gd name="connsiteX649" fmla="*/ 1014726 w 7467600"/>
              <a:gd name="connsiteY649" fmla="*/ 1615556 h 6858000"/>
              <a:gd name="connsiteX650" fmla="*/ 678222 w 7467600"/>
              <a:gd name="connsiteY650" fmla="*/ 1248670 h 6858000"/>
              <a:gd name="connsiteX651" fmla="*/ 6691602 w 7467600"/>
              <a:gd name="connsiteY651" fmla="*/ 1140573 h 6858000"/>
              <a:gd name="connsiteX652" fmla="*/ 6571100 w 7467600"/>
              <a:gd name="connsiteY652" fmla="*/ 1183662 h 6858000"/>
              <a:gd name="connsiteX653" fmla="*/ 6241687 w 7467600"/>
              <a:gd name="connsiteY653" fmla="*/ 1257600 h 6858000"/>
              <a:gd name="connsiteX654" fmla="*/ 5693009 w 7467600"/>
              <a:gd name="connsiteY654" fmla="*/ 1478256 h 6858000"/>
              <a:gd name="connsiteX655" fmla="*/ 6548420 w 7467600"/>
              <a:gd name="connsiteY655" fmla="*/ 1214599 h 6858000"/>
              <a:gd name="connsiteX656" fmla="*/ 6605473 w 7467600"/>
              <a:gd name="connsiteY656" fmla="*/ 1184686 h 6858000"/>
              <a:gd name="connsiteX657" fmla="*/ 6691602 w 7467600"/>
              <a:gd name="connsiteY657" fmla="*/ 1140573 h 6858000"/>
              <a:gd name="connsiteX658" fmla="*/ 4002475 w 7467600"/>
              <a:gd name="connsiteY658" fmla="*/ 1037802 h 6858000"/>
              <a:gd name="connsiteX659" fmla="*/ 4000324 w 7467600"/>
              <a:gd name="connsiteY659" fmla="*/ 1039362 h 6858000"/>
              <a:gd name="connsiteX660" fmla="*/ 4002862 w 7467600"/>
              <a:gd name="connsiteY660" fmla="*/ 1042866 h 6858000"/>
              <a:gd name="connsiteX661" fmla="*/ 4002475 w 7467600"/>
              <a:gd name="connsiteY661" fmla="*/ 1037802 h 6858000"/>
              <a:gd name="connsiteX662" fmla="*/ 506322 w 7467600"/>
              <a:gd name="connsiteY662" fmla="*/ 1020997 h 6858000"/>
              <a:gd name="connsiteX663" fmla="*/ 533068 w 7467600"/>
              <a:gd name="connsiteY663" fmla="*/ 1029409 h 6858000"/>
              <a:gd name="connsiteX664" fmla="*/ 1232525 w 7467600"/>
              <a:gd name="connsiteY664" fmla="*/ 1804675 h 6858000"/>
              <a:gd name="connsiteX665" fmla="*/ 1388858 w 7467600"/>
              <a:gd name="connsiteY665" fmla="*/ 2368011 h 6858000"/>
              <a:gd name="connsiteX666" fmla="*/ 1384098 w 7467600"/>
              <a:gd name="connsiteY666" fmla="*/ 2378125 h 6858000"/>
              <a:gd name="connsiteX667" fmla="*/ 1425393 w 7467600"/>
              <a:gd name="connsiteY667" fmla="*/ 2589124 h 6858000"/>
              <a:gd name="connsiteX668" fmla="*/ 1424001 w 7467600"/>
              <a:gd name="connsiteY668" fmla="*/ 2597541 h 6858000"/>
              <a:gd name="connsiteX669" fmla="*/ 2152729 w 7467600"/>
              <a:gd name="connsiteY669" fmla="*/ 2864487 h 6858000"/>
              <a:gd name="connsiteX670" fmla="*/ 2020609 w 7467600"/>
              <a:gd name="connsiteY670" fmla="*/ 2539671 h 6858000"/>
              <a:gd name="connsiteX671" fmla="*/ 2018920 w 7467600"/>
              <a:gd name="connsiteY671" fmla="*/ 2536309 h 6858000"/>
              <a:gd name="connsiteX672" fmla="*/ 1342441 w 7467600"/>
              <a:gd name="connsiteY672" fmla="*/ 1173017 h 6858000"/>
              <a:gd name="connsiteX673" fmla="*/ 1367925 w 7467600"/>
              <a:gd name="connsiteY673" fmla="*/ 1135648 h 6858000"/>
              <a:gd name="connsiteX674" fmla="*/ 1771401 w 7467600"/>
              <a:gd name="connsiteY674" fmla="*/ 1806673 h 6858000"/>
              <a:gd name="connsiteX675" fmla="*/ 1972385 w 7467600"/>
              <a:gd name="connsiteY675" fmla="*/ 2198735 h 6858000"/>
              <a:gd name="connsiteX676" fmla="*/ 2040892 w 7467600"/>
              <a:gd name="connsiteY676" fmla="*/ 2405205 h 6858000"/>
              <a:gd name="connsiteX677" fmla="*/ 2131689 w 7467600"/>
              <a:gd name="connsiteY677" fmla="*/ 1936926 h 6858000"/>
              <a:gd name="connsiteX678" fmla="*/ 2454820 w 7467600"/>
              <a:gd name="connsiteY678" fmla="*/ 1248808 h 6858000"/>
              <a:gd name="connsiteX679" fmla="*/ 2492512 w 7467600"/>
              <a:gd name="connsiteY679" fmla="*/ 1302920 h 6858000"/>
              <a:gd name="connsiteX680" fmla="*/ 2081216 w 7467600"/>
              <a:gd name="connsiteY680" fmla="*/ 2527513 h 6858000"/>
              <a:gd name="connsiteX681" fmla="*/ 2081211 w 7467600"/>
              <a:gd name="connsiteY681" fmla="*/ 2528916 h 6858000"/>
              <a:gd name="connsiteX682" fmla="*/ 2199067 w 7467600"/>
              <a:gd name="connsiteY682" fmla="*/ 2884061 h 6858000"/>
              <a:gd name="connsiteX683" fmla="*/ 3192586 w 7467600"/>
              <a:gd name="connsiteY683" fmla="*/ 3411496 h 6858000"/>
              <a:gd name="connsiteX684" fmla="*/ 3182620 w 7467600"/>
              <a:gd name="connsiteY684" fmla="*/ 3483279 h 6858000"/>
              <a:gd name="connsiteX685" fmla="*/ 2435119 w 7467600"/>
              <a:gd name="connsiteY685" fmla="*/ 3080173 h 6858000"/>
              <a:gd name="connsiteX686" fmla="*/ 2410152 w 7467600"/>
              <a:gd name="connsiteY686" fmla="*/ 3063751 h 6858000"/>
              <a:gd name="connsiteX687" fmla="*/ 2408099 w 7467600"/>
              <a:gd name="connsiteY687" fmla="*/ 3064403 h 6858000"/>
              <a:gd name="connsiteX688" fmla="*/ 2407218 w 7467600"/>
              <a:gd name="connsiteY688" fmla="*/ 3070324 h 6858000"/>
              <a:gd name="connsiteX689" fmla="*/ 2380138 w 7467600"/>
              <a:gd name="connsiteY689" fmla="*/ 3099341 h 6858000"/>
              <a:gd name="connsiteX690" fmla="*/ 1765923 w 7467600"/>
              <a:gd name="connsiteY690" fmla="*/ 3581043 h 6858000"/>
              <a:gd name="connsiteX691" fmla="*/ 1702258 w 7467600"/>
              <a:gd name="connsiteY691" fmla="*/ 3612286 h 6858000"/>
              <a:gd name="connsiteX692" fmla="*/ 1538370 w 7467600"/>
              <a:gd name="connsiteY692" fmla="*/ 3811804 h 6858000"/>
              <a:gd name="connsiteX693" fmla="*/ 542867 w 7467600"/>
              <a:gd name="connsiteY693" fmla="*/ 4944092 h 6858000"/>
              <a:gd name="connsiteX694" fmla="*/ 515800 w 7467600"/>
              <a:gd name="connsiteY694" fmla="*/ 4862180 h 6858000"/>
              <a:gd name="connsiteX695" fmla="*/ 909145 w 7467600"/>
              <a:gd name="connsiteY695" fmla="*/ 4199225 h 6858000"/>
              <a:gd name="connsiteX696" fmla="*/ 1214067 w 7467600"/>
              <a:gd name="connsiteY696" fmla="*/ 3908561 h 6858000"/>
              <a:gd name="connsiteX697" fmla="*/ 640967 w 7467600"/>
              <a:gd name="connsiteY697" fmla="*/ 4105601 h 6858000"/>
              <a:gd name="connsiteX698" fmla="*/ 112563 w 7467600"/>
              <a:gd name="connsiteY698" fmla="*/ 4396952 h 6858000"/>
              <a:gd name="connsiteX699" fmla="*/ 0 w 7467600"/>
              <a:gd name="connsiteY699" fmla="*/ 4466006 h 6858000"/>
              <a:gd name="connsiteX700" fmla="*/ 0 w 7467600"/>
              <a:gd name="connsiteY700" fmla="*/ 4233763 h 6858000"/>
              <a:gd name="connsiteX701" fmla="*/ 36881 w 7467600"/>
              <a:gd name="connsiteY701" fmla="*/ 4200118 h 6858000"/>
              <a:gd name="connsiteX702" fmla="*/ 910534 w 7467600"/>
              <a:gd name="connsiteY702" fmla="*/ 3629753 h 6858000"/>
              <a:gd name="connsiteX703" fmla="*/ 1578717 w 7467600"/>
              <a:gd name="connsiteY703" fmla="*/ 3575982 h 6858000"/>
              <a:gd name="connsiteX704" fmla="*/ 2338780 w 7467600"/>
              <a:gd name="connsiteY704" fmla="*/ 3033725 h 6858000"/>
              <a:gd name="connsiteX705" fmla="*/ 1807991 w 7467600"/>
              <a:gd name="connsiteY705" fmla="*/ 2807184 h 6858000"/>
              <a:gd name="connsiteX706" fmla="*/ 1416358 w 7467600"/>
              <a:gd name="connsiteY706" fmla="*/ 3112571 h 6858000"/>
              <a:gd name="connsiteX707" fmla="*/ 939066 w 7467600"/>
              <a:gd name="connsiteY707" fmla="*/ 3378798 h 6858000"/>
              <a:gd name="connsiteX708" fmla="*/ 115099 w 7467600"/>
              <a:gd name="connsiteY708" fmla="*/ 3607650 h 6858000"/>
              <a:gd name="connsiteX709" fmla="*/ 97284 w 7467600"/>
              <a:gd name="connsiteY709" fmla="*/ 3520393 h 6858000"/>
              <a:gd name="connsiteX710" fmla="*/ 922050 w 7467600"/>
              <a:gd name="connsiteY710" fmla="*/ 3074867 h 6858000"/>
              <a:gd name="connsiteX711" fmla="*/ 1405265 w 7467600"/>
              <a:gd name="connsiteY711" fmla="*/ 3016319 h 6858000"/>
              <a:gd name="connsiteX712" fmla="*/ 1407512 w 7467600"/>
              <a:gd name="connsiteY712" fmla="*/ 3018001 h 6858000"/>
              <a:gd name="connsiteX713" fmla="*/ 1726266 w 7467600"/>
              <a:gd name="connsiteY713" fmla="*/ 2777274 h 6858000"/>
              <a:gd name="connsiteX714" fmla="*/ 625390 w 7467600"/>
              <a:gd name="connsiteY714" fmla="*/ 2514541 h 6858000"/>
              <a:gd name="connsiteX715" fmla="*/ 619799 w 7467600"/>
              <a:gd name="connsiteY715" fmla="*/ 2527180 h 6858000"/>
              <a:gd name="connsiteX716" fmla="*/ 310030 w 7467600"/>
              <a:gd name="connsiteY716" fmla="*/ 2771818 h 6858000"/>
              <a:gd name="connsiteX717" fmla="*/ 173877 w 7467600"/>
              <a:gd name="connsiteY717" fmla="*/ 2937056 h 6858000"/>
              <a:gd name="connsiteX718" fmla="*/ 77889 w 7467600"/>
              <a:gd name="connsiteY718" fmla="*/ 3138440 h 6858000"/>
              <a:gd name="connsiteX719" fmla="*/ 0 w 7467600"/>
              <a:gd name="connsiteY719" fmla="*/ 3271395 h 6858000"/>
              <a:gd name="connsiteX720" fmla="*/ 0 w 7467600"/>
              <a:gd name="connsiteY720" fmla="*/ 3153002 h 6858000"/>
              <a:gd name="connsiteX721" fmla="*/ 2386 w 7467600"/>
              <a:gd name="connsiteY721" fmla="*/ 3149203 h 6858000"/>
              <a:gd name="connsiteX722" fmla="*/ 89753 w 7467600"/>
              <a:gd name="connsiteY722" fmla="*/ 2987702 h 6858000"/>
              <a:gd name="connsiteX723" fmla="*/ 76869 w 7467600"/>
              <a:gd name="connsiteY723" fmla="*/ 3005404 h 6858000"/>
              <a:gd name="connsiteX724" fmla="*/ 32049 w 7467600"/>
              <a:gd name="connsiteY724" fmla="*/ 3065814 h 6858000"/>
              <a:gd name="connsiteX725" fmla="*/ 0 w 7467600"/>
              <a:gd name="connsiteY725" fmla="*/ 3108744 h 6858000"/>
              <a:gd name="connsiteX726" fmla="*/ 0 w 7467600"/>
              <a:gd name="connsiteY726" fmla="*/ 3058059 h 6858000"/>
              <a:gd name="connsiteX727" fmla="*/ 7610 w 7467600"/>
              <a:gd name="connsiteY727" fmla="*/ 3047889 h 6858000"/>
              <a:gd name="connsiteX728" fmla="*/ 52419 w 7467600"/>
              <a:gd name="connsiteY728" fmla="*/ 2987479 h 6858000"/>
              <a:gd name="connsiteX729" fmla="*/ 59142 w 7467600"/>
              <a:gd name="connsiteY729" fmla="*/ 2978488 h 6858000"/>
              <a:gd name="connsiteX730" fmla="*/ 0 w 7467600"/>
              <a:gd name="connsiteY730" fmla="*/ 3015334 h 6858000"/>
              <a:gd name="connsiteX731" fmla="*/ 0 w 7467600"/>
              <a:gd name="connsiteY731" fmla="*/ 2914286 h 6858000"/>
              <a:gd name="connsiteX732" fmla="*/ 36383 w 7467600"/>
              <a:gd name="connsiteY732" fmla="*/ 2901128 h 6858000"/>
              <a:gd name="connsiteX733" fmla="*/ 156329 w 7467600"/>
              <a:gd name="connsiteY733" fmla="*/ 2840533 h 6858000"/>
              <a:gd name="connsiteX734" fmla="*/ 358355 w 7467600"/>
              <a:gd name="connsiteY734" fmla="*/ 2620471 h 6858000"/>
              <a:gd name="connsiteX735" fmla="*/ 510577 w 7467600"/>
              <a:gd name="connsiteY735" fmla="*/ 2501244 h 6858000"/>
              <a:gd name="connsiteX736" fmla="*/ 211967 w 7467600"/>
              <a:gd name="connsiteY736" fmla="*/ 2479171 h 6858000"/>
              <a:gd name="connsiteX737" fmla="*/ 0 w 7467600"/>
              <a:gd name="connsiteY737" fmla="*/ 2476398 h 6858000"/>
              <a:gd name="connsiteX738" fmla="*/ 0 w 7467600"/>
              <a:gd name="connsiteY738" fmla="*/ 2389189 h 6858000"/>
              <a:gd name="connsiteX739" fmla="*/ 103062 w 7467600"/>
              <a:gd name="connsiteY739" fmla="*/ 2389518 h 6858000"/>
              <a:gd name="connsiteX740" fmla="*/ 510734 w 7467600"/>
              <a:gd name="connsiteY740" fmla="*/ 2416201 h 6858000"/>
              <a:gd name="connsiteX741" fmla="*/ 279257 w 7467600"/>
              <a:gd name="connsiteY741" fmla="*/ 2092102 h 6858000"/>
              <a:gd name="connsiteX742" fmla="*/ 65265 w 7467600"/>
              <a:gd name="connsiteY742" fmla="*/ 2006049 h 6858000"/>
              <a:gd name="connsiteX743" fmla="*/ 0 w 7467600"/>
              <a:gd name="connsiteY743" fmla="*/ 1982532 h 6858000"/>
              <a:gd name="connsiteX744" fmla="*/ 0 w 7467600"/>
              <a:gd name="connsiteY744" fmla="*/ 1912789 h 6858000"/>
              <a:gd name="connsiteX745" fmla="*/ 97460 w 7467600"/>
              <a:gd name="connsiteY745" fmla="*/ 1953725 h 6858000"/>
              <a:gd name="connsiteX746" fmla="*/ 221272 w 7467600"/>
              <a:gd name="connsiteY746" fmla="*/ 1980766 h 6858000"/>
              <a:gd name="connsiteX747" fmla="*/ 116765 w 7467600"/>
              <a:gd name="connsiteY747" fmla="*/ 1911033 h 6858000"/>
              <a:gd name="connsiteX748" fmla="*/ 16405 w 7467600"/>
              <a:gd name="connsiteY748" fmla="*/ 1803412 h 6858000"/>
              <a:gd name="connsiteX749" fmla="*/ 0 w 7467600"/>
              <a:gd name="connsiteY749" fmla="*/ 1784777 h 6858000"/>
              <a:gd name="connsiteX750" fmla="*/ 0 w 7467600"/>
              <a:gd name="connsiteY750" fmla="*/ 1740082 h 6858000"/>
              <a:gd name="connsiteX751" fmla="*/ 39394 w 7467600"/>
              <a:gd name="connsiteY751" fmla="*/ 1784856 h 6858000"/>
              <a:gd name="connsiteX752" fmla="*/ 135813 w 7467600"/>
              <a:gd name="connsiteY752" fmla="*/ 1888838 h 6858000"/>
              <a:gd name="connsiteX753" fmla="*/ 242575 w 7467600"/>
              <a:gd name="connsiteY753" fmla="*/ 1958841 h 6858000"/>
              <a:gd name="connsiteX754" fmla="*/ 82197 w 7467600"/>
              <a:gd name="connsiteY754" fmla="*/ 1754826 h 6858000"/>
              <a:gd name="connsiteX755" fmla="*/ 0 w 7467600"/>
              <a:gd name="connsiteY755" fmla="*/ 1679650 h 6858000"/>
              <a:gd name="connsiteX756" fmla="*/ 0 w 7467600"/>
              <a:gd name="connsiteY756" fmla="*/ 1602463 h 6858000"/>
              <a:gd name="connsiteX757" fmla="*/ 84689 w 7467600"/>
              <a:gd name="connsiteY757" fmla="*/ 1677442 h 6858000"/>
              <a:gd name="connsiteX758" fmla="*/ 298437 w 7467600"/>
              <a:gd name="connsiteY758" fmla="*/ 1968019 h 6858000"/>
              <a:gd name="connsiteX759" fmla="*/ 227269 w 7467600"/>
              <a:gd name="connsiteY759" fmla="*/ 1114064 h 6858000"/>
              <a:gd name="connsiteX760" fmla="*/ 248003 w 7467600"/>
              <a:gd name="connsiteY760" fmla="*/ 1089613 h 6858000"/>
              <a:gd name="connsiteX761" fmla="*/ 427020 w 7467600"/>
              <a:gd name="connsiteY761" fmla="*/ 1619803 h 6858000"/>
              <a:gd name="connsiteX762" fmla="*/ 340345 w 7467600"/>
              <a:gd name="connsiteY762" fmla="*/ 2027739 h 6858000"/>
              <a:gd name="connsiteX763" fmla="*/ 360865 w 7467600"/>
              <a:gd name="connsiteY763" fmla="*/ 2044827 h 6858000"/>
              <a:gd name="connsiteX764" fmla="*/ 560414 w 7467600"/>
              <a:gd name="connsiteY764" fmla="*/ 2421457 h 6858000"/>
              <a:gd name="connsiteX765" fmla="*/ 1359703 w 7467600"/>
              <a:gd name="connsiteY765" fmla="*/ 2578554 h 6858000"/>
              <a:gd name="connsiteX766" fmla="*/ 1359422 w 7467600"/>
              <a:gd name="connsiteY766" fmla="*/ 2577994 h 6858000"/>
              <a:gd name="connsiteX767" fmla="*/ 828701 w 7467600"/>
              <a:gd name="connsiteY767" fmla="*/ 1839520 h 6858000"/>
              <a:gd name="connsiteX768" fmla="*/ 494427 w 7467600"/>
              <a:gd name="connsiteY768" fmla="*/ 1092333 h 6858000"/>
              <a:gd name="connsiteX769" fmla="*/ 506322 w 7467600"/>
              <a:gd name="connsiteY769" fmla="*/ 1020997 h 6858000"/>
              <a:gd name="connsiteX770" fmla="*/ 4570198 w 7467600"/>
              <a:gd name="connsiteY770" fmla="*/ 978081 h 6858000"/>
              <a:gd name="connsiteX771" fmla="*/ 4523691 w 7467600"/>
              <a:gd name="connsiteY771" fmla="*/ 1127776 h 6858000"/>
              <a:gd name="connsiteX772" fmla="*/ 4509875 w 7467600"/>
              <a:gd name="connsiteY772" fmla="*/ 1167552 h 6858000"/>
              <a:gd name="connsiteX773" fmla="*/ 4478168 w 7467600"/>
              <a:gd name="connsiteY773" fmla="*/ 1260735 h 6858000"/>
              <a:gd name="connsiteX774" fmla="*/ 4409309 w 7467600"/>
              <a:gd name="connsiteY774" fmla="*/ 1666996 h 6858000"/>
              <a:gd name="connsiteX775" fmla="*/ 4370031 w 7467600"/>
              <a:gd name="connsiteY775" fmla="*/ 1955666 h 6858000"/>
              <a:gd name="connsiteX776" fmla="*/ 4570198 w 7467600"/>
              <a:gd name="connsiteY776" fmla="*/ 978081 h 6858000"/>
              <a:gd name="connsiteX777" fmla="*/ 4557898 w 7467600"/>
              <a:gd name="connsiteY777" fmla="*/ 900011 h 6858000"/>
              <a:gd name="connsiteX778" fmla="*/ 4344840 w 7467600"/>
              <a:gd name="connsiteY778" fmla="*/ 1922038 h 6858000"/>
              <a:gd name="connsiteX779" fmla="*/ 4378710 w 7467600"/>
              <a:gd name="connsiteY779" fmla="*/ 1665516 h 6858000"/>
              <a:gd name="connsiteX780" fmla="*/ 4448798 w 7467600"/>
              <a:gd name="connsiteY780" fmla="*/ 1253024 h 6858000"/>
              <a:gd name="connsiteX781" fmla="*/ 4480315 w 7467600"/>
              <a:gd name="connsiteY781" fmla="*/ 1158454 h 6858000"/>
              <a:gd name="connsiteX782" fmla="*/ 4494133 w 7467600"/>
              <a:gd name="connsiteY782" fmla="*/ 1118676 h 6858000"/>
              <a:gd name="connsiteX783" fmla="*/ 4557898 w 7467600"/>
              <a:gd name="connsiteY783" fmla="*/ 900011 h 6858000"/>
              <a:gd name="connsiteX784" fmla="*/ 5870151 w 7467600"/>
              <a:gd name="connsiteY784" fmla="*/ 898890 h 6858000"/>
              <a:gd name="connsiteX785" fmla="*/ 5861335 w 7467600"/>
              <a:gd name="connsiteY785" fmla="*/ 899177 h 6858000"/>
              <a:gd name="connsiteX786" fmla="*/ 5843702 w 7467600"/>
              <a:gd name="connsiteY786" fmla="*/ 899748 h 6858000"/>
              <a:gd name="connsiteX787" fmla="*/ 5651107 w 7467600"/>
              <a:gd name="connsiteY787" fmla="*/ 920306 h 6858000"/>
              <a:gd name="connsiteX788" fmla="*/ 5459407 w 7467600"/>
              <a:gd name="connsiteY788" fmla="*/ 940975 h 6858000"/>
              <a:gd name="connsiteX789" fmla="*/ 5374846 w 7467600"/>
              <a:gd name="connsiteY789" fmla="*/ 941988 h 6858000"/>
              <a:gd name="connsiteX790" fmla="*/ 5256105 w 7467600"/>
              <a:gd name="connsiteY790" fmla="*/ 945632 h 6858000"/>
              <a:gd name="connsiteX791" fmla="*/ 5107071 w 7467600"/>
              <a:gd name="connsiteY791" fmla="*/ 969720 h 6858000"/>
              <a:gd name="connsiteX792" fmla="*/ 4998681 w 7467600"/>
              <a:gd name="connsiteY792" fmla="*/ 988771 h 6858000"/>
              <a:gd name="connsiteX793" fmla="*/ 5870151 w 7467600"/>
              <a:gd name="connsiteY793" fmla="*/ 898890 h 6858000"/>
              <a:gd name="connsiteX794" fmla="*/ 5504425 w 7467600"/>
              <a:gd name="connsiteY794" fmla="*/ 848067 h 6858000"/>
              <a:gd name="connsiteX795" fmla="*/ 4968849 w 7467600"/>
              <a:gd name="connsiteY795" fmla="*/ 962318 h 6858000"/>
              <a:gd name="connsiteX796" fmla="*/ 5104039 w 7467600"/>
              <a:gd name="connsiteY796" fmla="*/ 940634 h 6858000"/>
              <a:gd name="connsiteX797" fmla="*/ 5256311 w 7467600"/>
              <a:gd name="connsiteY797" fmla="*/ 916490 h 6858000"/>
              <a:gd name="connsiteX798" fmla="*/ 5377381 w 7467600"/>
              <a:gd name="connsiteY798" fmla="*/ 912671 h 6858000"/>
              <a:gd name="connsiteX799" fmla="*/ 5460148 w 7467600"/>
              <a:gd name="connsiteY799" fmla="*/ 911442 h 6858000"/>
              <a:gd name="connsiteX800" fmla="*/ 5648971 w 7467600"/>
              <a:gd name="connsiteY800" fmla="*/ 891331 h 6858000"/>
              <a:gd name="connsiteX801" fmla="*/ 5844807 w 7467600"/>
              <a:gd name="connsiteY801" fmla="*/ 870718 h 6858000"/>
              <a:gd name="connsiteX802" fmla="*/ 5862975 w 7467600"/>
              <a:gd name="connsiteY802" fmla="*/ 869756 h 6858000"/>
              <a:gd name="connsiteX803" fmla="*/ 5920887 w 7467600"/>
              <a:gd name="connsiteY803" fmla="*/ 865929 h 6858000"/>
              <a:gd name="connsiteX804" fmla="*/ 5504425 w 7467600"/>
              <a:gd name="connsiteY804" fmla="*/ 848067 h 6858000"/>
              <a:gd name="connsiteX805" fmla="*/ 3607114 w 7467600"/>
              <a:gd name="connsiteY805" fmla="*/ 467441 h 6858000"/>
              <a:gd name="connsiteX806" fmla="*/ 3296242 w 7467600"/>
              <a:gd name="connsiteY806" fmla="*/ 807991 h 6858000"/>
              <a:gd name="connsiteX807" fmla="*/ 3174674 w 7467600"/>
              <a:gd name="connsiteY807" fmla="*/ 919759 h 6858000"/>
              <a:gd name="connsiteX808" fmla="*/ 3042978 w 7467600"/>
              <a:gd name="connsiteY808" fmla="*/ 1054894 h 6858000"/>
              <a:gd name="connsiteX809" fmla="*/ 2968914 w 7467600"/>
              <a:gd name="connsiteY809" fmla="*/ 1133756 h 6858000"/>
              <a:gd name="connsiteX810" fmla="*/ 3103823 w 7467600"/>
              <a:gd name="connsiteY810" fmla="*/ 1026814 h 6858000"/>
              <a:gd name="connsiteX811" fmla="*/ 3607114 w 7467600"/>
              <a:gd name="connsiteY811" fmla="*/ 467441 h 6858000"/>
              <a:gd name="connsiteX812" fmla="*/ 3744487 w 7467600"/>
              <a:gd name="connsiteY812" fmla="*/ 383136 h 6858000"/>
              <a:gd name="connsiteX813" fmla="*/ 3970213 w 7467600"/>
              <a:gd name="connsiteY813" fmla="*/ 995559 h 6858000"/>
              <a:gd name="connsiteX814" fmla="*/ 3744487 w 7467600"/>
              <a:gd name="connsiteY814" fmla="*/ 383136 h 6858000"/>
              <a:gd name="connsiteX815" fmla="*/ 3624562 w 7467600"/>
              <a:gd name="connsiteY815" fmla="*/ 367041 h 6858000"/>
              <a:gd name="connsiteX816" fmla="*/ 3489712 w 7467600"/>
              <a:gd name="connsiteY816" fmla="*/ 485386 h 6858000"/>
              <a:gd name="connsiteX817" fmla="*/ 3182994 w 7467600"/>
              <a:gd name="connsiteY817" fmla="*/ 828265 h 6858000"/>
              <a:gd name="connsiteX818" fmla="*/ 2892114 w 7467600"/>
              <a:gd name="connsiteY818" fmla="*/ 1172635 h 6858000"/>
              <a:gd name="connsiteX819" fmla="*/ 3021459 w 7467600"/>
              <a:gd name="connsiteY819" fmla="*/ 1035385 h 6858000"/>
              <a:gd name="connsiteX820" fmla="*/ 3153873 w 7467600"/>
              <a:gd name="connsiteY820" fmla="*/ 898971 h 6858000"/>
              <a:gd name="connsiteX821" fmla="*/ 3276511 w 7467600"/>
              <a:gd name="connsiteY821" fmla="*/ 786423 h 6858000"/>
              <a:gd name="connsiteX822" fmla="*/ 3584154 w 7467600"/>
              <a:gd name="connsiteY822" fmla="*/ 448218 h 6858000"/>
              <a:gd name="connsiteX823" fmla="*/ 3624562 w 7467600"/>
              <a:gd name="connsiteY823" fmla="*/ 367041 h 6858000"/>
              <a:gd name="connsiteX824" fmla="*/ 3766672 w 7467600"/>
              <a:gd name="connsiteY824" fmla="*/ 359429 h 6858000"/>
              <a:gd name="connsiteX825" fmla="*/ 3996338 w 7467600"/>
              <a:gd name="connsiteY825" fmla="*/ 968237 h 6858000"/>
              <a:gd name="connsiteX826" fmla="*/ 3766672 w 7467600"/>
              <a:gd name="connsiteY826" fmla="*/ 359429 h 6858000"/>
              <a:gd name="connsiteX827" fmla="*/ 5805386 w 7467600"/>
              <a:gd name="connsiteY827" fmla="*/ 239240 h 6858000"/>
              <a:gd name="connsiteX828" fmla="*/ 5736947 w 7467600"/>
              <a:gd name="connsiteY828" fmla="*/ 261367 h 6858000"/>
              <a:gd name="connsiteX829" fmla="*/ 5427012 w 7467600"/>
              <a:gd name="connsiteY829" fmla="*/ 311272 h 6858000"/>
              <a:gd name="connsiteX830" fmla="*/ 5147818 w 7467600"/>
              <a:gd name="connsiteY830" fmla="*/ 322112 h 6858000"/>
              <a:gd name="connsiteX831" fmla="*/ 5060854 w 7467600"/>
              <a:gd name="connsiteY831" fmla="*/ 311882 h 6858000"/>
              <a:gd name="connsiteX832" fmla="*/ 4945989 w 7467600"/>
              <a:gd name="connsiteY832" fmla="*/ 300516 h 6858000"/>
              <a:gd name="connsiteX833" fmla="*/ 5410479 w 7467600"/>
              <a:gd name="connsiteY833" fmla="*/ 348434 h 6858000"/>
              <a:gd name="connsiteX834" fmla="*/ 5805386 w 7467600"/>
              <a:gd name="connsiteY834" fmla="*/ 239240 h 6858000"/>
              <a:gd name="connsiteX835" fmla="*/ 5905192 w 7467600"/>
              <a:gd name="connsiteY835" fmla="*/ 163079 h 6858000"/>
              <a:gd name="connsiteX836" fmla="*/ 5865655 w 7467600"/>
              <a:gd name="connsiteY836" fmla="*/ 171901 h 6858000"/>
              <a:gd name="connsiteX837" fmla="*/ 5259740 w 7467600"/>
              <a:gd name="connsiteY837" fmla="*/ 257013 h 6858000"/>
              <a:gd name="connsiteX838" fmla="*/ 5208466 w 7467600"/>
              <a:gd name="connsiteY838" fmla="*/ 257550 h 6858000"/>
              <a:gd name="connsiteX839" fmla="*/ 4980204 w 7467600"/>
              <a:gd name="connsiteY839" fmla="*/ 271903 h 6858000"/>
              <a:gd name="connsiteX840" fmla="*/ 5068068 w 7467600"/>
              <a:gd name="connsiteY840" fmla="*/ 282244 h 6858000"/>
              <a:gd name="connsiteX841" fmla="*/ 5153231 w 7467600"/>
              <a:gd name="connsiteY841" fmla="*/ 292240 h 6858000"/>
              <a:gd name="connsiteX842" fmla="*/ 5426491 w 7467600"/>
              <a:gd name="connsiteY842" fmla="*/ 281128 h 6858000"/>
              <a:gd name="connsiteX843" fmla="*/ 5731212 w 7467600"/>
              <a:gd name="connsiteY843" fmla="*/ 231951 h 6858000"/>
              <a:gd name="connsiteX844" fmla="*/ 5905192 w 7467600"/>
              <a:gd name="connsiteY844" fmla="*/ 163079 h 6858000"/>
              <a:gd name="connsiteX845" fmla="*/ 5944437 w 7467600"/>
              <a:gd name="connsiteY845" fmla="*/ 113829 h 6858000"/>
              <a:gd name="connsiteX846" fmla="*/ 5825032 w 7467600"/>
              <a:gd name="connsiteY846" fmla="*/ 146405 h 6858000"/>
              <a:gd name="connsiteX847" fmla="*/ 4955599 w 7467600"/>
              <a:gd name="connsiteY847" fmla="*/ 247008 h 6858000"/>
              <a:gd name="connsiteX848" fmla="*/ 5210104 w 7467600"/>
              <a:gd name="connsiteY848" fmla="*/ 228123 h 6858000"/>
              <a:gd name="connsiteX849" fmla="*/ 5261015 w 7467600"/>
              <a:gd name="connsiteY849" fmla="*/ 227087 h 6858000"/>
              <a:gd name="connsiteX850" fmla="*/ 5861181 w 7467600"/>
              <a:gd name="connsiteY850" fmla="*/ 143093 h 6858000"/>
              <a:gd name="connsiteX851" fmla="*/ 5961252 w 7467600"/>
              <a:gd name="connsiteY851" fmla="*/ 114820 h 6858000"/>
              <a:gd name="connsiteX852" fmla="*/ 5944437 w 7467600"/>
              <a:gd name="connsiteY852" fmla="*/ 113829 h 6858000"/>
              <a:gd name="connsiteX853" fmla="*/ 3882765 w 7467600"/>
              <a:gd name="connsiteY853" fmla="*/ 0 h 6858000"/>
              <a:gd name="connsiteX854" fmla="*/ 3995099 w 7467600"/>
              <a:gd name="connsiteY854" fmla="*/ 0 h 6858000"/>
              <a:gd name="connsiteX855" fmla="*/ 4163818 w 7467600"/>
              <a:gd name="connsiteY855" fmla="*/ 234104 h 6858000"/>
              <a:gd name="connsiteX856" fmla="*/ 4172099 w 7467600"/>
              <a:gd name="connsiteY856" fmla="*/ 234207 h 6858000"/>
              <a:gd name="connsiteX857" fmla="*/ 4784282 w 7467600"/>
              <a:gd name="connsiteY857" fmla="*/ 276561 h 6858000"/>
              <a:gd name="connsiteX858" fmla="*/ 4801687 w 7467600"/>
              <a:gd name="connsiteY858" fmla="*/ 267764 h 6858000"/>
              <a:gd name="connsiteX859" fmla="*/ 6082788 w 7467600"/>
              <a:gd name="connsiteY859" fmla="*/ 64119 h 6858000"/>
              <a:gd name="connsiteX860" fmla="*/ 6099442 w 7467600"/>
              <a:gd name="connsiteY860" fmla="*/ 82568 h 6858000"/>
              <a:gd name="connsiteX861" fmla="*/ 4804137 w 7467600"/>
              <a:gd name="connsiteY861" fmla="*/ 320931 h 6858000"/>
              <a:gd name="connsiteX862" fmla="*/ 4227047 w 7467600"/>
              <a:gd name="connsiteY862" fmla="*/ 313415 h 6858000"/>
              <a:gd name="connsiteX863" fmla="*/ 4346041 w 7467600"/>
              <a:gd name="connsiteY863" fmla="*/ 456086 h 6858000"/>
              <a:gd name="connsiteX864" fmla="*/ 4870967 w 7467600"/>
              <a:gd name="connsiteY864" fmla="*/ 963061 h 6858000"/>
              <a:gd name="connsiteX865" fmla="*/ 4889647 w 7467600"/>
              <a:gd name="connsiteY865" fmla="*/ 957147 h 6858000"/>
              <a:gd name="connsiteX866" fmla="*/ 5422504 w 7467600"/>
              <a:gd name="connsiteY866" fmla="*/ 805191 h 6858000"/>
              <a:gd name="connsiteX867" fmla="*/ 6087656 w 7467600"/>
              <a:gd name="connsiteY867" fmla="*/ 826703 h 6858000"/>
              <a:gd name="connsiteX868" fmla="*/ 6058717 w 7467600"/>
              <a:gd name="connsiteY868" fmla="*/ 865992 h 6858000"/>
              <a:gd name="connsiteX869" fmla="*/ 4974153 w 7467600"/>
              <a:gd name="connsiteY869" fmla="*/ 1045456 h 6858000"/>
              <a:gd name="connsiteX870" fmla="*/ 5627835 w 7467600"/>
              <a:gd name="connsiteY870" fmla="*/ 1472077 h 6858000"/>
              <a:gd name="connsiteX871" fmla="*/ 5629817 w 7467600"/>
              <a:gd name="connsiteY871" fmla="*/ 1471412 h 6858000"/>
              <a:gd name="connsiteX872" fmla="*/ 5634124 w 7467600"/>
              <a:gd name="connsiteY872" fmla="*/ 1470572 h 6858000"/>
              <a:gd name="connsiteX873" fmla="*/ 5755832 w 7467600"/>
              <a:gd name="connsiteY873" fmla="*/ 1383886 h 6858000"/>
              <a:gd name="connsiteX874" fmla="*/ 6014186 w 7467600"/>
              <a:gd name="connsiteY874" fmla="*/ 1279799 h 6858000"/>
              <a:gd name="connsiteX875" fmla="*/ 6901619 w 7467600"/>
              <a:gd name="connsiteY875" fmla="*/ 1047874 h 6858000"/>
              <a:gd name="connsiteX876" fmla="*/ 6931566 w 7467600"/>
              <a:gd name="connsiteY876" fmla="*/ 1062034 h 6858000"/>
              <a:gd name="connsiteX877" fmla="*/ 5790982 w 7467600"/>
              <a:gd name="connsiteY877" fmla="*/ 1561380 h 6858000"/>
              <a:gd name="connsiteX878" fmla="*/ 6188971 w 7467600"/>
              <a:gd name="connsiteY878" fmla="*/ 1755168 h 6858000"/>
              <a:gd name="connsiteX879" fmla="*/ 6202446 w 7467600"/>
              <a:gd name="connsiteY879" fmla="*/ 1752268 h 6858000"/>
              <a:gd name="connsiteX880" fmla="*/ 7179560 w 7467600"/>
              <a:gd name="connsiteY880" fmla="*/ 1467551 h 6858000"/>
              <a:gd name="connsiteX881" fmla="*/ 7158730 w 7467600"/>
              <a:gd name="connsiteY881" fmla="*/ 1507835 h 6858000"/>
              <a:gd name="connsiteX882" fmla="*/ 6326959 w 7467600"/>
              <a:gd name="connsiteY882" fmla="*/ 1817686 h 6858000"/>
              <a:gd name="connsiteX883" fmla="*/ 6537433 w 7467600"/>
              <a:gd name="connsiteY883" fmla="*/ 1907790 h 6858000"/>
              <a:gd name="connsiteX884" fmla="*/ 6550221 w 7467600"/>
              <a:gd name="connsiteY884" fmla="*/ 1910729 h 6858000"/>
              <a:gd name="connsiteX885" fmla="*/ 6964438 w 7467600"/>
              <a:gd name="connsiteY885" fmla="*/ 2209505 h 6858000"/>
              <a:gd name="connsiteX886" fmla="*/ 7367862 w 7467600"/>
              <a:gd name="connsiteY886" fmla="*/ 2806833 h 6858000"/>
              <a:gd name="connsiteX887" fmla="*/ 7364329 w 7467600"/>
              <a:gd name="connsiteY887" fmla="*/ 2826907 h 6858000"/>
              <a:gd name="connsiteX888" fmla="*/ 7290545 w 7467600"/>
              <a:gd name="connsiteY888" fmla="*/ 2850663 h 6858000"/>
              <a:gd name="connsiteX889" fmla="*/ 6472036 w 7467600"/>
              <a:gd name="connsiteY889" fmla="*/ 1959003 h 6858000"/>
              <a:gd name="connsiteX890" fmla="*/ 5792897 w 7467600"/>
              <a:gd name="connsiteY890" fmla="*/ 1647747 h 6858000"/>
              <a:gd name="connsiteX891" fmla="*/ 5842751 w 7467600"/>
              <a:gd name="connsiteY891" fmla="*/ 1816112 h 6858000"/>
              <a:gd name="connsiteX892" fmla="*/ 5847424 w 7467600"/>
              <a:gd name="connsiteY892" fmla="*/ 1815776 h 6858000"/>
              <a:gd name="connsiteX893" fmla="*/ 6399821 w 7467600"/>
              <a:gd name="connsiteY893" fmla="*/ 2344799 h 6858000"/>
              <a:gd name="connsiteX894" fmla="*/ 6323232 w 7467600"/>
              <a:gd name="connsiteY894" fmla="*/ 2389634 h 6858000"/>
              <a:gd name="connsiteX895" fmla="*/ 5942958 w 7467600"/>
              <a:gd name="connsiteY895" fmla="*/ 2077708 h 6858000"/>
              <a:gd name="connsiteX896" fmla="*/ 5921559 w 7467600"/>
              <a:gd name="connsiteY896" fmla="*/ 2378596 h 6858000"/>
              <a:gd name="connsiteX897" fmla="*/ 5817651 w 7467600"/>
              <a:gd name="connsiteY897" fmla="*/ 3023919 h 6858000"/>
              <a:gd name="connsiteX898" fmla="*/ 5729634 w 7467600"/>
              <a:gd name="connsiteY898" fmla="*/ 3051849 h 6858000"/>
              <a:gd name="connsiteX899" fmla="*/ 5611018 w 7467600"/>
              <a:gd name="connsiteY899" fmla="*/ 2316769 h 6858000"/>
              <a:gd name="connsiteX900" fmla="*/ 5687608 w 7467600"/>
              <a:gd name="connsiteY900" fmla="*/ 2039972 h 6858000"/>
              <a:gd name="connsiteX901" fmla="*/ 5657554 w 7467600"/>
              <a:gd name="connsiteY901" fmla="*/ 1576445 h 6858000"/>
              <a:gd name="connsiteX902" fmla="*/ 5150475 w 7467600"/>
              <a:gd name="connsiteY902" fmla="*/ 1274012 h 6858000"/>
              <a:gd name="connsiteX903" fmla="*/ 5349142 w 7467600"/>
              <a:gd name="connsiteY903" fmla="*/ 2204405 h 6858000"/>
              <a:gd name="connsiteX904" fmla="*/ 5262214 w 7467600"/>
              <a:gd name="connsiteY904" fmla="*/ 2233836 h 6858000"/>
              <a:gd name="connsiteX905" fmla="*/ 4981539 w 7467600"/>
              <a:gd name="connsiteY905" fmla="*/ 1542201 h 6858000"/>
              <a:gd name="connsiteX906" fmla="*/ 4958461 w 7467600"/>
              <a:gd name="connsiteY906" fmla="*/ 1136957 h 6858000"/>
              <a:gd name="connsiteX907" fmla="*/ 4655015 w 7467600"/>
              <a:gd name="connsiteY907" fmla="*/ 891426 h 6858000"/>
              <a:gd name="connsiteX908" fmla="*/ 4348002 w 7467600"/>
              <a:gd name="connsiteY908" fmla="*/ 2205895 h 6858000"/>
              <a:gd name="connsiteX909" fmla="*/ 4262250 w 7467600"/>
              <a:gd name="connsiteY909" fmla="*/ 2219972 h 6858000"/>
              <a:gd name="connsiteX910" fmla="*/ 4550611 w 7467600"/>
              <a:gd name="connsiteY910" fmla="*/ 817540 h 6858000"/>
              <a:gd name="connsiteX911" fmla="*/ 4564418 w 7467600"/>
              <a:gd name="connsiteY911" fmla="*/ 808293 h 6858000"/>
              <a:gd name="connsiteX912" fmla="*/ 4266388 w 7467600"/>
              <a:gd name="connsiteY912" fmla="*/ 500083 h 6858000"/>
              <a:gd name="connsiteX913" fmla="*/ 4032842 w 7467600"/>
              <a:gd name="connsiteY913" fmla="*/ 211809 h 6858000"/>
              <a:gd name="connsiteX914" fmla="*/ 3882765 w 7467600"/>
              <a:gd name="connsiteY914" fmla="*/ 0 h 6858000"/>
              <a:gd name="connsiteX915" fmla="*/ 3721337 w 7467600"/>
              <a:gd name="connsiteY915" fmla="*/ 0 h 6858000"/>
              <a:gd name="connsiteX916" fmla="*/ 3797544 w 7467600"/>
              <a:gd name="connsiteY916" fmla="*/ 0 h 6858000"/>
              <a:gd name="connsiteX917" fmla="*/ 3775734 w 7467600"/>
              <a:gd name="connsiteY917" fmla="*/ 95131 h 6858000"/>
              <a:gd name="connsiteX918" fmla="*/ 3724807 w 7467600"/>
              <a:gd name="connsiteY918" fmla="*/ 272257 h 6858000"/>
              <a:gd name="connsiteX919" fmla="*/ 3726844 w 7467600"/>
              <a:gd name="connsiteY919" fmla="*/ 282988 h 6858000"/>
              <a:gd name="connsiteX920" fmla="*/ 3742664 w 7467600"/>
              <a:gd name="connsiteY920" fmla="*/ 279918 h 6858000"/>
              <a:gd name="connsiteX921" fmla="*/ 4103910 w 7467600"/>
              <a:gd name="connsiteY921" fmla="*/ 1161917 h 6858000"/>
              <a:gd name="connsiteX922" fmla="*/ 4020269 w 7467600"/>
              <a:gd name="connsiteY922" fmla="*/ 1200406 h 6858000"/>
              <a:gd name="connsiteX923" fmla="*/ 3674882 w 7467600"/>
              <a:gd name="connsiteY923" fmla="*/ 488524 h 6858000"/>
              <a:gd name="connsiteX924" fmla="*/ 3132682 w 7467600"/>
              <a:gd name="connsiteY924" fmla="*/ 1072284 h 6858000"/>
              <a:gd name="connsiteX925" fmla="*/ 2716346 w 7467600"/>
              <a:gd name="connsiteY925" fmla="*/ 1276376 h 6858000"/>
              <a:gd name="connsiteX926" fmla="*/ 2716772 w 7467600"/>
              <a:gd name="connsiteY926" fmla="*/ 1255462 h 6858000"/>
              <a:gd name="connsiteX927" fmla="*/ 3471096 w 7467600"/>
              <a:gd name="connsiteY927" fmla="*/ 437072 h 6858000"/>
              <a:gd name="connsiteX928" fmla="*/ 3639057 w 7467600"/>
              <a:gd name="connsiteY928" fmla="*/ 286334 h 6858000"/>
              <a:gd name="connsiteX929" fmla="*/ 3640309 w 7467600"/>
              <a:gd name="connsiteY929" fmla="*/ 284664 h 6858000"/>
              <a:gd name="connsiteX930" fmla="*/ 3646022 w 7467600"/>
              <a:gd name="connsiteY930" fmla="*/ 276711 h 6858000"/>
              <a:gd name="connsiteX931" fmla="*/ 3707943 w 7467600"/>
              <a:gd name="connsiteY931" fmla="*/ 65958 h 6858000"/>
              <a:gd name="connsiteX932" fmla="*/ 3721337 w 7467600"/>
              <a:gd name="connsiteY932" fmla="*/ 0 h 6858000"/>
              <a:gd name="connsiteX933" fmla="*/ 2867960 w 7467600"/>
              <a:gd name="connsiteY933" fmla="*/ 0 h 6858000"/>
              <a:gd name="connsiteX934" fmla="*/ 2926351 w 7467600"/>
              <a:gd name="connsiteY934" fmla="*/ 0 h 6858000"/>
              <a:gd name="connsiteX935" fmla="*/ 2902823 w 7467600"/>
              <a:gd name="connsiteY935" fmla="*/ 262929 h 6858000"/>
              <a:gd name="connsiteX936" fmla="*/ 2940663 w 7467600"/>
              <a:gd name="connsiteY936" fmla="*/ 140884 h 6858000"/>
              <a:gd name="connsiteX937" fmla="*/ 2947039 w 7467600"/>
              <a:gd name="connsiteY937" fmla="*/ 122524 h 6858000"/>
              <a:gd name="connsiteX938" fmla="*/ 2984316 w 7467600"/>
              <a:gd name="connsiteY938" fmla="*/ 0 h 6858000"/>
              <a:gd name="connsiteX939" fmla="*/ 3016114 w 7467600"/>
              <a:gd name="connsiteY939" fmla="*/ 0 h 6858000"/>
              <a:gd name="connsiteX940" fmla="*/ 2979949 w 7467600"/>
              <a:gd name="connsiteY940" fmla="*/ 119274 h 6858000"/>
              <a:gd name="connsiteX941" fmla="*/ 3023879 w 7467600"/>
              <a:gd name="connsiteY941" fmla="*/ 0 h 6858000"/>
              <a:gd name="connsiteX942" fmla="*/ 3105400 w 7467600"/>
              <a:gd name="connsiteY942" fmla="*/ 0 h 6858000"/>
              <a:gd name="connsiteX943" fmla="*/ 3094669 w 7467600"/>
              <a:gd name="connsiteY943" fmla="*/ 30308 h 6858000"/>
              <a:gd name="connsiteX944" fmla="*/ 2901945 w 7467600"/>
              <a:gd name="connsiteY944" fmla="*/ 466538 h 6858000"/>
              <a:gd name="connsiteX945" fmla="*/ 2815209 w 7467600"/>
              <a:gd name="connsiteY945" fmla="*/ 497361 h 6858000"/>
              <a:gd name="connsiteX946" fmla="*/ 2844845 w 7467600"/>
              <a:gd name="connsiteY946" fmla="*/ 127638 h 6858000"/>
              <a:gd name="connsiteX947" fmla="*/ 2867960 w 7467600"/>
              <a:gd name="connsiteY947" fmla="*/ 0 h 6858000"/>
              <a:gd name="connsiteX948" fmla="*/ 1057230 w 7467600"/>
              <a:gd name="connsiteY948" fmla="*/ 0 h 6858000"/>
              <a:gd name="connsiteX949" fmla="*/ 1111003 w 7467600"/>
              <a:gd name="connsiteY949" fmla="*/ 0 h 6858000"/>
              <a:gd name="connsiteX950" fmla="*/ 1125553 w 7467600"/>
              <a:gd name="connsiteY950" fmla="*/ 52588 h 6858000"/>
              <a:gd name="connsiteX951" fmla="*/ 1304276 w 7467600"/>
              <a:gd name="connsiteY951" fmla="*/ 476275 h 6858000"/>
              <a:gd name="connsiteX952" fmla="*/ 1492066 w 7467600"/>
              <a:gd name="connsiteY952" fmla="*/ 886333 h 6858000"/>
              <a:gd name="connsiteX953" fmla="*/ 1423698 w 7467600"/>
              <a:gd name="connsiteY953" fmla="*/ 710817 h 6858000"/>
              <a:gd name="connsiteX954" fmla="*/ 1357609 w 7467600"/>
              <a:gd name="connsiteY954" fmla="*/ 532892 h 6858000"/>
              <a:gd name="connsiteX955" fmla="*/ 1309550 w 7467600"/>
              <a:gd name="connsiteY955" fmla="*/ 374031 h 6858000"/>
              <a:gd name="connsiteX956" fmla="*/ 1193673 w 7467600"/>
              <a:gd name="connsiteY956" fmla="*/ 49533 h 6858000"/>
              <a:gd name="connsiteX957" fmla="*/ 1164391 w 7467600"/>
              <a:gd name="connsiteY957" fmla="*/ 0 h 6858000"/>
              <a:gd name="connsiteX958" fmla="*/ 1200666 w 7467600"/>
              <a:gd name="connsiteY958" fmla="*/ 0 h 6858000"/>
              <a:gd name="connsiteX959" fmla="*/ 1223408 w 7467600"/>
              <a:gd name="connsiteY959" fmla="*/ 38996 h 6858000"/>
              <a:gd name="connsiteX960" fmla="*/ 1339635 w 7467600"/>
              <a:gd name="connsiteY960" fmla="*/ 365517 h 6858000"/>
              <a:gd name="connsiteX961" fmla="*/ 1387469 w 7467600"/>
              <a:gd name="connsiteY961" fmla="*/ 523079 h 6858000"/>
              <a:gd name="connsiteX962" fmla="*/ 1452685 w 7467600"/>
              <a:gd name="connsiteY962" fmla="*/ 699806 h 6858000"/>
              <a:gd name="connsiteX963" fmla="*/ 1492092 w 7467600"/>
              <a:gd name="connsiteY963" fmla="*/ 800424 h 6858000"/>
              <a:gd name="connsiteX964" fmla="*/ 1455302 w 7467600"/>
              <a:gd name="connsiteY964" fmla="*/ 632913 h 6858000"/>
              <a:gd name="connsiteX965" fmla="*/ 1222336 w 7467600"/>
              <a:gd name="connsiteY965" fmla="*/ 9480 h 6858000"/>
              <a:gd name="connsiteX966" fmla="*/ 1214634 w 7467600"/>
              <a:gd name="connsiteY966" fmla="*/ 0 h 6858000"/>
              <a:gd name="connsiteX967" fmla="*/ 1289827 w 7467600"/>
              <a:gd name="connsiteY967" fmla="*/ 0 h 6858000"/>
              <a:gd name="connsiteX968" fmla="*/ 1321076 w 7467600"/>
              <a:gd name="connsiteY968" fmla="*/ 59722 h 6858000"/>
              <a:gd name="connsiteX969" fmla="*/ 1512579 w 7467600"/>
              <a:gd name="connsiteY969" fmla="*/ 626441 h 6858000"/>
              <a:gd name="connsiteX970" fmla="*/ 1506076 w 7467600"/>
              <a:gd name="connsiteY970" fmla="*/ 1089289 h 6858000"/>
              <a:gd name="connsiteX971" fmla="*/ 1486346 w 7467600"/>
              <a:gd name="connsiteY971" fmla="*/ 1079919 h 6858000"/>
              <a:gd name="connsiteX972" fmla="*/ 1070511 w 7467600"/>
              <a:gd name="connsiteY972" fmla="*/ 48609 h 6858000"/>
              <a:gd name="connsiteX973" fmla="*/ 1057230 w 7467600"/>
              <a:gd name="connsiteY973" fmla="*/ 0 h 6858000"/>
              <a:gd name="connsiteX974" fmla="*/ 43151 w 7467600"/>
              <a:gd name="connsiteY974" fmla="*/ 0 h 6858000"/>
              <a:gd name="connsiteX975" fmla="*/ 95283 w 7467600"/>
              <a:gd name="connsiteY975" fmla="*/ 0 h 6858000"/>
              <a:gd name="connsiteX976" fmla="*/ 300708 w 7467600"/>
              <a:gd name="connsiteY976" fmla="*/ 154571 h 6858000"/>
              <a:gd name="connsiteX977" fmla="*/ 530414 w 7467600"/>
              <a:gd name="connsiteY977" fmla="*/ 354673 h 6858000"/>
              <a:gd name="connsiteX978" fmla="*/ 333785 w 7467600"/>
              <a:gd name="connsiteY978" fmla="*/ 161564 h 6858000"/>
              <a:gd name="connsiteX979" fmla="*/ 147005 w 7467600"/>
              <a:gd name="connsiteY979" fmla="*/ 0 h 6858000"/>
              <a:gd name="connsiteX980" fmla="*/ 272509 w 7467600"/>
              <a:gd name="connsiteY980" fmla="*/ 0 h 6858000"/>
              <a:gd name="connsiteX981" fmla="*/ 326276 w 7467600"/>
              <a:gd name="connsiteY981" fmla="*/ 45847 h 6858000"/>
              <a:gd name="connsiteX982" fmla="*/ 823759 w 7467600"/>
              <a:gd name="connsiteY982" fmla="*/ 574145 h 6858000"/>
              <a:gd name="connsiteX983" fmla="*/ 811254 w 7467600"/>
              <a:gd name="connsiteY983" fmla="*/ 665546 h 6858000"/>
              <a:gd name="connsiteX984" fmla="*/ 154042 w 7467600"/>
              <a:gd name="connsiteY984" fmla="*/ 261522 h 6858000"/>
              <a:gd name="connsiteX985" fmla="*/ 13550 w 7467600"/>
              <a:gd name="connsiteY985" fmla="*/ 158423 h 6858000"/>
              <a:gd name="connsiteX986" fmla="*/ 0 w 7467600"/>
              <a:gd name="connsiteY986" fmla="*/ 146618 h 6858000"/>
              <a:gd name="connsiteX987" fmla="*/ 0 w 7467600"/>
              <a:gd name="connsiteY987" fmla="*/ 59161 h 6858000"/>
              <a:gd name="connsiteX988" fmla="*/ 45427 w 7467600"/>
              <a:gd name="connsiteY988" fmla="*/ 101078 h 6858000"/>
              <a:gd name="connsiteX989" fmla="*/ 630103 w 7467600"/>
              <a:gd name="connsiteY989" fmla="*/ 485885 h 6858000"/>
              <a:gd name="connsiteX990" fmla="*/ 532040 w 7467600"/>
              <a:gd name="connsiteY990" fmla="*/ 399359 h 6858000"/>
              <a:gd name="connsiteX991" fmla="*/ 517618 w 7467600"/>
              <a:gd name="connsiteY991" fmla="*/ 385726 h 6858000"/>
              <a:gd name="connsiteX992" fmla="*/ 285074 w 7467600"/>
              <a:gd name="connsiteY992" fmla="*/ 182755 h 6858000"/>
              <a:gd name="connsiteX993" fmla="*/ 43151 w 7467600"/>
              <a:gd name="connsiteY993"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43603 w 7467600"/>
              <a:gd name="connsiteY127" fmla="*/ 5149746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1903353 w 7467600"/>
              <a:gd name="connsiteY137" fmla="*/ 5044827 h 6858000"/>
              <a:gd name="connsiteX138" fmla="*/ 1936931 w 7467600"/>
              <a:gd name="connsiteY138" fmla="*/ 5093954 h 6858000"/>
              <a:gd name="connsiteX139" fmla="*/ 2195868 w 7467600"/>
              <a:gd name="connsiteY139" fmla="*/ 5396574 h 6858000"/>
              <a:gd name="connsiteX140" fmla="*/ 2088852 w 7467600"/>
              <a:gd name="connsiteY140" fmla="*/ 5166123 h 6858000"/>
              <a:gd name="connsiteX141" fmla="*/ 1958241 w 7467600"/>
              <a:gd name="connsiteY141" fmla="*/ 5067955 h 6858000"/>
              <a:gd name="connsiteX142" fmla="*/ 1903353 w 7467600"/>
              <a:gd name="connsiteY142" fmla="*/ 5044827 h 6858000"/>
              <a:gd name="connsiteX143" fmla="*/ 1979378 w 7467600"/>
              <a:gd name="connsiteY143" fmla="*/ 4769504 h 6858000"/>
              <a:gd name="connsiteX144" fmla="*/ 2882120 w 7467600"/>
              <a:gd name="connsiteY144" fmla="*/ 5064547 h 6858000"/>
              <a:gd name="connsiteX145" fmla="*/ 2793103 w 7467600"/>
              <a:gd name="connsiteY145" fmla="*/ 5039699 h 6858000"/>
              <a:gd name="connsiteX146" fmla="*/ 2770041 w 7467600"/>
              <a:gd name="connsiteY146" fmla="*/ 5033634 h 6858000"/>
              <a:gd name="connsiteX147" fmla="*/ 1979378 w 7467600"/>
              <a:gd name="connsiteY147" fmla="*/ 4769504 h 6858000"/>
              <a:gd name="connsiteX148" fmla="*/ 1927410 w 7467600"/>
              <a:gd name="connsiteY148" fmla="*/ 4716164 h 6858000"/>
              <a:gd name="connsiteX149" fmla="*/ 1959587 w 7467600"/>
              <a:gd name="connsiteY149" fmla="*/ 4728849 h 6858000"/>
              <a:gd name="connsiteX150" fmla="*/ 2777707 w 7467600"/>
              <a:gd name="connsiteY150" fmla="*/ 5003991 h 6858000"/>
              <a:gd name="connsiteX151" fmla="*/ 2800768 w 7467600"/>
              <a:gd name="connsiteY151" fmla="*/ 5010056 h 6858000"/>
              <a:gd name="connsiteX152" fmla="*/ 2879408 w 7467600"/>
              <a:gd name="connsiteY152" fmla="*/ 5031590 h 6858000"/>
              <a:gd name="connsiteX153" fmla="*/ 2862295 w 7467600"/>
              <a:gd name="connsiteY153" fmla="*/ 5022958 h 6858000"/>
              <a:gd name="connsiteX154" fmla="*/ 2813343 w 7467600"/>
              <a:gd name="connsiteY154" fmla="*/ 4998369 h 6858000"/>
              <a:gd name="connsiteX155" fmla="*/ 2646245 w 7467600"/>
              <a:gd name="connsiteY155" fmla="*/ 4930999 h 6858000"/>
              <a:gd name="connsiteX156" fmla="*/ 1999243 w 7467600"/>
              <a:gd name="connsiteY156" fmla="*/ 4730524 h 6858000"/>
              <a:gd name="connsiteX157" fmla="*/ 1979527 w 7467600"/>
              <a:gd name="connsiteY157" fmla="*/ 4726651 h 6858000"/>
              <a:gd name="connsiteX158" fmla="*/ 1927410 w 7467600"/>
              <a:gd name="connsiteY158" fmla="*/ 4716164 h 6858000"/>
              <a:gd name="connsiteX159" fmla="*/ 1997014 w 7467600"/>
              <a:gd name="connsiteY159" fmla="*/ 4698007 h 6858000"/>
              <a:gd name="connsiteX160" fmla="*/ 2005458 w 7467600"/>
              <a:gd name="connsiteY160" fmla="*/ 4699540 h 6858000"/>
              <a:gd name="connsiteX161" fmla="*/ 2657186 w 7467600"/>
              <a:gd name="connsiteY161" fmla="*/ 4901687 h 6858000"/>
              <a:gd name="connsiteX162" fmla="*/ 2826662 w 7467600"/>
              <a:gd name="connsiteY162" fmla="*/ 4970362 h 6858000"/>
              <a:gd name="connsiteX163" fmla="*/ 2876100 w 7467600"/>
              <a:gd name="connsiteY163" fmla="*/ 4995397 h 6858000"/>
              <a:gd name="connsiteX164" fmla="*/ 3042600 w 7467600"/>
              <a:gd name="connsiteY164" fmla="*/ 5059532 h 6858000"/>
              <a:gd name="connsiteX165" fmla="*/ 1997014 w 7467600"/>
              <a:gd name="connsiteY165" fmla="*/ 4698007 h 6858000"/>
              <a:gd name="connsiteX166" fmla="*/ 2305292 w 7467600"/>
              <a:gd name="connsiteY166" fmla="*/ 4219492 h 6858000"/>
              <a:gd name="connsiteX167" fmla="*/ 3360922 w 7467600"/>
              <a:gd name="connsiteY167" fmla="*/ 4529373 h 6858000"/>
              <a:gd name="connsiteX168" fmla="*/ 3492420 w 7467600"/>
              <a:gd name="connsiteY168" fmla="*/ 4510145 h 6858000"/>
              <a:gd name="connsiteX169" fmla="*/ 3364086 w 7467600"/>
              <a:gd name="connsiteY169" fmla="*/ 4480340 h 6858000"/>
              <a:gd name="connsiteX170" fmla="*/ 3225818 w 7467600"/>
              <a:gd name="connsiteY170" fmla="*/ 4411822 h 6858000"/>
              <a:gd name="connsiteX171" fmla="*/ 3129696 w 7467600"/>
              <a:gd name="connsiteY171" fmla="*/ 4360704 h 6858000"/>
              <a:gd name="connsiteX172" fmla="*/ 2814545 w 7467600"/>
              <a:gd name="connsiteY172" fmla="*/ 4282955 h 6858000"/>
              <a:gd name="connsiteX173" fmla="*/ 2305292 w 7467600"/>
              <a:gd name="connsiteY173" fmla="*/ 4219492 h 6858000"/>
              <a:gd name="connsiteX174" fmla="*/ 2626982 w 7467600"/>
              <a:gd name="connsiteY174" fmla="*/ 4206450 h 6858000"/>
              <a:gd name="connsiteX175" fmla="*/ 2490617 w 7467600"/>
              <a:gd name="connsiteY175" fmla="*/ 4206951 h 6858000"/>
              <a:gd name="connsiteX176" fmla="*/ 2819869 w 7467600"/>
              <a:gd name="connsiteY176" fmla="*/ 4252936 h 6858000"/>
              <a:gd name="connsiteX177" fmla="*/ 3143018 w 7467600"/>
              <a:gd name="connsiteY177" fmla="*/ 4332698 h 6858000"/>
              <a:gd name="connsiteX178" fmla="*/ 3241520 w 7467600"/>
              <a:gd name="connsiteY178" fmla="*/ 4385112 h 6858000"/>
              <a:gd name="connsiteX179" fmla="*/ 3374575 w 7467600"/>
              <a:gd name="connsiteY179" fmla="*/ 4451517 h 6858000"/>
              <a:gd name="connsiteX180" fmla="*/ 3505221 w 7467600"/>
              <a:gd name="connsiteY180" fmla="*/ 4480757 h 6858000"/>
              <a:gd name="connsiteX181" fmla="*/ 2626982 w 7467600"/>
              <a:gd name="connsiteY181" fmla="*/ 4206450 h 6858000"/>
              <a:gd name="connsiteX182" fmla="*/ 1310106 w 7467600"/>
              <a:gd name="connsiteY182" fmla="*/ 3943217 h 6858000"/>
              <a:gd name="connsiteX183" fmla="*/ 854994 w 7467600"/>
              <a:gd name="connsiteY183" fmla="*/ 4399136 h 6858000"/>
              <a:gd name="connsiteX184" fmla="*/ 742462 w 7467600"/>
              <a:gd name="connsiteY184" fmla="*/ 4594648 h 6858000"/>
              <a:gd name="connsiteX185" fmla="*/ 820602 w 7467600"/>
              <a:gd name="connsiteY185" fmla="*/ 4485915 h 6858000"/>
              <a:gd name="connsiteX186" fmla="*/ 878295 w 7467600"/>
              <a:gd name="connsiteY186" fmla="*/ 4403594 h 6858000"/>
              <a:gd name="connsiteX187" fmla="*/ 1240607 w 7467600"/>
              <a:gd name="connsiteY187" fmla="*/ 4010401 h 6858000"/>
              <a:gd name="connsiteX188" fmla="*/ 1310106 w 7467600"/>
              <a:gd name="connsiteY188" fmla="*/ 3943217 h 6858000"/>
              <a:gd name="connsiteX189" fmla="*/ 1423113 w 7467600"/>
              <a:gd name="connsiteY189" fmla="*/ 3874565 h 6858000"/>
              <a:gd name="connsiteX190" fmla="*/ 1260565 w 7467600"/>
              <a:gd name="connsiteY190" fmla="*/ 4031982 h 6858000"/>
              <a:gd name="connsiteX191" fmla="*/ 901900 w 7467600"/>
              <a:gd name="connsiteY191" fmla="*/ 4421236 h 6858000"/>
              <a:gd name="connsiteX192" fmla="*/ 845044 w 7467600"/>
              <a:gd name="connsiteY192" fmla="*/ 4502436 h 6858000"/>
              <a:gd name="connsiteX193" fmla="*/ 685926 w 7467600"/>
              <a:gd name="connsiteY193" fmla="*/ 4703069 h 6858000"/>
              <a:gd name="connsiteX194" fmla="*/ 684248 w 7467600"/>
              <a:gd name="connsiteY194" fmla="*/ 4706721 h 6858000"/>
              <a:gd name="connsiteX195" fmla="*/ 1423113 w 7467600"/>
              <a:gd name="connsiteY195" fmla="*/ 3874565 h 6858000"/>
              <a:gd name="connsiteX196" fmla="*/ 3316479 w 7467600"/>
              <a:gd name="connsiteY196" fmla="*/ 3872136 h 6858000"/>
              <a:gd name="connsiteX197" fmla="*/ 3546806 w 7467600"/>
              <a:gd name="connsiteY197" fmla="*/ 4356139 h 6858000"/>
              <a:gd name="connsiteX198" fmla="*/ 3364433 w 7467600"/>
              <a:gd name="connsiteY198" fmla="*/ 3953121 h 6858000"/>
              <a:gd name="connsiteX199" fmla="*/ 3316479 w 7467600"/>
              <a:gd name="connsiteY199" fmla="*/ 3872136 h 6858000"/>
              <a:gd name="connsiteX200" fmla="*/ 3291335 w 7467600"/>
              <a:gd name="connsiteY200" fmla="*/ 3767420 h 6858000"/>
              <a:gd name="connsiteX201" fmla="*/ 3390805 w 7467600"/>
              <a:gd name="connsiteY201" fmla="*/ 3937163 h 6858000"/>
              <a:gd name="connsiteX202" fmla="*/ 3579062 w 7467600"/>
              <a:gd name="connsiteY202" fmla="*/ 4359040 h 6858000"/>
              <a:gd name="connsiteX203" fmla="*/ 3467355 w 7467600"/>
              <a:gd name="connsiteY203" fmla="*/ 3988130 h 6858000"/>
              <a:gd name="connsiteX204" fmla="*/ 3310753 w 7467600"/>
              <a:gd name="connsiteY204" fmla="*/ 3787140 h 6858000"/>
              <a:gd name="connsiteX205" fmla="*/ 3291335 w 7467600"/>
              <a:gd name="connsiteY205" fmla="*/ 3767420 h 6858000"/>
              <a:gd name="connsiteX206" fmla="*/ 1635889 w 7467600"/>
              <a:gd name="connsiteY206" fmla="*/ 3709494 h 6858000"/>
              <a:gd name="connsiteX207" fmla="*/ 1634800 w 7467600"/>
              <a:gd name="connsiteY207" fmla="*/ 3731111 h 6858000"/>
              <a:gd name="connsiteX208" fmla="*/ 1635889 w 7467600"/>
              <a:gd name="connsiteY208" fmla="*/ 3709494 h 6858000"/>
              <a:gd name="connsiteX209" fmla="*/ 1510397 w 7467600"/>
              <a:gd name="connsiteY209" fmla="*/ 3684705 h 6858000"/>
              <a:gd name="connsiteX210" fmla="*/ 1146550 w 7467600"/>
              <a:gd name="connsiteY210" fmla="*/ 3802012 h 6858000"/>
              <a:gd name="connsiteX211" fmla="*/ 698834 w 7467600"/>
              <a:gd name="connsiteY211" fmla="*/ 3952272 h 6858000"/>
              <a:gd name="connsiteX212" fmla="*/ 34256 w 7467600"/>
              <a:gd name="connsiteY212" fmla="*/ 4347603 h 6858000"/>
              <a:gd name="connsiteX213" fmla="*/ 527241 w 7467600"/>
              <a:gd name="connsiteY213" fmla="*/ 4065078 h 6858000"/>
              <a:gd name="connsiteX214" fmla="*/ 1510397 w 7467600"/>
              <a:gd name="connsiteY214" fmla="*/ 3684705 h 6858000"/>
              <a:gd name="connsiteX215" fmla="*/ 1313114 w 7467600"/>
              <a:gd name="connsiteY215" fmla="*/ 3655216 h 6858000"/>
              <a:gd name="connsiteX216" fmla="*/ 1109304 w 7467600"/>
              <a:gd name="connsiteY216" fmla="*/ 3669030 h 6858000"/>
              <a:gd name="connsiteX217" fmla="*/ 8129 w 7467600"/>
              <a:gd name="connsiteY217" fmla="*/ 4330519 h 6858000"/>
              <a:gd name="connsiteX218" fmla="*/ 687572 w 7467600"/>
              <a:gd name="connsiteY218" fmla="*/ 3925629 h 6858000"/>
              <a:gd name="connsiteX219" fmla="*/ 1138365 w 7467600"/>
              <a:gd name="connsiteY219" fmla="*/ 3774515 h 6858000"/>
              <a:gd name="connsiteX220" fmla="*/ 1505579 w 7467600"/>
              <a:gd name="connsiteY220" fmla="*/ 3655526 h 6858000"/>
              <a:gd name="connsiteX221" fmla="*/ 1313114 w 7467600"/>
              <a:gd name="connsiteY221" fmla="*/ 3655216 h 6858000"/>
              <a:gd name="connsiteX222" fmla="*/ 3655073 w 7467600"/>
              <a:gd name="connsiteY222" fmla="*/ 3650884 h 6858000"/>
              <a:gd name="connsiteX223" fmla="*/ 3989938 w 7467600"/>
              <a:gd name="connsiteY223" fmla="*/ 3991685 h 6858000"/>
              <a:gd name="connsiteX224" fmla="*/ 4393907 w 7467600"/>
              <a:gd name="connsiteY224" fmla="*/ 4261258 h 6858000"/>
              <a:gd name="connsiteX225" fmla="*/ 4648051 w 7467600"/>
              <a:gd name="connsiteY225" fmla="*/ 4374051 h 6858000"/>
              <a:gd name="connsiteX226" fmla="*/ 4383389 w 7467600"/>
              <a:gd name="connsiteY226" fmla="*/ 4184369 h 6858000"/>
              <a:gd name="connsiteX227" fmla="*/ 4165508 w 7467600"/>
              <a:gd name="connsiteY227" fmla="*/ 4035196 h 6858000"/>
              <a:gd name="connsiteX228" fmla="*/ 4068162 w 7467600"/>
              <a:gd name="connsiteY228" fmla="*/ 3953394 h 6858000"/>
              <a:gd name="connsiteX229" fmla="*/ 3981416 w 7467600"/>
              <a:gd name="connsiteY229" fmla="*/ 3880482 h 6858000"/>
              <a:gd name="connsiteX230" fmla="*/ 3800147 w 7467600"/>
              <a:gd name="connsiteY230" fmla="*/ 3749872 h 6858000"/>
              <a:gd name="connsiteX231" fmla="*/ 3655073 w 7467600"/>
              <a:gd name="connsiteY231" fmla="*/ 3650884 h 6858000"/>
              <a:gd name="connsiteX232" fmla="*/ 3670252 w 7467600"/>
              <a:gd name="connsiteY232" fmla="*/ 3622798 h 6858000"/>
              <a:gd name="connsiteX233" fmla="*/ 3817258 w 7467600"/>
              <a:gd name="connsiteY233" fmla="*/ 3723577 h 6858000"/>
              <a:gd name="connsiteX234" fmla="*/ 4000461 w 7467600"/>
              <a:gd name="connsiteY234" fmla="*/ 3855966 h 6858000"/>
              <a:gd name="connsiteX235" fmla="*/ 4088180 w 7467600"/>
              <a:gd name="connsiteY235" fmla="*/ 3929774 h 6858000"/>
              <a:gd name="connsiteX236" fmla="*/ 4184555 w 7467600"/>
              <a:gd name="connsiteY236" fmla="*/ 4010683 h 6858000"/>
              <a:gd name="connsiteX237" fmla="*/ 4399563 w 7467600"/>
              <a:gd name="connsiteY237" fmla="*/ 4158106 h 6858000"/>
              <a:gd name="connsiteX238" fmla="*/ 4684469 w 7467600"/>
              <a:gd name="connsiteY238" fmla="*/ 4364680 h 6858000"/>
              <a:gd name="connsiteX239" fmla="*/ 4690271 w 7467600"/>
              <a:gd name="connsiteY239" fmla="*/ 4370034 h 6858000"/>
              <a:gd name="connsiteX240" fmla="*/ 4136093 w 7467600"/>
              <a:gd name="connsiteY240" fmla="*/ 3858466 h 6858000"/>
              <a:gd name="connsiteX241" fmla="*/ 3670252 w 7467600"/>
              <a:gd name="connsiteY241" fmla="*/ 3622798 h 6858000"/>
              <a:gd name="connsiteX242" fmla="*/ 4440129 w 7467600"/>
              <a:gd name="connsiteY242" fmla="*/ 3448571 h 6858000"/>
              <a:gd name="connsiteX243" fmla="*/ 4856525 w 7467600"/>
              <a:gd name="connsiteY243" fmla="*/ 3915351 h 6858000"/>
              <a:gd name="connsiteX244" fmla="*/ 5059055 w 7467600"/>
              <a:gd name="connsiteY244" fmla="*/ 4108918 h 6858000"/>
              <a:gd name="connsiteX245" fmla="*/ 5290070 w 7467600"/>
              <a:gd name="connsiteY245" fmla="*/ 4263619 h 6858000"/>
              <a:gd name="connsiteX246" fmla="*/ 4834991 w 7467600"/>
              <a:gd name="connsiteY246" fmla="*/ 3830985 h 6858000"/>
              <a:gd name="connsiteX247" fmla="*/ 4440129 w 7467600"/>
              <a:gd name="connsiteY247" fmla="*/ 3448571 h 6858000"/>
              <a:gd name="connsiteX248" fmla="*/ 4441737 w 7467600"/>
              <a:gd name="connsiteY248" fmla="*/ 3399734 h 6858000"/>
              <a:gd name="connsiteX249" fmla="*/ 4431236 w 7467600"/>
              <a:gd name="connsiteY249" fmla="*/ 3400954 h 6858000"/>
              <a:gd name="connsiteX250" fmla="*/ 4557150 w 7467600"/>
              <a:gd name="connsiteY250" fmla="*/ 3510023 h 6858000"/>
              <a:gd name="connsiteX251" fmla="*/ 4856936 w 7467600"/>
              <a:gd name="connsiteY251" fmla="*/ 3809146 h 6858000"/>
              <a:gd name="connsiteX252" fmla="*/ 5111996 w 7467600"/>
              <a:gd name="connsiteY252" fmla="*/ 4065759 h 6858000"/>
              <a:gd name="connsiteX253" fmla="*/ 5388878 w 7467600"/>
              <a:gd name="connsiteY253" fmla="*/ 4300185 h 6858000"/>
              <a:gd name="connsiteX254" fmla="*/ 5425556 w 7467600"/>
              <a:gd name="connsiteY254" fmla="*/ 4308967 h 6858000"/>
              <a:gd name="connsiteX255" fmla="*/ 4943646 w 7467600"/>
              <a:gd name="connsiteY255" fmla="*/ 3822916 h 6858000"/>
              <a:gd name="connsiteX256" fmla="*/ 4594837 w 7467600"/>
              <a:gd name="connsiteY256" fmla="*/ 3532274 h 6858000"/>
              <a:gd name="connsiteX257" fmla="*/ 4441737 w 7467600"/>
              <a:gd name="connsiteY257" fmla="*/ 3399734 h 6858000"/>
              <a:gd name="connsiteX258" fmla="*/ 5425834 w 7467600"/>
              <a:gd name="connsiteY258" fmla="*/ 3162785 h 6858000"/>
              <a:gd name="connsiteX259" fmla="*/ 5401644 w 7467600"/>
              <a:gd name="connsiteY259" fmla="*/ 3617847 h 6858000"/>
              <a:gd name="connsiteX260" fmla="*/ 5467256 w 7467600"/>
              <a:gd name="connsiteY260" fmla="*/ 4175494 h 6858000"/>
              <a:gd name="connsiteX261" fmla="*/ 5448069 w 7467600"/>
              <a:gd name="connsiteY261" fmla="*/ 3567554 h 6858000"/>
              <a:gd name="connsiteX262" fmla="*/ 5425834 w 7467600"/>
              <a:gd name="connsiteY262" fmla="*/ 3162785 h 6858000"/>
              <a:gd name="connsiteX263" fmla="*/ 1318687 w 7467600"/>
              <a:gd name="connsiteY263" fmla="*/ 3113840 h 6858000"/>
              <a:gd name="connsiteX264" fmla="*/ 1066793 w 7467600"/>
              <a:gd name="connsiteY264" fmla="*/ 3212171 h 6858000"/>
              <a:gd name="connsiteX265" fmla="*/ 993319 w 7467600"/>
              <a:gd name="connsiteY265" fmla="*/ 3247648 h 6858000"/>
              <a:gd name="connsiteX266" fmla="*/ 853081 w 7467600"/>
              <a:gd name="connsiteY266" fmla="*/ 3312410 h 6858000"/>
              <a:gd name="connsiteX267" fmla="*/ 805957 w 7467600"/>
              <a:gd name="connsiteY267" fmla="*/ 3330443 h 6858000"/>
              <a:gd name="connsiteX268" fmla="*/ 1318687 w 7467600"/>
              <a:gd name="connsiteY268" fmla="*/ 3113840 h 6858000"/>
              <a:gd name="connsiteX269" fmla="*/ 5453702 w 7467600"/>
              <a:gd name="connsiteY269" fmla="*/ 3090882 h 6858000"/>
              <a:gd name="connsiteX270" fmla="*/ 5480135 w 7467600"/>
              <a:gd name="connsiteY270" fmla="*/ 3565802 h 6858000"/>
              <a:gd name="connsiteX271" fmla="*/ 5499023 w 7467600"/>
              <a:gd name="connsiteY271" fmla="*/ 4166310 h 6858000"/>
              <a:gd name="connsiteX272" fmla="*/ 5547022 w 7467600"/>
              <a:gd name="connsiteY272" fmla="*/ 3607838 h 6858000"/>
              <a:gd name="connsiteX273" fmla="*/ 5515964 w 7467600"/>
              <a:gd name="connsiteY273" fmla="*/ 3378541 h 6858000"/>
              <a:gd name="connsiteX274" fmla="*/ 5453702 w 7467600"/>
              <a:gd name="connsiteY274" fmla="*/ 3090882 h 6858000"/>
              <a:gd name="connsiteX275" fmla="*/ 1238695 w 7467600"/>
              <a:gd name="connsiteY275" fmla="*/ 3076820 h 6858000"/>
              <a:gd name="connsiteX276" fmla="*/ 716371 w 7467600"/>
              <a:gd name="connsiteY276" fmla="*/ 3293249 h 6858000"/>
              <a:gd name="connsiteX277" fmla="*/ 579522 w 7467600"/>
              <a:gd name="connsiteY277" fmla="*/ 3371759 h 6858000"/>
              <a:gd name="connsiteX278" fmla="*/ 600288 w 7467600"/>
              <a:gd name="connsiteY278" fmla="*/ 3365555 h 6858000"/>
              <a:gd name="connsiteX279" fmla="*/ 840692 w 7467600"/>
              <a:gd name="connsiteY279" fmla="*/ 3284921 h 6858000"/>
              <a:gd name="connsiteX280" fmla="*/ 979248 w 7467600"/>
              <a:gd name="connsiteY280" fmla="*/ 3221003 h 6858000"/>
              <a:gd name="connsiteX281" fmla="*/ 1053282 w 7467600"/>
              <a:gd name="connsiteY281" fmla="*/ 3185247 h 6858000"/>
              <a:gd name="connsiteX282" fmla="*/ 1320603 w 7467600"/>
              <a:gd name="connsiteY282" fmla="*/ 3081281 h 6858000"/>
              <a:gd name="connsiteX283" fmla="*/ 1238695 w 7467600"/>
              <a:gd name="connsiteY283" fmla="*/ 3076820 h 6858000"/>
              <a:gd name="connsiteX284" fmla="*/ 5425627 w 7467600"/>
              <a:gd name="connsiteY284" fmla="*/ 2954192 h 6858000"/>
              <a:gd name="connsiteX285" fmla="*/ 5470770 w 7467600"/>
              <a:gd name="connsiteY285" fmla="*/ 3005435 h 6858000"/>
              <a:gd name="connsiteX286" fmla="*/ 5519779 w 7467600"/>
              <a:gd name="connsiteY286" fmla="*/ 4359223 h 6858000"/>
              <a:gd name="connsiteX287" fmla="*/ 5520293 w 7467600"/>
              <a:gd name="connsiteY287" fmla="*/ 4360602 h 6858000"/>
              <a:gd name="connsiteX288" fmla="*/ 5767221 w 7467600"/>
              <a:gd name="connsiteY288" fmla="*/ 4665564 h 6858000"/>
              <a:gd name="connsiteX289" fmla="*/ 6937169 w 7467600"/>
              <a:gd name="connsiteY289" fmla="*/ 4815941 h 6858000"/>
              <a:gd name="connsiteX290" fmla="*/ 6953922 w 7467600"/>
              <a:gd name="connsiteY290" fmla="*/ 4890068 h 6858000"/>
              <a:gd name="connsiteX291" fmla="*/ 6071359 w 7467600"/>
              <a:gd name="connsiteY291" fmla="*/ 4770770 h 6858000"/>
              <a:gd name="connsiteX292" fmla="*/ 6038839 w 7467600"/>
              <a:gd name="connsiteY292" fmla="*/ 4764474 h 6858000"/>
              <a:gd name="connsiteX293" fmla="*/ 6038706 w 7467600"/>
              <a:gd name="connsiteY293" fmla="*/ 4763847 h 6858000"/>
              <a:gd name="connsiteX294" fmla="*/ 6037784 w 7467600"/>
              <a:gd name="connsiteY294" fmla="*/ 4764270 h 6858000"/>
              <a:gd name="connsiteX295" fmla="*/ 6038839 w 7467600"/>
              <a:gd name="connsiteY295" fmla="*/ 4764474 h 6858000"/>
              <a:gd name="connsiteX296" fmla="*/ 6040338 w 7467600"/>
              <a:gd name="connsiteY296" fmla="*/ 4771418 h 6858000"/>
              <a:gd name="connsiteX297" fmla="*/ 6024488 w 7467600"/>
              <a:gd name="connsiteY297" fmla="*/ 4809903 h 6858000"/>
              <a:gd name="connsiteX298" fmla="*/ 5599771 w 7467600"/>
              <a:gd name="connsiteY298" fmla="*/ 5509652 h 6858000"/>
              <a:gd name="connsiteX299" fmla="*/ 5548843 w 7467600"/>
              <a:gd name="connsiteY299" fmla="*/ 5563845 h 6858000"/>
              <a:gd name="connsiteX300" fmla="*/ 5940952 w 7467600"/>
              <a:gd name="connsiteY300" fmla="*/ 6250028 h 6858000"/>
              <a:gd name="connsiteX301" fmla="*/ 6043441 w 7467600"/>
              <a:gd name="connsiteY301" fmla="*/ 6665847 h 6858000"/>
              <a:gd name="connsiteX302" fmla="*/ 6093432 w 7467600"/>
              <a:gd name="connsiteY302" fmla="*/ 6858000 h 6858000"/>
              <a:gd name="connsiteX303" fmla="*/ 6034344 w 7467600"/>
              <a:gd name="connsiteY303" fmla="*/ 6858000 h 6858000"/>
              <a:gd name="connsiteX304" fmla="*/ 6026679 w 7467600"/>
              <a:gd name="connsiteY304" fmla="*/ 6836959 h 6858000"/>
              <a:gd name="connsiteX305" fmla="*/ 5800441 w 7467600"/>
              <a:gd name="connsiteY305" fmla="*/ 6335286 h 6858000"/>
              <a:gd name="connsiteX306" fmla="*/ 5526562 w 7467600"/>
              <a:gd name="connsiteY306" fmla="*/ 5705388 h 6858000"/>
              <a:gd name="connsiteX307" fmla="*/ 5519640 w 7467600"/>
              <a:gd name="connsiteY307" fmla="*/ 5683774 h 6858000"/>
              <a:gd name="connsiteX308" fmla="*/ 5844559 w 7467600"/>
              <a:gd name="connsiteY308" fmla="*/ 6553349 h 6858000"/>
              <a:gd name="connsiteX309" fmla="*/ 5975994 w 7467600"/>
              <a:gd name="connsiteY309" fmla="*/ 6858000 h 6858000"/>
              <a:gd name="connsiteX310" fmla="*/ 5898547 w 7467600"/>
              <a:gd name="connsiteY310" fmla="*/ 6858000 h 6858000"/>
              <a:gd name="connsiteX311" fmla="*/ 5682041 w 7467600"/>
              <a:gd name="connsiteY311" fmla="*/ 6355860 h 6858000"/>
              <a:gd name="connsiteX312" fmla="*/ 5461758 w 7467600"/>
              <a:gd name="connsiteY312" fmla="*/ 5820220 h 6858000"/>
              <a:gd name="connsiteX313" fmla="*/ 5237282 w 7467600"/>
              <a:gd name="connsiteY313" fmla="*/ 6579086 h 6858000"/>
              <a:gd name="connsiteX314" fmla="*/ 5115009 w 7467600"/>
              <a:gd name="connsiteY314" fmla="*/ 6858000 h 6858000"/>
              <a:gd name="connsiteX315" fmla="*/ 5028074 w 7467600"/>
              <a:gd name="connsiteY315" fmla="*/ 6858000 h 6858000"/>
              <a:gd name="connsiteX316" fmla="*/ 5079508 w 7467600"/>
              <a:gd name="connsiteY316" fmla="*/ 6749074 h 6858000"/>
              <a:gd name="connsiteX317" fmla="*/ 5371846 w 7467600"/>
              <a:gd name="connsiteY317" fmla="*/ 5924413 h 6858000"/>
              <a:gd name="connsiteX318" fmla="*/ 5270512 w 7467600"/>
              <a:gd name="connsiteY318" fmla="*/ 6138975 h 6858000"/>
              <a:gd name="connsiteX319" fmla="*/ 5062409 w 7467600"/>
              <a:gd name="connsiteY319" fmla="*/ 6653544 h 6858000"/>
              <a:gd name="connsiteX320" fmla="*/ 5036628 w 7467600"/>
              <a:gd name="connsiteY320" fmla="*/ 6754247 h 6858000"/>
              <a:gd name="connsiteX321" fmla="*/ 5009112 w 7467600"/>
              <a:gd name="connsiteY321" fmla="*/ 6858000 h 6858000"/>
              <a:gd name="connsiteX322" fmla="*/ 4976679 w 7467600"/>
              <a:gd name="connsiteY322" fmla="*/ 6858000 h 6858000"/>
              <a:gd name="connsiteX323" fmla="*/ 5006537 w 7467600"/>
              <a:gd name="connsiteY323" fmla="*/ 6747068 h 6858000"/>
              <a:gd name="connsiteX324" fmla="*/ 5032723 w 7467600"/>
              <a:gd name="connsiteY324" fmla="*/ 6644957 h 6858000"/>
              <a:gd name="connsiteX325" fmla="*/ 5242949 w 7467600"/>
              <a:gd name="connsiteY325" fmla="*/ 6125175 h 6858000"/>
              <a:gd name="connsiteX326" fmla="*/ 5286321 w 7467600"/>
              <a:gd name="connsiteY326" fmla="*/ 6033555 h 6858000"/>
              <a:gd name="connsiteX327" fmla="*/ 5008210 w 7467600"/>
              <a:gd name="connsiteY327" fmla="*/ 6649194 h 6858000"/>
              <a:gd name="connsiteX328" fmla="*/ 4986321 w 7467600"/>
              <a:gd name="connsiteY328" fmla="*/ 6765687 h 6858000"/>
              <a:gd name="connsiteX329" fmla="*/ 4973474 w 7467600"/>
              <a:gd name="connsiteY329" fmla="*/ 6858000 h 6858000"/>
              <a:gd name="connsiteX330" fmla="*/ 4907178 w 7467600"/>
              <a:gd name="connsiteY330" fmla="*/ 6858000 h 6858000"/>
              <a:gd name="connsiteX331" fmla="*/ 4910810 w 7467600"/>
              <a:gd name="connsiteY331" fmla="*/ 6829660 h 6858000"/>
              <a:gd name="connsiteX332" fmla="*/ 4987461 w 7467600"/>
              <a:gd name="connsiteY332" fmla="*/ 6432994 h 6858000"/>
              <a:gd name="connsiteX333" fmla="*/ 5179262 w 7467600"/>
              <a:gd name="connsiteY333" fmla="*/ 6035044 h 6858000"/>
              <a:gd name="connsiteX334" fmla="*/ 4689678 w 7467600"/>
              <a:gd name="connsiteY334" fmla="*/ 6440241 h 6858000"/>
              <a:gd name="connsiteX335" fmla="*/ 4477543 w 7467600"/>
              <a:gd name="connsiteY335" fmla="*/ 6674836 h 6858000"/>
              <a:gd name="connsiteX336" fmla="*/ 4329957 w 7467600"/>
              <a:gd name="connsiteY336" fmla="*/ 6858000 h 6858000"/>
              <a:gd name="connsiteX337" fmla="*/ 4218595 w 7467600"/>
              <a:gd name="connsiteY337" fmla="*/ 6858000 h 6858000"/>
              <a:gd name="connsiteX338" fmla="*/ 4368888 w 7467600"/>
              <a:gd name="connsiteY338" fmla="*/ 6668412 h 6858000"/>
              <a:gd name="connsiteX339" fmla="*/ 4563091 w 7467600"/>
              <a:gd name="connsiteY339" fmla="*/ 6442508 h 6858000"/>
              <a:gd name="connsiteX340" fmla="*/ 5387324 w 7467600"/>
              <a:gd name="connsiteY340" fmla="*/ 5705830 h 6858000"/>
              <a:gd name="connsiteX341" fmla="*/ 5073620 w 7467600"/>
              <a:gd name="connsiteY341" fmla="*/ 5955437 h 6858000"/>
              <a:gd name="connsiteX342" fmla="*/ 4689789 w 7467600"/>
              <a:gd name="connsiteY342" fmla="*/ 6268382 h 6858000"/>
              <a:gd name="connsiteX343" fmla="*/ 4418722 w 7467600"/>
              <a:gd name="connsiteY343" fmla="*/ 6570886 h 6858000"/>
              <a:gd name="connsiteX344" fmla="*/ 4214944 w 7467600"/>
              <a:gd name="connsiteY344" fmla="*/ 6858000 h 6858000"/>
              <a:gd name="connsiteX345" fmla="*/ 4177898 w 7467600"/>
              <a:gd name="connsiteY345" fmla="*/ 6858000 h 6858000"/>
              <a:gd name="connsiteX346" fmla="*/ 4391597 w 7467600"/>
              <a:gd name="connsiteY346" fmla="*/ 6556370 h 6858000"/>
              <a:gd name="connsiteX347" fmla="*/ 4668889 w 7467600"/>
              <a:gd name="connsiteY347" fmla="*/ 6246399 h 6858000"/>
              <a:gd name="connsiteX348" fmla="*/ 5055427 w 7467600"/>
              <a:gd name="connsiteY348" fmla="*/ 5931476 h 6858000"/>
              <a:gd name="connsiteX349" fmla="*/ 5371814 w 7467600"/>
              <a:gd name="connsiteY349" fmla="*/ 5678975 h 6858000"/>
              <a:gd name="connsiteX350" fmla="*/ 4987918 w 7467600"/>
              <a:gd name="connsiteY350" fmla="*/ 5838701 h 6858000"/>
              <a:gd name="connsiteX351" fmla="*/ 4317146 w 7467600"/>
              <a:gd name="connsiteY351" fmla="*/ 6587716 h 6858000"/>
              <a:gd name="connsiteX352" fmla="*/ 4171627 w 7467600"/>
              <a:gd name="connsiteY352" fmla="*/ 6858000 h 6858000"/>
              <a:gd name="connsiteX353" fmla="*/ 4081585 w 7467600"/>
              <a:gd name="connsiteY353" fmla="*/ 6858000 h 6858000"/>
              <a:gd name="connsiteX354" fmla="*/ 4238603 w 7467600"/>
              <a:gd name="connsiteY354" fmla="*/ 6559341 h 6858000"/>
              <a:gd name="connsiteX355" fmla="*/ 4778333 w 7467600"/>
              <a:gd name="connsiteY355" fmla="*/ 5873626 h 6858000"/>
              <a:gd name="connsiteX356" fmla="*/ 5414185 w 7467600"/>
              <a:gd name="connsiteY356" fmla="*/ 5573882 h 6858000"/>
              <a:gd name="connsiteX357" fmla="*/ 5959648 w 7467600"/>
              <a:gd name="connsiteY357" fmla="*/ 4760797 h 6858000"/>
              <a:gd name="connsiteX358" fmla="*/ 5355019 w 7467600"/>
              <a:gd name="connsiteY358" fmla="*/ 4734672 h 6858000"/>
              <a:gd name="connsiteX359" fmla="*/ 5083565 w 7467600"/>
              <a:gd name="connsiteY359" fmla="*/ 5179121 h 6858000"/>
              <a:gd name="connsiteX360" fmla="*/ 4713577 w 7467600"/>
              <a:gd name="connsiteY360" fmla="*/ 5616803 h 6858000"/>
              <a:gd name="connsiteX361" fmla="*/ 3989559 w 7467600"/>
              <a:gd name="connsiteY361" fmla="*/ 6145945 h 6858000"/>
              <a:gd name="connsiteX362" fmla="*/ 3939824 w 7467600"/>
              <a:gd name="connsiteY362" fmla="*/ 6066900 h 6858000"/>
              <a:gd name="connsiteX363" fmla="*/ 4584537 w 7467600"/>
              <a:gd name="connsiteY363" fmla="*/ 5324826 h 6858000"/>
              <a:gd name="connsiteX364" fmla="*/ 5037105 w 7467600"/>
              <a:gd name="connsiteY364" fmla="*/ 5088765 h 6858000"/>
              <a:gd name="connsiteX365" fmla="*/ 5039930 w 7467600"/>
              <a:gd name="connsiteY365" fmla="*/ 5089585 h 6858000"/>
              <a:gd name="connsiteX366" fmla="*/ 5263764 w 7467600"/>
              <a:gd name="connsiteY366" fmla="*/ 4735525 h 6858000"/>
              <a:gd name="connsiteX367" fmla="*/ 4086300 w 7467600"/>
              <a:gd name="connsiteY367" fmla="*/ 4884599 h 6858000"/>
              <a:gd name="connsiteX368" fmla="*/ 4085485 w 7467600"/>
              <a:gd name="connsiteY368" fmla="*/ 4899070 h 6858000"/>
              <a:gd name="connsiteX369" fmla="*/ 3871915 w 7467600"/>
              <a:gd name="connsiteY369" fmla="*/ 5253645 h 6858000"/>
              <a:gd name="connsiteX370" fmla="*/ 3799374 w 7467600"/>
              <a:gd name="connsiteY370" fmla="*/ 5466127 h 6858000"/>
              <a:gd name="connsiteX371" fmla="*/ 3498850 w 7467600"/>
              <a:gd name="connsiteY371" fmla="*/ 6661888 h 6858000"/>
              <a:gd name="connsiteX372" fmla="*/ 3399216 w 7467600"/>
              <a:gd name="connsiteY372" fmla="*/ 6858000 h 6858000"/>
              <a:gd name="connsiteX373" fmla="*/ 3303688 w 7467600"/>
              <a:gd name="connsiteY373" fmla="*/ 6858000 h 6858000"/>
              <a:gd name="connsiteX374" fmla="*/ 3391774 w 7467600"/>
              <a:gd name="connsiteY374" fmla="*/ 6697181 h 6858000"/>
              <a:gd name="connsiteX375" fmla="*/ 3735540 w 7467600"/>
              <a:gd name="connsiteY375" fmla="*/ 5546923 h 6858000"/>
              <a:gd name="connsiteX376" fmla="*/ 3729438 w 7467600"/>
              <a:gd name="connsiteY376" fmla="*/ 5569058 h 6858000"/>
              <a:gd name="connsiteX377" fmla="*/ 3707782 w 7467600"/>
              <a:gd name="connsiteY377" fmla="*/ 5644908 h 6858000"/>
              <a:gd name="connsiteX378" fmla="*/ 3583827 w 7467600"/>
              <a:gd name="connsiteY378" fmla="*/ 6039215 h 6858000"/>
              <a:gd name="connsiteX379" fmla="*/ 3547861 w 7467600"/>
              <a:gd name="connsiteY379" fmla="*/ 6129609 h 6858000"/>
              <a:gd name="connsiteX380" fmla="*/ 3490905 w 7467600"/>
              <a:gd name="connsiteY380" fmla="*/ 6277660 h 6858000"/>
              <a:gd name="connsiteX381" fmla="*/ 3455859 w 7467600"/>
              <a:gd name="connsiteY381" fmla="*/ 6391301 h 6858000"/>
              <a:gd name="connsiteX382" fmla="*/ 3429112 w 7467600"/>
              <a:gd name="connsiteY382" fmla="*/ 6479469 h 6858000"/>
              <a:gd name="connsiteX383" fmla="*/ 3304862 w 7467600"/>
              <a:gd name="connsiteY383" fmla="*/ 6796476 h 6858000"/>
              <a:gd name="connsiteX384" fmla="*/ 3276071 w 7467600"/>
              <a:gd name="connsiteY384" fmla="*/ 6858000 h 6858000"/>
              <a:gd name="connsiteX385" fmla="*/ 3240805 w 7467600"/>
              <a:gd name="connsiteY385" fmla="*/ 6858000 h 6858000"/>
              <a:gd name="connsiteX386" fmla="*/ 3275917 w 7467600"/>
              <a:gd name="connsiteY386" fmla="*/ 6783192 h 6858000"/>
              <a:gd name="connsiteX387" fmla="*/ 3399358 w 7467600"/>
              <a:gd name="connsiteY387" fmla="*/ 6469011 h 6858000"/>
              <a:gd name="connsiteX388" fmla="*/ 3425650 w 7467600"/>
              <a:gd name="connsiteY388" fmla="*/ 6381333 h 6858000"/>
              <a:gd name="connsiteX389" fmla="*/ 3460661 w 7467600"/>
              <a:gd name="connsiteY389" fmla="*/ 6266763 h 6858000"/>
              <a:gd name="connsiteX390" fmla="*/ 3518021 w 7467600"/>
              <a:gd name="connsiteY390" fmla="*/ 6117298 h 6858000"/>
              <a:gd name="connsiteX391" fmla="*/ 3554035 w 7467600"/>
              <a:gd name="connsiteY391" fmla="*/ 6027832 h 6858000"/>
              <a:gd name="connsiteX392" fmla="*/ 3677174 w 7467600"/>
              <a:gd name="connsiteY392" fmla="*/ 5636351 h 6858000"/>
              <a:gd name="connsiteX393" fmla="*/ 3698819 w 7467600"/>
              <a:gd name="connsiteY393" fmla="*/ 5560503 h 6858000"/>
              <a:gd name="connsiteX394" fmla="*/ 3702094 w 7467600"/>
              <a:gd name="connsiteY394" fmla="*/ 5549194 h 6858000"/>
              <a:gd name="connsiteX395" fmla="*/ 3398355 w 7467600"/>
              <a:gd name="connsiteY395" fmla="*/ 6094603 h 6858000"/>
              <a:gd name="connsiteX396" fmla="*/ 3193941 w 7467600"/>
              <a:gd name="connsiteY396" fmla="*/ 6798775 h 6858000"/>
              <a:gd name="connsiteX397" fmla="*/ 3184140 w 7467600"/>
              <a:gd name="connsiteY397" fmla="*/ 6858000 h 6858000"/>
              <a:gd name="connsiteX398" fmla="*/ 3099978 w 7467600"/>
              <a:gd name="connsiteY398" fmla="*/ 6858000 h 6858000"/>
              <a:gd name="connsiteX399" fmla="*/ 3101556 w 7467600"/>
              <a:gd name="connsiteY399" fmla="*/ 6843337 h 6858000"/>
              <a:gd name="connsiteX400" fmla="*/ 3370162 w 7467600"/>
              <a:gd name="connsiteY400" fmla="*/ 5785550 h 6858000"/>
              <a:gd name="connsiteX401" fmla="*/ 3746477 w 7467600"/>
              <a:gd name="connsiteY401" fmla="*/ 5377889 h 6858000"/>
              <a:gd name="connsiteX402" fmla="*/ 3863399 w 7467600"/>
              <a:gd name="connsiteY402" fmla="*/ 5087257 h 6858000"/>
              <a:gd name="connsiteX403" fmla="*/ 3968712 w 7467600"/>
              <a:gd name="connsiteY403" fmla="*/ 4913989 h 6858000"/>
              <a:gd name="connsiteX404" fmla="*/ 2792390 w 7467600"/>
              <a:gd name="connsiteY404" fmla="*/ 5382974 h 6858000"/>
              <a:gd name="connsiteX405" fmla="*/ 2714982 w 7467600"/>
              <a:gd name="connsiteY405" fmla="*/ 5427051 h 6858000"/>
              <a:gd name="connsiteX406" fmla="*/ 2813361 w 7467600"/>
              <a:gd name="connsiteY406" fmla="*/ 6023912 h 6858000"/>
              <a:gd name="connsiteX407" fmla="*/ 2688430 w 7467600"/>
              <a:gd name="connsiteY407" fmla="*/ 6801564 h 6858000"/>
              <a:gd name="connsiteX408" fmla="*/ 2629626 w 7467600"/>
              <a:gd name="connsiteY408" fmla="*/ 6763394 h 6858000"/>
              <a:gd name="connsiteX409" fmla="*/ 2565328 w 7467600"/>
              <a:gd name="connsiteY409" fmla="*/ 5516399 h 6858000"/>
              <a:gd name="connsiteX410" fmla="*/ 1922999 w 7467600"/>
              <a:gd name="connsiteY410" fmla="*/ 5980343 h 6858000"/>
              <a:gd name="connsiteX411" fmla="*/ 1950261 w 7467600"/>
              <a:gd name="connsiteY411" fmla="*/ 6405858 h 6858000"/>
              <a:gd name="connsiteX412" fmla="*/ 2365554 w 7467600"/>
              <a:gd name="connsiteY412" fmla="*/ 6759107 h 6858000"/>
              <a:gd name="connsiteX413" fmla="*/ 2424142 w 7467600"/>
              <a:gd name="connsiteY413" fmla="*/ 6858000 h 6858000"/>
              <a:gd name="connsiteX414" fmla="*/ 2395994 w 7467600"/>
              <a:gd name="connsiteY414" fmla="*/ 6858000 h 6858000"/>
              <a:gd name="connsiteX415" fmla="*/ 2392863 w 7467600"/>
              <a:gd name="connsiteY415" fmla="*/ 6852964 h 6858000"/>
              <a:gd name="connsiteX416" fmla="*/ 2017589 w 7467600"/>
              <a:gd name="connsiteY416" fmla="*/ 6493982 h 6858000"/>
              <a:gd name="connsiteX417" fmla="*/ 2147336 w 7467600"/>
              <a:gd name="connsiteY417" fmla="*/ 6594052 h 6858000"/>
              <a:gd name="connsiteX418" fmla="*/ 2207047 w 7467600"/>
              <a:gd name="connsiteY418" fmla="*/ 6654540 h 6858000"/>
              <a:gd name="connsiteX419" fmla="*/ 2299106 w 7467600"/>
              <a:gd name="connsiteY419" fmla="*/ 6778931 h 6858000"/>
              <a:gd name="connsiteX420" fmla="*/ 2314430 w 7467600"/>
              <a:gd name="connsiteY420" fmla="*/ 6801144 h 6858000"/>
              <a:gd name="connsiteX421" fmla="*/ 2352406 w 7467600"/>
              <a:gd name="connsiteY421" fmla="*/ 6858000 h 6858000"/>
              <a:gd name="connsiteX422" fmla="*/ 2314492 w 7467600"/>
              <a:gd name="connsiteY422" fmla="*/ 6858000 h 6858000"/>
              <a:gd name="connsiteX423" fmla="*/ 2288095 w 7467600"/>
              <a:gd name="connsiteY423" fmla="*/ 6818030 h 6858000"/>
              <a:gd name="connsiteX424" fmla="*/ 2272768 w 7467600"/>
              <a:gd name="connsiteY424" fmla="*/ 6795822 h 6858000"/>
              <a:gd name="connsiteX425" fmla="*/ 2182715 w 7467600"/>
              <a:gd name="connsiteY425" fmla="*/ 6675071 h 6858000"/>
              <a:gd name="connsiteX426" fmla="*/ 2032061 w 7467600"/>
              <a:gd name="connsiteY426" fmla="*/ 6541380 h 6858000"/>
              <a:gd name="connsiteX427" fmla="*/ 2257220 w 7467600"/>
              <a:gd name="connsiteY427" fmla="*/ 6826257 h 6858000"/>
              <a:gd name="connsiteX428" fmla="*/ 2281324 w 7467600"/>
              <a:gd name="connsiteY428" fmla="*/ 6858000 h 6858000"/>
              <a:gd name="connsiteX429" fmla="*/ 2242860 w 7467600"/>
              <a:gd name="connsiteY429" fmla="*/ 6858000 h 6858000"/>
              <a:gd name="connsiteX430" fmla="*/ 2232818 w 7467600"/>
              <a:gd name="connsiteY430" fmla="*/ 6844926 h 6858000"/>
              <a:gd name="connsiteX431" fmla="*/ 1990172 w 7467600"/>
              <a:gd name="connsiteY431" fmla="*/ 6542121 h 6858000"/>
              <a:gd name="connsiteX432" fmla="*/ 2124090 w 7467600"/>
              <a:gd name="connsiteY432" fmla="*/ 6761017 h 6858000"/>
              <a:gd name="connsiteX433" fmla="*/ 2200380 w 7467600"/>
              <a:gd name="connsiteY433" fmla="*/ 6858000 h 6858000"/>
              <a:gd name="connsiteX434" fmla="*/ 2147507 w 7467600"/>
              <a:gd name="connsiteY434" fmla="*/ 6858000 h 6858000"/>
              <a:gd name="connsiteX435" fmla="*/ 2070668 w 7467600"/>
              <a:gd name="connsiteY435" fmla="*/ 6761520 h 6858000"/>
              <a:gd name="connsiteX436" fmla="*/ 1975142 w 7467600"/>
              <a:gd name="connsiteY436" fmla="*/ 6585570 h 6858000"/>
              <a:gd name="connsiteX437" fmla="*/ 2050035 w 7467600"/>
              <a:gd name="connsiteY437" fmla="*/ 6813345 h 6858000"/>
              <a:gd name="connsiteX438" fmla="*/ 2063025 w 7467600"/>
              <a:gd name="connsiteY438" fmla="*/ 6858000 h 6858000"/>
              <a:gd name="connsiteX439" fmla="*/ 2021675 w 7467600"/>
              <a:gd name="connsiteY439" fmla="*/ 6858000 h 6858000"/>
              <a:gd name="connsiteX440" fmla="*/ 2019308 w 7467600"/>
              <a:gd name="connsiteY440" fmla="*/ 6847118 h 6858000"/>
              <a:gd name="connsiteX441" fmla="*/ 1938835 w 7467600"/>
              <a:gd name="connsiteY441" fmla="*/ 6551160 h 6858000"/>
              <a:gd name="connsiteX442" fmla="*/ 1953230 w 7467600"/>
              <a:gd name="connsiteY442" fmla="*/ 6759699 h 6858000"/>
              <a:gd name="connsiteX443" fmla="*/ 1956763 w 7467600"/>
              <a:gd name="connsiteY443" fmla="*/ 6778191 h 6858000"/>
              <a:gd name="connsiteX444" fmla="*/ 1967925 w 7467600"/>
              <a:gd name="connsiteY444" fmla="*/ 6858000 h 6858000"/>
              <a:gd name="connsiteX445" fmla="*/ 1936622 w 7467600"/>
              <a:gd name="connsiteY445" fmla="*/ 6858000 h 6858000"/>
              <a:gd name="connsiteX446" fmla="*/ 1926261 w 7467600"/>
              <a:gd name="connsiteY446" fmla="*/ 6784064 h 6858000"/>
              <a:gd name="connsiteX447" fmla="*/ 1922724 w 7467600"/>
              <a:gd name="connsiteY447" fmla="*/ 6765577 h 6858000"/>
              <a:gd name="connsiteX448" fmla="*/ 1904650 w 7467600"/>
              <a:gd name="connsiteY448" fmla="*/ 6639616 h 6858000"/>
              <a:gd name="connsiteX449" fmla="*/ 1885273 w 7467600"/>
              <a:gd name="connsiteY449" fmla="*/ 6858000 h 6858000"/>
              <a:gd name="connsiteX450" fmla="*/ 1854363 w 7467600"/>
              <a:gd name="connsiteY450" fmla="*/ 6858000 h 6858000"/>
              <a:gd name="connsiteX451" fmla="*/ 1880391 w 7467600"/>
              <a:gd name="connsiteY451" fmla="*/ 6603796 h 6858000"/>
              <a:gd name="connsiteX452" fmla="*/ 1818273 w 7467600"/>
              <a:gd name="connsiteY452" fmla="*/ 6715729 h 6858000"/>
              <a:gd name="connsiteX453" fmla="*/ 1794691 w 7467600"/>
              <a:gd name="connsiteY453" fmla="*/ 6843239 h 6858000"/>
              <a:gd name="connsiteX454" fmla="*/ 1794914 w 7467600"/>
              <a:gd name="connsiteY454" fmla="*/ 6858000 h 6858000"/>
              <a:gd name="connsiteX455" fmla="*/ 1746128 w 7467600"/>
              <a:gd name="connsiteY455" fmla="*/ 6858000 h 6858000"/>
              <a:gd name="connsiteX456" fmla="*/ 1753934 w 7467600"/>
              <a:gd name="connsiteY456" fmla="*/ 6724796 h 6858000"/>
              <a:gd name="connsiteX457" fmla="*/ 1792053 w 7467600"/>
              <a:gd name="connsiteY457" fmla="*/ 6572396 h 6858000"/>
              <a:gd name="connsiteX458" fmla="*/ 1862248 w 7467600"/>
              <a:gd name="connsiteY458" fmla="*/ 6266397 h 6858000"/>
              <a:gd name="connsiteX459" fmla="*/ 1862250 w 7467600"/>
              <a:gd name="connsiteY459" fmla="*/ 6033531 h 6858000"/>
              <a:gd name="connsiteX460" fmla="*/ 1211999 w 7467600"/>
              <a:gd name="connsiteY460" fmla="*/ 6683610 h 6858000"/>
              <a:gd name="connsiteX461" fmla="*/ 1213266 w 7467600"/>
              <a:gd name="connsiteY461" fmla="*/ 6691947 h 6858000"/>
              <a:gd name="connsiteX462" fmla="*/ 1203370 w 7467600"/>
              <a:gd name="connsiteY462" fmla="*/ 6850676 h 6858000"/>
              <a:gd name="connsiteX463" fmla="*/ 1203671 w 7467600"/>
              <a:gd name="connsiteY463" fmla="*/ 6858000 h 6858000"/>
              <a:gd name="connsiteX464" fmla="*/ 1143180 w 7467600"/>
              <a:gd name="connsiteY464" fmla="*/ 6858000 h 6858000"/>
              <a:gd name="connsiteX465" fmla="*/ 1142176 w 7467600"/>
              <a:gd name="connsiteY465" fmla="*/ 6766045 h 6858000"/>
              <a:gd name="connsiteX466" fmla="*/ 1067484 w 7467600"/>
              <a:gd name="connsiteY466" fmla="*/ 6858000 h 6858000"/>
              <a:gd name="connsiteX467" fmla="*/ 953928 w 7467600"/>
              <a:gd name="connsiteY467" fmla="*/ 6858000 h 6858000"/>
              <a:gd name="connsiteX468" fmla="*/ 959715 w 7467600"/>
              <a:gd name="connsiteY468" fmla="*/ 6850185 h 6858000"/>
              <a:gd name="connsiteX469" fmla="*/ 1483788 w 7467600"/>
              <a:gd name="connsiteY469" fmla="*/ 6259174 h 6858000"/>
              <a:gd name="connsiteX470" fmla="*/ 1100671 w 7467600"/>
              <a:gd name="connsiteY470" fmla="*/ 6252137 h 6858000"/>
              <a:gd name="connsiteX471" fmla="*/ 1090144 w 7467600"/>
              <a:gd name="connsiteY471" fmla="*/ 6256748 h 6858000"/>
              <a:gd name="connsiteX472" fmla="*/ 1095872 w 7467600"/>
              <a:gd name="connsiteY472" fmla="*/ 6271892 h 6858000"/>
              <a:gd name="connsiteX473" fmla="*/ 262785 w 7467600"/>
              <a:gd name="connsiteY473" fmla="*/ 6845450 h 6858000"/>
              <a:gd name="connsiteX474" fmla="*/ 209968 w 7467600"/>
              <a:gd name="connsiteY474" fmla="*/ 6770713 h 6858000"/>
              <a:gd name="connsiteX475" fmla="*/ 873460 w 7467600"/>
              <a:gd name="connsiteY475" fmla="*/ 6253768 h 6858000"/>
              <a:gd name="connsiteX476" fmla="*/ 192686 w 7467600"/>
              <a:gd name="connsiteY476" fmla="*/ 5849257 h 6858000"/>
              <a:gd name="connsiteX477" fmla="*/ 4696 w 7467600"/>
              <a:gd name="connsiteY477" fmla="*/ 5697668 h 6858000"/>
              <a:gd name="connsiteX478" fmla="*/ 0 w 7467600"/>
              <a:gd name="connsiteY478" fmla="*/ 5689984 h 6858000"/>
              <a:gd name="connsiteX479" fmla="*/ 0 w 7467600"/>
              <a:gd name="connsiteY479" fmla="*/ 5513472 h 6858000"/>
              <a:gd name="connsiteX480" fmla="*/ 174101 w 7467600"/>
              <a:gd name="connsiteY480" fmla="*/ 5620277 h 6858000"/>
              <a:gd name="connsiteX481" fmla="*/ 891800 w 7467600"/>
              <a:gd name="connsiteY481" fmla="*/ 6036935 h 6858000"/>
              <a:gd name="connsiteX482" fmla="*/ 1072219 w 7467600"/>
              <a:gd name="connsiteY482" fmla="*/ 6169443 h 6858000"/>
              <a:gd name="connsiteX483" fmla="*/ 1074117 w 7467600"/>
              <a:gd name="connsiteY483" fmla="*/ 6170301 h 6858000"/>
              <a:gd name="connsiteX484" fmla="*/ 1083114 w 7467600"/>
              <a:gd name="connsiteY484" fmla="*/ 6174131 h 6858000"/>
              <a:gd name="connsiteX485" fmla="*/ 1543010 w 7467600"/>
              <a:gd name="connsiteY485" fmla="*/ 6191140 h 6858000"/>
              <a:gd name="connsiteX486" fmla="*/ 1551080 w 7467600"/>
              <a:gd name="connsiteY486" fmla="*/ 6195006 h 6858000"/>
              <a:gd name="connsiteX487" fmla="*/ 2345443 w 7467600"/>
              <a:gd name="connsiteY487" fmla="*/ 5549882 h 6858000"/>
              <a:gd name="connsiteX488" fmla="*/ 1721499 w 7467600"/>
              <a:gd name="connsiteY488" fmla="*/ 5599969 h 6858000"/>
              <a:gd name="connsiteX489" fmla="*/ 767716 w 7467600"/>
              <a:gd name="connsiteY489" fmla="*/ 5472768 h 6858000"/>
              <a:gd name="connsiteX490" fmla="*/ 722147 w 7467600"/>
              <a:gd name="connsiteY490" fmla="*/ 5393091 h 6858000"/>
              <a:gd name="connsiteX491" fmla="*/ 1485552 w 7467600"/>
              <a:gd name="connsiteY491" fmla="*/ 5313202 h 6858000"/>
              <a:gd name="connsiteX492" fmla="*/ 2143004 w 7467600"/>
              <a:gd name="connsiteY492" fmla="*/ 5402420 h 6858000"/>
              <a:gd name="connsiteX493" fmla="*/ 1933391 w 7467600"/>
              <a:gd name="connsiteY493" fmla="*/ 5156971 h 6858000"/>
              <a:gd name="connsiteX494" fmla="*/ 1827118 w 7467600"/>
              <a:gd name="connsiteY494" fmla="*/ 4968410 h 6858000"/>
              <a:gd name="connsiteX495" fmla="*/ 1837349 w 7467600"/>
              <a:gd name="connsiteY495" fmla="*/ 4956357 h 6858000"/>
              <a:gd name="connsiteX496" fmla="*/ 2162835 w 7467600"/>
              <a:gd name="connsiteY496" fmla="*/ 5187853 h 6858000"/>
              <a:gd name="connsiteX497" fmla="*/ 2257167 w 7467600"/>
              <a:gd name="connsiteY497" fmla="*/ 5462123 h 6858000"/>
              <a:gd name="connsiteX498" fmla="*/ 2261598 w 7467600"/>
              <a:gd name="connsiteY498" fmla="*/ 5467998 h 6858000"/>
              <a:gd name="connsiteX499" fmla="*/ 2437177 w 7467600"/>
              <a:gd name="connsiteY499" fmla="*/ 5479608 h 6858000"/>
              <a:gd name="connsiteX500" fmla="*/ 2445247 w 7467600"/>
              <a:gd name="connsiteY500" fmla="*/ 5483476 h 6858000"/>
              <a:gd name="connsiteX501" fmla="*/ 2743626 w 7467600"/>
              <a:gd name="connsiteY501" fmla="*/ 5304819 h 6858000"/>
              <a:gd name="connsiteX502" fmla="*/ 3048102 w 7467600"/>
              <a:gd name="connsiteY502" fmla="*/ 5150595 h 6858000"/>
              <a:gd name="connsiteX503" fmla="*/ 1799414 w 7467600"/>
              <a:gd name="connsiteY503" fmla="*/ 4694732 h 6858000"/>
              <a:gd name="connsiteX504" fmla="*/ 1771735 w 7467600"/>
              <a:gd name="connsiteY504" fmla="*/ 4619929 h 6858000"/>
              <a:gd name="connsiteX505" fmla="*/ 3104273 w 7467600"/>
              <a:gd name="connsiteY505" fmla="*/ 5076159 h 6858000"/>
              <a:gd name="connsiteX506" fmla="*/ 3113245 w 7467600"/>
              <a:gd name="connsiteY506" fmla="*/ 5090705 h 6858000"/>
              <a:gd name="connsiteX507" fmla="*/ 3126294 w 7467600"/>
              <a:gd name="connsiteY507" fmla="*/ 5114400 h 6858000"/>
              <a:gd name="connsiteX508" fmla="*/ 3937433 w 7467600"/>
              <a:gd name="connsiteY508" fmla="*/ 4830473 h 6858000"/>
              <a:gd name="connsiteX509" fmla="*/ 3590475 w 7467600"/>
              <a:gd name="connsiteY509" fmla="*/ 4597974 h 6858000"/>
              <a:gd name="connsiteX510" fmla="*/ 3100264 w 7467600"/>
              <a:gd name="connsiteY510" fmla="*/ 4579845 h 6858000"/>
              <a:gd name="connsiteX511" fmla="*/ 2183576 w 7467600"/>
              <a:gd name="connsiteY511" fmla="*/ 4227150 h 6858000"/>
              <a:gd name="connsiteX512" fmla="*/ 2151029 w 7467600"/>
              <a:gd name="connsiteY512" fmla="*/ 4146947 h 6858000"/>
              <a:gd name="connsiteX513" fmla="*/ 3563434 w 7467600"/>
              <a:gd name="connsiteY513" fmla="*/ 4469115 h 6858000"/>
              <a:gd name="connsiteX514" fmla="*/ 3177952 w 7467600"/>
              <a:gd name="connsiteY514" fmla="*/ 3657386 h 6858000"/>
              <a:gd name="connsiteX515" fmla="*/ 3189263 w 7467600"/>
              <a:gd name="connsiteY515" fmla="*/ 3625726 h 6858000"/>
              <a:gd name="connsiteX516" fmla="*/ 3560912 w 7467600"/>
              <a:gd name="connsiteY516" fmla="*/ 4079863 h 6858000"/>
              <a:gd name="connsiteX517" fmla="*/ 3626636 w 7467600"/>
              <a:gd name="connsiteY517" fmla="*/ 4512230 h 6858000"/>
              <a:gd name="connsiteX518" fmla="*/ 3653088 w 7467600"/>
              <a:gd name="connsiteY518" fmla="*/ 4521417 h 6858000"/>
              <a:gd name="connsiteX519" fmla="*/ 3988128 w 7467600"/>
              <a:gd name="connsiteY519" fmla="*/ 4817267 h 6858000"/>
              <a:gd name="connsiteX520" fmla="*/ 4830582 w 7467600"/>
              <a:gd name="connsiteY520" fmla="*/ 4676000 h 6858000"/>
              <a:gd name="connsiteX521" fmla="*/ 4830100 w 7467600"/>
              <a:gd name="connsiteY521" fmla="*/ 4675554 h 6858000"/>
              <a:gd name="connsiteX522" fmla="*/ 4036318 w 7467600"/>
              <a:gd name="connsiteY522" fmla="*/ 4147013 h 6858000"/>
              <a:gd name="connsiteX523" fmla="*/ 3432098 w 7467600"/>
              <a:gd name="connsiteY523" fmla="*/ 3537312 h 6858000"/>
              <a:gd name="connsiteX524" fmla="*/ 3446761 w 7467600"/>
              <a:gd name="connsiteY524" fmla="*/ 3461278 h 6858000"/>
              <a:gd name="connsiteX525" fmla="*/ 4419733 w 7467600"/>
              <a:gd name="connsiteY525" fmla="*/ 3963555 h 6858000"/>
              <a:gd name="connsiteX526" fmla="*/ 4781371 w 7467600"/>
              <a:gd name="connsiteY526" fmla="*/ 4458604 h 6858000"/>
              <a:gd name="connsiteX527" fmla="*/ 4780440 w 7467600"/>
              <a:gd name="connsiteY527" fmla="*/ 4470290 h 6858000"/>
              <a:gd name="connsiteX528" fmla="*/ 4898954 w 7467600"/>
              <a:gd name="connsiteY528" fmla="*/ 4662092 h 6858000"/>
              <a:gd name="connsiteX529" fmla="*/ 4900699 w 7467600"/>
              <a:gd name="connsiteY529" fmla="*/ 4670867 h 6858000"/>
              <a:gd name="connsiteX530" fmla="*/ 5714511 w 7467600"/>
              <a:gd name="connsiteY530" fmla="*/ 4663483 h 6858000"/>
              <a:gd name="connsiteX531" fmla="*/ 5464793 w 7467600"/>
              <a:gd name="connsiteY531" fmla="*/ 4393556 h 6858000"/>
              <a:gd name="connsiteX532" fmla="*/ 5461897 w 7467600"/>
              <a:gd name="connsiteY532" fmla="*/ 4390879 h 6858000"/>
              <a:gd name="connsiteX533" fmla="*/ 4294126 w 7467600"/>
              <a:gd name="connsiteY533" fmla="*/ 3303048 h 6858000"/>
              <a:gd name="connsiteX534" fmla="*/ 4305321 w 7467600"/>
              <a:gd name="connsiteY534" fmla="*/ 3256953 h 6858000"/>
              <a:gd name="connsiteX535" fmla="*/ 4949299 w 7467600"/>
              <a:gd name="connsiteY535" fmla="*/ 3766336 h 6858000"/>
              <a:gd name="connsiteX536" fmla="*/ 5291452 w 7467600"/>
              <a:gd name="connsiteY536" fmla="*/ 4076801 h 6858000"/>
              <a:gd name="connsiteX537" fmla="*/ 5434998 w 7467600"/>
              <a:gd name="connsiteY537" fmla="*/ 4254100 h 6858000"/>
              <a:gd name="connsiteX538" fmla="*/ 5351015 w 7467600"/>
              <a:gd name="connsiteY538" fmla="*/ 3760989 h 6858000"/>
              <a:gd name="connsiteX539" fmla="*/ 5413780 w 7467600"/>
              <a:gd name="connsiteY539" fmla="*/ 2966265 h 6858000"/>
              <a:gd name="connsiteX540" fmla="*/ 5425627 w 7467600"/>
              <a:gd name="connsiteY540" fmla="*/ 2954192 h 6858000"/>
              <a:gd name="connsiteX541" fmla="*/ 6604735 w 7467600"/>
              <a:gd name="connsiteY541" fmla="*/ 2041381 h 6858000"/>
              <a:gd name="connsiteX542" fmla="*/ 7204487 w 7467600"/>
              <a:gd name="connsiteY542" fmla="*/ 2742112 h 6858000"/>
              <a:gd name="connsiteX543" fmla="*/ 7131592 w 7467600"/>
              <a:gd name="connsiteY543" fmla="*/ 2672096 h 6858000"/>
              <a:gd name="connsiteX544" fmla="*/ 6996344 w 7467600"/>
              <a:gd name="connsiteY544" fmla="*/ 2518310 h 6858000"/>
              <a:gd name="connsiteX545" fmla="*/ 6735495 w 7467600"/>
              <a:gd name="connsiteY545" fmla="*/ 2196890 h 6858000"/>
              <a:gd name="connsiteX546" fmla="*/ 6721901 w 7467600"/>
              <a:gd name="connsiteY546" fmla="*/ 2179274 h 6858000"/>
              <a:gd name="connsiteX547" fmla="*/ 6604735 w 7467600"/>
              <a:gd name="connsiteY547" fmla="*/ 2041381 h 6858000"/>
              <a:gd name="connsiteX548" fmla="*/ 6591670 w 7467600"/>
              <a:gd name="connsiteY548" fmla="*/ 1988277 h 6858000"/>
              <a:gd name="connsiteX549" fmla="*/ 6747349 w 7467600"/>
              <a:gd name="connsiteY549" fmla="*/ 2160069 h 6858000"/>
              <a:gd name="connsiteX550" fmla="*/ 6760943 w 7467600"/>
              <a:gd name="connsiteY550" fmla="*/ 2177686 h 6858000"/>
              <a:gd name="connsiteX551" fmla="*/ 7021065 w 7467600"/>
              <a:gd name="connsiteY551" fmla="*/ 2498102 h 6858000"/>
              <a:gd name="connsiteX552" fmla="*/ 7155223 w 7467600"/>
              <a:gd name="connsiteY552" fmla="*/ 2650386 h 6858000"/>
              <a:gd name="connsiteX553" fmla="*/ 7203167 w 7467600"/>
              <a:gd name="connsiteY553" fmla="*/ 2697288 h 6858000"/>
              <a:gd name="connsiteX554" fmla="*/ 6937703 w 7467600"/>
              <a:gd name="connsiteY554" fmla="*/ 2321981 h 6858000"/>
              <a:gd name="connsiteX555" fmla="*/ 6591670 w 7467600"/>
              <a:gd name="connsiteY555" fmla="*/ 1988277 h 6858000"/>
              <a:gd name="connsiteX556" fmla="*/ 5798671 w 7467600"/>
              <a:gd name="connsiteY556" fmla="*/ 1981601 h 6858000"/>
              <a:gd name="connsiteX557" fmla="*/ 5754709 w 7467600"/>
              <a:gd name="connsiteY557" fmla="*/ 2071454 h 6858000"/>
              <a:gd name="connsiteX558" fmla="*/ 5763044 w 7467600"/>
              <a:gd name="connsiteY558" fmla="*/ 2842206 h 6858000"/>
              <a:gd name="connsiteX559" fmla="*/ 5764974 w 7467600"/>
              <a:gd name="connsiteY559" fmla="*/ 2799609 h 6858000"/>
              <a:gd name="connsiteX560" fmla="*/ 5767665 w 7467600"/>
              <a:gd name="connsiteY560" fmla="*/ 2666409 h 6858000"/>
              <a:gd name="connsiteX561" fmla="*/ 5763055 w 7467600"/>
              <a:gd name="connsiteY561" fmla="*/ 2579705 h 6858000"/>
              <a:gd name="connsiteX562" fmla="*/ 5758079 w 7467600"/>
              <a:gd name="connsiteY562" fmla="*/ 2492508 h 6858000"/>
              <a:gd name="connsiteX563" fmla="*/ 5779325 w 7467600"/>
              <a:gd name="connsiteY563" fmla="*/ 2197069 h 6858000"/>
              <a:gd name="connsiteX564" fmla="*/ 5798671 w 7467600"/>
              <a:gd name="connsiteY564" fmla="*/ 1981601 h 6858000"/>
              <a:gd name="connsiteX565" fmla="*/ 5829202 w 7467600"/>
              <a:gd name="connsiteY565" fmla="*/ 1971679 h 6858000"/>
              <a:gd name="connsiteX566" fmla="*/ 5809558 w 7467600"/>
              <a:gd name="connsiteY566" fmla="*/ 2198043 h 6858000"/>
              <a:gd name="connsiteX567" fmla="*/ 5788653 w 7467600"/>
              <a:gd name="connsiteY567" fmla="*/ 2489430 h 6858000"/>
              <a:gd name="connsiteX568" fmla="*/ 5793439 w 7467600"/>
              <a:gd name="connsiteY568" fmla="*/ 2575235 h 6858000"/>
              <a:gd name="connsiteX569" fmla="*/ 5796837 w 7467600"/>
              <a:gd name="connsiteY569" fmla="*/ 2637633 h 6858000"/>
              <a:gd name="connsiteX570" fmla="*/ 5818614 w 7467600"/>
              <a:gd name="connsiteY570" fmla="*/ 2473055 h 6858000"/>
              <a:gd name="connsiteX571" fmla="*/ 5829202 w 7467600"/>
              <a:gd name="connsiteY571" fmla="*/ 1971679 h 6858000"/>
              <a:gd name="connsiteX572" fmla="*/ 5911389 w 7467600"/>
              <a:gd name="connsiteY572" fmla="*/ 1898371 h 6858000"/>
              <a:gd name="connsiteX573" fmla="*/ 6237627 w 7467600"/>
              <a:gd name="connsiteY573" fmla="*/ 2231921 h 6858000"/>
              <a:gd name="connsiteX574" fmla="*/ 5911389 w 7467600"/>
              <a:gd name="connsiteY574" fmla="*/ 1898371 h 6858000"/>
              <a:gd name="connsiteX575" fmla="*/ 6944437 w 7467600"/>
              <a:gd name="connsiteY575" fmla="*/ 1575402 h 6858000"/>
              <a:gd name="connsiteX576" fmla="*/ 6304730 w 7467600"/>
              <a:gd name="connsiteY576" fmla="*/ 1766654 h 6858000"/>
              <a:gd name="connsiteX577" fmla="*/ 6944437 w 7467600"/>
              <a:gd name="connsiteY577" fmla="*/ 1575402 h 6858000"/>
              <a:gd name="connsiteX578" fmla="*/ 7019523 w 7467600"/>
              <a:gd name="connsiteY578" fmla="*/ 1519450 h 6858000"/>
              <a:gd name="connsiteX579" fmla="*/ 6298091 w 7467600"/>
              <a:gd name="connsiteY579" fmla="*/ 1737122 h 6858000"/>
              <a:gd name="connsiteX580" fmla="*/ 7019523 w 7467600"/>
              <a:gd name="connsiteY580" fmla="*/ 1519450 h 6858000"/>
              <a:gd name="connsiteX581" fmla="*/ 2399523 w 7467600"/>
              <a:gd name="connsiteY581" fmla="*/ 1428234 h 6858000"/>
              <a:gd name="connsiteX582" fmla="*/ 2224982 w 7467600"/>
              <a:gd name="connsiteY582" fmla="*/ 1826201 h 6858000"/>
              <a:gd name="connsiteX583" fmla="*/ 2096099 w 7467600"/>
              <a:gd name="connsiteY583" fmla="*/ 2345900 h 6858000"/>
              <a:gd name="connsiteX584" fmla="*/ 2283317 w 7467600"/>
              <a:gd name="connsiteY584" fmla="*/ 1796925 h 6858000"/>
              <a:gd name="connsiteX585" fmla="*/ 2399523 w 7467600"/>
              <a:gd name="connsiteY585" fmla="*/ 1428234 h 6858000"/>
              <a:gd name="connsiteX586" fmla="*/ 2448558 w 7467600"/>
              <a:gd name="connsiteY586" fmla="*/ 1373435 h 6858000"/>
              <a:gd name="connsiteX587" fmla="*/ 2312521 w 7467600"/>
              <a:gd name="connsiteY587" fmla="*/ 1806140 h 6858000"/>
              <a:gd name="connsiteX588" fmla="*/ 2127533 w 7467600"/>
              <a:gd name="connsiteY588" fmla="*/ 2348380 h 6858000"/>
              <a:gd name="connsiteX589" fmla="*/ 2358080 w 7467600"/>
              <a:gd name="connsiteY589" fmla="*/ 1866134 h 6858000"/>
              <a:gd name="connsiteX590" fmla="*/ 2407436 w 7467600"/>
              <a:gd name="connsiteY590" fmla="*/ 1651070 h 6858000"/>
              <a:gd name="connsiteX591" fmla="*/ 2448558 w 7467600"/>
              <a:gd name="connsiteY591" fmla="*/ 1373435 h 6858000"/>
              <a:gd name="connsiteX592" fmla="*/ 278707 w 7467600"/>
              <a:gd name="connsiteY592" fmla="*/ 1352270 h 6858000"/>
              <a:gd name="connsiteX593" fmla="*/ 321570 w 7467600"/>
              <a:gd name="connsiteY593" fmla="*/ 1861610 h 6858000"/>
              <a:gd name="connsiteX594" fmla="*/ 294281 w 7467600"/>
              <a:gd name="connsiteY594" fmla="*/ 1440658 h 6858000"/>
              <a:gd name="connsiteX595" fmla="*/ 278707 w 7467600"/>
              <a:gd name="connsiteY595" fmla="*/ 1352270 h 6858000"/>
              <a:gd name="connsiteX596" fmla="*/ 1423821 w 7467600"/>
              <a:gd name="connsiteY596" fmla="*/ 1351958 h 6858000"/>
              <a:gd name="connsiteX597" fmla="*/ 1638521 w 7467600"/>
              <a:gd name="connsiteY597" fmla="*/ 1908470 h 6858000"/>
              <a:gd name="connsiteX598" fmla="*/ 1754199 w 7467600"/>
              <a:gd name="connsiteY598" fmla="*/ 2149284 h 6858000"/>
              <a:gd name="connsiteX599" fmla="*/ 1908359 w 7467600"/>
              <a:gd name="connsiteY599" fmla="*/ 2364988 h 6858000"/>
              <a:gd name="connsiteX600" fmla="*/ 1647661 w 7467600"/>
              <a:gd name="connsiteY600" fmla="*/ 1825945 h 6858000"/>
              <a:gd name="connsiteX601" fmla="*/ 1423821 w 7467600"/>
              <a:gd name="connsiteY601" fmla="*/ 1351958 h 6858000"/>
              <a:gd name="connsiteX602" fmla="*/ 1431890 w 7467600"/>
              <a:gd name="connsiteY602" fmla="*/ 1306475 h 6858000"/>
              <a:gd name="connsiteX603" fmla="*/ 1507597 w 7467600"/>
              <a:gd name="connsiteY603" fmla="*/ 1446132 h 6858000"/>
              <a:gd name="connsiteX604" fmla="*/ 1674586 w 7467600"/>
              <a:gd name="connsiteY604" fmla="*/ 1813832 h 6858000"/>
              <a:gd name="connsiteX605" fmla="*/ 1815950 w 7467600"/>
              <a:gd name="connsiteY605" fmla="*/ 2128564 h 6858000"/>
              <a:gd name="connsiteX606" fmla="*/ 1984242 w 7467600"/>
              <a:gd name="connsiteY606" fmla="*/ 2430829 h 6858000"/>
              <a:gd name="connsiteX607" fmla="*/ 2014023 w 7467600"/>
              <a:gd name="connsiteY607" fmla="*/ 2450995 h 6858000"/>
              <a:gd name="connsiteX608" fmla="*/ 1747337 w 7467600"/>
              <a:gd name="connsiteY608" fmla="*/ 1855264 h 6858000"/>
              <a:gd name="connsiteX609" fmla="*/ 1533749 w 7467600"/>
              <a:gd name="connsiteY609" fmla="*/ 1478656 h 6858000"/>
              <a:gd name="connsiteX610" fmla="*/ 1431890 w 7467600"/>
              <a:gd name="connsiteY610" fmla="*/ 1306475 h 6858000"/>
              <a:gd name="connsiteX611" fmla="*/ 5052692 w 7467600"/>
              <a:gd name="connsiteY611" fmla="*/ 1292994 h 6858000"/>
              <a:gd name="connsiteX612" fmla="*/ 5200661 w 7467600"/>
              <a:gd name="connsiteY612" fmla="*/ 1635186 h 6858000"/>
              <a:gd name="connsiteX613" fmla="*/ 5297138 w 7467600"/>
              <a:gd name="connsiteY613" fmla="*/ 1906351 h 6858000"/>
              <a:gd name="connsiteX614" fmla="*/ 5052692 w 7467600"/>
              <a:gd name="connsiteY614" fmla="*/ 1292994 h 6858000"/>
              <a:gd name="connsiteX615" fmla="*/ 5009948 w 7467600"/>
              <a:gd name="connsiteY615" fmla="*/ 1273619 h 6858000"/>
              <a:gd name="connsiteX616" fmla="*/ 5121777 w 7467600"/>
              <a:gd name="connsiteY616" fmla="*/ 1654213 h 6858000"/>
              <a:gd name="connsiteX617" fmla="*/ 5293545 w 7467600"/>
              <a:gd name="connsiteY617" fmla="*/ 2072247 h 6858000"/>
              <a:gd name="connsiteX618" fmla="*/ 5294042 w 7467600"/>
              <a:gd name="connsiteY618" fmla="*/ 2065019 h 6858000"/>
              <a:gd name="connsiteX619" fmla="*/ 5171936 w 7467600"/>
              <a:gd name="connsiteY619" fmla="*/ 1647613 h 6858000"/>
              <a:gd name="connsiteX620" fmla="*/ 5009948 w 7467600"/>
              <a:gd name="connsiteY620" fmla="*/ 1273619 h 6858000"/>
              <a:gd name="connsiteX621" fmla="*/ 655236 w 7467600"/>
              <a:gd name="connsiteY621" fmla="*/ 1268632 h 6858000"/>
              <a:gd name="connsiteX622" fmla="*/ 839521 w 7467600"/>
              <a:gd name="connsiteY622" fmla="*/ 1685315 h 6858000"/>
              <a:gd name="connsiteX623" fmla="*/ 1109416 w 7467600"/>
              <a:gd name="connsiteY623" fmla="*/ 2061663 h 6858000"/>
              <a:gd name="connsiteX624" fmla="*/ 1298300 w 7467600"/>
              <a:gd name="connsiteY624" fmla="*/ 2247742 h 6858000"/>
              <a:gd name="connsiteX625" fmla="*/ 1125871 w 7467600"/>
              <a:gd name="connsiteY625" fmla="*/ 1989513 h 6858000"/>
              <a:gd name="connsiteX626" fmla="*/ 981574 w 7467600"/>
              <a:gd name="connsiteY626" fmla="*/ 1783157 h 6858000"/>
              <a:gd name="connsiteX627" fmla="*/ 922198 w 7467600"/>
              <a:gd name="connsiteY627" fmla="*/ 1677437 h 6858000"/>
              <a:gd name="connsiteX628" fmla="*/ 869293 w 7467600"/>
              <a:gd name="connsiteY628" fmla="*/ 1583214 h 6858000"/>
              <a:gd name="connsiteX629" fmla="*/ 751431 w 7467600"/>
              <a:gd name="connsiteY629" fmla="*/ 1405731 h 6858000"/>
              <a:gd name="connsiteX630" fmla="*/ 655236 w 7467600"/>
              <a:gd name="connsiteY630" fmla="*/ 1268632 h 6858000"/>
              <a:gd name="connsiteX631" fmla="*/ 6516292 w 7467600"/>
              <a:gd name="connsiteY631" fmla="*/ 1263064 h 6858000"/>
              <a:gd name="connsiteX632" fmla="*/ 5736320 w 7467600"/>
              <a:gd name="connsiteY632" fmla="*/ 1501803 h 6858000"/>
              <a:gd name="connsiteX633" fmla="*/ 6516292 w 7467600"/>
              <a:gd name="connsiteY633" fmla="*/ 1263064 h 6858000"/>
              <a:gd name="connsiteX634" fmla="*/ 291466 w 7467600"/>
              <a:gd name="connsiteY634" fmla="*/ 1250369 h 6858000"/>
              <a:gd name="connsiteX635" fmla="*/ 323180 w 7467600"/>
              <a:gd name="connsiteY635" fmla="*/ 1435283 h 6858000"/>
              <a:gd name="connsiteX636" fmla="*/ 349381 w 7467600"/>
              <a:gd name="connsiteY636" fmla="*/ 1875041 h 6858000"/>
              <a:gd name="connsiteX637" fmla="*/ 374363 w 7467600"/>
              <a:gd name="connsiteY637" fmla="*/ 1506494 h 6858000"/>
              <a:gd name="connsiteX638" fmla="*/ 302168 w 7467600"/>
              <a:gd name="connsiteY638" fmla="*/ 1274495 h 6858000"/>
              <a:gd name="connsiteX639" fmla="*/ 291466 w 7467600"/>
              <a:gd name="connsiteY639" fmla="*/ 1250369 h 6858000"/>
              <a:gd name="connsiteX640" fmla="*/ 678222 w 7467600"/>
              <a:gd name="connsiteY640" fmla="*/ 1248670 h 6858000"/>
              <a:gd name="connsiteX641" fmla="*/ 775536 w 7467600"/>
              <a:gd name="connsiteY641" fmla="*/ 1388015 h 6858000"/>
              <a:gd name="connsiteX642" fmla="*/ 894529 w 7467600"/>
              <a:gd name="connsiteY642" fmla="*/ 1567739 h 6858000"/>
              <a:gd name="connsiteX643" fmla="*/ 948000 w 7467600"/>
              <a:gd name="connsiteY643" fmla="*/ 1663088 h 6858000"/>
              <a:gd name="connsiteX644" fmla="*/ 1006812 w 7467600"/>
              <a:gd name="connsiteY644" fmla="*/ 1767683 h 6858000"/>
              <a:gd name="connsiteX645" fmla="*/ 1149133 w 7467600"/>
              <a:gd name="connsiteY645" fmla="*/ 1971513 h 6858000"/>
              <a:gd name="connsiteX646" fmla="*/ 1333952 w 7467600"/>
              <a:gd name="connsiteY646" fmla="*/ 2251620 h 6858000"/>
              <a:gd name="connsiteX647" fmla="*/ 1337329 w 7467600"/>
              <a:gd name="connsiteY647" fmla="*/ 2258350 h 6858000"/>
              <a:gd name="connsiteX648" fmla="*/ 1014726 w 7467600"/>
              <a:gd name="connsiteY648" fmla="*/ 1615556 h 6858000"/>
              <a:gd name="connsiteX649" fmla="*/ 678222 w 7467600"/>
              <a:gd name="connsiteY649" fmla="*/ 1248670 h 6858000"/>
              <a:gd name="connsiteX650" fmla="*/ 6691602 w 7467600"/>
              <a:gd name="connsiteY650" fmla="*/ 1140573 h 6858000"/>
              <a:gd name="connsiteX651" fmla="*/ 6571100 w 7467600"/>
              <a:gd name="connsiteY651" fmla="*/ 1183662 h 6858000"/>
              <a:gd name="connsiteX652" fmla="*/ 6241687 w 7467600"/>
              <a:gd name="connsiteY652" fmla="*/ 1257600 h 6858000"/>
              <a:gd name="connsiteX653" fmla="*/ 5693009 w 7467600"/>
              <a:gd name="connsiteY653" fmla="*/ 1478256 h 6858000"/>
              <a:gd name="connsiteX654" fmla="*/ 6548420 w 7467600"/>
              <a:gd name="connsiteY654" fmla="*/ 1214599 h 6858000"/>
              <a:gd name="connsiteX655" fmla="*/ 6605473 w 7467600"/>
              <a:gd name="connsiteY655" fmla="*/ 1184686 h 6858000"/>
              <a:gd name="connsiteX656" fmla="*/ 6691602 w 7467600"/>
              <a:gd name="connsiteY656" fmla="*/ 1140573 h 6858000"/>
              <a:gd name="connsiteX657" fmla="*/ 4002475 w 7467600"/>
              <a:gd name="connsiteY657" fmla="*/ 1037802 h 6858000"/>
              <a:gd name="connsiteX658" fmla="*/ 4000324 w 7467600"/>
              <a:gd name="connsiteY658" fmla="*/ 1039362 h 6858000"/>
              <a:gd name="connsiteX659" fmla="*/ 4002862 w 7467600"/>
              <a:gd name="connsiteY659" fmla="*/ 1042866 h 6858000"/>
              <a:gd name="connsiteX660" fmla="*/ 4002475 w 7467600"/>
              <a:gd name="connsiteY660" fmla="*/ 1037802 h 6858000"/>
              <a:gd name="connsiteX661" fmla="*/ 506322 w 7467600"/>
              <a:gd name="connsiteY661" fmla="*/ 1020997 h 6858000"/>
              <a:gd name="connsiteX662" fmla="*/ 533068 w 7467600"/>
              <a:gd name="connsiteY662" fmla="*/ 1029409 h 6858000"/>
              <a:gd name="connsiteX663" fmla="*/ 1232525 w 7467600"/>
              <a:gd name="connsiteY663" fmla="*/ 1804675 h 6858000"/>
              <a:gd name="connsiteX664" fmla="*/ 1388858 w 7467600"/>
              <a:gd name="connsiteY664" fmla="*/ 2368011 h 6858000"/>
              <a:gd name="connsiteX665" fmla="*/ 1384098 w 7467600"/>
              <a:gd name="connsiteY665" fmla="*/ 2378125 h 6858000"/>
              <a:gd name="connsiteX666" fmla="*/ 1425393 w 7467600"/>
              <a:gd name="connsiteY666" fmla="*/ 2589124 h 6858000"/>
              <a:gd name="connsiteX667" fmla="*/ 1424001 w 7467600"/>
              <a:gd name="connsiteY667" fmla="*/ 2597541 h 6858000"/>
              <a:gd name="connsiteX668" fmla="*/ 2152729 w 7467600"/>
              <a:gd name="connsiteY668" fmla="*/ 2864487 h 6858000"/>
              <a:gd name="connsiteX669" fmla="*/ 2020609 w 7467600"/>
              <a:gd name="connsiteY669" fmla="*/ 2539671 h 6858000"/>
              <a:gd name="connsiteX670" fmla="*/ 2018920 w 7467600"/>
              <a:gd name="connsiteY670" fmla="*/ 2536309 h 6858000"/>
              <a:gd name="connsiteX671" fmla="*/ 1342441 w 7467600"/>
              <a:gd name="connsiteY671" fmla="*/ 1173017 h 6858000"/>
              <a:gd name="connsiteX672" fmla="*/ 1367925 w 7467600"/>
              <a:gd name="connsiteY672" fmla="*/ 1135648 h 6858000"/>
              <a:gd name="connsiteX673" fmla="*/ 1771401 w 7467600"/>
              <a:gd name="connsiteY673" fmla="*/ 1806673 h 6858000"/>
              <a:gd name="connsiteX674" fmla="*/ 1972385 w 7467600"/>
              <a:gd name="connsiteY674" fmla="*/ 2198735 h 6858000"/>
              <a:gd name="connsiteX675" fmla="*/ 2040892 w 7467600"/>
              <a:gd name="connsiteY675" fmla="*/ 2405205 h 6858000"/>
              <a:gd name="connsiteX676" fmla="*/ 2131689 w 7467600"/>
              <a:gd name="connsiteY676" fmla="*/ 1936926 h 6858000"/>
              <a:gd name="connsiteX677" fmla="*/ 2454820 w 7467600"/>
              <a:gd name="connsiteY677" fmla="*/ 1248808 h 6858000"/>
              <a:gd name="connsiteX678" fmla="*/ 2492512 w 7467600"/>
              <a:gd name="connsiteY678" fmla="*/ 1302920 h 6858000"/>
              <a:gd name="connsiteX679" fmla="*/ 2081216 w 7467600"/>
              <a:gd name="connsiteY679" fmla="*/ 2527513 h 6858000"/>
              <a:gd name="connsiteX680" fmla="*/ 2081211 w 7467600"/>
              <a:gd name="connsiteY680" fmla="*/ 2528916 h 6858000"/>
              <a:gd name="connsiteX681" fmla="*/ 2199067 w 7467600"/>
              <a:gd name="connsiteY681" fmla="*/ 2884061 h 6858000"/>
              <a:gd name="connsiteX682" fmla="*/ 3192586 w 7467600"/>
              <a:gd name="connsiteY682" fmla="*/ 3411496 h 6858000"/>
              <a:gd name="connsiteX683" fmla="*/ 3182620 w 7467600"/>
              <a:gd name="connsiteY683" fmla="*/ 3483279 h 6858000"/>
              <a:gd name="connsiteX684" fmla="*/ 2435119 w 7467600"/>
              <a:gd name="connsiteY684" fmla="*/ 3080173 h 6858000"/>
              <a:gd name="connsiteX685" fmla="*/ 2410152 w 7467600"/>
              <a:gd name="connsiteY685" fmla="*/ 3063751 h 6858000"/>
              <a:gd name="connsiteX686" fmla="*/ 2408099 w 7467600"/>
              <a:gd name="connsiteY686" fmla="*/ 3064403 h 6858000"/>
              <a:gd name="connsiteX687" fmla="*/ 2407218 w 7467600"/>
              <a:gd name="connsiteY687" fmla="*/ 3070324 h 6858000"/>
              <a:gd name="connsiteX688" fmla="*/ 2380138 w 7467600"/>
              <a:gd name="connsiteY688" fmla="*/ 3099341 h 6858000"/>
              <a:gd name="connsiteX689" fmla="*/ 1765923 w 7467600"/>
              <a:gd name="connsiteY689" fmla="*/ 3581043 h 6858000"/>
              <a:gd name="connsiteX690" fmla="*/ 1702258 w 7467600"/>
              <a:gd name="connsiteY690" fmla="*/ 3612286 h 6858000"/>
              <a:gd name="connsiteX691" fmla="*/ 1538370 w 7467600"/>
              <a:gd name="connsiteY691" fmla="*/ 3811804 h 6858000"/>
              <a:gd name="connsiteX692" fmla="*/ 542867 w 7467600"/>
              <a:gd name="connsiteY692" fmla="*/ 4944092 h 6858000"/>
              <a:gd name="connsiteX693" fmla="*/ 515800 w 7467600"/>
              <a:gd name="connsiteY693" fmla="*/ 4862180 h 6858000"/>
              <a:gd name="connsiteX694" fmla="*/ 909145 w 7467600"/>
              <a:gd name="connsiteY694" fmla="*/ 4199225 h 6858000"/>
              <a:gd name="connsiteX695" fmla="*/ 1214067 w 7467600"/>
              <a:gd name="connsiteY695" fmla="*/ 3908561 h 6858000"/>
              <a:gd name="connsiteX696" fmla="*/ 640967 w 7467600"/>
              <a:gd name="connsiteY696" fmla="*/ 4105601 h 6858000"/>
              <a:gd name="connsiteX697" fmla="*/ 112563 w 7467600"/>
              <a:gd name="connsiteY697" fmla="*/ 4396952 h 6858000"/>
              <a:gd name="connsiteX698" fmla="*/ 0 w 7467600"/>
              <a:gd name="connsiteY698" fmla="*/ 4466006 h 6858000"/>
              <a:gd name="connsiteX699" fmla="*/ 0 w 7467600"/>
              <a:gd name="connsiteY699" fmla="*/ 4233763 h 6858000"/>
              <a:gd name="connsiteX700" fmla="*/ 36881 w 7467600"/>
              <a:gd name="connsiteY700" fmla="*/ 4200118 h 6858000"/>
              <a:gd name="connsiteX701" fmla="*/ 910534 w 7467600"/>
              <a:gd name="connsiteY701" fmla="*/ 3629753 h 6858000"/>
              <a:gd name="connsiteX702" fmla="*/ 1578717 w 7467600"/>
              <a:gd name="connsiteY702" fmla="*/ 3575982 h 6858000"/>
              <a:gd name="connsiteX703" fmla="*/ 2338780 w 7467600"/>
              <a:gd name="connsiteY703" fmla="*/ 3033725 h 6858000"/>
              <a:gd name="connsiteX704" fmla="*/ 1807991 w 7467600"/>
              <a:gd name="connsiteY704" fmla="*/ 2807184 h 6858000"/>
              <a:gd name="connsiteX705" fmla="*/ 1416358 w 7467600"/>
              <a:gd name="connsiteY705" fmla="*/ 3112571 h 6858000"/>
              <a:gd name="connsiteX706" fmla="*/ 939066 w 7467600"/>
              <a:gd name="connsiteY706" fmla="*/ 3378798 h 6858000"/>
              <a:gd name="connsiteX707" fmla="*/ 115099 w 7467600"/>
              <a:gd name="connsiteY707" fmla="*/ 3607650 h 6858000"/>
              <a:gd name="connsiteX708" fmla="*/ 97284 w 7467600"/>
              <a:gd name="connsiteY708" fmla="*/ 3520393 h 6858000"/>
              <a:gd name="connsiteX709" fmla="*/ 922050 w 7467600"/>
              <a:gd name="connsiteY709" fmla="*/ 3074867 h 6858000"/>
              <a:gd name="connsiteX710" fmla="*/ 1405265 w 7467600"/>
              <a:gd name="connsiteY710" fmla="*/ 3016319 h 6858000"/>
              <a:gd name="connsiteX711" fmla="*/ 1407512 w 7467600"/>
              <a:gd name="connsiteY711" fmla="*/ 3018001 h 6858000"/>
              <a:gd name="connsiteX712" fmla="*/ 1726266 w 7467600"/>
              <a:gd name="connsiteY712" fmla="*/ 2777274 h 6858000"/>
              <a:gd name="connsiteX713" fmla="*/ 625390 w 7467600"/>
              <a:gd name="connsiteY713" fmla="*/ 2514541 h 6858000"/>
              <a:gd name="connsiteX714" fmla="*/ 619799 w 7467600"/>
              <a:gd name="connsiteY714" fmla="*/ 2527180 h 6858000"/>
              <a:gd name="connsiteX715" fmla="*/ 310030 w 7467600"/>
              <a:gd name="connsiteY715" fmla="*/ 2771818 h 6858000"/>
              <a:gd name="connsiteX716" fmla="*/ 173877 w 7467600"/>
              <a:gd name="connsiteY716" fmla="*/ 2937056 h 6858000"/>
              <a:gd name="connsiteX717" fmla="*/ 77889 w 7467600"/>
              <a:gd name="connsiteY717" fmla="*/ 3138440 h 6858000"/>
              <a:gd name="connsiteX718" fmla="*/ 0 w 7467600"/>
              <a:gd name="connsiteY718" fmla="*/ 3271395 h 6858000"/>
              <a:gd name="connsiteX719" fmla="*/ 0 w 7467600"/>
              <a:gd name="connsiteY719" fmla="*/ 3153002 h 6858000"/>
              <a:gd name="connsiteX720" fmla="*/ 2386 w 7467600"/>
              <a:gd name="connsiteY720" fmla="*/ 3149203 h 6858000"/>
              <a:gd name="connsiteX721" fmla="*/ 89753 w 7467600"/>
              <a:gd name="connsiteY721" fmla="*/ 2987702 h 6858000"/>
              <a:gd name="connsiteX722" fmla="*/ 76869 w 7467600"/>
              <a:gd name="connsiteY722" fmla="*/ 3005404 h 6858000"/>
              <a:gd name="connsiteX723" fmla="*/ 32049 w 7467600"/>
              <a:gd name="connsiteY723" fmla="*/ 3065814 h 6858000"/>
              <a:gd name="connsiteX724" fmla="*/ 0 w 7467600"/>
              <a:gd name="connsiteY724" fmla="*/ 3108744 h 6858000"/>
              <a:gd name="connsiteX725" fmla="*/ 0 w 7467600"/>
              <a:gd name="connsiteY725" fmla="*/ 3058059 h 6858000"/>
              <a:gd name="connsiteX726" fmla="*/ 7610 w 7467600"/>
              <a:gd name="connsiteY726" fmla="*/ 3047889 h 6858000"/>
              <a:gd name="connsiteX727" fmla="*/ 52419 w 7467600"/>
              <a:gd name="connsiteY727" fmla="*/ 2987479 h 6858000"/>
              <a:gd name="connsiteX728" fmla="*/ 59142 w 7467600"/>
              <a:gd name="connsiteY728" fmla="*/ 2978488 h 6858000"/>
              <a:gd name="connsiteX729" fmla="*/ 0 w 7467600"/>
              <a:gd name="connsiteY729" fmla="*/ 3015334 h 6858000"/>
              <a:gd name="connsiteX730" fmla="*/ 0 w 7467600"/>
              <a:gd name="connsiteY730" fmla="*/ 2914286 h 6858000"/>
              <a:gd name="connsiteX731" fmla="*/ 36383 w 7467600"/>
              <a:gd name="connsiteY731" fmla="*/ 2901128 h 6858000"/>
              <a:gd name="connsiteX732" fmla="*/ 156329 w 7467600"/>
              <a:gd name="connsiteY732" fmla="*/ 2840533 h 6858000"/>
              <a:gd name="connsiteX733" fmla="*/ 358355 w 7467600"/>
              <a:gd name="connsiteY733" fmla="*/ 2620471 h 6858000"/>
              <a:gd name="connsiteX734" fmla="*/ 510577 w 7467600"/>
              <a:gd name="connsiteY734" fmla="*/ 2501244 h 6858000"/>
              <a:gd name="connsiteX735" fmla="*/ 211967 w 7467600"/>
              <a:gd name="connsiteY735" fmla="*/ 2479171 h 6858000"/>
              <a:gd name="connsiteX736" fmla="*/ 0 w 7467600"/>
              <a:gd name="connsiteY736" fmla="*/ 2476398 h 6858000"/>
              <a:gd name="connsiteX737" fmla="*/ 0 w 7467600"/>
              <a:gd name="connsiteY737" fmla="*/ 2389189 h 6858000"/>
              <a:gd name="connsiteX738" fmla="*/ 103062 w 7467600"/>
              <a:gd name="connsiteY738" fmla="*/ 2389518 h 6858000"/>
              <a:gd name="connsiteX739" fmla="*/ 510734 w 7467600"/>
              <a:gd name="connsiteY739" fmla="*/ 2416201 h 6858000"/>
              <a:gd name="connsiteX740" fmla="*/ 279257 w 7467600"/>
              <a:gd name="connsiteY740" fmla="*/ 2092102 h 6858000"/>
              <a:gd name="connsiteX741" fmla="*/ 65265 w 7467600"/>
              <a:gd name="connsiteY741" fmla="*/ 2006049 h 6858000"/>
              <a:gd name="connsiteX742" fmla="*/ 0 w 7467600"/>
              <a:gd name="connsiteY742" fmla="*/ 1982532 h 6858000"/>
              <a:gd name="connsiteX743" fmla="*/ 0 w 7467600"/>
              <a:gd name="connsiteY743" fmla="*/ 1912789 h 6858000"/>
              <a:gd name="connsiteX744" fmla="*/ 97460 w 7467600"/>
              <a:gd name="connsiteY744" fmla="*/ 1953725 h 6858000"/>
              <a:gd name="connsiteX745" fmla="*/ 221272 w 7467600"/>
              <a:gd name="connsiteY745" fmla="*/ 1980766 h 6858000"/>
              <a:gd name="connsiteX746" fmla="*/ 116765 w 7467600"/>
              <a:gd name="connsiteY746" fmla="*/ 1911033 h 6858000"/>
              <a:gd name="connsiteX747" fmla="*/ 16405 w 7467600"/>
              <a:gd name="connsiteY747" fmla="*/ 1803412 h 6858000"/>
              <a:gd name="connsiteX748" fmla="*/ 0 w 7467600"/>
              <a:gd name="connsiteY748" fmla="*/ 1784777 h 6858000"/>
              <a:gd name="connsiteX749" fmla="*/ 0 w 7467600"/>
              <a:gd name="connsiteY749" fmla="*/ 1740082 h 6858000"/>
              <a:gd name="connsiteX750" fmla="*/ 39394 w 7467600"/>
              <a:gd name="connsiteY750" fmla="*/ 1784856 h 6858000"/>
              <a:gd name="connsiteX751" fmla="*/ 135813 w 7467600"/>
              <a:gd name="connsiteY751" fmla="*/ 1888838 h 6858000"/>
              <a:gd name="connsiteX752" fmla="*/ 242575 w 7467600"/>
              <a:gd name="connsiteY752" fmla="*/ 1958841 h 6858000"/>
              <a:gd name="connsiteX753" fmla="*/ 82197 w 7467600"/>
              <a:gd name="connsiteY753" fmla="*/ 1754826 h 6858000"/>
              <a:gd name="connsiteX754" fmla="*/ 0 w 7467600"/>
              <a:gd name="connsiteY754" fmla="*/ 1679650 h 6858000"/>
              <a:gd name="connsiteX755" fmla="*/ 0 w 7467600"/>
              <a:gd name="connsiteY755" fmla="*/ 1602463 h 6858000"/>
              <a:gd name="connsiteX756" fmla="*/ 84689 w 7467600"/>
              <a:gd name="connsiteY756" fmla="*/ 1677442 h 6858000"/>
              <a:gd name="connsiteX757" fmla="*/ 298437 w 7467600"/>
              <a:gd name="connsiteY757" fmla="*/ 1968019 h 6858000"/>
              <a:gd name="connsiteX758" fmla="*/ 227269 w 7467600"/>
              <a:gd name="connsiteY758" fmla="*/ 1114064 h 6858000"/>
              <a:gd name="connsiteX759" fmla="*/ 248003 w 7467600"/>
              <a:gd name="connsiteY759" fmla="*/ 1089613 h 6858000"/>
              <a:gd name="connsiteX760" fmla="*/ 427020 w 7467600"/>
              <a:gd name="connsiteY760" fmla="*/ 1619803 h 6858000"/>
              <a:gd name="connsiteX761" fmla="*/ 340345 w 7467600"/>
              <a:gd name="connsiteY761" fmla="*/ 2027739 h 6858000"/>
              <a:gd name="connsiteX762" fmla="*/ 360865 w 7467600"/>
              <a:gd name="connsiteY762" fmla="*/ 2044827 h 6858000"/>
              <a:gd name="connsiteX763" fmla="*/ 560414 w 7467600"/>
              <a:gd name="connsiteY763" fmla="*/ 2421457 h 6858000"/>
              <a:gd name="connsiteX764" fmla="*/ 1359703 w 7467600"/>
              <a:gd name="connsiteY764" fmla="*/ 2578554 h 6858000"/>
              <a:gd name="connsiteX765" fmla="*/ 1359422 w 7467600"/>
              <a:gd name="connsiteY765" fmla="*/ 2577994 h 6858000"/>
              <a:gd name="connsiteX766" fmla="*/ 828701 w 7467600"/>
              <a:gd name="connsiteY766" fmla="*/ 1839520 h 6858000"/>
              <a:gd name="connsiteX767" fmla="*/ 494427 w 7467600"/>
              <a:gd name="connsiteY767" fmla="*/ 1092333 h 6858000"/>
              <a:gd name="connsiteX768" fmla="*/ 506322 w 7467600"/>
              <a:gd name="connsiteY768" fmla="*/ 1020997 h 6858000"/>
              <a:gd name="connsiteX769" fmla="*/ 4570198 w 7467600"/>
              <a:gd name="connsiteY769" fmla="*/ 978081 h 6858000"/>
              <a:gd name="connsiteX770" fmla="*/ 4523691 w 7467600"/>
              <a:gd name="connsiteY770" fmla="*/ 1127776 h 6858000"/>
              <a:gd name="connsiteX771" fmla="*/ 4509875 w 7467600"/>
              <a:gd name="connsiteY771" fmla="*/ 1167552 h 6858000"/>
              <a:gd name="connsiteX772" fmla="*/ 4478168 w 7467600"/>
              <a:gd name="connsiteY772" fmla="*/ 1260735 h 6858000"/>
              <a:gd name="connsiteX773" fmla="*/ 4409309 w 7467600"/>
              <a:gd name="connsiteY773" fmla="*/ 1666996 h 6858000"/>
              <a:gd name="connsiteX774" fmla="*/ 4370031 w 7467600"/>
              <a:gd name="connsiteY774" fmla="*/ 1955666 h 6858000"/>
              <a:gd name="connsiteX775" fmla="*/ 4570198 w 7467600"/>
              <a:gd name="connsiteY775" fmla="*/ 978081 h 6858000"/>
              <a:gd name="connsiteX776" fmla="*/ 4557898 w 7467600"/>
              <a:gd name="connsiteY776" fmla="*/ 900011 h 6858000"/>
              <a:gd name="connsiteX777" fmla="*/ 4344840 w 7467600"/>
              <a:gd name="connsiteY777" fmla="*/ 1922038 h 6858000"/>
              <a:gd name="connsiteX778" fmla="*/ 4378710 w 7467600"/>
              <a:gd name="connsiteY778" fmla="*/ 1665516 h 6858000"/>
              <a:gd name="connsiteX779" fmla="*/ 4448798 w 7467600"/>
              <a:gd name="connsiteY779" fmla="*/ 1253024 h 6858000"/>
              <a:gd name="connsiteX780" fmla="*/ 4480315 w 7467600"/>
              <a:gd name="connsiteY780" fmla="*/ 1158454 h 6858000"/>
              <a:gd name="connsiteX781" fmla="*/ 4494133 w 7467600"/>
              <a:gd name="connsiteY781" fmla="*/ 1118676 h 6858000"/>
              <a:gd name="connsiteX782" fmla="*/ 4557898 w 7467600"/>
              <a:gd name="connsiteY782" fmla="*/ 900011 h 6858000"/>
              <a:gd name="connsiteX783" fmla="*/ 5870151 w 7467600"/>
              <a:gd name="connsiteY783" fmla="*/ 898890 h 6858000"/>
              <a:gd name="connsiteX784" fmla="*/ 5861335 w 7467600"/>
              <a:gd name="connsiteY784" fmla="*/ 899177 h 6858000"/>
              <a:gd name="connsiteX785" fmla="*/ 5843702 w 7467600"/>
              <a:gd name="connsiteY785" fmla="*/ 899748 h 6858000"/>
              <a:gd name="connsiteX786" fmla="*/ 5651107 w 7467600"/>
              <a:gd name="connsiteY786" fmla="*/ 920306 h 6858000"/>
              <a:gd name="connsiteX787" fmla="*/ 5459407 w 7467600"/>
              <a:gd name="connsiteY787" fmla="*/ 940975 h 6858000"/>
              <a:gd name="connsiteX788" fmla="*/ 5374846 w 7467600"/>
              <a:gd name="connsiteY788" fmla="*/ 941988 h 6858000"/>
              <a:gd name="connsiteX789" fmla="*/ 5256105 w 7467600"/>
              <a:gd name="connsiteY789" fmla="*/ 945632 h 6858000"/>
              <a:gd name="connsiteX790" fmla="*/ 5107071 w 7467600"/>
              <a:gd name="connsiteY790" fmla="*/ 969720 h 6858000"/>
              <a:gd name="connsiteX791" fmla="*/ 4998681 w 7467600"/>
              <a:gd name="connsiteY791" fmla="*/ 988771 h 6858000"/>
              <a:gd name="connsiteX792" fmla="*/ 5870151 w 7467600"/>
              <a:gd name="connsiteY792" fmla="*/ 898890 h 6858000"/>
              <a:gd name="connsiteX793" fmla="*/ 5504425 w 7467600"/>
              <a:gd name="connsiteY793" fmla="*/ 848067 h 6858000"/>
              <a:gd name="connsiteX794" fmla="*/ 4968849 w 7467600"/>
              <a:gd name="connsiteY794" fmla="*/ 962318 h 6858000"/>
              <a:gd name="connsiteX795" fmla="*/ 5104039 w 7467600"/>
              <a:gd name="connsiteY795" fmla="*/ 940634 h 6858000"/>
              <a:gd name="connsiteX796" fmla="*/ 5256311 w 7467600"/>
              <a:gd name="connsiteY796" fmla="*/ 916490 h 6858000"/>
              <a:gd name="connsiteX797" fmla="*/ 5377381 w 7467600"/>
              <a:gd name="connsiteY797" fmla="*/ 912671 h 6858000"/>
              <a:gd name="connsiteX798" fmla="*/ 5460148 w 7467600"/>
              <a:gd name="connsiteY798" fmla="*/ 911442 h 6858000"/>
              <a:gd name="connsiteX799" fmla="*/ 5648971 w 7467600"/>
              <a:gd name="connsiteY799" fmla="*/ 891331 h 6858000"/>
              <a:gd name="connsiteX800" fmla="*/ 5844807 w 7467600"/>
              <a:gd name="connsiteY800" fmla="*/ 870718 h 6858000"/>
              <a:gd name="connsiteX801" fmla="*/ 5862975 w 7467600"/>
              <a:gd name="connsiteY801" fmla="*/ 869756 h 6858000"/>
              <a:gd name="connsiteX802" fmla="*/ 5920887 w 7467600"/>
              <a:gd name="connsiteY802" fmla="*/ 865929 h 6858000"/>
              <a:gd name="connsiteX803" fmla="*/ 5504425 w 7467600"/>
              <a:gd name="connsiteY803" fmla="*/ 848067 h 6858000"/>
              <a:gd name="connsiteX804" fmla="*/ 3607114 w 7467600"/>
              <a:gd name="connsiteY804" fmla="*/ 467441 h 6858000"/>
              <a:gd name="connsiteX805" fmla="*/ 3296242 w 7467600"/>
              <a:gd name="connsiteY805" fmla="*/ 807991 h 6858000"/>
              <a:gd name="connsiteX806" fmla="*/ 3174674 w 7467600"/>
              <a:gd name="connsiteY806" fmla="*/ 919759 h 6858000"/>
              <a:gd name="connsiteX807" fmla="*/ 3042978 w 7467600"/>
              <a:gd name="connsiteY807" fmla="*/ 1054894 h 6858000"/>
              <a:gd name="connsiteX808" fmla="*/ 2968914 w 7467600"/>
              <a:gd name="connsiteY808" fmla="*/ 1133756 h 6858000"/>
              <a:gd name="connsiteX809" fmla="*/ 3103823 w 7467600"/>
              <a:gd name="connsiteY809" fmla="*/ 1026814 h 6858000"/>
              <a:gd name="connsiteX810" fmla="*/ 3607114 w 7467600"/>
              <a:gd name="connsiteY810" fmla="*/ 467441 h 6858000"/>
              <a:gd name="connsiteX811" fmla="*/ 3744487 w 7467600"/>
              <a:gd name="connsiteY811" fmla="*/ 383136 h 6858000"/>
              <a:gd name="connsiteX812" fmla="*/ 3970213 w 7467600"/>
              <a:gd name="connsiteY812" fmla="*/ 995559 h 6858000"/>
              <a:gd name="connsiteX813" fmla="*/ 3744487 w 7467600"/>
              <a:gd name="connsiteY813" fmla="*/ 383136 h 6858000"/>
              <a:gd name="connsiteX814" fmla="*/ 3624562 w 7467600"/>
              <a:gd name="connsiteY814" fmla="*/ 367041 h 6858000"/>
              <a:gd name="connsiteX815" fmla="*/ 3489712 w 7467600"/>
              <a:gd name="connsiteY815" fmla="*/ 485386 h 6858000"/>
              <a:gd name="connsiteX816" fmla="*/ 3182994 w 7467600"/>
              <a:gd name="connsiteY816" fmla="*/ 828265 h 6858000"/>
              <a:gd name="connsiteX817" fmla="*/ 2892114 w 7467600"/>
              <a:gd name="connsiteY817" fmla="*/ 1172635 h 6858000"/>
              <a:gd name="connsiteX818" fmla="*/ 3021459 w 7467600"/>
              <a:gd name="connsiteY818" fmla="*/ 1035385 h 6858000"/>
              <a:gd name="connsiteX819" fmla="*/ 3153873 w 7467600"/>
              <a:gd name="connsiteY819" fmla="*/ 898971 h 6858000"/>
              <a:gd name="connsiteX820" fmla="*/ 3276511 w 7467600"/>
              <a:gd name="connsiteY820" fmla="*/ 786423 h 6858000"/>
              <a:gd name="connsiteX821" fmla="*/ 3584154 w 7467600"/>
              <a:gd name="connsiteY821" fmla="*/ 448218 h 6858000"/>
              <a:gd name="connsiteX822" fmla="*/ 3624562 w 7467600"/>
              <a:gd name="connsiteY822" fmla="*/ 367041 h 6858000"/>
              <a:gd name="connsiteX823" fmla="*/ 3766672 w 7467600"/>
              <a:gd name="connsiteY823" fmla="*/ 359429 h 6858000"/>
              <a:gd name="connsiteX824" fmla="*/ 3996338 w 7467600"/>
              <a:gd name="connsiteY824" fmla="*/ 968237 h 6858000"/>
              <a:gd name="connsiteX825" fmla="*/ 3766672 w 7467600"/>
              <a:gd name="connsiteY825" fmla="*/ 359429 h 6858000"/>
              <a:gd name="connsiteX826" fmla="*/ 5805386 w 7467600"/>
              <a:gd name="connsiteY826" fmla="*/ 239240 h 6858000"/>
              <a:gd name="connsiteX827" fmla="*/ 5736947 w 7467600"/>
              <a:gd name="connsiteY827" fmla="*/ 261367 h 6858000"/>
              <a:gd name="connsiteX828" fmla="*/ 5427012 w 7467600"/>
              <a:gd name="connsiteY828" fmla="*/ 311272 h 6858000"/>
              <a:gd name="connsiteX829" fmla="*/ 5147818 w 7467600"/>
              <a:gd name="connsiteY829" fmla="*/ 322112 h 6858000"/>
              <a:gd name="connsiteX830" fmla="*/ 5060854 w 7467600"/>
              <a:gd name="connsiteY830" fmla="*/ 311882 h 6858000"/>
              <a:gd name="connsiteX831" fmla="*/ 4945989 w 7467600"/>
              <a:gd name="connsiteY831" fmla="*/ 300516 h 6858000"/>
              <a:gd name="connsiteX832" fmla="*/ 5410479 w 7467600"/>
              <a:gd name="connsiteY832" fmla="*/ 348434 h 6858000"/>
              <a:gd name="connsiteX833" fmla="*/ 5805386 w 7467600"/>
              <a:gd name="connsiteY833" fmla="*/ 239240 h 6858000"/>
              <a:gd name="connsiteX834" fmla="*/ 5905192 w 7467600"/>
              <a:gd name="connsiteY834" fmla="*/ 163079 h 6858000"/>
              <a:gd name="connsiteX835" fmla="*/ 5865655 w 7467600"/>
              <a:gd name="connsiteY835" fmla="*/ 171901 h 6858000"/>
              <a:gd name="connsiteX836" fmla="*/ 5259740 w 7467600"/>
              <a:gd name="connsiteY836" fmla="*/ 257013 h 6858000"/>
              <a:gd name="connsiteX837" fmla="*/ 5208466 w 7467600"/>
              <a:gd name="connsiteY837" fmla="*/ 257550 h 6858000"/>
              <a:gd name="connsiteX838" fmla="*/ 4980204 w 7467600"/>
              <a:gd name="connsiteY838" fmla="*/ 271903 h 6858000"/>
              <a:gd name="connsiteX839" fmla="*/ 5068068 w 7467600"/>
              <a:gd name="connsiteY839" fmla="*/ 282244 h 6858000"/>
              <a:gd name="connsiteX840" fmla="*/ 5153231 w 7467600"/>
              <a:gd name="connsiteY840" fmla="*/ 292240 h 6858000"/>
              <a:gd name="connsiteX841" fmla="*/ 5426491 w 7467600"/>
              <a:gd name="connsiteY841" fmla="*/ 281128 h 6858000"/>
              <a:gd name="connsiteX842" fmla="*/ 5731212 w 7467600"/>
              <a:gd name="connsiteY842" fmla="*/ 231951 h 6858000"/>
              <a:gd name="connsiteX843" fmla="*/ 5905192 w 7467600"/>
              <a:gd name="connsiteY843" fmla="*/ 163079 h 6858000"/>
              <a:gd name="connsiteX844" fmla="*/ 5944437 w 7467600"/>
              <a:gd name="connsiteY844" fmla="*/ 113829 h 6858000"/>
              <a:gd name="connsiteX845" fmla="*/ 5825032 w 7467600"/>
              <a:gd name="connsiteY845" fmla="*/ 146405 h 6858000"/>
              <a:gd name="connsiteX846" fmla="*/ 4955599 w 7467600"/>
              <a:gd name="connsiteY846" fmla="*/ 247008 h 6858000"/>
              <a:gd name="connsiteX847" fmla="*/ 5210104 w 7467600"/>
              <a:gd name="connsiteY847" fmla="*/ 228123 h 6858000"/>
              <a:gd name="connsiteX848" fmla="*/ 5261015 w 7467600"/>
              <a:gd name="connsiteY848" fmla="*/ 227087 h 6858000"/>
              <a:gd name="connsiteX849" fmla="*/ 5861181 w 7467600"/>
              <a:gd name="connsiteY849" fmla="*/ 143093 h 6858000"/>
              <a:gd name="connsiteX850" fmla="*/ 5961252 w 7467600"/>
              <a:gd name="connsiteY850" fmla="*/ 114820 h 6858000"/>
              <a:gd name="connsiteX851" fmla="*/ 5944437 w 7467600"/>
              <a:gd name="connsiteY851" fmla="*/ 113829 h 6858000"/>
              <a:gd name="connsiteX852" fmla="*/ 3882765 w 7467600"/>
              <a:gd name="connsiteY852" fmla="*/ 0 h 6858000"/>
              <a:gd name="connsiteX853" fmla="*/ 3995099 w 7467600"/>
              <a:gd name="connsiteY853" fmla="*/ 0 h 6858000"/>
              <a:gd name="connsiteX854" fmla="*/ 4163818 w 7467600"/>
              <a:gd name="connsiteY854" fmla="*/ 234104 h 6858000"/>
              <a:gd name="connsiteX855" fmla="*/ 4172099 w 7467600"/>
              <a:gd name="connsiteY855" fmla="*/ 234207 h 6858000"/>
              <a:gd name="connsiteX856" fmla="*/ 4784282 w 7467600"/>
              <a:gd name="connsiteY856" fmla="*/ 276561 h 6858000"/>
              <a:gd name="connsiteX857" fmla="*/ 4801687 w 7467600"/>
              <a:gd name="connsiteY857" fmla="*/ 267764 h 6858000"/>
              <a:gd name="connsiteX858" fmla="*/ 6082788 w 7467600"/>
              <a:gd name="connsiteY858" fmla="*/ 64119 h 6858000"/>
              <a:gd name="connsiteX859" fmla="*/ 6099442 w 7467600"/>
              <a:gd name="connsiteY859" fmla="*/ 82568 h 6858000"/>
              <a:gd name="connsiteX860" fmla="*/ 4804137 w 7467600"/>
              <a:gd name="connsiteY860" fmla="*/ 320931 h 6858000"/>
              <a:gd name="connsiteX861" fmla="*/ 4227047 w 7467600"/>
              <a:gd name="connsiteY861" fmla="*/ 313415 h 6858000"/>
              <a:gd name="connsiteX862" fmla="*/ 4346041 w 7467600"/>
              <a:gd name="connsiteY862" fmla="*/ 456086 h 6858000"/>
              <a:gd name="connsiteX863" fmla="*/ 4870967 w 7467600"/>
              <a:gd name="connsiteY863" fmla="*/ 963061 h 6858000"/>
              <a:gd name="connsiteX864" fmla="*/ 4889647 w 7467600"/>
              <a:gd name="connsiteY864" fmla="*/ 957147 h 6858000"/>
              <a:gd name="connsiteX865" fmla="*/ 5422504 w 7467600"/>
              <a:gd name="connsiteY865" fmla="*/ 805191 h 6858000"/>
              <a:gd name="connsiteX866" fmla="*/ 6087656 w 7467600"/>
              <a:gd name="connsiteY866" fmla="*/ 826703 h 6858000"/>
              <a:gd name="connsiteX867" fmla="*/ 6058717 w 7467600"/>
              <a:gd name="connsiteY867" fmla="*/ 865992 h 6858000"/>
              <a:gd name="connsiteX868" fmla="*/ 4974153 w 7467600"/>
              <a:gd name="connsiteY868" fmla="*/ 1045456 h 6858000"/>
              <a:gd name="connsiteX869" fmla="*/ 5627835 w 7467600"/>
              <a:gd name="connsiteY869" fmla="*/ 1472077 h 6858000"/>
              <a:gd name="connsiteX870" fmla="*/ 5629817 w 7467600"/>
              <a:gd name="connsiteY870" fmla="*/ 1471412 h 6858000"/>
              <a:gd name="connsiteX871" fmla="*/ 5634124 w 7467600"/>
              <a:gd name="connsiteY871" fmla="*/ 1470572 h 6858000"/>
              <a:gd name="connsiteX872" fmla="*/ 5755832 w 7467600"/>
              <a:gd name="connsiteY872" fmla="*/ 1383886 h 6858000"/>
              <a:gd name="connsiteX873" fmla="*/ 6014186 w 7467600"/>
              <a:gd name="connsiteY873" fmla="*/ 1279799 h 6858000"/>
              <a:gd name="connsiteX874" fmla="*/ 6901619 w 7467600"/>
              <a:gd name="connsiteY874" fmla="*/ 1047874 h 6858000"/>
              <a:gd name="connsiteX875" fmla="*/ 6931566 w 7467600"/>
              <a:gd name="connsiteY875" fmla="*/ 1062034 h 6858000"/>
              <a:gd name="connsiteX876" fmla="*/ 5790982 w 7467600"/>
              <a:gd name="connsiteY876" fmla="*/ 1561380 h 6858000"/>
              <a:gd name="connsiteX877" fmla="*/ 6188971 w 7467600"/>
              <a:gd name="connsiteY877" fmla="*/ 1755168 h 6858000"/>
              <a:gd name="connsiteX878" fmla="*/ 6202446 w 7467600"/>
              <a:gd name="connsiteY878" fmla="*/ 1752268 h 6858000"/>
              <a:gd name="connsiteX879" fmla="*/ 7179560 w 7467600"/>
              <a:gd name="connsiteY879" fmla="*/ 1467551 h 6858000"/>
              <a:gd name="connsiteX880" fmla="*/ 7158730 w 7467600"/>
              <a:gd name="connsiteY880" fmla="*/ 1507835 h 6858000"/>
              <a:gd name="connsiteX881" fmla="*/ 6326959 w 7467600"/>
              <a:gd name="connsiteY881" fmla="*/ 1817686 h 6858000"/>
              <a:gd name="connsiteX882" fmla="*/ 6537433 w 7467600"/>
              <a:gd name="connsiteY882" fmla="*/ 1907790 h 6858000"/>
              <a:gd name="connsiteX883" fmla="*/ 6550221 w 7467600"/>
              <a:gd name="connsiteY883" fmla="*/ 1910729 h 6858000"/>
              <a:gd name="connsiteX884" fmla="*/ 6964438 w 7467600"/>
              <a:gd name="connsiteY884" fmla="*/ 2209505 h 6858000"/>
              <a:gd name="connsiteX885" fmla="*/ 7367862 w 7467600"/>
              <a:gd name="connsiteY885" fmla="*/ 2806833 h 6858000"/>
              <a:gd name="connsiteX886" fmla="*/ 7364329 w 7467600"/>
              <a:gd name="connsiteY886" fmla="*/ 2826907 h 6858000"/>
              <a:gd name="connsiteX887" fmla="*/ 7290545 w 7467600"/>
              <a:gd name="connsiteY887" fmla="*/ 2850663 h 6858000"/>
              <a:gd name="connsiteX888" fmla="*/ 6472036 w 7467600"/>
              <a:gd name="connsiteY888" fmla="*/ 1959003 h 6858000"/>
              <a:gd name="connsiteX889" fmla="*/ 5792897 w 7467600"/>
              <a:gd name="connsiteY889" fmla="*/ 1647747 h 6858000"/>
              <a:gd name="connsiteX890" fmla="*/ 5842751 w 7467600"/>
              <a:gd name="connsiteY890" fmla="*/ 1816112 h 6858000"/>
              <a:gd name="connsiteX891" fmla="*/ 5847424 w 7467600"/>
              <a:gd name="connsiteY891" fmla="*/ 1815776 h 6858000"/>
              <a:gd name="connsiteX892" fmla="*/ 6399821 w 7467600"/>
              <a:gd name="connsiteY892" fmla="*/ 2344799 h 6858000"/>
              <a:gd name="connsiteX893" fmla="*/ 6323232 w 7467600"/>
              <a:gd name="connsiteY893" fmla="*/ 2389634 h 6858000"/>
              <a:gd name="connsiteX894" fmla="*/ 5942958 w 7467600"/>
              <a:gd name="connsiteY894" fmla="*/ 2077708 h 6858000"/>
              <a:gd name="connsiteX895" fmla="*/ 5921559 w 7467600"/>
              <a:gd name="connsiteY895" fmla="*/ 2378596 h 6858000"/>
              <a:gd name="connsiteX896" fmla="*/ 5817651 w 7467600"/>
              <a:gd name="connsiteY896" fmla="*/ 3023919 h 6858000"/>
              <a:gd name="connsiteX897" fmla="*/ 5729634 w 7467600"/>
              <a:gd name="connsiteY897" fmla="*/ 3051849 h 6858000"/>
              <a:gd name="connsiteX898" fmla="*/ 5611018 w 7467600"/>
              <a:gd name="connsiteY898" fmla="*/ 2316769 h 6858000"/>
              <a:gd name="connsiteX899" fmla="*/ 5687608 w 7467600"/>
              <a:gd name="connsiteY899" fmla="*/ 2039972 h 6858000"/>
              <a:gd name="connsiteX900" fmla="*/ 5657554 w 7467600"/>
              <a:gd name="connsiteY900" fmla="*/ 1576445 h 6858000"/>
              <a:gd name="connsiteX901" fmla="*/ 5150475 w 7467600"/>
              <a:gd name="connsiteY901" fmla="*/ 1274012 h 6858000"/>
              <a:gd name="connsiteX902" fmla="*/ 5349142 w 7467600"/>
              <a:gd name="connsiteY902" fmla="*/ 2204405 h 6858000"/>
              <a:gd name="connsiteX903" fmla="*/ 5262214 w 7467600"/>
              <a:gd name="connsiteY903" fmla="*/ 2233836 h 6858000"/>
              <a:gd name="connsiteX904" fmla="*/ 4981539 w 7467600"/>
              <a:gd name="connsiteY904" fmla="*/ 1542201 h 6858000"/>
              <a:gd name="connsiteX905" fmla="*/ 4958461 w 7467600"/>
              <a:gd name="connsiteY905" fmla="*/ 1136957 h 6858000"/>
              <a:gd name="connsiteX906" fmla="*/ 4655015 w 7467600"/>
              <a:gd name="connsiteY906" fmla="*/ 891426 h 6858000"/>
              <a:gd name="connsiteX907" fmla="*/ 4348002 w 7467600"/>
              <a:gd name="connsiteY907" fmla="*/ 2205895 h 6858000"/>
              <a:gd name="connsiteX908" fmla="*/ 4262250 w 7467600"/>
              <a:gd name="connsiteY908" fmla="*/ 2219972 h 6858000"/>
              <a:gd name="connsiteX909" fmla="*/ 4550611 w 7467600"/>
              <a:gd name="connsiteY909" fmla="*/ 817540 h 6858000"/>
              <a:gd name="connsiteX910" fmla="*/ 4564418 w 7467600"/>
              <a:gd name="connsiteY910" fmla="*/ 808293 h 6858000"/>
              <a:gd name="connsiteX911" fmla="*/ 4266388 w 7467600"/>
              <a:gd name="connsiteY911" fmla="*/ 500083 h 6858000"/>
              <a:gd name="connsiteX912" fmla="*/ 4032842 w 7467600"/>
              <a:gd name="connsiteY912" fmla="*/ 211809 h 6858000"/>
              <a:gd name="connsiteX913" fmla="*/ 3882765 w 7467600"/>
              <a:gd name="connsiteY913" fmla="*/ 0 h 6858000"/>
              <a:gd name="connsiteX914" fmla="*/ 3721337 w 7467600"/>
              <a:gd name="connsiteY914" fmla="*/ 0 h 6858000"/>
              <a:gd name="connsiteX915" fmla="*/ 3797544 w 7467600"/>
              <a:gd name="connsiteY915" fmla="*/ 0 h 6858000"/>
              <a:gd name="connsiteX916" fmla="*/ 3775734 w 7467600"/>
              <a:gd name="connsiteY916" fmla="*/ 95131 h 6858000"/>
              <a:gd name="connsiteX917" fmla="*/ 3724807 w 7467600"/>
              <a:gd name="connsiteY917" fmla="*/ 272257 h 6858000"/>
              <a:gd name="connsiteX918" fmla="*/ 3726844 w 7467600"/>
              <a:gd name="connsiteY918" fmla="*/ 282988 h 6858000"/>
              <a:gd name="connsiteX919" fmla="*/ 3742664 w 7467600"/>
              <a:gd name="connsiteY919" fmla="*/ 279918 h 6858000"/>
              <a:gd name="connsiteX920" fmla="*/ 4103910 w 7467600"/>
              <a:gd name="connsiteY920" fmla="*/ 1161917 h 6858000"/>
              <a:gd name="connsiteX921" fmla="*/ 4020269 w 7467600"/>
              <a:gd name="connsiteY921" fmla="*/ 1200406 h 6858000"/>
              <a:gd name="connsiteX922" fmla="*/ 3674882 w 7467600"/>
              <a:gd name="connsiteY922" fmla="*/ 488524 h 6858000"/>
              <a:gd name="connsiteX923" fmla="*/ 3132682 w 7467600"/>
              <a:gd name="connsiteY923" fmla="*/ 1072284 h 6858000"/>
              <a:gd name="connsiteX924" fmla="*/ 2716346 w 7467600"/>
              <a:gd name="connsiteY924" fmla="*/ 1276376 h 6858000"/>
              <a:gd name="connsiteX925" fmla="*/ 2716772 w 7467600"/>
              <a:gd name="connsiteY925" fmla="*/ 1255462 h 6858000"/>
              <a:gd name="connsiteX926" fmla="*/ 3471096 w 7467600"/>
              <a:gd name="connsiteY926" fmla="*/ 437072 h 6858000"/>
              <a:gd name="connsiteX927" fmla="*/ 3639057 w 7467600"/>
              <a:gd name="connsiteY927" fmla="*/ 286334 h 6858000"/>
              <a:gd name="connsiteX928" fmla="*/ 3640309 w 7467600"/>
              <a:gd name="connsiteY928" fmla="*/ 284664 h 6858000"/>
              <a:gd name="connsiteX929" fmla="*/ 3646022 w 7467600"/>
              <a:gd name="connsiteY929" fmla="*/ 276711 h 6858000"/>
              <a:gd name="connsiteX930" fmla="*/ 3707943 w 7467600"/>
              <a:gd name="connsiteY930" fmla="*/ 65958 h 6858000"/>
              <a:gd name="connsiteX931" fmla="*/ 3721337 w 7467600"/>
              <a:gd name="connsiteY931" fmla="*/ 0 h 6858000"/>
              <a:gd name="connsiteX932" fmla="*/ 2867960 w 7467600"/>
              <a:gd name="connsiteY932" fmla="*/ 0 h 6858000"/>
              <a:gd name="connsiteX933" fmla="*/ 2926351 w 7467600"/>
              <a:gd name="connsiteY933" fmla="*/ 0 h 6858000"/>
              <a:gd name="connsiteX934" fmla="*/ 2902823 w 7467600"/>
              <a:gd name="connsiteY934" fmla="*/ 262929 h 6858000"/>
              <a:gd name="connsiteX935" fmla="*/ 2940663 w 7467600"/>
              <a:gd name="connsiteY935" fmla="*/ 140884 h 6858000"/>
              <a:gd name="connsiteX936" fmla="*/ 2947039 w 7467600"/>
              <a:gd name="connsiteY936" fmla="*/ 122524 h 6858000"/>
              <a:gd name="connsiteX937" fmla="*/ 2984316 w 7467600"/>
              <a:gd name="connsiteY937" fmla="*/ 0 h 6858000"/>
              <a:gd name="connsiteX938" fmla="*/ 3016114 w 7467600"/>
              <a:gd name="connsiteY938" fmla="*/ 0 h 6858000"/>
              <a:gd name="connsiteX939" fmla="*/ 2979949 w 7467600"/>
              <a:gd name="connsiteY939" fmla="*/ 119274 h 6858000"/>
              <a:gd name="connsiteX940" fmla="*/ 3023879 w 7467600"/>
              <a:gd name="connsiteY940" fmla="*/ 0 h 6858000"/>
              <a:gd name="connsiteX941" fmla="*/ 3105400 w 7467600"/>
              <a:gd name="connsiteY941" fmla="*/ 0 h 6858000"/>
              <a:gd name="connsiteX942" fmla="*/ 3094669 w 7467600"/>
              <a:gd name="connsiteY942" fmla="*/ 30308 h 6858000"/>
              <a:gd name="connsiteX943" fmla="*/ 2901945 w 7467600"/>
              <a:gd name="connsiteY943" fmla="*/ 466538 h 6858000"/>
              <a:gd name="connsiteX944" fmla="*/ 2815209 w 7467600"/>
              <a:gd name="connsiteY944" fmla="*/ 497361 h 6858000"/>
              <a:gd name="connsiteX945" fmla="*/ 2844845 w 7467600"/>
              <a:gd name="connsiteY945" fmla="*/ 127638 h 6858000"/>
              <a:gd name="connsiteX946" fmla="*/ 2867960 w 7467600"/>
              <a:gd name="connsiteY946" fmla="*/ 0 h 6858000"/>
              <a:gd name="connsiteX947" fmla="*/ 1057230 w 7467600"/>
              <a:gd name="connsiteY947" fmla="*/ 0 h 6858000"/>
              <a:gd name="connsiteX948" fmla="*/ 1111003 w 7467600"/>
              <a:gd name="connsiteY948" fmla="*/ 0 h 6858000"/>
              <a:gd name="connsiteX949" fmla="*/ 1125553 w 7467600"/>
              <a:gd name="connsiteY949" fmla="*/ 52588 h 6858000"/>
              <a:gd name="connsiteX950" fmla="*/ 1304276 w 7467600"/>
              <a:gd name="connsiteY950" fmla="*/ 476275 h 6858000"/>
              <a:gd name="connsiteX951" fmla="*/ 1492066 w 7467600"/>
              <a:gd name="connsiteY951" fmla="*/ 886333 h 6858000"/>
              <a:gd name="connsiteX952" fmla="*/ 1423698 w 7467600"/>
              <a:gd name="connsiteY952" fmla="*/ 710817 h 6858000"/>
              <a:gd name="connsiteX953" fmla="*/ 1357609 w 7467600"/>
              <a:gd name="connsiteY953" fmla="*/ 532892 h 6858000"/>
              <a:gd name="connsiteX954" fmla="*/ 1309550 w 7467600"/>
              <a:gd name="connsiteY954" fmla="*/ 374031 h 6858000"/>
              <a:gd name="connsiteX955" fmla="*/ 1193673 w 7467600"/>
              <a:gd name="connsiteY955" fmla="*/ 49533 h 6858000"/>
              <a:gd name="connsiteX956" fmla="*/ 1164391 w 7467600"/>
              <a:gd name="connsiteY956" fmla="*/ 0 h 6858000"/>
              <a:gd name="connsiteX957" fmla="*/ 1200666 w 7467600"/>
              <a:gd name="connsiteY957" fmla="*/ 0 h 6858000"/>
              <a:gd name="connsiteX958" fmla="*/ 1223408 w 7467600"/>
              <a:gd name="connsiteY958" fmla="*/ 38996 h 6858000"/>
              <a:gd name="connsiteX959" fmla="*/ 1339635 w 7467600"/>
              <a:gd name="connsiteY959" fmla="*/ 365517 h 6858000"/>
              <a:gd name="connsiteX960" fmla="*/ 1387469 w 7467600"/>
              <a:gd name="connsiteY960" fmla="*/ 523079 h 6858000"/>
              <a:gd name="connsiteX961" fmla="*/ 1452685 w 7467600"/>
              <a:gd name="connsiteY961" fmla="*/ 699806 h 6858000"/>
              <a:gd name="connsiteX962" fmla="*/ 1492092 w 7467600"/>
              <a:gd name="connsiteY962" fmla="*/ 800424 h 6858000"/>
              <a:gd name="connsiteX963" fmla="*/ 1455302 w 7467600"/>
              <a:gd name="connsiteY963" fmla="*/ 632913 h 6858000"/>
              <a:gd name="connsiteX964" fmla="*/ 1222336 w 7467600"/>
              <a:gd name="connsiteY964" fmla="*/ 9480 h 6858000"/>
              <a:gd name="connsiteX965" fmla="*/ 1214634 w 7467600"/>
              <a:gd name="connsiteY965" fmla="*/ 0 h 6858000"/>
              <a:gd name="connsiteX966" fmla="*/ 1289827 w 7467600"/>
              <a:gd name="connsiteY966" fmla="*/ 0 h 6858000"/>
              <a:gd name="connsiteX967" fmla="*/ 1321076 w 7467600"/>
              <a:gd name="connsiteY967" fmla="*/ 59722 h 6858000"/>
              <a:gd name="connsiteX968" fmla="*/ 1512579 w 7467600"/>
              <a:gd name="connsiteY968" fmla="*/ 626441 h 6858000"/>
              <a:gd name="connsiteX969" fmla="*/ 1506076 w 7467600"/>
              <a:gd name="connsiteY969" fmla="*/ 1089289 h 6858000"/>
              <a:gd name="connsiteX970" fmla="*/ 1486346 w 7467600"/>
              <a:gd name="connsiteY970" fmla="*/ 1079919 h 6858000"/>
              <a:gd name="connsiteX971" fmla="*/ 1070511 w 7467600"/>
              <a:gd name="connsiteY971" fmla="*/ 48609 h 6858000"/>
              <a:gd name="connsiteX972" fmla="*/ 1057230 w 7467600"/>
              <a:gd name="connsiteY972" fmla="*/ 0 h 6858000"/>
              <a:gd name="connsiteX973" fmla="*/ 43151 w 7467600"/>
              <a:gd name="connsiteY973" fmla="*/ 0 h 6858000"/>
              <a:gd name="connsiteX974" fmla="*/ 95283 w 7467600"/>
              <a:gd name="connsiteY974" fmla="*/ 0 h 6858000"/>
              <a:gd name="connsiteX975" fmla="*/ 300708 w 7467600"/>
              <a:gd name="connsiteY975" fmla="*/ 154571 h 6858000"/>
              <a:gd name="connsiteX976" fmla="*/ 530414 w 7467600"/>
              <a:gd name="connsiteY976" fmla="*/ 354673 h 6858000"/>
              <a:gd name="connsiteX977" fmla="*/ 333785 w 7467600"/>
              <a:gd name="connsiteY977" fmla="*/ 161564 h 6858000"/>
              <a:gd name="connsiteX978" fmla="*/ 147005 w 7467600"/>
              <a:gd name="connsiteY978" fmla="*/ 0 h 6858000"/>
              <a:gd name="connsiteX979" fmla="*/ 272509 w 7467600"/>
              <a:gd name="connsiteY979" fmla="*/ 0 h 6858000"/>
              <a:gd name="connsiteX980" fmla="*/ 326276 w 7467600"/>
              <a:gd name="connsiteY980" fmla="*/ 45847 h 6858000"/>
              <a:gd name="connsiteX981" fmla="*/ 823759 w 7467600"/>
              <a:gd name="connsiteY981" fmla="*/ 574145 h 6858000"/>
              <a:gd name="connsiteX982" fmla="*/ 811254 w 7467600"/>
              <a:gd name="connsiteY982" fmla="*/ 665546 h 6858000"/>
              <a:gd name="connsiteX983" fmla="*/ 154042 w 7467600"/>
              <a:gd name="connsiteY983" fmla="*/ 261522 h 6858000"/>
              <a:gd name="connsiteX984" fmla="*/ 13550 w 7467600"/>
              <a:gd name="connsiteY984" fmla="*/ 158423 h 6858000"/>
              <a:gd name="connsiteX985" fmla="*/ 0 w 7467600"/>
              <a:gd name="connsiteY985" fmla="*/ 146618 h 6858000"/>
              <a:gd name="connsiteX986" fmla="*/ 0 w 7467600"/>
              <a:gd name="connsiteY986" fmla="*/ 59161 h 6858000"/>
              <a:gd name="connsiteX987" fmla="*/ 45427 w 7467600"/>
              <a:gd name="connsiteY987" fmla="*/ 101078 h 6858000"/>
              <a:gd name="connsiteX988" fmla="*/ 630103 w 7467600"/>
              <a:gd name="connsiteY988" fmla="*/ 485885 h 6858000"/>
              <a:gd name="connsiteX989" fmla="*/ 532040 w 7467600"/>
              <a:gd name="connsiteY989" fmla="*/ 399359 h 6858000"/>
              <a:gd name="connsiteX990" fmla="*/ 517618 w 7467600"/>
              <a:gd name="connsiteY990" fmla="*/ 385726 h 6858000"/>
              <a:gd name="connsiteX991" fmla="*/ 285074 w 7467600"/>
              <a:gd name="connsiteY991" fmla="*/ 182755 h 6858000"/>
              <a:gd name="connsiteX992" fmla="*/ 43151 w 7467600"/>
              <a:gd name="connsiteY992"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12201 w 7467600"/>
              <a:gd name="connsiteY127" fmla="*/ 5128278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1903353 w 7467600"/>
              <a:gd name="connsiteY136" fmla="*/ 5044827 h 6858000"/>
              <a:gd name="connsiteX137" fmla="*/ 1936931 w 7467600"/>
              <a:gd name="connsiteY137" fmla="*/ 5093954 h 6858000"/>
              <a:gd name="connsiteX138" fmla="*/ 2195868 w 7467600"/>
              <a:gd name="connsiteY138" fmla="*/ 5396574 h 6858000"/>
              <a:gd name="connsiteX139" fmla="*/ 2088852 w 7467600"/>
              <a:gd name="connsiteY139" fmla="*/ 5166123 h 6858000"/>
              <a:gd name="connsiteX140" fmla="*/ 1958241 w 7467600"/>
              <a:gd name="connsiteY140" fmla="*/ 5067955 h 6858000"/>
              <a:gd name="connsiteX141" fmla="*/ 1903353 w 7467600"/>
              <a:gd name="connsiteY141" fmla="*/ 5044827 h 6858000"/>
              <a:gd name="connsiteX142" fmla="*/ 1979378 w 7467600"/>
              <a:gd name="connsiteY142" fmla="*/ 4769504 h 6858000"/>
              <a:gd name="connsiteX143" fmla="*/ 2882120 w 7467600"/>
              <a:gd name="connsiteY143" fmla="*/ 5064547 h 6858000"/>
              <a:gd name="connsiteX144" fmla="*/ 2793103 w 7467600"/>
              <a:gd name="connsiteY144" fmla="*/ 5039699 h 6858000"/>
              <a:gd name="connsiteX145" fmla="*/ 2770041 w 7467600"/>
              <a:gd name="connsiteY145" fmla="*/ 5033634 h 6858000"/>
              <a:gd name="connsiteX146" fmla="*/ 1979378 w 7467600"/>
              <a:gd name="connsiteY146" fmla="*/ 4769504 h 6858000"/>
              <a:gd name="connsiteX147" fmla="*/ 1927410 w 7467600"/>
              <a:gd name="connsiteY147" fmla="*/ 4716164 h 6858000"/>
              <a:gd name="connsiteX148" fmla="*/ 1959587 w 7467600"/>
              <a:gd name="connsiteY148" fmla="*/ 4728849 h 6858000"/>
              <a:gd name="connsiteX149" fmla="*/ 2777707 w 7467600"/>
              <a:gd name="connsiteY149" fmla="*/ 5003991 h 6858000"/>
              <a:gd name="connsiteX150" fmla="*/ 2800768 w 7467600"/>
              <a:gd name="connsiteY150" fmla="*/ 5010056 h 6858000"/>
              <a:gd name="connsiteX151" fmla="*/ 2879408 w 7467600"/>
              <a:gd name="connsiteY151" fmla="*/ 5031590 h 6858000"/>
              <a:gd name="connsiteX152" fmla="*/ 2862295 w 7467600"/>
              <a:gd name="connsiteY152" fmla="*/ 5022958 h 6858000"/>
              <a:gd name="connsiteX153" fmla="*/ 2813343 w 7467600"/>
              <a:gd name="connsiteY153" fmla="*/ 4998369 h 6858000"/>
              <a:gd name="connsiteX154" fmla="*/ 2646245 w 7467600"/>
              <a:gd name="connsiteY154" fmla="*/ 4930999 h 6858000"/>
              <a:gd name="connsiteX155" fmla="*/ 1999243 w 7467600"/>
              <a:gd name="connsiteY155" fmla="*/ 4730524 h 6858000"/>
              <a:gd name="connsiteX156" fmla="*/ 1979527 w 7467600"/>
              <a:gd name="connsiteY156" fmla="*/ 4726651 h 6858000"/>
              <a:gd name="connsiteX157" fmla="*/ 1927410 w 7467600"/>
              <a:gd name="connsiteY157" fmla="*/ 4716164 h 6858000"/>
              <a:gd name="connsiteX158" fmla="*/ 1997014 w 7467600"/>
              <a:gd name="connsiteY158" fmla="*/ 4698007 h 6858000"/>
              <a:gd name="connsiteX159" fmla="*/ 2005458 w 7467600"/>
              <a:gd name="connsiteY159" fmla="*/ 4699540 h 6858000"/>
              <a:gd name="connsiteX160" fmla="*/ 2657186 w 7467600"/>
              <a:gd name="connsiteY160" fmla="*/ 4901687 h 6858000"/>
              <a:gd name="connsiteX161" fmla="*/ 2826662 w 7467600"/>
              <a:gd name="connsiteY161" fmla="*/ 4970362 h 6858000"/>
              <a:gd name="connsiteX162" fmla="*/ 2876100 w 7467600"/>
              <a:gd name="connsiteY162" fmla="*/ 4995397 h 6858000"/>
              <a:gd name="connsiteX163" fmla="*/ 3042600 w 7467600"/>
              <a:gd name="connsiteY163" fmla="*/ 5059532 h 6858000"/>
              <a:gd name="connsiteX164" fmla="*/ 1997014 w 7467600"/>
              <a:gd name="connsiteY164" fmla="*/ 4698007 h 6858000"/>
              <a:gd name="connsiteX165" fmla="*/ 2305292 w 7467600"/>
              <a:gd name="connsiteY165" fmla="*/ 4219492 h 6858000"/>
              <a:gd name="connsiteX166" fmla="*/ 3360922 w 7467600"/>
              <a:gd name="connsiteY166" fmla="*/ 4529373 h 6858000"/>
              <a:gd name="connsiteX167" fmla="*/ 3492420 w 7467600"/>
              <a:gd name="connsiteY167" fmla="*/ 4510145 h 6858000"/>
              <a:gd name="connsiteX168" fmla="*/ 3364086 w 7467600"/>
              <a:gd name="connsiteY168" fmla="*/ 4480340 h 6858000"/>
              <a:gd name="connsiteX169" fmla="*/ 3225818 w 7467600"/>
              <a:gd name="connsiteY169" fmla="*/ 4411822 h 6858000"/>
              <a:gd name="connsiteX170" fmla="*/ 3129696 w 7467600"/>
              <a:gd name="connsiteY170" fmla="*/ 4360704 h 6858000"/>
              <a:gd name="connsiteX171" fmla="*/ 2814545 w 7467600"/>
              <a:gd name="connsiteY171" fmla="*/ 4282955 h 6858000"/>
              <a:gd name="connsiteX172" fmla="*/ 2305292 w 7467600"/>
              <a:gd name="connsiteY172" fmla="*/ 4219492 h 6858000"/>
              <a:gd name="connsiteX173" fmla="*/ 2626982 w 7467600"/>
              <a:gd name="connsiteY173" fmla="*/ 4206450 h 6858000"/>
              <a:gd name="connsiteX174" fmla="*/ 2490617 w 7467600"/>
              <a:gd name="connsiteY174" fmla="*/ 4206951 h 6858000"/>
              <a:gd name="connsiteX175" fmla="*/ 2819869 w 7467600"/>
              <a:gd name="connsiteY175" fmla="*/ 4252936 h 6858000"/>
              <a:gd name="connsiteX176" fmla="*/ 3143018 w 7467600"/>
              <a:gd name="connsiteY176" fmla="*/ 4332698 h 6858000"/>
              <a:gd name="connsiteX177" fmla="*/ 3241520 w 7467600"/>
              <a:gd name="connsiteY177" fmla="*/ 4385112 h 6858000"/>
              <a:gd name="connsiteX178" fmla="*/ 3374575 w 7467600"/>
              <a:gd name="connsiteY178" fmla="*/ 4451517 h 6858000"/>
              <a:gd name="connsiteX179" fmla="*/ 3505221 w 7467600"/>
              <a:gd name="connsiteY179" fmla="*/ 4480757 h 6858000"/>
              <a:gd name="connsiteX180" fmla="*/ 2626982 w 7467600"/>
              <a:gd name="connsiteY180" fmla="*/ 4206450 h 6858000"/>
              <a:gd name="connsiteX181" fmla="*/ 1310106 w 7467600"/>
              <a:gd name="connsiteY181" fmla="*/ 3943217 h 6858000"/>
              <a:gd name="connsiteX182" fmla="*/ 854994 w 7467600"/>
              <a:gd name="connsiteY182" fmla="*/ 4399136 h 6858000"/>
              <a:gd name="connsiteX183" fmla="*/ 742462 w 7467600"/>
              <a:gd name="connsiteY183" fmla="*/ 4594648 h 6858000"/>
              <a:gd name="connsiteX184" fmla="*/ 820602 w 7467600"/>
              <a:gd name="connsiteY184" fmla="*/ 4485915 h 6858000"/>
              <a:gd name="connsiteX185" fmla="*/ 878295 w 7467600"/>
              <a:gd name="connsiteY185" fmla="*/ 4403594 h 6858000"/>
              <a:gd name="connsiteX186" fmla="*/ 1240607 w 7467600"/>
              <a:gd name="connsiteY186" fmla="*/ 4010401 h 6858000"/>
              <a:gd name="connsiteX187" fmla="*/ 1310106 w 7467600"/>
              <a:gd name="connsiteY187" fmla="*/ 3943217 h 6858000"/>
              <a:gd name="connsiteX188" fmla="*/ 1423113 w 7467600"/>
              <a:gd name="connsiteY188" fmla="*/ 3874565 h 6858000"/>
              <a:gd name="connsiteX189" fmla="*/ 1260565 w 7467600"/>
              <a:gd name="connsiteY189" fmla="*/ 4031982 h 6858000"/>
              <a:gd name="connsiteX190" fmla="*/ 901900 w 7467600"/>
              <a:gd name="connsiteY190" fmla="*/ 4421236 h 6858000"/>
              <a:gd name="connsiteX191" fmla="*/ 845044 w 7467600"/>
              <a:gd name="connsiteY191" fmla="*/ 4502436 h 6858000"/>
              <a:gd name="connsiteX192" fmla="*/ 685926 w 7467600"/>
              <a:gd name="connsiteY192" fmla="*/ 4703069 h 6858000"/>
              <a:gd name="connsiteX193" fmla="*/ 684248 w 7467600"/>
              <a:gd name="connsiteY193" fmla="*/ 4706721 h 6858000"/>
              <a:gd name="connsiteX194" fmla="*/ 1423113 w 7467600"/>
              <a:gd name="connsiteY194" fmla="*/ 3874565 h 6858000"/>
              <a:gd name="connsiteX195" fmla="*/ 3316479 w 7467600"/>
              <a:gd name="connsiteY195" fmla="*/ 3872136 h 6858000"/>
              <a:gd name="connsiteX196" fmla="*/ 3546806 w 7467600"/>
              <a:gd name="connsiteY196" fmla="*/ 4356139 h 6858000"/>
              <a:gd name="connsiteX197" fmla="*/ 3364433 w 7467600"/>
              <a:gd name="connsiteY197" fmla="*/ 3953121 h 6858000"/>
              <a:gd name="connsiteX198" fmla="*/ 3316479 w 7467600"/>
              <a:gd name="connsiteY198" fmla="*/ 3872136 h 6858000"/>
              <a:gd name="connsiteX199" fmla="*/ 3291335 w 7467600"/>
              <a:gd name="connsiteY199" fmla="*/ 3767420 h 6858000"/>
              <a:gd name="connsiteX200" fmla="*/ 3390805 w 7467600"/>
              <a:gd name="connsiteY200" fmla="*/ 3937163 h 6858000"/>
              <a:gd name="connsiteX201" fmla="*/ 3579062 w 7467600"/>
              <a:gd name="connsiteY201" fmla="*/ 4359040 h 6858000"/>
              <a:gd name="connsiteX202" fmla="*/ 3467355 w 7467600"/>
              <a:gd name="connsiteY202" fmla="*/ 3988130 h 6858000"/>
              <a:gd name="connsiteX203" fmla="*/ 3310753 w 7467600"/>
              <a:gd name="connsiteY203" fmla="*/ 3787140 h 6858000"/>
              <a:gd name="connsiteX204" fmla="*/ 3291335 w 7467600"/>
              <a:gd name="connsiteY204" fmla="*/ 3767420 h 6858000"/>
              <a:gd name="connsiteX205" fmla="*/ 1635889 w 7467600"/>
              <a:gd name="connsiteY205" fmla="*/ 3709494 h 6858000"/>
              <a:gd name="connsiteX206" fmla="*/ 1634800 w 7467600"/>
              <a:gd name="connsiteY206" fmla="*/ 3731111 h 6858000"/>
              <a:gd name="connsiteX207" fmla="*/ 1635889 w 7467600"/>
              <a:gd name="connsiteY207" fmla="*/ 3709494 h 6858000"/>
              <a:gd name="connsiteX208" fmla="*/ 1510397 w 7467600"/>
              <a:gd name="connsiteY208" fmla="*/ 3684705 h 6858000"/>
              <a:gd name="connsiteX209" fmla="*/ 1146550 w 7467600"/>
              <a:gd name="connsiteY209" fmla="*/ 3802012 h 6858000"/>
              <a:gd name="connsiteX210" fmla="*/ 698834 w 7467600"/>
              <a:gd name="connsiteY210" fmla="*/ 3952272 h 6858000"/>
              <a:gd name="connsiteX211" fmla="*/ 34256 w 7467600"/>
              <a:gd name="connsiteY211" fmla="*/ 4347603 h 6858000"/>
              <a:gd name="connsiteX212" fmla="*/ 527241 w 7467600"/>
              <a:gd name="connsiteY212" fmla="*/ 4065078 h 6858000"/>
              <a:gd name="connsiteX213" fmla="*/ 1510397 w 7467600"/>
              <a:gd name="connsiteY213" fmla="*/ 3684705 h 6858000"/>
              <a:gd name="connsiteX214" fmla="*/ 1313114 w 7467600"/>
              <a:gd name="connsiteY214" fmla="*/ 3655216 h 6858000"/>
              <a:gd name="connsiteX215" fmla="*/ 1109304 w 7467600"/>
              <a:gd name="connsiteY215" fmla="*/ 3669030 h 6858000"/>
              <a:gd name="connsiteX216" fmla="*/ 8129 w 7467600"/>
              <a:gd name="connsiteY216" fmla="*/ 4330519 h 6858000"/>
              <a:gd name="connsiteX217" fmla="*/ 687572 w 7467600"/>
              <a:gd name="connsiteY217" fmla="*/ 3925629 h 6858000"/>
              <a:gd name="connsiteX218" fmla="*/ 1138365 w 7467600"/>
              <a:gd name="connsiteY218" fmla="*/ 3774515 h 6858000"/>
              <a:gd name="connsiteX219" fmla="*/ 1505579 w 7467600"/>
              <a:gd name="connsiteY219" fmla="*/ 3655526 h 6858000"/>
              <a:gd name="connsiteX220" fmla="*/ 1313114 w 7467600"/>
              <a:gd name="connsiteY220" fmla="*/ 3655216 h 6858000"/>
              <a:gd name="connsiteX221" fmla="*/ 3655073 w 7467600"/>
              <a:gd name="connsiteY221" fmla="*/ 3650884 h 6858000"/>
              <a:gd name="connsiteX222" fmla="*/ 3989938 w 7467600"/>
              <a:gd name="connsiteY222" fmla="*/ 3991685 h 6858000"/>
              <a:gd name="connsiteX223" fmla="*/ 4393907 w 7467600"/>
              <a:gd name="connsiteY223" fmla="*/ 4261258 h 6858000"/>
              <a:gd name="connsiteX224" fmla="*/ 4648051 w 7467600"/>
              <a:gd name="connsiteY224" fmla="*/ 4374051 h 6858000"/>
              <a:gd name="connsiteX225" fmla="*/ 4383389 w 7467600"/>
              <a:gd name="connsiteY225" fmla="*/ 4184369 h 6858000"/>
              <a:gd name="connsiteX226" fmla="*/ 4165508 w 7467600"/>
              <a:gd name="connsiteY226" fmla="*/ 4035196 h 6858000"/>
              <a:gd name="connsiteX227" fmla="*/ 4068162 w 7467600"/>
              <a:gd name="connsiteY227" fmla="*/ 3953394 h 6858000"/>
              <a:gd name="connsiteX228" fmla="*/ 3981416 w 7467600"/>
              <a:gd name="connsiteY228" fmla="*/ 3880482 h 6858000"/>
              <a:gd name="connsiteX229" fmla="*/ 3800147 w 7467600"/>
              <a:gd name="connsiteY229" fmla="*/ 3749872 h 6858000"/>
              <a:gd name="connsiteX230" fmla="*/ 3655073 w 7467600"/>
              <a:gd name="connsiteY230" fmla="*/ 3650884 h 6858000"/>
              <a:gd name="connsiteX231" fmla="*/ 3670252 w 7467600"/>
              <a:gd name="connsiteY231" fmla="*/ 3622798 h 6858000"/>
              <a:gd name="connsiteX232" fmla="*/ 3817258 w 7467600"/>
              <a:gd name="connsiteY232" fmla="*/ 3723577 h 6858000"/>
              <a:gd name="connsiteX233" fmla="*/ 4000461 w 7467600"/>
              <a:gd name="connsiteY233" fmla="*/ 3855966 h 6858000"/>
              <a:gd name="connsiteX234" fmla="*/ 4088180 w 7467600"/>
              <a:gd name="connsiteY234" fmla="*/ 3929774 h 6858000"/>
              <a:gd name="connsiteX235" fmla="*/ 4184555 w 7467600"/>
              <a:gd name="connsiteY235" fmla="*/ 4010683 h 6858000"/>
              <a:gd name="connsiteX236" fmla="*/ 4399563 w 7467600"/>
              <a:gd name="connsiteY236" fmla="*/ 4158106 h 6858000"/>
              <a:gd name="connsiteX237" fmla="*/ 4684469 w 7467600"/>
              <a:gd name="connsiteY237" fmla="*/ 4364680 h 6858000"/>
              <a:gd name="connsiteX238" fmla="*/ 4690271 w 7467600"/>
              <a:gd name="connsiteY238" fmla="*/ 4370034 h 6858000"/>
              <a:gd name="connsiteX239" fmla="*/ 4136093 w 7467600"/>
              <a:gd name="connsiteY239" fmla="*/ 3858466 h 6858000"/>
              <a:gd name="connsiteX240" fmla="*/ 3670252 w 7467600"/>
              <a:gd name="connsiteY240" fmla="*/ 3622798 h 6858000"/>
              <a:gd name="connsiteX241" fmla="*/ 4440129 w 7467600"/>
              <a:gd name="connsiteY241" fmla="*/ 3448571 h 6858000"/>
              <a:gd name="connsiteX242" fmla="*/ 4856525 w 7467600"/>
              <a:gd name="connsiteY242" fmla="*/ 3915351 h 6858000"/>
              <a:gd name="connsiteX243" fmla="*/ 5059055 w 7467600"/>
              <a:gd name="connsiteY243" fmla="*/ 4108918 h 6858000"/>
              <a:gd name="connsiteX244" fmla="*/ 5290070 w 7467600"/>
              <a:gd name="connsiteY244" fmla="*/ 4263619 h 6858000"/>
              <a:gd name="connsiteX245" fmla="*/ 4834991 w 7467600"/>
              <a:gd name="connsiteY245" fmla="*/ 3830985 h 6858000"/>
              <a:gd name="connsiteX246" fmla="*/ 4440129 w 7467600"/>
              <a:gd name="connsiteY246" fmla="*/ 3448571 h 6858000"/>
              <a:gd name="connsiteX247" fmla="*/ 4441737 w 7467600"/>
              <a:gd name="connsiteY247" fmla="*/ 3399734 h 6858000"/>
              <a:gd name="connsiteX248" fmla="*/ 4431236 w 7467600"/>
              <a:gd name="connsiteY248" fmla="*/ 3400954 h 6858000"/>
              <a:gd name="connsiteX249" fmla="*/ 4557150 w 7467600"/>
              <a:gd name="connsiteY249" fmla="*/ 3510023 h 6858000"/>
              <a:gd name="connsiteX250" fmla="*/ 4856936 w 7467600"/>
              <a:gd name="connsiteY250" fmla="*/ 3809146 h 6858000"/>
              <a:gd name="connsiteX251" fmla="*/ 5111996 w 7467600"/>
              <a:gd name="connsiteY251" fmla="*/ 4065759 h 6858000"/>
              <a:gd name="connsiteX252" fmla="*/ 5388878 w 7467600"/>
              <a:gd name="connsiteY252" fmla="*/ 4300185 h 6858000"/>
              <a:gd name="connsiteX253" fmla="*/ 5425556 w 7467600"/>
              <a:gd name="connsiteY253" fmla="*/ 4308967 h 6858000"/>
              <a:gd name="connsiteX254" fmla="*/ 4943646 w 7467600"/>
              <a:gd name="connsiteY254" fmla="*/ 3822916 h 6858000"/>
              <a:gd name="connsiteX255" fmla="*/ 4594837 w 7467600"/>
              <a:gd name="connsiteY255" fmla="*/ 3532274 h 6858000"/>
              <a:gd name="connsiteX256" fmla="*/ 4441737 w 7467600"/>
              <a:gd name="connsiteY256" fmla="*/ 3399734 h 6858000"/>
              <a:gd name="connsiteX257" fmla="*/ 5425834 w 7467600"/>
              <a:gd name="connsiteY257" fmla="*/ 3162785 h 6858000"/>
              <a:gd name="connsiteX258" fmla="*/ 5401644 w 7467600"/>
              <a:gd name="connsiteY258" fmla="*/ 3617847 h 6858000"/>
              <a:gd name="connsiteX259" fmla="*/ 5467256 w 7467600"/>
              <a:gd name="connsiteY259" fmla="*/ 4175494 h 6858000"/>
              <a:gd name="connsiteX260" fmla="*/ 5448069 w 7467600"/>
              <a:gd name="connsiteY260" fmla="*/ 3567554 h 6858000"/>
              <a:gd name="connsiteX261" fmla="*/ 5425834 w 7467600"/>
              <a:gd name="connsiteY261" fmla="*/ 3162785 h 6858000"/>
              <a:gd name="connsiteX262" fmla="*/ 1318687 w 7467600"/>
              <a:gd name="connsiteY262" fmla="*/ 3113840 h 6858000"/>
              <a:gd name="connsiteX263" fmla="*/ 1066793 w 7467600"/>
              <a:gd name="connsiteY263" fmla="*/ 3212171 h 6858000"/>
              <a:gd name="connsiteX264" fmla="*/ 993319 w 7467600"/>
              <a:gd name="connsiteY264" fmla="*/ 3247648 h 6858000"/>
              <a:gd name="connsiteX265" fmla="*/ 853081 w 7467600"/>
              <a:gd name="connsiteY265" fmla="*/ 3312410 h 6858000"/>
              <a:gd name="connsiteX266" fmla="*/ 805957 w 7467600"/>
              <a:gd name="connsiteY266" fmla="*/ 3330443 h 6858000"/>
              <a:gd name="connsiteX267" fmla="*/ 1318687 w 7467600"/>
              <a:gd name="connsiteY267" fmla="*/ 3113840 h 6858000"/>
              <a:gd name="connsiteX268" fmla="*/ 5453702 w 7467600"/>
              <a:gd name="connsiteY268" fmla="*/ 3090882 h 6858000"/>
              <a:gd name="connsiteX269" fmla="*/ 5480135 w 7467600"/>
              <a:gd name="connsiteY269" fmla="*/ 3565802 h 6858000"/>
              <a:gd name="connsiteX270" fmla="*/ 5499023 w 7467600"/>
              <a:gd name="connsiteY270" fmla="*/ 4166310 h 6858000"/>
              <a:gd name="connsiteX271" fmla="*/ 5547022 w 7467600"/>
              <a:gd name="connsiteY271" fmla="*/ 3607838 h 6858000"/>
              <a:gd name="connsiteX272" fmla="*/ 5515964 w 7467600"/>
              <a:gd name="connsiteY272" fmla="*/ 3378541 h 6858000"/>
              <a:gd name="connsiteX273" fmla="*/ 5453702 w 7467600"/>
              <a:gd name="connsiteY273" fmla="*/ 3090882 h 6858000"/>
              <a:gd name="connsiteX274" fmla="*/ 1238695 w 7467600"/>
              <a:gd name="connsiteY274" fmla="*/ 3076820 h 6858000"/>
              <a:gd name="connsiteX275" fmla="*/ 716371 w 7467600"/>
              <a:gd name="connsiteY275" fmla="*/ 3293249 h 6858000"/>
              <a:gd name="connsiteX276" fmla="*/ 579522 w 7467600"/>
              <a:gd name="connsiteY276" fmla="*/ 3371759 h 6858000"/>
              <a:gd name="connsiteX277" fmla="*/ 600288 w 7467600"/>
              <a:gd name="connsiteY277" fmla="*/ 3365555 h 6858000"/>
              <a:gd name="connsiteX278" fmla="*/ 840692 w 7467600"/>
              <a:gd name="connsiteY278" fmla="*/ 3284921 h 6858000"/>
              <a:gd name="connsiteX279" fmla="*/ 979248 w 7467600"/>
              <a:gd name="connsiteY279" fmla="*/ 3221003 h 6858000"/>
              <a:gd name="connsiteX280" fmla="*/ 1053282 w 7467600"/>
              <a:gd name="connsiteY280" fmla="*/ 3185247 h 6858000"/>
              <a:gd name="connsiteX281" fmla="*/ 1320603 w 7467600"/>
              <a:gd name="connsiteY281" fmla="*/ 3081281 h 6858000"/>
              <a:gd name="connsiteX282" fmla="*/ 1238695 w 7467600"/>
              <a:gd name="connsiteY282" fmla="*/ 3076820 h 6858000"/>
              <a:gd name="connsiteX283" fmla="*/ 5425627 w 7467600"/>
              <a:gd name="connsiteY283" fmla="*/ 2954192 h 6858000"/>
              <a:gd name="connsiteX284" fmla="*/ 5470770 w 7467600"/>
              <a:gd name="connsiteY284" fmla="*/ 3005435 h 6858000"/>
              <a:gd name="connsiteX285" fmla="*/ 5519779 w 7467600"/>
              <a:gd name="connsiteY285" fmla="*/ 4359223 h 6858000"/>
              <a:gd name="connsiteX286" fmla="*/ 5520293 w 7467600"/>
              <a:gd name="connsiteY286" fmla="*/ 4360602 h 6858000"/>
              <a:gd name="connsiteX287" fmla="*/ 5767221 w 7467600"/>
              <a:gd name="connsiteY287" fmla="*/ 4665564 h 6858000"/>
              <a:gd name="connsiteX288" fmla="*/ 6937169 w 7467600"/>
              <a:gd name="connsiteY288" fmla="*/ 4815941 h 6858000"/>
              <a:gd name="connsiteX289" fmla="*/ 6953922 w 7467600"/>
              <a:gd name="connsiteY289" fmla="*/ 4890068 h 6858000"/>
              <a:gd name="connsiteX290" fmla="*/ 6071359 w 7467600"/>
              <a:gd name="connsiteY290" fmla="*/ 4770770 h 6858000"/>
              <a:gd name="connsiteX291" fmla="*/ 6038839 w 7467600"/>
              <a:gd name="connsiteY291" fmla="*/ 4764474 h 6858000"/>
              <a:gd name="connsiteX292" fmla="*/ 6038706 w 7467600"/>
              <a:gd name="connsiteY292" fmla="*/ 4763847 h 6858000"/>
              <a:gd name="connsiteX293" fmla="*/ 6037784 w 7467600"/>
              <a:gd name="connsiteY293" fmla="*/ 4764270 h 6858000"/>
              <a:gd name="connsiteX294" fmla="*/ 6038839 w 7467600"/>
              <a:gd name="connsiteY294" fmla="*/ 4764474 h 6858000"/>
              <a:gd name="connsiteX295" fmla="*/ 6040338 w 7467600"/>
              <a:gd name="connsiteY295" fmla="*/ 4771418 h 6858000"/>
              <a:gd name="connsiteX296" fmla="*/ 6024488 w 7467600"/>
              <a:gd name="connsiteY296" fmla="*/ 4809903 h 6858000"/>
              <a:gd name="connsiteX297" fmla="*/ 5599771 w 7467600"/>
              <a:gd name="connsiteY297" fmla="*/ 5509652 h 6858000"/>
              <a:gd name="connsiteX298" fmla="*/ 5548843 w 7467600"/>
              <a:gd name="connsiteY298" fmla="*/ 5563845 h 6858000"/>
              <a:gd name="connsiteX299" fmla="*/ 5940952 w 7467600"/>
              <a:gd name="connsiteY299" fmla="*/ 6250028 h 6858000"/>
              <a:gd name="connsiteX300" fmla="*/ 6043441 w 7467600"/>
              <a:gd name="connsiteY300" fmla="*/ 6665847 h 6858000"/>
              <a:gd name="connsiteX301" fmla="*/ 6093432 w 7467600"/>
              <a:gd name="connsiteY301" fmla="*/ 6858000 h 6858000"/>
              <a:gd name="connsiteX302" fmla="*/ 6034344 w 7467600"/>
              <a:gd name="connsiteY302" fmla="*/ 6858000 h 6858000"/>
              <a:gd name="connsiteX303" fmla="*/ 6026679 w 7467600"/>
              <a:gd name="connsiteY303" fmla="*/ 6836959 h 6858000"/>
              <a:gd name="connsiteX304" fmla="*/ 5800441 w 7467600"/>
              <a:gd name="connsiteY304" fmla="*/ 6335286 h 6858000"/>
              <a:gd name="connsiteX305" fmla="*/ 5526562 w 7467600"/>
              <a:gd name="connsiteY305" fmla="*/ 5705388 h 6858000"/>
              <a:gd name="connsiteX306" fmla="*/ 5519640 w 7467600"/>
              <a:gd name="connsiteY306" fmla="*/ 5683774 h 6858000"/>
              <a:gd name="connsiteX307" fmla="*/ 5844559 w 7467600"/>
              <a:gd name="connsiteY307" fmla="*/ 6553349 h 6858000"/>
              <a:gd name="connsiteX308" fmla="*/ 5975994 w 7467600"/>
              <a:gd name="connsiteY308" fmla="*/ 6858000 h 6858000"/>
              <a:gd name="connsiteX309" fmla="*/ 5898547 w 7467600"/>
              <a:gd name="connsiteY309" fmla="*/ 6858000 h 6858000"/>
              <a:gd name="connsiteX310" fmla="*/ 5682041 w 7467600"/>
              <a:gd name="connsiteY310" fmla="*/ 6355860 h 6858000"/>
              <a:gd name="connsiteX311" fmla="*/ 5461758 w 7467600"/>
              <a:gd name="connsiteY311" fmla="*/ 5820220 h 6858000"/>
              <a:gd name="connsiteX312" fmla="*/ 5237282 w 7467600"/>
              <a:gd name="connsiteY312" fmla="*/ 6579086 h 6858000"/>
              <a:gd name="connsiteX313" fmla="*/ 5115009 w 7467600"/>
              <a:gd name="connsiteY313" fmla="*/ 6858000 h 6858000"/>
              <a:gd name="connsiteX314" fmla="*/ 5028074 w 7467600"/>
              <a:gd name="connsiteY314" fmla="*/ 6858000 h 6858000"/>
              <a:gd name="connsiteX315" fmla="*/ 5079508 w 7467600"/>
              <a:gd name="connsiteY315" fmla="*/ 6749074 h 6858000"/>
              <a:gd name="connsiteX316" fmla="*/ 5371846 w 7467600"/>
              <a:gd name="connsiteY316" fmla="*/ 5924413 h 6858000"/>
              <a:gd name="connsiteX317" fmla="*/ 5270512 w 7467600"/>
              <a:gd name="connsiteY317" fmla="*/ 6138975 h 6858000"/>
              <a:gd name="connsiteX318" fmla="*/ 5062409 w 7467600"/>
              <a:gd name="connsiteY318" fmla="*/ 6653544 h 6858000"/>
              <a:gd name="connsiteX319" fmla="*/ 5036628 w 7467600"/>
              <a:gd name="connsiteY319" fmla="*/ 6754247 h 6858000"/>
              <a:gd name="connsiteX320" fmla="*/ 5009112 w 7467600"/>
              <a:gd name="connsiteY320" fmla="*/ 6858000 h 6858000"/>
              <a:gd name="connsiteX321" fmla="*/ 4976679 w 7467600"/>
              <a:gd name="connsiteY321" fmla="*/ 6858000 h 6858000"/>
              <a:gd name="connsiteX322" fmla="*/ 5006537 w 7467600"/>
              <a:gd name="connsiteY322" fmla="*/ 6747068 h 6858000"/>
              <a:gd name="connsiteX323" fmla="*/ 5032723 w 7467600"/>
              <a:gd name="connsiteY323" fmla="*/ 6644957 h 6858000"/>
              <a:gd name="connsiteX324" fmla="*/ 5242949 w 7467600"/>
              <a:gd name="connsiteY324" fmla="*/ 6125175 h 6858000"/>
              <a:gd name="connsiteX325" fmla="*/ 5286321 w 7467600"/>
              <a:gd name="connsiteY325" fmla="*/ 6033555 h 6858000"/>
              <a:gd name="connsiteX326" fmla="*/ 5008210 w 7467600"/>
              <a:gd name="connsiteY326" fmla="*/ 6649194 h 6858000"/>
              <a:gd name="connsiteX327" fmla="*/ 4986321 w 7467600"/>
              <a:gd name="connsiteY327" fmla="*/ 6765687 h 6858000"/>
              <a:gd name="connsiteX328" fmla="*/ 4973474 w 7467600"/>
              <a:gd name="connsiteY328" fmla="*/ 6858000 h 6858000"/>
              <a:gd name="connsiteX329" fmla="*/ 4907178 w 7467600"/>
              <a:gd name="connsiteY329" fmla="*/ 6858000 h 6858000"/>
              <a:gd name="connsiteX330" fmla="*/ 4910810 w 7467600"/>
              <a:gd name="connsiteY330" fmla="*/ 6829660 h 6858000"/>
              <a:gd name="connsiteX331" fmla="*/ 4987461 w 7467600"/>
              <a:gd name="connsiteY331" fmla="*/ 6432994 h 6858000"/>
              <a:gd name="connsiteX332" fmla="*/ 5179262 w 7467600"/>
              <a:gd name="connsiteY332" fmla="*/ 6035044 h 6858000"/>
              <a:gd name="connsiteX333" fmla="*/ 4689678 w 7467600"/>
              <a:gd name="connsiteY333" fmla="*/ 6440241 h 6858000"/>
              <a:gd name="connsiteX334" fmla="*/ 4477543 w 7467600"/>
              <a:gd name="connsiteY334" fmla="*/ 6674836 h 6858000"/>
              <a:gd name="connsiteX335" fmla="*/ 4329957 w 7467600"/>
              <a:gd name="connsiteY335" fmla="*/ 6858000 h 6858000"/>
              <a:gd name="connsiteX336" fmla="*/ 4218595 w 7467600"/>
              <a:gd name="connsiteY336" fmla="*/ 6858000 h 6858000"/>
              <a:gd name="connsiteX337" fmla="*/ 4368888 w 7467600"/>
              <a:gd name="connsiteY337" fmla="*/ 6668412 h 6858000"/>
              <a:gd name="connsiteX338" fmla="*/ 4563091 w 7467600"/>
              <a:gd name="connsiteY338" fmla="*/ 6442508 h 6858000"/>
              <a:gd name="connsiteX339" fmla="*/ 5387324 w 7467600"/>
              <a:gd name="connsiteY339" fmla="*/ 5705830 h 6858000"/>
              <a:gd name="connsiteX340" fmla="*/ 5073620 w 7467600"/>
              <a:gd name="connsiteY340" fmla="*/ 5955437 h 6858000"/>
              <a:gd name="connsiteX341" fmla="*/ 4689789 w 7467600"/>
              <a:gd name="connsiteY341" fmla="*/ 6268382 h 6858000"/>
              <a:gd name="connsiteX342" fmla="*/ 4418722 w 7467600"/>
              <a:gd name="connsiteY342" fmla="*/ 6570886 h 6858000"/>
              <a:gd name="connsiteX343" fmla="*/ 4214944 w 7467600"/>
              <a:gd name="connsiteY343" fmla="*/ 6858000 h 6858000"/>
              <a:gd name="connsiteX344" fmla="*/ 4177898 w 7467600"/>
              <a:gd name="connsiteY344" fmla="*/ 6858000 h 6858000"/>
              <a:gd name="connsiteX345" fmla="*/ 4391597 w 7467600"/>
              <a:gd name="connsiteY345" fmla="*/ 6556370 h 6858000"/>
              <a:gd name="connsiteX346" fmla="*/ 4668889 w 7467600"/>
              <a:gd name="connsiteY346" fmla="*/ 6246399 h 6858000"/>
              <a:gd name="connsiteX347" fmla="*/ 5055427 w 7467600"/>
              <a:gd name="connsiteY347" fmla="*/ 5931476 h 6858000"/>
              <a:gd name="connsiteX348" fmla="*/ 5371814 w 7467600"/>
              <a:gd name="connsiteY348" fmla="*/ 5678975 h 6858000"/>
              <a:gd name="connsiteX349" fmla="*/ 4987918 w 7467600"/>
              <a:gd name="connsiteY349" fmla="*/ 5838701 h 6858000"/>
              <a:gd name="connsiteX350" fmla="*/ 4317146 w 7467600"/>
              <a:gd name="connsiteY350" fmla="*/ 6587716 h 6858000"/>
              <a:gd name="connsiteX351" fmla="*/ 4171627 w 7467600"/>
              <a:gd name="connsiteY351" fmla="*/ 6858000 h 6858000"/>
              <a:gd name="connsiteX352" fmla="*/ 4081585 w 7467600"/>
              <a:gd name="connsiteY352" fmla="*/ 6858000 h 6858000"/>
              <a:gd name="connsiteX353" fmla="*/ 4238603 w 7467600"/>
              <a:gd name="connsiteY353" fmla="*/ 6559341 h 6858000"/>
              <a:gd name="connsiteX354" fmla="*/ 4778333 w 7467600"/>
              <a:gd name="connsiteY354" fmla="*/ 5873626 h 6858000"/>
              <a:gd name="connsiteX355" fmla="*/ 5414185 w 7467600"/>
              <a:gd name="connsiteY355" fmla="*/ 5573882 h 6858000"/>
              <a:gd name="connsiteX356" fmla="*/ 5959648 w 7467600"/>
              <a:gd name="connsiteY356" fmla="*/ 4760797 h 6858000"/>
              <a:gd name="connsiteX357" fmla="*/ 5355019 w 7467600"/>
              <a:gd name="connsiteY357" fmla="*/ 4734672 h 6858000"/>
              <a:gd name="connsiteX358" fmla="*/ 5083565 w 7467600"/>
              <a:gd name="connsiteY358" fmla="*/ 5179121 h 6858000"/>
              <a:gd name="connsiteX359" fmla="*/ 4713577 w 7467600"/>
              <a:gd name="connsiteY359" fmla="*/ 5616803 h 6858000"/>
              <a:gd name="connsiteX360" fmla="*/ 3989559 w 7467600"/>
              <a:gd name="connsiteY360" fmla="*/ 6145945 h 6858000"/>
              <a:gd name="connsiteX361" fmla="*/ 3939824 w 7467600"/>
              <a:gd name="connsiteY361" fmla="*/ 6066900 h 6858000"/>
              <a:gd name="connsiteX362" fmla="*/ 4584537 w 7467600"/>
              <a:gd name="connsiteY362" fmla="*/ 5324826 h 6858000"/>
              <a:gd name="connsiteX363" fmla="*/ 5037105 w 7467600"/>
              <a:gd name="connsiteY363" fmla="*/ 5088765 h 6858000"/>
              <a:gd name="connsiteX364" fmla="*/ 5039930 w 7467600"/>
              <a:gd name="connsiteY364" fmla="*/ 5089585 h 6858000"/>
              <a:gd name="connsiteX365" fmla="*/ 5263764 w 7467600"/>
              <a:gd name="connsiteY365" fmla="*/ 4735525 h 6858000"/>
              <a:gd name="connsiteX366" fmla="*/ 4086300 w 7467600"/>
              <a:gd name="connsiteY366" fmla="*/ 4884599 h 6858000"/>
              <a:gd name="connsiteX367" fmla="*/ 4085485 w 7467600"/>
              <a:gd name="connsiteY367" fmla="*/ 4899070 h 6858000"/>
              <a:gd name="connsiteX368" fmla="*/ 3871915 w 7467600"/>
              <a:gd name="connsiteY368" fmla="*/ 5253645 h 6858000"/>
              <a:gd name="connsiteX369" fmla="*/ 3799374 w 7467600"/>
              <a:gd name="connsiteY369" fmla="*/ 5466127 h 6858000"/>
              <a:gd name="connsiteX370" fmla="*/ 3498850 w 7467600"/>
              <a:gd name="connsiteY370" fmla="*/ 6661888 h 6858000"/>
              <a:gd name="connsiteX371" fmla="*/ 3399216 w 7467600"/>
              <a:gd name="connsiteY371" fmla="*/ 6858000 h 6858000"/>
              <a:gd name="connsiteX372" fmla="*/ 3303688 w 7467600"/>
              <a:gd name="connsiteY372" fmla="*/ 6858000 h 6858000"/>
              <a:gd name="connsiteX373" fmla="*/ 3391774 w 7467600"/>
              <a:gd name="connsiteY373" fmla="*/ 6697181 h 6858000"/>
              <a:gd name="connsiteX374" fmla="*/ 3735540 w 7467600"/>
              <a:gd name="connsiteY374" fmla="*/ 5546923 h 6858000"/>
              <a:gd name="connsiteX375" fmla="*/ 3729438 w 7467600"/>
              <a:gd name="connsiteY375" fmla="*/ 5569058 h 6858000"/>
              <a:gd name="connsiteX376" fmla="*/ 3707782 w 7467600"/>
              <a:gd name="connsiteY376" fmla="*/ 5644908 h 6858000"/>
              <a:gd name="connsiteX377" fmla="*/ 3583827 w 7467600"/>
              <a:gd name="connsiteY377" fmla="*/ 6039215 h 6858000"/>
              <a:gd name="connsiteX378" fmla="*/ 3547861 w 7467600"/>
              <a:gd name="connsiteY378" fmla="*/ 6129609 h 6858000"/>
              <a:gd name="connsiteX379" fmla="*/ 3490905 w 7467600"/>
              <a:gd name="connsiteY379" fmla="*/ 6277660 h 6858000"/>
              <a:gd name="connsiteX380" fmla="*/ 3455859 w 7467600"/>
              <a:gd name="connsiteY380" fmla="*/ 6391301 h 6858000"/>
              <a:gd name="connsiteX381" fmla="*/ 3429112 w 7467600"/>
              <a:gd name="connsiteY381" fmla="*/ 6479469 h 6858000"/>
              <a:gd name="connsiteX382" fmla="*/ 3304862 w 7467600"/>
              <a:gd name="connsiteY382" fmla="*/ 6796476 h 6858000"/>
              <a:gd name="connsiteX383" fmla="*/ 3276071 w 7467600"/>
              <a:gd name="connsiteY383" fmla="*/ 6858000 h 6858000"/>
              <a:gd name="connsiteX384" fmla="*/ 3240805 w 7467600"/>
              <a:gd name="connsiteY384" fmla="*/ 6858000 h 6858000"/>
              <a:gd name="connsiteX385" fmla="*/ 3275917 w 7467600"/>
              <a:gd name="connsiteY385" fmla="*/ 6783192 h 6858000"/>
              <a:gd name="connsiteX386" fmla="*/ 3399358 w 7467600"/>
              <a:gd name="connsiteY386" fmla="*/ 6469011 h 6858000"/>
              <a:gd name="connsiteX387" fmla="*/ 3425650 w 7467600"/>
              <a:gd name="connsiteY387" fmla="*/ 6381333 h 6858000"/>
              <a:gd name="connsiteX388" fmla="*/ 3460661 w 7467600"/>
              <a:gd name="connsiteY388" fmla="*/ 6266763 h 6858000"/>
              <a:gd name="connsiteX389" fmla="*/ 3518021 w 7467600"/>
              <a:gd name="connsiteY389" fmla="*/ 6117298 h 6858000"/>
              <a:gd name="connsiteX390" fmla="*/ 3554035 w 7467600"/>
              <a:gd name="connsiteY390" fmla="*/ 6027832 h 6858000"/>
              <a:gd name="connsiteX391" fmla="*/ 3677174 w 7467600"/>
              <a:gd name="connsiteY391" fmla="*/ 5636351 h 6858000"/>
              <a:gd name="connsiteX392" fmla="*/ 3698819 w 7467600"/>
              <a:gd name="connsiteY392" fmla="*/ 5560503 h 6858000"/>
              <a:gd name="connsiteX393" fmla="*/ 3702094 w 7467600"/>
              <a:gd name="connsiteY393" fmla="*/ 5549194 h 6858000"/>
              <a:gd name="connsiteX394" fmla="*/ 3398355 w 7467600"/>
              <a:gd name="connsiteY394" fmla="*/ 6094603 h 6858000"/>
              <a:gd name="connsiteX395" fmla="*/ 3193941 w 7467600"/>
              <a:gd name="connsiteY395" fmla="*/ 6798775 h 6858000"/>
              <a:gd name="connsiteX396" fmla="*/ 3184140 w 7467600"/>
              <a:gd name="connsiteY396" fmla="*/ 6858000 h 6858000"/>
              <a:gd name="connsiteX397" fmla="*/ 3099978 w 7467600"/>
              <a:gd name="connsiteY397" fmla="*/ 6858000 h 6858000"/>
              <a:gd name="connsiteX398" fmla="*/ 3101556 w 7467600"/>
              <a:gd name="connsiteY398" fmla="*/ 6843337 h 6858000"/>
              <a:gd name="connsiteX399" fmla="*/ 3370162 w 7467600"/>
              <a:gd name="connsiteY399" fmla="*/ 5785550 h 6858000"/>
              <a:gd name="connsiteX400" fmla="*/ 3746477 w 7467600"/>
              <a:gd name="connsiteY400" fmla="*/ 5377889 h 6858000"/>
              <a:gd name="connsiteX401" fmla="*/ 3863399 w 7467600"/>
              <a:gd name="connsiteY401" fmla="*/ 5087257 h 6858000"/>
              <a:gd name="connsiteX402" fmla="*/ 3968712 w 7467600"/>
              <a:gd name="connsiteY402" fmla="*/ 4913989 h 6858000"/>
              <a:gd name="connsiteX403" fmla="*/ 2792390 w 7467600"/>
              <a:gd name="connsiteY403" fmla="*/ 5382974 h 6858000"/>
              <a:gd name="connsiteX404" fmla="*/ 2714982 w 7467600"/>
              <a:gd name="connsiteY404" fmla="*/ 5427051 h 6858000"/>
              <a:gd name="connsiteX405" fmla="*/ 2813361 w 7467600"/>
              <a:gd name="connsiteY405" fmla="*/ 6023912 h 6858000"/>
              <a:gd name="connsiteX406" fmla="*/ 2688430 w 7467600"/>
              <a:gd name="connsiteY406" fmla="*/ 6801564 h 6858000"/>
              <a:gd name="connsiteX407" fmla="*/ 2629626 w 7467600"/>
              <a:gd name="connsiteY407" fmla="*/ 6763394 h 6858000"/>
              <a:gd name="connsiteX408" fmla="*/ 2565328 w 7467600"/>
              <a:gd name="connsiteY408" fmla="*/ 5516399 h 6858000"/>
              <a:gd name="connsiteX409" fmla="*/ 1922999 w 7467600"/>
              <a:gd name="connsiteY409" fmla="*/ 5980343 h 6858000"/>
              <a:gd name="connsiteX410" fmla="*/ 1950261 w 7467600"/>
              <a:gd name="connsiteY410" fmla="*/ 6405858 h 6858000"/>
              <a:gd name="connsiteX411" fmla="*/ 2365554 w 7467600"/>
              <a:gd name="connsiteY411" fmla="*/ 6759107 h 6858000"/>
              <a:gd name="connsiteX412" fmla="*/ 2424142 w 7467600"/>
              <a:gd name="connsiteY412" fmla="*/ 6858000 h 6858000"/>
              <a:gd name="connsiteX413" fmla="*/ 2395994 w 7467600"/>
              <a:gd name="connsiteY413" fmla="*/ 6858000 h 6858000"/>
              <a:gd name="connsiteX414" fmla="*/ 2392863 w 7467600"/>
              <a:gd name="connsiteY414" fmla="*/ 6852964 h 6858000"/>
              <a:gd name="connsiteX415" fmla="*/ 2017589 w 7467600"/>
              <a:gd name="connsiteY415" fmla="*/ 6493982 h 6858000"/>
              <a:gd name="connsiteX416" fmla="*/ 2147336 w 7467600"/>
              <a:gd name="connsiteY416" fmla="*/ 6594052 h 6858000"/>
              <a:gd name="connsiteX417" fmla="*/ 2207047 w 7467600"/>
              <a:gd name="connsiteY417" fmla="*/ 6654540 h 6858000"/>
              <a:gd name="connsiteX418" fmla="*/ 2299106 w 7467600"/>
              <a:gd name="connsiteY418" fmla="*/ 6778931 h 6858000"/>
              <a:gd name="connsiteX419" fmla="*/ 2314430 w 7467600"/>
              <a:gd name="connsiteY419" fmla="*/ 6801144 h 6858000"/>
              <a:gd name="connsiteX420" fmla="*/ 2352406 w 7467600"/>
              <a:gd name="connsiteY420" fmla="*/ 6858000 h 6858000"/>
              <a:gd name="connsiteX421" fmla="*/ 2314492 w 7467600"/>
              <a:gd name="connsiteY421" fmla="*/ 6858000 h 6858000"/>
              <a:gd name="connsiteX422" fmla="*/ 2288095 w 7467600"/>
              <a:gd name="connsiteY422" fmla="*/ 6818030 h 6858000"/>
              <a:gd name="connsiteX423" fmla="*/ 2272768 w 7467600"/>
              <a:gd name="connsiteY423" fmla="*/ 6795822 h 6858000"/>
              <a:gd name="connsiteX424" fmla="*/ 2182715 w 7467600"/>
              <a:gd name="connsiteY424" fmla="*/ 6675071 h 6858000"/>
              <a:gd name="connsiteX425" fmla="*/ 2032061 w 7467600"/>
              <a:gd name="connsiteY425" fmla="*/ 6541380 h 6858000"/>
              <a:gd name="connsiteX426" fmla="*/ 2257220 w 7467600"/>
              <a:gd name="connsiteY426" fmla="*/ 6826257 h 6858000"/>
              <a:gd name="connsiteX427" fmla="*/ 2281324 w 7467600"/>
              <a:gd name="connsiteY427" fmla="*/ 6858000 h 6858000"/>
              <a:gd name="connsiteX428" fmla="*/ 2242860 w 7467600"/>
              <a:gd name="connsiteY428" fmla="*/ 6858000 h 6858000"/>
              <a:gd name="connsiteX429" fmla="*/ 2232818 w 7467600"/>
              <a:gd name="connsiteY429" fmla="*/ 6844926 h 6858000"/>
              <a:gd name="connsiteX430" fmla="*/ 1990172 w 7467600"/>
              <a:gd name="connsiteY430" fmla="*/ 6542121 h 6858000"/>
              <a:gd name="connsiteX431" fmla="*/ 2124090 w 7467600"/>
              <a:gd name="connsiteY431" fmla="*/ 6761017 h 6858000"/>
              <a:gd name="connsiteX432" fmla="*/ 2200380 w 7467600"/>
              <a:gd name="connsiteY432" fmla="*/ 6858000 h 6858000"/>
              <a:gd name="connsiteX433" fmla="*/ 2147507 w 7467600"/>
              <a:gd name="connsiteY433" fmla="*/ 6858000 h 6858000"/>
              <a:gd name="connsiteX434" fmla="*/ 2070668 w 7467600"/>
              <a:gd name="connsiteY434" fmla="*/ 6761520 h 6858000"/>
              <a:gd name="connsiteX435" fmla="*/ 1975142 w 7467600"/>
              <a:gd name="connsiteY435" fmla="*/ 6585570 h 6858000"/>
              <a:gd name="connsiteX436" fmla="*/ 2050035 w 7467600"/>
              <a:gd name="connsiteY436" fmla="*/ 6813345 h 6858000"/>
              <a:gd name="connsiteX437" fmla="*/ 2063025 w 7467600"/>
              <a:gd name="connsiteY437" fmla="*/ 6858000 h 6858000"/>
              <a:gd name="connsiteX438" fmla="*/ 2021675 w 7467600"/>
              <a:gd name="connsiteY438" fmla="*/ 6858000 h 6858000"/>
              <a:gd name="connsiteX439" fmla="*/ 2019308 w 7467600"/>
              <a:gd name="connsiteY439" fmla="*/ 6847118 h 6858000"/>
              <a:gd name="connsiteX440" fmla="*/ 1938835 w 7467600"/>
              <a:gd name="connsiteY440" fmla="*/ 6551160 h 6858000"/>
              <a:gd name="connsiteX441" fmla="*/ 1953230 w 7467600"/>
              <a:gd name="connsiteY441" fmla="*/ 6759699 h 6858000"/>
              <a:gd name="connsiteX442" fmla="*/ 1956763 w 7467600"/>
              <a:gd name="connsiteY442" fmla="*/ 6778191 h 6858000"/>
              <a:gd name="connsiteX443" fmla="*/ 1967925 w 7467600"/>
              <a:gd name="connsiteY443" fmla="*/ 6858000 h 6858000"/>
              <a:gd name="connsiteX444" fmla="*/ 1936622 w 7467600"/>
              <a:gd name="connsiteY444" fmla="*/ 6858000 h 6858000"/>
              <a:gd name="connsiteX445" fmla="*/ 1926261 w 7467600"/>
              <a:gd name="connsiteY445" fmla="*/ 6784064 h 6858000"/>
              <a:gd name="connsiteX446" fmla="*/ 1922724 w 7467600"/>
              <a:gd name="connsiteY446" fmla="*/ 6765577 h 6858000"/>
              <a:gd name="connsiteX447" fmla="*/ 1904650 w 7467600"/>
              <a:gd name="connsiteY447" fmla="*/ 6639616 h 6858000"/>
              <a:gd name="connsiteX448" fmla="*/ 1885273 w 7467600"/>
              <a:gd name="connsiteY448" fmla="*/ 6858000 h 6858000"/>
              <a:gd name="connsiteX449" fmla="*/ 1854363 w 7467600"/>
              <a:gd name="connsiteY449" fmla="*/ 6858000 h 6858000"/>
              <a:gd name="connsiteX450" fmla="*/ 1880391 w 7467600"/>
              <a:gd name="connsiteY450" fmla="*/ 6603796 h 6858000"/>
              <a:gd name="connsiteX451" fmla="*/ 1818273 w 7467600"/>
              <a:gd name="connsiteY451" fmla="*/ 6715729 h 6858000"/>
              <a:gd name="connsiteX452" fmla="*/ 1794691 w 7467600"/>
              <a:gd name="connsiteY452" fmla="*/ 6843239 h 6858000"/>
              <a:gd name="connsiteX453" fmla="*/ 1794914 w 7467600"/>
              <a:gd name="connsiteY453" fmla="*/ 6858000 h 6858000"/>
              <a:gd name="connsiteX454" fmla="*/ 1746128 w 7467600"/>
              <a:gd name="connsiteY454" fmla="*/ 6858000 h 6858000"/>
              <a:gd name="connsiteX455" fmla="*/ 1753934 w 7467600"/>
              <a:gd name="connsiteY455" fmla="*/ 6724796 h 6858000"/>
              <a:gd name="connsiteX456" fmla="*/ 1792053 w 7467600"/>
              <a:gd name="connsiteY456" fmla="*/ 6572396 h 6858000"/>
              <a:gd name="connsiteX457" fmla="*/ 1862248 w 7467600"/>
              <a:gd name="connsiteY457" fmla="*/ 6266397 h 6858000"/>
              <a:gd name="connsiteX458" fmla="*/ 1862250 w 7467600"/>
              <a:gd name="connsiteY458" fmla="*/ 6033531 h 6858000"/>
              <a:gd name="connsiteX459" fmla="*/ 1211999 w 7467600"/>
              <a:gd name="connsiteY459" fmla="*/ 6683610 h 6858000"/>
              <a:gd name="connsiteX460" fmla="*/ 1213266 w 7467600"/>
              <a:gd name="connsiteY460" fmla="*/ 6691947 h 6858000"/>
              <a:gd name="connsiteX461" fmla="*/ 1203370 w 7467600"/>
              <a:gd name="connsiteY461" fmla="*/ 6850676 h 6858000"/>
              <a:gd name="connsiteX462" fmla="*/ 1203671 w 7467600"/>
              <a:gd name="connsiteY462" fmla="*/ 6858000 h 6858000"/>
              <a:gd name="connsiteX463" fmla="*/ 1143180 w 7467600"/>
              <a:gd name="connsiteY463" fmla="*/ 6858000 h 6858000"/>
              <a:gd name="connsiteX464" fmla="*/ 1142176 w 7467600"/>
              <a:gd name="connsiteY464" fmla="*/ 6766045 h 6858000"/>
              <a:gd name="connsiteX465" fmla="*/ 1067484 w 7467600"/>
              <a:gd name="connsiteY465" fmla="*/ 6858000 h 6858000"/>
              <a:gd name="connsiteX466" fmla="*/ 953928 w 7467600"/>
              <a:gd name="connsiteY466" fmla="*/ 6858000 h 6858000"/>
              <a:gd name="connsiteX467" fmla="*/ 959715 w 7467600"/>
              <a:gd name="connsiteY467" fmla="*/ 6850185 h 6858000"/>
              <a:gd name="connsiteX468" fmla="*/ 1483788 w 7467600"/>
              <a:gd name="connsiteY468" fmla="*/ 6259174 h 6858000"/>
              <a:gd name="connsiteX469" fmla="*/ 1100671 w 7467600"/>
              <a:gd name="connsiteY469" fmla="*/ 6252137 h 6858000"/>
              <a:gd name="connsiteX470" fmla="*/ 1090144 w 7467600"/>
              <a:gd name="connsiteY470" fmla="*/ 6256748 h 6858000"/>
              <a:gd name="connsiteX471" fmla="*/ 1095872 w 7467600"/>
              <a:gd name="connsiteY471" fmla="*/ 6271892 h 6858000"/>
              <a:gd name="connsiteX472" fmla="*/ 262785 w 7467600"/>
              <a:gd name="connsiteY472" fmla="*/ 6845450 h 6858000"/>
              <a:gd name="connsiteX473" fmla="*/ 209968 w 7467600"/>
              <a:gd name="connsiteY473" fmla="*/ 6770713 h 6858000"/>
              <a:gd name="connsiteX474" fmla="*/ 873460 w 7467600"/>
              <a:gd name="connsiteY474" fmla="*/ 6253768 h 6858000"/>
              <a:gd name="connsiteX475" fmla="*/ 192686 w 7467600"/>
              <a:gd name="connsiteY475" fmla="*/ 5849257 h 6858000"/>
              <a:gd name="connsiteX476" fmla="*/ 4696 w 7467600"/>
              <a:gd name="connsiteY476" fmla="*/ 5697668 h 6858000"/>
              <a:gd name="connsiteX477" fmla="*/ 0 w 7467600"/>
              <a:gd name="connsiteY477" fmla="*/ 5689984 h 6858000"/>
              <a:gd name="connsiteX478" fmla="*/ 0 w 7467600"/>
              <a:gd name="connsiteY478" fmla="*/ 5513472 h 6858000"/>
              <a:gd name="connsiteX479" fmla="*/ 174101 w 7467600"/>
              <a:gd name="connsiteY479" fmla="*/ 5620277 h 6858000"/>
              <a:gd name="connsiteX480" fmla="*/ 891800 w 7467600"/>
              <a:gd name="connsiteY480" fmla="*/ 6036935 h 6858000"/>
              <a:gd name="connsiteX481" fmla="*/ 1072219 w 7467600"/>
              <a:gd name="connsiteY481" fmla="*/ 6169443 h 6858000"/>
              <a:gd name="connsiteX482" fmla="*/ 1074117 w 7467600"/>
              <a:gd name="connsiteY482" fmla="*/ 6170301 h 6858000"/>
              <a:gd name="connsiteX483" fmla="*/ 1083114 w 7467600"/>
              <a:gd name="connsiteY483" fmla="*/ 6174131 h 6858000"/>
              <a:gd name="connsiteX484" fmla="*/ 1543010 w 7467600"/>
              <a:gd name="connsiteY484" fmla="*/ 6191140 h 6858000"/>
              <a:gd name="connsiteX485" fmla="*/ 1551080 w 7467600"/>
              <a:gd name="connsiteY485" fmla="*/ 6195006 h 6858000"/>
              <a:gd name="connsiteX486" fmla="*/ 2345443 w 7467600"/>
              <a:gd name="connsiteY486" fmla="*/ 5549882 h 6858000"/>
              <a:gd name="connsiteX487" fmla="*/ 1721499 w 7467600"/>
              <a:gd name="connsiteY487" fmla="*/ 5599969 h 6858000"/>
              <a:gd name="connsiteX488" fmla="*/ 767716 w 7467600"/>
              <a:gd name="connsiteY488" fmla="*/ 5472768 h 6858000"/>
              <a:gd name="connsiteX489" fmla="*/ 722147 w 7467600"/>
              <a:gd name="connsiteY489" fmla="*/ 5393091 h 6858000"/>
              <a:gd name="connsiteX490" fmla="*/ 1485552 w 7467600"/>
              <a:gd name="connsiteY490" fmla="*/ 5313202 h 6858000"/>
              <a:gd name="connsiteX491" fmla="*/ 2143004 w 7467600"/>
              <a:gd name="connsiteY491" fmla="*/ 5402420 h 6858000"/>
              <a:gd name="connsiteX492" fmla="*/ 1933391 w 7467600"/>
              <a:gd name="connsiteY492" fmla="*/ 5156971 h 6858000"/>
              <a:gd name="connsiteX493" fmla="*/ 1827118 w 7467600"/>
              <a:gd name="connsiteY493" fmla="*/ 4968410 h 6858000"/>
              <a:gd name="connsiteX494" fmla="*/ 1837349 w 7467600"/>
              <a:gd name="connsiteY494" fmla="*/ 4956357 h 6858000"/>
              <a:gd name="connsiteX495" fmla="*/ 2162835 w 7467600"/>
              <a:gd name="connsiteY495" fmla="*/ 5187853 h 6858000"/>
              <a:gd name="connsiteX496" fmla="*/ 2257167 w 7467600"/>
              <a:gd name="connsiteY496" fmla="*/ 5462123 h 6858000"/>
              <a:gd name="connsiteX497" fmla="*/ 2261598 w 7467600"/>
              <a:gd name="connsiteY497" fmla="*/ 5467998 h 6858000"/>
              <a:gd name="connsiteX498" fmla="*/ 2437177 w 7467600"/>
              <a:gd name="connsiteY498" fmla="*/ 5479608 h 6858000"/>
              <a:gd name="connsiteX499" fmla="*/ 2445247 w 7467600"/>
              <a:gd name="connsiteY499" fmla="*/ 5483476 h 6858000"/>
              <a:gd name="connsiteX500" fmla="*/ 2743626 w 7467600"/>
              <a:gd name="connsiteY500" fmla="*/ 5304819 h 6858000"/>
              <a:gd name="connsiteX501" fmla="*/ 3048102 w 7467600"/>
              <a:gd name="connsiteY501" fmla="*/ 5150595 h 6858000"/>
              <a:gd name="connsiteX502" fmla="*/ 1799414 w 7467600"/>
              <a:gd name="connsiteY502" fmla="*/ 4694732 h 6858000"/>
              <a:gd name="connsiteX503" fmla="*/ 1771735 w 7467600"/>
              <a:gd name="connsiteY503" fmla="*/ 4619929 h 6858000"/>
              <a:gd name="connsiteX504" fmla="*/ 3104273 w 7467600"/>
              <a:gd name="connsiteY504" fmla="*/ 5076159 h 6858000"/>
              <a:gd name="connsiteX505" fmla="*/ 3113245 w 7467600"/>
              <a:gd name="connsiteY505" fmla="*/ 5090705 h 6858000"/>
              <a:gd name="connsiteX506" fmla="*/ 3126294 w 7467600"/>
              <a:gd name="connsiteY506" fmla="*/ 5114400 h 6858000"/>
              <a:gd name="connsiteX507" fmla="*/ 3937433 w 7467600"/>
              <a:gd name="connsiteY507" fmla="*/ 4830473 h 6858000"/>
              <a:gd name="connsiteX508" fmla="*/ 3590475 w 7467600"/>
              <a:gd name="connsiteY508" fmla="*/ 4597974 h 6858000"/>
              <a:gd name="connsiteX509" fmla="*/ 3100264 w 7467600"/>
              <a:gd name="connsiteY509" fmla="*/ 4579845 h 6858000"/>
              <a:gd name="connsiteX510" fmla="*/ 2183576 w 7467600"/>
              <a:gd name="connsiteY510" fmla="*/ 4227150 h 6858000"/>
              <a:gd name="connsiteX511" fmla="*/ 2151029 w 7467600"/>
              <a:gd name="connsiteY511" fmla="*/ 4146947 h 6858000"/>
              <a:gd name="connsiteX512" fmla="*/ 3563434 w 7467600"/>
              <a:gd name="connsiteY512" fmla="*/ 4469115 h 6858000"/>
              <a:gd name="connsiteX513" fmla="*/ 3177952 w 7467600"/>
              <a:gd name="connsiteY513" fmla="*/ 3657386 h 6858000"/>
              <a:gd name="connsiteX514" fmla="*/ 3189263 w 7467600"/>
              <a:gd name="connsiteY514" fmla="*/ 3625726 h 6858000"/>
              <a:gd name="connsiteX515" fmla="*/ 3560912 w 7467600"/>
              <a:gd name="connsiteY515" fmla="*/ 4079863 h 6858000"/>
              <a:gd name="connsiteX516" fmla="*/ 3626636 w 7467600"/>
              <a:gd name="connsiteY516" fmla="*/ 4512230 h 6858000"/>
              <a:gd name="connsiteX517" fmla="*/ 3653088 w 7467600"/>
              <a:gd name="connsiteY517" fmla="*/ 4521417 h 6858000"/>
              <a:gd name="connsiteX518" fmla="*/ 3988128 w 7467600"/>
              <a:gd name="connsiteY518" fmla="*/ 4817267 h 6858000"/>
              <a:gd name="connsiteX519" fmla="*/ 4830582 w 7467600"/>
              <a:gd name="connsiteY519" fmla="*/ 4676000 h 6858000"/>
              <a:gd name="connsiteX520" fmla="*/ 4830100 w 7467600"/>
              <a:gd name="connsiteY520" fmla="*/ 4675554 h 6858000"/>
              <a:gd name="connsiteX521" fmla="*/ 4036318 w 7467600"/>
              <a:gd name="connsiteY521" fmla="*/ 4147013 h 6858000"/>
              <a:gd name="connsiteX522" fmla="*/ 3432098 w 7467600"/>
              <a:gd name="connsiteY522" fmla="*/ 3537312 h 6858000"/>
              <a:gd name="connsiteX523" fmla="*/ 3446761 w 7467600"/>
              <a:gd name="connsiteY523" fmla="*/ 3461278 h 6858000"/>
              <a:gd name="connsiteX524" fmla="*/ 4419733 w 7467600"/>
              <a:gd name="connsiteY524" fmla="*/ 3963555 h 6858000"/>
              <a:gd name="connsiteX525" fmla="*/ 4781371 w 7467600"/>
              <a:gd name="connsiteY525" fmla="*/ 4458604 h 6858000"/>
              <a:gd name="connsiteX526" fmla="*/ 4780440 w 7467600"/>
              <a:gd name="connsiteY526" fmla="*/ 4470290 h 6858000"/>
              <a:gd name="connsiteX527" fmla="*/ 4898954 w 7467600"/>
              <a:gd name="connsiteY527" fmla="*/ 4662092 h 6858000"/>
              <a:gd name="connsiteX528" fmla="*/ 4900699 w 7467600"/>
              <a:gd name="connsiteY528" fmla="*/ 4670867 h 6858000"/>
              <a:gd name="connsiteX529" fmla="*/ 5714511 w 7467600"/>
              <a:gd name="connsiteY529" fmla="*/ 4663483 h 6858000"/>
              <a:gd name="connsiteX530" fmla="*/ 5464793 w 7467600"/>
              <a:gd name="connsiteY530" fmla="*/ 4393556 h 6858000"/>
              <a:gd name="connsiteX531" fmla="*/ 5461897 w 7467600"/>
              <a:gd name="connsiteY531" fmla="*/ 4390879 h 6858000"/>
              <a:gd name="connsiteX532" fmla="*/ 4294126 w 7467600"/>
              <a:gd name="connsiteY532" fmla="*/ 3303048 h 6858000"/>
              <a:gd name="connsiteX533" fmla="*/ 4305321 w 7467600"/>
              <a:gd name="connsiteY533" fmla="*/ 3256953 h 6858000"/>
              <a:gd name="connsiteX534" fmla="*/ 4949299 w 7467600"/>
              <a:gd name="connsiteY534" fmla="*/ 3766336 h 6858000"/>
              <a:gd name="connsiteX535" fmla="*/ 5291452 w 7467600"/>
              <a:gd name="connsiteY535" fmla="*/ 4076801 h 6858000"/>
              <a:gd name="connsiteX536" fmla="*/ 5434998 w 7467600"/>
              <a:gd name="connsiteY536" fmla="*/ 4254100 h 6858000"/>
              <a:gd name="connsiteX537" fmla="*/ 5351015 w 7467600"/>
              <a:gd name="connsiteY537" fmla="*/ 3760989 h 6858000"/>
              <a:gd name="connsiteX538" fmla="*/ 5413780 w 7467600"/>
              <a:gd name="connsiteY538" fmla="*/ 2966265 h 6858000"/>
              <a:gd name="connsiteX539" fmla="*/ 5425627 w 7467600"/>
              <a:gd name="connsiteY539" fmla="*/ 2954192 h 6858000"/>
              <a:gd name="connsiteX540" fmla="*/ 6604735 w 7467600"/>
              <a:gd name="connsiteY540" fmla="*/ 2041381 h 6858000"/>
              <a:gd name="connsiteX541" fmla="*/ 7204487 w 7467600"/>
              <a:gd name="connsiteY541" fmla="*/ 2742112 h 6858000"/>
              <a:gd name="connsiteX542" fmla="*/ 7131592 w 7467600"/>
              <a:gd name="connsiteY542" fmla="*/ 2672096 h 6858000"/>
              <a:gd name="connsiteX543" fmla="*/ 6996344 w 7467600"/>
              <a:gd name="connsiteY543" fmla="*/ 2518310 h 6858000"/>
              <a:gd name="connsiteX544" fmla="*/ 6735495 w 7467600"/>
              <a:gd name="connsiteY544" fmla="*/ 2196890 h 6858000"/>
              <a:gd name="connsiteX545" fmla="*/ 6721901 w 7467600"/>
              <a:gd name="connsiteY545" fmla="*/ 2179274 h 6858000"/>
              <a:gd name="connsiteX546" fmla="*/ 6604735 w 7467600"/>
              <a:gd name="connsiteY546" fmla="*/ 2041381 h 6858000"/>
              <a:gd name="connsiteX547" fmla="*/ 6591670 w 7467600"/>
              <a:gd name="connsiteY547" fmla="*/ 1988277 h 6858000"/>
              <a:gd name="connsiteX548" fmla="*/ 6747349 w 7467600"/>
              <a:gd name="connsiteY548" fmla="*/ 2160069 h 6858000"/>
              <a:gd name="connsiteX549" fmla="*/ 6760943 w 7467600"/>
              <a:gd name="connsiteY549" fmla="*/ 2177686 h 6858000"/>
              <a:gd name="connsiteX550" fmla="*/ 7021065 w 7467600"/>
              <a:gd name="connsiteY550" fmla="*/ 2498102 h 6858000"/>
              <a:gd name="connsiteX551" fmla="*/ 7155223 w 7467600"/>
              <a:gd name="connsiteY551" fmla="*/ 2650386 h 6858000"/>
              <a:gd name="connsiteX552" fmla="*/ 7203167 w 7467600"/>
              <a:gd name="connsiteY552" fmla="*/ 2697288 h 6858000"/>
              <a:gd name="connsiteX553" fmla="*/ 6937703 w 7467600"/>
              <a:gd name="connsiteY553" fmla="*/ 2321981 h 6858000"/>
              <a:gd name="connsiteX554" fmla="*/ 6591670 w 7467600"/>
              <a:gd name="connsiteY554" fmla="*/ 1988277 h 6858000"/>
              <a:gd name="connsiteX555" fmla="*/ 5798671 w 7467600"/>
              <a:gd name="connsiteY555" fmla="*/ 1981601 h 6858000"/>
              <a:gd name="connsiteX556" fmla="*/ 5754709 w 7467600"/>
              <a:gd name="connsiteY556" fmla="*/ 2071454 h 6858000"/>
              <a:gd name="connsiteX557" fmla="*/ 5763044 w 7467600"/>
              <a:gd name="connsiteY557" fmla="*/ 2842206 h 6858000"/>
              <a:gd name="connsiteX558" fmla="*/ 5764974 w 7467600"/>
              <a:gd name="connsiteY558" fmla="*/ 2799609 h 6858000"/>
              <a:gd name="connsiteX559" fmla="*/ 5767665 w 7467600"/>
              <a:gd name="connsiteY559" fmla="*/ 2666409 h 6858000"/>
              <a:gd name="connsiteX560" fmla="*/ 5763055 w 7467600"/>
              <a:gd name="connsiteY560" fmla="*/ 2579705 h 6858000"/>
              <a:gd name="connsiteX561" fmla="*/ 5758079 w 7467600"/>
              <a:gd name="connsiteY561" fmla="*/ 2492508 h 6858000"/>
              <a:gd name="connsiteX562" fmla="*/ 5779325 w 7467600"/>
              <a:gd name="connsiteY562" fmla="*/ 2197069 h 6858000"/>
              <a:gd name="connsiteX563" fmla="*/ 5798671 w 7467600"/>
              <a:gd name="connsiteY563" fmla="*/ 1981601 h 6858000"/>
              <a:gd name="connsiteX564" fmla="*/ 5829202 w 7467600"/>
              <a:gd name="connsiteY564" fmla="*/ 1971679 h 6858000"/>
              <a:gd name="connsiteX565" fmla="*/ 5809558 w 7467600"/>
              <a:gd name="connsiteY565" fmla="*/ 2198043 h 6858000"/>
              <a:gd name="connsiteX566" fmla="*/ 5788653 w 7467600"/>
              <a:gd name="connsiteY566" fmla="*/ 2489430 h 6858000"/>
              <a:gd name="connsiteX567" fmla="*/ 5793439 w 7467600"/>
              <a:gd name="connsiteY567" fmla="*/ 2575235 h 6858000"/>
              <a:gd name="connsiteX568" fmla="*/ 5796837 w 7467600"/>
              <a:gd name="connsiteY568" fmla="*/ 2637633 h 6858000"/>
              <a:gd name="connsiteX569" fmla="*/ 5818614 w 7467600"/>
              <a:gd name="connsiteY569" fmla="*/ 2473055 h 6858000"/>
              <a:gd name="connsiteX570" fmla="*/ 5829202 w 7467600"/>
              <a:gd name="connsiteY570" fmla="*/ 1971679 h 6858000"/>
              <a:gd name="connsiteX571" fmla="*/ 5911389 w 7467600"/>
              <a:gd name="connsiteY571" fmla="*/ 1898371 h 6858000"/>
              <a:gd name="connsiteX572" fmla="*/ 6237627 w 7467600"/>
              <a:gd name="connsiteY572" fmla="*/ 2231921 h 6858000"/>
              <a:gd name="connsiteX573" fmla="*/ 5911389 w 7467600"/>
              <a:gd name="connsiteY573" fmla="*/ 1898371 h 6858000"/>
              <a:gd name="connsiteX574" fmla="*/ 6944437 w 7467600"/>
              <a:gd name="connsiteY574" fmla="*/ 1575402 h 6858000"/>
              <a:gd name="connsiteX575" fmla="*/ 6304730 w 7467600"/>
              <a:gd name="connsiteY575" fmla="*/ 1766654 h 6858000"/>
              <a:gd name="connsiteX576" fmla="*/ 6944437 w 7467600"/>
              <a:gd name="connsiteY576" fmla="*/ 1575402 h 6858000"/>
              <a:gd name="connsiteX577" fmla="*/ 7019523 w 7467600"/>
              <a:gd name="connsiteY577" fmla="*/ 1519450 h 6858000"/>
              <a:gd name="connsiteX578" fmla="*/ 6298091 w 7467600"/>
              <a:gd name="connsiteY578" fmla="*/ 1737122 h 6858000"/>
              <a:gd name="connsiteX579" fmla="*/ 7019523 w 7467600"/>
              <a:gd name="connsiteY579" fmla="*/ 1519450 h 6858000"/>
              <a:gd name="connsiteX580" fmla="*/ 2399523 w 7467600"/>
              <a:gd name="connsiteY580" fmla="*/ 1428234 h 6858000"/>
              <a:gd name="connsiteX581" fmla="*/ 2224982 w 7467600"/>
              <a:gd name="connsiteY581" fmla="*/ 1826201 h 6858000"/>
              <a:gd name="connsiteX582" fmla="*/ 2096099 w 7467600"/>
              <a:gd name="connsiteY582" fmla="*/ 2345900 h 6858000"/>
              <a:gd name="connsiteX583" fmla="*/ 2283317 w 7467600"/>
              <a:gd name="connsiteY583" fmla="*/ 1796925 h 6858000"/>
              <a:gd name="connsiteX584" fmla="*/ 2399523 w 7467600"/>
              <a:gd name="connsiteY584" fmla="*/ 1428234 h 6858000"/>
              <a:gd name="connsiteX585" fmla="*/ 2448558 w 7467600"/>
              <a:gd name="connsiteY585" fmla="*/ 1373435 h 6858000"/>
              <a:gd name="connsiteX586" fmla="*/ 2312521 w 7467600"/>
              <a:gd name="connsiteY586" fmla="*/ 1806140 h 6858000"/>
              <a:gd name="connsiteX587" fmla="*/ 2127533 w 7467600"/>
              <a:gd name="connsiteY587" fmla="*/ 2348380 h 6858000"/>
              <a:gd name="connsiteX588" fmla="*/ 2358080 w 7467600"/>
              <a:gd name="connsiteY588" fmla="*/ 1866134 h 6858000"/>
              <a:gd name="connsiteX589" fmla="*/ 2407436 w 7467600"/>
              <a:gd name="connsiteY589" fmla="*/ 1651070 h 6858000"/>
              <a:gd name="connsiteX590" fmla="*/ 2448558 w 7467600"/>
              <a:gd name="connsiteY590" fmla="*/ 1373435 h 6858000"/>
              <a:gd name="connsiteX591" fmla="*/ 278707 w 7467600"/>
              <a:gd name="connsiteY591" fmla="*/ 1352270 h 6858000"/>
              <a:gd name="connsiteX592" fmla="*/ 321570 w 7467600"/>
              <a:gd name="connsiteY592" fmla="*/ 1861610 h 6858000"/>
              <a:gd name="connsiteX593" fmla="*/ 294281 w 7467600"/>
              <a:gd name="connsiteY593" fmla="*/ 1440658 h 6858000"/>
              <a:gd name="connsiteX594" fmla="*/ 278707 w 7467600"/>
              <a:gd name="connsiteY594" fmla="*/ 1352270 h 6858000"/>
              <a:gd name="connsiteX595" fmla="*/ 1423821 w 7467600"/>
              <a:gd name="connsiteY595" fmla="*/ 1351958 h 6858000"/>
              <a:gd name="connsiteX596" fmla="*/ 1638521 w 7467600"/>
              <a:gd name="connsiteY596" fmla="*/ 1908470 h 6858000"/>
              <a:gd name="connsiteX597" fmla="*/ 1754199 w 7467600"/>
              <a:gd name="connsiteY597" fmla="*/ 2149284 h 6858000"/>
              <a:gd name="connsiteX598" fmla="*/ 1908359 w 7467600"/>
              <a:gd name="connsiteY598" fmla="*/ 2364988 h 6858000"/>
              <a:gd name="connsiteX599" fmla="*/ 1647661 w 7467600"/>
              <a:gd name="connsiteY599" fmla="*/ 1825945 h 6858000"/>
              <a:gd name="connsiteX600" fmla="*/ 1423821 w 7467600"/>
              <a:gd name="connsiteY600" fmla="*/ 1351958 h 6858000"/>
              <a:gd name="connsiteX601" fmla="*/ 1431890 w 7467600"/>
              <a:gd name="connsiteY601" fmla="*/ 1306475 h 6858000"/>
              <a:gd name="connsiteX602" fmla="*/ 1507597 w 7467600"/>
              <a:gd name="connsiteY602" fmla="*/ 1446132 h 6858000"/>
              <a:gd name="connsiteX603" fmla="*/ 1674586 w 7467600"/>
              <a:gd name="connsiteY603" fmla="*/ 1813832 h 6858000"/>
              <a:gd name="connsiteX604" fmla="*/ 1815950 w 7467600"/>
              <a:gd name="connsiteY604" fmla="*/ 2128564 h 6858000"/>
              <a:gd name="connsiteX605" fmla="*/ 1984242 w 7467600"/>
              <a:gd name="connsiteY605" fmla="*/ 2430829 h 6858000"/>
              <a:gd name="connsiteX606" fmla="*/ 2014023 w 7467600"/>
              <a:gd name="connsiteY606" fmla="*/ 2450995 h 6858000"/>
              <a:gd name="connsiteX607" fmla="*/ 1747337 w 7467600"/>
              <a:gd name="connsiteY607" fmla="*/ 1855264 h 6858000"/>
              <a:gd name="connsiteX608" fmla="*/ 1533749 w 7467600"/>
              <a:gd name="connsiteY608" fmla="*/ 1478656 h 6858000"/>
              <a:gd name="connsiteX609" fmla="*/ 1431890 w 7467600"/>
              <a:gd name="connsiteY609" fmla="*/ 1306475 h 6858000"/>
              <a:gd name="connsiteX610" fmla="*/ 5052692 w 7467600"/>
              <a:gd name="connsiteY610" fmla="*/ 1292994 h 6858000"/>
              <a:gd name="connsiteX611" fmla="*/ 5200661 w 7467600"/>
              <a:gd name="connsiteY611" fmla="*/ 1635186 h 6858000"/>
              <a:gd name="connsiteX612" fmla="*/ 5297138 w 7467600"/>
              <a:gd name="connsiteY612" fmla="*/ 1906351 h 6858000"/>
              <a:gd name="connsiteX613" fmla="*/ 5052692 w 7467600"/>
              <a:gd name="connsiteY613" fmla="*/ 1292994 h 6858000"/>
              <a:gd name="connsiteX614" fmla="*/ 5009948 w 7467600"/>
              <a:gd name="connsiteY614" fmla="*/ 1273619 h 6858000"/>
              <a:gd name="connsiteX615" fmla="*/ 5121777 w 7467600"/>
              <a:gd name="connsiteY615" fmla="*/ 1654213 h 6858000"/>
              <a:gd name="connsiteX616" fmla="*/ 5293545 w 7467600"/>
              <a:gd name="connsiteY616" fmla="*/ 2072247 h 6858000"/>
              <a:gd name="connsiteX617" fmla="*/ 5294042 w 7467600"/>
              <a:gd name="connsiteY617" fmla="*/ 2065019 h 6858000"/>
              <a:gd name="connsiteX618" fmla="*/ 5171936 w 7467600"/>
              <a:gd name="connsiteY618" fmla="*/ 1647613 h 6858000"/>
              <a:gd name="connsiteX619" fmla="*/ 5009948 w 7467600"/>
              <a:gd name="connsiteY619" fmla="*/ 1273619 h 6858000"/>
              <a:gd name="connsiteX620" fmla="*/ 655236 w 7467600"/>
              <a:gd name="connsiteY620" fmla="*/ 1268632 h 6858000"/>
              <a:gd name="connsiteX621" fmla="*/ 839521 w 7467600"/>
              <a:gd name="connsiteY621" fmla="*/ 1685315 h 6858000"/>
              <a:gd name="connsiteX622" fmla="*/ 1109416 w 7467600"/>
              <a:gd name="connsiteY622" fmla="*/ 2061663 h 6858000"/>
              <a:gd name="connsiteX623" fmla="*/ 1298300 w 7467600"/>
              <a:gd name="connsiteY623" fmla="*/ 2247742 h 6858000"/>
              <a:gd name="connsiteX624" fmla="*/ 1125871 w 7467600"/>
              <a:gd name="connsiteY624" fmla="*/ 1989513 h 6858000"/>
              <a:gd name="connsiteX625" fmla="*/ 981574 w 7467600"/>
              <a:gd name="connsiteY625" fmla="*/ 1783157 h 6858000"/>
              <a:gd name="connsiteX626" fmla="*/ 922198 w 7467600"/>
              <a:gd name="connsiteY626" fmla="*/ 1677437 h 6858000"/>
              <a:gd name="connsiteX627" fmla="*/ 869293 w 7467600"/>
              <a:gd name="connsiteY627" fmla="*/ 1583214 h 6858000"/>
              <a:gd name="connsiteX628" fmla="*/ 751431 w 7467600"/>
              <a:gd name="connsiteY628" fmla="*/ 1405731 h 6858000"/>
              <a:gd name="connsiteX629" fmla="*/ 655236 w 7467600"/>
              <a:gd name="connsiteY629" fmla="*/ 1268632 h 6858000"/>
              <a:gd name="connsiteX630" fmla="*/ 6516292 w 7467600"/>
              <a:gd name="connsiteY630" fmla="*/ 1263064 h 6858000"/>
              <a:gd name="connsiteX631" fmla="*/ 5736320 w 7467600"/>
              <a:gd name="connsiteY631" fmla="*/ 1501803 h 6858000"/>
              <a:gd name="connsiteX632" fmla="*/ 6516292 w 7467600"/>
              <a:gd name="connsiteY632" fmla="*/ 1263064 h 6858000"/>
              <a:gd name="connsiteX633" fmla="*/ 291466 w 7467600"/>
              <a:gd name="connsiteY633" fmla="*/ 1250369 h 6858000"/>
              <a:gd name="connsiteX634" fmla="*/ 323180 w 7467600"/>
              <a:gd name="connsiteY634" fmla="*/ 1435283 h 6858000"/>
              <a:gd name="connsiteX635" fmla="*/ 349381 w 7467600"/>
              <a:gd name="connsiteY635" fmla="*/ 1875041 h 6858000"/>
              <a:gd name="connsiteX636" fmla="*/ 374363 w 7467600"/>
              <a:gd name="connsiteY636" fmla="*/ 1506494 h 6858000"/>
              <a:gd name="connsiteX637" fmla="*/ 302168 w 7467600"/>
              <a:gd name="connsiteY637" fmla="*/ 1274495 h 6858000"/>
              <a:gd name="connsiteX638" fmla="*/ 291466 w 7467600"/>
              <a:gd name="connsiteY638" fmla="*/ 1250369 h 6858000"/>
              <a:gd name="connsiteX639" fmla="*/ 678222 w 7467600"/>
              <a:gd name="connsiteY639" fmla="*/ 1248670 h 6858000"/>
              <a:gd name="connsiteX640" fmla="*/ 775536 w 7467600"/>
              <a:gd name="connsiteY640" fmla="*/ 1388015 h 6858000"/>
              <a:gd name="connsiteX641" fmla="*/ 894529 w 7467600"/>
              <a:gd name="connsiteY641" fmla="*/ 1567739 h 6858000"/>
              <a:gd name="connsiteX642" fmla="*/ 948000 w 7467600"/>
              <a:gd name="connsiteY642" fmla="*/ 1663088 h 6858000"/>
              <a:gd name="connsiteX643" fmla="*/ 1006812 w 7467600"/>
              <a:gd name="connsiteY643" fmla="*/ 1767683 h 6858000"/>
              <a:gd name="connsiteX644" fmla="*/ 1149133 w 7467600"/>
              <a:gd name="connsiteY644" fmla="*/ 1971513 h 6858000"/>
              <a:gd name="connsiteX645" fmla="*/ 1333952 w 7467600"/>
              <a:gd name="connsiteY645" fmla="*/ 2251620 h 6858000"/>
              <a:gd name="connsiteX646" fmla="*/ 1337329 w 7467600"/>
              <a:gd name="connsiteY646" fmla="*/ 2258350 h 6858000"/>
              <a:gd name="connsiteX647" fmla="*/ 1014726 w 7467600"/>
              <a:gd name="connsiteY647" fmla="*/ 1615556 h 6858000"/>
              <a:gd name="connsiteX648" fmla="*/ 678222 w 7467600"/>
              <a:gd name="connsiteY648" fmla="*/ 1248670 h 6858000"/>
              <a:gd name="connsiteX649" fmla="*/ 6691602 w 7467600"/>
              <a:gd name="connsiteY649" fmla="*/ 1140573 h 6858000"/>
              <a:gd name="connsiteX650" fmla="*/ 6571100 w 7467600"/>
              <a:gd name="connsiteY650" fmla="*/ 1183662 h 6858000"/>
              <a:gd name="connsiteX651" fmla="*/ 6241687 w 7467600"/>
              <a:gd name="connsiteY651" fmla="*/ 1257600 h 6858000"/>
              <a:gd name="connsiteX652" fmla="*/ 5693009 w 7467600"/>
              <a:gd name="connsiteY652" fmla="*/ 1478256 h 6858000"/>
              <a:gd name="connsiteX653" fmla="*/ 6548420 w 7467600"/>
              <a:gd name="connsiteY653" fmla="*/ 1214599 h 6858000"/>
              <a:gd name="connsiteX654" fmla="*/ 6605473 w 7467600"/>
              <a:gd name="connsiteY654" fmla="*/ 1184686 h 6858000"/>
              <a:gd name="connsiteX655" fmla="*/ 6691602 w 7467600"/>
              <a:gd name="connsiteY655" fmla="*/ 1140573 h 6858000"/>
              <a:gd name="connsiteX656" fmla="*/ 4002475 w 7467600"/>
              <a:gd name="connsiteY656" fmla="*/ 1037802 h 6858000"/>
              <a:gd name="connsiteX657" fmla="*/ 4000324 w 7467600"/>
              <a:gd name="connsiteY657" fmla="*/ 1039362 h 6858000"/>
              <a:gd name="connsiteX658" fmla="*/ 4002862 w 7467600"/>
              <a:gd name="connsiteY658" fmla="*/ 1042866 h 6858000"/>
              <a:gd name="connsiteX659" fmla="*/ 4002475 w 7467600"/>
              <a:gd name="connsiteY659" fmla="*/ 1037802 h 6858000"/>
              <a:gd name="connsiteX660" fmla="*/ 506322 w 7467600"/>
              <a:gd name="connsiteY660" fmla="*/ 1020997 h 6858000"/>
              <a:gd name="connsiteX661" fmla="*/ 533068 w 7467600"/>
              <a:gd name="connsiteY661" fmla="*/ 1029409 h 6858000"/>
              <a:gd name="connsiteX662" fmla="*/ 1232525 w 7467600"/>
              <a:gd name="connsiteY662" fmla="*/ 1804675 h 6858000"/>
              <a:gd name="connsiteX663" fmla="*/ 1388858 w 7467600"/>
              <a:gd name="connsiteY663" fmla="*/ 2368011 h 6858000"/>
              <a:gd name="connsiteX664" fmla="*/ 1384098 w 7467600"/>
              <a:gd name="connsiteY664" fmla="*/ 2378125 h 6858000"/>
              <a:gd name="connsiteX665" fmla="*/ 1425393 w 7467600"/>
              <a:gd name="connsiteY665" fmla="*/ 2589124 h 6858000"/>
              <a:gd name="connsiteX666" fmla="*/ 1424001 w 7467600"/>
              <a:gd name="connsiteY666" fmla="*/ 2597541 h 6858000"/>
              <a:gd name="connsiteX667" fmla="*/ 2152729 w 7467600"/>
              <a:gd name="connsiteY667" fmla="*/ 2864487 h 6858000"/>
              <a:gd name="connsiteX668" fmla="*/ 2020609 w 7467600"/>
              <a:gd name="connsiteY668" fmla="*/ 2539671 h 6858000"/>
              <a:gd name="connsiteX669" fmla="*/ 2018920 w 7467600"/>
              <a:gd name="connsiteY669" fmla="*/ 2536309 h 6858000"/>
              <a:gd name="connsiteX670" fmla="*/ 1342441 w 7467600"/>
              <a:gd name="connsiteY670" fmla="*/ 1173017 h 6858000"/>
              <a:gd name="connsiteX671" fmla="*/ 1367925 w 7467600"/>
              <a:gd name="connsiteY671" fmla="*/ 1135648 h 6858000"/>
              <a:gd name="connsiteX672" fmla="*/ 1771401 w 7467600"/>
              <a:gd name="connsiteY672" fmla="*/ 1806673 h 6858000"/>
              <a:gd name="connsiteX673" fmla="*/ 1972385 w 7467600"/>
              <a:gd name="connsiteY673" fmla="*/ 2198735 h 6858000"/>
              <a:gd name="connsiteX674" fmla="*/ 2040892 w 7467600"/>
              <a:gd name="connsiteY674" fmla="*/ 2405205 h 6858000"/>
              <a:gd name="connsiteX675" fmla="*/ 2131689 w 7467600"/>
              <a:gd name="connsiteY675" fmla="*/ 1936926 h 6858000"/>
              <a:gd name="connsiteX676" fmla="*/ 2454820 w 7467600"/>
              <a:gd name="connsiteY676" fmla="*/ 1248808 h 6858000"/>
              <a:gd name="connsiteX677" fmla="*/ 2492512 w 7467600"/>
              <a:gd name="connsiteY677" fmla="*/ 1302920 h 6858000"/>
              <a:gd name="connsiteX678" fmla="*/ 2081216 w 7467600"/>
              <a:gd name="connsiteY678" fmla="*/ 2527513 h 6858000"/>
              <a:gd name="connsiteX679" fmla="*/ 2081211 w 7467600"/>
              <a:gd name="connsiteY679" fmla="*/ 2528916 h 6858000"/>
              <a:gd name="connsiteX680" fmla="*/ 2199067 w 7467600"/>
              <a:gd name="connsiteY680" fmla="*/ 2884061 h 6858000"/>
              <a:gd name="connsiteX681" fmla="*/ 3192586 w 7467600"/>
              <a:gd name="connsiteY681" fmla="*/ 3411496 h 6858000"/>
              <a:gd name="connsiteX682" fmla="*/ 3182620 w 7467600"/>
              <a:gd name="connsiteY682" fmla="*/ 3483279 h 6858000"/>
              <a:gd name="connsiteX683" fmla="*/ 2435119 w 7467600"/>
              <a:gd name="connsiteY683" fmla="*/ 3080173 h 6858000"/>
              <a:gd name="connsiteX684" fmla="*/ 2410152 w 7467600"/>
              <a:gd name="connsiteY684" fmla="*/ 3063751 h 6858000"/>
              <a:gd name="connsiteX685" fmla="*/ 2408099 w 7467600"/>
              <a:gd name="connsiteY685" fmla="*/ 3064403 h 6858000"/>
              <a:gd name="connsiteX686" fmla="*/ 2407218 w 7467600"/>
              <a:gd name="connsiteY686" fmla="*/ 3070324 h 6858000"/>
              <a:gd name="connsiteX687" fmla="*/ 2380138 w 7467600"/>
              <a:gd name="connsiteY687" fmla="*/ 3099341 h 6858000"/>
              <a:gd name="connsiteX688" fmla="*/ 1765923 w 7467600"/>
              <a:gd name="connsiteY688" fmla="*/ 3581043 h 6858000"/>
              <a:gd name="connsiteX689" fmla="*/ 1702258 w 7467600"/>
              <a:gd name="connsiteY689" fmla="*/ 3612286 h 6858000"/>
              <a:gd name="connsiteX690" fmla="*/ 1538370 w 7467600"/>
              <a:gd name="connsiteY690" fmla="*/ 3811804 h 6858000"/>
              <a:gd name="connsiteX691" fmla="*/ 542867 w 7467600"/>
              <a:gd name="connsiteY691" fmla="*/ 4944092 h 6858000"/>
              <a:gd name="connsiteX692" fmla="*/ 515800 w 7467600"/>
              <a:gd name="connsiteY692" fmla="*/ 4862180 h 6858000"/>
              <a:gd name="connsiteX693" fmla="*/ 909145 w 7467600"/>
              <a:gd name="connsiteY693" fmla="*/ 4199225 h 6858000"/>
              <a:gd name="connsiteX694" fmla="*/ 1214067 w 7467600"/>
              <a:gd name="connsiteY694" fmla="*/ 3908561 h 6858000"/>
              <a:gd name="connsiteX695" fmla="*/ 640967 w 7467600"/>
              <a:gd name="connsiteY695" fmla="*/ 4105601 h 6858000"/>
              <a:gd name="connsiteX696" fmla="*/ 112563 w 7467600"/>
              <a:gd name="connsiteY696" fmla="*/ 4396952 h 6858000"/>
              <a:gd name="connsiteX697" fmla="*/ 0 w 7467600"/>
              <a:gd name="connsiteY697" fmla="*/ 4466006 h 6858000"/>
              <a:gd name="connsiteX698" fmla="*/ 0 w 7467600"/>
              <a:gd name="connsiteY698" fmla="*/ 4233763 h 6858000"/>
              <a:gd name="connsiteX699" fmla="*/ 36881 w 7467600"/>
              <a:gd name="connsiteY699" fmla="*/ 4200118 h 6858000"/>
              <a:gd name="connsiteX700" fmla="*/ 910534 w 7467600"/>
              <a:gd name="connsiteY700" fmla="*/ 3629753 h 6858000"/>
              <a:gd name="connsiteX701" fmla="*/ 1578717 w 7467600"/>
              <a:gd name="connsiteY701" fmla="*/ 3575982 h 6858000"/>
              <a:gd name="connsiteX702" fmla="*/ 2338780 w 7467600"/>
              <a:gd name="connsiteY702" fmla="*/ 3033725 h 6858000"/>
              <a:gd name="connsiteX703" fmla="*/ 1807991 w 7467600"/>
              <a:gd name="connsiteY703" fmla="*/ 2807184 h 6858000"/>
              <a:gd name="connsiteX704" fmla="*/ 1416358 w 7467600"/>
              <a:gd name="connsiteY704" fmla="*/ 3112571 h 6858000"/>
              <a:gd name="connsiteX705" fmla="*/ 939066 w 7467600"/>
              <a:gd name="connsiteY705" fmla="*/ 3378798 h 6858000"/>
              <a:gd name="connsiteX706" fmla="*/ 115099 w 7467600"/>
              <a:gd name="connsiteY706" fmla="*/ 3607650 h 6858000"/>
              <a:gd name="connsiteX707" fmla="*/ 97284 w 7467600"/>
              <a:gd name="connsiteY707" fmla="*/ 3520393 h 6858000"/>
              <a:gd name="connsiteX708" fmla="*/ 922050 w 7467600"/>
              <a:gd name="connsiteY708" fmla="*/ 3074867 h 6858000"/>
              <a:gd name="connsiteX709" fmla="*/ 1405265 w 7467600"/>
              <a:gd name="connsiteY709" fmla="*/ 3016319 h 6858000"/>
              <a:gd name="connsiteX710" fmla="*/ 1407512 w 7467600"/>
              <a:gd name="connsiteY710" fmla="*/ 3018001 h 6858000"/>
              <a:gd name="connsiteX711" fmla="*/ 1726266 w 7467600"/>
              <a:gd name="connsiteY711" fmla="*/ 2777274 h 6858000"/>
              <a:gd name="connsiteX712" fmla="*/ 625390 w 7467600"/>
              <a:gd name="connsiteY712" fmla="*/ 2514541 h 6858000"/>
              <a:gd name="connsiteX713" fmla="*/ 619799 w 7467600"/>
              <a:gd name="connsiteY713" fmla="*/ 2527180 h 6858000"/>
              <a:gd name="connsiteX714" fmla="*/ 310030 w 7467600"/>
              <a:gd name="connsiteY714" fmla="*/ 2771818 h 6858000"/>
              <a:gd name="connsiteX715" fmla="*/ 173877 w 7467600"/>
              <a:gd name="connsiteY715" fmla="*/ 2937056 h 6858000"/>
              <a:gd name="connsiteX716" fmla="*/ 77889 w 7467600"/>
              <a:gd name="connsiteY716" fmla="*/ 3138440 h 6858000"/>
              <a:gd name="connsiteX717" fmla="*/ 0 w 7467600"/>
              <a:gd name="connsiteY717" fmla="*/ 3271395 h 6858000"/>
              <a:gd name="connsiteX718" fmla="*/ 0 w 7467600"/>
              <a:gd name="connsiteY718" fmla="*/ 3153002 h 6858000"/>
              <a:gd name="connsiteX719" fmla="*/ 2386 w 7467600"/>
              <a:gd name="connsiteY719" fmla="*/ 3149203 h 6858000"/>
              <a:gd name="connsiteX720" fmla="*/ 89753 w 7467600"/>
              <a:gd name="connsiteY720" fmla="*/ 2987702 h 6858000"/>
              <a:gd name="connsiteX721" fmla="*/ 76869 w 7467600"/>
              <a:gd name="connsiteY721" fmla="*/ 3005404 h 6858000"/>
              <a:gd name="connsiteX722" fmla="*/ 32049 w 7467600"/>
              <a:gd name="connsiteY722" fmla="*/ 3065814 h 6858000"/>
              <a:gd name="connsiteX723" fmla="*/ 0 w 7467600"/>
              <a:gd name="connsiteY723" fmla="*/ 3108744 h 6858000"/>
              <a:gd name="connsiteX724" fmla="*/ 0 w 7467600"/>
              <a:gd name="connsiteY724" fmla="*/ 3058059 h 6858000"/>
              <a:gd name="connsiteX725" fmla="*/ 7610 w 7467600"/>
              <a:gd name="connsiteY725" fmla="*/ 3047889 h 6858000"/>
              <a:gd name="connsiteX726" fmla="*/ 52419 w 7467600"/>
              <a:gd name="connsiteY726" fmla="*/ 2987479 h 6858000"/>
              <a:gd name="connsiteX727" fmla="*/ 59142 w 7467600"/>
              <a:gd name="connsiteY727" fmla="*/ 2978488 h 6858000"/>
              <a:gd name="connsiteX728" fmla="*/ 0 w 7467600"/>
              <a:gd name="connsiteY728" fmla="*/ 3015334 h 6858000"/>
              <a:gd name="connsiteX729" fmla="*/ 0 w 7467600"/>
              <a:gd name="connsiteY729" fmla="*/ 2914286 h 6858000"/>
              <a:gd name="connsiteX730" fmla="*/ 36383 w 7467600"/>
              <a:gd name="connsiteY730" fmla="*/ 2901128 h 6858000"/>
              <a:gd name="connsiteX731" fmla="*/ 156329 w 7467600"/>
              <a:gd name="connsiteY731" fmla="*/ 2840533 h 6858000"/>
              <a:gd name="connsiteX732" fmla="*/ 358355 w 7467600"/>
              <a:gd name="connsiteY732" fmla="*/ 2620471 h 6858000"/>
              <a:gd name="connsiteX733" fmla="*/ 510577 w 7467600"/>
              <a:gd name="connsiteY733" fmla="*/ 2501244 h 6858000"/>
              <a:gd name="connsiteX734" fmla="*/ 211967 w 7467600"/>
              <a:gd name="connsiteY734" fmla="*/ 2479171 h 6858000"/>
              <a:gd name="connsiteX735" fmla="*/ 0 w 7467600"/>
              <a:gd name="connsiteY735" fmla="*/ 2476398 h 6858000"/>
              <a:gd name="connsiteX736" fmla="*/ 0 w 7467600"/>
              <a:gd name="connsiteY736" fmla="*/ 2389189 h 6858000"/>
              <a:gd name="connsiteX737" fmla="*/ 103062 w 7467600"/>
              <a:gd name="connsiteY737" fmla="*/ 2389518 h 6858000"/>
              <a:gd name="connsiteX738" fmla="*/ 510734 w 7467600"/>
              <a:gd name="connsiteY738" fmla="*/ 2416201 h 6858000"/>
              <a:gd name="connsiteX739" fmla="*/ 279257 w 7467600"/>
              <a:gd name="connsiteY739" fmla="*/ 2092102 h 6858000"/>
              <a:gd name="connsiteX740" fmla="*/ 65265 w 7467600"/>
              <a:gd name="connsiteY740" fmla="*/ 2006049 h 6858000"/>
              <a:gd name="connsiteX741" fmla="*/ 0 w 7467600"/>
              <a:gd name="connsiteY741" fmla="*/ 1982532 h 6858000"/>
              <a:gd name="connsiteX742" fmla="*/ 0 w 7467600"/>
              <a:gd name="connsiteY742" fmla="*/ 1912789 h 6858000"/>
              <a:gd name="connsiteX743" fmla="*/ 97460 w 7467600"/>
              <a:gd name="connsiteY743" fmla="*/ 1953725 h 6858000"/>
              <a:gd name="connsiteX744" fmla="*/ 221272 w 7467600"/>
              <a:gd name="connsiteY744" fmla="*/ 1980766 h 6858000"/>
              <a:gd name="connsiteX745" fmla="*/ 116765 w 7467600"/>
              <a:gd name="connsiteY745" fmla="*/ 1911033 h 6858000"/>
              <a:gd name="connsiteX746" fmla="*/ 16405 w 7467600"/>
              <a:gd name="connsiteY746" fmla="*/ 1803412 h 6858000"/>
              <a:gd name="connsiteX747" fmla="*/ 0 w 7467600"/>
              <a:gd name="connsiteY747" fmla="*/ 1784777 h 6858000"/>
              <a:gd name="connsiteX748" fmla="*/ 0 w 7467600"/>
              <a:gd name="connsiteY748" fmla="*/ 1740082 h 6858000"/>
              <a:gd name="connsiteX749" fmla="*/ 39394 w 7467600"/>
              <a:gd name="connsiteY749" fmla="*/ 1784856 h 6858000"/>
              <a:gd name="connsiteX750" fmla="*/ 135813 w 7467600"/>
              <a:gd name="connsiteY750" fmla="*/ 1888838 h 6858000"/>
              <a:gd name="connsiteX751" fmla="*/ 242575 w 7467600"/>
              <a:gd name="connsiteY751" fmla="*/ 1958841 h 6858000"/>
              <a:gd name="connsiteX752" fmla="*/ 82197 w 7467600"/>
              <a:gd name="connsiteY752" fmla="*/ 1754826 h 6858000"/>
              <a:gd name="connsiteX753" fmla="*/ 0 w 7467600"/>
              <a:gd name="connsiteY753" fmla="*/ 1679650 h 6858000"/>
              <a:gd name="connsiteX754" fmla="*/ 0 w 7467600"/>
              <a:gd name="connsiteY754" fmla="*/ 1602463 h 6858000"/>
              <a:gd name="connsiteX755" fmla="*/ 84689 w 7467600"/>
              <a:gd name="connsiteY755" fmla="*/ 1677442 h 6858000"/>
              <a:gd name="connsiteX756" fmla="*/ 298437 w 7467600"/>
              <a:gd name="connsiteY756" fmla="*/ 1968019 h 6858000"/>
              <a:gd name="connsiteX757" fmla="*/ 227269 w 7467600"/>
              <a:gd name="connsiteY757" fmla="*/ 1114064 h 6858000"/>
              <a:gd name="connsiteX758" fmla="*/ 248003 w 7467600"/>
              <a:gd name="connsiteY758" fmla="*/ 1089613 h 6858000"/>
              <a:gd name="connsiteX759" fmla="*/ 427020 w 7467600"/>
              <a:gd name="connsiteY759" fmla="*/ 1619803 h 6858000"/>
              <a:gd name="connsiteX760" fmla="*/ 340345 w 7467600"/>
              <a:gd name="connsiteY760" fmla="*/ 2027739 h 6858000"/>
              <a:gd name="connsiteX761" fmla="*/ 360865 w 7467600"/>
              <a:gd name="connsiteY761" fmla="*/ 2044827 h 6858000"/>
              <a:gd name="connsiteX762" fmla="*/ 560414 w 7467600"/>
              <a:gd name="connsiteY762" fmla="*/ 2421457 h 6858000"/>
              <a:gd name="connsiteX763" fmla="*/ 1359703 w 7467600"/>
              <a:gd name="connsiteY763" fmla="*/ 2578554 h 6858000"/>
              <a:gd name="connsiteX764" fmla="*/ 1359422 w 7467600"/>
              <a:gd name="connsiteY764" fmla="*/ 2577994 h 6858000"/>
              <a:gd name="connsiteX765" fmla="*/ 828701 w 7467600"/>
              <a:gd name="connsiteY765" fmla="*/ 1839520 h 6858000"/>
              <a:gd name="connsiteX766" fmla="*/ 494427 w 7467600"/>
              <a:gd name="connsiteY766" fmla="*/ 1092333 h 6858000"/>
              <a:gd name="connsiteX767" fmla="*/ 506322 w 7467600"/>
              <a:gd name="connsiteY767" fmla="*/ 1020997 h 6858000"/>
              <a:gd name="connsiteX768" fmla="*/ 4570198 w 7467600"/>
              <a:gd name="connsiteY768" fmla="*/ 978081 h 6858000"/>
              <a:gd name="connsiteX769" fmla="*/ 4523691 w 7467600"/>
              <a:gd name="connsiteY769" fmla="*/ 1127776 h 6858000"/>
              <a:gd name="connsiteX770" fmla="*/ 4509875 w 7467600"/>
              <a:gd name="connsiteY770" fmla="*/ 1167552 h 6858000"/>
              <a:gd name="connsiteX771" fmla="*/ 4478168 w 7467600"/>
              <a:gd name="connsiteY771" fmla="*/ 1260735 h 6858000"/>
              <a:gd name="connsiteX772" fmla="*/ 4409309 w 7467600"/>
              <a:gd name="connsiteY772" fmla="*/ 1666996 h 6858000"/>
              <a:gd name="connsiteX773" fmla="*/ 4370031 w 7467600"/>
              <a:gd name="connsiteY773" fmla="*/ 1955666 h 6858000"/>
              <a:gd name="connsiteX774" fmla="*/ 4570198 w 7467600"/>
              <a:gd name="connsiteY774" fmla="*/ 978081 h 6858000"/>
              <a:gd name="connsiteX775" fmla="*/ 4557898 w 7467600"/>
              <a:gd name="connsiteY775" fmla="*/ 900011 h 6858000"/>
              <a:gd name="connsiteX776" fmla="*/ 4344840 w 7467600"/>
              <a:gd name="connsiteY776" fmla="*/ 1922038 h 6858000"/>
              <a:gd name="connsiteX777" fmla="*/ 4378710 w 7467600"/>
              <a:gd name="connsiteY777" fmla="*/ 1665516 h 6858000"/>
              <a:gd name="connsiteX778" fmla="*/ 4448798 w 7467600"/>
              <a:gd name="connsiteY778" fmla="*/ 1253024 h 6858000"/>
              <a:gd name="connsiteX779" fmla="*/ 4480315 w 7467600"/>
              <a:gd name="connsiteY779" fmla="*/ 1158454 h 6858000"/>
              <a:gd name="connsiteX780" fmla="*/ 4494133 w 7467600"/>
              <a:gd name="connsiteY780" fmla="*/ 1118676 h 6858000"/>
              <a:gd name="connsiteX781" fmla="*/ 4557898 w 7467600"/>
              <a:gd name="connsiteY781" fmla="*/ 900011 h 6858000"/>
              <a:gd name="connsiteX782" fmla="*/ 5870151 w 7467600"/>
              <a:gd name="connsiteY782" fmla="*/ 898890 h 6858000"/>
              <a:gd name="connsiteX783" fmla="*/ 5861335 w 7467600"/>
              <a:gd name="connsiteY783" fmla="*/ 899177 h 6858000"/>
              <a:gd name="connsiteX784" fmla="*/ 5843702 w 7467600"/>
              <a:gd name="connsiteY784" fmla="*/ 899748 h 6858000"/>
              <a:gd name="connsiteX785" fmla="*/ 5651107 w 7467600"/>
              <a:gd name="connsiteY785" fmla="*/ 920306 h 6858000"/>
              <a:gd name="connsiteX786" fmla="*/ 5459407 w 7467600"/>
              <a:gd name="connsiteY786" fmla="*/ 940975 h 6858000"/>
              <a:gd name="connsiteX787" fmla="*/ 5374846 w 7467600"/>
              <a:gd name="connsiteY787" fmla="*/ 941988 h 6858000"/>
              <a:gd name="connsiteX788" fmla="*/ 5256105 w 7467600"/>
              <a:gd name="connsiteY788" fmla="*/ 945632 h 6858000"/>
              <a:gd name="connsiteX789" fmla="*/ 5107071 w 7467600"/>
              <a:gd name="connsiteY789" fmla="*/ 969720 h 6858000"/>
              <a:gd name="connsiteX790" fmla="*/ 4998681 w 7467600"/>
              <a:gd name="connsiteY790" fmla="*/ 988771 h 6858000"/>
              <a:gd name="connsiteX791" fmla="*/ 5870151 w 7467600"/>
              <a:gd name="connsiteY791" fmla="*/ 898890 h 6858000"/>
              <a:gd name="connsiteX792" fmla="*/ 5504425 w 7467600"/>
              <a:gd name="connsiteY792" fmla="*/ 848067 h 6858000"/>
              <a:gd name="connsiteX793" fmla="*/ 4968849 w 7467600"/>
              <a:gd name="connsiteY793" fmla="*/ 962318 h 6858000"/>
              <a:gd name="connsiteX794" fmla="*/ 5104039 w 7467600"/>
              <a:gd name="connsiteY794" fmla="*/ 940634 h 6858000"/>
              <a:gd name="connsiteX795" fmla="*/ 5256311 w 7467600"/>
              <a:gd name="connsiteY795" fmla="*/ 916490 h 6858000"/>
              <a:gd name="connsiteX796" fmla="*/ 5377381 w 7467600"/>
              <a:gd name="connsiteY796" fmla="*/ 912671 h 6858000"/>
              <a:gd name="connsiteX797" fmla="*/ 5460148 w 7467600"/>
              <a:gd name="connsiteY797" fmla="*/ 911442 h 6858000"/>
              <a:gd name="connsiteX798" fmla="*/ 5648971 w 7467600"/>
              <a:gd name="connsiteY798" fmla="*/ 891331 h 6858000"/>
              <a:gd name="connsiteX799" fmla="*/ 5844807 w 7467600"/>
              <a:gd name="connsiteY799" fmla="*/ 870718 h 6858000"/>
              <a:gd name="connsiteX800" fmla="*/ 5862975 w 7467600"/>
              <a:gd name="connsiteY800" fmla="*/ 869756 h 6858000"/>
              <a:gd name="connsiteX801" fmla="*/ 5920887 w 7467600"/>
              <a:gd name="connsiteY801" fmla="*/ 865929 h 6858000"/>
              <a:gd name="connsiteX802" fmla="*/ 5504425 w 7467600"/>
              <a:gd name="connsiteY802" fmla="*/ 848067 h 6858000"/>
              <a:gd name="connsiteX803" fmla="*/ 3607114 w 7467600"/>
              <a:gd name="connsiteY803" fmla="*/ 467441 h 6858000"/>
              <a:gd name="connsiteX804" fmla="*/ 3296242 w 7467600"/>
              <a:gd name="connsiteY804" fmla="*/ 807991 h 6858000"/>
              <a:gd name="connsiteX805" fmla="*/ 3174674 w 7467600"/>
              <a:gd name="connsiteY805" fmla="*/ 919759 h 6858000"/>
              <a:gd name="connsiteX806" fmla="*/ 3042978 w 7467600"/>
              <a:gd name="connsiteY806" fmla="*/ 1054894 h 6858000"/>
              <a:gd name="connsiteX807" fmla="*/ 2968914 w 7467600"/>
              <a:gd name="connsiteY807" fmla="*/ 1133756 h 6858000"/>
              <a:gd name="connsiteX808" fmla="*/ 3103823 w 7467600"/>
              <a:gd name="connsiteY808" fmla="*/ 1026814 h 6858000"/>
              <a:gd name="connsiteX809" fmla="*/ 3607114 w 7467600"/>
              <a:gd name="connsiteY809" fmla="*/ 467441 h 6858000"/>
              <a:gd name="connsiteX810" fmla="*/ 3744487 w 7467600"/>
              <a:gd name="connsiteY810" fmla="*/ 383136 h 6858000"/>
              <a:gd name="connsiteX811" fmla="*/ 3970213 w 7467600"/>
              <a:gd name="connsiteY811" fmla="*/ 995559 h 6858000"/>
              <a:gd name="connsiteX812" fmla="*/ 3744487 w 7467600"/>
              <a:gd name="connsiteY812" fmla="*/ 383136 h 6858000"/>
              <a:gd name="connsiteX813" fmla="*/ 3624562 w 7467600"/>
              <a:gd name="connsiteY813" fmla="*/ 367041 h 6858000"/>
              <a:gd name="connsiteX814" fmla="*/ 3489712 w 7467600"/>
              <a:gd name="connsiteY814" fmla="*/ 485386 h 6858000"/>
              <a:gd name="connsiteX815" fmla="*/ 3182994 w 7467600"/>
              <a:gd name="connsiteY815" fmla="*/ 828265 h 6858000"/>
              <a:gd name="connsiteX816" fmla="*/ 2892114 w 7467600"/>
              <a:gd name="connsiteY816" fmla="*/ 1172635 h 6858000"/>
              <a:gd name="connsiteX817" fmla="*/ 3021459 w 7467600"/>
              <a:gd name="connsiteY817" fmla="*/ 1035385 h 6858000"/>
              <a:gd name="connsiteX818" fmla="*/ 3153873 w 7467600"/>
              <a:gd name="connsiteY818" fmla="*/ 898971 h 6858000"/>
              <a:gd name="connsiteX819" fmla="*/ 3276511 w 7467600"/>
              <a:gd name="connsiteY819" fmla="*/ 786423 h 6858000"/>
              <a:gd name="connsiteX820" fmla="*/ 3584154 w 7467600"/>
              <a:gd name="connsiteY820" fmla="*/ 448218 h 6858000"/>
              <a:gd name="connsiteX821" fmla="*/ 3624562 w 7467600"/>
              <a:gd name="connsiteY821" fmla="*/ 367041 h 6858000"/>
              <a:gd name="connsiteX822" fmla="*/ 3766672 w 7467600"/>
              <a:gd name="connsiteY822" fmla="*/ 359429 h 6858000"/>
              <a:gd name="connsiteX823" fmla="*/ 3996338 w 7467600"/>
              <a:gd name="connsiteY823" fmla="*/ 968237 h 6858000"/>
              <a:gd name="connsiteX824" fmla="*/ 3766672 w 7467600"/>
              <a:gd name="connsiteY824" fmla="*/ 359429 h 6858000"/>
              <a:gd name="connsiteX825" fmla="*/ 5805386 w 7467600"/>
              <a:gd name="connsiteY825" fmla="*/ 239240 h 6858000"/>
              <a:gd name="connsiteX826" fmla="*/ 5736947 w 7467600"/>
              <a:gd name="connsiteY826" fmla="*/ 261367 h 6858000"/>
              <a:gd name="connsiteX827" fmla="*/ 5427012 w 7467600"/>
              <a:gd name="connsiteY827" fmla="*/ 311272 h 6858000"/>
              <a:gd name="connsiteX828" fmla="*/ 5147818 w 7467600"/>
              <a:gd name="connsiteY828" fmla="*/ 322112 h 6858000"/>
              <a:gd name="connsiteX829" fmla="*/ 5060854 w 7467600"/>
              <a:gd name="connsiteY829" fmla="*/ 311882 h 6858000"/>
              <a:gd name="connsiteX830" fmla="*/ 4945989 w 7467600"/>
              <a:gd name="connsiteY830" fmla="*/ 300516 h 6858000"/>
              <a:gd name="connsiteX831" fmla="*/ 5410479 w 7467600"/>
              <a:gd name="connsiteY831" fmla="*/ 348434 h 6858000"/>
              <a:gd name="connsiteX832" fmla="*/ 5805386 w 7467600"/>
              <a:gd name="connsiteY832" fmla="*/ 239240 h 6858000"/>
              <a:gd name="connsiteX833" fmla="*/ 5905192 w 7467600"/>
              <a:gd name="connsiteY833" fmla="*/ 163079 h 6858000"/>
              <a:gd name="connsiteX834" fmla="*/ 5865655 w 7467600"/>
              <a:gd name="connsiteY834" fmla="*/ 171901 h 6858000"/>
              <a:gd name="connsiteX835" fmla="*/ 5259740 w 7467600"/>
              <a:gd name="connsiteY835" fmla="*/ 257013 h 6858000"/>
              <a:gd name="connsiteX836" fmla="*/ 5208466 w 7467600"/>
              <a:gd name="connsiteY836" fmla="*/ 257550 h 6858000"/>
              <a:gd name="connsiteX837" fmla="*/ 4980204 w 7467600"/>
              <a:gd name="connsiteY837" fmla="*/ 271903 h 6858000"/>
              <a:gd name="connsiteX838" fmla="*/ 5068068 w 7467600"/>
              <a:gd name="connsiteY838" fmla="*/ 282244 h 6858000"/>
              <a:gd name="connsiteX839" fmla="*/ 5153231 w 7467600"/>
              <a:gd name="connsiteY839" fmla="*/ 292240 h 6858000"/>
              <a:gd name="connsiteX840" fmla="*/ 5426491 w 7467600"/>
              <a:gd name="connsiteY840" fmla="*/ 281128 h 6858000"/>
              <a:gd name="connsiteX841" fmla="*/ 5731212 w 7467600"/>
              <a:gd name="connsiteY841" fmla="*/ 231951 h 6858000"/>
              <a:gd name="connsiteX842" fmla="*/ 5905192 w 7467600"/>
              <a:gd name="connsiteY842" fmla="*/ 163079 h 6858000"/>
              <a:gd name="connsiteX843" fmla="*/ 5944437 w 7467600"/>
              <a:gd name="connsiteY843" fmla="*/ 113829 h 6858000"/>
              <a:gd name="connsiteX844" fmla="*/ 5825032 w 7467600"/>
              <a:gd name="connsiteY844" fmla="*/ 146405 h 6858000"/>
              <a:gd name="connsiteX845" fmla="*/ 4955599 w 7467600"/>
              <a:gd name="connsiteY845" fmla="*/ 247008 h 6858000"/>
              <a:gd name="connsiteX846" fmla="*/ 5210104 w 7467600"/>
              <a:gd name="connsiteY846" fmla="*/ 228123 h 6858000"/>
              <a:gd name="connsiteX847" fmla="*/ 5261015 w 7467600"/>
              <a:gd name="connsiteY847" fmla="*/ 227087 h 6858000"/>
              <a:gd name="connsiteX848" fmla="*/ 5861181 w 7467600"/>
              <a:gd name="connsiteY848" fmla="*/ 143093 h 6858000"/>
              <a:gd name="connsiteX849" fmla="*/ 5961252 w 7467600"/>
              <a:gd name="connsiteY849" fmla="*/ 114820 h 6858000"/>
              <a:gd name="connsiteX850" fmla="*/ 5944437 w 7467600"/>
              <a:gd name="connsiteY850" fmla="*/ 113829 h 6858000"/>
              <a:gd name="connsiteX851" fmla="*/ 3882765 w 7467600"/>
              <a:gd name="connsiteY851" fmla="*/ 0 h 6858000"/>
              <a:gd name="connsiteX852" fmla="*/ 3995099 w 7467600"/>
              <a:gd name="connsiteY852" fmla="*/ 0 h 6858000"/>
              <a:gd name="connsiteX853" fmla="*/ 4163818 w 7467600"/>
              <a:gd name="connsiteY853" fmla="*/ 234104 h 6858000"/>
              <a:gd name="connsiteX854" fmla="*/ 4172099 w 7467600"/>
              <a:gd name="connsiteY854" fmla="*/ 234207 h 6858000"/>
              <a:gd name="connsiteX855" fmla="*/ 4784282 w 7467600"/>
              <a:gd name="connsiteY855" fmla="*/ 276561 h 6858000"/>
              <a:gd name="connsiteX856" fmla="*/ 4801687 w 7467600"/>
              <a:gd name="connsiteY856" fmla="*/ 267764 h 6858000"/>
              <a:gd name="connsiteX857" fmla="*/ 6082788 w 7467600"/>
              <a:gd name="connsiteY857" fmla="*/ 64119 h 6858000"/>
              <a:gd name="connsiteX858" fmla="*/ 6099442 w 7467600"/>
              <a:gd name="connsiteY858" fmla="*/ 82568 h 6858000"/>
              <a:gd name="connsiteX859" fmla="*/ 4804137 w 7467600"/>
              <a:gd name="connsiteY859" fmla="*/ 320931 h 6858000"/>
              <a:gd name="connsiteX860" fmla="*/ 4227047 w 7467600"/>
              <a:gd name="connsiteY860" fmla="*/ 313415 h 6858000"/>
              <a:gd name="connsiteX861" fmla="*/ 4346041 w 7467600"/>
              <a:gd name="connsiteY861" fmla="*/ 456086 h 6858000"/>
              <a:gd name="connsiteX862" fmla="*/ 4870967 w 7467600"/>
              <a:gd name="connsiteY862" fmla="*/ 963061 h 6858000"/>
              <a:gd name="connsiteX863" fmla="*/ 4889647 w 7467600"/>
              <a:gd name="connsiteY863" fmla="*/ 957147 h 6858000"/>
              <a:gd name="connsiteX864" fmla="*/ 5422504 w 7467600"/>
              <a:gd name="connsiteY864" fmla="*/ 805191 h 6858000"/>
              <a:gd name="connsiteX865" fmla="*/ 6087656 w 7467600"/>
              <a:gd name="connsiteY865" fmla="*/ 826703 h 6858000"/>
              <a:gd name="connsiteX866" fmla="*/ 6058717 w 7467600"/>
              <a:gd name="connsiteY866" fmla="*/ 865992 h 6858000"/>
              <a:gd name="connsiteX867" fmla="*/ 4974153 w 7467600"/>
              <a:gd name="connsiteY867" fmla="*/ 1045456 h 6858000"/>
              <a:gd name="connsiteX868" fmla="*/ 5627835 w 7467600"/>
              <a:gd name="connsiteY868" fmla="*/ 1472077 h 6858000"/>
              <a:gd name="connsiteX869" fmla="*/ 5629817 w 7467600"/>
              <a:gd name="connsiteY869" fmla="*/ 1471412 h 6858000"/>
              <a:gd name="connsiteX870" fmla="*/ 5634124 w 7467600"/>
              <a:gd name="connsiteY870" fmla="*/ 1470572 h 6858000"/>
              <a:gd name="connsiteX871" fmla="*/ 5755832 w 7467600"/>
              <a:gd name="connsiteY871" fmla="*/ 1383886 h 6858000"/>
              <a:gd name="connsiteX872" fmla="*/ 6014186 w 7467600"/>
              <a:gd name="connsiteY872" fmla="*/ 1279799 h 6858000"/>
              <a:gd name="connsiteX873" fmla="*/ 6901619 w 7467600"/>
              <a:gd name="connsiteY873" fmla="*/ 1047874 h 6858000"/>
              <a:gd name="connsiteX874" fmla="*/ 6931566 w 7467600"/>
              <a:gd name="connsiteY874" fmla="*/ 1062034 h 6858000"/>
              <a:gd name="connsiteX875" fmla="*/ 5790982 w 7467600"/>
              <a:gd name="connsiteY875" fmla="*/ 1561380 h 6858000"/>
              <a:gd name="connsiteX876" fmla="*/ 6188971 w 7467600"/>
              <a:gd name="connsiteY876" fmla="*/ 1755168 h 6858000"/>
              <a:gd name="connsiteX877" fmla="*/ 6202446 w 7467600"/>
              <a:gd name="connsiteY877" fmla="*/ 1752268 h 6858000"/>
              <a:gd name="connsiteX878" fmla="*/ 7179560 w 7467600"/>
              <a:gd name="connsiteY878" fmla="*/ 1467551 h 6858000"/>
              <a:gd name="connsiteX879" fmla="*/ 7158730 w 7467600"/>
              <a:gd name="connsiteY879" fmla="*/ 1507835 h 6858000"/>
              <a:gd name="connsiteX880" fmla="*/ 6326959 w 7467600"/>
              <a:gd name="connsiteY880" fmla="*/ 1817686 h 6858000"/>
              <a:gd name="connsiteX881" fmla="*/ 6537433 w 7467600"/>
              <a:gd name="connsiteY881" fmla="*/ 1907790 h 6858000"/>
              <a:gd name="connsiteX882" fmla="*/ 6550221 w 7467600"/>
              <a:gd name="connsiteY882" fmla="*/ 1910729 h 6858000"/>
              <a:gd name="connsiteX883" fmla="*/ 6964438 w 7467600"/>
              <a:gd name="connsiteY883" fmla="*/ 2209505 h 6858000"/>
              <a:gd name="connsiteX884" fmla="*/ 7367862 w 7467600"/>
              <a:gd name="connsiteY884" fmla="*/ 2806833 h 6858000"/>
              <a:gd name="connsiteX885" fmla="*/ 7364329 w 7467600"/>
              <a:gd name="connsiteY885" fmla="*/ 2826907 h 6858000"/>
              <a:gd name="connsiteX886" fmla="*/ 7290545 w 7467600"/>
              <a:gd name="connsiteY886" fmla="*/ 2850663 h 6858000"/>
              <a:gd name="connsiteX887" fmla="*/ 6472036 w 7467600"/>
              <a:gd name="connsiteY887" fmla="*/ 1959003 h 6858000"/>
              <a:gd name="connsiteX888" fmla="*/ 5792897 w 7467600"/>
              <a:gd name="connsiteY888" fmla="*/ 1647747 h 6858000"/>
              <a:gd name="connsiteX889" fmla="*/ 5842751 w 7467600"/>
              <a:gd name="connsiteY889" fmla="*/ 1816112 h 6858000"/>
              <a:gd name="connsiteX890" fmla="*/ 5847424 w 7467600"/>
              <a:gd name="connsiteY890" fmla="*/ 1815776 h 6858000"/>
              <a:gd name="connsiteX891" fmla="*/ 6399821 w 7467600"/>
              <a:gd name="connsiteY891" fmla="*/ 2344799 h 6858000"/>
              <a:gd name="connsiteX892" fmla="*/ 6323232 w 7467600"/>
              <a:gd name="connsiteY892" fmla="*/ 2389634 h 6858000"/>
              <a:gd name="connsiteX893" fmla="*/ 5942958 w 7467600"/>
              <a:gd name="connsiteY893" fmla="*/ 2077708 h 6858000"/>
              <a:gd name="connsiteX894" fmla="*/ 5921559 w 7467600"/>
              <a:gd name="connsiteY894" fmla="*/ 2378596 h 6858000"/>
              <a:gd name="connsiteX895" fmla="*/ 5817651 w 7467600"/>
              <a:gd name="connsiteY895" fmla="*/ 3023919 h 6858000"/>
              <a:gd name="connsiteX896" fmla="*/ 5729634 w 7467600"/>
              <a:gd name="connsiteY896" fmla="*/ 3051849 h 6858000"/>
              <a:gd name="connsiteX897" fmla="*/ 5611018 w 7467600"/>
              <a:gd name="connsiteY897" fmla="*/ 2316769 h 6858000"/>
              <a:gd name="connsiteX898" fmla="*/ 5687608 w 7467600"/>
              <a:gd name="connsiteY898" fmla="*/ 2039972 h 6858000"/>
              <a:gd name="connsiteX899" fmla="*/ 5657554 w 7467600"/>
              <a:gd name="connsiteY899" fmla="*/ 1576445 h 6858000"/>
              <a:gd name="connsiteX900" fmla="*/ 5150475 w 7467600"/>
              <a:gd name="connsiteY900" fmla="*/ 1274012 h 6858000"/>
              <a:gd name="connsiteX901" fmla="*/ 5349142 w 7467600"/>
              <a:gd name="connsiteY901" fmla="*/ 2204405 h 6858000"/>
              <a:gd name="connsiteX902" fmla="*/ 5262214 w 7467600"/>
              <a:gd name="connsiteY902" fmla="*/ 2233836 h 6858000"/>
              <a:gd name="connsiteX903" fmla="*/ 4981539 w 7467600"/>
              <a:gd name="connsiteY903" fmla="*/ 1542201 h 6858000"/>
              <a:gd name="connsiteX904" fmla="*/ 4958461 w 7467600"/>
              <a:gd name="connsiteY904" fmla="*/ 1136957 h 6858000"/>
              <a:gd name="connsiteX905" fmla="*/ 4655015 w 7467600"/>
              <a:gd name="connsiteY905" fmla="*/ 891426 h 6858000"/>
              <a:gd name="connsiteX906" fmla="*/ 4348002 w 7467600"/>
              <a:gd name="connsiteY906" fmla="*/ 2205895 h 6858000"/>
              <a:gd name="connsiteX907" fmla="*/ 4262250 w 7467600"/>
              <a:gd name="connsiteY907" fmla="*/ 2219972 h 6858000"/>
              <a:gd name="connsiteX908" fmla="*/ 4550611 w 7467600"/>
              <a:gd name="connsiteY908" fmla="*/ 817540 h 6858000"/>
              <a:gd name="connsiteX909" fmla="*/ 4564418 w 7467600"/>
              <a:gd name="connsiteY909" fmla="*/ 808293 h 6858000"/>
              <a:gd name="connsiteX910" fmla="*/ 4266388 w 7467600"/>
              <a:gd name="connsiteY910" fmla="*/ 500083 h 6858000"/>
              <a:gd name="connsiteX911" fmla="*/ 4032842 w 7467600"/>
              <a:gd name="connsiteY911" fmla="*/ 211809 h 6858000"/>
              <a:gd name="connsiteX912" fmla="*/ 3882765 w 7467600"/>
              <a:gd name="connsiteY912" fmla="*/ 0 h 6858000"/>
              <a:gd name="connsiteX913" fmla="*/ 3721337 w 7467600"/>
              <a:gd name="connsiteY913" fmla="*/ 0 h 6858000"/>
              <a:gd name="connsiteX914" fmla="*/ 3797544 w 7467600"/>
              <a:gd name="connsiteY914" fmla="*/ 0 h 6858000"/>
              <a:gd name="connsiteX915" fmla="*/ 3775734 w 7467600"/>
              <a:gd name="connsiteY915" fmla="*/ 95131 h 6858000"/>
              <a:gd name="connsiteX916" fmla="*/ 3724807 w 7467600"/>
              <a:gd name="connsiteY916" fmla="*/ 272257 h 6858000"/>
              <a:gd name="connsiteX917" fmla="*/ 3726844 w 7467600"/>
              <a:gd name="connsiteY917" fmla="*/ 282988 h 6858000"/>
              <a:gd name="connsiteX918" fmla="*/ 3742664 w 7467600"/>
              <a:gd name="connsiteY918" fmla="*/ 279918 h 6858000"/>
              <a:gd name="connsiteX919" fmla="*/ 4103910 w 7467600"/>
              <a:gd name="connsiteY919" fmla="*/ 1161917 h 6858000"/>
              <a:gd name="connsiteX920" fmla="*/ 4020269 w 7467600"/>
              <a:gd name="connsiteY920" fmla="*/ 1200406 h 6858000"/>
              <a:gd name="connsiteX921" fmla="*/ 3674882 w 7467600"/>
              <a:gd name="connsiteY921" fmla="*/ 488524 h 6858000"/>
              <a:gd name="connsiteX922" fmla="*/ 3132682 w 7467600"/>
              <a:gd name="connsiteY922" fmla="*/ 1072284 h 6858000"/>
              <a:gd name="connsiteX923" fmla="*/ 2716346 w 7467600"/>
              <a:gd name="connsiteY923" fmla="*/ 1276376 h 6858000"/>
              <a:gd name="connsiteX924" fmla="*/ 2716772 w 7467600"/>
              <a:gd name="connsiteY924" fmla="*/ 1255462 h 6858000"/>
              <a:gd name="connsiteX925" fmla="*/ 3471096 w 7467600"/>
              <a:gd name="connsiteY925" fmla="*/ 437072 h 6858000"/>
              <a:gd name="connsiteX926" fmla="*/ 3639057 w 7467600"/>
              <a:gd name="connsiteY926" fmla="*/ 286334 h 6858000"/>
              <a:gd name="connsiteX927" fmla="*/ 3640309 w 7467600"/>
              <a:gd name="connsiteY927" fmla="*/ 284664 h 6858000"/>
              <a:gd name="connsiteX928" fmla="*/ 3646022 w 7467600"/>
              <a:gd name="connsiteY928" fmla="*/ 276711 h 6858000"/>
              <a:gd name="connsiteX929" fmla="*/ 3707943 w 7467600"/>
              <a:gd name="connsiteY929" fmla="*/ 65958 h 6858000"/>
              <a:gd name="connsiteX930" fmla="*/ 3721337 w 7467600"/>
              <a:gd name="connsiteY930" fmla="*/ 0 h 6858000"/>
              <a:gd name="connsiteX931" fmla="*/ 2867960 w 7467600"/>
              <a:gd name="connsiteY931" fmla="*/ 0 h 6858000"/>
              <a:gd name="connsiteX932" fmla="*/ 2926351 w 7467600"/>
              <a:gd name="connsiteY932" fmla="*/ 0 h 6858000"/>
              <a:gd name="connsiteX933" fmla="*/ 2902823 w 7467600"/>
              <a:gd name="connsiteY933" fmla="*/ 262929 h 6858000"/>
              <a:gd name="connsiteX934" fmla="*/ 2940663 w 7467600"/>
              <a:gd name="connsiteY934" fmla="*/ 140884 h 6858000"/>
              <a:gd name="connsiteX935" fmla="*/ 2947039 w 7467600"/>
              <a:gd name="connsiteY935" fmla="*/ 122524 h 6858000"/>
              <a:gd name="connsiteX936" fmla="*/ 2984316 w 7467600"/>
              <a:gd name="connsiteY936" fmla="*/ 0 h 6858000"/>
              <a:gd name="connsiteX937" fmla="*/ 3016114 w 7467600"/>
              <a:gd name="connsiteY937" fmla="*/ 0 h 6858000"/>
              <a:gd name="connsiteX938" fmla="*/ 2979949 w 7467600"/>
              <a:gd name="connsiteY938" fmla="*/ 119274 h 6858000"/>
              <a:gd name="connsiteX939" fmla="*/ 3023879 w 7467600"/>
              <a:gd name="connsiteY939" fmla="*/ 0 h 6858000"/>
              <a:gd name="connsiteX940" fmla="*/ 3105400 w 7467600"/>
              <a:gd name="connsiteY940" fmla="*/ 0 h 6858000"/>
              <a:gd name="connsiteX941" fmla="*/ 3094669 w 7467600"/>
              <a:gd name="connsiteY941" fmla="*/ 30308 h 6858000"/>
              <a:gd name="connsiteX942" fmla="*/ 2901945 w 7467600"/>
              <a:gd name="connsiteY942" fmla="*/ 466538 h 6858000"/>
              <a:gd name="connsiteX943" fmla="*/ 2815209 w 7467600"/>
              <a:gd name="connsiteY943" fmla="*/ 497361 h 6858000"/>
              <a:gd name="connsiteX944" fmla="*/ 2844845 w 7467600"/>
              <a:gd name="connsiteY944" fmla="*/ 127638 h 6858000"/>
              <a:gd name="connsiteX945" fmla="*/ 2867960 w 7467600"/>
              <a:gd name="connsiteY945" fmla="*/ 0 h 6858000"/>
              <a:gd name="connsiteX946" fmla="*/ 1057230 w 7467600"/>
              <a:gd name="connsiteY946" fmla="*/ 0 h 6858000"/>
              <a:gd name="connsiteX947" fmla="*/ 1111003 w 7467600"/>
              <a:gd name="connsiteY947" fmla="*/ 0 h 6858000"/>
              <a:gd name="connsiteX948" fmla="*/ 1125553 w 7467600"/>
              <a:gd name="connsiteY948" fmla="*/ 52588 h 6858000"/>
              <a:gd name="connsiteX949" fmla="*/ 1304276 w 7467600"/>
              <a:gd name="connsiteY949" fmla="*/ 476275 h 6858000"/>
              <a:gd name="connsiteX950" fmla="*/ 1492066 w 7467600"/>
              <a:gd name="connsiteY950" fmla="*/ 886333 h 6858000"/>
              <a:gd name="connsiteX951" fmla="*/ 1423698 w 7467600"/>
              <a:gd name="connsiteY951" fmla="*/ 710817 h 6858000"/>
              <a:gd name="connsiteX952" fmla="*/ 1357609 w 7467600"/>
              <a:gd name="connsiteY952" fmla="*/ 532892 h 6858000"/>
              <a:gd name="connsiteX953" fmla="*/ 1309550 w 7467600"/>
              <a:gd name="connsiteY953" fmla="*/ 374031 h 6858000"/>
              <a:gd name="connsiteX954" fmla="*/ 1193673 w 7467600"/>
              <a:gd name="connsiteY954" fmla="*/ 49533 h 6858000"/>
              <a:gd name="connsiteX955" fmla="*/ 1164391 w 7467600"/>
              <a:gd name="connsiteY955" fmla="*/ 0 h 6858000"/>
              <a:gd name="connsiteX956" fmla="*/ 1200666 w 7467600"/>
              <a:gd name="connsiteY956" fmla="*/ 0 h 6858000"/>
              <a:gd name="connsiteX957" fmla="*/ 1223408 w 7467600"/>
              <a:gd name="connsiteY957" fmla="*/ 38996 h 6858000"/>
              <a:gd name="connsiteX958" fmla="*/ 1339635 w 7467600"/>
              <a:gd name="connsiteY958" fmla="*/ 365517 h 6858000"/>
              <a:gd name="connsiteX959" fmla="*/ 1387469 w 7467600"/>
              <a:gd name="connsiteY959" fmla="*/ 523079 h 6858000"/>
              <a:gd name="connsiteX960" fmla="*/ 1452685 w 7467600"/>
              <a:gd name="connsiteY960" fmla="*/ 699806 h 6858000"/>
              <a:gd name="connsiteX961" fmla="*/ 1492092 w 7467600"/>
              <a:gd name="connsiteY961" fmla="*/ 800424 h 6858000"/>
              <a:gd name="connsiteX962" fmla="*/ 1455302 w 7467600"/>
              <a:gd name="connsiteY962" fmla="*/ 632913 h 6858000"/>
              <a:gd name="connsiteX963" fmla="*/ 1222336 w 7467600"/>
              <a:gd name="connsiteY963" fmla="*/ 9480 h 6858000"/>
              <a:gd name="connsiteX964" fmla="*/ 1214634 w 7467600"/>
              <a:gd name="connsiteY964" fmla="*/ 0 h 6858000"/>
              <a:gd name="connsiteX965" fmla="*/ 1289827 w 7467600"/>
              <a:gd name="connsiteY965" fmla="*/ 0 h 6858000"/>
              <a:gd name="connsiteX966" fmla="*/ 1321076 w 7467600"/>
              <a:gd name="connsiteY966" fmla="*/ 59722 h 6858000"/>
              <a:gd name="connsiteX967" fmla="*/ 1512579 w 7467600"/>
              <a:gd name="connsiteY967" fmla="*/ 626441 h 6858000"/>
              <a:gd name="connsiteX968" fmla="*/ 1506076 w 7467600"/>
              <a:gd name="connsiteY968" fmla="*/ 1089289 h 6858000"/>
              <a:gd name="connsiteX969" fmla="*/ 1486346 w 7467600"/>
              <a:gd name="connsiteY969" fmla="*/ 1079919 h 6858000"/>
              <a:gd name="connsiteX970" fmla="*/ 1070511 w 7467600"/>
              <a:gd name="connsiteY970" fmla="*/ 48609 h 6858000"/>
              <a:gd name="connsiteX971" fmla="*/ 1057230 w 7467600"/>
              <a:gd name="connsiteY971" fmla="*/ 0 h 6858000"/>
              <a:gd name="connsiteX972" fmla="*/ 43151 w 7467600"/>
              <a:gd name="connsiteY972" fmla="*/ 0 h 6858000"/>
              <a:gd name="connsiteX973" fmla="*/ 95283 w 7467600"/>
              <a:gd name="connsiteY973" fmla="*/ 0 h 6858000"/>
              <a:gd name="connsiteX974" fmla="*/ 300708 w 7467600"/>
              <a:gd name="connsiteY974" fmla="*/ 154571 h 6858000"/>
              <a:gd name="connsiteX975" fmla="*/ 530414 w 7467600"/>
              <a:gd name="connsiteY975" fmla="*/ 354673 h 6858000"/>
              <a:gd name="connsiteX976" fmla="*/ 333785 w 7467600"/>
              <a:gd name="connsiteY976" fmla="*/ 161564 h 6858000"/>
              <a:gd name="connsiteX977" fmla="*/ 147005 w 7467600"/>
              <a:gd name="connsiteY977" fmla="*/ 0 h 6858000"/>
              <a:gd name="connsiteX978" fmla="*/ 272509 w 7467600"/>
              <a:gd name="connsiteY978" fmla="*/ 0 h 6858000"/>
              <a:gd name="connsiteX979" fmla="*/ 326276 w 7467600"/>
              <a:gd name="connsiteY979" fmla="*/ 45847 h 6858000"/>
              <a:gd name="connsiteX980" fmla="*/ 823759 w 7467600"/>
              <a:gd name="connsiteY980" fmla="*/ 574145 h 6858000"/>
              <a:gd name="connsiteX981" fmla="*/ 811254 w 7467600"/>
              <a:gd name="connsiteY981" fmla="*/ 665546 h 6858000"/>
              <a:gd name="connsiteX982" fmla="*/ 154042 w 7467600"/>
              <a:gd name="connsiteY982" fmla="*/ 261522 h 6858000"/>
              <a:gd name="connsiteX983" fmla="*/ 13550 w 7467600"/>
              <a:gd name="connsiteY983" fmla="*/ 158423 h 6858000"/>
              <a:gd name="connsiteX984" fmla="*/ 0 w 7467600"/>
              <a:gd name="connsiteY984" fmla="*/ 146618 h 6858000"/>
              <a:gd name="connsiteX985" fmla="*/ 0 w 7467600"/>
              <a:gd name="connsiteY985" fmla="*/ 59161 h 6858000"/>
              <a:gd name="connsiteX986" fmla="*/ 45427 w 7467600"/>
              <a:gd name="connsiteY986" fmla="*/ 101078 h 6858000"/>
              <a:gd name="connsiteX987" fmla="*/ 630103 w 7467600"/>
              <a:gd name="connsiteY987" fmla="*/ 485885 h 6858000"/>
              <a:gd name="connsiteX988" fmla="*/ 532040 w 7467600"/>
              <a:gd name="connsiteY988" fmla="*/ 399359 h 6858000"/>
              <a:gd name="connsiteX989" fmla="*/ 517618 w 7467600"/>
              <a:gd name="connsiteY989" fmla="*/ 385726 h 6858000"/>
              <a:gd name="connsiteX990" fmla="*/ 285074 w 7467600"/>
              <a:gd name="connsiteY990" fmla="*/ 182755 h 6858000"/>
              <a:gd name="connsiteX991" fmla="*/ 43151 w 7467600"/>
              <a:gd name="connsiteY991"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12201 w 7467600"/>
              <a:gd name="connsiteY127" fmla="*/ 5128278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12201 w 7467600"/>
              <a:gd name="connsiteY134" fmla="*/ 5128278 h 6858000"/>
              <a:gd name="connsiteX135" fmla="*/ 1903353 w 7467600"/>
              <a:gd name="connsiteY135" fmla="*/ 5044827 h 6858000"/>
              <a:gd name="connsiteX136" fmla="*/ 1936931 w 7467600"/>
              <a:gd name="connsiteY136" fmla="*/ 5093954 h 6858000"/>
              <a:gd name="connsiteX137" fmla="*/ 2195868 w 7467600"/>
              <a:gd name="connsiteY137" fmla="*/ 5396574 h 6858000"/>
              <a:gd name="connsiteX138" fmla="*/ 2088852 w 7467600"/>
              <a:gd name="connsiteY138" fmla="*/ 5166123 h 6858000"/>
              <a:gd name="connsiteX139" fmla="*/ 1958241 w 7467600"/>
              <a:gd name="connsiteY139" fmla="*/ 5067955 h 6858000"/>
              <a:gd name="connsiteX140" fmla="*/ 1903353 w 7467600"/>
              <a:gd name="connsiteY140" fmla="*/ 5044827 h 6858000"/>
              <a:gd name="connsiteX141" fmla="*/ 1979378 w 7467600"/>
              <a:gd name="connsiteY141" fmla="*/ 4769504 h 6858000"/>
              <a:gd name="connsiteX142" fmla="*/ 2882120 w 7467600"/>
              <a:gd name="connsiteY142" fmla="*/ 5064547 h 6858000"/>
              <a:gd name="connsiteX143" fmla="*/ 2793103 w 7467600"/>
              <a:gd name="connsiteY143" fmla="*/ 5039699 h 6858000"/>
              <a:gd name="connsiteX144" fmla="*/ 2770041 w 7467600"/>
              <a:gd name="connsiteY144" fmla="*/ 5033634 h 6858000"/>
              <a:gd name="connsiteX145" fmla="*/ 1979378 w 7467600"/>
              <a:gd name="connsiteY145" fmla="*/ 4769504 h 6858000"/>
              <a:gd name="connsiteX146" fmla="*/ 1927410 w 7467600"/>
              <a:gd name="connsiteY146" fmla="*/ 4716164 h 6858000"/>
              <a:gd name="connsiteX147" fmla="*/ 1959587 w 7467600"/>
              <a:gd name="connsiteY147" fmla="*/ 4728849 h 6858000"/>
              <a:gd name="connsiteX148" fmla="*/ 2777707 w 7467600"/>
              <a:gd name="connsiteY148" fmla="*/ 5003991 h 6858000"/>
              <a:gd name="connsiteX149" fmla="*/ 2800768 w 7467600"/>
              <a:gd name="connsiteY149" fmla="*/ 5010056 h 6858000"/>
              <a:gd name="connsiteX150" fmla="*/ 2879408 w 7467600"/>
              <a:gd name="connsiteY150" fmla="*/ 5031590 h 6858000"/>
              <a:gd name="connsiteX151" fmla="*/ 2862295 w 7467600"/>
              <a:gd name="connsiteY151" fmla="*/ 5022958 h 6858000"/>
              <a:gd name="connsiteX152" fmla="*/ 2813343 w 7467600"/>
              <a:gd name="connsiteY152" fmla="*/ 4998369 h 6858000"/>
              <a:gd name="connsiteX153" fmla="*/ 2646245 w 7467600"/>
              <a:gd name="connsiteY153" fmla="*/ 4930999 h 6858000"/>
              <a:gd name="connsiteX154" fmla="*/ 1999243 w 7467600"/>
              <a:gd name="connsiteY154" fmla="*/ 4730524 h 6858000"/>
              <a:gd name="connsiteX155" fmla="*/ 1979527 w 7467600"/>
              <a:gd name="connsiteY155" fmla="*/ 4726651 h 6858000"/>
              <a:gd name="connsiteX156" fmla="*/ 1927410 w 7467600"/>
              <a:gd name="connsiteY156" fmla="*/ 4716164 h 6858000"/>
              <a:gd name="connsiteX157" fmla="*/ 1997014 w 7467600"/>
              <a:gd name="connsiteY157" fmla="*/ 4698007 h 6858000"/>
              <a:gd name="connsiteX158" fmla="*/ 2005458 w 7467600"/>
              <a:gd name="connsiteY158" fmla="*/ 4699540 h 6858000"/>
              <a:gd name="connsiteX159" fmla="*/ 2657186 w 7467600"/>
              <a:gd name="connsiteY159" fmla="*/ 4901687 h 6858000"/>
              <a:gd name="connsiteX160" fmla="*/ 2826662 w 7467600"/>
              <a:gd name="connsiteY160" fmla="*/ 4970362 h 6858000"/>
              <a:gd name="connsiteX161" fmla="*/ 2876100 w 7467600"/>
              <a:gd name="connsiteY161" fmla="*/ 4995397 h 6858000"/>
              <a:gd name="connsiteX162" fmla="*/ 3042600 w 7467600"/>
              <a:gd name="connsiteY162" fmla="*/ 5059532 h 6858000"/>
              <a:gd name="connsiteX163" fmla="*/ 1997014 w 7467600"/>
              <a:gd name="connsiteY163" fmla="*/ 4698007 h 6858000"/>
              <a:gd name="connsiteX164" fmla="*/ 2305292 w 7467600"/>
              <a:gd name="connsiteY164" fmla="*/ 4219492 h 6858000"/>
              <a:gd name="connsiteX165" fmla="*/ 3360922 w 7467600"/>
              <a:gd name="connsiteY165" fmla="*/ 4529373 h 6858000"/>
              <a:gd name="connsiteX166" fmla="*/ 3492420 w 7467600"/>
              <a:gd name="connsiteY166" fmla="*/ 4510145 h 6858000"/>
              <a:gd name="connsiteX167" fmla="*/ 3364086 w 7467600"/>
              <a:gd name="connsiteY167" fmla="*/ 4480340 h 6858000"/>
              <a:gd name="connsiteX168" fmla="*/ 3225818 w 7467600"/>
              <a:gd name="connsiteY168" fmla="*/ 4411822 h 6858000"/>
              <a:gd name="connsiteX169" fmla="*/ 3129696 w 7467600"/>
              <a:gd name="connsiteY169" fmla="*/ 4360704 h 6858000"/>
              <a:gd name="connsiteX170" fmla="*/ 2814545 w 7467600"/>
              <a:gd name="connsiteY170" fmla="*/ 4282955 h 6858000"/>
              <a:gd name="connsiteX171" fmla="*/ 2305292 w 7467600"/>
              <a:gd name="connsiteY171" fmla="*/ 4219492 h 6858000"/>
              <a:gd name="connsiteX172" fmla="*/ 2626982 w 7467600"/>
              <a:gd name="connsiteY172" fmla="*/ 4206450 h 6858000"/>
              <a:gd name="connsiteX173" fmla="*/ 2490617 w 7467600"/>
              <a:gd name="connsiteY173" fmla="*/ 4206951 h 6858000"/>
              <a:gd name="connsiteX174" fmla="*/ 2819869 w 7467600"/>
              <a:gd name="connsiteY174" fmla="*/ 4252936 h 6858000"/>
              <a:gd name="connsiteX175" fmla="*/ 3143018 w 7467600"/>
              <a:gd name="connsiteY175" fmla="*/ 4332698 h 6858000"/>
              <a:gd name="connsiteX176" fmla="*/ 3241520 w 7467600"/>
              <a:gd name="connsiteY176" fmla="*/ 4385112 h 6858000"/>
              <a:gd name="connsiteX177" fmla="*/ 3374575 w 7467600"/>
              <a:gd name="connsiteY177" fmla="*/ 4451517 h 6858000"/>
              <a:gd name="connsiteX178" fmla="*/ 3505221 w 7467600"/>
              <a:gd name="connsiteY178" fmla="*/ 4480757 h 6858000"/>
              <a:gd name="connsiteX179" fmla="*/ 2626982 w 7467600"/>
              <a:gd name="connsiteY179" fmla="*/ 4206450 h 6858000"/>
              <a:gd name="connsiteX180" fmla="*/ 1310106 w 7467600"/>
              <a:gd name="connsiteY180" fmla="*/ 3943217 h 6858000"/>
              <a:gd name="connsiteX181" fmla="*/ 854994 w 7467600"/>
              <a:gd name="connsiteY181" fmla="*/ 4399136 h 6858000"/>
              <a:gd name="connsiteX182" fmla="*/ 742462 w 7467600"/>
              <a:gd name="connsiteY182" fmla="*/ 4594648 h 6858000"/>
              <a:gd name="connsiteX183" fmla="*/ 820602 w 7467600"/>
              <a:gd name="connsiteY183" fmla="*/ 4485915 h 6858000"/>
              <a:gd name="connsiteX184" fmla="*/ 878295 w 7467600"/>
              <a:gd name="connsiteY184" fmla="*/ 4403594 h 6858000"/>
              <a:gd name="connsiteX185" fmla="*/ 1240607 w 7467600"/>
              <a:gd name="connsiteY185" fmla="*/ 4010401 h 6858000"/>
              <a:gd name="connsiteX186" fmla="*/ 1310106 w 7467600"/>
              <a:gd name="connsiteY186" fmla="*/ 3943217 h 6858000"/>
              <a:gd name="connsiteX187" fmla="*/ 1423113 w 7467600"/>
              <a:gd name="connsiteY187" fmla="*/ 3874565 h 6858000"/>
              <a:gd name="connsiteX188" fmla="*/ 1260565 w 7467600"/>
              <a:gd name="connsiteY188" fmla="*/ 4031982 h 6858000"/>
              <a:gd name="connsiteX189" fmla="*/ 901900 w 7467600"/>
              <a:gd name="connsiteY189" fmla="*/ 4421236 h 6858000"/>
              <a:gd name="connsiteX190" fmla="*/ 845044 w 7467600"/>
              <a:gd name="connsiteY190" fmla="*/ 4502436 h 6858000"/>
              <a:gd name="connsiteX191" fmla="*/ 685926 w 7467600"/>
              <a:gd name="connsiteY191" fmla="*/ 4703069 h 6858000"/>
              <a:gd name="connsiteX192" fmla="*/ 684248 w 7467600"/>
              <a:gd name="connsiteY192" fmla="*/ 4706721 h 6858000"/>
              <a:gd name="connsiteX193" fmla="*/ 1423113 w 7467600"/>
              <a:gd name="connsiteY193" fmla="*/ 3874565 h 6858000"/>
              <a:gd name="connsiteX194" fmla="*/ 3316479 w 7467600"/>
              <a:gd name="connsiteY194" fmla="*/ 3872136 h 6858000"/>
              <a:gd name="connsiteX195" fmla="*/ 3546806 w 7467600"/>
              <a:gd name="connsiteY195" fmla="*/ 4356139 h 6858000"/>
              <a:gd name="connsiteX196" fmla="*/ 3364433 w 7467600"/>
              <a:gd name="connsiteY196" fmla="*/ 3953121 h 6858000"/>
              <a:gd name="connsiteX197" fmla="*/ 3316479 w 7467600"/>
              <a:gd name="connsiteY197" fmla="*/ 3872136 h 6858000"/>
              <a:gd name="connsiteX198" fmla="*/ 3291335 w 7467600"/>
              <a:gd name="connsiteY198" fmla="*/ 3767420 h 6858000"/>
              <a:gd name="connsiteX199" fmla="*/ 3390805 w 7467600"/>
              <a:gd name="connsiteY199" fmla="*/ 3937163 h 6858000"/>
              <a:gd name="connsiteX200" fmla="*/ 3579062 w 7467600"/>
              <a:gd name="connsiteY200" fmla="*/ 4359040 h 6858000"/>
              <a:gd name="connsiteX201" fmla="*/ 3467355 w 7467600"/>
              <a:gd name="connsiteY201" fmla="*/ 3988130 h 6858000"/>
              <a:gd name="connsiteX202" fmla="*/ 3310753 w 7467600"/>
              <a:gd name="connsiteY202" fmla="*/ 3787140 h 6858000"/>
              <a:gd name="connsiteX203" fmla="*/ 3291335 w 7467600"/>
              <a:gd name="connsiteY203" fmla="*/ 3767420 h 6858000"/>
              <a:gd name="connsiteX204" fmla="*/ 1635889 w 7467600"/>
              <a:gd name="connsiteY204" fmla="*/ 3709494 h 6858000"/>
              <a:gd name="connsiteX205" fmla="*/ 1634800 w 7467600"/>
              <a:gd name="connsiteY205" fmla="*/ 3731111 h 6858000"/>
              <a:gd name="connsiteX206" fmla="*/ 1635889 w 7467600"/>
              <a:gd name="connsiteY206" fmla="*/ 3709494 h 6858000"/>
              <a:gd name="connsiteX207" fmla="*/ 1510397 w 7467600"/>
              <a:gd name="connsiteY207" fmla="*/ 3684705 h 6858000"/>
              <a:gd name="connsiteX208" fmla="*/ 1146550 w 7467600"/>
              <a:gd name="connsiteY208" fmla="*/ 3802012 h 6858000"/>
              <a:gd name="connsiteX209" fmla="*/ 698834 w 7467600"/>
              <a:gd name="connsiteY209" fmla="*/ 3952272 h 6858000"/>
              <a:gd name="connsiteX210" fmla="*/ 34256 w 7467600"/>
              <a:gd name="connsiteY210" fmla="*/ 4347603 h 6858000"/>
              <a:gd name="connsiteX211" fmla="*/ 527241 w 7467600"/>
              <a:gd name="connsiteY211" fmla="*/ 4065078 h 6858000"/>
              <a:gd name="connsiteX212" fmla="*/ 1510397 w 7467600"/>
              <a:gd name="connsiteY212" fmla="*/ 3684705 h 6858000"/>
              <a:gd name="connsiteX213" fmla="*/ 1313114 w 7467600"/>
              <a:gd name="connsiteY213" fmla="*/ 3655216 h 6858000"/>
              <a:gd name="connsiteX214" fmla="*/ 1109304 w 7467600"/>
              <a:gd name="connsiteY214" fmla="*/ 3669030 h 6858000"/>
              <a:gd name="connsiteX215" fmla="*/ 8129 w 7467600"/>
              <a:gd name="connsiteY215" fmla="*/ 4330519 h 6858000"/>
              <a:gd name="connsiteX216" fmla="*/ 687572 w 7467600"/>
              <a:gd name="connsiteY216" fmla="*/ 3925629 h 6858000"/>
              <a:gd name="connsiteX217" fmla="*/ 1138365 w 7467600"/>
              <a:gd name="connsiteY217" fmla="*/ 3774515 h 6858000"/>
              <a:gd name="connsiteX218" fmla="*/ 1505579 w 7467600"/>
              <a:gd name="connsiteY218" fmla="*/ 3655526 h 6858000"/>
              <a:gd name="connsiteX219" fmla="*/ 1313114 w 7467600"/>
              <a:gd name="connsiteY219" fmla="*/ 3655216 h 6858000"/>
              <a:gd name="connsiteX220" fmla="*/ 3655073 w 7467600"/>
              <a:gd name="connsiteY220" fmla="*/ 3650884 h 6858000"/>
              <a:gd name="connsiteX221" fmla="*/ 3989938 w 7467600"/>
              <a:gd name="connsiteY221" fmla="*/ 3991685 h 6858000"/>
              <a:gd name="connsiteX222" fmla="*/ 4393907 w 7467600"/>
              <a:gd name="connsiteY222" fmla="*/ 4261258 h 6858000"/>
              <a:gd name="connsiteX223" fmla="*/ 4648051 w 7467600"/>
              <a:gd name="connsiteY223" fmla="*/ 4374051 h 6858000"/>
              <a:gd name="connsiteX224" fmla="*/ 4383389 w 7467600"/>
              <a:gd name="connsiteY224" fmla="*/ 4184369 h 6858000"/>
              <a:gd name="connsiteX225" fmla="*/ 4165508 w 7467600"/>
              <a:gd name="connsiteY225" fmla="*/ 4035196 h 6858000"/>
              <a:gd name="connsiteX226" fmla="*/ 4068162 w 7467600"/>
              <a:gd name="connsiteY226" fmla="*/ 3953394 h 6858000"/>
              <a:gd name="connsiteX227" fmla="*/ 3981416 w 7467600"/>
              <a:gd name="connsiteY227" fmla="*/ 3880482 h 6858000"/>
              <a:gd name="connsiteX228" fmla="*/ 3800147 w 7467600"/>
              <a:gd name="connsiteY228" fmla="*/ 3749872 h 6858000"/>
              <a:gd name="connsiteX229" fmla="*/ 3655073 w 7467600"/>
              <a:gd name="connsiteY229" fmla="*/ 3650884 h 6858000"/>
              <a:gd name="connsiteX230" fmla="*/ 3670252 w 7467600"/>
              <a:gd name="connsiteY230" fmla="*/ 3622798 h 6858000"/>
              <a:gd name="connsiteX231" fmla="*/ 3817258 w 7467600"/>
              <a:gd name="connsiteY231" fmla="*/ 3723577 h 6858000"/>
              <a:gd name="connsiteX232" fmla="*/ 4000461 w 7467600"/>
              <a:gd name="connsiteY232" fmla="*/ 3855966 h 6858000"/>
              <a:gd name="connsiteX233" fmla="*/ 4088180 w 7467600"/>
              <a:gd name="connsiteY233" fmla="*/ 3929774 h 6858000"/>
              <a:gd name="connsiteX234" fmla="*/ 4184555 w 7467600"/>
              <a:gd name="connsiteY234" fmla="*/ 4010683 h 6858000"/>
              <a:gd name="connsiteX235" fmla="*/ 4399563 w 7467600"/>
              <a:gd name="connsiteY235" fmla="*/ 4158106 h 6858000"/>
              <a:gd name="connsiteX236" fmla="*/ 4684469 w 7467600"/>
              <a:gd name="connsiteY236" fmla="*/ 4364680 h 6858000"/>
              <a:gd name="connsiteX237" fmla="*/ 4690271 w 7467600"/>
              <a:gd name="connsiteY237" fmla="*/ 4370034 h 6858000"/>
              <a:gd name="connsiteX238" fmla="*/ 4136093 w 7467600"/>
              <a:gd name="connsiteY238" fmla="*/ 3858466 h 6858000"/>
              <a:gd name="connsiteX239" fmla="*/ 3670252 w 7467600"/>
              <a:gd name="connsiteY239" fmla="*/ 3622798 h 6858000"/>
              <a:gd name="connsiteX240" fmla="*/ 4440129 w 7467600"/>
              <a:gd name="connsiteY240" fmla="*/ 3448571 h 6858000"/>
              <a:gd name="connsiteX241" fmla="*/ 4856525 w 7467600"/>
              <a:gd name="connsiteY241" fmla="*/ 3915351 h 6858000"/>
              <a:gd name="connsiteX242" fmla="*/ 5059055 w 7467600"/>
              <a:gd name="connsiteY242" fmla="*/ 4108918 h 6858000"/>
              <a:gd name="connsiteX243" fmla="*/ 5290070 w 7467600"/>
              <a:gd name="connsiteY243" fmla="*/ 4263619 h 6858000"/>
              <a:gd name="connsiteX244" fmla="*/ 4834991 w 7467600"/>
              <a:gd name="connsiteY244" fmla="*/ 3830985 h 6858000"/>
              <a:gd name="connsiteX245" fmla="*/ 4440129 w 7467600"/>
              <a:gd name="connsiteY245" fmla="*/ 3448571 h 6858000"/>
              <a:gd name="connsiteX246" fmla="*/ 4441737 w 7467600"/>
              <a:gd name="connsiteY246" fmla="*/ 3399734 h 6858000"/>
              <a:gd name="connsiteX247" fmla="*/ 4431236 w 7467600"/>
              <a:gd name="connsiteY247" fmla="*/ 3400954 h 6858000"/>
              <a:gd name="connsiteX248" fmla="*/ 4557150 w 7467600"/>
              <a:gd name="connsiteY248" fmla="*/ 3510023 h 6858000"/>
              <a:gd name="connsiteX249" fmla="*/ 4856936 w 7467600"/>
              <a:gd name="connsiteY249" fmla="*/ 3809146 h 6858000"/>
              <a:gd name="connsiteX250" fmla="*/ 5111996 w 7467600"/>
              <a:gd name="connsiteY250" fmla="*/ 4065759 h 6858000"/>
              <a:gd name="connsiteX251" fmla="*/ 5388878 w 7467600"/>
              <a:gd name="connsiteY251" fmla="*/ 4300185 h 6858000"/>
              <a:gd name="connsiteX252" fmla="*/ 5425556 w 7467600"/>
              <a:gd name="connsiteY252" fmla="*/ 4308967 h 6858000"/>
              <a:gd name="connsiteX253" fmla="*/ 4943646 w 7467600"/>
              <a:gd name="connsiteY253" fmla="*/ 3822916 h 6858000"/>
              <a:gd name="connsiteX254" fmla="*/ 4594837 w 7467600"/>
              <a:gd name="connsiteY254" fmla="*/ 3532274 h 6858000"/>
              <a:gd name="connsiteX255" fmla="*/ 4441737 w 7467600"/>
              <a:gd name="connsiteY255" fmla="*/ 3399734 h 6858000"/>
              <a:gd name="connsiteX256" fmla="*/ 5425834 w 7467600"/>
              <a:gd name="connsiteY256" fmla="*/ 3162785 h 6858000"/>
              <a:gd name="connsiteX257" fmla="*/ 5401644 w 7467600"/>
              <a:gd name="connsiteY257" fmla="*/ 3617847 h 6858000"/>
              <a:gd name="connsiteX258" fmla="*/ 5467256 w 7467600"/>
              <a:gd name="connsiteY258" fmla="*/ 4175494 h 6858000"/>
              <a:gd name="connsiteX259" fmla="*/ 5448069 w 7467600"/>
              <a:gd name="connsiteY259" fmla="*/ 3567554 h 6858000"/>
              <a:gd name="connsiteX260" fmla="*/ 5425834 w 7467600"/>
              <a:gd name="connsiteY260" fmla="*/ 3162785 h 6858000"/>
              <a:gd name="connsiteX261" fmla="*/ 1318687 w 7467600"/>
              <a:gd name="connsiteY261" fmla="*/ 3113840 h 6858000"/>
              <a:gd name="connsiteX262" fmla="*/ 1066793 w 7467600"/>
              <a:gd name="connsiteY262" fmla="*/ 3212171 h 6858000"/>
              <a:gd name="connsiteX263" fmla="*/ 993319 w 7467600"/>
              <a:gd name="connsiteY263" fmla="*/ 3247648 h 6858000"/>
              <a:gd name="connsiteX264" fmla="*/ 853081 w 7467600"/>
              <a:gd name="connsiteY264" fmla="*/ 3312410 h 6858000"/>
              <a:gd name="connsiteX265" fmla="*/ 805957 w 7467600"/>
              <a:gd name="connsiteY265" fmla="*/ 3330443 h 6858000"/>
              <a:gd name="connsiteX266" fmla="*/ 1318687 w 7467600"/>
              <a:gd name="connsiteY266" fmla="*/ 3113840 h 6858000"/>
              <a:gd name="connsiteX267" fmla="*/ 5453702 w 7467600"/>
              <a:gd name="connsiteY267" fmla="*/ 3090882 h 6858000"/>
              <a:gd name="connsiteX268" fmla="*/ 5480135 w 7467600"/>
              <a:gd name="connsiteY268" fmla="*/ 3565802 h 6858000"/>
              <a:gd name="connsiteX269" fmla="*/ 5499023 w 7467600"/>
              <a:gd name="connsiteY269" fmla="*/ 4166310 h 6858000"/>
              <a:gd name="connsiteX270" fmla="*/ 5547022 w 7467600"/>
              <a:gd name="connsiteY270" fmla="*/ 3607838 h 6858000"/>
              <a:gd name="connsiteX271" fmla="*/ 5515964 w 7467600"/>
              <a:gd name="connsiteY271" fmla="*/ 3378541 h 6858000"/>
              <a:gd name="connsiteX272" fmla="*/ 5453702 w 7467600"/>
              <a:gd name="connsiteY272" fmla="*/ 3090882 h 6858000"/>
              <a:gd name="connsiteX273" fmla="*/ 1238695 w 7467600"/>
              <a:gd name="connsiteY273" fmla="*/ 3076820 h 6858000"/>
              <a:gd name="connsiteX274" fmla="*/ 716371 w 7467600"/>
              <a:gd name="connsiteY274" fmla="*/ 3293249 h 6858000"/>
              <a:gd name="connsiteX275" fmla="*/ 579522 w 7467600"/>
              <a:gd name="connsiteY275" fmla="*/ 3371759 h 6858000"/>
              <a:gd name="connsiteX276" fmla="*/ 600288 w 7467600"/>
              <a:gd name="connsiteY276" fmla="*/ 3365555 h 6858000"/>
              <a:gd name="connsiteX277" fmla="*/ 840692 w 7467600"/>
              <a:gd name="connsiteY277" fmla="*/ 3284921 h 6858000"/>
              <a:gd name="connsiteX278" fmla="*/ 979248 w 7467600"/>
              <a:gd name="connsiteY278" fmla="*/ 3221003 h 6858000"/>
              <a:gd name="connsiteX279" fmla="*/ 1053282 w 7467600"/>
              <a:gd name="connsiteY279" fmla="*/ 3185247 h 6858000"/>
              <a:gd name="connsiteX280" fmla="*/ 1320603 w 7467600"/>
              <a:gd name="connsiteY280" fmla="*/ 3081281 h 6858000"/>
              <a:gd name="connsiteX281" fmla="*/ 1238695 w 7467600"/>
              <a:gd name="connsiteY281" fmla="*/ 3076820 h 6858000"/>
              <a:gd name="connsiteX282" fmla="*/ 5425627 w 7467600"/>
              <a:gd name="connsiteY282" fmla="*/ 2954192 h 6858000"/>
              <a:gd name="connsiteX283" fmla="*/ 5470770 w 7467600"/>
              <a:gd name="connsiteY283" fmla="*/ 3005435 h 6858000"/>
              <a:gd name="connsiteX284" fmla="*/ 5519779 w 7467600"/>
              <a:gd name="connsiteY284" fmla="*/ 4359223 h 6858000"/>
              <a:gd name="connsiteX285" fmla="*/ 5520293 w 7467600"/>
              <a:gd name="connsiteY285" fmla="*/ 4360602 h 6858000"/>
              <a:gd name="connsiteX286" fmla="*/ 5767221 w 7467600"/>
              <a:gd name="connsiteY286" fmla="*/ 4665564 h 6858000"/>
              <a:gd name="connsiteX287" fmla="*/ 6937169 w 7467600"/>
              <a:gd name="connsiteY287" fmla="*/ 4815941 h 6858000"/>
              <a:gd name="connsiteX288" fmla="*/ 6953922 w 7467600"/>
              <a:gd name="connsiteY288" fmla="*/ 4890068 h 6858000"/>
              <a:gd name="connsiteX289" fmla="*/ 6071359 w 7467600"/>
              <a:gd name="connsiteY289" fmla="*/ 4770770 h 6858000"/>
              <a:gd name="connsiteX290" fmla="*/ 6038839 w 7467600"/>
              <a:gd name="connsiteY290" fmla="*/ 4764474 h 6858000"/>
              <a:gd name="connsiteX291" fmla="*/ 6038706 w 7467600"/>
              <a:gd name="connsiteY291" fmla="*/ 4763847 h 6858000"/>
              <a:gd name="connsiteX292" fmla="*/ 6037784 w 7467600"/>
              <a:gd name="connsiteY292" fmla="*/ 4764270 h 6858000"/>
              <a:gd name="connsiteX293" fmla="*/ 6038839 w 7467600"/>
              <a:gd name="connsiteY293" fmla="*/ 4764474 h 6858000"/>
              <a:gd name="connsiteX294" fmla="*/ 6040338 w 7467600"/>
              <a:gd name="connsiteY294" fmla="*/ 4771418 h 6858000"/>
              <a:gd name="connsiteX295" fmla="*/ 6024488 w 7467600"/>
              <a:gd name="connsiteY295" fmla="*/ 4809903 h 6858000"/>
              <a:gd name="connsiteX296" fmla="*/ 5599771 w 7467600"/>
              <a:gd name="connsiteY296" fmla="*/ 5509652 h 6858000"/>
              <a:gd name="connsiteX297" fmla="*/ 5548843 w 7467600"/>
              <a:gd name="connsiteY297" fmla="*/ 5563845 h 6858000"/>
              <a:gd name="connsiteX298" fmla="*/ 5940952 w 7467600"/>
              <a:gd name="connsiteY298" fmla="*/ 6250028 h 6858000"/>
              <a:gd name="connsiteX299" fmla="*/ 6043441 w 7467600"/>
              <a:gd name="connsiteY299" fmla="*/ 6665847 h 6858000"/>
              <a:gd name="connsiteX300" fmla="*/ 6093432 w 7467600"/>
              <a:gd name="connsiteY300" fmla="*/ 6858000 h 6858000"/>
              <a:gd name="connsiteX301" fmla="*/ 6034344 w 7467600"/>
              <a:gd name="connsiteY301" fmla="*/ 6858000 h 6858000"/>
              <a:gd name="connsiteX302" fmla="*/ 6026679 w 7467600"/>
              <a:gd name="connsiteY302" fmla="*/ 6836959 h 6858000"/>
              <a:gd name="connsiteX303" fmla="*/ 5800441 w 7467600"/>
              <a:gd name="connsiteY303" fmla="*/ 6335286 h 6858000"/>
              <a:gd name="connsiteX304" fmla="*/ 5526562 w 7467600"/>
              <a:gd name="connsiteY304" fmla="*/ 5705388 h 6858000"/>
              <a:gd name="connsiteX305" fmla="*/ 5519640 w 7467600"/>
              <a:gd name="connsiteY305" fmla="*/ 5683774 h 6858000"/>
              <a:gd name="connsiteX306" fmla="*/ 5844559 w 7467600"/>
              <a:gd name="connsiteY306" fmla="*/ 6553349 h 6858000"/>
              <a:gd name="connsiteX307" fmla="*/ 5975994 w 7467600"/>
              <a:gd name="connsiteY307" fmla="*/ 6858000 h 6858000"/>
              <a:gd name="connsiteX308" fmla="*/ 5898547 w 7467600"/>
              <a:gd name="connsiteY308" fmla="*/ 6858000 h 6858000"/>
              <a:gd name="connsiteX309" fmla="*/ 5682041 w 7467600"/>
              <a:gd name="connsiteY309" fmla="*/ 6355860 h 6858000"/>
              <a:gd name="connsiteX310" fmla="*/ 5461758 w 7467600"/>
              <a:gd name="connsiteY310" fmla="*/ 5820220 h 6858000"/>
              <a:gd name="connsiteX311" fmla="*/ 5237282 w 7467600"/>
              <a:gd name="connsiteY311" fmla="*/ 6579086 h 6858000"/>
              <a:gd name="connsiteX312" fmla="*/ 5115009 w 7467600"/>
              <a:gd name="connsiteY312" fmla="*/ 6858000 h 6858000"/>
              <a:gd name="connsiteX313" fmla="*/ 5028074 w 7467600"/>
              <a:gd name="connsiteY313" fmla="*/ 6858000 h 6858000"/>
              <a:gd name="connsiteX314" fmla="*/ 5079508 w 7467600"/>
              <a:gd name="connsiteY314" fmla="*/ 6749074 h 6858000"/>
              <a:gd name="connsiteX315" fmla="*/ 5371846 w 7467600"/>
              <a:gd name="connsiteY315" fmla="*/ 5924413 h 6858000"/>
              <a:gd name="connsiteX316" fmla="*/ 5270512 w 7467600"/>
              <a:gd name="connsiteY316" fmla="*/ 6138975 h 6858000"/>
              <a:gd name="connsiteX317" fmla="*/ 5062409 w 7467600"/>
              <a:gd name="connsiteY317" fmla="*/ 6653544 h 6858000"/>
              <a:gd name="connsiteX318" fmla="*/ 5036628 w 7467600"/>
              <a:gd name="connsiteY318" fmla="*/ 6754247 h 6858000"/>
              <a:gd name="connsiteX319" fmla="*/ 5009112 w 7467600"/>
              <a:gd name="connsiteY319" fmla="*/ 6858000 h 6858000"/>
              <a:gd name="connsiteX320" fmla="*/ 4976679 w 7467600"/>
              <a:gd name="connsiteY320" fmla="*/ 6858000 h 6858000"/>
              <a:gd name="connsiteX321" fmla="*/ 5006537 w 7467600"/>
              <a:gd name="connsiteY321" fmla="*/ 6747068 h 6858000"/>
              <a:gd name="connsiteX322" fmla="*/ 5032723 w 7467600"/>
              <a:gd name="connsiteY322" fmla="*/ 6644957 h 6858000"/>
              <a:gd name="connsiteX323" fmla="*/ 5242949 w 7467600"/>
              <a:gd name="connsiteY323" fmla="*/ 6125175 h 6858000"/>
              <a:gd name="connsiteX324" fmla="*/ 5286321 w 7467600"/>
              <a:gd name="connsiteY324" fmla="*/ 6033555 h 6858000"/>
              <a:gd name="connsiteX325" fmla="*/ 5008210 w 7467600"/>
              <a:gd name="connsiteY325" fmla="*/ 6649194 h 6858000"/>
              <a:gd name="connsiteX326" fmla="*/ 4986321 w 7467600"/>
              <a:gd name="connsiteY326" fmla="*/ 6765687 h 6858000"/>
              <a:gd name="connsiteX327" fmla="*/ 4973474 w 7467600"/>
              <a:gd name="connsiteY327" fmla="*/ 6858000 h 6858000"/>
              <a:gd name="connsiteX328" fmla="*/ 4907178 w 7467600"/>
              <a:gd name="connsiteY328" fmla="*/ 6858000 h 6858000"/>
              <a:gd name="connsiteX329" fmla="*/ 4910810 w 7467600"/>
              <a:gd name="connsiteY329" fmla="*/ 6829660 h 6858000"/>
              <a:gd name="connsiteX330" fmla="*/ 4987461 w 7467600"/>
              <a:gd name="connsiteY330" fmla="*/ 6432994 h 6858000"/>
              <a:gd name="connsiteX331" fmla="*/ 5179262 w 7467600"/>
              <a:gd name="connsiteY331" fmla="*/ 6035044 h 6858000"/>
              <a:gd name="connsiteX332" fmla="*/ 4689678 w 7467600"/>
              <a:gd name="connsiteY332" fmla="*/ 6440241 h 6858000"/>
              <a:gd name="connsiteX333" fmla="*/ 4477543 w 7467600"/>
              <a:gd name="connsiteY333" fmla="*/ 6674836 h 6858000"/>
              <a:gd name="connsiteX334" fmla="*/ 4329957 w 7467600"/>
              <a:gd name="connsiteY334" fmla="*/ 6858000 h 6858000"/>
              <a:gd name="connsiteX335" fmla="*/ 4218595 w 7467600"/>
              <a:gd name="connsiteY335" fmla="*/ 6858000 h 6858000"/>
              <a:gd name="connsiteX336" fmla="*/ 4368888 w 7467600"/>
              <a:gd name="connsiteY336" fmla="*/ 6668412 h 6858000"/>
              <a:gd name="connsiteX337" fmla="*/ 4563091 w 7467600"/>
              <a:gd name="connsiteY337" fmla="*/ 6442508 h 6858000"/>
              <a:gd name="connsiteX338" fmla="*/ 5387324 w 7467600"/>
              <a:gd name="connsiteY338" fmla="*/ 5705830 h 6858000"/>
              <a:gd name="connsiteX339" fmla="*/ 5073620 w 7467600"/>
              <a:gd name="connsiteY339" fmla="*/ 5955437 h 6858000"/>
              <a:gd name="connsiteX340" fmla="*/ 4689789 w 7467600"/>
              <a:gd name="connsiteY340" fmla="*/ 6268382 h 6858000"/>
              <a:gd name="connsiteX341" fmla="*/ 4418722 w 7467600"/>
              <a:gd name="connsiteY341" fmla="*/ 6570886 h 6858000"/>
              <a:gd name="connsiteX342" fmla="*/ 4214944 w 7467600"/>
              <a:gd name="connsiteY342" fmla="*/ 6858000 h 6858000"/>
              <a:gd name="connsiteX343" fmla="*/ 4177898 w 7467600"/>
              <a:gd name="connsiteY343" fmla="*/ 6858000 h 6858000"/>
              <a:gd name="connsiteX344" fmla="*/ 4391597 w 7467600"/>
              <a:gd name="connsiteY344" fmla="*/ 6556370 h 6858000"/>
              <a:gd name="connsiteX345" fmla="*/ 4668889 w 7467600"/>
              <a:gd name="connsiteY345" fmla="*/ 6246399 h 6858000"/>
              <a:gd name="connsiteX346" fmla="*/ 5055427 w 7467600"/>
              <a:gd name="connsiteY346" fmla="*/ 5931476 h 6858000"/>
              <a:gd name="connsiteX347" fmla="*/ 5371814 w 7467600"/>
              <a:gd name="connsiteY347" fmla="*/ 5678975 h 6858000"/>
              <a:gd name="connsiteX348" fmla="*/ 4987918 w 7467600"/>
              <a:gd name="connsiteY348" fmla="*/ 5838701 h 6858000"/>
              <a:gd name="connsiteX349" fmla="*/ 4317146 w 7467600"/>
              <a:gd name="connsiteY349" fmla="*/ 6587716 h 6858000"/>
              <a:gd name="connsiteX350" fmla="*/ 4171627 w 7467600"/>
              <a:gd name="connsiteY350" fmla="*/ 6858000 h 6858000"/>
              <a:gd name="connsiteX351" fmla="*/ 4081585 w 7467600"/>
              <a:gd name="connsiteY351" fmla="*/ 6858000 h 6858000"/>
              <a:gd name="connsiteX352" fmla="*/ 4238603 w 7467600"/>
              <a:gd name="connsiteY352" fmla="*/ 6559341 h 6858000"/>
              <a:gd name="connsiteX353" fmla="*/ 4778333 w 7467600"/>
              <a:gd name="connsiteY353" fmla="*/ 5873626 h 6858000"/>
              <a:gd name="connsiteX354" fmla="*/ 5414185 w 7467600"/>
              <a:gd name="connsiteY354" fmla="*/ 5573882 h 6858000"/>
              <a:gd name="connsiteX355" fmla="*/ 5959648 w 7467600"/>
              <a:gd name="connsiteY355" fmla="*/ 4760797 h 6858000"/>
              <a:gd name="connsiteX356" fmla="*/ 5355019 w 7467600"/>
              <a:gd name="connsiteY356" fmla="*/ 4734672 h 6858000"/>
              <a:gd name="connsiteX357" fmla="*/ 5083565 w 7467600"/>
              <a:gd name="connsiteY357" fmla="*/ 5179121 h 6858000"/>
              <a:gd name="connsiteX358" fmla="*/ 4713577 w 7467600"/>
              <a:gd name="connsiteY358" fmla="*/ 5616803 h 6858000"/>
              <a:gd name="connsiteX359" fmla="*/ 3989559 w 7467600"/>
              <a:gd name="connsiteY359" fmla="*/ 6145945 h 6858000"/>
              <a:gd name="connsiteX360" fmla="*/ 3939824 w 7467600"/>
              <a:gd name="connsiteY360" fmla="*/ 6066900 h 6858000"/>
              <a:gd name="connsiteX361" fmla="*/ 4584537 w 7467600"/>
              <a:gd name="connsiteY361" fmla="*/ 5324826 h 6858000"/>
              <a:gd name="connsiteX362" fmla="*/ 5037105 w 7467600"/>
              <a:gd name="connsiteY362" fmla="*/ 5088765 h 6858000"/>
              <a:gd name="connsiteX363" fmla="*/ 5039930 w 7467600"/>
              <a:gd name="connsiteY363" fmla="*/ 5089585 h 6858000"/>
              <a:gd name="connsiteX364" fmla="*/ 5263764 w 7467600"/>
              <a:gd name="connsiteY364" fmla="*/ 4735525 h 6858000"/>
              <a:gd name="connsiteX365" fmla="*/ 4086300 w 7467600"/>
              <a:gd name="connsiteY365" fmla="*/ 4884599 h 6858000"/>
              <a:gd name="connsiteX366" fmla="*/ 4085485 w 7467600"/>
              <a:gd name="connsiteY366" fmla="*/ 4899070 h 6858000"/>
              <a:gd name="connsiteX367" fmla="*/ 3871915 w 7467600"/>
              <a:gd name="connsiteY367" fmla="*/ 5253645 h 6858000"/>
              <a:gd name="connsiteX368" fmla="*/ 3799374 w 7467600"/>
              <a:gd name="connsiteY368" fmla="*/ 5466127 h 6858000"/>
              <a:gd name="connsiteX369" fmla="*/ 3498850 w 7467600"/>
              <a:gd name="connsiteY369" fmla="*/ 6661888 h 6858000"/>
              <a:gd name="connsiteX370" fmla="*/ 3399216 w 7467600"/>
              <a:gd name="connsiteY370" fmla="*/ 6858000 h 6858000"/>
              <a:gd name="connsiteX371" fmla="*/ 3303688 w 7467600"/>
              <a:gd name="connsiteY371" fmla="*/ 6858000 h 6858000"/>
              <a:gd name="connsiteX372" fmla="*/ 3391774 w 7467600"/>
              <a:gd name="connsiteY372" fmla="*/ 6697181 h 6858000"/>
              <a:gd name="connsiteX373" fmla="*/ 3735540 w 7467600"/>
              <a:gd name="connsiteY373" fmla="*/ 5546923 h 6858000"/>
              <a:gd name="connsiteX374" fmla="*/ 3729438 w 7467600"/>
              <a:gd name="connsiteY374" fmla="*/ 5569058 h 6858000"/>
              <a:gd name="connsiteX375" fmla="*/ 3707782 w 7467600"/>
              <a:gd name="connsiteY375" fmla="*/ 5644908 h 6858000"/>
              <a:gd name="connsiteX376" fmla="*/ 3583827 w 7467600"/>
              <a:gd name="connsiteY376" fmla="*/ 6039215 h 6858000"/>
              <a:gd name="connsiteX377" fmla="*/ 3547861 w 7467600"/>
              <a:gd name="connsiteY377" fmla="*/ 6129609 h 6858000"/>
              <a:gd name="connsiteX378" fmla="*/ 3490905 w 7467600"/>
              <a:gd name="connsiteY378" fmla="*/ 6277660 h 6858000"/>
              <a:gd name="connsiteX379" fmla="*/ 3455859 w 7467600"/>
              <a:gd name="connsiteY379" fmla="*/ 6391301 h 6858000"/>
              <a:gd name="connsiteX380" fmla="*/ 3429112 w 7467600"/>
              <a:gd name="connsiteY380" fmla="*/ 6479469 h 6858000"/>
              <a:gd name="connsiteX381" fmla="*/ 3304862 w 7467600"/>
              <a:gd name="connsiteY381" fmla="*/ 6796476 h 6858000"/>
              <a:gd name="connsiteX382" fmla="*/ 3276071 w 7467600"/>
              <a:gd name="connsiteY382" fmla="*/ 6858000 h 6858000"/>
              <a:gd name="connsiteX383" fmla="*/ 3240805 w 7467600"/>
              <a:gd name="connsiteY383" fmla="*/ 6858000 h 6858000"/>
              <a:gd name="connsiteX384" fmla="*/ 3275917 w 7467600"/>
              <a:gd name="connsiteY384" fmla="*/ 6783192 h 6858000"/>
              <a:gd name="connsiteX385" fmla="*/ 3399358 w 7467600"/>
              <a:gd name="connsiteY385" fmla="*/ 6469011 h 6858000"/>
              <a:gd name="connsiteX386" fmla="*/ 3425650 w 7467600"/>
              <a:gd name="connsiteY386" fmla="*/ 6381333 h 6858000"/>
              <a:gd name="connsiteX387" fmla="*/ 3460661 w 7467600"/>
              <a:gd name="connsiteY387" fmla="*/ 6266763 h 6858000"/>
              <a:gd name="connsiteX388" fmla="*/ 3518021 w 7467600"/>
              <a:gd name="connsiteY388" fmla="*/ 6117298 h 6858000"/>
              <a:gd name="connsiteX389" fmla="*/ 3554035 w 7467600"/>
              <a:gd name="connsiteY389" fmla="*/ 6027832 h 6858000"/>
              <a:gd name="connsiteX390" fmla="*/ 3677174 w 7467600"/>
              <a:gd name="connsiteY390" fmla="*/ 5636351 h 6858000"/>
              <a:gd name="connsiteX391" fmla="*/ 3698819 w 7467600"/>
              <a:gd name="connsiteY391" fmla="*/ 5560503 h 6858000"/>
              <a:gd name="connsiteX392" fmla="*/ 3702094 w 7467600"/>
              <a:gd name="connsiteY392" fmla="*/ 5549194 h 6858000"/>
              <a:gd name="connsiteX393" fmla="*/ 3398355 w 7467600"/>
              <a:gd name="connsiteY393" fmla="*/ 6094603 h 6858000"/>
              <a:gd name="connsiteX394" fmla="*/ 3193941 w 7467600"/>
              <a:gd name="connsiteY394" fmla="*/ 6798775 h 6858000"/>
              <a:gd name="connsiteX395" fmla="*/ 3184140 w 7467600"/>
              <a:gd name="connsiteY395" fmla="*/ 6858000 h 6858000"/>
              <a:gd name="connsiteX396" fmla="*/ 3099978 w 7467600"/>
              <a:gd name="connsiteY396" fmla="*/ 6858000 h 6858000"/>
              <a:gd name="connsiteX397" fmla="*/ 3101556 w 7467600"/>
              <a:gd name="connsiteY397" fmla="*/ 6843337 h 6858000"/>
              <a:gd name="connsiteX398" fmla="*/ 3370162 w 7467600"/>
              <a:gd name="connsiteY398" fmla="*/ 5785550 h 6858000"/>
              <a:gd name="connsiteX399" fmla="*/ 3746477 w 7467600"/>
              <a:gd name="connsiteY399" fmla="*/ 5377889 h 6858000"/>
              <a:gd name="connsiteX400" fmla="*/ 3863399 w 7467600"/>
              <a:gd name="connsiteY400" fmla="*/ 5087257 h 6858000"/>
              <a:gd name="connsiteX401" fmla="*/ 3968712 w 7467600"/>
              <a:gd name="connsiteY401" fmla="*/ 4913989 h 6858000"/>
              <a:gd name="connsiteX402" fmla="*/ 2792390 w 7467600"/>
              <a:gd name="connsiteY402" fmla="*/ 5382974 h 6858000"/>
              <a:gd name="connsiteX403" fmla="*/ 2714982 w 7467600"/>
              <a:gd name="connsiteY403" fmla="*/ 5427051 h 6858000"/>
              <a:gd name="connsiteX404" fmla="*/ 2813361 w 7467600"/>
              <a:gd name="connsiteY404" fmla="*/ 6023912 h 6858000"/>
              <a:gd name="connsiteX405" fmla="*/ 2688430 w 7467600"/>
              <a:gd name="connsiteY405" fmla="*/ 6801564 h 6858000"/>
              <a:gd name="connsiteX406" fmla="*/ 2629626 w 7467600"/>
              <a:gd name="connsiteY406" fmla="*/ 6763394 h 6858000"/>
              <a:gd name="connsiteX407" fmla="*/ 2565328 w 7467600"/>
              <a:gd name="connsiteY407" fmla="*/ 5516399 h 6858000"/>
              <a:gd name="connsiteX408" fmla="*/ 1922999 w 7467600"/>
              <a:gd name="connsiteY408" fmla="*/ 5980343 h 6858000"/>
              <a:gd name="connsiteX409" fmla="*/ 1950261 w 7467600"/>
              <a:gd name="connsiteY409" fmla="*/ 6405858 h 6858000"/>
              <a:gd name="connsiteX410" fmla="*/ 2365554 w 7467600"/>
              <a:gd name="connsiteY410" fmla="*/ 6759107 h 6858000"/>
              <a:gd name="connsiteX411" fmla="*/ 2424142 w 7467600"/>
              <a:gd name="connsiteY411" fmla="*/ 6858000 h 6858000"/>
              <a:gd name="connsiteX412" fmla="*/ 2395994 w 7467600"/>
              <a:gd name="connsiteY412" fmla="*/ 6858000 h 6858000"/>
              <a:gd name="connsiteX413" fmla="*/ 2392863 w 7467600"/>
              <a:gd name="connsiteY413" fmla="*/ 6852964 h 6858000"/>
              <a:gd name="connsiteX414" fmla="*/ 2017589 w 7467600"/>
              <a:gd name="connsiteY414" fmla="*/ 6493982 h 6858000"/>
              <a:gd name="connsiteX415" fmla="*/ 2147336 w 7467600"/>
              <a:gd name="connsiteY415" fmla="*/ 6594052 h 6858000"/>
              <a:gd name="connsiteX416" fmla="*/ 2207047 w 7467600"/>
              <a:gd name="connsiteY416" fmla="*/ 6654540 h 6858000"/>
              <a:gd name="connsiteX417" fmla="*/ 2299106 w 7467600"/>
              <a:gd name="connsiteY417" fmla="*/ 6778931 h 6858000"/>
              <a:gd name="connsiteX418" fmla="*/ 2314430 w 7467600"/>
              <a:gd name="connsiteY418" fmla="*/ 6801144 h 6858000"/>
              <a:gd name="connsiteX419" fmla="*/ 2352406 w 7467600"/>
              <a:gd name="connsiteY419" fmla="*/ 6858000 h 6858000"/>
              <a:gd name="connsiteX420" fmla="*/ 2314492 w 7467600"/>
              <a:gd name="connsiteY420" fmla="*/ 6858000 h 6858000"/>
              <a:gd name="connsiteX421" fmla="*/ 2288095 w 7467600"/>
              <a:gd name="connsiteY421" fmla="*/ 6818030 h 6858000"/>
              <a:gd name="connsiteX422" fmla="*/ 2272768 w 7467600"/>
              <a:gd name="connsiteY422" fmla="*/ 6795822 h 6858000"/>
              <a:gd name="connsiteX423" fmla="*/ 2182715 w 7467600"/>
              <a:gd name="connsiteY423" fmla="*/ 6675071 h 6858000"/>
              <a:gd name="connsiteX424" fmla="*/ 2032061 w 7467600"/>
              <a:gd name="connsiteY424" fmla="*/ 6541380 h 6858000"/>
              <a:gd name="connsiteX425" fmla="*/ 2257220 w 7467600"/>
              <a:gd name="connsiteY425" fmla="*/ 6826257 h 6858000"/>
              <a:gd name="connsiteX426" fmla="*/ 2281324 w 7467600"/>
              <a:gd name="connsiteY426" fmla="*/ 6858000 h 6858000"/>
              <a:gd name="connsiteX427" fmla="*/ 2242860 w 7467600"/>
              <a:gd name="connsiteY427" fmla="*/ 6858000 h 6858000"/>
              <a:gd name="connsiteX428" fmla="*/ 2232818 w 7467600"/>
              <a:gd name="connsiteY428" fmla="*/ 6844926 h 6858000"/>
              <a:gd name="connsiteX429" fmla="*/ 1990172 w 7467600"/>
              <a:gd name="connsiteY429" fmla="*/ 6542121 h 6858000"/>
              <a:gd name="connsiteX430" fmla="*/ 2124090 w 7467600"/>
              <a:gd name="connsiteY430" fmla="*/ 6761017 h 6858000"/>
              <a:gd name="connsiteX431" fmla="*/ 2200380 w 7467600"/>
              <a:gd name="connsiteY431" fmla="*/ 6858000 h 6858000"/>
              <a:gd name="connsiteX432" fmla="*/ 2147507 w 7467600"/>
              <a:gd name="connsiteY432" fmla="*/ 6858000 h 6858000"/>
              <a:gd name="connsiteX433" fmla="*/ 2070668 w 7467600"/>
              <a:gd name="connsiteY433" fmla="*/ 6761520 h 6858000"/>
              <a:gd name="connsiteX434" fmla="*/ 1975142 w 7467600"/>
              <a:gd name="connsiteY434" fmla="*/ 6585570 h 6858000"/>
              <a:gd name="connsiteX435" fmla="*/ 2050035 w 7467600"/>
              <a:gd name="connsiteY435" fmla="*/ 6813345 h 6858000"/>
              <a:gd name="connsiteX436" fmla="*/ 2063025 w 7467600"/>
              <a:gd name="connsiteY436" fmla="*/ 6858000 h 6858000"/>
              <a:gd name="connsiteX437" fmla="*/ 2021675 w 7467600"/>
              <a:gd name="connsiteY437" fmla="*/ 6858000 h 6858000"/>
              <a:gd name="connsiteX438" fmla="*/ 2019308 w 7467600"/>
              <a:gd name="connsiteY438" fmla="*/ 6847118 h 6858000"/>
              <a:gd name="connsiteX439" fmla="*/ 1938835 w 7467600"/>
              <a:gd name="connsiteY439" fmla="*/ 6551160 h 6858000"/>
              <a:gd name="connsiteX440" fmla="*/ 1953230 w 7467600"/>
              <a:gd name="connsiteY440" fmla="*/ 6759699 h 6858000"/>
              <a:gd name="connsiteX441" fmla="*/ 1956763 w 7467600"/>
              <a:gd name="connsiteY441" fmla="*/ 6778191 h 6858000"/>
              <a:gd name="connsiteX442" fmla="*/ 1967925 w 7467600"/>
              <a:gd name="connsiteY442" fmla="*/ 6858000 h 6858000"/>
              <a:gd name="connsiteX443" fmla="*/ 1936622 w 7467600"/>
              <a:gd name="connsiteY443" fmla="*/ 6858000 h 6858000"/>
              <a:gd name="connsiteX444" fmla="*/ 1926261 w 7467600"/>
              <a:gd name="connsiteY444" fmla="*/ 6784064 h 6858000"/>
              <a:gd name="connsiteX445" fmla="*/ 1922724 w 7467600"/>
              <a:gd name="connsiteY445" fmla="*/ 6765577 h 6858000"/>
              <a:gd name="connsiteX446" fmla="*/ 1904650 w 7467600"/>
              <a:gd name="connsiteY446" fmla="*/ 6639616 h 6858000"/>
              <a:gd name="connsiteX447" fmla="*/ 1885273 w 7467600"/>
              <a:gd name="connsiteY447" fmla="*/ 6858000 h 6858000"/>
              <a:gd name="connsiteX448" fmla="*/ 1854363 w 7467600"/>
              <a:gd name="connsiteY448" fmla="*/ 6858000 h 6858000"/>
              <a:gd name="connsiteX449" fmla="*/ 1880391 w 7467600"/>
              <a:gd name="connsiteY449" fmla="*/ 6603796 h 6858000"/>
              <a:gd name="connsiteX450" fmla="*/ 1818273 w 7467600"/>
              <a:gd name="connsiteY450" fmla="*/ 6715729 h 6858000"/>
              <a:gd name="connsiteX451" fmla="*/ 1794691 w 7467600"/>
              <a:gd name="connsiteY451" fmla="*/ 6843239 h 6858000"/>
              <a:gd name="connsiteX452" fmla="*/ 1794914 w 7467600"/>
              <a:gd name="connsiteY452" fmla="*/ 6858000 h 6858000"/>
              <a:gd name="connsiteX453" fmla="*/ 1746128 w 7467600"/>
              <a:gd name="connsiteY453" fmla="*/ 6858000 h 6858000"/>
              <a:gd name="connsiteX454" fmla="*/ 1753934 w 7467600"/>
              <a:gd name="connsiteY454" fmla="*/ 6724796 h 6858000"/>
              <a:gd name="connsiteX455" fmla="*/ 1792053 w 7467600"/>
              <a:gd name="connsiteY455" fmla="*/ 6572396 h 6858000"/>
              <a:gd name="connsiteX456" fmla="*/ 1862248 w 7467600"/>
              <a:gd name="connsiteY456" fmla="*/ 6266397 h 6858000"/>
              <a:gd name="connsiteX457" fmla="*/ 1862250 w 7467600"/>
              <a:gd name="connsiteY457" fmla="*/ 6033531 h 6858000"/>
              <a:gd name="connsiteX458" fmla="*/ 1211999 w 7467600"/>
              <a:gd name="connsiteY458" fmla="*/ 6683610 h 6858000"/>
              <a:gd name="connsiteX459" fmla="*/ 1213266 w 7467600"/>
              <a:gd name="connsiteY459" fmla="*/ 6691947 h 6858000"/>
              <a:gd name="connsiteX460" fmla="*/ 1203370 w 7467600"/>
              <a:gd name="connsiteY460" fmla="*/ 6850676 h 6858000"/>
              <a:gd name="connsiteX461" fmla="*/ 1203671 w 7467600"/>
              <a:gd name="connsiteY461" fmla="*/ 6858000 h 6858000"/>
              <a:gd name="connsiteX462" fmla="*/ 1143180 w 7467600"/>
              <a:gd name="connsiteY462" fmla="*/ 6858000 h 6858000"/>
              <a:gd name="connsiteX463" fmla="*/ 1142176 w 7467600"/>
              <a:gd name="connsiteY463" fmla="*/ 6766045 h 6858000"/>
              <a:gd name="connsiteX464" fmla="*/ 1067484 w 7467600"/>
              <a:gd name="connsiteY464" fmla="*/ 6858000 h 6858000"/>
              <a:gd name="connsiteX465" fmla="*/ 953928 w 7467600"/>
              <a:gd name="connsiteY465" fmla="*/ 6858000 h 6858000"/>
              <a:gd name="connsiteX466" fmla="*/ 959715 w 7467600"/>
              <a:gd name="connsiteY466" fmla="*/ 6850185 h 6858000"/>
              <a:gd name="connsiteX467" fmla="*/ 1483788 w 7467600"/>
              <a:gd name="connsiteY467" fmla="*/ 6259174 h 6858000"/>
              <a:gd name="connsiteX468" fmla="*/ 1100671 w 7467600"/>
              <a:gd name="connsiteY468" fmla="*/ 6252137 h 6858000"/>
              <a:gd name="connsiteX469" fmla="*/ 1090144 w 7467600"/>
              <a:gd name="connsiteY469" fmla="*/ 6256748 h 6858000"/>
              <a:gd name="connsiteX470" fmla="*/ 1095872 w 7467600"/>
              <a:gd name="connsiteY470" fmla="*/ 6271892 h 6858000"/>
              <a:gd name="connsiteX471" fmla="*/ 262785 w 7467600"/>
              <a:gd name="connsiteY471" fmla="*/ 6845450 h 6858000"/>
              <a:gd name="connsiteX472" fmla="*/ 209968 w 7467600"/>
              <a:gd name="connsiteY472" fmla="*/ 6770713 h 6858000"/>
              <a:gd name="connsiteX473" fmla="*/ 873460 w 7467600"/>
              <a:gd name="connsiteY473" fmla="*/ 6253768 h 6858000"/>
              <a:gd name="connsiteX474" fmla="*/ 192686 w 7467600"/>
              <a:gd name="connsiteY474" fmla="*/ 5849257 h 6858000"/>
              <a:gd name="connsiteX475" fmla="*/ 4696 w 7467600"/>
              <a:gd name="connsiteY475" fmla="*/ 5697668 h 6858000"/>
              <a:gd name="connsiteX476" fmla="*/ 0 w 7467600"/>
              <a:gd name="connsiteY476" fmla="*/ 5689984 h 6858000"/>
              <a:gd name="connsiteX477" fmla="*/ 0 w 7467600"/>
              <a:gd name="connsiteY477" fmla="*/ 5513472 h 6858000"/>
              <a:gd name="connsiteX478" fmla="*/ 174101 w 7467600"/>
              <a:gd name="connsiteY478" fmla="*/ 5620277 h 6858000"/>
              <a:gd name="connsiteX479" fmla="*/ 891800 w 7467600"/>
              <a:gd name="connsiteY479" fmla="*/ 6036935 h 6858000"/>
              <a:gd name="connsiteX480" fmla="*/ 1072219 w 7467600"/>
              <a:gd name="connsiteY480" fmla="*/ 6169443 h 6858000"/>
              <a:gd name="connsiteX481" fmla="*/ 1074117 w 7467600"/>
              <a:gd name="connsiteY481" fmla="*/ 6170301 h 6858000"/>
              <a:gd name="connsiteX482" fmla="*/ 1083114 w 7467600"/>
              <a:gd name="connsiteY482" fmla="*/ 6174131 h 6858000"/>
              <a:gd name="connsiteX483" fmla="*/ 1543010 w 7467600"/>
              <a:gd name="connsiteY483" fmla="*/ 6191140 h 6858000"/>
              <a:gd name="connsiteX484" fmla="*/ 1551080 w 7467600"/>
              <a:gd name="connsiteY484" fmla="*/ 6195006 h 6858000"/>
              <a:gd name="connsiteX485" fmla="*/ 2345443 w 7467600"/>
              <a:gd name="connsiteY485" fmla="*/ 5549882 h 6858000"/>
              <a:gd name="connsiteX486" fmla="*/ 1721499 w 7467600"/>
              <a:gd name="connsiteY486" fmla="*/ 5599969 h 6858000"/>
              <a:gd name="connsiteX487" fmla="*/ 767716 w 7467600"/>
              <a:gd name="connsiteY487" fmla="*/ 5472768 h 6858000"/>
              <a:gd name="connsiteX488" fmla="*/ 722147 w 7467600"/>
              <a:gd name="connsiteY488" fmla="*/ 5393091 h 6858000"/>
              <a:gd name="connsiteX489" fmla="*/ 1485552 w 7467600"/>
              <a:gd name="connsiteY489" fmla="*/ 5313202 h 6858000"/>
              <a:gd name="connsiteX490" fmla="*/ 2143004 w 7467600"/>
              <a:gd name="connsiteY490" fmla="*/ 5402420 h 6858000"/>
              <a:gd name="connsiteX491" fmla="*/ 1933391 w 7467600"/>
              <a:gd name="connsiteY491" fmla="*/ 5156971 h 6858000"/>
              <a:gd name="connsiteX492" fmla="*/ 1827118 w 7467600"/>
              <a:gd name="connsiteY492" fmla="*/ 4968410 h 6858000"/>
              <a:gd name="connsiteX493" fmla="*/ 1837349 w 7467600"/>
              <a:gd name="connsiteY493" fmla="*/ 4956357 h 6858000"/>
              <a:gd name="connsiteX494" fmla="*/ 2162835 w 7467600"/>
              <a:gd name="connsiteY494" fmla="*/ 5187853 h 6858000"/>
              <a:gd name="connsiteX495" fmla="*/ 2257167 w 7467600"/>
              <a:gd name="connsiteY495" fmla="*/ 5462123 h 6858000"/>
              <a:gd name="connsiteX496" fmla="*/ 2261598 w 7467600"/>
              <a:gd name="connsiteY496" fmla="*/ 5467998 h 6858000"/>
              <a:gd name="connsiteX497" fmla="*/ 2437177 w 7467600"/>
              <a:gd name="connsiteY497" fmla="*/ 5479608 h 6858000"/>
              <a:gd name="connsiteX498" fmla="*/ 2445247 w 7467600"/>
              <a:gd name="connsiteY498" fmla="*/ 5483476 h 6858000"/>
              <a:gd name="connsiteX499" fmla="*/ 2743626 w 7467600"/>
              <a:gd name="connsiteY499" fmla="*/ 5304819 h 6858000"/>
              <a:gd name="connsiteX500" fmla="*/ 3048102 w 7467600"/>
              <a:gd name="connsiteY500" fmla="*/ 5150595 h 6858000"/>
              <a:gd name="connsiteX501" fmla="*/ 1799414 w 7467600"/>
              <a:gd name="connsiteY501" fmla="*/ 4694732 h 6858000"/>
              <a:gd name="connsiteX502" fmla="*/ 1771735 w 7467600"/>
              <a:gd name="connsiteY502" fmla="*/ 4619929 h 6858000"/>
              <a:gd name="connsiteX503" fmla="*/ 3104273 w 7467600"/>
              <a:gd name="connsiteY503" fmla="*/ 5076159 h 6858000"/>
              <a:gd name="connsiteX504" fmla="*/ 3113245 w 7467600"/>
              <a:gd name="connsiteY504" fmla="*/ 5090705 h 6858000"/>
              <a:gd name="connsiteX505" fmla="*/ 3126294 w 7467600"/>
              <a:gd name="connsiteY505" fmla="*/ 5114400 h 6858000"/>
              <a:gd name="connsiteX506" fmla="*/ 3937433 w 7467600"/>
              <a:gd name="connsiteY506" fmla="*/ 4830473 h 6858000"/>
              <a:gd name="connsiteX507" fmla="*/ 3590475 w 7467600"/>
              <a:gd name="connsiteY507" fmla="*/ 4597974 h 6858000"/>
              <a:gd name="connsiteX508" fmla="*/ 3100264 w 7467600"/>
              <a:gd name="connsiteY508" fmla="*/ 4579845 h 6858000"/>
              <a:gd name="connsiteX509" fmla="*/ 2183576 w 7467600"/>
              <a:gd name="connsiteY509" fmla="*/ 4227150 h 6858000"/>
              <a:gd name="connsiteX510" fmla="*/ 2151029 w 7467600"/>
              <a:gd name="connsiteY510" fmla="*/ 4146947 h 6858000"/>
              <a:gd name="connsiteX511" fmla="*/ 3563434 w 7467600"/>
              <a:gd name="connsiteY511" fmla="*/ 4469115 h 6858000"/>
              <a:gd name="connsiteX512" fmla="*/ 3177952 w 7467600"/>
              <a:gd name="connsiteY512" fmla="*/ 3657386 h 6858000"/>
              <a:gd name="connsiteX513" fmla="*/ 3189263 w 7467600"/>
              <a:gd name="connsiteY513" fmla="*/ 3625726 h 6858000"/>
              <a:gd name="connsiteX514" fmla="*/ 3560912 w 7467600"/>
              <a:gd name="connsiteY514" fmla="*/ 4079863 h 6858000"/>
              <a:gd name="connsiteX515" fmla="*/ 3626636 w 7467600"/>
              <a:gd name="connsiteY515" fmla="*/ 4512230 h 6858000"/>
              <a:gd name="connsiteX516" fmla="*/ 3653088 w 7467600"/>
              <a:gd name="connsiteY516" fmla="*/ 4521417 h 6858000"/>
              <a:gd name="connsiteX517" fmla="*/ 3988128 w 7467600"/>
              <a:gd name="connsiteY517" fmla="*/ 4817267 h 6858000"/>
              <a:gd name="connsiteX518" fmla="*/ 4830582 w 7467600"/>
              <a:gd name="connsiteY518" fmla="*/ 4676000 h 6858000"/>
              <a:gd name="connsiteX519" fmla="*/ 4830100 w 7467600"/>
              <a:gd name="connsiteY519" fmla="*/ 4675554 h 6858000"/>
              <a:gd name="connsiteX520" fmla="*/ 4036318 w 7467600"/>
              <a:gd name="connsiteY520" fmla="*/ 4147013 h 6858000"/>
              <a:gd name="connsiteX521" fmla="*/ 3432098 w 7467600"/>
              <a:gd name="connsiteY521" fmla="*/ 3537312 h 6858000"/>
              <a:gd name="connsiteX522" fmla="*/ 3446761 w 7467600"/>
              <a:gd name="connsiteY522" fmla="*/ 3461278 h 6858000"/>
              <a:gd name="connsiteX523" fmla="*/ 4419733 w 7467600"/>
              <a:gd name="connsiteY523" fmla="*/ 3963555 h 6858000"/>
              <a:gd name="connsiteX524" fmla="*/ 4781371 w 7467600"/>
              <a:gd name="connsiteY524" fmla="*/ 4458604 h 6858000"/>
              <a:gd name="connsiteX525" fmla="*/ 4780440 w 7467600"/>
              <a:gd name="connsiteY525" fmla="*/ 4470290 h 6858000"/>
              <a:gd name="connsiteX526" fmla="*/ 4898954 w 7467600"/>
              <a:gd name="connsiteY526" fmla="*/ 4662092 h 6858000"/>
              <a:gd name="connsiteX527" fmla="*/ 4900699 w 7467600"/>
              <a:gd name="connsiteY527" fmla="*/ 4670867 h 6858000"/>
              <a:gd name="connsiteX528" fmla="*/ 5714511 w 7467600"/>
              <a:gd name="connsiteY528" fmla="*/ 4663483 h 6858000"/>
              <a:gd name="connsiteX529" fmla="*/ 5464793 w 7467600"/>
              <a:gd name="connsiteY529" fmla="*/ 4393556 h 6858000"/>
              <a:gd name="connsiteX530" fmla="*/ 5461897 w 7467600"/>
              <a:gd name="connsiteY530" fmla="*/ 4390879 h 6858000"/>
              <a:gd name="connsiteX531" fmla="*/ 4294126 w 7467600"/>
              <a:gd name="connsiteY531" fmla="*/ 3303048 h 6858000"/>
              <a:gd name="connsiteX532" fmla="*/ 4305321 w 7467600"/>
              <a:gd name="connsiteY532" fmla="*/ 3256953 h 6858000"/>
              <a:gd name="connsiteX533" fmla="*/ 4949299 w 7467600"/>
              <a:gd name="connsiteY533" fmla="*/ 3766336 h 6858000"/>
              <a:gd name="connsiteX534" fmla="*/ 5291452 w 7467600"/>
              <a:gd name="connsiteY534" fmla="*/ 4076801 h 6858000"/>
              <a:gd name="connsiteX535" fmla="*/ 5434998 w 7467600"/>
              <a:gd name="connsiteY535" fmla="*/ 4254100 h 6858000"/>
              <a:gd name="connsiteX536" fmla="*/ 5351015 w 7467600"/>
              <a:gd name="connsiteY536" fmla="*/ 3760989 h 6858000"/>
              <a:gd name="connsiteX537" fmla="*/ 5413780 w 7467600"/>
              <a:gd name="connsiteY537" fmla="*/ 2966265 h 6858000"/>
              <a:gd name="connsiteX538" fmla="*/ 5425627 w 7467600"/>
              <a:gd name="connsiteY538" fmla="*/ 2954192 h 6858000"/>
              <a:gd name="connsiteX539" fmla="*/ 6604735 w 7467600"/>
              <a:gd name="connsiteY539" fmla="*/ 2041381 h 6858000"/>
              <a:gd name="connsiteX540" fmla="*/ 7204487 w 7467600"/>
              <a:gd name="connsiteY540" fmla="*/ 2742112 h 6858000"/>
              <a:gd name="connsiteX541" fmla="*/ 7131592 w 7467600"/>
              <a:gd name="connsiteY541" fmla="*/ 2672096 h 6858000"/>
              <a:gd name="connsiteX542" fmla="*/ 6996344 w 7467600"/>
              <a:gd name="connsiteY542" fmla="*/ 2518310 h 6858000"/>
              <a:gd name="connsiteX543" fmla="*/ 6735495 w 7467600"/>
              <a:gd name="connsiteY543" fmla="*/ 2196890 h 6858000"/>
              <a:gd name="connsiteX544" fmla="*/ 6721901 w 7467600"/>
              <a:gd name="connsiteY544" fmla="*/ 2179274 h 6858000"/>
              <a:gd name="connsiteX545" fmla="*/ 6604735 w 7467600"/>
              <a:gd name="connsiteY545" fmla="*/ 2041381 h 6858000"/>
              <a:gd name="connsiteX546" fmla="*/ 6591670 w 7467600"/>
              <a:gd name="connsiteY546" fmla="*/ 1988277 h 6858000"/>
              <a:gd name="connsiteX547" fmla="*/ 6747349 w 7467600"/>
              <a:gd name="connsiteY547" fmla="*/ 2160069 h 6858000"/>
              <a:gd name="connsiteX548" fmla="*/ 6760943 w 7467600"/>
              <a:gd name="connsiteY548" fmla="*/ 2177686 h 6858000"/>
              <a:gd name="connsiteX549" fmla="*/ 7021065 w 7467600"/>
              <a:gd name="connsiteY549" fmla="*/ 2498102 h 6858000"/>
              <a:gd name="connsiteX550" fmla="*/ 7155223 w 7467600"/>
              <a:gd name="connsiteY550" fmla="*/ 2650386 h 6858000"/>
              <a:gd name="connsiteX551" fmla="*/ 7203167 w 7467600"/>
              <a:gd name="connsiteY551" fmla="*/ 2697288 h 6858000"/>
              <a:gd name="connsiteX552" fmla="*/ 6937703 w 7467600"/>
              <a:gd name="connsiteY552" fmla="*/ 2321981 h 6858000"/>
              <a:gd name="connsiteX553" fmla="*/ 6591670 w 7467600"/>
              <a:gd name="connsiteY553" fmla="*/ 1988277 h 6858000"/>
              <a:gd name="connsiteX554" fmla="*/ 5798671 w 7467600"/>
              <a:gd name="connsiteY554" fmla="*/ 1981601 h 6858000"/>
              <a:gd name="connsiteX555" fmla="*/ 5754709 w 7467600"/>
              <a:gd name="connsiteY555" fmla="*/ 2071454 h 6858000"/>
              <a:gd name="connsiteX556" fmla="*/ 5763044 w 7467600"/>
              <a:gd name="connsiteY556" fmla="*/ 2842206 h 6858000"/>
              <a:gd name="connsiteX557" fmla="*/ 5764974 w 7467600"/>
              <a:gd name="connsiteY557" fmla="*/ 2799609 h 6858000"/>
              <a:gd name="connsiteX558" fmla="*/ 5767665 w 7467600"/>
              <a:gd name="connsiteY558" fmla="*/ 2666409 h 6858000"/>
              <a:gd name="connsiteX559" fmla="*/ 5763055 w 7467600"/>
              <a:gd name="connsiteY559" fmla="*/ 2579705 h 6858000"/>
              <a:gd name="connsiteX560" fmla="*/ 5758079 w 7467600"/>
              <a:gd name="connsiteY560" fmla="*/ 2492508 h 6858000"/>
              <a:gd name="connsiteX561" fmla="*/ 5779325 w 7467600"/>
              <a:gd name="connsiteY561" fmla="*/ 2197069 h 6858000"/>
              <a:gd name="connsiteX562" fmla="*/ 5798671 w 7467600"/>
              <a:gd name="connsiteY562" fmla="*/ 1981601 h 6858000"/>
              <a:gd name="connsiteX563" fmla="*/ 5829202 w 7467600"/>
              <a:gd name="connsiteY563" fmla="*/ 1971679 h 6858000"/>
              <a:gd name="connsiteX564" fmla="*/ 5809558 w 7467600"/>
              <a:gd name="connsiteY564" fmla="*/ 2198043 h 6858000"/>
              <a:gd name="connsiteX565" fmla="*/ 5788653 w 7467600"/>
              <a:gd name="connsiteY565" fmla="*/ 2489430 h 6858000"/>
              <a:gd name="connsiteX566" fmla="*/ 5793439 w 7467600"/>
              <a:gd name="connsiteY566" fmla="*/ 2575235 h 6858000"/>
              <a:gd name="connsiteX567" fmla="*/ 5796837 w 7467600"/>
              <a:gd name="connsiteY567" fmla="*/ 2637633 h 6858000"/>
              <a:gd name="connsiteX568" fmla="*/ 5818614 w 7467600"/>
              <a:gd name="connsiteY568" fmla="*/ 2473055 h 6858000"/>
              <a:gd name="connsiteX569" fmla="*/ 5829202 w 7467600"/>
              <a:gd name="connsiteY569" fmla="*/ 1971679 h 6858000"/>
              <a:gd name="connsiteX570" fmla="*/ 5911389 w 7467600"/>
              <a:gd name="connsiteY570" fmla="*/ 1898371 h 6858000"/>
              <a:gd name="connsiteX571" fmla="*/ 6237627 w 7467600"/>
              <a:gd name="connsiteY571" fmla="*/ 2231921 h 6858000"/>
              <a:gd name="connsiteX572" fmla="*/ 5911389 w 7467600"/>
              <a:gd name="connsiteY572" fmla="*/ 1898371 h 6858000"/>
              <a:gd name="connsiteX573" fmla="*/ 6944437 w 7467600"/>
              <a:gd name="connsiteY573" fmla="*/ 1575402 h 6858000"/>
              <a:gd name="connsiteX574" fmla="*/ 6304730 w 7467600"/>
              <a:gd name="connsiteY574" fmla="*/ 1766654 h 6858000"/>
              <a:gd name="connsiteX575" fmla="*/ 6944437 w 7467600"/>
              <a:gd name="connsiteY575" fmla="*/ 1575402 h 6858000"/>
              <a:gd name="connsiteX576" fmla="*/ 7019523 w 7467600"/>
              <a:gd name="connsiteY576" fmla="*/ 1519450 h 6858000"/>
              <a:gd name="connsiteX577" fmla="*/ 6298091 w 7467600"/>
              <a:gd name="connsiteY577" fmla="*/ 1737122 h 6858000"/>
              <a:gd name="connsiteX578" fmla="*/ 7019523 w 7467600"/>
              <a:gd name="connsiteY578" fmla="*/ 1519450 h 6858000"/>
              <a:gd name="connsiteX579" fmla="*/ 2399523 w 7467600"/>
              <a:gd name="connsiteY579" fmla="*/ 1428234 h 6858000"/>
              <a:gd name="connsiteX580" fmla="*/ 2224982 w 7467600"/>
              <a:gd name="connsiteY580" fmla="*/ 1826201 h 6858000"/>
              <a:gd name="connsiteX581" fmla="*/ 2096099 w 7467600"/>
              <a:gd name="connsiteY581" fmla="*/ 2345900 h 6858000"/>
              <a:gd name="connsiteX582" fmla="*/ 2283317 w 7467600"/>
              <a:gd name="connsiteY582" fmla="*/ 1796925 h 6858000"/>
              <a:gd name="connsiteX583" fmla="*/ 2399523 w 7467600"/>
              <a:gd name="connsiteY583" fmla="*/ 1428234 h 6858000"/>
              <a:gd name="connsiteX584" fmla="*/ 2448558 w 7467600"/>
              <a:gd name="connsiteY584" fmla="*/ 1373435 h 6858000"/>
              <a:gd name="connsiteX585" fmla="*/ 2312521 w 7467600"/>
              <a:gd name="connsiteY585" fmla="*/ 1806140 h 6858000"/>
              <a:gd name="connsiteX586" fmla="*/ 2127533 w 7467600"/>
              <a:gd name="connsiteY586" fmla="*/ 2348380 h 6858000"/>
              <a:gd name="connsiteX587" fmla="*/ 2358080 w 7467600"/>
              <a:gd name="connsiteY587" fmla="*/ 1866134 h 6858000"/>
              <a:gd name="connsiteX588" fmla="*/ 2407436 w 7467600"/>
              <a:gd name="connsiteY588" fmla="*/ 1651070 h 6858000"/>
              <a:gd name="connsiteX589" fmla="*/ 2448558 w 7467600"/>
              <a:gd name="connsiteY589" fmla="*/ 1373435 h 6858000"/>
              <a:gd name="connsiteX590" fmla="*/ 278707 w 7467600"/>
              <a:gd name="connsiteY590" fmla="*/ 1352270 h 6858000"/>
              <a:gd name="connsiteX591" fmla="*/ 321570 w 7467600"/>
              <a:gd name="connsiteY591" fmla="*/ 1861610 h 6858000"/>
              <a:gd name="connsiteX592" fmla="*/ 294281 w 7467600"/>
              <a:gd name="connsiteY592" fmla="*/ 1440658 h 6858000"/>
              <a:gd name="connsiteX593" fmla="*/ 278707 w 7467600"/>
              <a:gd name="connsiteY593" fmla="*/ 1352270 h 6858000"/>
              <a:gd name="connsiteX594" fmla="*/ 1423821 w 7467600"/>
              <a:gd name="connsiteY594" fmla="*/ 1351958 h 6858000"/>
              <a:gd name="connsiteX595" fmla="*/ 1638521 w 7467600"/>
              <a:gd name="connsiteY595" fmla="*/ 1908470 h 6858000"/>
              <a:gd name="connsiteX596" fmla="*/ 1754199 w 7467600"/>
              <a:gd name="connsiteY596" fmla="*/ 2149284 h 6858000"/>
              <a:gd name="connsiteX597" fmla="*/ 1908359 w 7467600"/>
              <a:gd name="connsiteY597" fmla="*/ 2364988 h 6858000"/>
              <a:gd name="connsiteX598" fmla="*/ 1647661 w 7467600"/>
              <a:gd name="connsiteY598" fmla="*/ 1825945 h 6858000"/>
              <a:gd name="connsiteX599" fmla="*/ 1423821 w 7467600"/>
              <a:gd name="connsiteY599" fmla="*/ 1351958 h 6858000"/>
              <a:gd name="connsiteX600" fmla="*/ 1431890 w 7467600"/>
              <a:gd name="connsiteY600" fmla="*/ 1306475 h 6858000"/>
              <a:gd name="connsiteX601" fmla="*/ 1507597 w 7467600"/>
              <a:gd name="connsiteY601" fmla="*/ 1446132 h 6858000"/>
              <a:gd name="connsiteX602" fmla="*/ 1674586 w 7467600"/>
              <a:gd name="connsiteY602" fmla="*/ 1813832 h 6858000"/>
              <a:gd name="connsiteX603" fmla="*/ 1815950 w 7467600"/>
              <a:gd name="connsiteY603" fmla="*/ 2128564 h 6858000"/>
              <a:gd name="connsiteX604" fmla="*/ 1984242 w 7467600"/>
              <a:gd name="connsiteY604" fmla="*/ 2430829 h 6858000"/>
              <a:gd name="connsiteX605" fmla="*/ 2014023 w 7467600"/>
              <a:gd name="connsiteY605" fmla="*/ 2450995 h 6858000"/>
              <a:gd name="connsiteX606" fmla="*/ 1747337 w 7467600"/>
              <a:gd name="connsiteY606" fmla="*/ 1855264 h 6858000"/>
              <a:gd name="connsiteX607" fmla="*/ 1533749 w 7467600"/>
              <a:gd name="connsiteY607" fmla="*/ 1478656 h 6858000"/>
              <a:gd name="connsiteX608" fmla="*/ 1431890 w 7467600"/>
              <a:gd name="connsiteY608" fmla="*/ 1306475 h 6858000"/>
              <a:gd name="connsiteX609" fmla="*/ 5052692 w 7467600"/>
              <a:gd name="connsiteY609" fmla="*/ 1292994 h 6858000"/>
              <a:gd name="connsiteX610" fmla="*/ 5200661 w 7467600"/>
              <a:gd name="connsiteY610" fmla="*/ 1635186 h 6858000"/>
              <a:gd name="connsiteX611" fmla="*/ 5297138 w 7467600"/>
              <a:gd name="connsiteY611" fmla="*/ 1906351 h 6858000"/>
              <a:gd name="connsiteX612" fmla="*/ 5052692 w 7467600"/>
              <a:gd name="connsiteY612" fmla="*/ 1292994 h 6858000"/>
              <a:gd name="connsiteX613" fmla="*/ 5009948 w 7467600"/>
              <a:gd name="connsiteY613" fmla="*/ 1273619 h 6858000"/>
              <a:gd name="connsiteX614" fmla="*/ 5121777 w 7467600"/>
              <a:gd name="connsiteY614" fmla="*/ 1654213 h 6858000"/>
              <a:gd name="connsiteX615" fmla="*/ 5293545 w 7467600"/>
              <a:gd name="connsiteY615" fmla="*/ 2072247 h 6858000"/>
              <a:gd name="connsiteX616" fmla="*/ 5294042 w 7467600"/>
              <a:gd name="connsiteY616" fmla="*/ 2065019 h 6858000"/>
              <a:gd name="connsiteX617" fmla="*/ 5171936 w 7467600"/>
              <a:gd name="connsiteY617" fmla="*/ 1647613 h 6858000"/>
              <a:gd name="connsiteX618" fmla="*/ 5009948 w 7467600"/>
              <a:gd name="connsiteY618" fmla="*/ 1273619 h 6858000"/>
              <a:gd name="connsiteX619" fmla="*/ 655236 w 7467600"/>
              <a:gd name="connsiteY619" fmla="*/ 1268632 h 6858000"/>
              <a:gd name="connsiteX620" fmla="*/ 839521 w 7467600"/>
              <a:gd name="connsiteY620" fmla="*/ 1685315 h 6858000"/>
              <a:gd name="connsiteX621" fmla="*/ 1109416 w 7467600"/>
              <a:gd name="connsiteY621" fmla="*/ 2061663 h 6858000"/>
              <a:gd name="connsiteX622" fmla="*/ 1298300 w 7467600"/>
              <a:gd name="connsiteY622" fmla="*/ 2247742 h 6858000"/>
              <a:gd name="connsiteX623" fmla="*/ 1125871 w 7467600"/>
              <a:gd name="connsiteY623" fmla="*/ 1989513 h 6858000"/>
              <a:gd name="connsiteX624" fmla="*/ 981574 w 7467600"/>
              <a:gd name="connsiteY624" fmla="*/ 1783157 h 6858000"/>
              <a:gd name="connsiteX625" fmla="*/ 922198 w 7467600"/>
              <a:gd name="connsiteY625" fmla="*/ 1677437 h 6858000"/>
              <a:gd name="connsiteX626" fmla="*/ 869293 w 7467600"/>
              <a:gd name="connsiteY626" fmla="*/ 1583214 h 6858000"/>
              <a:gd name="connsiteX627" fmla="*/ 751431 w 7467600"/>
              <a:gd name="connsiteY627" fmla="*/ 1405731 h 6858000"/>
              <a:gd name="connsiteX628" fmla="*/ 655236 w 7467600"/>
              <a:gd name="connsiteY628" fmla="*/ 1268632 h 6858000"/>
              <a:gd name="connsiteX629" fmla="*/ 6516292 w 7467600"/>
              <a:gd name="connsiteY629" fmla="*/ 1263064 h 6858000"/>
              <a:gd name="connsiteX630" fmla="*/ 5736320 w 7467600"/>
              <a:gd name="connsiteY630" fmla="*/ 1501803 h 6858000"/>
              <a:gd name="connsiteX631" fmla="*/ 6516292 w 7467600"/>
              <a:gd name="connsiteY631" fmla="*/ 1263064 h 6858000"/>
              <a:gd name="connsiteX632" fmla="*/ 291466 w 7467600"/>
              <a:gd name="connsiteY632" fmla="*/ 1250369 h 6858000"/>
              <a:gd name="connsiteX633" fmla="*/ 323180 w 7467600"/>
              <a:gd name="connsiteY633" fmla="*/ 1435283 h 6858000"/>
              <a:gd name="connsiteX634" fmla="*/ 349381 w 7467600"/>
              <a:gd name="connsiteY634" fmla="*/ 1875041 h 6858000"/>
              <a:gd name="connsiteX635" fmla="*/ 374363 w 7467600"/>
              <a:gd name="connsiteY635" fmla="*/ 1506494 h 6858000"/>
              <a:gd name="connsiteX636" fmla="*/ 302168 w 7467600"/>
              <a:gd name="connsiteY636" fmla="*/ 1274495 h 6858000"/>
              <a:gd name="connsiteX637" fmla="*/ 291466 w 7467600"/>
              <a:gd name="connsiteY637" fmla="*/ 1250369 h 6858000"/>
              <a:gd name="connsiteX638" fmla="*/ 678222 w 7467600"/>
              <a:gd name="connsiteY638" fmla="*/ 1248670 h 6858000"/>
              <a:gd name="connsiteX639" fmla="*/ 775536 w 7467600"/>
              <a:gd name="connsiteY639" fmla="*/ 1388015 h 6858000"/>
              <a:gd name="connsiteX640" fmla="*/ 894529 w 7467600"/>
              <a:gd name="connsiteY640" fmla="*/ 1567739 h 6858000"/>
              <a:gd name="connsiteX641" fmla="*/ 948000 w 7467600"/>
              <a:gd name="connsiteY641" fmla="*/ 1663088 h 6858000"/>
              <a:gd name="connsiteX642" fmla="*/ 1006812 w 7467600"/>
              <a:gd name="connsiteY642" fmla="*/ 1767683 h 6858000"/>
              <a:gd name="connsiteX643" fmla="*/ 1149133 w 7467600"/>
              <a:gd name="connsiteY643" fmla="*/ 1971513 h 6858000"/>
              <a:gd name="connsiteX644" fmla="*/ 1333952 w 7467600"/>
              <a:gd name="connsiteY644" fmla="*/ 2251620 h 6858000"/>
              <a:gd name="connsiteX645" fmla="*/ 1337329 w 7467600"/>
              <a:gd name="connsiteY645" fmla="*/ 2258350 h 6858000"/>
              <a:gd name="connsiteX646" fmla="*/ 1014726 w 7467600"/>
              <a:gd name="connsiteY646" fmla="*/ 1615556 h 6858000"/>
              <a:gd name="connsiteX647" fmla="*/ 678222 w 7467600"/>
              <a:gd name="connsiteY647" fmla="*/ 1248670 h 6858000"/>
              <a:gd name="connsiteX648" fmla="*/ 6691602 w 7467600"/>
              <a:gd name="connsiteY648" fmla="*/ 1140573 h 6858000"/>
              <a:gd name="connsiteX649" fmla="*/ 6571100 w 7467600"/>
              <a:gd name="connsiteY649" fmla="*/ 1183662 h 6858000"/>
              <a:gd name="connsiteX650" fmla="*/ 6241687 w 7467600"/>
              <a:gd name="connsiteY650" fmla="*/ 1257600 h 6858000"/>
              <a:gd name="connsiteX651" fmla="*/ 5693009 w 7467600"/>
              <a:gd name="connsiteY651" fmla="*/ 1478256 h 6858000"/>
              <a:gd name="connsiteX652" fmla="*/ 6548420 w 7467600"/>
              <a:gd name="connsiteY652" fmla="*/ 1214599 h 6858000"/>
              <a:gd name="connsiteX653" fmla="*/ 6605473 w 7467600"/>
              <a:gd name="connsiteY653" fmla="*/ 1184686 h 6858000"/>
              <a:gd name="connsiteX654" fmla="*/ 6691602 w 7467600"/>
              <a:gd name="connsiteY654" fmla="*/ 1140573 h 6858000"/>
              <a:gd name="connsiteX655" fmla="*/ 4002475 w 7467600"/>
              <a:gd name="connsiteY655" fmla="*/ 1037802 h 6858000"/>
              <a:gd name="connsiteX656" fmla="*/ 4000324 w 7467600"/>
              <a:gd name="connsiteY656" fmla="*/ 1039362 h 6858000"/>
              <a:gd name="connsiteX657" fmla="*/ 4002862 w 7467600"/>
              <a:gd name="connsiteY657" fmla="*/ 1042866 h 6858000"/>
              <a:gd name="connsiteX658" fmla="*/ 4002475 w 7467600"/>
              <a:gd name="connsiteY658" fmla="*/ 1037802 h 6858000"/>
              <a:gd name="connsiteX659" fmla="*/ 506322 w 7467600"/>
              <a:gd name="connsiteY659" fmla="*/ 1020997 h 6858000"/>
              <a:gd name="connsiteX660" fmla="*/ 533068 w 7467600"/>
              <a:gd name="connsiteY660" fmla="*/ 1029409 h 6858000"/>
              <a:gd name="connsiteX661" fmla="*/ 1232525 w 7467600"/>
              <a:gd name="connsiteY661" fmla="*/ 1804675 h 6858000"/>
              <a:gd name="connsiteX662" fmla="*/ 1388858 w 7467600"/>
              <a:gd name="connsiteY662" fmla="*/ 2368011 h 6858000"/>
              <a:gd name="connsiteX663" fmla="*/ 1384098 w 7467600"/>
              <a:gd name="connsiteY663" fmla="*/ 2378125 h 6858000"/>
              <a:gd name="connsiteX664" fmla="*/ 1425393 w 7467600"/>
              <a:gd name="connsiteY664" fmla="*/ 2589124 h 6858000"/>
              <a:gd name="connsiteX665" fmla="*/ 1424001 w 7467600"/>
              <a:gd name="connsiteY665" fmla="*/ 2597541 h 6858000"/>
              <a:gd name="connsiteX666" fmla="*/ 2152729 w 7467600"/>
              <a:gd name="connsiteY666" fmla="*/ 2864487 h 6858000"/>
              <a:gd name="connsiteX667" fmla="*/ 2020609 w 7467600"/>
              <a:gd name="connsiteY667" fmla="*/ 2539671 h 6858000"/>
              <a:gd name="connsiteX668" fmla="*/ 2018920 w 7467600"/>
              <a:gd name="connsiteY668" fmla="*/ 2536309 h 6858000"/>
              <a:gd name="connsiteX669" fmla="*/ 1342441 w 7467600"/>
              <a:gd name="connsiteY669" fmla="*/ 1173017 h 6858000"/>
              <a:gd name="connsiteX670" fmla="*/ 1367925 w 7467600"/>
              <a:gd name="connsiteY670" fmla="*/ 1135648 h 6858000"/>
              <a:gd name="connsiteX671" fmla="*/ 1771401 w 7467600"/>
              <a:gd name="connsiteY671" fmla="*/ 1806673 h 6858000"/>
              <a:gd name="connsiteX672" fmla="*/ 1972385 w 7467600"/>
              <a:gd name="connsiteY672" fmla="*/ 2198735 h 6858000"/>
              <a:gd name="connsiteX673" fmla="*/ 2040892 w 7467600"/>
              <a:gd name="connsiteY673" fmla="*/ 2405205 h 6858000"/>
              <a:gd name="connsiteX674" fmla="*/ 2131689 w 7467600"/>
              <a:gd name="connsiteY674" fmla="*/ 1936926 h 6858000"/>
              <a:gd name="connsiteX675" fmla="*/ 2454820 w 7467600"/>
              <a:gd name="connsiteY675" fmla="*/ 1248808 h 6858000"/>
              <a:gd name="connsiteX676" fmla="*/ 2492512 w 7467600"/>
              <a:gd name="connsiteY676" fmla="*/ 1302920 h 6858000"/>
              <a:gd name="connsiteX677" fmla="*/ 2081216 w 7467600"/>
              <a:gd name="connsiteY677" fmla="*/ 2527513 h 6858000"/>
              <a:gd name="connsiteX678" fmla="*/ 2081211 w 7467600"/>
              <a:gd name="connsiteY678" fmla="*/ 2528916 h 6858000"/>
              <a:gd name="connsiteX679" fmla="*/ 2199067 w 7467600"/>
              <a:gd name="connsiteY679" fmla="*/ 2884061 h 6858000"/>
              <a:gd name="connsiteX680" fmla="*/ 3192586 w 7467600"/>
              <a:gd name="connsiteY680" fmla="*/ 3411496 h 6858000"/>
              <a:gd name="connsiteX681" fmla="*/ 3182620 w 7467600"/>
              <a:gd name="connsiteY681" fmla="*/ 3483279 h 6858000"/>
              <a:gd name="connsiteX682" fmla="*/ 2435119 w 7467600"/>
              <a:gd name="connsiteY682" fmla="*/ 3080173 h 6858000"/>
              <a:gd name="connsiteX683" fmla="*/ 2410152 w 7467600"/>
              <a:gd name="connsiteY683" fmla="*/ 3063751 h 6858000"/>
              <a:gd name="connsiteX684" fmla="*/ 2408099 w 7467600"/>
              <a:gd name="connsiteY684" fmla="*/ 3064403 h 6858000"/>
              <a:gd name="connsiteX685" fmla="*/ 2407218 w 7467600"/>
              <a:gd name="connsiteY685" fmla="*/ 3070324 h 6858000"/>
              <a:gd name="connsiteX686" fmla="*/ 2380138 w 7467600"/>
              <a:gd name="connsiteY686" fmla="*/ 3099341 h 6858000"/>
              <a:gd name="connsiteX687" fmla="*/ 1765923 w 7467600"/>
              <a:gd name="connsiteY687" fmla="*/ 3581043 h 6858000"/>
              <a:gd name="connsiteX688" fmla="*/ 1702258 w 7467600"/>
              <a:gd name="connsiteY688" fmla="*/ 3612286 h 6858000"/>
              <a:gd name="connsiteX689" fmla="*/ 1538370 w 7467600"/>
              <a:gd name="connsiteY689" fmla="*/ 3811804 h 6858000"/>
              <a:gd name="connsiteX690" fmla="*/ 542867 w 7467600"/>
              <a:gd name="connsiteY690" fmla="*/ 4944092 h 6858000"/>
              <a:gd name="connsiteX691" fmla="*/ 515800 w 7467600"/>
              <a:gd name="connsiteY691" fmla="*/ 4862180 h 6858000"/>
              <a:gd name="connsiteX692" fmla="*/ 909145 w 7467600"/>
              <a:gd name="connsiteY692" fmla="*/ 4199225 h 6858000"/>
              <a:gd name="connsiteX693" fmla="*/ 1214067 w 7467600"/>
              <a:gd name="connsiteY693" fmla="*/ 3908561 h 6858000"/>
              <a:gd name="connsiteX694" fmla="*/ 640967 w 7467600"/>
              <a:gd name="connsiteY694" fmla="*/ 4105601 h 6858000"/>
              <a:gd name="connsiteX695" fmla="*/ 112563 w 7467600"/>
              <a:gd name="connsiteY695" fmla="*/ 4396952 h 6858000"/>
              <a:gd name="connsiteX696" fmla="*/ 0 w 7467600"/>
              <a:gd name="connsiteY696" fmla="*/ 4466006 h 6858000"/>
              <a:gd name="connsiteX697" fmla="*/ 0 w 7467600"/>
              <a:gd name="connsiteY697" fmla="*/ 4233763 h 6858000"/>
              <a:gd name="connsiteX698" fmla="*/ 36881 w 7467600"/>
              <a:gd name="connsiteY698" fmla="*/ 4200118 h 6858000"/>
              <a:gd name="connsiteX699" fmla="*/ 910534 w 7467600"/>
              <a:gd name="connsiteY699" fmla="*/ 3629753 h 6858000"/>
              <a:gd name="connsiteX700" fmla="*/ 1578717 w 7467600"/>
              <a:gd name="connsiteY700" fmla="*/ 3575982 h 6858000"/>
              <a:gd name="connsiteX701" fmla="*/ 2338780 w 7467600"/>
              <a:gd name="connsiteY701" fmla="*/ 3033725 h 6858000"/>
              <a:gd name="connsiteX702" fmla="*/ 1807991 w 7467600"/>
              <a:gd name="connsiteY702" fmla="*/ 2807184 h 6858000"/>
              <a:gd name="connsiteX703" fmla="*/ 1416358 w 7467600"/>
              <a:gd name="connsiteY703" fmla="*/ 3112571 h 6858000"/>
              <a:gd name="connsiteX704" fmla="*/ 939066 w 7467600"/>
              <a:gd name="connsiteY704" fmla="*/ 3378798 h 6858000"/>
              <a:gd name="connsiteX705" fmla="*/ 115099 w 7467600"/>
              <a:gd name="connsiteY705" fmla="*/ 3607650 h 6858000"/>
              <a:gd name="connsiteX706" fmla="*/ 97284 w 7467600"/>
              <a:gd name="connsiteY706" fmla="*/ 3520393 h 6858000"/>
              <a:gd name="connsiteX707" fmla="*/ 922050 w 7467600"/>
              <a:gd name="connsiteY707" fmla="*/ 3074867 h 6858000"/>
              <a:gd name="connsiteX708" fmla="*/ 1405265 w 7467600"/>
              <a:gd name="connsiteY708" fmla="*/ 3016319 h 6858000"/>
              <a:gd name="connsiteX709" fmla="*/ 1407512 w 7467600"/>
              <a:gd name="connsiteY709" fmla="*/ 3018001 h 6858000"/>
              <a:gd name="connsiteX710" fmla="*/ 1726266 w 7467600"/>
              <a:gd name="connsiteY710" fmla="*/ 2777274 h 6858000"/>
              <a:gd name="connsiteX711" fmla="*/ 625390 w 7467600"/>
              <a:gd name="connsiteY711" fmla="*/ 2514541 h 6858000"/>
              <a:gd name="connsiteX712" fmla="*/ 619799 w 7467600"/>
              <a:gd name="connsiteY712" fmla="*/ 2527180 h 6858000"/>
              <a:gd name="connsiteX713" fmla="*/ 310030 w 7467600"/>
              <a:gd name="connsiteY713" fmla="*/ 2771818 h 6858000"/>
              <a:gd name="connsiteX714" fmla="*/ 173877 w 7467600"/>
              <a:gd name="connsiteY714" fmla="*/ 2937056 h 6858000"/>
              <a:gd name="connsiteX715" fmla="*/ 77889 w 7467600"/>
              <a:gd name="connsiteY715" fmla="*/ 3138440 h 6858000"/>
              <a:gd name="connsiteX716" fmla="*/ 0 w 7467600"/>
              <a:gd name="connsiteY716" fmla="*/ 3271395 h 6858000"/>
              <a:gd name="connsiteX717" fmla="*/ 0 w 7467600"/>
              <a:gd name="connsiteY717" fmla="*/ 3153002 h 6858000"/>
              <a:gd name="connsiteX718" fmla="*/ 2386 w 7467600"/>
              <a:gd name="connsiteY718" fmla="*/ 3149203 h 6858000"/>
              <a:gd name="connsiteX719" fmla="*/ 89753 w 7467600"/>
              <a:gd name="connsiteY719" fmla="*/ 2987702 h 6858000"/>
              <a:gd name="connsiteX720" fmla="*/ 76869 w 7467600"/>
              <a:gd name="connsiteY720" fmla="*/ 3005404 h 6858000"/>
              <a:gd name="connsiteX721" fmla="*/ 32049 w 7467600"/>
              <a:gd name="connsiteY721" fmla="*/ 3065814 h 6858000"/>
              <a:gd name="connsiteX722" fmla="*/ 0 w 7467600"/>
              <a:gd name="connsiteY722" fmla="*/ 3108744 h 6858000"/>
              <a:gd name="connsiteX723" fmla="*/ 0 w 7467600"/>
              <a:gd name="connsiteY723" fmla="*/ 3058059 h 6858000"/>
              <a:gd name="connsiteX724" fmla="*/ 7610 w 7467600"/>
              <a:gd name="connsiteY724" fmla="*/ 3047889 h 6858000"/>
              <a:gd name="connsiteX725" fmla="*/ 52419 w 7467600"/>
              <a:gd name="connsiteY725" fmla="*/ 2987479 h 6858000"/>
              <a:gd name="connsiteX726" fmla="*/ 59142 w 7467600"/>
              <a:gd name="connsiteY726" fmla="*/ 2978488 h 6858000"/>
              <a:gd name="connsiteX727" fmla="*/ 0 w 7467600"/>
              <a:gd name="connsiteY727" fmla="*/ 3015334 h 6858000"/>
              <a:gd name="connsiteX728" fmla="*/ 0 w 7467600"/>
              <a:gd name="connsiteY728" fmla="*/ 2914286 h 6858000"/>
              <a:gd name="connsiteX729" fmla="*/ 36383 w 7467600"/>
              <a:gd name="connsiteY729" fmla="*/ 2901128 h 6858000"/>
              <a:gd name="connsiteX730" fmla="*/ 156329 w 7467600"/>
              <a:gd name="connsiteY730" fmla="*/ 2840533 h 6858000"/>
              <a:gd name="connsiteX731" fmla="*/ 358355 w 7467600"/>
              <a:gd name="connsiteY731" fmla="*/ 2620471 h 6858000"/>
              <a:gd name="connsiteX732" fmla="*/ 510577 w 7467600"/>
              <a:gd name="connsiteY732" fmla="*/ 2501244 h 6858000"/>
              <a:gd name="connsiteX733" fmla="*/ 211967 w 7467600"/>
              <a:gd name="connsiteY733" fmla="*/ 2479171 h 6858000"/>
              <a:gd name="connsiteX734" fmla="*/ 0 w 7467600"/>
              <a:gd name="connsiteY734" fmla="*/ 2476398 h 6858000"/>
              <a:gd name="connsiteX735" fmla="*/ 0 w 7467600"/>
              <a:gd name="connsiteY735" fmla="*/ 2389189 h 6858000"/>
              <a:gd name="connsiteX736" fmla="*/ 103062 w 7467600"/>
              <a:gd name="connsiteY736" fmla="*/ 2389518 h 6858000"/>
              <a:gd name="connsiteX737" fmla="*/ 510734 w 7467600"/>
              <a:gd name="connsiteY737" fmla="*/ 2416201 h 6858000"/>
              <a:gd name="connsiteX738" fmla="*/ 279257 w 7467600"/>
              <a:gd name="connsiteY738" fmla="*/ 2092102 h 6858000"/>
              <a:gd name="connsiteX739" fmla="*/ 65265 w 7467600"/>
              <a:gd name="connsiteY739" fmla="*/ 2006049 h 6858000"/>
              <a:gd name="connsiteX740" fmla="*/ 0 w 7467600"/>
              <a:gd name="connsiteY740" fmla="*/ 1982532 h 6858000"/>
              <a:gd name="connsiteX741" fmla="*/ 0 w 7467600"/>
              <a:gd name="connsiteY741" fmla="*/ 1912789 h 6858000"/>
              <a:gd name="connsiteX742" fmla="*/ 97460 w 7467600"/>
              <a:gd name="connsiteY742" fmla="*/ 1953725 h 6858000"/>
              <a:gd name="connsiteX743" fmla="*/ 221272 w 7467600"/>
              <a:gd name="connsiteY743" fmla="*/ 1980766 h 6858000"/>
              <a:gd name="connsiteX744" fmla="*/ 116765 w 7467600"/>
              <a:gd name="connsiteY744" fmla="*/ 1911033 h 6858000"/>
              <a:gd name="connsiteX745" fmla="*/ 16405 w 7467600"/>
              <a:gd name="connsiteY745" fmla="*/ 1803412 h 6858000"/>
              <a:gd name="connsiteX746" fmla="*/ 0 w 7467600"/>
              <a:gd name="connsiteY746" fmla="*/ 1784777 h 6858000"/>
              <a:gd name="connsiteX747" fmla="*/ 0 w 7467600"/>
              <a:gd name="connsiteY747" fmla="*/ 1740082 h 6858000"/>
              <a:gd name="connsiteX748" fmla="*/ 39394 w 7467600"/>
              <a:gd name="connsiteY748" fmla="*/ 1784856 h 6858000"/>
              <a:gd name="connsiteX749" fmla="*/ 135813 w 7467600"/>
              <a:gd name="connsiteY749" fmla="*/ 1888838 h 6858000"/>
              <a:gd name="connsiteX750" fmla="*/ 242575 w 7467600"/>
              <a:gd name="connsiteY750" fmla="*/ 1958841 h 6858000"/>
              <a:gd name="connsiteX751" fmla="*/ 82197 w 7467600"/>
              <a:gd name="connsiteY751" fmla="*/ 1754826 h 6858000"/>
              <a:gd name="connsiteX752" fmla="*/ 0 w 7467600"/>
              <a:gd name="connsiteY752" fmla="*/ 1679650 h 6858000"/>
              <a:gd name="connsiteX753" fmla="*/ 0 w 7467600"/>
              <a:gd name="connsiteY753" fmla="*/ 1602463 h 6858000"/>
              <a:gd name="connsiteX754" fmla="*/ 84689 w 7467600"/>
              <a:gd name="connsiteY754" fmla="*/ 1677442 h 6858000"/>
              <a:gd name="connsiteX755" fmla="*/ 298437 w 7467600"/>
              <a:gd name="connsiteY755" fmla="*/ 1968019 h 6858000"/>
              <a:gd name="connsiteX756" fmla="*/ 227269 w 7467600"/>
              <a:gd name="connsiteY756" fmla="*/ 1114064 h 6858000"/>
              <a:gd name="connsiteX757" fmla="*/ 248003 w 7467600"/>
              <a:gd name="connsiteY757" fmla="*/ 1089613 h 6858000"/>
              <a:gd name="connsiteX758" fmla="*/ 427020 w 7467600"/>
              <a:gd name="connsiteY758" fmla="*/ 1619803 h 6858000"/>
              <a:gd name="connsiteX759" fmla="*/ 340345 w 7467600"/>
              <a:gd name="connsiteY759" fmla="*/ 2027739 h 6858000"/>
              <a:gd name="connsiteX760" fmla="*/ 360865 w 7467600"/>
              <a:gd name="connsiteY760" fmla="*/ 2044827 h 6858000"/>
              <a:gd name="connsiteX761" fmla="*/ 560414 w 7467600"/>
              <a:gd name="connsiteY761" fmla="*/ 2421457 h 6858000"/>
              <a:gd name="connsiteX762" fmla="*/ 1359703 w 7467600"/>
              <a:gd name="connsiteY762" fmla="*/ 2578554 h 6858000"/>
              <a:gd name="connsiteX763" fmla="*/ 1359422 w 7467600"/>
              <a:gd name="connsiteY763" fmla="*/ 2577994 h 6858000"/>
              <a:gd name="connsiteX764" fmla="*/ 828701 w 7467600"/>
              <a:gd name="connsiteY764" fmla="*/ 1839520 h 6858000"/>
              <a:gd name="connsiteX765" fmla="*/ 494427 w 7467600"/>
              <a:gd name="connsiteY765" fmla="*/ 1092333 h 6858000"/>
              <a:gd name="connsiteX766" fmla="*/ 506322 w 7467600"/>
              <a:gd name="connsiteY766" fmla="*/ 1020997 h 6858000"/>
              <a:gd name="connsiteX767" fmla="*/ 4570198 w 7467600"/>
              <a:gd name="connsiteY767" fmla="*/ 978081 h 6858000"/>
              <a:gd name="connsiteX768" fmla="*/ 4523691 w 7467600"/>
              <a:gd name="connsiteY768" fmla="*/ 1127776 h 6858000"/>
              <a:gd name="connsiteX769" fmla="*/ 4509875 w 7467600"/>
              <a:gd name="connsiteY769" fmla="*/ 1167552 h 6858000"/>
              <a:gd name="connsiteX770" fmla="*/ 4478168 w 7467600"/>
              <a:gd name="connsiteY770" fmla="*/ 1260735 h 6858000"/>
              <a:gd name="connsiteX771" fmla="*/ 4409309 w 7467600"/>
              <a:gd name="connsiteY771" fmla="*/ 1666996 h 6858000"/>
              <a:gd name="connsiteX772" fmla="*/ 4370031 w 7467600"/>
              <a:gd name="connsiteY772" fmla="*/ 1955666 h 6858000"/>
              <a:gd name="connsiteX773" fmla="*/ 4570198 w 7467600"/>
              <a:gd name="connsiteY773" fmla="*/ 978081 h 6858000"/>
              <a:gd name="connsiteX774" fmla="*/ 4557898 w 7467600"/>
              <a:gd name="connsiteY774" fmla="*/ 900011 h 6858000"/>
              <a:gd name="connsiteX775" fmla="*/ 4344840 w 7467600"/>
              <a:gd name="connsiteY775" fmla="*/ 1922038 h 6858000"/>
              <a:gd name="connsiteX776" fmla="*/ 4378710 w 7467600"/>
              <a:gd name="connsiteY776" fmla="*/ 1665516 h 6858000"/>
              <a:gd name="connsiteX777" fmla="*/ 4448798 w 7467600"/>
              <a:gd name="connsiteY777" fmla="*/ 1253024 h 6858000"/>
              <a:gd name="connsiteX778" fmla="*/ 4480315 w 7467600"/>
              <a:gd name="connsiteY778" fmla="*/ 1158454 h 6858000"/>
              <a:gd name="connsiteX779" fmla="*/ 4494133 w 7467600"/>
              <a:gd name="connsiteY779" fmla="*/ 1118676 h 6858000"/>
              <a:gd name="connsiteX780" fmla="*/ 4557898 w 7467600"/>
              <a:gd name="connsiteY780" fmla="*/ 900011 h 6858000"/>
              <a:gd name="connsiteX781" fmla="*/ 5870151 w 7467600"/>
              <a:gd name="connsiteY781" fmla="*/ 898890 h 6858000"/>
              <a:gd name="connsiteX782" fmla="*/ 5861335 w 7467600"/>
              <a:gd name="connsiteY782" fmla="*/ 899177 h 6858000"/>
              <a:gd name="connsiteX783" fmla="*/ 5843702 w 7467600"/>
              <a:gd name="connsiteY783" fmla="*/ 899748 h 6858000"/>
              <a:gd name="connsiteX784" fmla="*/ 5651107 w 7467600"/>
              <a:gd name="connsiteY784" fmla="*/ 920306 h 6858000"/>
              <a:gd name="connsiteX785" fmla="*/ 5459407 w 7467600"/>
              <a:gd name="connsiteY785" fmla="*/ 940975 h 6858000"/>
              <a:gd name="connsiteX786" fmla="*/ 5374846 w 7467600"/>
              <a:gd name="connsiteY786" fmla="*/ 941988 h 6858000"/>
              <a:gd name="connsiteX787" fmla="*/ 5256105 w 7467600"/>
              <a:gd name="connsiteY787" fmla="*/ 945632 h 6858000"/>
              <a:gd name="connsiteX788" fmla="*/ 5107071 w 7467600"/>
              <a:gd name="connsiteY788" fmla="*/ 969720 h 6858000"/>
              <a:gd name="connsiteX789" fmla="*/ 4998681 w 7467600"/>
              <a:gd name="connsiteY789" fmla="*/ 988771 h 6858000"/>
              <a:gd name="connsiteX790" fmla="*/ 5870151 w 7467600"/>
              <a:gd name="connsiteY790" fmla="*/ 898890 h 6858000"/>
              <a:gd name="connsiteX791" fmla="*/ 5504425 w 7467600"/>
              <a:gd name="connsiteY791" fmla="*/ 848067 h 6858000"/>
              <a:gd name="connsiteX792" fmla="*/ 4968849 w 7467600"/>
              <a:gd name="connsiteY792" fmla="*/ 962318 h 6858000"/>
              <a:gd name="connsiteX793" fmla="*/ 5104039 w 7467600"/>
              <a:gd name="connsiteY793" fmla="*/ 940634 h 6858000"/>
              <a:gd name="connsiteX794" fmla="*/ 5256311 w 7467600"/>
              <a:gd name="connsiteY794" fmla="*/ 916490 h 6858000"/>
              <a:gd name="connsiteX795" fmla="*/ 5377381 w 7467600"/>
              <a:gd name="connsiteY795" fmla="*/ 912671 h 6858000"/>
              <a:gd name="connsiteX796" fmla="*/ 5460148 w 7467600"/>
              <a:gd name="connsiteY796" fmla="*/ 911442 h 6858000"/>
              <a:gd name="connsiteX797" fmla="*/ 5648971 w 7467600"/>
              <a:gd name="connsiteY797" fmla="*/ 891331 h 6858000"/>
              <a:gd name="connsiteX798" fmla="*/ 5844807 w 7467600"/>
              <a:gd name="connsiteY798" fmla="*/ 870718 h 6858000"/>
              <a:gd name="connsiteX799" fmla="*/ 5862975 w 7467600"/>
              <a:gd name="connsiteY799" fmla="*/ 869756 h 6858000"/>
              <a:gd name="connsiteX800" fmla="*/ 5920887 w 7467600"/>
              <a:gd name="connsiteY800" fmla="*/ 865929 h 6858000"/>
              <a:gd name="connsiteX801" fmla="*/ 5504425 w 7467600"/>
              <a:gd name="connsiteY801" fmla="*/ 848067 h 6858000"/>
              <a:gd name="connsiteX802" fmla="*/ 3607114 w 7467600"/>
              <a:gd name="connsiteY802" fmla="*/ 467441 h 6858000"/>
              <a:gd name="connsiteX803" fmla="*/ 3296242 w 7467600"/>
              <a:gd name="connsiteY803" fmla="*/ 807991 h 6858000"/>
              <a:gd name="connsiteX804" fmla="*/ 3174674 w 7467600"/>
              <a:gd name="connsiteY804" fmla="*/ 919759 h 6858000"/>
              <a:gd name="connsiteX805" fmla="*/ 3042978 w 7467600"/>
              <a:gd name="connsiteY805" fmla="*/ 1054894 h 6858000"/>
              <a:gd name="connsiteX806" fmla="*/ 2968914 w 7467600"/>
              <a:gd name="connsiteY806" fmla="*/ 1133756 h 6858000"/>
              <a:gd name="connsiteX807" fmla="*/ 3103823 w 7467600"/>
              <a:gd name="connsiteY807" fmla="*/ 1026814 h 6858000"/>
              <a:gd name="connsiteX808" fmla="*/ 3607114 w 7467600"/>
              <a:gd name="connsiteY808" fmla="*/ 467441 h 6858000"/>
              <a:gd name="connsiteX809" fmla="*/ 3744487 w 7467600"/>
              <a:gd name="connsiteY809" fmla="*/ 383136 h 6858000"/>
              <a:gd name="connsiteX810" fmla="*/ 3970213 w 7467600"/>
              <a:gd name="connsiteY810" fmla="*/ 995559 h 6858000"/>
              <a:gd name="connsiteX811" fmla="*/ 3744487 w 7467600"/>
              <a:gd name="connsiteY811" fmla="*/ 383136 h 6858000"/>
              <a:gd name="connsiteX812" fmla="*/ 3624562 w 7467600"/>
              <a:gd name="connsiteY812" fmla="*/ 367041 h 6858000"/>
              <a:gd name="connsiteX813" fmla="*/ 3489712 w 7467600"/>
              <a:gd name="connsiteY813" fmla="*/ 485386 h 6858000"/>
              <a:gd name="connsiteX814" fmla="*/ 3182994 w 7467600"/>
              <a:gd name="connsiteY814" fmla="*/ 828265 h 6858000"/>
              <a:gd name="connsiteX815" fmla="*/ 2892114 w 7467600"/>
              <a:gd name="connsiteY815" fmla="*/ 1172635 h 6858000"/>
              <a:gd name="connsiteX816" fmla="*/ 3021459 w 7467600"/>
              <a:gd name="connsiteY816" fmla="*/ 1035385 h 6858000"/>
              <a:gd name="connsiteX817" fmla="*/ 3153873 w 7467600"/>
              <a:gd name="connsiteY817" fmla="*/ 898971 h 6858000"/>
              <a:gd name="connsiteX818" fmla="*/ 3276511 w 7467600"/>
              <a:gd name="connsiteY818" fmla="*/ 786423 h 6858000"/>
              <a:gd name="connsiteX819" fmla="*/ 3584154 w 7467600"/>
              <a:gd name="connsiteY819" fmla="*/ 448218 h 6858000"/>
              <a:gd name="connsiteX820" fmla="*/ 3624562 w 7467600"/>
              <a:gd name="connsiteY820" fmla="*/ 367041 h 6858000"/>
              <a:gd name="connsiteX821" fmla="*/ 3766672 w 7467600"/>
              <a:gd name="connsiteY821" fmla="*/ 359429 h 6858000"/>
              <a:gd name="connsiteX822" fmla="*/ 3996338 w 7467600"/>
              <a:gd name="connsiteY822" fmla="*/ 968237 h 6858000"/>
              <a:gd name="connsiteX823" fmla="*/ 3766672 w 7467600"/>
              <a:gd name="connsiteY823" fmla="*/ 359429 h 6858000"/>
              <a:gd name="connsiteX824" fmla="*/ 5805386 w 7467600"/>
              <a:gd name="connsiteY824" fmla="*/ 239240 h 6858000"/>
              <a:gd name="connsiteX825" fmla="*/ 5736947 w 7467600"/>
              <a:gd name="connsiteY825" fmla="*/ 261367 h 6858000"/>
              <a:gd name="connsiteX826" fmla="*/ 5427012 w 7467600"/>
              <a:gd name="connsiteY826" fmla="*/ 311272 h 6858000"/>
              <a:gd name="connsiteX827" fmla="*/ 5147818 w 7467600"/>
              <a:gd name="connsiteY827" fmla="*/ 322112 h 6858000"/>
              <a:gd name="connsiteX828" fmla="*/ 5060854 w 7467600"/>
              <a:gd name="connsiteY828" fmla="*/ 311882 h 6858000"/>
              <a:gd name="connsiteX829" fmla="*/ 4945989 w 7467600"/>
              <a:gd name="connsiteY829" fmla="*/ 300516 h 6858000"/>
              <a:gd name="connsiteX830" fmla="*/ 5410479 w 7467600"/>
              <a:gd name="connsiteY830" fmla="*/ 348434 h 6858000"/>
              <a:gd name="connsiteX831" fmla="*/ 5805386 w 7467600"/>
              <a:gd name="connsiteY831" fmla="*/ 239240 h 6858000"/>
              <a:gd name="connsiteX832" fmla="*/ 5905192 w 7467600"/>
              <a:gd name="connsiteY832" fmla="*/ 163079 h 6858000"/>
              <a:gd name="connsiteX833" fmla="*/ 5865655 w 7467600"/>
              <a:gd name="connsiteY833" fmla="*/ 171901 h 6858000"/>
              <a:gd name="connsiteX834" fmla="*/ 5259740 w 7467600"/>
              <a:gd name="connsiteY834" fmla="*/ 257013 h 6858000"/>
              <a:gd name="connsiteX835" fmla="*/ 5208466 w 7467600"/>
              <a:gd name="connsiteY835" fmla="*/ 257550 h 6858000"/>
              <a:gd name="connsiteX836" fmla="*/ 4980204 w 7467600"/>
              <a:gd name="connsiteY836" fmla="*/ 271903 h 6858000"/>
              <a:gd name="connsiteX837" fmla="*/ 5068068 w 7467600"/>
              <a:gd name="connsiteY837" fmla="*/ 282244 h 6858000"/>
              <a:gd name="connsiteX838" fmla="*/ 5153231 w 7467600"/>
              <a:gd name="connsiteY838" fmla="*/ 292240 h 6858000"/>
              <a:gd name="connsiteX839" fmla="*/ 5426491 w 7467600"/>
              <a:gd name="connsiteY839" fmla="*/ 281128 h 6858000"/>
              <a:gd name="connsiteX840" fmla="*/ 5731212 w 7467600"/>
              <a:gd name="connsiteY840" fmla="*/ 231951 h 6858000"/>
              <a:gd name="connsiteX841" fmla="*/ 5905192 w 7467600"/>
              <a:gd name="connsiteY841" fmla="*/ 163079 h 6858000"/>
              <a:gd name="connsiteX842" fmla="*/ 5944437 w 7467600"/>
              <a:gd name="connsiteY842" fmla="*/ 113829 h 6858000"/>
              <a:gd name="connsiteX843" fmla="*/ 5825032 w 7467600"/>
              <a:gd name="connsiteY843" fmla="*/ 146405 h 6858000"/>
              <a:gd name="connsiteX844" fmla="*/ 4955599 w 7467600"/>
              <a:gd name="connsiteY844" fmla="*/ 247008 h 6858000"/>
              <a:gd name="connsiteX845" fmla="*/ 5210104 w 7467600"/>
              <a:gd name="connsiteY845" fmla="*/ 228123 h 6858000"/>
              <a:gd name="connsiteX846" fmla="*/ 5261015 w 7467600"/>
              <a:gd name="connsiteY846" fmla="*/ 227087 h 6858000"/>
              <a:gd name="connsiteX847" fmla="*/ 5861181 w 7467600"/>
              <a:gd name="connsiteY847" fmla="*/ 143093 h 6858000"/>
              <a:gd name="connsiteX848" fmla="*/ 5961252 w 7467600"/>
              <a:gd name="connsiteY848" fmla="*/ 114820 h 6858000"/>
              <a:gd name="connsiteX849" fmla="*/ 5944437 w 7467600"/>
              <a:gd name="connsiteY849" fmla="*/ 113829 h 6858000"/>
              <a:gd name="connsiteX850" fmla="*/ 3882765 w 7467600"/>
              <a:gd name="connsiteY850" fmla="*/ 0 h 6858000"/>
              <a:gd name="connsiteX851" fmla="*/ 3995099 w 7467600"/>
              <a:gd name="connsiteY851" fmla="*/ 0 h 6858000"/>
              <a:gd name="connsiteX852" fmla="*/ 4163818 w 7467600"/>
              <a:gd name="connsiteY852" fmla="*/ 234104 h 6858000"/>
              <a:gd name="connsiteX853" fmla="*/ 4172099 w 7467600"/>
              <a:gd name="connsiteY853" fmla="*/ 234207 h 6858000"/>
              <a:gd name="connsiteX854" fmla="*/ 4784282 w 7467600"/>
              <a:gd name="connsiteY854" fmla="*/ 276561 h 6858000"/>
              <a:gd name="connsiteX855" fmla="*/ 4801687 w 7467600"/>
              <a:gd name="connsiteY855" fmla="*/ 267764 h 6858000"/>
              <a:gd name="connsiteX856" fmla="*/ 6082788 w 7467600"/>
              <a:gd name="connsiteY856" fmla="*/ 64119 h 6858000"/>
              <a:gd name="connsiteX857" fmla="*/ 6099442 w 7467600"/>
              <a:gd name="connsiteY857" fmla="*/ 82568 h 6858000"/>
              <a:gd name="connsiteX858" fmla="*/ 4804137 w 7467600"/>
              <a:gd name="connsiteY858" fmla="*/ 320931 h 6858000"/>
              <a:gd name="connsiteX859" fmla="*/ 4227047 w 7467600"/>
              <a:gd name="connsiteY859" fmla="*/ 313415 h 6858000"/>
              <a:gd name="connsiteX860" fmla="*/ 4346041 w 7467600"/>
              <a:gd name="connsiteY860" fmla="*/ 456086 h 6858000"/>
              <a:gd name="connsiteX861" fmla="*/ 4870967 w 7467600"/>
              <a:gd name="connsiteY861" fmla="*/ 963061 h 6858000"/>
              <a:gd name="connsiteX862" fmla="*/ 4889647 w 7467600"/>
              <a:gd name="connsiteY862" fmla="*/ 957147 h 6858000"/>
              <a:gd name="connsiteX863" fmla="*/ 5422504 w 7467600"/>
              <a:gd name="connsiteY863" fmla="*/ 805191 h 6858000"/>
              <a:gd name="connsiteX864" fmla="*/ 6087656 w 7467600"/>
              <a:gd name="connsiteY864" fmla="*/ 826703 h 6858000"/>
              <a:gd name="connsiteX865" fmla="*/ 6058717 w 7467600"/>
              <a:gd name="connsiteY865" fmla="*/ 865992 h 6858000"/>
              <a:gd name="connsiteX866" fmla="*/ 4974153 w 7467600"/>
              <a:gd name="connsiteY866" fmla="*/ 1045456 h 6858000"/>
              <a:gd name="connsiteX867" fmla="*/ 5627835 w 7467600"/>
              <a:gd name="connsiteY867" fmla="*/ 1472077 h 6858000"/>
              <a:gd name="connsiteX868" fmla="*/ 5629817 w 7467600"/>
              <a:gd name="connsiteY868" fmla="*/ 1471412 h 6858000"/>
              <a:gd name="connsiteX869" fmla="*/ 5634124 w 7467600"/>
              <a:gd name="connsiteY869" fmla="*/ 1470572 h 6858000"/>
              <a:gd name="connsiteX870" fmla="*/ 5755832 w 7467600"/>
              <a:gd name="connsiteY870" fmla="*/ 1383886 h 6858000"/>
              <a:gd name="connsiteX871" fmla="*/ 6014186 w 7467600"/>
              <a:gd name="connsiteY871" fmla="*/ 1279799 h 6858000"/>
              <a:gd name="connsiteX872" fmla="*/ 6901619 w 7467600"/>
              <a:gd name="connsiteY872" fmla="*/ 1047874 h 6858000"/>
              <a:gd name="connsiteX873" fmla="*/ 6931566 w 7467600"/>
              <a:gd name="connsiteY873" fmla="*/ 1062034 h 6858000"/>
              <a:gd name="connsiteX874" fmla="*/ 5790982 w 7467600"/>
              <a:gd name="connsiteY874" fmla="*/ 1561380 h 6858000"/>
              <a:gd name="connsiteX875" fmla="*/ 6188971 w 7467600"/>
              <a:gd name="connsiteY875" fmla="*/ 1755168 h 6858000"/>
              <a:gd name="connsiteX876" fmla="*/ 6202446 w 7467600"/>
              <a:gd name="connsiteY876" fmla="*/ 1752268 h 6858000"/>
              <a:gd name="connsiteX877" fmla="*/ 7179560 w 7467600"/>
              <a:gd name="connsiteY877" fmla="*/ 1467551 h 6858000"/>
              <a:gd name="connsiteX878" fmla="*/ 7158730 w 7467600"/>
              <a:gd name="connsiteY878" fmla="*/ 1507835 h 6858000"/>
              <a:gd name="connsiteX879" fmla="*/ 6326959 w 7467600"/>
              <a:gd name="connsiteY879" fmla="*/ 1817686 h 6858000"/>
              <a:gd name="connsiteX880" fmla="*/ 6537433 w 7467600"/>
              <a:gd name="connsiteY880" fmla="*/ 1907790 h 6858000"/>
              <a:gd name="connsiteX881" fmla="*/ 6550221 w 7467600"/>
              <a:gd name="connsiteY881" fmla="*/ 1910729 h 6858000"/>
              <a:gd name="connsiteX882" fmla="*/ 6964438 w 7467600"/>
              <a:gd name="connsiteY882" fmla="*/ 2209505 h 6858000"/>
              <a:gd name="connsiteX883" fmla="*/ 7367862 w 7467600"/>
              <a:gd name="connsiteY883" fmla="*/ 2806833 h 6858000"/>
              <a:gd name="connsiteX884" fmla="*/ 7364329 w 7467600"/>
              <a:gd name="connsiteY884" fmla="*/ 2826907 h 6858000"/>
              <a:gd name="connsiteX885" fmla="*/ 7290545 w 7467600"/>
              <a:gd name="connsiteY885" fmla="*/ 2850663 h 6858000"/>
              <a:gd name="connsiteX886" fmla="*/ 6472036 w 7467600"/>
              <a:gd name="connsiteY886" fmla="*/ 1959003 h 6858000"/>
              <a:gd name="connsiteX887" fmla="*/ 5792897 w 7467600"/>
              <a:gd name="connsiteY887" fmla="*/ 1647747 h 6858000"/>
              <a:gd name="connsiteX888" fmla="*/ 5842751 w 7467600"/>
              <a:gd name="connsiteY888" fmla="*/ 1816112 h 6858000"/>
              <a:gd name="connsiteX889" fmla="*/ 5847424 w 7467600"/>
              <a:gd name="connsiteY889" fmla="*/ 1815776 h 6858000"/>
              <a:gd name="connsiteX890" fmla="*/ 6399821 w 7467600"/>
              <a:gd name="connsiteY890" fmla="*/ 2344799 h 6858000"/>
              <a:gd name="connsiteX891" fmla="*/ 6323232 w 7467600"/>
              <a:gd name="connsiteY891" fmla="*/ 2389634 h 6858000"/>
              <a:gd name="connsiteX892" fmla="*/ 5942958 w 7467600"/>
              <a:gd name="connsiteY892" fmla="*/ 2077708 h 6858000"/>
              <a:gd name="connsiteX893" fmla="*/ 5921559 w 7467600"/>
              <a:gd name="connsiteY893" fmla="*/ 2378596 h 6858000"/>
              <a:gd name="connsiteX894" fmla="*/ 5817651 w 7467600"/>
              <a:gd name="connsiteY894" fmla="*/ 3023919 h 6858000"/>
              <a:gd name="connsiteX895" fmla="*/ 5729634 w 7467600"/>
              <a:gd name="connsiteY895" fmla="*/ 3051849 h 6858000"/>
              <a:gd name="connsiteX896" fmla="*/ 5611018 w 7467600"/>
              <a:gd name="connsiteY896" fmla="*/ 2316769 h 6858000"/>
              <a:gd name="connsiteX897" fmla="*/ 5687608 w 7467600"/>
              <a:gd name="connsiteY897" fmla="*/ 2039972 h 6858000"/>
              <a:gd name="connsiteX898" fmla="*/ 5657554 w 7467600"/>
              <a:gd name="connsiteY898" fmla="*/ 1576445 h 6858000"/>
              <a:gd name="connsiteX899" fmla="*/ 5150475 w 7467600"/>
              <a:gd name="connsiteY899" fmla="*/ 1274012 h 6858000"/>
              <a:gd name="connsiteX900" fmla="*/ 5349142 w 7467600"/>
              <a:gd name="connsiteY900" fmla="*/ 2204405 h 6858000"/>
              <a:gd name="connsiteX901" fmla="*/ 5262214 w 7467600"/>
              <a:gd name="connsiteY901" fmla="*/ 2233836 h 6858000"/>
              <a:gd name="connsiteX902" fmla="*/ 4981539 w 7467600"/>
              <a:gd name="connsiteY902" fmla="*/ 1542201 h 6858000"/>
              <a:gd name="connsiteX903" fmla="*/ 4958461 w 7467600"/>
              <a:gd name="connsiteY903" fmla="*/ 1136957 h 6858000"/>
              <a:gd name="connsiteX904" fmla="*/ 4655015 w 7467600"/>
              <a:gd name="connsiteY904" fmla="*/ 891426 h 6858000"/>
              <a:gd name="connsiteX905" fmla="*/ 4348002 w 7467600"/>
              <a:gd name="connsiteY905" fmla="*/ 2205895 h 6858000"/>
              <a:gd name="connsiteX906" fmla="*/ 4262250 w 7467600"/>
              <a:gd name="connsiteY906" fmla="*/ 2219972 h 6858000"/>
              <a:gd name="connsiteX907" fmla="*/ 4550611 w 7467600"/>
              <a:gd name="connsiteY907" fmla="*/ 817540 h 6858000"/>
              <a:gd name="connsiteX908" fmla="*/ 4564418 w 7467600"/>
              <a:gd name="connsiteY908" fmla="*/ 808293 h 6858000"/>
              <a:gd name="connsiteX909" fmla="*/ 4266388 w 7467600"/>
              <a:gd name="connsiteY909" fmla="*/ 500083 h 6858000"/>
              <a:gd name="connsiteX910" fmla="*/ 4032842 w 7467600"/>
              <a:gd name="connsiteY910" fmla="*/ 211809 h 6858000"/>
              <a:gd name="connsiteX911" fmla="*/ 3882765 w 7467600"/>
              <a:gd name="connsiteY911" fmla="*/ 0 h 6858000"/>
              <a:gd name="connsiteX912" fmla="*/ 3721337 w 7467600"/>
              <a:gd name="connsiteY912" fmla="*/ 0 h 6858000"/>
              <a:gd name="connsiteX913" fmla="*/ 3797544 w 7467600"/>
              <a:gd name="connsiteY913" fmla="*/ 0 h 6858000"/>
              <a:gd name="connsiteX914" fmla="*/ 3775734 w 7467600"/>
              <a:gd name="connsiteY914" fmla="*/ 95131 h 6858000"/>
              <a:gd name="connsiteX915" fmla="*/ 3724807 w 7467600"/>
              <a:gd name="connsiteY915" fmla="*/ 272257 h 6858000"/>
              <a:gd name="connsiteX916" fmla="*/ 3726844 w 7467600"/>
              <a:gd name="connsiteY916" fmla="*/ 282988 h 6858000"/>
              <a:gd name="connsiteX917" fmla="*/ 3742664 w 7467600"/>
              <a:gd name="connsiteY917" fmla="*/ 279918 h 6858000"/>
              <a:gd name="connsiteX918" fmla="*/ 4103910 w 7467600"/>
              <a:gd name="connsiteY918" fmla="*/ 1161917 h 6858000"/>
              <a:gd name="connsiteX919" fmla="*/ 4020269 w 7467600"/>
              <a:gd name="connsiteY919" fmla="*/ 1200406 h 6858000"/>
              <a:gd name="connsiteX920" fmla="*/ 3674882 w 7467600"/>
              <a:gd name="connsiteY920" fmla="*/ 488524 h 6858000"/>
              <a:gd name="connsiteX921" fmla="*/ 3132682 w 7467600"/>
              <a:gd name="connsiteY921" fmla="*/ 1072284 h 6858000"/>
              <a:gd name="connsiteX922" fmla="*/ 2716346 w 7467600"/>
              <a:gd name="connsiteY922" fmla="*/ 1276376 h 6858000"/>
              <a:gd name="connsiteX923" fmla="*/ 2716772 w 7467600"/>
              <a:gd name="connsiteY923" fmla="*/ 1255462 h 6858000"/>
              <a:gd name="connsiteX924" fmla="*/ 3471096 w 7467600"/>
              <a:gd name="connsiteY924" fmla="*/ 437072 h 6858000"/>
              <a:gd name="connsiteX925" fmla="*/ 3639057 w 7467600"/>
              <a:gd name="connsiteY925" fmla="*/ 286334 h 6858000"/>
              <a:gd name="connsiteX926" fmla="*/ 3640309 w 7467600"/>
              <a:gd name="connsiteY926" fmla="*/ 284664 h 6858000"/>
              <a:gd name="connsiteX927" fmla="*/ 3646022 w 7467600"/>
              <a:gd name="connsiteY927" fmla="*/ 276711 h 6858000"/>
              <a:gd name="connsiteX928" fmla="*/ 3707943 w 7467600"/>
              <a:gd name="connsiteY928" fmla="*/ 65958 h 6858000"/>
              <a:gd name="connsiteX929" fmla="*/ 3721337 w 7467600"/>
              <a:gd name="connsiteY929" fmla="*/ 0 h 6858000"/>
              <a:gd name="connsiteX930" fmla="*/ 2867960 w 7467600"/>
              <a:gd name="connsiteY930" fmla="*/ 0 h 6858000"/>
              <a:gd name="connsiteX931" fmla="*/ 2926351 w 7467600"/>
              <a:gd name="connsiteY931" fmla="*/ 0 h 6858000"/>
              <a:gd name="connsiteX932" fmla="*/ 2902823 w 7467600"/>
              <a:gd name="connsiteY932" fmla="*/ 262929 h 6858000"/>
              <a:gd name="connsiteX933" fmla="*/ 2940663 w 7467600"/>
              <a:gd name="connsiteY933" fmla="*/ 140884 h 6858000"/>
              <a:gd name="connsiteX934" fmla="*/ 2947039 w 7467600"/>
              <a:gd name="connsiteY934" fmla="*/ 122524 h 6858000"/>
              <a:gd name="connsiteX935" fmla="*/ 2984316 w 7467600"/>
              <a:gd name="connsiteY935" fmla="*/ 0 h 6858000"/>
              <a:gd name="connsiteX936" fmla="*/ 3016114 w 7467600"/>
              <a:gd name="connsiteY936" fmla="*/ 0 h 6858000"/>
              <a:gd name="connsiteX937" fmla="*/ 2979949 w 7467600"/>
              <a:gd name="connsiteY937" fmla="*/ 119274 h 6858000"/>
              <a:gd name="connsiteX938" fmla="*/ 3023879 w 7467600"/>
              <a:gd name="connsiteY938" fmla="*/ 0 h 6858000"/>
              <a:gd name="connsiteX939" fmla="*/ 3105400 w 7467600"/>
              <a:gd name="connsiteY939" fmla="*/ 0 h 6858000"/>
              <a:gd name="connsiteX940" fmla="*/ 3094669 w 7467600"/>
              <a:gd name="connsiteY940" fmla="*/ 30308 h 6858000"/>
              <a:gd name="connsiteX941" fmla="*/ 2901945 w 7467600"/>
              <a:gd name="connsiteY941" fmla="*/ 466538 h 6858000"/>
              <a:gd name="connsiteX942" fmla="*/ 2815209 w 7467600"/>
              <a:gd name="connsiteY942" fmla="*/ 497361 h 6858000"/>
              <a:gd name="connsiteX943" fmla="*/ 2844845 w 7467600"/>
              <a:gd name="connsiteY943" fmla="*/ 127638 h 6858000"/>
              <a:gd name="connsiteX944" fmla="*/ 2867960 w 7467600"/>
              <a:gd name="connsiteY944" fmla="*/ 0 h 6858000"/>
              <a:gd name="connsiteX945" fmla="*/ 1057230 w 7467600"/>
              <a:gd name="connsiteY945" fmla="*/ 0 h 6858000"/>
              <a:gd name="connsiteX946" fmla="*/ 1111003 w 7467600"/>
              <a:gd name="connsiteY946" fmla="*/ 0 h 6858000"/>
              <a:gd name="connsiteX947" fmla="*/ 1125553 w 7467600"/>
              <a:gd name="connsiteY947" fmla="*/ 52588 h 6858000"/>
              <a:gd name="connsiteX948" fmla="*/ 1304276 w 7467600"/>
              <a:gd name="connsiteY948" fmla="*/ 476275 h 6858000"/>
              <a:gd name="connsiteX949" fmla="*/ 1492066 w 7467600"/>
              <a:gd name="connsiteY949" fmla="*/ 886333 h 6858000"/>
              <a:gd name="connsiteX950" fmla="*/ 1423698 w 7467600"/>
              <a:gd name="connsiteY950" fmla="*/ 710817 h 6858000"/>
              <a:gd name="connsiteX951" fmla="*/ 1357609 w 7467600"/>
              <a:gd name="connsiteY951" fmla="*/ 532892 h 6858000"/>
              <a:gd name="connsiteX952" fmla="*/ 1309550 w 7467600"/>
              <a:gd name="connsiteY952" fmla="*/ 374031 h 6858000"/>
              <a:gd name="connsiteX953" fmla="*/ 1193673 w 7467600"/>
              <a:gd name="connsiteY953" fmla="*/ 49533 h 6858000"/>
              <a:gd name="connsiteX954" fmla="*/ 1164391 w 7467600"/>
              <a:gd name="connsiteY954" fmla="*/ 0 h 6858000"/>
              <a:gd name="connsiteX955" fmla="*/ 1200666 w 7467600"/>
              <a:gd name="connsiteY955" fmla="*/ 0 h 6858000"/>
              <a:gd name="connsiteX956" fmla="*/ 1223408 w 7467600"/>
              <a:gd name="connsiteY956" fmla="*/ 38996 h 6858000"/>
              <a:gd name="connsiteX957" fmla="*/ 1339635 w 7467600"/>
              <a:gd name="connsiteY957" fmla="*/ 365517 h 6858000"/>
              <a:gd name="connsiteX958" fmla="*/ 1387469 w 7467600"/>
              <a:gd name="connsiteY958" fmla="*/ 523079 h 6858000"/>
              <a:gd name="connsiteX959" fmla="*/ 1452685 w 7467600"/>
              <a:gd name="connsiteY959" fmla="*/ 699806 h 6858000"/>
              <a:gd name="connsiteX960" fmla="*/ 1492092 w 7467600"/>
              <a:gd name="connsiteY960" fmla="*/ 800424 h 6858000"/>
              <a:gd name="connsiteX961" fmla="*/ 1455302 w 7467600"/>
              <a:gd name="connsiteY961" fmla="*/ 632913 h 6858000"/>
              <a:gd name="connsiteX962" fmla="*/ 1222336 w 7467600"/>
              <a:gd name="connsiteY962" fmla="*/ 9480 h 6858000"/>
              <a:gd name="connsiteX963" fmla="*/ 1214634 w 7467600"/>
              <a:gd name="connsiteY963" fmla="*/ 0 h 6858000"/>
              <a:gd name="connsiteX964" fmla="*/ 1289827 w 7467600"/>
              <a:gd name="connsiteY964" fmla="*/ 0 h 6858000"/>
              <a:gd name="connsiteX965" fmla="*/ 1321076 w 7467600"/>
              <a:gd name="connsiteY965" fmla="*/ 59722 h 6858000"/>
              <a:gd name="connsiteX966" fmla="*/ 1512579 w 7467600"/>
              <a:gd name="connsiteY966" fmla="*/ 626441 h 6858000"/>
              <a:gd name="connsiteX967" fmla="*/ 1506076 w 7467600"/>
              <a:gd name="connsiteY967" fmla="*/ 1089289 h 6858000"/>
              <a:gd name="connsiteX968" fmla="*/ 1486346 w 7467600"/>
              <a:gd name="connsiteY968" fmla="*/ 1079919 h 6858000"/>
              <a:gd name="connsiteX969" fmla="*/ 1070511 w 7467600"/>
              <a:gd name="connsiteY969" fmla="*/ 48609 h 6858000"/>
              <a:gd name="connsiteX970" fmla="*/ 1057230 w 7467600"/>
              <a:gd name="connsiteY970" fmla="*/ 0 h 6858000"/>
              <a:gd name="connsiteX971" fmla="*/ 43151 w 7467600"/>
              <a:gd name="connsiteY971" fmla="*/ 0 h 6858000"/>
              <a:gd name="connsiteX972" fmla="*/ 95283 w 7467600"/>
              <a:gd name="connsiteY972" fmla="*/ 0 h 6858000"/>
              <a:gd name="connsiteX973" fmla="*/ 300708 w 7467600"/>
              <a:gd name="connsiteY973" fmla="*/ 154571 h 6858000"/>
              <a:gd name="connsiteX974" fmla="*/ 530414 w 7467600"/>
              <a:gd name="connsiteY974" fmla="*/ 354673 h 6858000"/>
              <a:gd name="connsiteX975" fmla="*/ 333785 w 7467600"/>
              <a:gd name="connsiteY975" fmla="*/ 161564 h 6858000"/>
              <a:gd name="connsiteX976" fmla="*/ 147005 w 7467600"/>
              <a:gd name="connsiteY976" fmla="*/ 0 h 6858000"/>
              <a:gd name="connsiteX977" fmla="*/ 272509 w 7467600"/>
              <a:gd name="connsiteY977" fmla="*/ 0 h 6858000"/>
              <a:gd name="connsiteX978" fmla="*/ 326276 w 7467600"/>
              <a:gd name="connsiteY978" fmla="*/ 45847 h 6858000"/>
              <a:gd name="connsiteX979" fmla="*/ 823759 w 7467600"/>
              <a:gd name="connsiteY979" fmla="*/ 574145 h 6858000"/>
              <a:gd name="connsiteX980" fmla="*/ 811254 w 7467600"/>
              <a:gd name="connsiteY980" fmla="*/ 665546 h 6858000"/>
              <a:gd name="connsiteX981" fmla="*/ 154042 w 7467600"/>
              <a:gd name="connsiteY981" fmla="*/ 261522 h 6858000"/>
              <a:gd name="connsiteX982" fmla="*/ 13550 w 7467600"/>
              <a:gd name="connsiteY982" fmla="*/ 158423 h 6858000"/>
              <a:gd name="connsiteX983" fmla="*/ 0 w 7467600"/>
              <a:gd name="connsiteY983" fmla="*/ 146618 h 6858000"/>
              <a:gd name="connsiteX984" fmla="*/ 0 w 7467600"/>
              <a:gd name="connsiteY984" fmla="*/ 59161 h 6858000"/>
              <a:gd name="connsiteX985" fmla="*/ 45427 w 7467600"/>
              <a:gd name="connsiteY985" fmla="*/ 101078 h 6858000"/>
              <a:gd name="connsiteX986" fmla="*/ 630103 w 7467600"/>
              <a:gd name="connsiteY986" fmla="*/ 485885 h 6858000"/>
              <a:gd name="connsiteX987" fmla="*/ 532040 w 7467600"/>
              <a:gd name="connsiteY987" fmla="*/ 399359 h 6858000"/>
              <a:gd name="connsiteX988" fmla="*/ 517618 w 7467600"/>
              <a:gd name="connsiteY988" fmla="*/ 385726 h 6858000"/>
              <a:gd name="connsiteX989" fmla="*/ 285074 w 7467600"/>
              <a:gd name="connsiteY989" fmla="*/ 182755 h 6858000"/>
              <a:gd name="connsiteX990" fmla="*/ 43151 w 7467600"/>
              <a:gd name="connsiteY990"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12201 w 7467600"/>
              <a:gd name="connsiteY127" fmla="*/ 5128278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312201 w 7467600"/>
              <a:gd name="connsiteY133" fmla="*/ 5128278 h 6858000"/>
              <a:gd name="connsiteX134" fmla="*/ 1903353 w 7467600"/>
              <a:gd name="connsiteY134" fmla="*/ 5044827 h 6858000"/>
              <a:gd name="connsiteX135" fmla="*/ 1936931 w 7467600"/>
              <a:gd name="connsiteY135" fmla="*/ 5093954 h 6858000"/>
              <a:gd name="connsiteX136" fmla="*/ 2195868 w 7467600"/>
              <a:gd name="connsiteY136" fmla="*/ 5396574 h 6858000"/>
              <a:gd name="connsiteX137" fmla="*/ 2088852 w 7467600"/>
              <a:gd name="connsiteY137" fmla="*/ 5166123 h 6858000"/>
              <a:gd name="connsiteX138" fmla="*/ 1958241 w 7467600"/>
              <a:gd name="connsiteY138" fmla="*/ 5067955 h 6858000"/>
              <a:gd name="connsiteX139" fmla="*/ 1903353 w 7467600"/>
              <a:gd name="connsiteY139" fmla="*/ 5044827 h 6858000"/>
              <a:gd name="connsiteX140" fmla="*/ 1979378 w 7467600"/>
              <a:gd name="connsiteY140" fmla="*/ 4769504 h 6858000"/>
              <a:gd name="connsiteX141" fmla="*/ 2882120 w 7467600"/>
              <a:gd name="connsiteY141" fmla="*/ 5064547 h 6858000"/>
              <a:gd name="connsiteX142" fmla="*/ 2793103 w 7467600"/>
              <a:gd name="connsiteY142" fmla="*/ 5039699 h 6858000"/>
              <a:gd name="connsiteX143" fmla="*/ 2770041 w 7467600"/>
              <a:gd name="connsiteY143" fmla="*/ 5033634 h 6858000"/>
              <a:gd name="connsiteX144" fmla="*/ 1979378 w 7467600"/>
              <a:gd name="connsiteY144" fmla="*/ 4769504 h 6858000"/>
              <a:gd name="connsiteX145" fmla="*/ 1927410 w 7467600"/>
              <a:gd name="connsiteY145" fmla="*/ 4716164 h 6858000"/>
              <a:gd name="connsiteX146" fmla="*/ 1959587 w 7467600"/>
              <a:gd name="connsiteY146" fmla="*/ 4728849 h 6858000"/>
              <a:gd name="connsiteX147" fmla="*/ 2777707 w 7467600"/>
              <a:gd name="connsiteY147" fmla="*/ 5003991 h 6858000"/>
              <a:gd name="connsiteX148" fmla="*/ 2800768 w 7467600"/>
              <a:gd name="connsiteY148" fmla="*/ 5010056 h 6858000"/>
              <a:gd name="connsiteX149" fmla="*/ 2879408 w 7467600"/>
              <a:gd name="connsiteY149" fmla="*/ 5031590 h 6858000"/>
              <a:gd name="connsiteX150" fmla="*/ 2862295 w 7467600"/>
              <a:gd name="connsiteY150" fmla="*/ 5022958 h 6858000"/>
              <a:gd name="connsiteX151" fmla="*/ 2813343 w 7467600"/>
              <a:gd name="connsiteY151" fmla="*/ 4998369 h 6858000"/>
              <a:gd name="connsiteX152" fmla="*/ 2646245 w 7467600"/>
              <a:gd name="connsiteY152" fmla="*/ 4930999 h 6858000"/>
              <a:gd name="connsiteX153" fmla="*/ 1999243 w 7467600"/>
              <a:gd name="connsiteY153" fmla="*/ 4730524 h 6858000"/>
              <a:gd name="connsiteX154" fmla="*/ 1979527 w 7467600"/>
              <a:gd name="connsiteY154" fmla="*/ 4726651 h 6858000"/>
              <a:gd name="connsiteX155" fmla="*/ 1927410 w 7467600"/>
              <a:gd name="connsiteY155" fmla="*/ 4716164 h 6858000"/>
              <a:gd name="connsiteX156" fmla="*/ 1997014 w 7467600"/>
              <a:gd name="connsiteY156" fmla="*/ 4698007 h 6858000"/>
              <a:gd name="connsiteX157" fmla="*/ 2005458 w 7467600"/>
              <a:gd name="connsiteY157" fmla="*/ 4699540 h 6858000"/>
              <a:gd name="connsiteX158" fmla="*/ 2657186 w 7467600"/>
              <a:gd name="connsiteY158" fmla="*/ 4901687 h 6858000"/>
              <a:gd name="connsiteX159" fmla="*/ 2826662 w 7467600"/>
              <a:gd name="connsiteY159" fmla="*/ 4970362 h 6858000"/>
              <a:gd name="connsiteX160" fmla="*/ 2876100 w 7467600"/>
              <a:gd name="connsiteY160" fmla="*/ 4995397 h 6858000"/>
              <a:gd name="connsiteX161" fmla="*/ 3042600 w 7467600"/>
              <a:gd name="connsiteY161" fmla="*/ 5059532 h 6858000"/>
              <a:gd name="connsiteX162" fmla="*/ 1997014 w 7467600"/>
              <a:gd name="connsiteY162" fmla="*/ 4698007 h 6858000"/>
              <a:gd name="connsiteX163" fmla="*/ 2305292 w 7467600"/>
              <a:gd name="connsiteY163" fmla="*/ 4219492 h 6858000"/>
              <a:gd name="connsiteX164" fmla="*/ 3360922 w 7467600"/>
              <a:gd name="connsiteY164" fmla="*/ 4529373 h 6858000"/>
              <a:gd name="connsiteX165" fmla="*/ 3492420 w 7467600"/>
              <a:gd name="connsiteY165" fmla="*/ 4510145 h 6858000"/>
              <a:gd name="connsiteX166" fmla="*/ 3364086 w 7467600"/>
              <a:gd name="connsiteY166" fmla="*/ 4480340 h 6858000"/>
              <a:gd name="connsiteX167" fmla="*/ 3225818 w 7467600"/>
              <a:gd name="connsiteY167" fmla="*/ 4411822 h 6858000"/>
              <a:gd name="connsiteX168" fmla="*/ 3129696 w 7467600"/>
              <a:gd name="connsiteY168" fmla="*/ 4360704 h 6858000"/>
              <a:gd name="connsiteX169" fmla="*/ 2814545 w 7467600"/>
              <a:gd name="connsiteY169" fmla="*/ 4282955 h 6858000"/>
              <a:gd name="connsiteX170" fmla="*/ 2305292 w 7467600"/>
              <a:gd name="connsiteY170" fmla="*/ 4219492 h 6858000"/>
              <a:gd name="connsiteX171" fmla="*/ 2626982 w 7467600"/>
              <a:gd name="connsiteY171" fmla="*/ 4206450 h 6858000"/>
              <a:gd name="connsiteX172" fmla="*/ 2490617 w 7467600"/>
              <a:gd name="connsiteY172" fmla="*/ 4206951 h 6858000"/>
              <a:gd name="connsiteX173" fmla="*/ 2819869 w 7467600"/>
              <a:gd name="connsiteY173" fmla="*/ 4252936 h 6858000"/>
              <a:gd name="connsiteX174" fmla="*/ 3143018 w 7467600"/>
              <a:gd name="connsiteY174" fmla="*/ 4332698 h 6858000"/>
              <a:gd name="connsiteX175" fmla="*/ 3241520 w 7467600"/>
              <a:gd name="connsiteY175" fmla="*/ 4385112 h 6858000"/>
              <a:gd name="connsiteX176" fmla="*/ 3374575 w 7467600"/>
              <a:gd name="connsiteY176" fmla="*/ 4451517 h 6858000"/>
              <a:gd name="connsiteX177" fmla="*/ 3505221 w 7467600"/>
              <a:gd name="connsiteY177" fmla="*/ 4480757 h 6858000"/>
              <a:gd name="connsiteX178" fmla="*/ 2626982 w 7467600"/>
              <a:gd name="connsiteY178" fmla="*/ 4206450 h 6858000"/>
              <a:gd name="connsiteX179" fmla="*/ 1310106 w 7467600"/>
              <a:gd name="connsiteY179" fmla="*/ 3943217 h 6858000"/>
              <a:gd name="connsiteX180" fmla="*/ 854994 w 7467600"/>
              <a:gd name="connsiteY180" fmla="*/ 4399136 h 6858000"/>
              <a:gd name="connsiteX181" fmla="*/ 742462 w 7467600"/>
              <a:gd name="connsiteY181" fmla="*/ 4594648 h 6858000"/>
              <a:gd name="connsiteX182" fmla="*/ 820602 w 7467600"/>
              <a:gd name="connsiteY182" fmla="*/ 4485915 h 6858000"/>
              <a:gd name="connsiteX183" fmla="*/ 878295 w 7467600"/>
              <a:gd name="connsiteY183" fmla="*/ 4403594 h 6858000"/>
              <a:gd name="connsiteX184" fmla="*/ 1240607 w 7467600"/>
              <a:gd name="connsiteY184" fmla="*/ 4010401 h 6858000"/>
              <a:gd name="connsiteX185" fmla="*/ 1310106 w 7467600"/>
              <a:gd name="connsiteY185" fmla="*/ 3943217 h 6858000"/>
              <a:gd name="connsiteX186" fmla="*/ 1423113 w 7467600"/>
              <a:gd name="connsiteY186" fmla="*/ 3874565 h 6858000"/>
              <a:gd name="connsiteX187" fmla="*/ 1260565 w 7467600"/>
              <a:gd name="connsiteY187" fmla="*/ 4031982 h 6858000"/>
              <a:gd name="connsiteX188" fmla="*/ 901900 w 7467600"/>
              <a:gd name="connsiteY188" fmla="*/ 4421236 h 6858000"/>
              <a:gd name="connsiteX189" fmla="*/ 845044 w 7467600"/>
              <a:gd name="connsiteY189" fmla="*/ 4502436 h 6858000"/>
              <a:gd name="connsiteX190" fmla="*/ 685926 w 7467600"/>
              <a:gd name="connsiteY190" fmla="*/ 4703069 h 6858000"/>
              <a:gd name="connsiteX191" fmla="*/ 684248 w 7467600"/>
              <a:gd name="connsiteY191" fmla="*/ 4706721 h 6858000"/>
              <a:gd name="connsiteX192" fmla="*/ 1423113 w 7467600"/>
              <a:gd name="connsiteY192" fmla="*/ 3874565 h 6858000"/>
              <a:gd name="connsiteX193" fmla="*/ 3316479 w 7467600"/>
              <a:gd name="connsiteY193" fmla="*/ 3872136 h 6858000"/>
              <a:gd name="connsiteX194" fmla="*/ 3546806 w 7467600"/>
              <a:gd name="connsiteY194" fmla="*/ 4356139 h 6858000"/>
              <a:gd name="connsiteX195" fmla="*/ 3364433 w 7467600"/>
              <a:gd name="connsiteY195" fmla="*/ 3953121 h 6858000"/>
              <a:gd name="connsiteX196" fmla="*/ 3316479 w 7467600"/>
              <a:gd name="connsiteY196" fmla="*/ 3872136 h 6858000"/>
              <a:gd name="connsiteX197" fmla="*/ 3291335 w 7467600"/>
              <a:gd name="connsiteY197" fmla="*/ 3767420 h 6858000"/>
              <a:gd name="connsiteX198" fmla="*/ 3390805 w 7467600"/>
              <a:gd name="connsiteY198" fmla="*/ 3937163 h 6858000"/>
              <a:gd name="connsiteX199" fmla="*/ 3579062 w 7467600"/>
              <a:gd name="connsiteY199" fmla="*/ 4359040 h 6858000"/>
              <a:gd name="connsiteX200" fmla="*/ 3467355 w 7467600"/>
              <a:gd name="connsiteY200" fmla="*/ 3988130 h 6858000"/>
              <a:gd name="connsiteX201" fmla="*/ 3310753 w 7467600"/>
              <a:gd name="connsiteY201" fmla="*/ 3787140 h 6858000"/>
              <a:gd name="connsiteX202" fmla="*/ 3291335 w 7467600"/>
              <a:gd name="connsiteY202" fmla="*/ 3767420 h 6858000"/>
              <a:gd name="connsiteX203" fmla="*/ 1635889 w 7467600"/>
              <a:gd name="connsiteY203" fmla="*/ 3709494 h 6858000"/>
              <a:gd name="connsiteX204" fmla="*/ 1634800 w 7467600"/>
              <a:gd name="connsiteY204" fmla="*/ 3731111 h 6858000"/>
              <a:gd name="connsiteX205" fmla="*/ 1635889 w 7467600"/>
              <a:gd name="connsiteY205" fmla="*/ 3709494 h 6858000"/>
              <a:gd name="connsiteX206" fmla="*/ 1510397 w 7467600"/>
              <a:gd name="connsiteY206" fmla="*/ 3684705 h 6858000"/>
              <a:gd name="connsiteX207" fmla="*/ 1146550 w 7467600"/>
              <a:gd name="connsiteY207" fmla="*/ 3802012 h 6858000"/>
              <a:gd name="connsiteX208" fmla="*/ 698834 w 7467600"/>
              <a:gd name="connsiteY208" fmla="*/ 3952272 h 6858000"/>
              <a:gd name="connsiteX209" fmla="*/ 34256 w 7467600"/>
              <a:gd name="connsiteY209" fmla="*/ 4347603 h 6858000"/>
              <a:gd name="connsiteX210" fmla="*/ 527241 w 7467600"/>
              <a:gd name="connsiteY210" fmla="*/ 4065078 h 6858000"/>
              <a:gd name="connsiteX211" fmla="*/ 1510397 w 7467600"/>
              <a:gd name="connsiteY211" fmla="*/ 3684705 h 6858000"/>
              <a:gd name="connsiteX212" fmla="*/ 1313114 w 7467600"/>
              <a:gd name="connsiteY212" fmla="*/ 3655216 h 6858000"/>
              <a:gd name="connsiteX213" fmla="*/ 1109304 w 7467600"/>
              <a:gd name="connsiteY213" fmla="*/ 3669030 h 6858000"/>
              <a:gd name="connsiteX214" fmla="*/ 8129 w 7467600"/>
              <a:gd name="connsiteY214" fmla="*/ 4330519 h 6858000"/>
              <a:gd name="connsiteX215" fmla="*/ 687572 w 7467600"/>
              <a:gd name="connsiteY215" fmla="*/ 3925629 h 6858000"/>
              <a:gd name="connsiteX216" fmla="*/ 1138365 w 7467600"/>
              <a:gd name="connsiteY216" fmla="*/ 3774515 h 6858000"/>
              <a:gd name="connsiteX217" fmla="*/ 1505579 w 7467600"/>
              <a:gd name="connsiteY217" fmla="*/ 3655526 h 6858000"/>
              <a:gd name="connsiteX218" fmla="*/ 1313114 w 7467600"/>
              <a:gd name="connsiteY218" fmla="*/ 3655216 h 6858000"/>
              <a:gd name="connsiteX219" fmla="*/ 3655073 w 7467600"/>
              <a:gd name="connsiteY219" fmla="*/ 3650884 h 6858000"/>
              <a:gd name="connsiteX220" fmla="*/ 3989938 w 7467600"/>
              <a:gd name="connsiteY220" fmla="*/ 3991685 h 6858000"/>
              <a:gd name="connsiteX221" fmla="*/ 4393907 w 7467600"/>
              <a:gd name="connsiteY221" fmla="*/ 4261258 h 6858000"/>
              <a:gd name="connsiteX222" fmla="*/ 4648051 w 7467600"/>
              <a:gd name="connsiteY222" fmla="*/ 4374051 h 6858000"/>
              <a:gd name="connsiteX223" fmla="*/ 4383389 w 7467600"/>
              <a:gd name="connsiteY223" fmla="*/ 4184369 h 6858000"/>
              <a:gd name="connsiteX224" fmla="*/ 4165508 w 7467600"/>
              <a:gd name="connsiteY224" fmla="*/ 4035196 h 6858000"/>
              <a:gd name="connsiteX225" fmla="*/ 4068162 w 7467600"/>
              <a:gd name="connsiteY225" fmla="*/ 3953394 h 6858000"/>
              <a:gd name="connsiteX226" fmla="*/ 3981416 w 7467600"/>
              <a:gd name="connsiteY226" fmla="*/ 3880482 h 6858000"/>
              <a:gd name="connsiteX227" fmla="*/ 3800147 w 7467600"/>
              <a:gd name="connsiteY227" fmla="*/ 3749872 h 6858000"/>
              <a:gd name="connsiteX228" fmla="*/ 3655073 w 7467600"/>
              <a:gd name="connsiteY228" fmla="*/ 3650884 h 6858000"/>
              <a:gd name="connsiteX229" fmla="*/ 3670252 w 7467600"/>
              <a:gd name="connsiteY229" fmla="*/ 3622798 h 6858000"/>
              <a:gd name="connsiteX230" fmla="*/ 3817258 w 7467600"/>
              <a:gd name="connsiteY230" fmla="*/ 3723577 h 6858000"/>
              <a:gd name="connsiteX231" fmla="*/ 4000461 w 7467600"/>
              <a:gd name="connsiteY231" fmla="*/ 3855966 h 6858000"/>
              <a:gd name="connsiteX232" fmla="*/ 4088180 w 7467600"/>
              <a:gd name="connsiteY232" fmla="*/ 3929774 h 6858000"/>
              <a:gd name="connsiteX233" fmla="*/ 4184555 w 7467600"/>
              <a:gd name="connsiteY233" fmla="*/ 4010683 h 6858000"/>
              <a:gd name="connsiteX234" fmla="*/ 4399563 w 7467600"/>
              <a:gd name="connsiteY234" fmla="*/ 4158106 h 6858000"/>
              <a:gd name="connsiteX235" fmla="*/ 4684469 w 7467600"/>
              <a:gd name="connsiteY235" fmla="*/ 4364680 h 6858000"/>
              <a:gd name="connsiteX236" fmla="*/ 4690271 w 7467600"/>
              <a:gd name="connsiteY236" fmla="*/ 4370034 h 6858000"/>
              <a:gd name="connsiteX237" fmla="*/ 4136093 w 7467600"/>
              <a:gd name="connsiteY237" fmla="*/ 3858466 h 6858000"/>
              <a:gd name="connsiteX238" fmla="*/ 3670252 w 7467600"/>
              <a:gd name="connsiteY238" fmla="*/ 3622798 h 6858000"/>
              <a:gd name="connsiteX239" fmla="*/ 4440129 w 7467600"/>
              <a:gd name="connsiteY239" fmla="*/ 3448571 h 6858000"/>
              <a:gd name="connsiteX240" fmla="*/ 4856525 w 7467600"/>
              <a:gd name="connsiteY240" fmla="*/ 3915351 h 6858000"/>
              <a:gd name="connsiteX241" fmla="*/ 5059055 w 7467600"/>
              <a:gd name="connsiteY241" fmla="*/ 4108918 h 6858000"/>
              <a:gd name="connsiteX242" fmla="*/ 5290070 w 7467600"/>
              <a:gd name="connsiteY242" fmla="*/ 4263619 h 6858000"/>
              <a:gd name="connsiteX243" fmla="*/ 4834991 w 7467600"/>
              <a:gd name="connsiteY243" fmla="*/ 3830985 h 6858000"/>
              <a:gd name="connsiteX244" fmla="*/ 4440129 w 7467600"/>
              <a:gd name="connsiteY244" fmla="*/ 3448571 h 6858000"/>
              <a:gd name="connsiteX245" fmla="*/ 4441737 w 7467600"/>
              <a:gd name="connsiteY245" fmla="*/ 3399734 h 6858000"/>
              <a:gd name="connsiteX246" fmla="*/ 4431236 w 7467600"/>
              <a:gd name="connsiteY246" fmla="*/ 3400954 h 6858000"/>
              <a:gd name="connsiteX247" fmla="*/ 4557150 w 7467600"/>
              <a:gd name="connsiteY247" fmla="*/ 3510023 h 6858000"/>
              <a:gd name="connsiteX248" fmla="*/ 4856936 w 7467600"/>
              <a:gd name="connsiteY248" fmla="*/ 3809146 h 6858000"/>
              <a:gd name="connsiteX249" fmla="*/ 5111996 w 7467600"/>
              <a:gd name="connsiteY249" fmla="*/ 4065759 h 6858000"/>
              <a:gd name="connsiteX250" fmla="*/ 5388878 w 7467600"/>
              <a:gd name="connsiteY250" fmla="*/ 4300185 h 6858000"/>
              <a:gd name="connsiteX251" fmla="*/ 5425556 w 7467600"/>
              <a:gd name="connsiteY251" fmla="*/ 4308967 h 6858000"/>
              <a:gd name="connsiteX252" fmla="*/ 4943646 w 7467600"/>
              <a:gd name="connsiteY252" fmla="*/ 3822916 h 6858000"/>
              <a:gd name="connsiteX253" fmla="*/ 4594837 w 7467600"/>
              <a:gd name="connsiteY253" fmla="*/ 3532274 h 6858000"/>
              <a:gd name="connsiteX254" fmla="*/ 4441737 w 7467600"/>
              <a:gd name="connsiteY254" fmla="*/ 3399734 h 6858000"/>
              <a:gd name="connsiteX255" fmla="*/ 5425834 w 7467600"/>
              <a:gd name="connsiteY255" fmla="*/ 3162785 h 6858000"/>
              <a:gd name="connsiteX256" fmla="*/ 5401644 w 7467600"/>
              <a:gd name="connsiteY256" fmla="*/ 3617847 h 6858000"/>
              <a:gd name="connsiteX257" fmla="*/ 5467256 w 7467600"/>
              <a:gd name="connsiteY257" fmla="*/ 4175494 h 6858000"/>
              <a:gd name="connsiteX258" fmla="*/ 5448069 w 7467600"/>
              <a:gd name="connsiteY258" fmla="*/ 3567554 h 6858000"/>
              <a:gd name="connsiteX259" fmla="*/ 5425834 w 7467600"/>
              <a:gd name="connsiteY259" fmla="*/ 3162785 h 6858000"/>
              <a:gd name="connsiteX260" fmla="*/ 1318687 w 7467600"/>
              <a:gd name="connsiteY260" fmla="*/ 3113840 h 6858000"/>
              <a:gd name="connsiteX261" fmla="*/ 1066793 w 7467600"/>
              <a:gd name="connsiteY261" fmla="*/ 3212171 h 6858000"/>
              <a:gd name="connsiteX262" fmla="*/ 993319 w 7467600"/>
              <a:gd name="connsiteY262" fmla="*/ 3247648 h 6858000"/>
              <a:gd name="connsiteX263" fmla="*/ 853081 w 7467600"/>
              <a:gd name="connsiteY263" fmla="*/ 3312410 h 6858000"/>
              <a:gd name="connsiteX264" fmla="*/ 805957 w 7467600"/>
              <a:gd name="connsiteY264" fmla="*/ 3330443 h 6858000"/>
              <a:gd name="connsiteX265" fmla="*/ 1318687 w 7467600"/>
              <a:gd name="connsiteY265" fmla="*/ 3113840 h 6858000"/>
              <a:gd name="connsiteX266" fmla="*/ 5453702 w 7467600"/>
              <a:gd name="connsiteY266" fmla="*/ 3090882 h 6858000"/>
              <a:gd name="connsiteX267" fmla="*/ 5480135 w 7467600"/>
              <a:gd name="connsiteY267" fmla="*/ 3565802 h 6858000"/>
              <a:gd name="connsiteX268" fmla="*/ 5499023 w 7467600"/>
              <a:gd name="connsiteY268" fmla="*/ 4166310 h 6858000"/>
              <a:gd name="connsiteX269" fmla="*/ 5547022 w 7467600"/>
              <a:gd name="connsiteY269" fmla="*/ 3607838 h 6858000"/>
              <a:gd name="connsiteX270" fmla="*/ 5515964 w 7467600"/>
              <a:gd name="connsiteY270" fmla="*/ 3378541 h 6858000"/>
              <a:gd name="connsiteX271" fmla="*/ 5453702 w 7467600"/>
              <a:gd name="connsiteY271" fmla="*/ 3090882 h 6858000"/>
              <a:gd name="connsiteX272" fmla="*/ 1238695 w 7467600"/>
              <a:gd name="connsiteY272" fmla="*/ 3076820 h 6858000"/>
              <a:gd name="connsiteX273" fmla="*/ 716371 w 7467600"/>
              <a:gd name="connsiteY273" fmla="*/ 3293249 h 6858000"/>
              <a:gd name="connsiteX274" fmla="*/ 579522 w 7467600"/>
              <a:gd name="connsiteY274" fmla="*/ 3371759 h 6858000"/>
              <a:gd name="connsiteX275" fmla="*/ 600288 w 7467600"/>
              <a:gd name="connsiteY275" fmla="*/ 3365555 h 6858000"/>
              <a:gd name="connsiteX276" fmla="*/ 840692 w 7467600"/>
              <a:gd name="connsiteY276" fmla="*/ 3284921 h 6858000"/>
              <a:gd name="connsiteX277" fmla="*/ 979248 w 7467600"/>
              <a:gd name="connsiteY277" fmla="*/ 3221003 h 6858000"/>
              <a:gd name="connsiteX278" fmla="*/ 1053282 w 7467600"/>
              <a:gd name="connsiteY278" fmla="*/ 3185247 h 6858000"/>
              <a:gd name="connsiteX279" fmla="*/ 1320603 w 7467600"/>
              <a:gd name="connsiteY279" fmla="*/ 3081281 h 6858000"/>
              <a:gd name="connsiteX280" fmla="*/ 1238695 w 7467600"/>
              <a:gd name="connsiteY280" fmla="*/ 3076820 h 6858000"/>
              <a:gd name="connsiteX281" fmla="*/ 5425627 w 7467600"/>
              <a:gd name="connsiteY281" fmla="*/ 2954192 h 6858000"/>
              <a:gd name="connsiteX282" fmla="*/ 5470770 w 7467600"/>
              <a:gd name="connsiteY282" fmla="*/ 3005435 h 6858000"/>
              <a:gd name="connsiteX283" fmla="*/ 5519779 w 7467600"/>
              <a:gd name="connsiteY283" fmla="*/ 4359223 h 6858000"/>
              <a:gd name="connsiteX284" fmla="*/ 5520293 w 7467600"/>
              <a:gd name="connsiteY284" fmla="*/ 4360602 h 6858000"/>
              <a:gd name="connsiteX285" fmla="*/ 5767221 w 7467600"/>
              <a:gd name="connsiteY285" fmla="*/ 4665564 h 6858000"/>
              <a:gd name="connsiteX286" fmla="*/ 6937169 w 7467600"/>
              <a:gd name="connsiteY286" fmla="*/ 4815941 h 6858000"/>
              <a:gd name="connsiteX287" fmla="*/ 6953922 w 7467600"/>
              <a:gd name="connsiteY287" fmla="*/ 4890068 h 6858000"/>
              <a:gd name="connsiteX288" fmla="*/ 6071359 w 7467600"/>
              <a:gd name="connsiteY288" fmla="*/ 4770770 h 6858000"/>
              <a:gd name="connsiteX289" fmla="*/ 6038839 w 7467600"/>
              <a:gd name="connsiteY289" fmla="*/ 4764474 h 6858000"/>
              <a:gd name="connsiteX290" fmla="*/ 6038706 w 7467600"/>
              <a:gd name="connsiteY290" fmla="*/ 4763847 h 6858000"/>
              <a:gd name="connsiteX291" fmla="*/ 6037784 w 7467600"/>
              <a:gd name="connsiteY291" fmla="*/ 4764270 h 6858000"/>
              <a:gd name="connsiteX292" fmla="*/ 6038839 w 7467600"/>
              <a:gd name="connsiteY292" fmla="*/ 4764474 h 6858000"/>
              <a:gd name="connsiteX293" fmla="*/ 6040338 w 7467600"/>
              <a:gd name="connsiteY293" fmla="*/ 4771418 h 6858000"/>
              <a:gd name="connsiteX294" fmla="*/ 6024488 w 7467600"/>
              <a:gd name="connsiteY294" fmla="*/ 4809903 h 6858000"/>
              <a:gd name="connsiteX295" fmla="*/ 5599771 w 7467600"/>
              <a:gd name="connsiteY295" fmla="*/ 5509652 h 6858000"/>
              <a:gd name="connsiteX296" fmla="*/ 5548843 w 7467600"/>
              <a:gd name="connsiteY296" fmla="*/ 5563845 h 6858000"/>
              <a:gd name="connsiteX297" fmla="*/ 5940952 w 7467600"/>
              <a:gd name="connsiteY297" fmla="*/ 6250028 h 6858000"/>
              <a:gd name="connsiteX298" fmla="*/ 6043441 w 7467600"/>
              <a:gd name="connsiteY298" fmla="*/ 6665847 h 6858000"/>
              <a:gd name="connsiteX299" fmla="*/ 6093432 w 7467600"/>
              <a:gd name="connsiteY299" fmla="*/ 6858000 h 6858000"/>
              <a:gd name="connsiteX300" fmla="*/ 6034344 w 7467600"/>
              <a:gd name="connsiteY300" fmla="*/ 6858000 h 6858000"/>
              <a:gd name="connsiteX301" fmla="*/ 6026679 w 7467600"/>
              <a:gd name="connsiteY301" fmla="*/ 6836959 h 6858000"/>
              <a:gd name="connsiteX302" fmla="*/ 5800441 w 7467600"/>
              <a:gd name="connsiteY302" fmla="*/ 6335286 h 6858000"/>
              <a:gd name="connsiteX303" fmla="*/ 5526562 w 7467600"/>
              <a:gd name="connsiteY303" fmla="*/ 5705388 h 6858000"/>
              <a:gd name="connsiteX304" fmla="*/ 5519640 w 7467600"/>
              <a:gd name="connsiteY304" fmla="*/ 5683774 h 6858000"/>
              <a:gd name="connsiteX305" fmla="*/ 5844559 w 7467600"/>
              <a:gd name="connsiteY305" fmla="*/ 6553349 h 6858000"/>
              <a:gd name="connsiteX306" fmla="*/ 5975994 w 7467600"/>
              <a:gd name="connsiteY306" fmla="*/ 6858000 h 6858000"/>
              <a:gd name="connsiteX307" fmla="*/ 5898547 w 7467600"/>
              <a:gd name="connsiteY307" fmla="*/ 6858000 h 6858000"/>
              <a:gd name="connsiteX308" fmla="*/ 5682041 w 7467600"/>
              <a:gd name="connsiteY308" fmla="*/ 6355860 h 6858000"/>
              <a:gd name="connsiteX309" fmla="*/ 5461758 w 7467600"/>
              <a:gd name="connsiteY309" fmla="*/ 5820220 h 6858000"/>
              <a:gd name="connsiteX310" fmla="*/ 5237282 w 7467600"/>
              <a:gd name="connsiteY310" fmla="*/ 6579086 h 6858000"/>
              <a:gd name="connsiteX311" fmla="*/ 5115009 w 7467600"/>
              <a:gd name="connsiteY311" fmla="*/ 6858000 h 6858000"/>
              <a:gd name="connsiteX312" fmla="*/ 5028074 w 7467600"/>
              <a:gd name="connsiteY312" fmla="*/ 6858000 h 6858000"/>
              <a:gd name="connsiteX313" fmla="*/ 5079508 w 7467600"/>
              <a:gd name="connsiteY313" fmla="*/ 6749074 h 6858000"/>
              <a:gd name="connsiteX314" fmla="*/ 5371846 w 7467600"/>
              <a:gd name="connsiteY314" fmla="*/ 5924413 h 6858000"/>
              <a:gd name="connsiteX315" fmla="*/ 5270512 w 7467600"/>
              <a:gd name="connsiteY315" fmla="*/ 6138975 h 6858000"/>
              <a:gd name="connsiteX316" fmla="*/ 5062409 w 7467600"/>
              <a:gd name="connsiteY316" fmla="*/ 6653544 h 6858000"/>
              <a:gd name="connsiteX317" fmla="*/ 5036628 w 7467600"/>
              <a:gd name="connsiteY317" fmla="*/ 6754247 h 6858000"/>
              <a:gd name="connsiteX318" fmla="*/ 5009112 w 7467600"/>
              <a:gd name="connsiteY318" fmla="*/ 6858000 h 6858000"/>
              <a:gd name="connsiteX319" fmla="*/ 4976679 w 7467600"/>
              <a:gd name="connsiteY319" fmla="*/ 6858000 h 6858000"/>
              <a:gd name="connsiteX320" fmla="*/ 5006537 w 7467600"/>
              <a:gd name="connsiteY320" fmla="*/ 6747068 h 6858000"/>
              <a:gd name="connsiteX321" fmla="*/ 5032723 w 7467600"/>
              <a:gd name="connsiteY321" fmla="*/ 6644957 h 6858000"/>
              <a:gd name="connsiteX322" fmla="*/ 5242949 w 7467600"/>
              <a:gd name="connsiteY322" fmla="*/ 6125175 h 6858000"/>
              <a:gd name="connsiteX323" fmla="*/ 5286321 w 7467600"/>
              <a:gd name="connsiteY323" fmla="*/ 6033555 h 6858000"/>
              <a:gd name="connsiteX324" fmla="*/ 5008210 w 7467600"/>
              <a:gd name="connsiteY324" fmla="*/ 6649194 h 6858000"/>
              <a:gd name="connsiteX325" fmla="*/ 4986321 w 7467600"/>
              <a:gd name="connsiteY325" fmla="*/ 6765687 h 6858000"/>
              <a:gd name="connsiteX326" fmla="*/ 4973474 w 7467600"/>
              <a:gd name="connsiteY326" fmla="*/ 6858000 h 6858000"/>
              <a:gd name="connsiteX327" fmla="*/ 4907178 w 7467600"/>
              <a:gd name="connsiteY327" fmla="*/ 6858000 h 6858000"/>
              <a:gd name="connsiteX328" fmla="*/ 4910810 w 7467600"/>
              <a:gd name="connsiteY328" fmla="*/ 6829660 h 6858000"/>
              <a:gd name="connsiteX329" fmla="*/ 4987461 w 7467600"/>
              <a:gd name="connsiteY329" fmla="*/ 6432994 h 6858000"/>
              <a:gd name="connsiteX330" fmla="*/ 5179262 w 7467600"/>
              <a:gd name="connsiteY330" fmla="*/ 6035044 h 6858000"/>
              <a:gd name="connsiteX331" fmla="*/ 4689678 w 7467600"/>
              <a:gd name="connsiteY331" fmla="*/ 6440241 h 6858000"/>
              <a:gd name="connsiteX332" fmla="*/ 4477543 w 7467600"/>
              <a:gd name="connsiteY332" fmla="*/ 6674836 h 6858000"/>
              <a:gd name="connsiteX333" fmla="*/ 4329957 w 7467600"/>
              <a:gd name="connsiteY333" fmla="*/ 6858000 h 6858000"/>
              <a:gd name="connsiteX334" fmla="*/ 4218595 w 7467600"/>
              <a:gd name="connsiteY334" fmla="*/ 6858000 h 6858000"/>
              <a:gd name="connsiteX335" fmla="*/ 4368888 w 7467600"/>
              <a:gd name="connsiteY335" fmla="*/ 6668412 h 6858000"/>
              <a:gd name="connsiteX336" fmla="*/ 4563091 w 7467600"/>
              <a:gd name="connsiteY336" fmla="*/ 6442508 h 6858000"/>
              <a:gd name="connsiteX337" fmla="*/ 5387324 w 7467600"/>
              <a:gd name="connsiteY337" fmla="*/ 5705830 h 6858000"/>
              <a:gd name="connsiteX338" fmla="*/ 5073620 w 7467600"/>
              <a:gd name="connsiteY338" fmla="*/ 5955437 h 6858000"/>
              <a:gd name="connsiteX339" fmla="*/ 4689789 w 7467600"/>
              <a:gd name="connsiteY339" fmla="*/ 6268382 h 6858000"/>
              <a:gd name="connsiteX340" fmla="*/ 4418722 w 7467600"/>
              <a:gd name="connsiteY340" fmla="*/ 6570886 h 6858000"/>
              <a:gd name="connsiteX341" fmla="*/ 4214944 w 7467600"/>
              <a:gd name="connsiteY341" fmla="*/ 6858000 h 6858000"/>
              <a:gd name="connsiteX342" fmla="*/ 4177898 w 7467600"/>
              <a:gd name="connsiteY342" fmla="*/ 6858000 h 6858000"/>
              <a:gd name="connsiteX343" fmla="*/ 4391597 w 7467600"/>
              <a:gd name="connsiteY343" fmla="*/ 6556370 h 6858000"/>
              <a:gd name="connsiteX344" fmla="*/ 4668889 w 7467600"/>
              <a:gd name="connsiteY344" fmla="*/ 6246399 h 6858000"/>
              <a:gd name="connsiteX345" fmla="*/ 5055427 w 7467600"/>
              <a:gd name="connsiteY345" fmla="*/ 5931476 h 6858000"/>
              <a:gd name="connsiteX346" fmla="*/ 5371814 w 7467600"/>
              <a:gd name="connsiteY346" fmla="*/ 5678975 h 6858000"/>
              <a:gd name="connsiteX347" fmla="*/ 4987918 w 7467600"/>
              <a:gd name="connsiteY347" fmla="*/ 5838701 h 6858000"/>
              <a:gd name="connsiteX348" fmla="*/ 4317146 w 7467600"/>
              <a:gd name="connsiteY348" fmla="*/ 6587716 h 6858000"/>
              <a:gd name="connsiteX349" fmla="*/ 4171627 w 7467600"/>
              <a:gd name="connsiteY349" fmla="*/ 6858000 h 6858000"/>
              <a:gd name="connsiteX350" fmla="*/ 4081585 w 7467600"/>
              <a:gd name="connsiteY350" fmla="*/ 6858000 h 6858000"/>
              <a:gd name="connsiteX351" fmla="*/ 4238603 w 7467600"/>
              <a:gd name="connsiteY351" fmla="*/ 6559341 h 6858000"/>
              <a:gd name="connsiteX352" fmla="*/ 4778333 w 7467600"/>
              <a:gd name="connsiteY352" fmla="*/ 5873626 h 6858000"/>
              <a:gd name="connsiteX353" fmla="*/ 5414185 w 7467600"/>
              <a:gd name="connsiteY353" fmla="*/ 5573882 h 6858000"/>
              <a:gd name="connsiteX354" fmla="*/ 5959648 w 7467600"/>
              <a:gd name="connsiteY354" fmla="*/ 4760797 h 6858000"/>
              <a:gd name="connsiteX355" fmla="*/ 5355019 w 7467600"/>
              <a:gd name="connsiteY355" fmla="*/ 4734672 h 6858000"/>
              <a:gd name="connsiteX356" fmla="*/ 5083565 w 7467600"/>
              <a:gd name="connsiteY356" fmla="*/ 5179121 h 6858000"/>
              <a:gd name="connsiteX357" fmla="*/ 4713577 w 7467600"/>
              <a:gd name="connsiteY357" fmla="*/ 5616803 h 6858000"/>
              <a:gd name="connsiteX358" fmla="*/ 3989559 w 7467600"/>
              <a:gd name="connsiteY358" fmla="*/ 6145945 h 6858000"/>
              <a:gd name="connsiteX359" fmla="*/ 3939824 w 7467600"/>
              <a:gd name="connsiteY359" fmla="*/ 6066900 h 6858000"/>
              <a:gd name="connsiteX360" fmla="*/ 4584537 w 7467600"/>
              <a:gd name="connsiteY360" fmla="*/ 5324826 h 6858000"/>
              <a:gd name="connsiteX361" fmla="*/ 5037105 w 7467600"/>
              <a:gd name="connsiteY361" fmla="*/ 5088765 h 6858000"/>
              <a:gd name="connsiteX362" fmla="*/ 5039930 w 7467600"/>
              <a:gd name="connsiteY362" fmla="*/ 5089585 h 6858000"/>
              <a:gd name="connsiteX363" fmla="*/ 5263764 w 7467600"/>
              <a:gd name="connsiteY363" fmla="*/ 4735525 h 6858000"/>
              <a:gd name="connsiteX364" fmla="*/ 4086300 w 7467600"/>
              <a:gd name="connsiteY364" fmla="*/ 4884599 h 6858000"/>
              <a:gd name="connsiteX365" fmla="*/ 4085485 w 7467600"/>
              <a:gd name="connsiteY365" fmla="*/ 4899070 h 6858000"/>
              <a:gd name="connsiteX366" fmla="*/ 3871915 w 7467600"/>
              <a:gd name="connsiteY366" fmla="*/ 5253645 h 6858000"/>
              <a:gd name="connsiteX367" fmla="*/ 3799374 w 7467600"/>
              <a:gd name="connsiteY367" fmla="*/ 5466127 h 6858000"/>
              <a:gd name="connsiteX368" fmla="*/ 3498850 w 7467600"/>
              <a:gd name="connsiteY368" fmla="*/ 6661888 h 6858000"/>
              <a:gd name="connsiteX369" fmla="*/ 3399216 w 7467600"/>
              <a:gd name="connsiteY369" fmla="*/ 6858000 h 6858000"/>
              <a:gd name="connsiteX370" fmla="*/ 3303688 w 7467600"/>
              <a:gd name="connsiteY370" fmla="*/ 6858000 h 6858000"/>
              <a:gd name="connsiteX371" fmla="*/ 3391774 w 7467600"/>
              <a:gd name="connsiteY371" fmla="*/ 6697181 h 6858000"/>
              <a:gd name="connsiteX372" fmla="*/ 3735540 w 7467600"/>
              <a:gd name="connsiteY372" fmla="*/ 5546923 h 6858000"/>
              <a:gd name="connsiteX373" fmla="*/ 3729438 w 7467600"/>
              <a:gd name="connsiteY373" fmla="*/ 5569058 h 6858000"/>
              <a:gd name="connsiteX374" fmla="*/ 3707782 w 7467600"/>
              <a:gd name="connsiteY374" fmla="*/ 5644908 h 6858000"/>
              <a:gd name="connsiteX375" fmla="*/ 3583827 w 7467600"/>
              <a:gd name="connsiteY375" fmla="*/ 6039215 h 6858000"/>
              <a:gd name="connsiteX376" fmla="*/ 3547861 w 7467600"/>
              <a:gd name="connsiteY376" fmla="*/ 6129609 h 6858000"/>
              <a:gd name="connsiteX377" fmla="*/ 3490905 w 7467600"/>
              <a:gd name="connsiteY377" fmla="*/ 6277660 h 6858000"/>
              <a:gd name="connsiteX378" fmla="*/ 3455859 w 7467600"/>
              <a:gd name="connsiteY378" fmla="*/ 6391301 h 6858000"/>
              <a:gd name="connsiteX379" fmla="*/ 3429112 w 7467600"/>
              <a:gd name="connsiteY379" fmla="*/ 6479469 h 6858000"/>
              <a:gd name="connsiteX380" fmla="*/ 3304862 w 7467600"/>
              <a:gd name="connsiteY380" fmla="*/ 6796476 h 6858000"/>
              <a:gd name="connsiteX381" fmla="*/ 3276071 w 7467600"/>
              <a:gd name="connsiteY381" fmla="*/ 6858000 h 6858000"/>
              <a:gd name="connsiteX382" fmla="*/ 3240805 w 7467600"/>
              <a:gd name="connsiteY382" fmla="*/ 6858000 h 6858000"/>
              <a:gd name="connsiteX383" fmla="*/ 3275917 w 7467600"/>
              <a:gd name="connsiteY383" fmla="*/ 6783192 h 6858000"/>
              <a:gd name="connsiteX384" fmla="*/ 3399358 w 7467600"/>
              <a:gd name="connsiteY384" fmla="*/ 6469011 h 6858000"/>
              <a:gd name="connsiteX385" fmla="*/ 3425650 w 7467600"/>
              <a:gd name="connsiteY385" fmla="*/ 6381333 h 6858000"/>
              <a:gd name="connsiteX386" fmla="*/ 3460661 w 7467600"/>
              <a:gd name="connsiteY386" fmla="*/ 6266763 h 6858000"/>
              <a:gd name="connsiteX387" fmla="*/ 3518021 w 7467600"/>
              <a:gd name="connsiteY387" fmla="*/ 6117298 h 6858000"/>
              <a:gd name="connsiteX388" fmla="*/ 3554035 w 7467600"/>
              <a:gd name="connsiteY388" fmla="*/ 6027832 h 6858000"/>
              <a:gd name="connsiteX389" fmla="*/ 3677174 w 7467600"/>
              <a:gd name="connsiteY389" fmla="*/ 5636351 h 6858000"/>
              <a:gd name="connsiteX390" fmla="*/ 3698819 w 7467600"/>
              <a:gd name="connsiteY390" fmla="*/ 5560503 h 6858000"/>
              <a:gd name="connsiteX391" fmla="*/ 3702094 w 7467600"/>
              <a:gd name="connsiteY391" fmla="*/ 5549194 h 6858000"/>
              <a:gd name="connsiteX392" fmla="*/ 3398355 w 7467600"/>
              <a:gd name="connsiteY392" fmla="*/ 6094603 h 6858000"/>
              <a:gd name="connsiteX393" fmla="*/ 3193941 w 7467600"/>
              <a:gd name="connsiteY393" fmla="*/ 6798775 h 6858000"/>
              <a:gd name="connsiteX394" fmla="*/ 3184140 w 7467600"/>
              <a:gd name="connsiteY394" fmla="*/ 6858000 h 6858000"/>
              <a:gd name="connsiteX395" fmla="*/ 3099978 w 7467600"/>
              <a:gd name="connsiteY395" fmla="*/ 6858000 h 6858000"/>
              <a:gd name="connsiteX396" fmla="*/ 3101556 w 7467600"/>
              <a:gd name="connsiteY396" fmla="*/ 6843337 h 6858000"/>
              <a:gd name="connsiteX397" fmla="*/ 3370162 w 7467600"/>
              <a:gd name="connsiteY397" fmla="*/ 5785550 h 6858000"/>
              <a:gd name="connsiteX398" fmla="*/ 3746477 w 7467600"/>
              <a:gd name="connsiteY398" fmla="*/ 5377889 h 6858000"/>
              <a:gd name="connsiteX399" fmla="*/ 3863399 w 7467600"/>
              <a:gd name="connsiteY399" fmla="*/ 5087257 h 6858000"/>
              <a:gd name="connsiteX400" fmla="*/ 3968712 w 7467600"/>
              <a:gd name="connsiteY400" fmla="*/ 4913989 h 6858000"/>
              <a:gd name="connsiteX401" fmla="*/ 2792390 w 7467600"/>
              <a:gd name="connsiteY401" fmla="*/ 5382974 h 6858000"/>
              <a:gd name="connsiteX402" fmla="*/ 2714982 w 7467600"/>
              <a:gd name="connsiteY402" fmla="*/ 5427051 h 6858000"/>
              <a:gd name="connsiteX403" fmla="*/ 2813361 w 7467600"/>
              <a:gd name="connsiteY403" fmla="*/ 6023912 h 6858000"/>
              <a:gd name="connsiteX404" fmla="*/ 2688430 w 7467600"/>
              <a:gd name="connsiteY404" fmla="*/ 6801564 h 6858000"/>
              <a:gd name="connsiteX405" fmla="*/ 2629626 w 7467600"/>
              <a:gd name="connsiteY405" fmla="*/ 6763394 h 6858000"/>
              <a:gd name="connsiteX406" fmla="*/ 2565328 w 7467600"/>
              <a:gd name="connsiteY406" fmla="*/ 5516399 h 6858000"/>
              <a:gd name="connsiteX407" fmla="*/ 1922999 w 7467600"/>
              <a:gd name="connsiteY407" fmla="*/ 5980343 h 6858000"/>
              <a:gd name="connsiteX408" fmla="*/ 1950261 w 7467600"/>
              <a:gd name="connsiteY408" fmla="*/ 6405858 h 6858000"/>
              <a:gd name="connsiteX409" fmla="*/ 2365554 w 7467600"/>
              <a:gd name="connsiteY409" fmla="*/ 6759107 h 6858000"/>
              <a:gd name="connsiteX410" fmla="*/ 2424142 w 7467600"/>
              <a:gd name="connsiteY410" fmla="*/ 6858000 h 6858000"/>
              <a:gd name="connsiteX411" fmla="*/ 2395994 w 7467600"/>
              <a:gd name="connsiteY411" fmla="*/ 6858000 h 6858000"/>
              <a:gd name="connsiteX412" fmla="*/ 2392863 w 7467600"/>
              <a:gd name="connsiteY412" fmla="*/ 6852964 h 6858000"/>
              <a:gd name="connsiteX413" fmla="*/ 2017589 w 7467600"/>
              <a:gd name="connsiteY413" fmla="*/ 6493982 h 6858000"/>
              <a:gd name="connsiteX414" fmla="*/ 2147336 w 7467600"/>
              <a:gd name="connsiteY414" fmla="*/ 6594052 h 6858000"/>
              <a:gd name="connsiteX415" fmla="*/ 2207047 w 7467600"/>
              <a:gd name="connsiteY415" fmla="*/ 6654540 h 6858000"/>
              <a:gd name="connsiteX416" fmla="*/ 2299106 w 7467600"/>
              <a:gd name="connsiteY416" fmla="*/ 6778931 h 6858000"/>
              <a:gd name="connsiteX417" fmla="*/ 2314430 w 7467600"/>
              <a:gd name="connsiteY417" fmla="*/ 6801144 h 6858000"/>
              <a:gd name="connsiteX418" fmla="*/ 2352406 w 7467600"/>
              <a:gd name="connsiteY418" fmla="*/ 6858000 h 6858000"/>
              <a:gd name="connsiteX419" fmla="*/ 2314492 w 7467600"/>
              <a:gd name="connsiteY419" fmla="*/ 6858000 h 6858000"/>
              <a:gd name="connsiteX420" fmla="*/ 2288095 w 7467600"/>
              <a:gd name="connsiteY420" fmla="*/ 6818030 h 6858000"/>
              <a:gd name="connsiteX421" fmla="*/ 2272768 w 7467600"/>
              <a:gd name="connsiteY421" fmla="*/ 6795822 h 6858000"/>
              <a:gd name="connsiteX422" fmla="*/ 2182715 w 7467600"/>
              <a:gd name="connsiteY422" fmla="*/ 6675071 h 6858000"/>
              <a:gd name="connsiteX423" fmla="*/ 2032061 w 7467600"/>
              <a:gd name="connsiteY423" fmla="*/ 6541380 h 6858000"/>
              <a:gd name="connsiteX424" fmla="*/ 2257220 w 7467600"/>
              <a:gd name="connsiteY424" fmla="*/ 6826257 h 6858000"/>
              <a:gd name="connsiteX425" fmla="*/ 2281324 w 7467600"/>
              <a:gd name="connsiteY425" fmla="*/ 6858000 h 6858000"/>
              <a:gd name="connsiteX426" fmla="*/ 2242860 w 7467600"/>
              <a:gd name="connsiteY426" fmla="*/ 6858000 h 6858000"/>
              <a:gd name="connsiteX427" fmla="*/ 2232818 w 7467600"/>
              <a:gd name="connsiteY427" fmla="*/ 6844926 h 6858000"/>
              <a:gd name="connsiteX428" fmla="*/ 1990172 w 7467600"/>
              <a:gd name="connsiteY428" fmla="*/ 6542121 h 6858000"/>
              <a:gd name="connsiteX429" fmla="*/ 2124090 w 7467600"/>
              <a:gd name="connsiteY429" fmla="*/ 6761017 h 6858000"/>
              <a:gd name="connsiteX430" fmla="*/ 2200380 w 7467600"/>
              <a:gd name="connsiteY430" fmla="*/ 6858000 h 6858000"/>
              <a:gd name="connsiteX431" fmla="*/ 2147507 w 7467600"/>
              <a:gd name="connsiteY431" fmla="*/ 6858000 h 6858000"/>
              <a:gd name="connsiteX432" fmla="*/ 2070668 w 7467600"/>
              <a:gd name="connsiteY432" fmla="*/ 6761520 h 6858000"/>
              <a:gd name="connsiteX433" fmla="*/ 1975142 w 7467600"/>
              <a:gd name="connsiteY433" fmla="*/ 6585570 h 6858000"/>
              <a:gd name="connsiteX434" fmla="*/ 2050035 w 7467600"/>
              <a:gd name="connsiteY434" fmla="*/ 6813345 h 6858000"/>
              <a:gd name="connsiteX435" fmla="*/ 2063025 w 7467600"/>
              <a:gd name="connsiteY435" fmla="*/ 6858000 h 6858000"/>
              <a:gd name="connsiteX436" fmla="*/ 2021675 w 7467600"/>
              <a:gd name="connsiteY436" fmla="*/ 6858000 h 6858000"/>
              <a:gd name="connsiteX437" fmla="*/ 2019308 w 7467600"/>
              <a:gd name="connsiteY437" fmla="*/ 6847118 h 6858000"/>
              <a:gd name="connsiteX438" fmla="*/ 1938835 w 7467600"/>
              <a:gd name="connsiteY438" fmla="*/ 6551160 h 6858000"/>
              <a:gd name="connsiteX439" fmla="*/ 1953230 w 7467600"/>
              <a:gd name="connsiteY439" fmla="*/ 6759699 h 6858000"/>
              <a:gd name="connsiteX440" fmla="*/ 1956763 w 7467600"/>
              <a:gd name="connsiteY440" fmla="*/ 6778191 h 6858000"/>
              <a:gd name="connsiteX441" fmla="*/ 1967925 w 7467600"/>
              <a:gd name="connsiteY441" fmla="*/ 6858000 h 6858000"/>
              <a:gd name="connsiteX442" fmla="*/ 1936622 w 7467600"/>
              <a:gd name="connsiteY442" fmla="*/ 6858000 h 6858000"/>
              <a:gd name="connsiteX443" fmla="*/ 1926261 w 7467600"/>
              <a:gd name="connsiteY443" fmla="*/ 6784064 h 6858000"/>
              <a:gd name="connsiteX444" fmla="*/ 1922724 w 7467600"/>
              <a:gd name="connsiteY444" fmla="*/ 6765577 h 6858000"/>
              <a:gd name="connsiteX445" fmla="*/ 1904650 w 7467600"/>
              <a:gd name="connsiteY445" fmla="*/ 6639616 h 6858000"/>
              <a:gd name="connsiteX446" fmla="*/ 1885273 w 7467600"/>
              <a:gd name="connsiteY446" fmla="*/ 6858000 h 6858000"/>
              <a:gd name="connsiteX447" fmla="*/ 1854363 w 7467600"/>
              <a:gd name="connsiteY447" fmla="*/ 6858000 h 6858000"/>
              <a:gd name="connsiteX448" fmla="*/ 1880391 w 7467600"/>
              <a:gd name="connsiteY448" fmla="*/ 6603796 h 6858000"/>
              <a:gd name="connsiteX449" fmla="*/ 1818273 w 7467600"/>
              <a:gd name="connsiteY449" fmla="*/ 6715729 h 6858000"/>
              <a:gd name="connsiteX450" fmla="*/ 1794691 w 7467600"/>
              <a:gd name="connsiteY450" fmla="*/ 6843239 h 6858000"/>
              <a:gd name="connsiteX451" fmla="*/ 1794914 w 7467600"/>
              <a:gd name="connsiteY451" fmla="*/ 6858000 h 6858000"/>
              <a:gd name="connsiteX452" fmla="*/ 1746128 w 7467600"/>
              <a:gd name="connsiteY452" fmla="*/ 6858000 h 6858000"/>
              <a:gd name="connsiteX453" fmla="*/ 1753934 w 7467600"/>
              <a:gd name="connsiteY453" fmla="*/ 6724796 h 6858000"/>
              <a:gd name="connsiteX454" fmla="*/ 1792053 w 7467600"/>
              <a:gd name="connsiteY454" fmla="*/ 6572396 h 6858000"/>
              <a:gd name="connsiteX455" fmla="*/ 1862248 w 7467600"/>
              <a:gd name="connsiteY455" fmla="*/ 6266397 h 6858000"/>
              <a:gd name="connsiteX456" fmla="*/ 1862250 w 7467600"/>
              <a:gd name="connsiteY456" fmla="*/ 6033531 h 6858000"/>
              <a:gd name="connsiteX457" fmla="*/ 1211999 w 7467600"/>
              <a:gd name="connsiteY457" fmla="*/ 6683610 h 6858000"/>
              <a:gd name="connsiteX458" fmla="*/ 1213266 w 7467600"/>
              <a:gd name="connsiteY458" fmla="*/ 6691947 h 6858000"/>
              <a:gd name="connsiteX459" fmla="*/ 1203370 w 7467600"/>
              <a:gd name="connsiteY459" fmla="*/ 6850676 h 6858000"/>
              <a:gd name="connsiteX460" fmla="*/ 1203671 w 7467600"/>
              <a:gd name="connsiteY460" fmla="*/ 6858000 h 6858000"/>
              <a:gd name="connsiteX461" fmla="*/ 1143180 w 7467600"/>
              <a:gd name="connsiteY461" fmla="*/ 6858000 h 6858000"/>
              <a:gd name="connsiteX462" fmla="*/ 1142176 w 7467600"/>
              <a:gd name="connsiteY462" fmla="*/ 6766045 h 6858000"/>
              <a:gd name="connsiteX463" fmla="*/ 1067484 w 7467600"/>
              <a:gd name="connsiteY463" fmla="*/ 6858000 h 6858000"/>
              <a:gd name="connsiteX464" fmla="*/ 953928 w 7467600"/>
              <a:gd name="connsiteY464" fmla="*/ 6858000 h 6858000"/>
              <a:gd name="connsiteX465" fmla="*/ 959715 w 7467600"/>
              <a:gd name="connsiteY465" fmla="*/ 6850185 h 6858000"/>
              <a:gd name="connsiteX466" fmla="*/ 1483788 w 7467600"/>
              <a:gd name="connsiteY466" fmla="*/ 6259174 h 6858000"/>
              <a:gd name="connsiteX467" fmla="*/ 1100671 w 7467600"/>
              <a:gd name="connsiteY467" fmla="*/ 6252137 h 6858000"/>
              <a:gd name="connsiteX468" fmla="*/ 1090144 w 7467600"/>
              <a:gd name="connsiteY468" fmla="*/ 6256748 h 6858000"/>
              <a:gd name="connsiteX469" fmla="*/ 1095872 w 7467600"/>
              <a:gd name="connsiteY469" fmla="*/ 6271892 h 6858000"/>
              <a:gd name="connsiteX470" fmla="*/ 262785 w 7467600"/>
              <a:gd name="connsiteY470" fmla="*/ 6845450 h 6858000"/>
              <a:gd name="connsiteX471" fmla="*/ 209968 w 7467600"/>
              <a:gd name="connsiteY471" fmla="*/ 6770713 h 6858000"/>
              <a:gd name="connsiteX472" fmla="*/ 873460 w 7467600"/>
              <a:gd name="connsiteY472" fmla="*/ 6253768 h 6858000"/>
              <a:gd name="connsiteX473" fmla="*/ 192686 w 7467600"/>
              <a:gd name="connsiteY473" fmla="*/ 5849257 h 6858000"/>
              <a:gd name="connsiteX474" fmla="*/ 4696 w 7467600"/>
              <a:gd name="connsiteY474" fmla="*/ 5697668 h 6858000"/>
              <a:gd name="connsiteX475" fmla="*/ 0 w 7467600"/>
              <a:gd name="connsiteY475" fmla="*/ 5689984 h 6858000"/>
              <a:gd name="connsiteX476" fmla="*/ 0 w 7467600"/>
              <a:gd name="connsiteY476" fmla="*/ 5513472 h 6858000"/>
              <a:gd name="connsiteX477" fmla="*/ 174101 w 7467600"/>
              <a:gd name="connsiteY477" fmla="*/ 5620277 h 6858000"/>
              <a:gd name="connsiteX478" fmla="*/ 891800 w 7467600"/>
              <a:gd name="connsiteY478" fmla="*/ 6036935 h 6858000"/>
              <a:gd name="connsiteX479" fmla="*/ 1072219 w 7467600"/>
              <a:gd name="connsiteY479" fmla="*/ 6169443 h 6858000"/>
              <a:gd name="connsiteX480" fmla="*/ 1074117 w 7467600"/>
              <a:gd name="connsiteY480" fmla="*/ 6170301 h 6858000"/>
              <a:gd name="connsiteX481" fmla="*/ 1083114 w 7467600"/>
              <a:gd name="connsiteY481" fmla="*/ 6174131 h 6858000"/>
              <a:gd name="connsiteX482" fmla="*/ 1543010 w 7467600"/>
              <a:gd name="connsiteY482" fmla="*/ 6191140 h 6858000"/>
              <a:gd name="connsiteX483" fmla="*/ 1551080 w 7467600"/>
              <a:gd name="connsiteY483" fmla="*/ 6195006 h 6858000"/>
              <a:gd name="connsiteX484" fmla="*/ 2345443 w 7467600"/>
              <a:gd name="connsiteY484" fmla="*/ 5549882 h 6858000"/>
              <a:gd name="connsiteX485" fmla="*/ 1721499 w 7467600"/>
              <a:gd name="connsiteY485" fmla="*/ 5599969 h 6858000"/>
              <a:gd name="connsiteX486" fmla="*/ 767716 w 7467600"/>
              <a:gd name="connsiteY486" fmla="*/ 5472768 h 6858000"/>
              <a:gd name="connsiteX487" fmla="*/ 722147 w 7467600"/>
              <a:gd name="connsiteY487" fmla="*/ 5393091 h 6858000"/>
              <a:gd name="connsiteX488" fmla="*/ 1485552 w 7467600"/>
              <a:gd name="connsiteY488" fmla="*/ 5313202 h 6858000"/>
              <a:gd name="connsiteX489" fmla="*/ 2143004 w 7467600"/>
              <a:gd name="connsiteY489" fmla="*/ 5402420 h 6858000"/>
              <a:gd name="connsiteX490" fmla="*/ 1933391 w 7467600"/>
              <a:gd name="connsiteY490" fmla="*/ 5156971 h 6858000"/>
              <a:gd name="connsiteX491" fmla="*/ 1827118 w 7467600"/>
              <a:gd name="connsiteY491" fmla="*/ 4968410 h 6858000"/>
              <a:gd name="connsiteX492" fmla="*/ 1837349 w 7467600"/>
              <a:gd name="connsiteY492" fmla="*/ 4956357 h 6858000"/>
              <a:gd name="connsiteX493" fmla="*/ 2162835 w 7467600"/>
              <a:gd name="connsiteY493" fmla="*/ 5187853 h 6858000"/>
              <a:gd name="connsiteX494" fmla="*/ 2257167 w 7467600"/>
              <a:gd name="connsiteY494" fmla="*/ 5462123 h 6858000"/>
              <a:gd name="connsiteX495" fmla="*/ 2261598 w 7467600"/>
              <a:gd name="connsiteY495" fmla="*/ 5467998 h 6858000"/>
              <a:gd name="connsiteX496" fmla="*/ 2437177 w 7467600"/>
              <a:gd name="connsiteY496" fmla="*/ 5479608 h 6858000"/>
              <a:gd name="connsiteX497" fmla="*/ 2445247 w 7467600"/>
              <a:gd name="connsiteY497" fmla="*/ 5483476 h 6858000"/>
              <a:gd name="connsiteX498" fmla="*/ 2743626 w 7467600"/>
              <a:gd name="connsiteY498" fmla="*/ 5304819 h 6858000"/>
              <a:gd name="connsiteX499" fmla="*/ 3048102 w 7467600"/>
              <a:gd name="connsiteY499" fmla="*/ 5150595 h 6858000"/>
              <a:gd name="connsiteX500" fmla="*/ 1799414 w 7467600"/>
              <a:gd name="connsiteY500" fmla="*/ 4694732 h 6858000"/>
              <a:gd name="connsiteX501" fmla="*/ 1771735 w 7467600"/>
              <a:gd name="connsiteY501" fmla="*/ 4619929 h 6858000"/>
              <a:gd name="connsiteX502" fmla="*/ 3104273 w 7467600"/>
              <a:gd name="connsiteY502" fmla="*/ 5076159 h 6858000"/>
              <a:gd name="connsiteX503" fmla="*/ 3113245 w 7467600"/>
              <a:gd name="connsiteY503" fmla="*/ 5090705 h 6858000"/>
              <a:gd name="connsiteX504" fmla="*/ 3126294 w 7467600"/>
              <a:gd name="connsiteY504" fmla="*/ 5114400 h 6858000"/>
              <a:gd name="connsiteX505" fmla="*/ 3937433 w 7467600"/>
              <a:gd name="connsiteY505" fmla="*/ 4830473 h 6858000"/>
              <a:gd name="connsiteX506" fmla="*/ 3590475 w 7467600"/>
              <a:gd name="connsiteY506" fmla="*/ 4597974 h 6858000"/>
              <a:gd name="connsiteX507" fmla="*/ 3100264 w 7467600"/>
              <a:gd name="connsiteY507" fmla="*/ 4579845 h 6858000"/>
              <a:gd name="connsiteX508" fmla="*/ 2183576 w 7467600"/>
              <a:gd name="connsiteY508" fmla="*/ 4227150 h 6858000"/>
              <a:gd name="connsiteX509" fmla="*/ 2151029 w 7467600"/>
              <a:gd name="connsiteY509" fmla="*/ 4146947 h 6858000"/>
              <a:gd name="connsiteX510" fmla="*/ 3563434 w 7467600"/>
              <a:gd name="connsiteY510" fmla="*/ 4469115 h 6858000"/>
              <a:gd name="connsiteX511" fmla="*/ 3177952 w 7467600"/>
              <a:gd name="connsiteY511" fmla="*/ 3657386 h 6858000"/>
              <a:gd name="connsiteX512" fmla="*/ 3189263 w 7467600"/>
              <a:gd name="connsiteY512" fmla="*/ 3625726 h 6858000"/>
              <a:gd name="connsiteX513" fmla="*/ 3560912 w 7467600"/>
              <a:gd name="connsiteY513" fmla="*/ 4079863 h 6858000"/>
              <a:gd name="connsiteX514" fmla="*/ 3626636 w 7467600"/>
              <a:gd name="connsiteY514" fmla="*/ 4512230 h 6858000"/>
              <a:gd name="connsiteX515" fmla="*/ 3653088 w 7467600"/>
              <a:gd name="connsiteY515" fmla="*/ 4521417 h 6858000"/>
              <a:gd name="connsiteX516" fmla="*/ 3988128 w 7467600"/>
              <a:gd name="connsiteY516" fmla="*/ 4817267 h 6858000"/>
              <a:gd name="connsiteX517" fmla="*/ 4830582 w 7467600"/>
              <a:gd name="connsiteY517" fmla="*/ 4676000 h 6858000"/>
              <a:gd name="connsiteX518" fmla="*/ 4830100 w 7467600"/>
              <a:gd name="connsiteY518" fmla="*/ 4675554 h 6858000"/>
              <a:gd name="connsiteX519" fmla="*/ 4036318 w 7467600"/>
              <a:gd name="connsiteY519" fmla="*/ 4147013 h 6858000"/>
              <a:gd name="connsiteX520" fmla="*/ 3432098 w 7467600"/>
              <a:gd name="connsiteY520" fmla="*/ 3537312 h 6858000"/>
              <a:gd name="connsiteX521" fmla="*/ 3446761 w 7467600"/>
              <a:gd name="connsiteY521" fmla="*/ 3461278 h 6858000"/>
              <a:gd name="connsiteX522" fmla="*/ 4419733 w 7467600"/>
              <a:gd name="connsiteY522" fmla="*/ 3963555 h 6858000"/>
              <a:gd name="connsiteX523" fmla="*/ 4781371 w 7467600"/>
              <a:gd name="connsiteY523" fmla="*/ 4458604 h 6858000"/>
              <a:gd name="connsiteX524" fmla="*/ 4780440 w 7467600"/>
              <a:gd name="connsiteY524" fmla="*/ 4470290 h 6858000"/>
              <a:gd name="connsiteX525" fmla="*/ 4898954 w 7467600"/>
              <a:gd name="connsiteY525" fmla="*/ 4662092 h 6858000"/>
              <a:gd name="connsiteX526" fmla="*/ 4900699 w 7467600"/>
              <a:gd name="connsiteY526" fmla="*/ 4670867 h 6858000"/>
              <a:gd name="connsiteX527" fmla="*/ 5714511 w 7467600"/>
              <a:gd name="connsiteY527" fmla="*/ 4663483 h 6858000"/>
              <a:gd name="connsiteX528" fmla="*/ 5464793 w 7467600"/>
              <a:gd name="connsiteY528" fmla="*/ 4393556 h 6858000"/>
              <a:gd name="connsiteX529" fmla="*/ 5461897 w 7467600"/>
              <a:gd name="connsiteY529" fmla="*/ 4390879 h 6858000"/>
              <a:gd name="connsiteX530" fmla="*/ 4294126 w 7467600"/>
              <a:gd name="connsiteY530" fmla="*/ 3303048 h 6858000"/>
              <a:gd name="connsiteX531" fmla="*/ 4305321 w 7467600"/>
              <a:gd name="connsiteY531" fmla="*/ 3256953 h 6858000"/>
              <a:gd name="connsiteX532" fmla="*/ 4949299 w 7467600"/>
              <a:gd name="connsiteY532" fmla="*/ 3766336 h 6858000"/>
              <a:gd name="connsiteX533" fmla="*/ 5291452 w 7467600"/>
              <a:gd name="connsiteY533" fmla="*/ 4076801 h 6858000"/>
              <a:gd name="connsiteX534" fmla="*/ 5434998 w 7467600"/>
              <a:gd name="connsiteY534" fmla="*/ 4254100 h 6858000"/>
              <a:gd name="connsiteX535" fmla="*/ 5351015 w 7467600"/>
              <a:gd name="connsiteY535" fmla="*/ 3760989 h 6858000"/>
              <a:gd name="connsiteX536" fmla="*/ 5413780 w 7467600"/>
              <a:gd name="connsiteY536" fmla="*/ 2966265 h 6858000"/>
              <a:gd name="connsiteX537" fmla="*/ 5425627 w 7467600"/>
              <a:gd name="connsiteY537" fmla="*/ 2954192 h 6858000"/>
              <a:gd name="connsiteX538" fmla="*/ 6604735 w 7467600"/>
              <a:gd name="connsiteY538" fmla="*/ 2041381 h 6858000"/>
              <a:gd name="connsiteX539" fmla="*/ 7204487 w 7467600"/>
              <a:gd name="connsiteY539" fmla="*/ 2742112 h 6858000"/>
              <a:gd name="connsiteX540" fmla="*/ 7131592 w 7467600"/>
              <a:gd name="connsiteY540" fmla="*/ 2672096 h 6858000"/>
              <a:gd name="connsiteX541" fmla="*/ 6996344 w 7467600"/>
              <a:gd name="connsiteY541" fmla="*/ 2518310 h 6858000"/>
              <a:gd name="connsiteX542" fmla="*/ 6735495 w 7467600"/>
              <a:gd name="connsiteY542" fmla="*/ 2196890 h 6858000"/>
              <a:gd name="connsiteX543" fmla="*/ 6721901 w 7467600"/>
              <a:gd name="connsiteY543" fmla="*/ 2179274 h 6858000"/>
              <a:gd name="connsiteX544" fmla="*/ 6604735 w 7467600"/>
              <a:gd name="connsiteY544" fmla="*/ 2041381 h 6858000"/>
              <a:gd name="connsiteX545" fmla="*/ 6591670 w 7467600"/>
              <a:gd name="connsiteY545" fmla="*/ 1988277 h 6858000"/>
              <a:gd name="connsiteX546" fmla="*/ 6747349 w 7467600"/>
              <a:gd name="connsiteY546" fmla="*/ 2160069 h 6858000"/>
              <a:gd name="connsiteX547" fmla="*/ 6760943 w 7467600"/>
              <a:gd name="connsiteY547" fmla="*/ 2177686 h 6858000"/>
              <a:gd name="connsiteX548" fmla="*/ 7021065 w 7467600"/>
              <a:gd name="connsiteY548" fmla="*/ 2498102 h 6858000"/>
              <a:gd name="connsiteX549" fmla="*/ 7155223 w 7467600"/>
              <a:gd name="connsiteY549" fmla="*/ 2650386 h 6858000"/>
              <a:gd name="connsiteX550" fmla="*/ 7203167 w 7467600"/>
              <a:gd name="connsiteY550" fmla="*/ 2697288 h 6858000"/>
              <a:gd name="connsiteX551" fmla="*/ 6937703 w 7467600"/>
              <a:gd name="connsiteY551" fmla="*/ 2321981 h 6858000"/>
              <a:gd name="connsiteX552" fmla="*/ 6591670 w 7467600"/>
              <a:gd name="connsiteY552" fmla="*/ 1988277 h 6858000"/>
              <a:gd name="connsiteX553" fmla="*/ 5798671 w 7467600"/>
              <a:gd name="connsiteY553" fmla="*/ 1981601 h 6858000"/>
              <a:gd name="connsiteX554" fmla="*/ 5754709 w 7467600"/>
              <a:gd name="connsiteY554" fmla="*/ 2071454 h 6858000"/>
              <a:gd name="connsiteX555" fmla="*/ 5763044 w 7467600"/>
              <a:gd name="connsiteY555" fmla="*/ 2842206 h 6858000"/>
              <a:gd name="connsiteX556" fmla="*/ 5764974 w 7467600"/>
              <a:gd name="connsiteY556" fmla="*/ 2799609 h 6858000"/>
              <a:gd name="connsiteX557" fmla="*/ 5767665 w 7467600"/>
              <a:gd name="connsiteY557" fmla="*/ 2666409 h 6858000"/>
              <a:gd name="connsiteX558" fmla="*/ 5763055 w 7467600"/>
              <a:gd name="connsiteY558" fmla="*/ 2579705 h 6858000"/>
              <a:gd name="connsiteX559" fmla="*/ 5758079 w 7467600"/>
              <a:gd name="connsiteY559" fmla="*/ 2492508 h 6858000"/>
              <a:gd name="connsiteX560" fmla="*/ 5779325 w 7467600"/>
              <a:gd name="connsiteY560" fmla="*/ 2197069 h 6858000"/>
              <a:gd name="connsiteX561" fmla="*/ 5798671 w 7467600"/>
              <a:gd name="connsiteY561" fmla="*/ 1981601 h 6858000"/>
              <a:gd name="connsiteX562" fmla="*/ 5829202 w 7467600"/>
              <a:gd name="connsiteY562" fmla="*/ 1971679 h 6858000"/>
              <a:gd name="connsiteX563" fmla="*/ 5809558 w 7467600"/>
              <a:gd name="connsiteY563" fmla="*/ 2198043 h 6858000"/>
              <a:gd name="connsiteX564" fmla="*/ 5788653 w 7467600"/>
              <a:gd name="connsiteY564" fmla="*/ 2489430 h 6858000"/>
              <a:gd name="connsiteX565" fmla="*/ 5793439 w 7467600"/>
              <a:gd name="connsiteY565" fmla="*/ 2575235 h 6858000"/>
              <a:gd name="connsiteX566" fmla="*/ 5796837 w 7467600"/>
              <a:gd name="connsiteY566" fmla="*/ 2637633 h 6858000"/>
              <a:gd name="connsiteX567" fmla="*/ 5818614 w 7467600"/>
              <a:gd name="connsiteY567" fmla="*/ 2473055 h 6858000"/>
              <a:gd name="connsiteX568" fmla="*/ 5829202 w 7467600"/>
              <a:gd name="connsiteY568" fmla="*/ 1971679 h 6858000"/>
              <a:gd name="connsiteX569" fmla="*/ 5911389 w 7467600"/>
              <a:gd name="connsiteY569" fmla="*/ 1898371 h 6858000"/>
              <a:gd name="connsiteX570" fmla="*/ 6237627 w 7467600"/>
              <a:gd name="connsiteY570" fmla="*/ 2231921 h 6858000"/>
              <a:gd name="connsiteX571" fmla="*/ 5911389 w 7467600"/>
              <a:gd name="connsiteY571" fmla="*/ 1898371 h 6858000"/>
              <a:gd name="connsiteX572" fmla="*/ 6944437 w 7467600"/>
              <a:gd name="connsiteY572" fmla="*/ 1575402 h 6858000"/>
              <a:gd name="connsiteX573" fmla="*/ 6304730 w 7467600"/>
              <a:gd name="connsiteY573" fmla="*/ 1766654 h 6858000"/>
              <a:gd name="connsiteX574" fmla="*/ 6944437 w 7467600"/>
              <a:gd name="connsiteY574" fmla="*/ 1575402 h 6858000"/>
              <a:gd name="connsiteX575" fmla="*/ 7019523 w 7467600"/>
              <a:gd name="connsiteY575" fmla="*/ 1519450 h 6858000"/>
              <a:gd name="connsiteX576" fmla="*/ 6298091 w 7467600"/>
              <a:gd name="connsiteY576" fmla="*/ 1737122 h 6858000"/>
              <a:gd name="connsiteX577" fmla="*/ 7019523 w 7467600"/>
              <a:gd name="connsiteY577" fmla="*/ 1519450 h 6858000"/>
              <a:gd name="connsiteX578" fmla="*/ 2399523 w 7467600"/>
              <a:gd name="connsiteY578" fmla="*/ 1428234 h 6858000"/>
              <a:gd name="connsiteX579" fmla="*/ 2224982 w 7467600"/>
              <a:gd name="connsiteY579" fmla="*/ 1826201 h 6858000"/>
              <a:gd name="connsiteX580" fmla="*/ 2096099 w 7467600"/>
              <a:gd name="connsiteY580" fmla="*/ 2345900 h 6858000"/>
              <a:gd name="connsiteX581" fmla="*/ 2283317 w 7467600"/>
              <a:gd name="connsiteY581" fmla="*/ 1796925 h 6858000"/>
              <a:gd name="connsiteX582" fmla="*/ 2399523 w 7467600"/>
              <a:gd name="connsiteY582" fmla="*/ 1428234 h 6858000"/>
              <a:gd name="connsiteX583" fmla="*/ 2448558 w 7467600"/>
              <a:gd name="connsiteY583" fmla="*/ 1373435 h 6858000"/>
              <a:gd name="connsiteX584" fmla="*/ 2312521 w 7467600"/>
              <a:gd name="connsiteY584" fmla="*/ 1806140 h 6858000"/>
              <a:gd name="connsiteX585" fmla="*/ 2127533 w 7467600"/>
              <a:gd name="connsiteY585" fmla="*/ 2348380 h 6858000"/>
              <a:gd name="connsiteX586" fmla="*/ 2358080 w 7467600"/>
              <a:gd name="connsiteY586" fmla="*/ 1866134 h 6858000"/>
              <a:gd name="connsiteX587" fmla="*/ 2407436 w 7467600"/>
              <a:gd name="connsiteY587" fmla="*/ 1651070 h 6858000"/>
              <a:gd name="connsiteX588" fmla="*/ 2448558 w 7467600"/>
              <a:gd name="connsiteY588" fmla="*/ 1373435 h 6858000"/>
              <a:gd name="connsiteX589" fmla="*/ 278707 w 7467600"/>
              <a:gd name="connsiteY589" fmla="*/ 1352270 h 6858000"/>
              <a:gd name="connsiteX590" fmla="*/ 321570 w 7467600"/>
              <a:gd name="connsiteY590" fmla="*/ 1861610 h 6858000"/>
              <a:gd name="connsiteX591" fmla="*/ 294281 w 7467600"/>
              <a:gd name="connsiteY591" fmla="*/ 1440658 h 6858000"/>
              <a:gd name="connsiteX592" fmla="*/ 278707 w 7467600"/>
              <a:gd name="connsiteY592" fmla="*/ 1352270 h 6858000"/>
              <a:gd name="connsiteX593" fmla="*/ 1423821 w 7467600"/>
              <a:gd name="connsiteY593" fmla="*/ 1351958 h 6858000"/>
              <a:gd name="connsiteX594" fmla="*/ 1638521 w 7467600"/>
              <a:gd name="connsiteY594" fmla="*/ 1908470 h 6858000"/>
              <a:gd name="connsiteX595" fmla="*/ 1754199 w 7467600"/>
              <a:gd name="connsiteY595" fmla="*/ 2149284 h 6858000"/>
              <a:gd name="connsiteX596" fmla="*/ 1908359 w 7467600"/>
              <a:gd name="connsiteY596" fmla="*/ 2364988 h 6858000"/>
              <a:gd name="connsiteX597" fmla="*/ 1647661 w 7467600"/>
              <a:gd name="connsiteY597" fmla="*/ 1825945 h 6858000"/>
              <a:gd name="connsiteX598" fmla="*/ 1423821 w 7467600"/>
              <a:gd name="connsiteY598" fmla="*/ 1351958 h 6858000"/>
              <a:gd name="connsiteX599" fmla="*/ 1431890 w 7467600"/>
              <a:gd name="connsiteY599" fmla="*/ 1306475 h 6858000"/>
              <a:gd name="connsiteX600" fmla="*/ 1507597 w 7467600"/>
              <a:gd name="connsiteY600" fmla="*/ 1446132 h 6858000"/>
              <a:gd name="connsiteX601" fmla="*/ 1674586 w 7467600"/>
              <a:gd name="connsiteY601" fmla="*/ 1813832 h 6858000"/>
              <a:gd name="connsiteX602" fmla="*/ 1815950 w 7467600"/>
              <a:gd name="connsiteY602" fmla="*/ 2128564 h 6858000"/>
              <a:gd name="connsiteX603" fmla="*/ 1984242 w 7467600"/>
              <a:gd name="connsiteY603" fmla="*/ 2430829 h 6858000"/>
              <a:gd name="connsiteX604" fmla="*/ 2014023 w 7467600"/>
              <a:gd name="connsiteY604" fmla="*/ 2450995 h 6858000"/>
              <a:gd name="connsiteX605" fmla="*/ 1747337 w 7467600"/>
              <a:gd name="connsiteY605" fmla="*/ 1855264 h 6858000"/>
              <a:gd name="connsiteX606" fmla="*/ 1533749 w 7467600"/>
              <a:gd name="connsiteY606" fmla="*/ 1478656 h 6858000"/>
              <a:gd name="connsiteX607" fmla="*/ 1431890 w 7467600"/>
              <a:gd name="connsiteY607" fmla="*/ 1306475 h 6858000"/>
              <a:gd name="connsiteX608" fmla="*/ 5052692 w 7467600"/>
              <a:gd name="connsiteY608" fmla="*/ 1292994 h 6858000"/>
              <a:gd name="connsiteX609" fmla="*/ 5200661 w 7467600"/>
              <a:gd name="connsiteY609" fmla="*/ 1635186 h 6858000"/>
              <a:gd name="connsiteX610" fmla="*/ 5297138 w 7467600"/>
              <a:gd name="connsiteY610" fmla="*/ 1906351 h 6858000"/>
              <a:gd name="connsiteX611" fmla="*/ 5052692 w 7467600"/>
              <a:gd name="connsiteY611" fmla="*/ 1292994 h 6858000"/>
              <a:gd name="connsiteX612" fmla="*/ 5009948 w 7467600"/>
              <a:gd name="connsiteY612" fmla="*/ 1273619 h 6858000"/>
              <a:gd name="connsiteX613" fmla="*/ 5121777 w 7467600"/>
              <a:gd name="connsiteY613" fmla="*/ 1654213 h 6858000"/>
              <a:gd name="connsiteX614" fmla="*/ 5293545 w 7467600"/>
              <a:gd name="connsiteY614" fmla="*/ 2072247 h 6858000"/>
              <a:gd name="connsiteX615" fmla="*/ 5294042 w 7467600"/>
              <a:gd name="connsiteY615" fmla="*/ 2065019 h 6858000"/>
              <a:gd name="connsiteX616" fmla="*/ 5171936 w 7467600"/>
              <a:gd name="connsiteY616" fmla="*/ 1647613 h 6858000"/>
              <a:gd name="connsiteX617" fmla="*/ 5009948 w 7467600"/>
              <a:gd name="connsiteY617" fmla="*/ 1273619 h 6858000"/>
              <a:gd name="connsiteX618" fmla="*/ 655236 w 7467600"/>
              <a:gd name="connsiteY618" fmla="*/ 1268632 h 6858000"/>
              <a:gd name="connsiteX619" fmla="*/ 839521 w 7467600"/>
              <a:gd name="connsiteY619" fmla="*/ 1685315 h 6858000"/>
              <a:gd name="connsiteX620" fmla="*/ 1109416 w 7467600"/>
              <a:gd name="connsiteY620" fmla="*/ 2061663 h 6858000"/>
              <a:gd name="connsiteX621" fmla="*/ 1298300 w 7467600"/>
              <a:gd name="connsiteY621" fmla="*/ 2247742 h 6858000"/>
              <a:gd name="connsiteX622" fmla="*/ 1125871 w 7467600"/>
              <a:gd name="connsiteY622" fmla="*/ 1989513 h 6858000"/>
              <a:gd name="connsiteX623" fmla="*/ 981574 w 7467600"/>
              <a:gd name="connsiteY623" fmla="*/ 1783157 h 6858000"/>
              <a:gd name="connsiteX624" fmla="*/ 922198 w 7467600"/>
              <a:gd name="connsiteY624" fmla="*/ 1677437 h 6858000"/>
              <a:gd name="connsiteX625" fmla="*/ 869293 w 7467600"/>
              <a:gd name="connsiteY625" fmla="*/ 1583214 h 6858000"/>
              <a:gd name="connsiteX626" fmla="*/ 751431 w 7467600"/>
              <a:gd name="connsiteY626" fmla="*/ 1405731 h 6858000"/>
              <a:gd name="connsiteX627" fmla="*/ 655236 w 7467600"/>
              <a:gd name="connsiteY627" fmla="*/ 1268632 h 6858000"/>
              <a:gd name="connsiteX628" fmla="*/ 6516292 w 7467600"/>
              <a:gd name="connsiteY628" fmla="*/ 1263064 h 6858000"/>
              <a:gd name="connsiteX629" fmla="*/ 5736320 w 7467600"/>
              <a:gd name="connsiteY629" fmla="*/ 1501803 h 6858000"/>
              <a:gd name="connsiteX630" fmla="*/ 6516292 w 7467600"/>
              <a:gd name="connsiteY630" fmla="*/ 1263064 h 6858000"/>
              <a:gd name="connsiteX631" fmla="*/ 291466 w 7467600"/>
              <a:gd name="connsiteY631" fmla="*/ 1250369 h 6858000"/>
              <a:gd name="connsiteX632" fmla="*/ 323180 w 7467600"/>
              <a:gd name="connsiteY632" fmla="*/ 1435283 h 6858000"/>
              <a:gd name="connsiteX633" fmla="*/ 349381 w 7467600"/>
              <a:gd name="connsiteY633" fmla="*/ 1875041 h 6858000"/>
              <a:gd name="connsiteX634" fmla="*/ 374363 w 7467600"/>
              <a:gd name="connsiteY634" fmla="*/ 1506494 h 6858000"/>
              <a:gd name="connsiteX635" fmla="*/ 302168 w 7467600"/>
              <a:gd name="connsiteY635" fmla="*/ 1274495 h 6858000"/>
              <a:gd name="connsiteX636" fmla="*/ 291466 w 7467600"/>
              <a:gd name="connsiteY636" fmla="*/ 1250369 h 6858000"/>
              <a:gd name="connsiteX637" fmla="*/ 678222 w 7467600"/>
              <a:gd name="connsiteY637" fmla="*/ 1248670 h 6858000"/>
              <a:gd name="connsiteX638" fmla="*/ 775536 w 7467600"/>
              <a:gd name="connsiteY638" fmla="*/ 1388015 h 6858000"/>
              <a:gd name="connsiteX639" fmla="*/ 894529 w 7467600"/>
              <a:gd name="connsiteY639" fmla="*/ 1567739 h 6858000"/>
              <a:gd name="connsiteX640" fmla="*/ 948000 w 7467600"/>
              <a:gd name="connsiteY640" fmla="*/ 1663088 h 6858000"/>
              <a:gd name="connsiteX641" fmla="*/ 1006812 w 7467600"/>
              <a:gd name="connsiteY641" fmla="*/ 1767683 h 6858000"/>
              <a:gd name="connsiteX642" fmla="*/ 1149133 w 7467600"/>
              <a:gd name="connsiteY642" fmla="*/ 1971513 h 6858000"/>
              <a:gd name="connsiteX643" fmla="*/ 1333952 w 7467600"/>
              <a:gd name="connsiteY643" fmla="*/ 2251620 h 6858000"/>
              <a:gd name="connsiteX644" fmla="*/ 1337329 w 7467600"/>
              <a:gd name="connsiteY644" fmla="*/ 2258350 h 6858000"/>
              <a:gd name="connsiteX645" fmla="*/ 1014726 w 7467600"/>
              <a:gd name="connsiteY645" fmla="*/ 1615556 h 6858000"/>
              <a:gd name="connsiteX646" fmla="*/ 678222 w 7467600"/>
              <a:gd name="connsiteY646" fmla="*/ 1248670 h 6858000"/>
              <a:gd name="connsiteX647" fmla="*/ 6691602 w 7467600"/>
              <a:gd name="connsiteY647" fmla="*/ 1140573 h 6858000"/>
              <a:gd name="connsiteX648" fmla="*/ 6571100 w 7467600"/>
              <a:gd name="connsiteY648" fmla="*/ 1183662 h 6858000"/>
              <a:gd name="connsiteX649" fmla="*/ 6241687 w 7467600"/>
              <a:gd name="connsiteY649" fmla="*/ 1257600 h 6858000"/>
              <a:gd name="connsiteX650" fmla="*/ 5693009 w 7467600"/>
              <a:gd name="connsiteY650" fmla="*/ 1478256 h 6858000"/>
              <a:gd name="connsiteX651" fmla="*/ 6548420 w 7467600"/>
              <a:gd name="connsiteY651" fmla="*/ 1214599 h 6858000"/>
              <a:gd name="connsiteX652" fmla="*/ 6605473 w 7467600"/>
              <a:gd name="connsiteY652" fmla="*/ 1184686 h 6858000"/>
              <a:gd name="connsiteX653" fmla="*/ 6691602 w 7467600"/>
              <a:gd name="connsiteY653" fmla="*/ 1140573 h 6858000"/>
              <a:gd name="connsiteX654" fmla="*/ 4002475 w 7467600"/>
              <a:gd name="connsiteY654" fmla="*/ 1037802 h 6858000"/>
              <a:gd name="connsiteX655" fmla="*/ 4000324 w 7467600"/>
              <a:gd name="connsiteY655" fmla="*/ 1039362 h 6858000"/>
              <a:gd name="connsiteX656" fmla="*/ 4002862 w 7467600"/>
              <a:gd name="connsiteY656" fmla="*/ 1042866 h 6858000"/>
              <a:gd name="connsiteX657" fmla="*/ 4002475 w 7467600"/>
              <a:gd name="connsiteY657" fmla="*/ 1037802 h 6858000"/>
              <a:gd name="connsiteX658" fmla="*/ 506322 w 7467600"/>
              <a:gd name="connsiteY658" fmla="*/ 1020997 h 6858000"/>
              <a:gd name="connsiteX659" fmla="*/ 533068 w 7467600"/>
              <a:gd name="connsiteY659" fmla="*/ 1029409 h 6858000"/>
              <a:gd name="connsiteX660" fmla="*/ 1232525 w 7467600"/>
              <a:gd name="connsiteY660" fmla="*/ 1804675 h 6858000"/>
              <a:gd name="connsiteX661" fmla="*/ 1388858 w 7467600"/>
              <a:gd name="connsiteY661" fmla="*/ 2368011 h 6858000"/>
              <a:gd name="connsiteX662" fmla="*/ 1384098 w 7467600"/>
              <a:gd name="connsiteY662" fmla="*/ 2378125 h 6858000"/>
              <a:gd name="connsiteX663" fmla="*/ 1425393 w 7467600"/>
              <a:gd name="connsiteY663" fmla="*/ 2589124 h 6858000"/>
              <a:gd name="connsiteX664" fmla="*/ 1424001 w 7467600"/>
              <a:gd name="connsiteY664" fmla="*/ 2597541 h 6858000"/>
              <a:gd name="connsiteX665" fmla="*/ 2152729 w 7467600"/>
              <a:gd name="connsiteY665" fmla="*/ 2864487 h 6858000"/>
              <a:gd name="connsiteX666" fmla="*/ 2020609 w 7467600"/>
              <a:gd name="connsiteY666" fmla="*/ 2539671 h 6858000"/>
              <a:gd name="connsiteX667" fmla="*/ 2018920 w 7467600"/>
              <a:gd name="connsiteY667" fmla="*/ 2536309 h 6858000"/>
              <a:gd name="connsiteX668" fmla="*/ 1342441 w 7467600"/>
              <a:gd name="connsiteY668" fmla="*/ 1173017 h 6858000"/>
              <a:gd name="connsiteX669" fmla="*/ 1367925 w 7467600"/>
              <a:gd name="connsiteY669" fmla="*/ 1135648 h 6858000"/>
              <a:gd name="connsiteX670" fmla="*/ 1771401 w 7467600"/>
              <a:gd name="connsiteY670" fmla="*/ 1806673 h 6858000"/>
              <a:gd name="connsiteX671" fmla="*/ 1972385 w 7467600"/>
              <a:gd name="connsiteY671" fmla="*/ 2198735 h 6858000"/>
              <a:gd name="connsiteX672" fmla="*/ 2040892 w 7467600"/>
              <a:gd name="connsiteY672" fmla="*/ 2405205 h 6858000"/>
              <a:gd name="connsiteX673" fmla="*/ 2131689 w 7467600"/>
              <a:gd name="connsiteY673" fmla="*/ 1936926 h 6858000"/>
              <a:gd name="connsiteX674" fmla="*/ 2454820 w 7467600"/>
              <a:gd name="connsiteY674" fmla="*/ 1248808 h 6858000"/>
              <a:gd name="connsiteX675" fmla="*/ 2492512 w 7467600"/>
              <a:gd name="connsiteY675" fmla="*/ 1302920 h 6858000"/>
              <a:gd name="connsiteX676" fmla="*/ 2081216 w 7467600"/>
              <a:gd name="connsiteY676" fmla="*/ 2527513 h 6858000"/>
              <a:gd name="connsiteX677" fmla="*/ 2081211 w 7467600"/>
              <a:gd name="connsiteY677" fmla="*/ 2528916 h 6858000"/>
              <a:gd name="connsiteX678" fmla="*/ 2199067 w 7467600"/>
              <a:gd name="connsiteY678" fmla="*/ 2884061 h 6858000"/>
              <a:gd name="connsiteX679" fmla="*/ 3192586 w 7467600"/>
              <a:gd name="connsiteY679" fmla="*/ 3411496 h 6858000"/>
              <a:gd name="connsiteX680" fmla="*/ 3182620 w 7467600"/>
              <a:gd name="connsiteY680" fmla="*/ 3483279 h 6858000"/>
              <a:gd name="connsiteX681" fmla="*/ 2435119 w 7467600"/>
              <a:gd name="connsiteY681" fmla="*/ 3080173 h 6858000"/>
              <a:gd name="connsiteX682" fmla="*/ 2410152 w 7467600"/>
              <a:gd name="connsiteY682" fmla="*/ 3063751 h 6858000"/>
              <a:gd name="connsiteX683" fmla="*/ 2408099 w 7467600"/>
              <a:gd name="connsiteY683" fmla="*/ 3064403 h 6858000"/>
              <a:gd name="connsiteX684" fmla="*/ 2407218 w 7467600"/>
              <a:gd name="connsiteY684" fmla="*/ 3070324 h 6858000"/>
              <a:gd name="connsiteX685" fmla="*/ 2380138 w 7467600"/>
              <a:gd name="connsiteY685" fmla="*/ 3099341 h 6858000"/>
              <a:gd name="connsiteX686" fmla="*/ 1765923 w 7467600"/>
              <a:gd name="connsiteY686" fmla="*/ 3581043 h 6858000"/>
              <a:gd name="connsiteX687" fmla="*/ 1702258 w 7467600"/>
              <a:gd name="connsiteY687" fmla="*/ 3612286 h 6858000"/>
              <a:gd name="connsiteX688" fmla="*/ 1538370 w 7467600"/>
              <a:gd name="connsiteY688" fmla="*/ 3811804 h 6858000"/>
              <a:gd name="connsiteX689" fmla="*/ 542867 w 7467600"/>
              <a:gd name="connsiteY689" fmla="*/ 4944092 h 6858000"/>
              <a:gd name="connsiteX690" fmla="*/ 515800 w 7467600"/>
              <a:gd name="connsiteY690" fmla="*/ 4862180 h 6858000"/>
              <a:gd name="connsiteX691" fmla="*/ 909145 w 7467600"/>
              <a:gd name="connsiteY691" fmla="*/ 4199225 h 6858000"/>
              <a:gd name="connsiteX692" fmla="*/ 1214067 w 7467600"/>
              <a:gd name="connsiteY692" fmla="*/ 3908561 h 6858000"/>
              <a:gd name="connsiteX693" fmla="*/ 640967 w 7467600"/>
              <a:gd name="connsiteY693" fmla="*/ 4105601 h 6858000"/>
              <a:gd name="connsiteX694" fmla="*/ 112563 w 7467600"/>
              <a:gd name="connsiteY694" fmla="*/ 4396952 h 6858000"/>
              <a:gd name="connsiteX695" fmla="*/ 0 w 7467600"/>
              <a:gd name="connsiteY695" fmla="*/ 4466006 h 6858000"/>
              <a:gd name="connsiteX696" fmla="*/ 0 w 7467600"/>
              <a:gd name="connsiteY696" fmla="*/ 4233763 h 6858000"/>
              <a:gd name="connsiteX697" fmla="*/ 36881 w 7467600"/>
              <a:gd name="connsiteY697" fmla="*/ 4200118 h 6858000"/>
              <a:gd name="connsiteX698" fmla="*/ 910534 w 7467600"/>
              <a:gd name="connsiteY698" fmla="*/ 3629753 h 6858000"/>
              <a:gd name="connsiteX699" fmla="*/ 1578717 w 7467600"/>
              <a:gd name="connsiteY699" fmla="*/ 3575982 h 6858000"/>
              <a:gd name="connsiteX700" fmla="*/ 2338780 w 7467600"/>
              <a:gd name="connsiteY700" fmla="*/ 3033725 h 6858000"/>
              <a:gd name="connsiteX701" fmla="*/ 1807991 w 7467600"/>
              <a:gd name="connsiteY701" fmla="*/ 2807184 h 6858000"/>
              <a:gd name="connsiteX702" fmla="*/ 1416358 w 7467600"/>
              <a:gd name="connsiteY702" fmla="*/ 3112571 h 6858000"/>
              <a:gd name="connsiteX703" fmla="*/ 939066 w 7467600"/>
              <a:gd name="connsiteY703" fmla="*/ 3378798 h 6858000"/>
              <a:gd name="connsiteX704" fmla="*/ 115099 w 7467600"/>
              <a:gd name="connsiteY704" fmla="*/ 3607650 h 6858000"/>
              <a:gd name="connsiteX705" fmla="*/ 97284 w 7467600"/>
              <a:gd name="connsiteY705" fmla="*/ 3520393 h 6858000"/>
              <a:gd name="connsiteX706" fmla="*/ 922050 w 7467600"/>
              <a:gd name="connsiteY706" fmla="*/ 3074867 h 6858000"/>
              <a:gd name="connsiteX707" fmla="*/ 1405265 w 7467600"/>
              <a:gd name="connsiteY707" fmla="*/ 3016319 h 6858000"/>
              <a:gd name="connsiteX708" fmla="*/ 1407512 w 7467600"/>
              <a:gd name="connsiteY708" fmla="*/ 3018001 h 6858000"/>
              <a:gd name="connsiteX709" fmla="*/ 1726266 w 7467600"/>
              <a:gd name="connsiteY709" fmla="*/ 2777274 h 6858000"/>
              <a:gd name="connsiteX710" fmla="*/ 625390 w 7467600"/>
              <a:gd name="connsiteY710" fmla="*/ 2514541 h 6858000"/>
              <a:gd name="connsiteX711" fmla="*/ 619799 w 7467600"/>
              <a:gd name="connsiteY711" fmla="*/ 2527180 h 6858000"/>
              <a:gd name="connsiteX712" fmla="*/ 310030 w 7467600"/>
              <a:gd name="connsiteY712" fmla="*/ 2771818 h 6858000"/>
              <a:gd name="connsiteX713" fmla="*/ 173877 w 7467600"/>
              <a:gd name="connsiteY713" fmla="*/ 2937056 h 6858000"/>
              <a:gd name="connsiteX714" fmla="*/ 77889 w 7467600"/>
              <a:gd name="connsiteY714" fmla="*/ 3138440 h 6858000"/>
              <a:gd name="connsiteX715" fmla="*/ 0 w 7467600"/>
              <a:gd name="connsiteY715" fmla="*/ 3271395 h 6858000"/>
              <a:gd name="connsiteX716" fmla="*/ 0 w 7467600"/>
              <a:gd name="connsiteY716" fmla="*/ 3153002 h 6858000"/>
              <a:gd name="connsiteX717" fmla="*/ 2386 w 7467600"/>
              <a:gd name="connsiteY717" fmla="*/ 3149203 h 6858000"/>
              <a:gd name="connsiteX718" fmla="*/ 89753 w 7467600"/>
              <a:gd name="connsiteY718" fmla="*/ 2987702 h 6858000"/>
              <a:gd name="connsiteX719" fmla="*/ 76869 w 7467600"/>
              <a:gd name="connsiteY719" fmla="*/ 3005404 h 6858000"/>
              <a:gd name="connsiteX720" fmla="*/ 32049 w 7467600"/>
              <a:gd name="connsiteY720" fmla="*/ 3065814 h 6858000"/>
              <a:gd name="connsiteX721" fmla="*/ 0 w 7467600"/>
              <a:gd name="connsiteY721" fmla="*/ 3108744 h 6858000"/>
              <a:gd name="connsiteX722" fmla="*/ 0 w 7467600"/>
              <a:gd name="connsiteY722" fmla="*/ 3058059 h 6858000"/>
              <a:gd name="connsiteX723" fmla="*/ 7610 w 7467600"/>
              <a:gd name="connsiteY723" fmla="*/ 3047889 h 6858000"/>
              <a:gd name="connsiteX724" fmla="*/ 52419 w 7467600"/>
              <a:gd name="connsiteY724" fmla="*/ 2987479 h 6858000"/>
              <a:gd name="connsiteX725" fmla="*/ 59142 w 7467600"/>
              <a:gd name="connsiteY725" fmla="*/ 2978488 h 6858000"/>
              <a:gd name="connsiteX726" fmla="*/ 0 w 7467600"/>
              <a:gd name="connsiteY726" fmla="*/ 3015334 h 6858000"/>
              <a:gd name="connsiteX727" fmla="*/ 0 w 7467600"/>
              <a:gd name="connsiteY727" fmla="*/ 2914286 h 6858000"/>
              <a:gd name="connsiteX728" fmla="*/ 36383 w 7467600"/>
              <a:gd name="connsiteY728" fmla="*/ 2901128 h 6858000"/>
              <a:gd name="connsiteX729" fmla="*/ 156329 w 7467600"/>
              <a:gd name="connsiteY729" fmla="*/ 2840533 h 6858000"/>
              <a:gd name="connsiteX730" fmla="*/ 358355 w 7467600"/>
              <a:gd name="connsiteY730" fmla="*/ 2620471 h 6858000"/>
              <a:gd name="connsiteX731" fmla="*/ 510577 w 7467600"/>
              <a:gd name="connsiteY731" fmla="*/ 2501244 h 6858000"/>
              <a:gd name="connsiteX732" fmla="*/ 211967 w 7467600"/>
              <a:gd name="connsiteY732" fmla="*/ 2479171 h 6858000"/>
              <a:gd name="connsiteX733" fmla="*/ 0 w 7467600"/>
              <a:gd name="connsiteY733" fmla="*/ 2476398 h 6858000"/>
              <a:gd name="connsiteX734" fmla="*/ 0 w 7467600"/>
              <a:gd name="connsiteY734" fmla="*/ 2389189 h 6858000"/>
              <a:gd name="connsiteX735" fmla="*/ 103062 w 7467600"/>
              <a:gd name="connsiteY735" fmla="*/ 2389518 h 6858000"/>
              <a:gd name="connsiteX736" fmla="*/ 510734 w 7467600"/>
              <a:gd name="connsiteY736" fmla="*/ 2416201 h 6858000"/>
              <a:gd name="connsiteX737" fmla="*/ 279257 w 7467600"/>
              <a:gd name="connsiteY737" fmla="*/ 2092102 h 6858000"/>
              <a:gd name="connsiteX738" fmla="*/ 65265 w 7467600"/>
              <a:gd name="connsiteY738" fmla="*/ 2006049 h 6858000"/>
              <a:gd name="connsiteX739" fmla="*/ 0 w 7467600"/>
              <a:gd name="connsiteY739" fmla="*/ 1982532 h 6858000"/>
              <a:gd name="connsiteX740" fmla="*/ 0 w 7467600"/>
              <a:gd name="connsiteY740" fmla="*/ 1912789 h 6858000"/>
              <a:gd name="connsiteX741" fmla="*/ 97460 w 7467600"/>
              <a:gd name="connsiteY741" fmla="*/ 1953725 h 6858000"/>
              <a:gd name="connsiteX742" fmla="*/ 221272 w 7467600"/>
              <a:gd name="connsiteY742" fmla="*/ 1980766 h 6858000"/>
              <a:gd name="connsiteX743" fmla="*/ 116765 w 7467600"/>
              <a:gd name="connsiteY743" fmla="*/ 1911033 h 6858000"/>
              <a:gd name="connsiteX744" fmla="*/ 16405 w 7467600"/>
              <a:gd name="connsiteY744" fmla="*/ 1803412 h 6858000"/>
              <a:gd name="connsiteX745" fmla="*/ 0 w 7467600"/>
              <a:gd name="connsiteY745" fmla="*/ 1784777 h 6858000"/>
              <a:gd name="connsiteX746" fmla="*/ 0 w 7467600"/>
              <a:gd name="connsiteY746" fmla="*/ 1740082 h 6858000"/>
              <a:gd name="connsiteX747" fmla="*/ 39394 w 7467600"/>
              <a:gd name="connsiteY747" fmla="*/ 1784856 h 6858000"/>
              <a:gd name="connsiteX748" fmla="*/ 135813 w 7467600"/>
              <a:gd name="connsiteY748" fmla="*/ 1888838 h 6858000"/>
              <a:gd name="connsiteX749" fmla="*/ 242575 w 7467600"/>
              <a:gd name="connsiteY749" fmla="*/ 1958841 h 6858000"/>
              <a:gd name="connsiteX750" fmla="*/ 82197 w 7467600"/>
              <a:gd name="connsiteY750" fmla="*/ 1754826 h 6858000"/>
              <a:gd name="connsiteX751" fmla="*/ 0 w 7467600"/>
              <a:gd name="connsiteY751" fmla="*/ 1679650 h 6858000"/>
              <a:gd name="connsiteX752" fmla="*/ 0 w 7467600"/>
              <a:gd name="connsiteY752" fmla="*/ 1602463 h 6858000"/>
              <a:gd name="connsiteX753" fmla="*/ 84689 w 7467600"/>
              <a:gd name="connsiteY753" fmla="*/ 1677442 h 6858000"/>
              <a:gd name="connsiteX754" fmla="*/ 298437 w 7467600"/>
              <a:gd name="connsiteY754" fmla="*/ 1968019 h 6858000"/>
              <a:gd name="connsiteX755" fmla="*/ 227269 w 7467600"/>
              <a:gd name="connsiteY755" fmla="*/ 1114064 h 6858000"/>
              <a:gd name="connsiteX756" fmla="*/ 248003 w 7467600"/>
              <a:gd name="connsiteY756" fmla="*/ 1089613 h 6858000"/>
              <a:gd name="connsiteX757" fmla="*/ 427020 w 7467600"/>
              <a:gd name="connsiteY757" fmla="*/ 1619803 h 6858000"/>
              <a:gd name="connsiteX758" fmla="*/ 340345 w 7467600"/>
              <a:gd name="connsiteY758" fmla="*/ 2027739 h 6858000"/>
              <a:gd name="connsiteX759" fmla="*/ 360865 w 7467600"/>
              <a:gd name="connsiteY759" fmla="*/ 2044827 h 6858000"/>
              <a:gd name="connsiteX760" fmla="*/ 560414 w 7467600"/>
              <a:gd name="connsiteY760" fmla="*/ 2421457 h 6858000"/>
              <a:gd name="connsiteX761" fmla="*/ 1359703 w 7467600"/>
              <a:gd name="connsiteY761" fmla="*/ 2578554 h 6858000"/>
              <a:gd name="connsiteX762" fmla="*/ 1359422 w 7467600"/>
              <a:gd name="connsiteY762" fmla="*/ 2577994 h 6858000"/>
              <a:gd name="connsiteX763" fmla="*/ 828701 w 7467600"/>
              <a:gd name="connsiteY763" fmla="*/ 1839520 h 6858000"/>
              <a:gd name="connsiteX764" fmla="*/ 494427 w 7467600"/>
              <a:gd name="connsiteY764" fmla="*/ 1092333 h 6858000"/>
              <a:gd name="connsiteX765" fmla="*/ 506322 w 7467600"/>
              <a:gd name="connsiteY765" fmla="*/ 1020997 h 6858000"/>
              <a:gd name="connsiteX766" fmla="*/ 4570198 w 7467600"/>
              <a:gd name="connsiteY766" fmla="*/ 978081 h 6858000"/>
              <a:gd name="connsiteX767" fmla="*/ 4523691 w 7467600"/>
              <a:gd name="connsiteY767" fmla="*/ 1127776 h 6858000"/>
              <a:gd name="connsiteX768" fmla="*/ 4509875 w 7467600"/>
              <a:gd name="connsiteY768" fmla="*/ 1167552 h 6858000"/>
              <a:gd name="connsiteX769" fmla="*/ 4478168 w 7467600"/>
              <a:gd name="connsiteY769" fmla="*/ 1260735 h 6858000"/>
              <a:gd name="connsiteX770" fmla="*/ 4409309 w 7467600"/>
              <a:gd name="connsiteY770" fmla="*/ 1666996 h 6858000"/>
              <a:gd name="connsiteX771" fmla="*/ 4370031 w 7467600"/>
              <a:gd name="connsiteY771" fmla="*/ 1955666 h 6858000"/>
              <a:gd name="connsiteX772" fmla="*/ 4570198 w 7467600"/>
              <a:gd name="connsiteY772" fmla="*/ 978081 h 6858000"/>
              <a:gd name="connsiteX773" fmla="*/ 4557898 w 7467600"/>
              <a:gd name="connsiteY773" fmla="*/ 900011 h 6858000"/>
              <a:gd name="connsiteX774" fmla="*/ 4344840 w 7467600"/>
              <a:gd name="connsiteY774" fmla="*/ 1922038 h 6858000"/>
              <a:gd name="connsiteX775" fmla="*/ 4378710 w 7467600"/>
              <a:gd name="connsiteY775" fmla="*/ 1665516 h 6858000"/>
              <a:gd name="connsiteX776" fmla="*/ 4448798 w 7467600"/>
              <a:gd name="connsiteY776" fmla="*/ 1253024 h 6858000"/>
              <a:gd name="connsiteX777" fmla="*/ 4480315 w 7467600"/>
              <a:gd name="connsiteY777" fmla="*/ 1158454 h 6858000"/>
              <a:gd name="connsiteX778" fmla="*/ 4494133 w 7467600"/>
              <a:gd name="connsiteY778" fmla="*/ 1118676 h 6858000"/>
              <a:gd name="connsiteX779" fmla="*/ 4557898 w 7467600"/>
              <a:gd name="connsiteY779" fmla="*/ 900011 h 6858000"/>
              <a:gd name="connsiteX780" fmla="*/ 5870151 w 7467600"/>
              <a:gd name="connsiteY780" fmla="*/ 898890 h 6858000"/>
              <a:gd name="connsiteX781" fmla="*/ 5861335 w 7467600"/>
              <a:gd name="connsiteY781" fmla="*/ 899177 h 6858000"/>
              <a:gd name="connsiteX782" fmla="*/ 5843702 w 7467600"/>
              <a:gd name="connsiteY782" fmla="*/ 899748 h 6858000"/>
              <a:gd name="connsiteX783" fmla="*/ 5651107 w 7467600"/>
              <a:gd name="connsiteY783" fmla="*/ 920306 h 6858000"/>
              <a:gd name="connsiteX784" fmla="*/ 5459407 w 7467600"/>
              <a:gd name="connsiteY784" fmla="*/ 940975 h 6858000"/>
              <a:gd name="connsiteX785" fmla="*/ 5374846 w 7467600"/>
              <a:gd name="connsiteY785" fmla="*/ 941988 h 6858000"/>
              <a:gd name="connsiteX786" fmla="*/ 5256105 w 7467600"/>
              <a:gd name="connsiteY786" fmla="*/ 945632 h 6858000"/>
              <a:gd name="connsiteX787" fmla="*/ 5107071 w 7467600"/>
              <a:gd name="connsiteY787" fmla="*/ 969720 h 6858000"/>
              <a:gd name="connsiteX788" fmla="*/ 4998681 w 7467600"/>
              <a:gd name="connsiteY788" fmla="*/ 988771 h 6858000"/>
              <a:gd name="connsiteX789" fmla="*/ 5870151 w 7467600"/>
              <a:gd name="connsiteY789" fmla="*/ 898890 h 6858000"/>
              <a:gd name="connsiteX790" fmla="*/ 5504425 w 7467600"/>
              <a:gd name="connsiteY790" fmla="*/ 848067 h 6858000"/>
              <a:gd name="connsiteX791" fmla="*/ 4968849 w 7467600"/>
              <a:gd name="connsiteY791" fmla="*/ 962318 h 6858000"/>
              <a:gd name="connsiteX792" fmla="*/ 5104039 w 7467600"/>
              <a:gd name="connsiteY792" fmla="*/ 940634 h 6858000"/>
              <a:gd name="connsiteX793" fmla="*/ 5256311 w 7467600"/>
              <a:gd name="connsiteY793" fmla="*/ 916490 h 6858000"/>
              <a:gd name="connsiteX794" fmla="*/ 5377381 w 7467600"/>
              <a:gd name="connsiteY794" fmla="*/ 912671 h 6858000"/>
              <a:gd name="connsiteX795" fmla="*/ 5460148 w 7467600"/>
              <a:gd name="connsiteY795" fmla="*/ 911442 h 6858000"/>
              <a:gd name="connsiteX796" fmla="*/ 5648971 w 7467600"/>
              <a:gd name="connsiteY796" fmla="*/ 891331 h 6858000"/>
              <a:gd name="connsiteX797" fmla="*/ 5844807 w 7467600"/>
              <a:gd name="connsiteY797" fmla="*/ 870718 h 6858000"/>
              <a:gd name="connsiteX798" fmla="*/ 5862975 w 7467600"/>
              <a:gd name="connsiteY798" fmla="*/ 869756 h 6858000"/>
              <a:gd name="connsiteX799" fmla="*/ 5920887 w 7467600"/>
              <a:gd name="connsiteY799" fmla="*/ 865929 h 6858000"/>
              <a:gd name="connsiteX800" fmla="*/ 5504425 w 7467600"/>
              <a:gd name="connsiteY800" fmla="*/ 848067 h 6858000"/>
              <a:gd name="connsiteX801" fmla="*/ 3607114 w 7467600"/>
              <a:gd name="connsiteY801" fmla="*/ 467441 h 6858000"/>
              <a:gd name="connsiteX802" fmla="*/ 3296242 w 7467600"/>
              <a:gd name="connsiteY802" fmla="*/ 807991 h 6858000"/>
              <a:gd name="connsiteX803" fmla="*/ 3174674 w 7467600"/>
              <a:gd name="connsiteY803" fmla="*/ 919759 h 6858000"/>
              <a:gd name="connsiteX804" fmla="*/ 3042978 w 7467600"/>
              <a:gd name="connsiteY804" fmla="*/ 1054894 h 6858000"/>
              <a:gd name="connsiteX805" fmla="*/ 2968914 w 7467600"/>
              <a:gd name="connsiteY805" fmla="*/ 1133756 h 6858000"/>
              <a:gd name="connsiteX806" fmla="*/ 3103823 w 7467600"/>
              <a:gd name="connsiteY806" fmla="*/ 1026814 h 6858000"/>
              <a:gd name="connsiteX807" fmla="*/ 3607114 w 7467600"/>
              <a:gd name="connsiteY807" fmla="*/ 467441 h 6858000"/>
              <a:gd name="connsiteX808" fmla="*/ 3744487 w 7467600"/>
              <a:gd name="connsiteY808" fmla="*/ 383136 h 6858000"/>
              <a:gd name="connsiteX809" fmla="*/ 3970213 w 7467600"/>
              <a:gd name="connsiteY809" fmla="*/ 995559 h 6858000"/>
              <a:gd name="connsiteX810" fmla="*/ 3744487 w 7467600"/>
              <a:gd name="connsiteY810" fmla="*/ 383136 h 6858000"/>
              <a:gd name="connsiteX811" fmla="*/ 3624562 w 7467600"/>
              <a:gd name="connsiteY811" fmla="*/ 367041 h 6858000"/>
              <a:gd name="connsiteX812" fmla="*/ 3489712 w 7467600"/>
              <a:gd name="connsiteY812" fmla="*/ 485386 h 6858000"/>
              <a:gd name="connsiteX813" fmla="*/ 3182994 w 7467600"/>
              <a:gd name="connsiteY813" fmla="*/ 828265 h 6858000"/>
              <a:gd name="connsiteX814" fmla="*/ 2892114 w 7467600"/>
              <a:gd name="connsiteY814" fmla="*/ 1172635 h 6858000"/>
              <a:gd name="connsiteX815" fmla="*/ 3021459 w 7467600"/>
              <a:gd name="connsiteY815" fmla="*/ 1035385 h 6858000"/>
              <a:gd name="connsiteX816" fmla="*/ 3153873 w 7467600"/>
              <a:gd name="connsiteY816" fmla="*/ 898971 h 6858000"/>
              <a:gd name="connsiteX817" fmla="*/ 3276511 w 7467600"/>
              <a:gd name="connsiteY817" fmla="*/ 786423 h 6858000"/>
              <a:gd name="connsiteX818" fmla="*/ 3584154 w 7467600"/>
              <a:gd name="connsiteY818" fmla="*/ 448218 h 6858000"/>
              <a:gd name="connsiteX819" fmla="*/ 3624562 w 7467600"/>
              <a:gd name="connsiteY819" fmla="*/ 367041 h 6858000"/>
              <a:gd name="connsiteX820" fmla="*/ 3766672 w 7467600"/>
              <a:gd name="connsiteY820" fmla="*/ 359429 h 6858000"/>
              <a:gd name="connsiteX821" fmla="*/ 3996338 w 7467600"/>
              <a:gd name="connsiteY821" fmla="*/ 968237 h 6858000"/>
              <a:gd name="connsiteX822" fmla="*/ 3766672 w 7467600"/>
              <a:gd name="connsiteY822" fmla="*/ 359429 h 6858000"/>
              <a:gd name="connsiteX823" fmla="*/ 5805386 w 7467600"/>
              <a:gd name="connsiteY823" fmla="*/ 239240 h 6858000"/>
              <a:gd name="connsiteX824" fmla="*/ 5736947 w 7467600"/>
              <a:gd name="connsiteY824" fmla="*/ 261367 h 6858000"/>
              <a:gd name="connsiteX825" fmla="*/ 5427012 w 7467600"/>
              <a:gd name="connsiteY825" fmla="*/ 311272 h 6858000"/>
              <a:gd name="connsiteX826" fmla="*/ 5147818 w 7467600"/>
              <a:gd name="connsiteY826" fmla="*/ 322112 h 6858000"/>
              <a:gd name="connsiteX827" fmla="*/ 5060854 w 7467600"/>
              <a:gd name="connsiteY827" fmla="*/ 311882 h 6858000"/>
              <a:gd name="connsiteX828" fmla="*/ 4945989 w 7467600"/>
              <a:gd name="connsiteY828" fmla="*/ 300516 h 6858000"/>
              <a:gd name="connsiteX829" fmla="*/ 5410479 w 7467600"/>
              <a:gd name="connsiteY829" fmla="*/ 348434 h 6858000"/>
              <a:gd name="connsiteX830" fmla="*/ 5805386 w 7467600"/>
              <a:gd name="connsiteY830" fmla="*/ 239240 h 6858000"/>
              <a:gd name="connsiteX831" fmla="*/ 5905192 w 7467600"/>
              <a:gd name="connsiteY831" fmla="*/ 163079 h 6858000"/>
              <a:gd name="connsiteX832" fmla="*/ 5865655 w 7467600"/>
              <a:gd name="connsiteY832" fmla="*/ 171901 h 6858000"/>
              <a:gd name="connsiteX833" fmla="*/ 5259740 w 7467600"/>
              <a:gd name="connsiteY833" fmla="*/ 257013 h 6858000"/>
              <a:gd name="connsiteX834" fmla="*/ 5208466 w 7467600"/>
              <a:gd name="connsiteY834" fmla="*/ 257550 h 6858000"/>
              <a:gd name="connsiteX835" fmla="*/ 4980204 w 7467600"/>
              <a:gd name="connsiteY835" fmla="*/ 271903 h 6858000"/>
              <a:gd name="connsiteX836" fmla="*/ 5068068 w 7467600"/>
              <a:gd name="connsiteY836" fmla="*/ 282244 h 6858000"/>
              <a:gd name="connsiteX837" fmla="*/ 5153231 w 7467600"/>
              <a:gd name="connsiteY837" fmla="*/ 292240 h 6858000"/>
              <a:gd name="connsiteX838" fmla="*/ 5426491 w 7467600"/>
              <a:gd name="connsiteY838" fmla="*/ 281128 h 6858000"/>
              <a:gd name="connsiteX839" fmla="*/ 5731212 w 7467600"/>
              <a:gd name="connsiteY839" fmla="*/ 231951 h 6858000"/>
              <a:gd name="connsiteX840" fmla="*/ 5905192 w 7467600"/>
              <a:gd name="connsiteY840" fmla="*/ 163079 h 6858000"/>
              <a:gd name="connsiteX841" fmla="*/ 5944437 w 7467600"/>
              <a:gd name="connsiteY841" fmla="*/ 113829 h 6858000"/>
              <a:gd name="connsiteX842" fmla="*/ 5825032 w 7467600"/>
              <a:gd name="connsiteY842" fmla="*/ 146405 h 6858000"/>
              <a:gd name="connsiteX843" fmla="*/ 4955599 w 7467600"/>
              <a:gd name="connsiteY843" fmla="*/ 247008 h 6858000"/>
              <a:gd name="connsiteX844" fmla="*/ 5210104 w 7467600"/>
              <a:gd name="connsiteY844" fmla="*/ 228123 h 6858000"/>
              <a:gd name="connsiteX845" fmla="*/ 5261015 w 7467600"/>
              <a:gd name="connsiteY845" fmla="*/ 227087 h 6858000"/>
              <a:gd name="connsiteX846" fmla="*/ 5861181 w 7467600"/>
              <a:gd name="connsiteY846" fmla="*/ 143093 h 6858000"/>
              <a:gd name="connsiteX847" fmla="*/ 5961252 w 7467600"/>
              <a:gd name="connsiteY847" fmla="*/ 114820 h 6858000"/>
              <a:gd name="connsiteX848" fmla="*/ 5944437 w 7467600"/>
              <a:gd name="connsiteY848" fmla="*/ 113829 h 6858000"/>
              <a:gd name="connsiteX849" fmla="*/ 3882765 w 7467600"/>
              <a:gd name="connsiteY849" fmla="*/ 0 h 6858000"/>
              <a:gd name="connsiteX850" fmla="*/ 3995099 w 7467600"/>
              <a:gd name="connsiteY850" fmla="*/ 0 h 6858000"/>
              <a:gd name="connsiteX851" fmla="*/ 4163818 w 7467600"/>
              <a:gd name="connsiteY851" fmla="*/ 234104 h 6858000"/>
              <a:gd name="connsiteX852" fmla="*/ 4172099 w 7467600"/>
              <a:gd name="connsiteY852" fmla="*/ 234207 h 6858000"/>
              <a:gd name="connsiteX853" fmla="*/ 4784282 w 7467600"/>
              <a:gd name="connsiteY853" fmla="*/ 276561 h 6858000"/>
              <a:gd name="connsiteX854" fmla="*/ 4801687 w 7467600"/>
              <a:gd name="connsiteY854" fmla="*/ 267764 h 6858000"/>
              <a:gd name="connsiteX855" fmla="*/ 6082788 w 7467600"/>
              <a:gd name="connsiteY855" fmla="*/ 64119 h 6858000"/>
              <a:gd name="connsiteX856" fmla="*/ 6099442 w 7467600"/>
              <a:gd name="connsiteY856" fmla="*/ 82568 h 6858000"/>
              <a:gd name="connsiteX857" fmla="*/ 4804137 w 7467600"/>
              <a:gd name="connsiteY857" fmla="*/ 320931 h 6858000"/>
              <a:gd name="connsiteX858" fmla="*/ 4227047 w 7467600"/>
              <a:gd name="connsiteY858" fmla="*/ 313415 h 6858000"/>
              <a:gd name="connsiteX859" fmla="*/ 4346041 w 7467600"/>
              <a:gd name="connsiteY859" fmla="*/ 456086 h 6858000"/>
              <a:gd name="connsiteX860" fmla="*/ 4870967 w 7467600"/>
              <a:gd name="connsiteY860" fmla="*/ 963061 h 6858000"/>
              <a:gd name="connsiteX861" fmla="*/ 4889647 w 7467600"/>
              <a:gd name="connsiteY861" fmla="*/ 957147 h 6858000"/>
              <a:gd name="connsiteX862" fmla="*/ 5422504 w 7467600"/>
              <a:gd name="connsiteY862" fmla="*/ 805191 h 6858000"/>
              <a:gd name="connsiteX863" fmla="*/ 6087656 w 7467600"/>
              <a:gd name="connsiteY863" fmla="*/ 826703 h 6858000"/>
              <a:gd name="connsiteX864" fmla="*/ 6058717 w 7467600"/>
              <a:gd name="connsiteY864" fmla="*/ 865992 h 6858000"/>
              <a:gd name="connsiteX865" fmla="*/ 4974153 w 7467600"/>
              <a:gd name="connsiteY865" fmla="*/ 1045456 h 6858000"/>
              <a:gd name="connsiteX866" fmla="*/ 5627835 w 7467600"/>
              <a:gd name="connsiteY866" fmla="*/ 1472077 h 6858000"/>
              <a:gd name="connsiteX867" fmla="*/ 5629817 w 7467600"/>
              <a:gd name="connsiteY867" fmla="*/ 1471412 h 6858000"/>
              <a:gd name="connsiteX868" fmla="*/ 5634124 w 7467600"/>
              <a:gd name="connsiteY868" fmla="*/ 1470572 h 6858000"/>
              <a:gd name="connsiteX869" fmla="*/ 5755832 w 7467600"/>
              <a:gd name="connsiteY869" fmla="*/ 1383886 h 6858000"/>
              <a:gd name="connsiteX870" fmla="*/ 6014186 w 7467600"/>
              <a:gd name="connsiteY870" fmla="*/ 1279799 h 6858000"/>
              <a:gd name="connsiteX871" fmla="*/ 6901619 w 7467600"/>
              <a:gd name="connsiteY871" fmla="*/ 1047874 h 6858000"/>
              <a:gd name="connsiteX872" fmla="*/ 6931566 w 7467600"/>
              <a:gd name="connsiteY872" fmla="*/ 1062034 h 6858000"/>
              <a:gd name="connsiteX873" fmla="*/ 5790982 w 7467600"/>
              <a:gd name="connsiteY873" fmla="*/ 1561380 h 6858000"/>
              <a:gd name="connsiteX874" fmla="*/ 6188971 w 7467600"/>
              <a:gd name="connsiteY874" fmla="*/ 1755168 h 6858000"/>
              <a:gd name="connsiteX875" fmla="*/ 6202446 w 7467600"/>
              <a:gd name="connsiteY875" fmla="*/ 1752268 h 6858000"/>
              <a:gd name="connsiteX876" fmla="*/ 7179560 w 7467600"/>
              <a:gd name="connsiteY876" fmla="*/ 1467551 h 6858000"/>
              <a:gd name="connsiteX877" fmla="*/ 7158730 w 7467600"/>
              <a:gd name="connsiteY877" fmla="*/ 1507835 h 6858000"/>
              <a:gd name="connsiteX878" fmla="*/ 6326959 w 7467600"/>
              <a:gd name="connsiteY878" fmla="*/ 1817686 h 6858000"/>
              <a:gd name="connsiteX879" fmla="*/ 6537433 w 7467600"/>
              <a:gd name="connsiteY879" fmla="*/ 1907790 h 6858000"/>
              <a:gd name="connsiteX880" fmla="*/ 6550221 w 7467600"/>
              <a:gd name="connsiteY880" fmla="*/ 1910729 h 6858000"/>
              <a:gd name="connsiteX881" fmla="*/ 6964438 w 7467600"/>
              <a:gd name="connsiteY881" fmla="*/ 2209505 h 6858000"/>
              <a:gd name="connsiteX882" fmla="*/ 7367862 w 7467600"/>
              <a:gd name="connsiteY882" fmla="*/ 2806833 h 6858000"/>
              <a:gd name="connsiteX883" fmla="*/ 7364329 w 7467600"/>
              <a:gd name="connsiteY883" fmla="*/ 2826907 h 6858000"/>
              <a:gd name="connsiteX884" fmla="*/ 7290545 w 7467600"/>
              <a:gd name="connsiteY884" fmla="*/ 2850663 h 6858000"/>
              <a:gd name="connsiteX885" fmla="*/ 6472036 w 7467600"/>
              <a:gd name="connsiteY885" fmla="*/ 1959003 h 6858000"/>
              <a:gd name="connsiteX886" fmla="*/ 5792897 w 7467600"/>
              <a:gd name="connsiteY886" fmla="*/ 1647747 h 6858000"/>
              <a:gd name="connsiteX887" fmla="*/ 5842751 w 7467600"/>
              <a:gd name="connsiteY887" fmla="*/ 1816112 h 6858000"/>
              <a:gd name="connsiteX888" fmla="*/ 5847424 w 7467600"/>
              <a:gd name="connsiteY888" fmla="*/ 1815776 h 6858000"/>
              <a:gd name="connsiteX889" fmla="*/ 6399821 w 7467600"/>
              <a:gd name="connsiteY889" fmla="*/ 2344799 h 6858000"/>
              <a:gd name="connsiteX890" fmla="*/ 6323232 w 7467600"/>
              <a:gd name="connsiteY890" fmla="*/ 2389634 h 6858000"/>
              <a:gd name="connsiteX891" fmla="*/ 5942958 w 7467600"/>
              <a:gd name="connsiteY891" fmla="*/ 2077708 h 6858000"/>
              <a:gd name="connsiteX892" fmla="*/ 5921559 w 7467600"/>
              <a:gd name="connsiteY892" fmla="*/ 2378596 h 6858000"/>
              <a:gd name="connsiteX893" fmla="*/ 5817651 w 7467600"/>
              <a:gd name="connsiteY893" fmla="*/ 3023919 h 6858000"/>
              <a:gd name="connsiteX894" fmla="*/ 5729634 w 7467600"/>
              <a:gd name="connsiteY894" fmla="*/ 3051849 h 6858000"/>
              <a:gd name="connsiteX895" fmla="*/ 5611018 w 7467600"/>
              <a:gd name="connsiteY895" fmla="*/ 2316769 h 6858000"/>
              <a:gd name="connsiteX896" fmla="*/ 5687608 w 7467600"/>
              <a:gd name="connsiteY896" fmla="*/ 2039972 h 6858000"/>
              <a:gd name="connsiteX897" fmla="*/ 5657554 w 7467600"/>
              <a:gd name="connsiteY897" fmla="*/ 1576445 h 6858000"/>
              <a:gd name="connsiteX898" fmla="*/ 5150475 w 7467600"/>
              <a:gd name="connsiteY898" fmla="*/ 1274012 h 6858000"/>
              <a:gd name="connsiteX899" fmla="*/ 5349142 w 7467600"/>
              <a:gd name="connsiteY899" fmla="*/ 2204405 h 6858000"/>
              <a:gd name="connsiteX900" fmla="*/ 5262214 w 7467600"/>
              <a:gd name="connsiteY900" fmla="*/ 2233836 h 6858000"/>
              <a:gd name="connsiteX901" fmla="*/ 4981539 w 7467600"/>
              <a:gd name="connsiteY901" fmla="*/ 1542201 h 6858000"/>
              <a:gd name="connsiteX902" fmla="*/ 4958461 w 7467600"/>
              <a:gd name="connsiteY902" fmla="*/ 1136957 h 6858000"/>
              <a:gd name="connsiteX903" fmla="*/ 4655015 w 7467600"/>
              <a:gd name="connsiteY903" fmla="*/ 891426 h 6858000"/>
              <a:gd name="connsiteX904" fmla="*/ 4348002 w 7467600"/>
              <a:gd name="connsiteY904" fmla="*/ 2205895 h 6858000"/>
              <a:gd name="connsiteX905" fmla="*/ 4262250 w 7467600"/>
              <a:gd name="connsiteY905" fmla="*/ 2219972 h 6858000"/>
              <a:gd name="connsiteX906" fmla="*/ 4550611 w 7467600"/>
              <a:gd name="connsiteY906" fmla="*/ 817540 h 6858000"/>
              <a:gd name="connsiteX907" fmla="*/ 4564418 w 7467600"/>
              <a:gd name="connsiteY907" fmla="*/ 808293 h 6858000"/>
              <a:gd name="connsiteX908" fmla="*/ 4266388 w 7467600"/>
              <a:gd name="connsiteY908" fmla="*/ 500083 h 6858000"/>
              <a:gd name="connsiteX909" fmla="*/ 4032842 w 7467600"/>
              <a:gd name="connsiteY909" fmla="*/ 211809 h 6858000"/>
              <a:gd name="connsiteX910" fmla="*/ 3882765 w 7467600"/>
              <a:gd name="connsiteY910" fmla="*/ 0 h 6858000"/>
              <a:gd name="connsiteX911" fmla="*/ 3721337 w 7467600"/>
              <a:gd name="connsiteY911" fmla="*/ 0 h 6858000"/>
              <a:gd name="connsiteX912" fmla="*/ 3797544 w 7467600"/>
              <a:gd name="connsiteY912" fmla="*/ 0 h 6858000"/>
              <a:gd name="connsiteX913" fmla="*/ 3775734 w 7467600"/>
              <a:gd name="connsiteY913" fmla="*/ 95131 h 6858000"/>
              <a:gd name="connsiteX914" fmla="*/ 3724807 w 7467600"/>
              <a:gd name="connsiteY914" fmla="*/ 272257 h 6858000"/>
              <a:gd name="connsiteX915" fmla="*/ 3726844 w 7467600"/>
              <a:gd name="connsiteY915" fmla="*/ 282988 h 6858000"/>
              <a:gd name="connsiteX916" fmla="*/ 3742664 w 7467600"/>
              <a:gd name="connsiteY916" fmla="*/ 279918 h 6858000"/>
              <a:gd name="connsiteX917" fmla="*/ 4103910 w 7467600"/>
              <a:gd name="connsiteY917" fmla="*/ 1161917 h 6858000"/>
              <a:gd name="connsiteX918" fmla="*/ 4020269 w 7467600"/>
              <a:gd name="connsiteY918" fmla="*/ 1200406 h 6858000"/>
              <a:gd name="connsiteX919" fmla="*/ 3674882 w 7467600"/>
              <a:gd name="connsiteY919" fmla="*/ 488524 h 6858000"/>
              <a:gd name="connsiteX920" fmla="*/ 3132682 w 7467600"/>
              <a:gd name="connsiteY920" fmla="*/ 1072284 h 6858000"/>
              <a:gd name="connsiteX921" fmla="*/ 2716346 w 7467600"/>
              <a:gd name="connsiteY921" fmla="*/ 1276376 h 6858000"/>
              <a:gd name="connsiteX922" fmla="*/ 2716772 w 7467600"/>
              <a:gd name="connsiteY922" fmla="*/ 1255462 h 6858000"/>
              <a:gd name="connsiteX923" fmla="*/ 3471096 w 7467600"/>
              <a:gd name="connsiteY923" fmla="*/ 437072 h 6858000"/>
              <a:gd name="connsiteX924" fmla="*/ 3639057 w 7467600"/>
              <a:gd name="connsiteY924" fmla="*/ 286334 h 6858000"/>
              <a:gd name="connsiteX925" fmla="*/ 3640309 w 7467600"/>
              <a:gd name="connsiteY925" fmla="*/ 284664 h 6858000"/>
              <a:gd name="connsiteX926" fmla="*/ 3646022 w 7467600"/>
              <a:gd name="connsiteY926" fmla="*/ 276711 h 6858000"/>
              <a:gd name="connsiteX927" fmla="*/ 3707943 w 7467600"/>
              <a:gd name="connsiteY927" fmla="*/ 65958 h 6858000"/>
              <a:gd name="connsiteX928" fmla="*/ 3721337 w 7467600"/>
              <a:gd name="connsiteY928" fmla="*/ 0 h 6858000"/>
              <a:gd name="connsiteX929" fmla="*/ 2867960 w 7467600"/>
              <a:gd name="connsiteY929" fmla="*/ 0 h 6858000"/>
              <a:gd name="connsiteX930" fmla="*/ 2926351 w 7467600"/>
              <a:gd name="connsiteY930" fmla="*/ 0 h 6858000"/>
              <a:gd name="connsiteX931" fmla="*/ 2902823 w 7467600"/>
              <a:gd name="connsiteY931" fmla="*/ 262929 h 6858000"/>
              <a:gd name="connsiteX932" fmla="*/ 2940663 w 7467600"/>
              <a:gd name="connsiteY932" fmla="*/ 140884 h 6858000"/>
              <a:gd name="connsiteX933" fmla="*/ 2947039 w 7467600"/>
              <a:gd name="connsiteY933" fmla="*/ 122524 h 6858000"/>
              <a:gd name="connsiteX934" fmla="*/ 2984316 w 7467600"/>
              <a:gd name="connsiteY934" fmla="*/ 0 h 6858000"/>
              <a:gd name="connsiteX935" fmla="*/ 3016114 w 7467600"/>
              <a:gd name="connsiteY935" fmla="*/ 0 h 6858000"/>
              <a:gd name="connsiteX936" fmla="*/ 2979949 w 7467600"/>
              <a:gd name="connsiteY936" fmla="*/ 119274 h 6858000"/>
              <a:gd name="connsiteX937" fmla="*/ 3023879 w 7467600"/>
              <a:gd name="connsiteY937" fmla="*/ 0 h 6858000"/>
              <a:gd name="connsiteX938" fmla="*/ 3105400 w 7467600"/>
              <a:gd name="connsiteY938" fmla="*/ 0 h 6858000"/>
              <a:gd name="connsiteX939" fmla="*/ 3094669 w 7467600"/>
              <a:gd name="connsiteY939" fmla="*/ 30308 h 6858000"/>
              <a:gd name="connsiteX940" fmla="*/ 2901945 w 7467600"/>
              <a:gd name="connsiteY940" fmla="*/ 466538 h 6858000"/>
              <a:gd name="connsiteX941" fmla="*/ 2815209 w 7467600"/>
              <a:gd name="connsiteY941" fmla="*/ 497361 h 6858000"/>
              <a:gd name="connsiteX942" fmla="*/ 2844845 w 7467600"/>
              <a:gd name="connsiteY942" fmla="*/ 127638 h 6858000"/>
              <a:gd name="connsiteX943" fmla="*/ 2867960 w 7467600"/>
              <a:gd name="connsiteY943" fmla="*/ 0 h 6858000"/>
              <a:gd name="connsiteX944" fmla="*/ 1057230 w 7467600"/>
              <a:gd name="connsiteY944" fmla="*/ 0 h 6858000"/>
              <a:gd name="connsiteX945" fmla="*/ 1111003 w 7467600"/>
              <a:gd name="connsiteY945" fmla="*/ 0 h 6858000"/>
              <a:gd name="connsiteX946" fmla="*/ 1125553 w 7467600"/>
              <a:gd name="connsiteY946" fmla="*/ 52588 h 6858000"/>
              <a:gd name="connsiteX947" fmla="*/ 1304276 w 7467600"/>
              <a:gd name="connsiteY947" fmla="*/ 476275 h 6858000"/>
              <a:gd name="connsiteX948" fmla="*/ 1492066 w 7467600"/>
              <a:gd name="connsiteY948" fmla="*/ 886333 h 6858000"/>
              <a:gd name="connsiteX949" fmla="*/ 1423698 w 7467600"/>
              <a:gd name="connsiteY949" fmla="*/ 710817 h 6858000"/>
              <a:gd name="connsiteX950" fmla="*/ 1357609 w 7467600"/>
              <a:gd name="connsiteY950" fmla="*/ 532892 h 6858000"/>
              <a:gd name="connsiteX951" fmla="*/ 1309550 w 7467600"/>
              <a:gd name="connsiteY951" fmla="*/ 374031 h 6858000"/>
              <a:gd name="connsiteX952" fmla="*/ 1193673 w 7467600"/>
              <a:gd name="connsiteY952" fmla="*/ 49533 h 6858000"/>
              <a:gd name="connsiteX953" fmla="*/ 1164391 w 7467600"/>
              <a:gd name="connsiteY953" fmla="*/ 0 h 6858000"/>
              <a:gd name="connsiteX954" fmla="*/ 1200666 w 7467600"/>
              <a:gd name="connsiteY954" fmla="*/ 0 h 6858000"/>
              <a:gd name="connsiteX955" fmla="*/ 1223408 w 7467600"/>
              <a:gd name="connsiteY955" fmla="*/ 38996 h 6858000"/>
              <a:gd name="connsiteX956" fmla="*/ 1339635 w 7467600"/>
              <a:gd name="connsiteY956" fmla="*/ 365517 h 6858000"/>
              <a:gd name="connsiteX957" fmla="*/ 1387469 w 7467600"/>
              <a:gd name="connsiteY957" fmla="*/ 523079 h 6858000"/>
              <a:gd name="connsiteX958" fmla="*/ 1452685 w 7467600"/>
              <a:gd name="connsiteY958" fmla="*/ 699806 h 6858000"/>
              <a:gd name="connsiteX959" fmla="*/ 1492092 w 7467600"/>
              <a:gd name="connsiteY959" fmla="*/ 800424 h 6858000"/>
              <a:gd name="connsiteX960" fmla="*/ 1455302 w 7467600"/>
              <a:gd name="connsiteY960" fmla="*/ 632913 h 6858000"/>
              <a:gd name="connsiteX961" fmla="*/ 1222336 w 7467600"/>
              <a:gd name="connsiteY961" fmla="*/ 9480 h 6858000"/>
              <a:gd name="connsiteX962" fmla="*/ 1214634 w 7467600"/>
              <a:gd name="connsiteY962" fmla="*/ 0 h 6858000"/>
              <a:gd name="connsiteX963" fmla="*/ 1289827 w 7467600"/>
              <a:gd name="connsiteY963" fmla="*/ 0 h 6858000"/>
              <a:gd name="connsiteX964" fmla="*/ 1321076 w 7467600"/>
              <a:gd name="connsiteY964" fmla="*/ 59722 h 6858000"/>
              <a:gd name="connsiteX965" fmla="*/ 1512579 w 7467600"/>
              <a:gd name="connsiteY965" fmla="*/ 626441 h 6858000"/>
              <a:gd name="connsiteX966" fmla="*/ 1506076 w 7467600"/>
              <a:gd name="connsiteY966" fmla="*/ 1089289 h 6858000"/>
              <a:gd name="connsiteX967" fmla="*/ 1486346 w 7467600"/>
              <a:gd name="connsiteY967" fmla="*/ 1079919 h 6858000"/>
              <a:gd name="connsiteX968" fmla="*/ 1070511 w 7467600"/>
              <a:gd name="connsiteY968" fmla="*/ 48609 h 6858000"/>
              <a:gd name="connsiteX969" fmla="*/ 1057230 w 7467600"/>
              <a:gd name="connsiteY969" fmla="*/ 0 h 6858000"/>
              <a:gd name="connsiteX970" fmla="*/ 43151 w 7467600"/>
              <a:gd name="connsiteY970" fmla="*/ 0 h 6858000"/>
              <a:gd name="connsiteX971" fmla="*/ 95283 w 7467600"/>
              <a:gd name="connsiteY971" fmla="*/ 0 h 6858000"/>
              <a:gd name="connsiteX972" fmla="*/ 300708 w 7467600"/>
              <a:gd name="connsiteY972" fmla="*/ 154571 h 6858000"/>
              <a:gd name="connsiteX973" fmla="*/ 530414 w 7467600"/>
              <a:gd name="connsiteY973" fmla="*/ 354673 h 6858000"/>
              <a:gd name="connsiteX974" fmla="*/ 333785 w 7467600"/>
              <a:gd name="connsiteY974" fmla="*/ 161564 h 6858000"/>
              <a:gd name="connsiteX975" fmla="*/ 147005 w 7467600"/>
              <a:gd name="connsiteY975" fmla="*/ 0 h 6858000"/>
              <a:gd name="connsiteX976" fmla="*/ 272509 w 7467600"/>
              <a:gd name="connsiteY976" fmla="*/ 0 h 6858000"/>
              <a:gd name="connsiteX977" fmla="*/ 326276 w 7467600"/>
              <a:gd name="connsiteY977" fmla="*/ 45847 h 6858000"/>
              <a:gd name="connsiteX978" fmla="*/ 823759 w 7467600"/>
              <a:gd name="connsiteY978" fmla="*/ 574145 h 6858000"/>
              <a:gd name="connsiteX979" fmla="*/ 811254 w 7467600"/>
              <a:gd name="connsiteY979" fmla="*/ 665546 h 6858000"/>
              <a:gd name="connsiteX980" fmla="*/ 154042 w 7467600"/>
              <a:gd name="connsiteY980" fmla="*/ 261522 h 6858000"/>
              <a:gd name="connsiteX981" fmla="*/ 13550 w 7467600"/>
              <a:gd name="connsiteY981" fmla="*/ 158423 h 6858000"/>
              <a:gd name="connsiteX982" fmla="*/ 0 w 7467600"/>
              <a:gd name="connsiteY982" fmla="*/ 146618 h 6858000"/>
              <a:gd name="connsiteX983" fmla="*/ 0 w 7467600"/>
              <a:gd name="connsiteY983" fmla="*/ 59161 h 6858000"/>
              <a:gd name="connsiteX984" fmla="*/ 45427 w 7467600"/>
              <a:gd name="connsiteY984" fmla="*/ 101078 h 6858000"/>
              <a:gd name="connsiteX985" fmla="*/ 630103 w 7467600"/>
              <a:gd name="connsiteY985" fmla="*/ 485885 h 6858000"/>
              <a:gd name="connsiteX986" fmla="*/ 532040 w 7467600"/>
              <a:gd name="connsiteY986" fmla="*/ 399359 h 6858000"/>
              <a:gd name="connsiteX987" fmla="*/ 517618 w 7467600"/>
              <a:gd name="connsiteY987" fmla="*/ 385726 h 6858000"/>
              <a:gd name="connsiteX988" fmla="*/ 285074 w 7467600"/>
              <a:gd name="connsiteY988" fmla="*/ 182755 h 6858000"/>
              <a:gd name="connsiteX989" fmla="*/ 43151 w 7467600"/>
              <a:gd name="connsiteY989"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12201 w 7467600"/>
              <a:gd name="connsiteY127" fmla="*/ 5128278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312201 w 7467600"/>
              <a:gd name="connsiteY132" fmla="*/ 5128278 h 6858000"/>
              <a:gd name="connsiteX133" fmla="*/ 1903353 w 7467600"/>
              <a:gd name="connsiteY133" fmla="*/ 5044827 h 6858000"/>
              <a:gd name="connsiteX134" fmla="*/ 1936931 w 7467600"/>
              <a:gd name="connsiteY134" fmla="*/ 5093954 h 6858000"/>
              <a:gd name="connsiteX135" fmla="*/ 2195868 w 7467600"/>
              <a:gd name="connsiteY135" fmla="*/ 5396574 h 6858000"/>
              <a:gd name="connsiteX136" fmla="*/ 2088852 w 7467600"/>
              <a:gd name="connsiteY136" fmla="*/ 5166123 h 6858000"/>
              <a:gd name="connsiteX137" fmla="*/ 1958241 w 7467600"/>
              <a:gd name="connsiteY137" fmla="*/ 5067955 h 6858000"/>
              <a:gd name="connsiteX138" fmla="*/ 1903353 w 7467600"/>
              <a:gd name="connsiteY138" fmla="*/ 5044827 h 6858000"/>
              <a:gd name="connsiteX139" fmla="*/ 1979378 w 7467600"/>
              <a:gd name="connsiteY139" fmla="*/ 4769504 h 6858000"/>
              <a:gd name="connsiteX140" fmla="*/ 2882120 w 7467600"/>
              <a:gd name="connsiteY140" fmla="*/ 5064547 h 6858000"/>
              <a:gd name="connsiteX141" fmla="*/ 2793103 w 7467600"/>
              <a:gd name="connsiteY141" fmla="*/ 5039699 h 6858000"/>
              <a:gd name="connsiteX142" fmla="*/ 2770041 w 7467600"/>
              <a:gd name="connsiteY142" fmla="*/ 5033634 h 6858000"/>
              <a:gd name="connsiteX143" fmla="*/ 1979378 w 7467600"/>
              <a:gd name="connsiteY143" fmla="*/ 4769504 h 6858000"/>
              <a:gd name="connsiteX144" fmla="*/ 1927410 w 7467600"/>
              <a:gd name="connsiteY144" fmla="*/ 4716164 h 6858000"/>
              <a:gd name="connsiteX145" fmla="*/ 1959587 w 7467600"/>
              <a:gd name="connsiteY145" fmla="*/ 4728849 h 6858000"/>
              <a:gd name="connsiteX146" fmla="*/ 2777707 w 7467600"/>
              <a:gd name="connsiteY146" fmla="*/ 5003991 h 6858000"/>
              <a:gd name="connsiteX147" fmla="*/ 2800768 w 7467600"/>
              <a:gd name="connsiteY147" fmla="*/ 5010056 h 6858000"/>
              <a:gd name="connsiteX148" fmla="*/ 2879408 w 7467600"/>
              <a:gd name="connsiteY148" fmla="*/ 5031590 h 6858000"/>
              <a:gd name="connsiteX149" fmla="*/ 2862295 w 7467600"/>
              <a:gd name="connsiteY149" fmla="*/ 5022958 h 6858000"/>
              <a:gd name="connsiteX150" fmla="*/ 2813343 w 7467600"/>
              <a:gd name="connsiteY150" fmla="*/ 4998369 h 6858000"/>
              <a:gd name="connsiteX151" fmla="*/ 2646245 w 7467600"/>
              <a:gd name="connsiteY151" fmla="*/ 4930999 h 6858000"/>
              <a:gd name="connsiteX152" fmla="*/ 1999243 w 7467600"/>
              <a:gd name="connsiteY152" fmla="*/ 4730524 h 6858000"/>
              <a:gd name="connsiteX153" fmla="*/ 1979527 w 7467600"/>
              <a:gd name="connsiteY153" fmla="*/ 4726651 h 6858000"/>
              <a:gd name="connsiteX154" fmla="*/ 1927410 w 7467600"/>
              <a:gd name="connsiteY154" fmla="*/ 4716164 h 6858000"/>
              <a:gd name="connsiteX155" fmla="*/ 1997014 w 7467600"/>
              <a:gd name="connsiteY155" fmla="*/ 4698007 h 6858000"/>
              <a:gd name="connsiteX156" fmla="*/ 2005458 w 7467600"/>
              <a:gd name="connsiteY156" fmla="*/ 4699540 h 6858000"/>
              <a:gd name="connsiteX157" fmla="*/ 2657186 w 7467600"/>
              <a:gd name="connsiteY157" fmla="*/ 4901687 h 6858000"/>
              <a:gd name="connsiteX158" fmla="*/ 2826662 w 7467600"/>
              <a:gd name="connsiteY158" fmla="*/ 4970362 h 6858000"/>
              <a:gd name="connsiteX159" fmla="*/ 2876100 w 7467600"/>
              <a:gd name="connsiteY159" fmla="*/ 4995397 h 6858000"/>
              <a:gd name="connsiteX160" fmla="*/ 3042600 w 7467600"/>
              <a:gd name="connsiteY160" fmla="*/ 5059532 h 6858000"/>
              <a:gd name="connsiteX161" fmla="*/ 1997014 w 7467600"/>
              <a:gd name="connsiteY161" fmla="*/ 4698007 h 6858000"/>
              <a:gd name="connsiteX162" fmla="*/ 2305292 w 7467600"/>
              <a:gd name="connsiteY162" fmla="*/ 4219492 h 6858000"/>
              <a:gd name="connsiteX163" fmla="*/ 3360922 w 7467600"/>
              <a:gd name="connsiteY163" fmla="*/ 4529373 h 6858000"/>
              <a:gd name="connsiteX164" fmla="*/ 3492420 w 7467600"/>
              <a:gd name="connsiteY164" fmla="*/ 4510145 h 6858000"/>
              <a:gd name="connsiteX165" fmla="*/ 3364086 w 7467600"/>
              <a:gd name="connsiteY165" fmla="*/ 4480340 h 6858000"/>
              <a:gd name="connsiteX166" fmla="*/ 3225818 w 7467600"/>
              <a:gd name="connsiteY166" fmla="*/ 4411822 h 6858000"/>
              <a:gd name="connsiteX167" fmla="*/ 3129696 w 7467600"/>
              <a:gd name="connsiteY167" fmla="*/ 4360704 h 6858000"/>
              <a:gd name="connsiteX168" fmla="*/ 2814545 w 7467600"/>
              <a:gd name="connsiteY168" fmla="*/ 4282955 h 6858000"/>
              <a:gd name="connsiteX169" fmla="*/ 2305292 w 7467600"/>
              <a:gd name="connsiteY169" fmla="*/ 4219492 h 6858000"/>
              <a:gd name="connsiteX170" fmla="*/ 2626982 w 7467600"/>
              <a:gd name="connsiteY170" fmla="*/ 4206450 h 6858000"/>
              <a:gd name="connsiteX171" fmla="*/ 2490617 w 7467600"/>
              <a:gd name="connsiteY171" fmla="*/ 4206951 h 6858000"/>
              <a:gd name="connsiteX172" fmla="*/ 2819869 w 7467600"/>
              <a:gd name="connsiteY172" fmla="*/ 4252936 h 6858000"/>
              <a:gd name="connsiteX173" fmla="*/ 3143018 w 7467600"/>
              <a:gd name="connsiteY173" fmla="*/ 4332698 h 6858000"/>
              <a:gd name="connsiteX174" fmla="*/ 3241520 w 7467600"/>
              <a:gd name="connsiteY174" fmla="*/ 4385112 h 6858000"/>
              <a:gd name="connsiteX175" fmla="*/ 3374575 w 7467600"/>
              <a:gd name="connsiteY175" fmla="*/ 4451517 h 6858000"/>
              <a:gd name="connsiteX176" fmla="*/ 3505221 w 7467600"/>
              <a:gd name="connsiteY176" fmla="*/ 4480757 h 6858000"/>
              <a:gd name="connsiteX177" fmla="*/ 2626982 w 7467600"/>
              <a:gd name="connsiteY177" fmla="*/ 4206450 h 6858000"/>
              <a:gd name="connsiteX178" fmla="*/ 1310106 w 7467600"/>
              <a:gd name="connsiteY178" fmla="*/ 3943217 h 6858000"/>
              <a:gd name="connsiteX179" fmla="*/ 854994 w 7467600"/>
              <a:gd name="connsiteY179" fmla="*/ 4399136 h 6858000"/>
              <a:gd name="connsiteX180" fmla="*/ 742462 w 7467600"/>
              <a:gd name="connsiteY180" fmla="*/ 4594648 h 6858000"/>
              <a:gd name="connsiteX181" fmla="*/ 820602 w 7467600"/>
              <a:gd name="connsiteY181" fmla="*/ 4485915 h 6858000"/>
              <a:gd name="connsiteX182" fmla="*/ 878295 w 7467600"/>
              <a:gd name="connsiteY182" fmla="*/ 4403594 h 6858000"/>
              <a:gd name="connsiteX183" fmla="*/ 1240607 w 7467600"/>
              <a:gd name="connsiteY183" fmla="*/ 4010401 h 6858000"/>
              <a:gd name="connsiteX184" fmla="*/ 1310106 w 7467600"/>
              <a:gd name="connsiteY184" fmla="*/ 3943217 h 6858000"/>
              <a:gd name="connsiteX185" fmla="*/ 1423113 w 7467600"/>
              <a:gd name="connsiteY185" fmla="*/ 3874565 h 6858000"/>
              <a:gd name="connsiteX186" fmla="*/ 1260565 w 7467600"/>
              <a:gd name="connsiteY186" fmla="*/ 4031982 h 6858000"/>
              <a:gd name="connsiteX187" fmla="*/ 901900 w 7467600"/>
              <a:gd name="connsiteY187" fmla="*/ 4421236 h 6858000"/>
              <a:gd name="connsiteX188" fmla="*/ 845044 w 7467600"/>
              <a:gd name="connsiteY188" fmla="*/ 4502436 h 6858000"/>
              <a:gd name="connsiteX189" fmla="*/ 685926 w 7467600"/>
              <a:gd name="connsiteY189" fmla="*/ 4703069 h 6858000"/>
              <a:gd name="connsiteX190" fmla="*/ 684248 w 7467600"/>
              <a:gd name="connsiteY190" fmla="*/ 4706721 h 6858000"/>
              <a:gd name="connsiteX191" fmla="*/ 1423113 w 7467600"/>
              <a:gd name="connsiteY191" fmla="*/ 3874565 h 6858000"/>
              <a:gd name="connsiteX192" fmla="*/ 3316479 w 7467600"/>
              <a:gd name="connsiteY192" fmla="*/ 3872136 h 6858000"/>
              <a:gd name="connsiteX193" fmla="*/ 3546806 w 7467600"/>
              <a:gd name="connsiteY193" fmla="*/ 4356139 h 6858000"/>
              <a:gd name="connsiteX194" fmla="*/ 3364433 w 7467600"/>
              <a:gd name="connsiteY194" fmla="*/ 3953121 h 6858000"/>
              <a:gd name="connsiteX195" fmla="*/ 3316479 w 7467600"/>
              <a:gd name="connsiteY195" fmla="*/ 3872136 h 6858000"/>
              <a:gd name="connsiteX196" fmla="*/ 3291335 w 7467600"/>
              <a:gd name="connsiteY196" fmla="*/ 3767420 h 6858000"/>
              <a:gd name="connsiteX197" fmla="*/ 3390805 w 7467600"/>
              <a:gd name="connsiteY197" fmla="*/ 3937163 h 6858000"/>
              <a:gd name="connsiteX198" fmla="*/ 3579062 w 7467600"/>
              <a:gd name="connsiteY198" fmla="*/ 4359040 h 6858000"/>
              <a:gd name="connsiteX199" fmla="*/ 3467355 w 7467600"/>
              <a:gd name="connsiteY199" fmla="*/ 3988130 h 6858000"/>
              <a:gd name="connsiteX200" fmla="*/ 3310753 w 7467600"/>
              <a:gd name="connsiteY200" fmla="*/ 3787140 h 6858000"/>
              <a:gd name="connsiteX201" fmla="*/ 3291335 w 7467600"/>
              <a:gd name="connsiteY201" fmla="*/ 3767420 h 6858000"/>
              <a:gd name="connsiteX202" fmla="*/ 1635889 w 7467600"/>
              <a:gd name="connsiteY202" fmla="*/ 3709494 h 6858000"/>
              <a:gd name="connsiteX203" fmla="*/ 1634800 w 7467600"/>
              <a:gd name="connsiteY203" fmla="*/ 3731111 h 6858000"/>
              <a:gd name="connsiteX204" fmla="*/ 1635889 w 7467600"/>
              <a:gd name="connsiteY204" fmla="*/ 3709494 h 6858000"/>
              <a:gd name="connsiteX205" fmla="*/ 1510397 w 7467600"/>
              <a:gd name="connsiteY205" fmla="*/ 3684705 h 6858000"/>
              <a:gd name="connsiteX206" fmla="*/ 1146550 w 7467600"/>
              <a:gd name="connsiteY206" fmla="*/ 3802012 h 6858000"/>
              <a:gd name="connsiteX207" fmla="*/ 698834 w 7467600"/>
              <a:gd name="connsiteY207" fmla="*/ 3952272 h 6858000"/>
              <a:gd name="connsiteX208" fmla="*/ 34256 w 7467600"/>
              <a:gd name="connsiteY208" fmla="*/ 4347603 h 6858000"/>
              <a:gd name="connsiteX209" fmla="*/ 527241 w 7467600"/>
              <a:gd name="connsiteY209" fmla="*/ 4065078 h 6858000"/>
              <a:gd name="connsiteX210" fmla="*/ 1510397 w 7467600"/>
              <a:gd name="connsiteY210" fmla="*/ 3684705 h 6858000"/>
              <a:gd name="connsiteX211" fmla="*/ 1313114 w 7467600"/>
              <a:gd name="connsiteY211" fmla="*/ 3655216 h 6858000"/>
              <a:gd name="connsiteX212" fmla="*/ 1109304 w 7467600"/>
              <a:gd name="connsiteY212" fmla="*/ 3669030 h 6858000"/>
              <a:gd name="connsiteX213" fmla="*/ 8129 w 7467600"/>
              <a:gd name="connsiteY213" fmla="*/ 4330519 h 6858000"/>
              <a:gd name="connsiteX214" fmla="*/ 687572 w 7467600"/>
              <a:gd name="connsiteY214" fmla="*/ 3925629 h 6858000"/>
              <a:gd name="connsiteX215" fmla="*/ 1138365 w 7467600"/>
              <a:gd name="connsiteY215" fmla="*/ 3774515 h 6858000"/>
              <a:gd name="connsiteX216" fmla="*/ 1505579 w 7467600"/>
              <a:gd name="connsiteY216" fmla="*/ 3655526 h 6858000"/>
              <a:gd name="connsiteX217" fmla="*/ 1313114 w 7467600"/>
              <a:gd name="connsiteY217" fmla="*/ 3655216 h 6858000"/>
              <a:gd name="connsiteX218" fmla="*/ 3655073 w 7467600"/>
              <a:gd name="connsiteY218" fmla="*/ 3650884 h 6858000"/>
              <a:gd name="connsiteX219" fmla="*/ 3989938 w 7467600"/>
              <a:gd name="connsiteY219" fmla="*/ 3991685 h 6858000"/>
              <a:gd name="connsiteX220" fmla="*/ 4393907 w 7467600"/>
              <a:gd name="connsiteY220" fmla="*/ 4261258 h 6858000"/>
              <a:gd name="connsiteX221" fmla="*/ 4648051 w 7467600"/>
              <a:gd name="connsiteY221" fmla="*/ 4374051 h 6858000"/>
              <a:gd name="connsiteX222" fmla="*/ 4383389 w 7467600"/>
              <a:gd name="connsiteY222" fmla="*/ 4184369 h 6858000"/>
              <a:gd name="connsiteX223" fmla="*/ 4165508 w 7467600"/>
              <a:gd name="connsiteY223" fmla="*/ 4035196 h 6858000"/>
              <a:gd name="connsiteX224" fmla="*/ 4068162 w 7467600"/>
              <a:gd name="connsiteY224" fmla="*/ 3953394 h 6858000"/>
              <a:gd name="connsiteX225" fmla="*/ 3981416 w 7467600"/>
              <a:gd name="connsiteY225" fmla="*/ 3880482 h 6858000"/>
              <a:gd name="connsiteX226" fmla="*/ 3800147 w 7467600"/>
              <a:gd name="connsiteY226" fmla="*/ 3749872 h 6858000"/>
              <a:gd name="connsiteX227" fmla="*/ 3655073 w 7467600"/>
              <a:gd name="connsiteY227" fmla="*/ 3650884 h 6858000"/>
              <a:gd name="connsiteX228" fmla="*/ 3670252 w 7467600"/>
              <a:gd name="connsiteY228" fmla="*/ 3622798 h 6858000"/>
              <a:gd name="connsiteX229" fmla="*/ 3817258 w 7467600"/>
              <a:gd name="connsiteY229" fmla="*/ 3723577 h 6858000"/>
              <a:gd name="connsiteX230" fmla="*/ 4000461 w 7467600"/>
              <a:gd name="connsiteY230" fmla="*/ 3855966 h 6858000"/>
              <a:gd name="connsiteX231" fmla="*/ 4088180 w 7467600"/>
              <a:gd name="connsiteY231" fmla="*/ 3929774 h 6858000"/>
              <a:gd name="connsiteX232" fmla="*/ 4184555 w 7467600"/>
              <a:gd name="connsiteY232" fmla="*/ 4010683 h 6858000"/>
              <a:gd name="connsiteX233" fmla="*/ 4399563 w 7467600"/>
              <a:gd name="connsiteY233" fmla="*/ 4158106 h 6858000"/>
              <a:gd name="connsiteX234" fmla="*/ 4684469 w 7467600"/>
              <a:gd name="connsiteY234" fmla="*/ 4364680 h 6858000"/>
              <a:gd name="connsiteX235" fmla="*/ 4690271 w 7467600"/>
              <a:gd name="connsiteY235" fmla="*/ 4370034 h 6858000"/>
              <a:gd name="connsiteX236" fmla="*/ 4136093 w 7467600"/>
              <a:gd name="connsiteY236" fmla="*/ 3858466 h 6858000"/>
              <a:gd name="connsiteX237" fmla="*/ 3670252 w 7467600"/>
              <a:gd name="connsiteY237" fmla="*/ 3622798 h 6858000"/>
              <a:gd name="connsiteX238" fmla="*/ 4440129 w 7467600"/>
              <a:gd name="connsiteY238" fmla="*/ 3448571 h 6858000"/>
              <a:gd name="connsiteX239" fmla="*/ 4856525 w 7467600"/>
              <a:gd name="connsiteY239" fmla="*/ 3915351 h 6858000"/>
              <a:gd name="connsiteX240" fmla="*/ 5059055 w 7467600"/>
              <a:gd name="connsiteY240" fmla="*/ 4108918 h 6858000"/>
              <a:gd name="connsiteX241" fmla="*/ 5290070 w 7467600"/>
              <a:gd name="connsiteY241" fmla="*/ 4263619 h 6858000"/>
              <a:gd name="connsiteX242" fmla="*/ 4834991 w 7467600"/>
              <a:gd name="connsiteY242" fmla="*/ 3830985 h 6858000"/>
              <a:gd name="connsiteX243" fmla="*/ 4440129 w 7467600"/>
              <a:gd name="connsiteY243" fmla="*/ 3448571 h 6858000"/>
              <a:gd name="connsiteX244" fmla="*/ 4441737 w 7467600"/>
              <a:gd name="connsiteY244" fmla="*/ 3399734 h 6858000"/>
              <a:gd name="connsiteX245" fmla="*/ 4431236 w 7467600"/>
              <a:gd name="connsiteY245" fmla="*/ 3400954 h 6858000"/>
              <a:gd name="connsiteX246" fmla="*/ 4557150 w 7467600"/>
              <a:gd name="connsiteY246" fmla="*/ 3510023 h 6858000"/>
              <a:gd name="connsiteX247" fmla="*/ 4856936 w 7467600"/>
              <a:gd name="connsiteY247" fmla="*/ 3809146 h 6858000"/>
              <a:gd name="connsiteX248" fmla="*/ 5111996 w 7467600"/>
              <a:gd name="connsiteY248" fmla="*/ 4065759 h 6858000"/>
              <a:gd name="connsiteX249" fmla="*/ 5388878 w 7467600"/>
              <a:gd name="connsiteY249" fmla="*/ 4300185 h 6858000"/>
              <a:gd name="connsiteX250" fmla="*/ 5425556 w 7467600"/>
              <a:gd name="connsiteY250" fmla="*/ 4308967 h 6858000"/>
              <a:gd name="connsiteX251" fmla="*/ 4943646 w 7467600"/>
              <a:gd name="connsiteY251" fmla="*/ 3822916 h 6858000"/>
              <a:gd name="connsiteX252" fmla="*/ 4594837 w 7467600"/>
              <a:gd name="connsiteY252" fmla="*/ 3532274 h 6858000"/>
              <a:gd name="connsiteX253" fmla="*/ 4441737 w 7467600"/>
              <a:gd name="connsiteY253" fmla="*/ 3399734 h 6858000"/>
              <a:gd name="connsiteX254" fmla="*/ 5425834 w 7467600"/>
              <a:gd name="connsiteY254" fmla="*/ 3162785 h 6858000"/>
              <a:gd name="connsiteX255" fmla="*/ 5401644 w 7467600"/>
              <a:gd name="connsiteY255" fmla="*/ 3617847 h 6858000"/>
              <a:gd name="connsiteX256" fmla="*/ 5467256 w 7467600"/>
              <a:gd name="connsiteY256" fmla="*/ 4175494 h 6858000"/>
              <a:gd name="connsiteX257" fmla="*/ 5448069 w 7467600"/>
              <a:gd name="connsiteY257" fmla="*/ 3567554 h 6858000"/>
              <a:gd name="connsiteX258" fmla="*/ 5425834 w 7467600"/>
              <a:gd name="connsiteY258" fmla="*/ 3162785 h 6858000"/>
              <a:gd name="connsiteX259" fmla="*/ 1318687 w 7467600"/>
              <a:gd name="connsiteY259" fmla="*/ 3113840 h 6858000"/>
              <a:gd name="connsiteX260" fmla="*/ 1066793 w 7467600"/>
              <a:gd name="connsiteY260" fmla="*/ 3212171 h 6858000"/>
              <a:gd name="connsiteX261" fmla="*/ 993319 w 7467600"/>
              <a:gd name="connsiteY261" fmla="*/ 3247648 h 6858000"/>
              <a:gd name="connsiteX262" fmla="*/ 853081 w 7467600"/>
              <a:gd name="connsiteY262" fmla="*/ 3312410 h 6858000"/>
              <a:gd name="connsiteX263" fmla="*/ 805957 w 7467600"/>
              <a:gd name="connsiteY263" fmla="*/ 3330443 h 6858000"/>
              <a:gd name="connsiteX264" fmla="*/ 1318687 w 7467600"/>
              <a:gd name="connsiteY264" fmla="*/ 3113840 h 6858000"/>
              <a:gd name="connsiteX265" fmla="*/ 5453702 w 7467600"/>
              <a:gd name="connsiteY265" fmla="*/ 3090882 h 6858000"/>
              <a:gd name="connsiteX266" fmla="*/ 5480135 w 7467600"/>
              <a:gd name="connsiteY266" fmla="*/ 3565802 h 6858000"/>
              <a:gd name="connsiteX267" fmla="*/ 5499023 w 7467600"/>
              <a:gd name="connsiteY267" fmla="*/ 4166310 h 6858000"/>
              <a:gd name="connsiteX268" fmla="*/ 5547022 w 7467600"/>
              <a:gd name="connsiteY268" fmla="*/ 3607838 h 6858000"/>
              <a:gd name="connsiteX269" fmla="*/ 5515964 w 7467600"/>
              <a:gd name="connsiteY269" fmla="*/ 3378541 h 6858000"/>
              <a:gd name="connsiteX270" fmla="*/ 5453702 w 7467600"/>
              <a:gd name="connsiteY270" fmla="*/ 3090882 h 6858000"/>
              <a:gd name="connsiteX271" fmla="*/ 1238695 w 7467600"/>
              <a:gd name="connsiteY271" fmla="*/ 3076820 h 6858000"/>
              <a:gd name="connsiteX272" fmla="*/ 716371 w 7467600"/>
              <a:gd name="connsiteY272" fmla="*/ 3293249 h 6858000"/>
              <a:gd name="connsiteX273" fmla="*/ 579522 w 7467600"/>
              <a:gd name="connsiteY273" fmla="*/ 3371759 h 6858000"/>
              <a:gd name="connsiteX274" fmla="*/ 600288 w 7467600"/>
              <a:gd name="connsiteY274" fmla="*/ 3365555 h 6858000"/>
              <a:gd name="connsiteX275" fmla="*/ 840692 w 7467600"/>
              <a:gd name="connsiteY275" fmla="*/ 3284921 h 6858000"/>
              <a:gd name="connsiteX276" fmla="*/ 979248 w 7467600"/>
              <a:gd name="connsiteY276" fmla="*/ 3221003 h 6858000"/>
              <a:gd name="connsiteX277" fmla="*/ 1053282 w 7467600"/>
              <a:gd name="connsiteY277" fmla="*/ 3185247 h 6858000"/>
              <a:gd name="connsiteX278" fmla="*/ 1320603 w 7467600"/>
              <a:gd name="connsiteY278" fmla="*/ 3081281 h 6858000"/>
              <a:gd name="connsiteX279" fmla="*/ 1238695 w 7467600"/>
              <a:gd name="connsiteY279" fmla="*/ 3076820 h 6858000"/>
              <a:gd name="connsiteX280" fmla="*/ 5425627 w 7467600"/>
              <a:gd name="connsiteY280" fmla="*/ 2954192 h 6858000"/>
              <a:gd name="connsiteX281" fmla="*/ 5470770 w 7467600"/>
              <a:gd name="connsiteY281" fmla="*/ 3005435 h 6858000"/>
              <a:gd name="connsiteX282" fmla="*/ 5519779 w 7467600"/>
              <a:gd name="connsiteY282" fmla="*/ 4359223 h 6858000"/>
              <a:gd name="connsiteX283" fmla="*/ 5520293 w 7467600"/>
              <a:gd name="connsiteY283" fmla="*/ 4360602 h 6858000"/>
              <a:gd name="connsiteX284" fmla="*/ 5767221 w 7467600"/>
              <a:gd name="connsiteY284" fmla="*/ 4665564 h 6858000"/>
              <a:gd name="connsiteX285" fmla="*/ 6937169 w 7467600"/>
              <a:gd name="connsiteY285" fmla="*/ 4815941 h 6858000"/>
              <a:gd name="connsiteX286" fmla="*/ 6953922 w 7467600"/>
              <a:gd name="connsiteY286" fmla="*/ 4890068 h 6858000"/>
              <a:gd name="connsiteX287" fmla="*/ 6071359 w 7467600"/>
              <a:gd name="connsiteY287" fmla="*/ 4770770 h 6858000"/>
              <a:gd name="connsiteX288" fmla="*/ 6038839 w 7467600"/>
              <a:gd name="connsiteY288" fmla="*/ 4764474 h 6858000"/>
              <a:gd name="connsiteX289" fmla="*/ 6038706 w 7467600"/>
              <a:gd name="connsiteY289" fmla="*/ 4763847 h 6858000"/>
              <a:gd name="connsiteX290" fmla="*/ 6037784 w 7467600"/>
              <a:gd name="connsiteY290" fmla="*/ 4764270 h 6858000"/>
              <a:gd name="connsiteX291" fmla="*/ 6038839 w 7467600"/>
              <a:gd name="connsiteY291" fmla="*/ 4764474 h 6858000"/>
              <a:gd name="connsiteX292" fmla="*/ 6040338 w 7467600"/>
              <a:gd name="connsiteY292" fmla="*/ 4771418 h 6858000"/>
              <a:gd name="connsiteX293" fmla="*/ 6024488 w 7467600"/>
              <a:gd name="connsiteY293" fmla="*/ 4809903 h 6858000"/>
              <a:gd name="connsiteX294" fmla="*/ 5599771 w 7467600"/>
              <a:gd name="connsiteY294" fmla="*/ 5509652 h 6858000"/>
              <a:gd name="connsiteX295" fmla="*/ 5548843 w 7467600"/>
              <a:gd name="connsiteY295" fmla="*/ 5563845 h 6858000"/>
              <a:gd name="connsiteX296" fmla="*/ 5940952 w 7467600"/>
              <a:gd name="connsiteY296" fmla="*/ 6250028 h 6858000"/>
              <a:gd name="connsiteX297" fmla="*/ 6043441 w 7467600"/>
              <a:gd name="connsiteY297" fmla="*/ 6665847 h 6858000"/>
              <a:gd name="connsiteX298" fmla="*/ 6093432 w 7467600"/>
              <a:gd name="connsiteY298" fmla="*/ 6858000 h 6858000"/>
              <a:gd name="connsiteX299" fmla="*/ 6034344 w 7467600"/>
              <a:gd name="connsiteY299" fmla="*/ 6858000 h 6858000"/>
              <a:gd name="connsiteX300" fmla="*/ 6026679 w 7467600"/>
              <a:gd name="connsiteY300" fmla="*/ 6836959 h 6858000"/>
              <a:gd name="connsiteX301" fmla="*/ 5800441 w 7467600"/>
              <a:gd name="connsiteY301" fmla="*/ 6335286 h 6858000"/>
              <a:gd name="connsiteX302" fmla="*/ 5526562 w 7467600"/>
              <a:gd name="connsiteY302" fmla="*/ 5705388 h 6858000"/>
              <a:gd name="connsiteX303" fmla="*/ 5519640 w 7467600"/>
              <a:gd name="connsiteY303" fmla="*/ 5683774 h 6858000"/>
              <a:gd name="connsiteX304" fmla="*/ 5844559 w 7467600"/>
              <a:gd name="connsiteY304" fmla="*/ 6553349 h 6858000"/>
              <a:gd name="connsiteX305" fmla="*/ 5975994 w 7467600"/>
              <a:gd name="connsiteY305" fmla="*/ 6858000 h 6858000"/>
              <a:gd name="connsiteX306" fmla="*/ 5898547 w 7467600"/>
              <a:gd name="connsiteY306" fmla="*/ 6858000 h 6858000"/>
              <a:gd name="connsiteX307" fmla="*/ 5682041 w 7467600"/>
              <a:gd name="connsiteY307" fmla="*/ 6355860 h 6858000"/>
              <a:gd name="connsiteX308" fmla="*/ 5461758 w 7467600"/>
              <a:gd name="connsiteY308" fmla="*/ 5820220 h 6858000"/>
              <a:gd name="connsiteX309" fmla="*/ 5237282 w 7467600"/>
              <a:gd name="connsiteY309" fmla="*/ 6579086 h 6858000"/>
              <a:gd name="connsiteX310" fmla="*/ 5115009 w 7467600"/>
              <a:gd name="connsiteY310" fmla="*/ 6858000 h 6858000"/>
              <a:gd name="connsiteX311" fmla="*/ 5028074 w 7467600"/>
              <a:gd name="connsiteY311" fmla="*/ 6858000 h 6858000"/>
              <a:gd name="connsiteX312" fmla="*/ 5079508 w 7467600"/>
              <a:gd name="connsiteY312" fmla="*/ 6749074 h 6858000"/>
              <a:gd name="connsiteX313" fmla="*/ 5371846 w 7467600"/>
              <a:gd name="connsiteY313" fmla="*/ 5924413 h 6858000"/>
              <a:gd name="connsiteX314" fmla="*/ 5270512 w 7467600"/>
              <a:gd name="connsiteY314" fmla="*/ 6138975 h 6858000"/>
              <a:gd name="connsiteX315" fmla="*/ 5062409 w 7467600"/>
              <a:gd name="connsiteY315" fmla="*/ 6653544 h 6858000"/>
              <a:gd name="connsiteX316" fmla="*/ 5036628 w 7467600"/>
              <a:gd name="connsiteY316" fmla="*/ 6754247 h 6858000"/>
              <a:gd name="connsiteX317" fmla="*/ 5009112 w 7467600"/>
              <a:gd name="connsiteY317" fmla="*/ 6858000 h 6858000"/>
              <a:gd name="connsiteX318" fmla="*/ 4976679 w 7467600"/>
              <a:gd name="connsiteY318" fmla="*/ 6858000 h 6858000"/>
              <a:gd name="connsiteX319" fmla="*/ 5006537 w 7467600"/>
              <a:gd name="connsiteY319" fmla="*/ 6747068 h 6858000"/>
              <a:gd name="connsiteX320" fmla="*/ 5032723 w 7467600"/>
              <a:gd name="connsiteY320" fmla="*/ 6644957 h 6858000"/>
              <a:gd name="connsiteX321" fmla="*/ 5242949 w 7467600"/>
              <a:gd name="connsiteY321" fmla="*/ 6125175 h 6858000"/>
              <a:gd name="connsiteX322" fmla="*/ 5286321 w 7467600"/>
              <a:gd name="connsiteY322" fmla="*/ 6033555 h 6858000"/>
              <a:gd name="connsiteX323" fmla="*/ 5008210 w 7467600"/>
              <a:gd name="connsiteY323" fmla="*/ 6649194 h 6858000"/>
              <a:gd name="connsiteX324" fmla="*/ 4986321 w 7467600"/>
              <a:gd name="connsiteY324" fmla="*/ 6765687 h 6858000"/>
              <a:gd name="connsiteX325" fmla="*/ 4973474 w 7467600"/>
              <a:gd name="connsiteY325" fmla="*/ 6858000 h 6858000"/>
              <a:gd name="connsiteX326" fmla="*/ 4907178 w 7467600"/>
              <a:gd name="connsiteY326" fmla="*/ 6858000 h 6858000"/>
              <a:gd name="connsiteX327" fmla="*/ 4910810 w 7467600"/>
              <a:gd name="connsiteY327" fmla="*/ 6829660 h 6858000"/>
              <a:gd name="connsiteX328" fmla="*/ 4987461 w 7467600"/>
              <a:gd name="connsiteY328" fmla="*/ 6432994 h 6858000"/>
              <a:gd name="connsiteX329" fmla="*/ 5179262 w 7467600"/>
              <a:gd name="connsiteY329" fmla="*/ 6035044 h 6858000"/>
              <a:gd name="connsiteX330" fmla="*/ 4689678 w 7467600"/>
              <a:gd name="connsiteY330" fmla="*/ 6440241 h 6858000"/>
              <a:gd name="connsiteX331" fmla="*/ 4477543 w 7467600"/>
              <a:gd name="connsiteY331" fmla="*/ 6674836 h 6858000"/>
              <a:gd name="connsiteX332" fmla="*/ 4329957 w 7467600"/>
              <a:gd name="connsiteY332" fmla="*/ 6858000 h 6858000"/>
              <a:gd name="connsiteX333" fmla="*/ 4218595 w 7467600"/>
              <a:gd name="connsiteY333" fmla="*/ 6858000 h 6858000"/>
              <a:gd name="connsiteX334" fmla="*/ 4368888 w 7467600"/>
              <a:gd name="connsiteY334" fmla="*/ 6668412 h 6858000"/>
              <a:gd name="connsiteX335" fmla="*/ 4563091 w 7467600"/>
              <a:gd name="connsiteY335" fmla="*/ 6442508 h 6858000"/>
              <a:gd name="connsiteX336" fmla="*/ 5387324 w 7467600"/>
              <a:gd name="connsiteY336" fmla="*/ 5705830 h 6858000"/>
              <a:gd name="connsiteX337" fmla="*/ 5073620 w 7467600"/>
              <a:gd name="connsiteY337" fmla="*/ 5955437 h 6858000"/>
              <a:gd name="connsiteX338" fmla="*/ 4689789 w 7467600"/>
              <a:gd name="connsiteY338" fmla="*/ 6268382 h 6858000"/>
              <a:gd name="connsiteX339" fmla="*/ 4418722 w 7467600"/>
              <a:gd name="connsiteY339" fmla="*/ 6570886 h 6858000"/>
              <a:gd name="connsiteX340" fmla="*/ 4214944 w 7467600"/>
              <a:gd name="connsiteY340" fmla="*/ 6858000 h 6858000"/>
              <a:gd name="connsiteX341" fmla="*/ 4177898 w 7467600"/>
              <a:gd name="connsiteY341" fmla="*/ 6858000 h 6858000"/>
              <a:gd name="connsiteX342" fmla="*/ 4391597 w 7467600"/>
              <a:gd name="connsiteY342" fmla="*/ 6556370 h 6858000"/>
              <a:gd name="connsiteX343" fmla="*/ 4668889 w 7467600"/>
              <a:gd name="connsiteY343" fmla="*/ 6246399 h 6858000"/>
              <a:gd name="connsiteX344" fmla="*/ 5055427 w 7467600"/>
              <a:gd name="connsiteY344" fmla="*/ 5931476 h 6858000"/>
              <a:gd name="connsiteX345" fmla="*/ 5371814 w 7467600"/>
              <a:gd name="connsiteY345" fmla="*/ 5678975 h 6858000"/>
              <a:gd name="connsiteX346" fmla="*/ 4987918 w 7467600"/>
              <a:gd name="connsiteY346" fmla="*/ 5838701 h 6858000"/>
              <a:gd name="connsiteX347" fmla="*/ 4317146 w 7467600"/>
              <a:gd name="connsiteY347" fmla="*/ 6587716 h 6858000"/>
              <a:gd name="connsiteX348" fmla="*/ 4171627 w 7467600"/>
              <a:gd name="connsiteY348" fmla="*/ 6858000 h 6858000"/>
              <a:gd name="connsiteX349" fmla="*/ 4081585 w 7467600"/>
              <a:gd name="connsiteY349" fmla="*/ 6858000 h 6858000"/>
              <a:gd name="connsiteX350" fmla="*/ 4238603 w 7467600"/>
              <a:gd name="connsiteY350" fmla="*/ 6559341 h 6858000"/>
              <a:gd name="connsiteX351" fmla="*/ 4778333 w 7467600"/>
              <a:gd name="connsiteY351" fmla="*/ 5873626 h 6858000"/>
              <a:gd name="connsiteX352" fmla="*/ 5414185 w 7467600"/>
              <a:gd name="connsiteY352" fmla="*/ 5573882 h 6858000"/>
              <a:gd name="connsiteX353" fmla="*/ 5959648 w 7467600"/>
              <a:gd name="connsiteY353" fmla="*/ 4760797 h 6858000"/>
              <a:gd name="connsiteX354" fmla="*/ 5355019 w 7467600"/>
              <a:gd name="connsiteY354" fmla="*/ 4734672 h 6858000"/>
              <a:gd name="connsiteX355" fmla="*/ 5083565 w 7467600"/>
              <a:gd name="connsiteY355" fmla="*/ 5179121 h 6858000"/>
              <a:gd name="connsiteX356" fmla="*/ 4713577 w 7467600"/>
              <a:gd name="connsiteY356" fmla="*/ 5616803 h 6858000"/>
              <a:gd name="connsiteX357" fmla="*/ 3989559 w 7467600"/>
              <a:gd name="connsiteY357" fmla="*/ 6145945 h 6858000"/>
              <a:gd name="connsiteX358" fmla="*/ 3939824 w 7467600"/>
              <a:gd name="connsiteY358" fmla="*/ 6066900 h 6858000"/>
              <a:gd name="connsiteX359" fmla="*/ 4584537 w 7467600"/>
              <a:gd name="connsiteY359" fmla="*/ 5324826 h 6858000"/>
              <a:gd name="connsiteX360" fmla="*/ 5037105 w 7467600"/>
              <a:gd name="connsiteY360" fmla="*/ 5088765 h 6858000"/>
              <a:gd name="connsiteX361" fmla="*/ 5039930 w 7467600"/>
              <a:gd name="connsiteY361" fmla="*/ 5089585 h 6858000"/>
              <a:gd name="connsiteX362" fmla="*/ 5263764 w 7467600"/>
              <a:gd name="connsiteY362" fmla="*/ 4735525 h 6858000"/>
              <a:gd name="connsiteX363" fmla="*/ 4086300 w 7467600"/>
              <a:gd name="connsiteY363" fmla="*/ 4884599 h 6858000"/>
              <a:gd name="connsiteX364" fmla="*/ 4085485 w 7467600"/>
              <a:gd name="connsiteY364" fmla="*/ 4899070 h 6858000"/>
              <a:gd name="connsiteX365" fmla="*/ 3871915 w 7467600"/>
              <a:gd name="connsiteY365" fmla="*/ 5253645 h 6858000"/>
              <a:gd name="connsiteX366" fmla="*/ 3799374 w 7467600"/>
              <a:gd name="connsiteY366" fmla="*/ 5466127 h 6858000"/>
              <a:gd name="connsiteX367" fmla="*/ 3498850 w 7467600"/>
              <a:gd name="connsiteY367" fmla="*/ 6661888 h 6858000"/>
              <a:gd name="connsiteX368" fmla="*/ 3399216 w 7467600"/>
              <a:gd name="connsiteY368" fmla="*/ 6858000 h 6858000"/>
              <a:gd name="connsiteX369" fmla="*/ 3303688 w 7467600"/>
              <a:gd name="connsiteY369" fmla="*/ 6858000 h 6858000"/>
              <a:gd name="connsiteX370" fmla="*/ 3391774 w 7467600"/>
              <a:gd name="connsiteY370" fmla="*/ 6697181 h 6858000"/>
              <a:gd name="connsiteX371" fmla="*/ 3735540 w 7467600"/>
              <a:gd name="connsiteY371" fmla="*/ 5546923 h 6858000"/>
              <a:gd name="connsiteX372" fmla="*/ 3729438 w 7467600"/>
              <a:gd name="connsiteY372" fmla="*/ 5569058 h 6858000"/>
              <a:gd name="connsiteX373" fmla="*/ 3707782 w 7467600"/>
              <a:gd name="connsiteY373" fmla="*/ 5644908 h 6858000"/>
              <a:gd name="connsiteX374" fmla="*/ 3583827 w 7467600"/>
              <a:gd name="connsiteY374" fmla="*/ 6039215 h 6858000"/>
              <a:gd name="connsiteX375" fmla="*/ 3547861 w 7467600"/>
              <a:gd name="connsiteY375" fmla="*/ 6129609 h 6858000"/>
              <a:gd name="connsiteX376" fmla="*/ 3490905 w 7467600"/>
              <a:gd name="connsiteY376" fmla="*/ 6277660 h 6858000"/>
              <a:gd name="connsiteX377" fmla="*/ 3455859 w 7467600"/>
              <a:gd name="connsiteY377" fmla="*/ 6391301 h 6858000"/>
              <a:gd name="connsiteX378" fmla="*/ 3429112 w 7467600"/>
              <a:gd name="connsiteY378" fmla="*/ 6479469 h 6858000"/>
              <a:gd name="connsiteX379" fmla="*/ 3304862 w 7467600"/>
              <a:gd name="connsiteY379" fmla="*/ 6796476 h 6858000"/>
              <a:gd name="connsiteX380" fmla="*/ 3276071 w 7467600"/>
              <a:gd name="connsiteY380" fmla="*/ 6858000 h 6858000"/>
              <a:gd name="connsiteX381" fmla="*/ 3240805 w 7467600"/>
              <a:gd name="connsiteY381" fmla="*/ 6858000 h 6858000"/>
              <a:gd name="connsiteX382" fmla="*/ 3275917 w 7467600"/>
              <a:gd name="connsiteY382" fmla="*/ 6783192 h 6858000"/>
              <a:gd name="connsiteX383" fmla="*/ 3399358 w 7467600"/>
              <a:gd name="connsiteY383" fmla="*/ 6469011 h 6858000"/>
              <a:gd name="connsiteX384" fmla="*/ 3425650 w 7467600"/>
              <a:gd name="connsiteY384" fmla="*/ 6381333 h 6858000"/>
              <a:gd name="connsiteX385" fmla="*/ 3460661 w 7467600"/>
              <a:gd name="connsiteY385" fmla="*/ 6266763 h 6858000"/>
              <a:gd name="connsiteX386" fmla="*/ 3518021 w 7467600"/>
              <a:gd name="connsiteY386" fmla="*/ 6117298 h 6858000"/>
              <a:gd name="connsiteX387" fmla="*/ 3554035 w 7467600"/>
              <a:gd name="connsiteY387" fmla="*/ 6027832 h 6858000"/>
              <a:gd name="connsiteX388" fmla="*/ 3677174 w 7467600"/>
              <a:gd name="connsiteY388" fmla="*/ 5636351 h 6858000"/>
              <a:gd name="connsiteX389" fmla="*/ 3698819 w 7467600"/>
              <a:gd name="connsiteY389" fmla="*/ 5560503 h 6858000"/>
              <a:gd name="connsiteX390" fmla="*/ 3702094 w 7467600"/>
              <a:gd name="connsiteY390" fmla="*/ 5549194 h 6858000"/>
              <a:gd name="connsiteX391" fmla="*/ 3398355 w 7467600"/>
              <a:gd name="connsiteY391" fmla="*/ 6094603 h 6858000"/>
              <a:gd name="connsiteX392" fmla="*/ 3193941 w 7467600"/>
              <a:gd name="connsiteY392" fmla="*/ 6798775 h 6858000"/>
              <a:gd name="connsiteX393" fmla="*/ 3184140 w 7467600"/>
              <a:gd name="connsiteY393" fmla="*/ 6858000 h 6858000"/>
              <a:gd name="connsiteX394" fmla="*/ 3099978 w 7467600"/>
              <a:gd name="connsiteY394" fmla="*/ 6858000 h 6858000"/>
              <a:gd name="connsiteX395" fmla="*/ 3101556 w 7467600"/>
              <a:gd name="connsiteY395" fmla="*/ 6843337 h 6858000"/>
              <a:gd name="connsiteX396" fmla="*/ 3370162 w 7467600"/>
              <a:gd name="connsiteY396" fmla="*/ 5785550 h 6858000"/>
              <a:gd name="connsiteX397" fmla="*/ 3746477 w 7467600"/>
              <a:gd name="connsiteY397" fmla="*/ 5377889 h 6858000"/>
              <a:gd name="connsiteX398" fmla="*/ 3863399 w 7467600"/>
              <a:gd name="connsiteY398" fmla="*/ 5087257 h 6858000"/>
              <a:gd name="connsiteX399" fmla="*/ 3968712 w 7467600"/>
              <a:gd name="connsiteY399" fmla="*/ 4913989 h 6858000"/>
              <a:gd name="connsiteX400" fmla="*/ 2792390 w 7467600"/>
              <a:gd name="connsiteY400" fmla="*/ 5382974 h 6858000"/>
              <a:gd name="connsiteX401" fmla="*/ 2714982 w 7467600"/>
              <a:gd name="connsiteY401" fmla="*/ 5427051 h 6858000"/>
              <a:gd name="connsiteX402" fmla="*/ 2813361 w 7467600"/>
              <a:gd name="connsiteY402" fmla="*/ 6023912 h 6858000"/>
              <a:gd name="connsiteX403" fmla="*/ 2688430 w 7467600"/>
              <a:gd name="connsiteY403" fmla="*/ 6801564 h 6858000"/>
              <a:gd name="connsiteX404" fmla="*/ 2629626 w 7467600"/>
              <a:gd name="connsiteY404" fmla="*/ 6763394 h 6858000"/>
              <a:gd name="connsiteX405" fmla="*/ 2565328 w 7467600"/>
              <a:gd name="connsiteY405" fmla="*/ 5516399 h 6858000"/>
              <a:gd name="connsiteX406" fmla="*/ 1922999 w 7467600"/>
              <a:gd name="connsiteY406" fmla="*/ 5980343 h 6858000"/>
              <a:gd name="connsiteX407" fmla="*/ 1950261 w 7467600"/>
              <a:gd name="connsiteY407" fmla="*/ 6405858 h 6858000"/>
              <a:gd name="connsiteX408" fmla="*/ 2365554 w 7467600"/>
              <a:gd name="connsiteY408" fmla="*/ 6759107 h 6858000"/>
              <a:gd name="connsiteX409" fmla="*/ 2424142 w 7467600"/>
              <a:gd name="connsiteY409" fmla="*/ 6858000 h 6858000"/>
              <a:gd name="connsiteX410" fmla="*/ 2395994 w 7467600"/>
              <a:gd name="connsiteY410" fmla="*/ 6858000 h 6858000"/>
              <a:gd name="connsiteX411" fmla="*/ 2392863 w 7467600"/>
              <a:gd name="connsiteY411" fmla="*/ 6852964 h 6858000"/>
              <a:gd name="connsiteX412" fmla="*/ 2017589 w 7467600"/>
              <a:gd name="connsiteY412" fmla="*/ 6493982 h 6858000"/>
              <a:gd name="connsiteX413" fmla="*/ 2147336 w 7467600"/>
              <a:gd name="connsiteY413" fmla="*/ 6594052 h 6858000"/>
              <a:gd name="connsiteX414" fmla="*/ 2207047 w 7467600"/>
              <a:gd name="connsiteY414" fmla="*/ 6654540 h 6858000"/>
              <a:gd name="connsiteX415" fmla="*/ 2299106 w 7467600"/>
              <a:gd name="connsiteY415" fmla="*/ 6778931 h 6858000"/>
              <a:gd name="connsiteX416" fmla="*/ 2314430 w 7467600"/>
              <a:gd name="connsiteY416" fmla="*/ 6801144 h 6858000"/>
              <a:gd name="connsiteX417" fmla="*/ 2352406 w 7467600"/>
              <a:gd name="connsiteY417" fmla="*/ 6858000 h 6858000"/>
              <a:gd name="connsiteX418" fmla="*/ 2314492 w 7467600"/>
              <a:gd name="connsiteY418" fmla="*/ 6858000 h 6858000"/>
              <a:gd name="connsiteX419" fmla="*/ 2288095 w 7467600"/>
              <a:gd name="connsiteY419" fmla="*/ 6818030 h 6858000"/>
              <a:gd name="connsiteX420" fmla="*/ 2272768 w 7467600"/>
              <a:gd name="connsiteY420" fmla="*/ 6795822 h 6858000"/>
              <a:gd name="connsiteX421" fmla="*/ 2182715 w 7467600"/>
              <a:gd name="connsiteY421" fmla="*/ 6675071 h 6858000"/>
              <a:gd name="connsiteX422" fmla="*/ 2032061 w 7467600"/>
              <a:gd name="connsiteY422" fmla="*/ 6541380 h 6858000"/>
              <a:gd name="connsiteX423" fmla="*/ 2257220 w 7467600"/>
              <a:gd name="connsiteY423" fmla="*/ 6826257 h 6858000"/>
              <a:gd name="connsiteX424" fmla="*/ 2281324 w 7467600"/>
              <a:gd name="connsiteY424" fmla="*/ 6858000 h 6858000"/>
              <a:gd name="connsiteX425" fmla="*/ 2242860 w 7467600"/>
              <a:gd name="connsiteY425" fmla="*/ 6858000 h 6858000"/>
              <a:gd name="connsiteX426" fmla="*/ 2232818 w 7467600"/>
              <a:gd name="connsiteY426" fmla="*/ 6844926 h 6858000"/>
              <a:gd name="connsiteX427" fmla="*/ 1990172 w 7467600"/>
              <a:gd name="connsiteY427" fmla="*/ 6542121 h 6858000"/>
              <a:gd name="connsiteX428" fmla="*/ 2124090 w 7467600"/>
              <a:gd name="connsiteY428" fmla="*/ 6761017 h 6858000"/>
              <a:gd name="connsiteX429" fmla="*/ 2200380 w 7467600"/>
              <a:gd name="connsiteY429" fmla="*/ 6858000 h 6858000"/>
              <a:gd name="connsiteX430" fmla="*/ 2147507 w 7467600"/>
              <a:gd name="connsiteY430" fmla="*/ 6858000 h 6858000"/>
              <a:gd name="connsiteX431" fmla="*/ 2070668 w 7467600"/>
              <a:gd name="connsiteY431" fmla="*/ 6761520 h 6858000"/>
              <a:gd name="connsiteX432" fmla="*/ 1975142 w 7467600"/>
              <a:gd name="connsiteY432" fmla="*/ 6585570 h 6858000"/>
              <a:gd name="connsiteX433" fmla="*/ 2050035 w 7467600"/>
              <a:gd name="connsiteY433" fmla="*/ 6813345 h 6858000"/>
              <a:gd name="connsiteX434" fmla="*/ 2063025 w 7467600"/>
              <a:gd name="connsiteY434" fmla="*/ 6858000 h 6858000"/>
              <a:gd name="connsiteX435" fmla="*/ 2021675 w 7467600"/>
              <a:gd name="connsiteY435" fmla="*/ 6858000 h 6858000"/>
              <a:gd name="connsiteX436" fmla="*/ 2019308 w 7467600"/>
              <a:gd name="connsiteY436" fmla="*/ 6847118 h 6858000"/>
              <a:gd name="connsiteX437" fmla="*/ 1938835 w 7467600"/>
              <a:gd name="connsiteY437" fmla="*/ 6551160 h 6858000"/>
              <a:gd name="connsiteX438" fmla="*/ 1953230 w 7467600"/>
              <a:gd name="connsiteY438" fmla="*/ 6759699 h 6858000"/>
              <a:gd name="connsiteX439" fmla="*/ 1956763 w 7467600"/>
              <a:gd name="connsiteY439" fmla="*/ 6778191 h 6858000"/>
              <a:gd name="connsiteX440" fmla="*/ 1967925 w 7467600"/>
              <a:gd name="connsiteY440" fmla="*/ 6858000 h 6858000"/>
              <a:gd name="connsiteX441" fmla="*/ 1936622 w 7467600"/>
              <a:gd name="connsiteY441" fmla="*/ 6858000 h 6858000"/>
              <a:gd name="connsiteX442" fmla="*/ 1926261 w 7467600"/>
              <a:gd name="connsiteY442" fmla="*/ 6784064 h 6858000"/>
              <a:gd name="connsiteX443" fmla="*/ 1922724 w 7467600"/>
              <a:gd name="connsiteY443" fmla="*/ 6765577 h 6858000"/>
              <a:gd name="connsiteX444" fmla="*/ 1904650 w 7467600"/>
              <a:gd name="connsiteY444" fmla="*/ 6639616 h 6858000"/>
              <a:gd name="connsiteX445" fmla="*/ 1885273 w 7467600"/>
              <a:gd name="connsiteY445" fmla="*/ 6858000 h 6858000"/>
              <a:gd name="connsiteX446" fmla="*/ 1854363 w 7467600"/>
              <a:gd name="connsiteY446" fmla="*/ 6858000 h 6858000"/>
              <a:gd name="connsiteX447" fmla="*/ 1880391 w 7467600"/>
              <a:gd name="connsiteY447" fmla="*/ 6603796 h 6858000"/>
              <a:gd name="connsiteX448" fmla="*/ 1818273 w 7467600"/>
              <a:gd name="connsiteY448" fmla="*/ 6715729 h 6858000"/>
              <a:gd name="connsiteX449" fmla="*/ 1794691 w 7467600"/>
              <a:gd name="connsiteY449" fmla="*/ 6843239 h 6858000"/>
              <a:gd name="connsiteX450" fmla="*/ 1794914 w 7467600"/>
              <a:gd name="connsiteY450" fmla="*/ 6858000 h 6858000"/>
              <a:gd name="connsiteX451" fmla="*/ 1746128 w 7467600"/>
              <a:gd name="connsiteY451" fmla="*/ 6858000 h 6858000"/>
              <a:gd name="connsiteX452" fmla="*/ 1753934 w 7467600"/>
              <a:gd name="connsiteY452" fmla="*/ 6724796 h 6858000"/>
              <a:gd name="connsiteX453" fmla="*/ 1792053 w 7467600"/>
              <a:gd name="connsiteY453" fmla="*/ 6572396 h 6858000"/>
              <a:gd name="connsiteX454" fmla="*/ 1862248 w 7467600"/>
              <a:gd name="connsiteY454" fmla="*/ 6266397 h 6858000"/>
              <a:gd name="connsiteX455" fmla="*/ 1862250 w 7467600"/>
              <a:gd name="connsiteY455" fmla="*/ 6033531 h 6858000"/>
              <a:gd name="connsiteX456" fmla="*/ 1211999 w 7467600"/>
              <a:gd name="connsiteY456" fmla="*/ 6683610 h 6858000"/>
              <a:gd name="connsiteX457" fmla="*/ 1213266 w 7467600"/>
              <a:gd name="connsiteY457" fmla="*/ 6691947 h 6858000"/>
              <a:gd name="connsiteX458" fmla="*/ 1203370 w 7467600"/>
              <a:gd name="connsiteY458" fmla="*/ 6850676 h 6858000"/>
              <a:gd name="connsiteX459" fmla="*/ 1203671 w 7467600"/>
              <a:gd name="connsiteY459" fmla="*/ 6858000 h 6858000"/>
              <a:gd name="connsiteX460" fmla="*/ 1143180 w 7467600"/>
              <a:gd name="connsiteY460" fmla="*/ 6858000 h 6858000"/>
              <a:gd name="connsiteX461" fmla="*/ 1142176 w 7467600"/>
              <a:gd name="connsiteY461" fmla="*/ 6766045 h 6858000"/>
              <a:gd name="connsiteX462" fmla="*/ 1067484 w 7467600"/>
              <a:gd name="connsiteY462" fmla="*/ 6858000 h 6858000"/>
              <a:gd name="connsiteX463" fmla="*/ 953928 w 7467600"/>
              <a:gd name="connsiteY463" fmla="*/ 6858000 h 6858000"/>
              <a:gd name="connsiteX464" fmla="*/ 959715 w 7467600"/>
              <a:gd name="connsiteY464" fmla="*/ 6850185 h 6858000"/>
              <a:gd name="connsiteX465" fmla="*/ 1483788 w 7467600"/>
              <a:gd name="connsiteY465" fmla="*/ 6259174 h 6858000"/>
              <a:gd name="connsiteX466" fmla="*/ 1100671 w 7467600"/>
              <a:gd name="connsiteY466" fmla="*/ 6252137 h 6858000"/>
              <a:gd name="connsiteX467" fmla="*/ 1090144 w 7467600"/>
              <a:gd name="connsiteY467" fmla="*/ 6256748 h 6858000"/>
              <a:gd name="connsiteX468" fmla="*/ 1095872 w 7467600"/>
              <a:gd name="connsiteY468" fmla="*/ 6271892 h 6858000"/>
              <a:gd name="connsiteX469" fmla="*/ 262785 w 7467600"/>
              <a:gd name="connsiteY469" fmla="*/ 6845450 h 6858000"/>
              <a:gd name="connsiteX470" fmla="*/ 209968 w 7467600"/>
              <a:gd name="connsiteY470" fmla="*/ 6770713 h 6858000"/>
              <a:gd name="connsiteX471" fmla="*/ 873460 w 7467600"/>
              <a:gd name="connsiteY471" fmla="*/ 6253768 h 6858000"/>
              <a:gd name="connsiteX472" fmla="*/ 192686 w 7467600"/>
              <a:gd name="connsiteY472" fmla="*/ 5849257 h 6858000"/>
              <a:gd name="connsiteX473" fmla="*/ 4696 w 7467600"/>
              <a:gd name="connsiteY473" fmla="*/ 5697668 h 6858000"/>
              <a:gd name="connsiteX474" fmla="*/ 0 w 7467600"/>
              <a:gd name="connsiteY474" fmla="*/ 5689984 h 6858000"/>
              <a:gd name="connsiteX475" fmla="*/ 0 w 7467600"/>
              <a:gd name="connsiteY475" fmla="*/ 5513472 h 6858000"/>
              <a:gd name="connsiteX476" fmla="*/ 174101 w 7467600"/>
              <a:gd name="connsiteY476" fmla="*/ 5620277 h 6858000"/>
              <a:gd name="connsiteX477" fmla="*/ 891800 w 7467600"/>
              <a:gd name="connsiteY477" fmla="*/ 6036935 h 6858000"/>
              <a:gd name="connsiteX478" fmla="*/ 1072219 w 7467600"/>
              <a:gd name="connsiteY478" fmla="*/ 6169443 h 6858000"/>
              <a:gd name="connsiteX479" fmla="*/ 1074117 w 7467600"/>
              <a:gd name="connsiteY479" fmla="*/ 6170301 h 6858000"/>
              <a:gd name="connsiteX480" fmla="*/ 1083114 w 7467600"/>
              <a:gd name="connsiteY480" fmla="*/ 6174131 h 6858000"/>
              <a:gd name="connsiteX481" fmla="*/ 1543010 w 7467600"/>
              <a:gd name="connsiteY481" fmla="*/ 6191140 h 6858000"/>
              <a:gd name="connsiteX482" fmla="*/ 1551080 w 7467600"/>
              <a:gd name="connsiteY482" fmla="*/ 6195006 h 6858000"/>
              <a:gd name="connsiteX483" fmla="*/ 2345443 w 7467600"/>
              <a:gd name="connsiteY483" fmla="*/ 5549882 h 6858000"/>
              <a:gd name="connsiteX484" fmla="*/ 1721499 w 7467600"/>
              <a:gd name="connsiteY484" fmla="*/ 5599969 h 6858000"/>
              <a:gd name="connsiteX485" fmla="*/ 767716 w 7467600"/>
              <a:gd name="connsiteY485" fmla="*/ 5472768 h 6858000"/>
              <a:gd name="connsiteX486" fmla="*/ 722147 w 7467600"/>
              <a:gd name="connsiteY486" fmla="*/ 5393091 h 6858000"/>
              <a:gd name="connsiteX487" fmla="*/ 1485552 w 7467600"/>
              <a:gd name="connsiteY487" fmla="*/ 5313202 h 6858000"/>
              <a:gd name="connsiteX488" fmla="*/ 2143004 w 7467600"/>
              <a:gd name="connsiteY488" fmla="*/ 5402420 h 6858000"/>
              <a:gd name="connsiteX489" fmla="*/ 1933391 w 7467600"/>
              <a:gd name="connsiteY489" fmla="*/ 5156971 h 6858000"/>
              <a:gd name="connsiteX490" fmla="*/ 1827118 w 7467600"/>
              <a:gd name="connsiteY490" fmla="*/ 4968410 h 6858000"/>
              <a:gd name="connsiteX491" fmla="*/ 1837349 w 7467600"/>
              <a:gd name="connsiteY491" fmla="*/ 4956357 h 6858000"/>
              <a:gd name="connsiteX492" fmla="*/ 2162835 w 7467600"/>
              <a:gd name="connsiteY492" fmla="*/ 5187853 h 6858000"/>
              <a:gd name="connsiteX493" fmla="*/ 2257167 w 7467600"/>
              <a:gd name="connsiteY493" fmla="*/ 5462123 h 6858000"/>
              <a:gd name="connsiteX494" fmla="*/ 2261598 w 7467600"/>
              <a:gd name="connsiteY494" fmla="*/ 5467998 h 6858000"/>
              <a:gd name="connsiteX495" fmla="*/ 2437177 w 7467600"/>
              <a:gd name="connsiteY495" fmla="*/ 5479608 h 6858000"/>
              <a:gd name="connsiteX496" fmla="*/ 2445247 w 7467600"/>
              <a:gd name="connsiteY496" fmla="*/ 5483476 h 6858000"/>
              <a:gd name="connsiteX497" fmla="*/ 2743626 w 7467600"/>
              <a:gd name="connsiteY497" fmla="*/ 5304819 h 6858000"/>
              <a:gd name="connsiteX498" fmla="*/ 3048102 w 7467600"/>
              <a:gd name="connsiteY498" fmla="*/ 5150595 h 6858000"/>
              <a:gd name="connsiteX499" fmla="*/ 1799414 w 7467600"/>
              <a:gd name="connsiteY499" fmla="*/ 4694732 h 6858000"/>
              <a:gd name="connsiteX500" fmla="*/ 1771735 w 7467600"/>
              <a:gd name="connsiteY500" fmla="*/ 4619929 h 6858000"/>
              <a:gd name="connsiteX501" fmla="*/ 3104273 w 7467600"/>
              <a:gd name="connsiteY501" fmla="*/ 5076159 h 6858000"/>
              <a:gd name="connsiteX502" fmla="*/ 3113245 w 7467600"/>
              <a:gd name="connsiteY502" fmla="*/ 5090705 h 6858000"/>
              <a:gd name="connsiteX503" fmla="*/ 3126294 w 7467600"/>
              <a:gd name="connsiteY503" fmla="*/ 5114400 h 6858000"/>
              <a:gd name="connsiteX504" fmla="*/ 3937433 w 7467600"/>
              <a:gd name="connsiteY504" fmla="*/ 4830473 h 6858000"/>
              <a:gd name="connsiteX505" fmla="*/ 3590475 w 7467600"/>
              <a:gd name="connsiteY505" fmla="*/ 4597974 h 6858000"/>
              <a:gd name="connsiteX506" fmla="*/ 3100264 w 7467600"/>
              <a:gd name="connsiteY506" fmla="*/ 4579845 h 6858000"/>
              <a:gd name="connsiteX507" fmla="*/ 2183576 w 7467600"/>
              <a:gd name="connsiteY507" fmla="*/ 4227150 h 6858000"/>
              <a:gd name="connsiteX508" fmla="*/ 2151029 w 7467600"/>
              <a:gd name="connsiteY508" fmla="*/ 4146947 h 6858000"/>
              <a:gd name="connsiteX509" fmla="*/ 3563434 w 7467600"/>
              <a:gd name="connsiteY509" fmla="*/ 4469115 h 6858000"/>
              <a:gd name="connsiteX510" fmla="*/ 3177952 w 7467600"/>
              <a:gd name="connsiteY510" fmla="*/ 3657386 h 6858000"/>
              <a:gd name="connsiteX511" fmla="*/ 3189263 w 7467600"/>
              <a:gd name="connsiteY511" fmla="*/ 3625726 h 6858000"/>
              <a:gd name="connsiteX512" fmla="*/ 3560912 w 7467600"/>
              <a:gd name="connsiteY512" fmla="*/ 4079863 h 6858000"/>
              <a:gd name="connsiteX513" fmla="*/ 3626636 w 7467600"/>
              <a:gd name="connsiteY513" fmla="*/ 4512230 h 6858000"/>
              <a:gd name="connsiteX514" fmla="*/ 3653088 w 7467600"/>
              <a:gd name="connsiteY514" fmla="*/ 4521417 h 6858000"/>
              <a:gd name="connsiteX515" fmla="*/ 3988128 w 7467600"/>
              <a:gd name="connsiteY515" fmla="*/ 4817267 h 6858000"/>
              <a:gd name="connsiteX516" fmla="*/ 4830582 w 7467600"/>
              <a:gd name="connsiteY516" fmla="*/ 4676000 h 6858000"/>
              <a:gd name="connsiteX517" fmla="*/ 4830100 w 7467600"/>
              <a:gd name="connsiteY517" fmla="*/ 4675554 h 6858000"/>
              <a:gd name="connsiteX518" fmla="*/ 4036318 w 7467600"/>
              <a:gd name="connsiteY518" fmla="*/ 4147013 h 6858000"/>
              <a:gd name="connsiteX519" fmla="*/ 3432098 w 7467600"/>
              <a:gd name="connsiteY519" fmla="*/ 3537312 h 6858000"/>
              <a:gd name="connsiteX520" fmla="*/ 3446761 w 7467600"/>
              <a:gd name="connsiteY520" fmla="*/ 3461278 h 6858000"/>
              <a:gd name="connsiteX521" fmla="*/ 4419733 w 7467600"/>
              <a:gd name="connsiteY521" fmla="*/ 3963555 h 6858000"/>
              <a:gd name="connsiteX522" fmla="*/ 4781371 w 7467600"/>
              <a:gd name="connsiteY522" fmla="*/ 4458604 h 6858000"/>
              <a:gd name="connsiteX523" fmla="*/ 4780440 w 7467600"/>
              <a:gd name="connsiteY523" fmla="*/ 4470290 h 6858000"/>
              <a:gd name="connsiteX524" fmla="*/ 4898954 w 7467600"/>
              <a:gd name="connsiteY524" fmla="*/ 4662092 h 6858000"/>
              <a:gd name="connsiteX525" fmla="*/ 4900699 w 7467600"/>
              <a:gd name="connsiteY525" fmla="*/ 4670867 h 6858000"/>
              <a:gd name="connsiteX526" fmla="*/ 5714511 w 7467600"/>
              <a:gd name="connsiteY526" fmla="*/ 4663483 h 6858000"/>
              <a:gd name="connsiteX527" fmla="*/ 5464793 w 7467600"/>
              <a:gd name="connsiteY527" fmla="*/ 4393556 h 6858000"/>
              <a:gd name="connsiteX528" fmla="*/ 5461897 w 7467600"/>
              <a:gd name="connsiteY528" fmla="*/ 4390879 h 6858000"/>
              <a:gd name="connsiteX529" fmla="*/ 4294126 w 7467600"/>
              <a:gd name="connsiteY529" fmla="*/ 3303048 h 6858000"/>
              <a:gd name="connsiteX530" fmla="*/ 4305321 w 7467600"/>
              <a:gd name="connsiteY530" fmla="*/ 3256953 h 6858000"/>
              <a:gd name="connsiteX531" fmla="*/ 4949299 w 7467600"/>
              <a:gd name="connsiteY531" fmla="*/ 3766336 h 6858000"/>
              <a:gd name="connsiteX532" fmla="*/ 5291452 w 7467600"/>
              <a:gd name="connsiteY532" fmla="*/ 4076801 h 6858000"/>
              <a:gd name="connsiteX533" fmla="*/ 5434998 w 7467600"/>
              <a:gd name="connsiteY533" fmla="*/ 4254100 h 6858000"/>
              <a:gd name="connsiteX534" fmla="*/ 5351015 w 7467600"/>
              <a:gd name="connsiteY534" fmla="*/ 3760989 h 6858000"/>
              <a:gd name="connsiteX535" fmla="*/ 5413780 w 7467600"/>
              <a:gd name="connsiteY535" fmla="*/ 2966265 h 6858000"/>
              <a:gd name="connsiteX536" fmla="*/ 5425627 w 7467600"/>
              <a:gd name="connsiteY536" fmla="*/ 2954192 h 6858000"/>
              <a:gd name="connsiteX537" fmla="*/ 6604735 w 7467600"/>
              <a:gd name="connsiteY537" fmla="*/ 2041381 h 6858000"/>
              <a:gd name="connsiteX538" fmla="*/ 7204487 w 7467600"/>
              <a:gd name="connsiteY538" fmla="*/ 2742112 h 6858000"/>
              <a:gd name="connsiteX539" fmla="*/ 7131592 w 7467600"/>
              <a:gd name="connsiteY539" fmla="*/ 2672096 h 6858000"/>
              <a:gd name="connsiteX540" fmla="*/ 6996344 w 7467600"/>
              <a:gd name="connsiteY540" fmla="*/ 2518310 h 6858000"/>
              <a:gd name="connsiteX541" fmla="*/ 6735495 w 7467600"/>
              <a:gd name="connsiteY541" fmla="*/ 2196890 h 6858000"/>
              <a:gd name="connsiteX542" fmla="*/ 6721901 w 7467600"/>
              <a:gd name="connsiteY542" fmla="*/ 2179274 h 6858000"/>
              <a:gd name="connsiteX543" fmla="*/ 6604735 w 7467600"/>
              <a:gd name="connsiteY543" fmla="*/ 2041381 h 6858000"/>
              <a:gd name="connsiteX544" fmla="*/ 6591670 w 7467600"/>
              <a:gd name="connsiteY544" fmla="*/ 1988277 h 6858000"/>
              <a:gd name="connsiteX545" fmla="*/ 6747349 w 7467600"/>
              <a:gd name="connsiteY545" fmla="*/ 2160069 h 6858000"/>
              <a:gd name="connsiteX546" fmla="*/ 6760943 w 7467600"/>
              <a:gd name="connsiteY546" fmla="*/ 2177686 h 6858000"/>
              <a:gd name="connsiteX547" fmla="*/ 7021065 w 7467600"/>
              <a:gd name="connsiteY547" fmla="*/ 2498102 h 6858000"/>
              <a:gd name="connsiteX548" fmla="*/ 7155223 w 7467600"/>
              <a:gd name="connsiteY548" fmla="*/ 2650386 h 6858000"/>
              <a:gd name="connsiteX549" fmla="*/ 7203167 w 7467600"/>
              <a:gd name="connsiteY549" fmla="*/ 2697288 h 6858000"/>
              <a:gd name="connsiteX550" fmla="*/ 6937703 w 7467600"/>
              <a:gd name="connsiteY550" fmla="*/ 2321981 h 6858000"/>
              <a:gd name="connsiteX551" fmla="*/ 6591670 w 7467600"/>
              <a:gd name="connsiteY551" fmla="*/ 1988277 h 6858000"/>
              <a:gd name="connsiteX552" fmla="*/ 5798671 w 7467600"/>
              <a:gd name="connsiteY552" fmla="*/ 1981601 h 6858000"/>
              <a:gd name="connsiteX553" fmla="*/ 5754709 w 7467600"/>
              <a:gd name="connsiteY553" fmla="*/ 2071454 h 6858000"/>
              <a:gd name="connsiteX554" fmla="*/ 5763044 w 7467600"/>
              <a:gd name="connsiteY554" fmla="*/ 2842206 h 6858000"/>
              <a:gd name="connsiteX555" fmla="*/ 5764974 w 7467600"/>
              <a:gd name="connsiteY555" fmla="*/ 2799609 h 6858000"/>
              <a:gd name="connsiteX556" fmla="*/ 5767665 w 7467600"/>
              <a:gd name="connsiteY556" fmla="*/ 2666409 h 6858000"/>
              <a:gd name="connsiteX557" fmla="*/ 5763055 w 7467600"/>
              <a:gd name="connsiteY557" fmla="*/ 2579705 h 6858000"/>
              <a:gd name="connsiteX558" fmla="*/ 5758079 w 7467600"/>
              <a:gd name="connsiteY558" fmla="*/ 2492508 h 6858000"/>
              <a:gd name="connsiteX559" fmla="*/ 5779325 w 7467600"/>
              <a:gd name="connsiteY559" fmla="*/ 2197069 h 6858000"/>
              <a:gd name="connsiteX560" fmla="*/ 5798671 w 7467600"/>
              <a:gd name="connsiteY560" fmla="*/ 1981601 h 6858000"/>
              <a:gd name="connsiteX561" fmla="*/ 5829202 w 7467600"/>
              <a:gd name="connsiteY561" fmla="*/ 1971679 h 6858000"/>
              <a:gd name="connsiteX562" fmla="*/ 5809558 w 7467600"/>
              <a:gd name="connsiteY562" fmla="*/ 2198043 h 6858000"/>
              <a:gd name="connsiteX563" fmla="*/ 5788653 w 7467600"/>
              <a:gd name="connsiteY563" fmla="*/ 2489430 h 6858000"/>
              <a:gd name="connsiteX564" fmla="*/ 5793439 w 7467600"/>
              <a:gd name="connsiteY564" fmla="*/ 2575235 h 6858000"/>
              <a:gd name="connsiteX565" fmla="*/ 5796837 w 7467600"/>
              <a:gd name="connsiteY565" fmla="*/ 2637633 h 6858000"/>
              <a:gd name="connsiteX566" fmla="*/ 5818614 w 7467600"/>
              <a:gd name="connsiteY566" fmla="*/ 2473055 h 6858000"/>
              <a:gd name="connsiteX567" fmla="*/ 5829202 w 7467600"/>
              <a:gd name="connsiteY567" fmla="*/ 1971679 h 6858000"/>
              <a:gd name="connsiteX568" fmla="*/ 5911389 w 7467600"/>
              <a:gd name="connsiteY568" fmla="*/ 1898371 h 6858000"/>
              <a:gd name="connsiteX569" fmla="*/ 6237627 w 7467600"/>
              <a:gd name="connsiteY569" fmla="*/ 2231921 h 6858000"/>
              <a:gd name="connsiteX570" fmla="*/ 5911389 w 7467600"/>
              <a:gd name="connsiteY570" fmla="*/ 1898371 h 6858000"/>
              <a:gd name="connsiteX571" fmla="*/ 6944437 w 7467600"/>
              <a:gd name="connsiteY571" fmla="*/ 1575402 h 6858000"/>
              <a:gd name="connsiteX572" fmla="*/ 6304730 w 7467600"/>
              <a:gd name="connsiteY572" fmla="*/ 1766654 h 6858000"/>
              <a:gd name="connsiteX573" fmla="*/ 6944437 w 7467600"/>
              <a:gd name="connsiteY573" fmla="*/ 1575402 h 6858000"/>
              <a:gd name="connsiteX574" fmla="*/ 7019523 w 7467600"/>
              <a:gd name="connsiteY574" fmla="*/ 1519450 h 6858000"/>
              <a:gd name="connsiteX575" fmla="*/ 6298091 w 7467600"/>
              <a:gd name="connsiteY575" fmla="*/ 1737122 h 6858000"/>
              <a:gd name="connsiteX576" fmla="*/ 7019523 w 7467600"/>
              <a:gd name="connsiteY576" fmla="*/ 1519450 h 6858000"/>
              <a:gd name="connsiteX577" fmla="*/ 2399523 w 7467600"/>
              <a:gd name="connsiteY577" fmla="*/ 1428234 h 6858000"/>
              <a:gd name="connsiteX578" fmla="*/ 2224982 w 7467600"/>
              <a:gd name="connsiteY578" fmla="*/ 1826201 h 6858000"/>
              <a:gd name="connsiteX579" fmla="*/ 2096099 w 7467600"/>
              <a:gd name="connsiteY579" fmla="*/ 2345900 h 6858000"/>
              <a:gd name="connsiteX580" fmla="*/ 2283317 w 7467600"/>
              <a:gd name="connsiteY580" fmla="*/ 1796925 h 6858000"/>
              <a:gd name="connsiteX581" fmla="*/ 2399523 w 7467600"/>
              <a:gd name="connsiteY581" fmla="*/ 1428234 h 6858000"/>
              <a:gd name="connsiteX582" fmla="*/ 2448558 w 7467600"/>
              <a:gd name="connsiteY582" fmla="*/ 1373435 h 6858000"/>
              <a:gd name="connsiteX583" fmla="*/ 2312521 w 7467600"/>
              <a:gd name="connsiteY583" fmla="*/ 1806140 h 6858000"/>
              <a:gd name="connsiteX584" fmla="*/ 2127533 w 7467600"/>
              <a:gd name="connsiteY584" fmla="*/ 2348380 h 6858000"/>
              <a:gd name="connsiteX585" fmla="*/ 2358080 w 7467600"/>
              <a:gd name="connsiteY585" fmla="*/ 1866134 h 6858000"/>
              <a:gd name="connsiteX586" fmla="*/ 2407436 w 7467600"/>
              <a:gd name="connsiteY586" fmla="*/ 1651070 h 6858000"/>
              <a:gd name="connsiteX587" fmla="*/ 2448558 w 7467600"/>
              <a:gd name="connsiteY587" fmla="*/ 1373435 h 6858000"/>
              <a:gd name="connsiteX588" fmla="*/ 278707 w 7467600"/>
              <a:gd name="connsiteY588" fmla="*/ 1352270 h 6858000"/>
              <a:gd name="connsiteX589" fmla="*/ 321570 w 7467600"/>
              <a:gd name="connsiteY589" fmla="*/ 1861610 h 6858000"/>
              <a:gd name="connsiteX590" fmla="*/ 294281 w 7467600"/>
              <a:gd name="connsiteY590" fmla="*/ 1440658 h 6858000"/>
              <a:gd name="connsiteX591" fmla="*/ 278707 w 7467600"/>
              <a:gd name="connsiteY591" fmla="*/ 1352270 h 6858000"/>
              <a:gd name="connsiteX592" fmla="*/ 1423821 w 7467600"/>
              <a:gd name="connsiteY592" fmla="*/ 1351958 h 6858000"/>
              <a:gd name="connsiteX593" fmla="*/ 1638521 w 7467600"/>
              <a:gd name="connsiteY593" fmla="*/ 1908470 h 6858000"/>
              <a:gd name="connsiteX594" fmla="*/ 1754199 w 7467600"/>
              <a:gd name="connsiteY594" fmla="*/ 2149284 h 6858000"/>
              <a:gd name="connsiteX595" fmla="*/ 1908359 w 7467600"/>
              <a:gd name="connsiteY595" fmla="*/ 2364988 h 6858000"/>
              <a:gd name="connsiteX596" fmla="*/ 1647661 w 7467600"/>
              <a:gd name="connsiteY596" fmla="*/ 1825945 h 6858000"/>
              <a:gd name="connsiteX597" fmla="*/ 1423821 w 7467600"/>
              <a:gd name="connsiteY597" fmla="*/ 1351958 h 6858000"/>
              <a:gd name="connsiteX598" fmla="*/ 1431890 w 7467600"/>
              <a:gd name="connsiteY598" fmla="*/ 1306475 h 6858000"/>
              <a:gd name="connsiteX599" fmla="*/ 1507597 w 7467600"/>
              <a:gd name="connsiteY599" fmla="*/ 1446132 h 6858000"/>
              <a:gd name="connsiteX600" fmla="*/ 1674586 w 7467600"/>
              <a:gd name="connsiteY600" fmla="*/ 1813832 h 6858000"/>
              <a:gd name="connsiteX601" fmla="*/ 1815950 w 7467600"/>
              <a:gd name="connsiteY601" fmla="*/ 2128564 h 6858000"/>
              <a:gd name="connsiteX602" fmla="*/ 1984242 w 7467600"/>
              <a:gd name="connsiteY602" fmla="*/ 2430829 h 6858000"/>
              <a:gd name="connsiteX603" fmla="*/ 2014023 w 7467600"/>
              <a:gd name="connsiteY603" fmla="*/ 2450995 h 6858000"/>
              <a:gd name="connsiteX604" fmla="*/ 1747337 w 7467600"/>
              <a:gd name="connsiteY604" fmla="*/ 1855264 h 6858000"/>
              <a:gd name="connsiteX605" fmla="*/ 1533749 w 7467600"/>
              <a:gd name="connsiteY605" fmla="*/ 1478656 h 6858000"/>
              <a:gd name="connsiteX606" fmla="*/ 1431890 w 7467600"/>
              <a:gd name="connsiteY606" fmla="*/ 1306475 h 6858000"/>
              <a:gd name="connsiteX607" fmla="*/ 5052692 w 7467600"/>
              <a:gd name="connsiteY607" fmla="*/ 1292994 h 6858000"/>
              <a:gd name="connsiteX608" fmla="*/ 5200661 w 7467600"/>
              <a:gd name="connsiteY608" fmla="*/ 1635186 h 6858000"/>
              <a:gd name="connsiteX609" fmla="*/ 5297138 w 7467600"/>
              <a:gd name="connsiteY609" fmla="*/ 1906351 h 6858000"/>
              <a:gd name="connsiteX610" fmla="*/ 5052692 w 7467600"/>
              <a:gd name="connsiteY610" fmla="*/ 1292994 h 6858000"/>
              <a:gd name="connsiteX611" fmla="*/ 5009948 w 7467600"/>
              <a:gd name="connsiteY611" fmla="*/ 1273619 h 6858000"/>
              <a:gd name="connsiteX612" fmla="*/ 5121777 w 7467600"/>
              <a:gd name="connsiteY612" fmla="*/ 1654213 h 6858000"/>
              <a:gd name="connsiteX613" fmla="*/ 5293545 w 7467600"/>
              <a:gd name="connsiteY613" fmla="*/ 2072247 h 6858000"/>
              <a:gd name="connsiteX614" fmla="*/ 5294042 w 7467600"/>
              <a:gd name="connsiteY614" fmla="*/ 2065019 h 6858000"/>
              <a:gd name="connsiteX615" fmla="*/ 5171936 w 7467600"/>
              <a:gd name="connsiteY615" fmla="*/ 1647613 h 6858000"/>
              <a:gd name="connsiteX616" fmla="*/ 5009948 w 7467600"/>
              <a:gd name="connsiteY616" fmla="*/ 1273619 h 6858000"/>
              <a:gd name="connsiteX617" fmla="*/ 655236 w 7467600"/>
              <a:gd name="connsiteY617" fmla="*/ 1268632 h 6858000"/>
              <a:gd name="connsiteX618" fmla="*/ 839521 w 7467600"/>
              <a:gd name="connsiteY618" fmla="*/ 1685315 h 6858000"/>
              <a:gd name="connsiteX619" fmla="*/ 1109416 w 7467600"/>
              <a:gd name="connsiteY619" fmla="*/ 2061663 h 6858000"/>
              <a:gd name="connsiteX620" fmla="*/ 1298300 w 7467600"/>
              <a:gd name="connsiteY620" fmla="*/ 2247742 h 6858000"/>
              <a:gd name="connsiteX621" fmla="*/ 1125871 w 7467600"/>
              <a:gd name="connsiteY621" fmla="*/ 1989513 h 6858000"/>
              <a:gd name="connsiteX622" fmla="*/ 981574 w 7467600"/>
              <a:gd name="connsiteY622" fmla="*/ 1783157 h 6858000"/>
              <a:gd name="connsiteX623" fmla="*/ 922198 w 7467600"/>
              <a:gd name="connsiteY623" fmla="*/ 1677437 h 6858000"/>
              <a:gd name="connsiteX624" fmla="*/ 869293 w 7467600"/>
              <a:gd name="connsiteY624" fmla="*/ 1583214 h 6858000"/>
              <a:gd name="connsiteX625" fmla="*/ 751431 w 7467600"/>
              <a:gd name="connsiteY625" fmla="*/ 1405731 h 6858000"/>
              <a:gd name="connsiteX626" fmla="*/ 655236 w 7467600"/>
              <a:gd name="connsiteY626" fmla="*/ 1268632 h 6858000"/>
              <a:gd name="connsiteX627" fmla="*/ 6516292 w 7467600"/>
              <a:gd name="connsiteY627" fmla="*/ 1263064 h 6858000"/>
              <a:gd name="connsiteX628" fmla="*/ 5736320 w 7467600"/>
              <a:gd name="connsiteY628" fmla="*/ 1501803 h 6858000"/>
              <a:gd name="connsiteX629" fmla="*/ 6516292 w 7467600"/>
              <a:gd name="connsiteY629" fmla="*/ 1263064 h 6858000"/>
              <a:gd name="connsiteX630" fmla="*/ 291466 w 7467600"/>
              <a:gd name="connsiteY630" fmla="*/ 1250369 h 6858000"/>
              <a:gd name="connsiteX631" fmla="*/ 323180 w 7467600"/>
              <a:gd name="connsiteY631" fmla="*/ 1435283 h 6858000"/>
              <a:gd name="connsiteX632" fmla="*/ 349381 w 7467600"/>
              <a:gd name="connsiteY632" fmla="*/ 1875041 h 6858000"/>
              <a:gd name="connsiteX633" fmla="*/ 374363 w 7467600"/>
              <a:gd name="connsiteY633" fmla="*/ 1506494 h 6858000"/>
              <a:gd name="connsiteX634" fmla="*/ 302168 w 7467600"/>
              <a:gd name="connsiteY634" fmla="*/ 1274495 h 6858000"/>
              <a:gd name="connsiteX635" fmla="*/ 291466 w 7467600"/>
              <a:gd name="connsiteY635" fmla="*/ 1250369 h 6858000"/>
              <a:gd name="connsiteX636" fmla="*/ 678222 w 7467600"/>
              <a:gd name="connsiteY636" fmla="*/ 1248670 h 6858000"/>
              <a:gd name="connsiteX637" fmla="*/ 775536 w 7467600"/>
              <a:gd name="connsiteY637" fmla="*/ 1388015 h 6858000"/>
              <a:gd name="connsiteX638" fmla="*/ 894529 w 7467600"/>
              <a:gd name="connsiteY638" fmla="*/ 1567739 h 6858000"/>
              <a:gd name="connsiteX639" fmla="*/ 948000 w 7467600"/>
              <a:gd name="connsiteY639" fmla="*/ 1663088 h 6858000"/>
              <a:gd name="connsiteX640" fmla="*/ 1006812 w 7467600"/>
              <a:gd name="connsiteY640" fmla="*/ 1767683 h 6858000"/>
              <a:gd name="connsiteX641" fmla="*/ 1149133 w 7467600"/>
              <a:gd name="connsiteY641" fmla="*/ 1971513 h 6858000"/>
              <a:gd name="connsiteX642" fmla="*/ 1333952 w 7467600"/>
              <a:gd name="connsiteY642" fmla="*/ 2251620 h 6858000"/>
              <a:gd name="connsiteX643" fmla="*/ 1337329 w 7467600"/>
              <a:gd name="connsiteY643" fmla="*/ 2258350 h 6858000"/>
              <a:gd name="connsiteX644" fmla="*/ 1014726 w 7467600"/>
              <a:gd name="connsiteY644" fmla="*/ 1615556 h 6858000"/>
              <a:gd name="connsiteX645" fmla="*/ 678222 w 7467600"/>
              <a:gd name="connsiteY645" fmla="*/ 1248670 h 6858000"/>
              <a:gd name="connsiteX646" fmla="*/ 6691602 w 7467600"/>
              <a:gd name="connsiteY646" fmla="*/ 1140573 h 6858000"/>
              <a:gd name="connsiteX647" fmla="*/ 6571100 w 7467600"/>
              <a:gd name="connsiteY647" fmla="*/ 1183662 h 6858000"/>
              <a:gd name="connsiteX648" fmla="*/ 6241687 w 7467600"/>
              <a:gd name="connsiteY648" fmla="*/ 1257600 h 6858000"/>
              <a:gd name="connsiteX649" fmla="*/ 5693009 w 7467600"/>
              <a:gd name="connsiteY649" fmla="*/ 1478256 h 6858000"/>
              <a:gd name="connsiteX650" fmla="*/ 6548420 w 7467600"/>
              <a:gd name="connsiteY650" fmla="*/ 1214599 h 6858000"/>
              <a:gd name="connsiteX651" fmla="*/ 6605473 w 7467600"/>
              <a:gd name="connsiteY651" fmla="*/ 1184686 h 6858000"/>
              <a:gd name="connsiteX652" fmla="*/ 6691602 w 7467600"/>
              <a:gd name="connsiteY652" fmla="*/ 1140573 h 6858000"/>
              <a:gd name="connsiteX653" fmla="*/ 4002475 w 7467600"/>
              <a:gd name="connsiteY653" fmla="*/ 1037802 h 6858000"/>
              <a:gd name="connsiteX654" fmla="*/ 4000324 w 7467600"/>
              <a:gd name="connsiteY654" fmla="*/ 1039362 h 6858000"/>
              <a:gd name="connsiteX655" fmla="*/ 4002862 w 7467600"/>
              <a:gd name="connsiteY655" fmla="*/ 1042866 h 6858000"/>
              <a:gd name="connsiteX656" fmla="*/ 4002475 w 7467600"/>
              <a:gd name="connsiteY656" fmla="*/ 1037802 h 6858000"/>
              <a:gd name="connsiteX657" fmla="*/ 506322 w 7467600"/>
              <a:gd name="connsiteY657" fmla="*/ 1020997 h 6858000"/>
              <a:gd name="connsiteX658" fmla="*/ 533068 w 7467600"/>
              <a:gd name="connsiteY658" fmla="*/ 1029409 h 6858000"/>
              <a:gd name="connsiteX659" fmla="*/ 1232525 w 7467600"/>
              <a:gd name="connsiteY659" fmla="*/ 1804675 h 6858000"/>
              <a:gd name="connsiteX660" fmla="*/ 1388858 w 7467600"/>
              <a:gd name="connsiteY660" fmla="*/ 2368011 h 6858000"/>
              <a:gd name="connsiteX661" fmla="*/ 1384098 w 7467600"/>
              <a:gd name="connsiteY661" fmla="*/ 2378125 h 6858000"/>
              <a:gd name="connsiteX662" fmla="*/ 1425393 w 7467600"/>
              <a:gd name="connsiteY662" fmla="*/ 2589124 h 6858000"/>
              <a:gd name="connsiteX663" fmla="*/ 1424001 w 7467600"/>
              <a:gd name="connsiteY663" fmla="*/ 2597541 h 6858000"/>
              <a:gd name="connsiteX664" fmla="*/ 2152729 w 7467600"/>
              <a:gd name="connsiteY664" fmla="*/ 2864487 h 6858000"/>
              <a:gd name="connsiteX665" fmla="*/ 2020609 w 7467600"/>
              <a:gd name="connsiteY665" fmla="*/ 2539671 h 6858000"/>
              <a:gd name="connsiteX666" fmla="*/ 2018920 w 7467600"/>
              <a:gd name="connsiteY666" fmla="*/ 2536309 h 6858000"/>
              <a:gd name="connsiteX667" fmla="*/ 1342441 w 7467600"/>
              <a:gd name="connsiteY667" fmla="*/ 1173017 h 6858000"/>
              <a:gd name="connsiteX668" fmla="*/ 1367925 w 7467600"/>
              <a:gd name="connsiteY668" fmla="*/ 1135648 h 6858000"/>
              <a:gd name="connsiteX669" fmla="*/ 1771401 w 7467600"/>
              <a:gd name="connsiteY669" fmla="*/ 1806673 h 6858000"/>
              <a:gd name="connsiteX670" fmla="*/ 1972385 w 7467600"/>
              <a:gd name="connsiteY670" fmla="*/ 2198735 h 6858000"/>
              <a:gd name="connsiteX671" fmla="*/ 2040892 w 7467600"/>
              <a:gd name="connsiteY671" fmla="*/ 2405205 h 6858000"/>
              <a:gd name="connsiteX672" fmla="*/ 2131689 w 7467600"/>
              <a:gd name="connsiteY672" fmla="*/ 1936926 h 6858000"/>
              <a:gd name="connsiteX673" fmla="*/ 2454820 w 7467600"/>
              <a:gd name="connsiteY673" fmla="*/ 1248808 h 6858000"/>
              <a:gd name="connsiteX674" fmla="*/ 2492512 w 7467600"/>
              <a:gd name="connsiteY674" fmla="*/ 1302920 h 6858000"/>
              <a:gd name="connsiteX675" fmla="*/ 2081216 w 7467600"/>
              <a:gd name="connsiteY675" fmla="*/ 2527513 h 6858000"/>
              <a:gd name="connsiteX676" fmla="*/ 2081211 w 7467600"/>
              <a:gd name="connsiteY676" fmla="*/ 2528916 h 6858000"/>
              <a:gd name="connsiteX677" fmla="*/ 2199067 w 7467600"/>
              <a:gd name="connsiteY677" fmla="*/ 2884061 h 6858000"/>
              <a:gd name="connsiteX678" fmla="*/ 3192586 w 7467600"/>
              <a:gd name="connsiteY678" fmla="*/ 3411496 h 6858000"/>
              <a:gd name="connsiteX679" fmla="*/ 3182620 w 7467600"/>
              <a:gd name="connsiteY679" fmla="*/ 3483279 h 6858000"/>
              <a:gd name="connsiteX680" fmla="*/ 2435119 w 7467600"/>
              <a:gd name="connsiteY680" fmla="*/ 3080173 h 6858000"/>
              <a:gd name="connsiteX681" fmla="*/ 2410152 w 7467600"/>
              <a:gd name="connsiteY681" fmla="*/ 3063751 h 6858000"/>
              <a:gd name="connsiteX682" fmla="*/ 2408099 w 7467600"/>
              <a:gd name="connsiteY682" fmla="*/ 3064403 h 6858000"/>
              <a:gd name="connsiteX683" fmla="*/ 2407218 w 7467600"/>
              <a:gd name="connsiteY683" fmla="*/ 3070324 h 6858000"/>
              <a:gd name="connsiteX684" fmla="*/ 2380138 w 7467600"/>
              <a:gd name="connsiteY684" fmla="*/ 3099341 h 6858000"/>
              <a:gd name="connsiteX685" fmla="*/ 1765923 w 7467600"/>
              <a:gd name="connsiteY685" fmla="*/ 3581043 h 6858000"/>
              <a:gd name="connsiteX686" fmla="*/ 1702258 w 7467600"/>
              <a:gd name="connsiteY686" fmla="*/ 3612286 h 6858000"/>
              <a:gd name="connsiteX687" fmla="*/ 1538370 w 7467600"/>
              <a:gd name="connsiteY687" fmla="*/ 3811804 h 6858000"/>
              <a:gd name="connsiteX688" fmla="*/ 542867 w 7467600"/>
              <a:gd name="connsiteY688" fmla="*/ 4944092 h 6858000"/>
              <a:gd name="connsiteX689" fmla="*/ 515800 w 7467600"/>
              <a:gd name="connsiteY689" fmla="*/ 4862180 h 6858000"/>
              <a:gd name="connsiteX690" fmla="*/ 909145 w 7467600"/>
              <a:gd name="connsiteY690" fmla="*/ 4199225 h 6858000"/>
              <a:gd name="connsiteX691" fmla="*/ 1214067 w 7467600"/>
              <a:gd name="connsiteY691" fmla="*/ 3908561 h 6858000"/>
              <a:gd name="connsiteX692" fmla="*/ 640967 w 7467600"/>
              <a:gd name="connsiteY692" fmla="*/ 4105601 h 6858000"/>
              <a:gd name="connsiteX693" fmla="*/ 112563 w 7467600"/>
              <a:gd name="connsiteY693" fmla="*/ 4396952 h 6858000"/>
              <a:gd name="connsiteX694" fmla="*/ 0 w 7467600"/>
              <a:gd name="connsiteY694" fmla="*/ 4466006 h 6858000"/>
              <a:gd name="connsiteX695" fmla="*/ 0 w 7467600"/>
              <a:gd name="connsiteY695" fmla="*/ 4233763 h 6858000"/>
              <a:gd name="connsiteX696" fmla="*/ 36881 w 7467600"/>
              <a:gd name="connsiteY696" fmla="*/ 4200118 h 6858000"/>
              <a:gd name="connsiteX697" fmla="*/ 910534 w 7467600"/>
              <a:gd name="connsiteY697" fmla="*/ 3629753 h 6858000"/>
              <a:gd name="connsiteX698" fmla="*/ 1578717 w 7467600"/>
              <a:gd name="connsiteY698" fmla="*/ 3575982 h 6858000"/>
              <a:gd name="connsiteX699" fmla="*/ 2338780 w 7467600"/>
              <a:gd name="connsiteY699" fmla="*/ 3033725 h 6858000"/>
              <a:gd name="connsiteX700" fmla="*/ 1807991 w 7467600"/>
              <a:gd name="connsiteY700" fmla="*/ 2807184 h 6858000"/>
              <a:gd name="connsiteX701" fmla="*/ 1416358 w 7467600"/>
              <a:gd name="connsiteY701" fmla="*/ 3112571 h 6858000"/>
              <a:gd name="connsiteX702" fmla="*/ 939066 w 7467600"/>
              <a:gd name="connsiteY702" fmla="*/ 3378798 h 6858000"/>
              <a:gd name="connsiteX703" fmla="*/ 115099 w 7467600"/>
              <a:gd name="connsiteY703" fmla="*/ 3607650 h 6858000"/>
              <a:gd name="connsiteX704" fmla="*/ 97284 w 7467600"/>
              <a:gd name="connsiteY704" fmla="*/ 3520393 h 6858000"/>
              <a:gd name="connsiteX705" fmla="*/ 922050 w 7467600"/>
              <a:gd name="connsiteY705" fmla="*/ 3074867 h 6858000"/>
              <a:gd name="connsiteX706" fmla="*/ 1405265 w 7467600"/>
              <a:gd name="connsiteY706" fmla="*/ 3016319 h 6858000"/>
              <a:gd name="connsiteX707" fmla="*/ 1407512 w 7467600"/>
              <a:gd name="connsiteY707" fmla="*/ 3018001 h 6858000"/>
              <a:gd name="connsiteX708" fmla="*/ 1726266 w 7467600"/>
              <a:gd name="connsiteY708" fmla="*/ 2777274 h 6858000"/>
              <a:gd name="connsiteX709" fmla="*/ 625390 w 7467600"/>
              <a:gd name="connsiteY709" fmla="*/ 2514541 h 6858000"/>
              <a:gd name="connsiteX710" fmla="*/ 619799 w 7467600"/>
              <a:gd name="connsiteY710" fmla="*/ 2527180 h 6858000"/>
              <a:gd name="connsiteX711" fmla="*/ 310030 w 7467600"/>
              <a:gd name="connsiteY711" fmla="*/ 2771818 h 6858000"/>
              <a:gd name="connsiteX712" fmla="*/ 173877 w 7467600"/>
              <a:gd name="connsiteY712" fmla="*/ 2937056 h 6858000"/>
              <a:gd name="connsiteX713" fmla="*/ 77889 w 7467600"/>
              <a:gd name="connsiteY713" fmla="*/ 3138440 h 6858000"/>
              <a:gd name="connsiteX714" fmla="*/ 0 w 7467600"/>
              <a:gd name="connsiteY714" fmla="*/ 3271395 h 6858000"/>
              <a:gd name="connsiteX715" fmla="*/ 0 w 7467600"/>
              <a:gd name="connsiteY715" fmla="*/ 3153002 h 6858000"/>
              <a:gd name="connsiteX716" fmla="*/ 2386 w 7467600"/>
              <a:gd name="connsiteY716" fmla="*/ 3149203 h 6858000"/>
              <a:gd name="connsiteX717" fmla="*/ 89753 w 7467600"/>
              <a:gd name="connsiteY717" fmla="*/ 2987702 h 6858000"/>
              <a:gd name="connsiteX718" fmla="*/ 76869 w 7467600"/>
              <a:gd name="connsiteY718" fmla="*/ 3005404 h 6858000"/>
              <a:gd name="connsiteX719" fmla="*/ 32049 w 7467600"/>
              <a:gd name="connsiteY719" fmla="*/ 3065814 h 6858000"/>
              <a:gd name="connsiteX720" fmla="*/ 0 w 7467600"/>
              <a:gd name="connsiteY720" fmla="*/ 3108744 h 6858000"/>
              <a:gd name="connsiteX721" fmla="*/ 0 w 7467600"/>
              <a:gd name="connsiteY721" fmla="*/ 3058059 h 6858000"/>
              <a:gd name="connsiteX722" fmla="*/ 7610 w 7467600"/>
              <a:gd name="connsiteY722" fmla="*/ 3047889 h 6858000"/>
              <a:gd name="connsiteX723" fmla="*/ 52419 w 7467600"/>
              <a:gd name="connsiteY723" fmla="*/ 2987479 h 6858000"/>
              <a:gd name="connsiteX724" fmla="*/ 59142 w 7467600"/>
              <a:gd name="connsiteY724" fmla="*/ 2978488 h 6858000"/>
              <a:gd name="connsiteX725" fmla="*/ 0 w 7467600"/>
              <a:gd name="connsiteY725" fmla="*/ 3015334 h 6858000"/>
              <a:gd name="connsiteX726" fmla="*/ 0 w 7467600"/>
              <a:gd name="connsiteY726" fmla="*/ 2914286 h 6858000"/>
              <a:gd name="connsiteX727" fmla="*/ 36383 w 7467600"/>
              <a:gd name="connsiteY727" fmla="*/ 2901128 h 6858000"/>
              <a:gd name="connsiteX728" fmla="*/ 156329 w 7467600"/>
              <a:gd name="connsiteY728" fmla="*/ 2840533 h 6858000"/>
              <a:gd name="connsiteX729" fmla="*/ 358355 w 7467600"/>
              <a:gd name="connsiteY729" fmla="*/ 2620471 h 6858000"/>
              <a:gd name="connsiteX730" fmla="*/ 510577 w 7467600"/>
              <a:gd name="connsiteY730" fmla="*/ 2501244 h 6858000"/>
              <a:gd name="connsiteX731" fmla="*/ 211967 w 7467600"/>
              <a:gd name="connsiteY731" fmla="*/ 2479171 h 6858000"/>
              <a:gd name="connsiteX732" fmla="*/ 0 w 7467600"/>
              <a:gd name="connsiteY732" fmla="*/ 2476398 h 6858000"/>
              <a:gd name="connsiteX733" fmla="*/ 0 w 7467600"/>
              <a:gd name="connsiteY733" fmla="*/ 2389189 h 6858000"/>
              <a:gd name="connsiteX734" fmla="*/ 103062 w 7467600"/>
              <a:gd name="connsiteY734" fmla="*/ 2389518 h 6858000"/>
              <a:gd name="connsiteX735" fmla="*/ 510734 w 7467600"/>
              <a:gd name="connsiteY735" fmla="*/ 2416201 h 6858000"/>
              <a:gd name="connsiteX736" fmla="*/ 279257 w 7467600"/>
              <a:gd name="connsiteY736" fmla="*/ 2092102 h 6858000"/>
              <a:gd name="connsiteX737" fmla="*/ 65265 w 7467600"/>
              <a:gd name="connsiteY737" fmla="*/ 2006049 h 6858000"/>
              <a:gd name="connsiteX738" fmla="*/ 0 w 7467600"/>
              <a:gd name="connsiteY738" fmla="*/ 1982532 h 6858000"/>
              <a:gd name="connsiteX739" fmla="*/ 0 w 7467600"/>
              <a:gd name="connsiteY739" fmla="*/ 1912789 h 6858000"/>
              <a:gd name="connsiteX740" fmla="*/ 97460 w 7467600"/>
              <a:gd name="connsiteY740" fmla="*/ 1953725 h 6858000"/>
              <a:gd name="connsiteX741" fmla="*/ 221272 w 7467600"/>
              <a:gd name="connsiteY741" fmla="*/ 1980766 h 6858000"/>
              <a:gd name="connsiteX742" fmla="*/ 116765 w 7467600"/>
              <a:gd name="connsiteY742" fmla="*/ 1911033 h 6858000"/>
              <a:gd name="connsiteX743" fmla="*/ 16405 w 7467600"/>
              <a:gd name="connsiteY743" fmla="*/ 1803412 h 6858000"/>
              <a:gd name="connsiteX744" fmla="*/ 0 w 7467600"/>
              <a:gd name="connsiteY744" fmla="*/ 1784777 h 6858000"/>
              <a:gd name="connsiteX745" fmla="*/ 0 w 7467600"/>
              <a:gd name="connsiteY745" fmla="*/ 1740082 h 6858000"/>
              <a:gd name="connsiteX746" fmla="*/ 39394 w 7467600"/>
              <a:gd name="connsiteY746" fmla="*/ 1784856 h 6858000"/>
              <a:gd name="connsiteX747" fmla="*/ 135813 w 7467600"/>
              <a:gd name="connsiteY747" fmla="*/ 1888838 h 6858000"/>
              <a:gd name="connsiteX748" fmla="*/ 242575 w 7467600"/>
              <a:gd name="connsiteY748" fmla="*/ 1958841 h 6858000"/>
              <a:gd name="connsiteX749" fmla="*/ 82197 w 7467600"/>
              <a:gd name="connsiteY749" fmla="*/ 1754826 h 6858000"/>
              <a:gd name="connsiteX750" fmla="*/ 0 w 7467600"/>
              <a:gd name="connsiteY750" fmla="*/ 1679650 h 6858000"/>
              <a:gd name="connsiteX751" fmla="*/ 0 w 7467600"/>
              <a:gd name="connsiteY751" fmla="*/ 1602463 h 6858000"/>
              <a:gd name="connsiteX752" fmla="*/ 84689 w 7467600"/>
              <a:gd name="connsiteY752" fmla="*/ 1677442 h 6858000"/>
              <a:gd name="connsiteX753" fmla="*/ 298437 w 7467600"/>
              <a:gd name="connsiteY753" fmla="*/ 1968019 h 6858000"/>
              <a:gd name="connsiteX754" fmla="*/ 227269 w 7467600"/>
              <a:gd name="connsiteY754" fmla="*/ 1114064 h 6858000"/>
              <a:gd name="connsiteX755" fmla="*/ 248003 w 7467600"/>
              <a:gd name="connsiteY755" fmla="*/ 1089613 h 6858000"/>
              <a:gd name="connsiteX756" fmla="*/ 427020 w 7467600"/>
              <a:gd name="connsiteY756" fmla="*/ 1619803 h 6858000"/>
              <a:gd name="connsiteX757" fmla="*/ 340345 w 7467600"/>
              <a:gd name="connsiteY757" fmla="*/ 2027739 h 6858000"/>
              <a:gd name="connsiteX758" fmla="*/ 360865 w 7467600"/>
              <a:gd name="connsiteY758" fmla="*/ 2044827 h 6858000"/>
              <a:gd name="connsiteX759" fmla="*/ 560414 w 7467600"/>
              <a:gd name="connsiteY759" fmla="*/ 2421457 h 6858000"/>
              <a:gd name="connsiteX760" fmla="*/ 1359703 w 7467600"/>
              <a:gd name="connsiteY760" fmla="*/ 2578554 h 6858000"/>
              <a:gd name="connsiteX761" fmla="*/ 1359422 w 7467600"/>
              <a:gd name="connsiteY761" fmla="*/ 2577994 h 6858000"/>
              <a:gd name="connsiteX762" fmla="*/ 828701 w 7467600"/>
              <a:gd name="connsiteY762" fmla="*/ 1839520 h 6858000"/>
              <a:gd name="connsiteX763" fmla="*/ 494427 w 7467600"/>
              <a:gd name="connsiteY763" fmla="*/ 1092333 h 6858000"/>
              <a:gd name="connsiteX764" fmla="*/ 506322 w 7467600"/>
              <a:gd name="connsiteY764" fmla="*/ 1020997 h 6858000"/>
              <a:gd name="connsiteX765" fmla="*/ 4570198 w 7467600"/>
              <a:gd name="connsiteY765" fmla="*/ 978081 h 6858000"/>
              <a:gd name="connsiteX766" fmla="*/ 4523691 w 7467600"/>
              <a:gd name="connsiteY766" fmla="*/ 1127776 h 6858000"/>
              <a:gd name="connsiteX767" fmla="*/ 4509875 w 7467600"/>
              <a:gd name="connsiteY767" fmla="*/ 1167552 h 6858000"/>
              <a:gd name="connsiteX768" fmla="*/ 4478168 w 7467600"/>
              <a:gd name="connsiteY768" fmla="*/ 1260735 h 6858000"/>
              <a:gd name="connsiteX769" fmla="*/ 4409309 w 7467600"/>
              <a:gd name="connsiteY769" fmla="*/ 1666996 h 6858000"/>
              <a:gd name="connsiteX770" fmla="*/ 4370031 w 7467600"/>
              <a:gd name="connsiteY770" fmla="*/ 1955666 h 6858000"/>
              <a:gd name="connsiteX771" fmla="*/ 4570198 w 7467600"/>
              <a:gd name="connsiteY771" fmla="*/ 978081 h 6858000"/>
              <a:gd name="connsiteX772" fmla="*/ 4557898 w 7467600"/>
              <a:gd name="connsiteY772" fmla="*/ 900011 h 6858000"/>
              <a:gd name="connsiteX773" fmla="*/ 4344840 w 7467600"/>
              <a:gd name="connsiteY773" fmla="*/ 1922038 h 6858000"/>
              <a:gd name="connsiteX774" fmla="*/ 4378710 w 7467600"/>
              <a:gd name="connsiteY774" fmla="*/ 1665516 h 6858000"/>
              <a:gd name="connsiteX775" fmla="*/ 4448798 w 7467600"/>
              <a:gd name="connsiteY775" fmla="*/ 1253024 h 6858000"/>
              <a:gd name="connsiteX776" fmla="*/ 4480315 w 7467600"/>
              <a:gd name="connsiteY776" fmla="*/ 1158454 h 6858000"/>
              <a:gd name="connsiteX777" fmla="*/ 4494133 w 7467600"/>
              <a:gd name="connsiteY777" fmla="*/ 1118676 h 6858000"/>
              <a:gd name="connsiteX778" fmla="*/ 4557898 w 7467600"/>
              <a:gd name="connsiteY778" fmla="*/ 900011 h 6858000"/>
              <a:gd name="connsiteX779" fmla="*/ 5870151 w 7467600"/>
              <a:gd name="connsiteY779" fmla="*/ 898890 h 6858000"/>
              <a:gd name="connsiteX780" fmla="*/ 5861335 w 7467600"/>
              <a:gd name="connsiteY780" fmla="*/ 899177 h 6858000"/>
              <a:gd name="connsiteX781" fmla="*/ 5843702 w 7467600"/>
              <a:gd name="connsiteY781" fmla="*/ 899748 h 6858000"/>
              <a:gd name="connsiteX782" fmla="*/ 5651107 w 7467600"/>
              <a:gd name="connsiteY782" fmla="*/ 920306 h 6858000"/>
              <a:gd name="connsiteX783" fmla="*/ 5459407 w 7467600"/>
              <a:gd name="connsiteY783" fmla="*/ 940975 h 6858000"/>
              <a:gd name="connsiteX784" fmla="*/ 5374846 w 7467600"/>
              <a:gd name="connsiteY784" fmla="*/ 941988 h 6858000"/>
              <a:gd name="connsiteX785" fmla="*/ 5256105 w 7467600"/>
              <a:gd name="connsiteY785" fmla="*/ 945632 h 6858000"/>
              <a:gd name="connsiteX786" fmla="*/ 5107071 w 7467600"/>
              <a:gd name="connsiteY786" fmla="*/ 969720 h 6858000"/>
              <a:gd name="connsiteX787" fmla="*/ 4998681 w 7467600"/>
              <a:gd name="connsiteY787" fmla="*/ 988771 h 6858000"/>
              <a:gd name="connsiteX788" fmla="*/ 5870151 w 7467600"/>
              <a:gd name="connsiteY788" fmla="*/ 898890 h 6858000"/>
              <a:gd name="connsiteX789" fmla="*/ 5504425 w 7467600"/>
              <a:gd name="connsiteY789" fmla="*/ 848067 h 6858000"/>
              <a:gd name="connsiteX790" fmla="*/ 4968849 w 7467600"/>
              <a:gd name="connsiteY790" fmla="*/ 962318 h 6858000"/>
              <a:gd name="connsiteX791" fmla="*/ 5104039 w 7467600"/>
              <a:gd name="connsiteY791" fmla="*/ 940634 h 6858000"/>
              <a:gd name="connsiteX792" fmla="*/ 5256311 w 7467600"/>
              <a:gd name="connsiteY792" fmla="*/ 916490 h 6858000"/>
              <a:gd name="connsiteX793" fmla="*/ 5377381 w 7467600"/>
              <a:gd name="connsiteY793" fmla="*/ 912671 h 6858000"/>
              <a:gd name="connsiteX794" fmla="*/ 5460148 w 7467600"/>
              <a:gd name="connsiteY794" fmla="*/ 911442 h 6858000"/>
              <a:gd name="connsiteX795" fmla="*/ 5648971 w 7467600"/>
              <a:gd name="connsiteY795" fmla="*/ 891331 h 6858000"/>
              <a:gd name="connsiteX796" fmla="*/ 5844807 w 7467600"/>
              <a:gd name="connsiteY796" fmla="*/ 870718 h 6858000"/>
              <a:gd name="connsiteX797" fmla="*/ 5862975 w 7467600"/>
              <a:gd name="connsiteY797" fmla="*/ 869756 h 6858000"/>
              <a:gd name="connsiteX798" fmla="*/ 5920887 w 7467600"/>
              <a:gd name="connsiteY798" fmla="*/ 865929 h 6858000"/>
              <a:gd name="connsiteX799" fmla="*/ 5504425 w 7467600"/>
              <a:gd name="connsiteY799" fmla="*/ 848067 h 6858000"/>
              <a:gd name="connsiteX800" fmla="*/ 3607114 w 7467600"/>
              <a:gd name="connsiteY800" fmla="*/ 467441 h 6858000"/>
              <a:gd name="connsiteX801" fmla="*/ 3296242 w 7467600"/>
              <a:gd name="connsiteY801" fmla="*/ 807991 h 6858000"/>
              <a:gd name="connsiteX802" fmla="*/ 3174674 w 7467600"/>
              <a:gd name="connsiteY802" fmla="*/ 919759 h 6858000"/>
              <a:gd name="connsiteX803" fmla="*/ 3042978 w 7467600"/>
              <a:gd name="connsiteY803" fmla="*/ 1054894 h 6858000"/>
              <a:gd name="connsiteX804" fmla="*/ 2968914 w 7467600"/>
              <a:gd name="connsiteY804" fmla="*/ 1133756 h 6858000"/>
              <a:gd name="connsiteX805" fmla="*/ 3103823 w 7467600"/>
              <a:gd name="connsiteY805" fmla="*/ 1026814 h 6858000"/>
              <a:gd name="connsiteX806" fmla="*/ 3607114 w 7467600"/>
              <a:gd name="connsiteY806" fmla="*/ 467441 h 6858000"/>
              <a:gd name="connsiteX807" fmla="*/ 3744487 w 7467600"/>
              <a:gd name="connsiteY807" fmla="*/ 383136 h 6858000"/>
              <a:gd name="connsiteX808" fmla="*/ 3970213 w 7467600"/>
              <a:gd name="connsiteY808" fmla="*/ 995559 h 6858000"/>
              <a:gd name="connsiteX809" fmla="*/ 3744487 w 7467600"/>
              <a:gd name="connsiteY809" fmla="*/ 383136 h 6858000"/>
              <a:gd name="connsiteX810" fmla="*/ 3624562 w 7467600"/>
              <a:gd name="connsiteY810" fmla="*/ 367041 h 6858000"/>
              <a:gd name="connsiteX811" fmla="*/ 3489712 w 7467600"/>
              <a:gd name="connsiteY811" fmla="*/ 485386 h 6858000"/>
              <a:gd name="connsiteX812" fmla="*/ 3182994 w 7467600"/>
              <a:gd name="connsiteY812" fmla="*/ 828265 h 6858000"/>
              <a:gd name="connsiteX813" fmla="*/ 2892114 w 7467600"/>
              <a:gd name="connsiteY813" fmla="*/ 1172635 h 6858000"/>
              <a:gd name="connsiteX814" fmla="*/ 3021459 w 7467600"/>
              <a:gd name="connsiteY814" fmla="*/ 1035385 h 6858000"/>
              <a:gd name="connsiteX815" fmla="*/ 3153873 w 7467600"/>
              <a:gd name="connsiteY815" fmla="*/ 898971 h 6858000"/>
              <a:gd name="connsiteX816" fmla="*/ 3276511 w 7467600"/>
              <a:gd name="connsiteY816" fmla="*/ 786423 h 6858000"/>
              <a:gd name="connsiteX817" fmla="*/ 3584154 w 7467600"/>
              <a:gd name="connsiteY817" fmla="*/ 448218 h 6858000"/>
              <a:gd name="connsiteX818" fmla="*/ 3624562 w 7467600"/>
              <a:gd name="connsiteY818" fmla="*/ 367041 h 6858000"/>
              <a:gd name="connsiteX819" fmla="*/ 3766672 w 7467600"/>
              <a:gd name="connsiteY819" fmla="*/ 359429 h 6858000"/>
              <a:gd name="connsiteX820" fmla="*/ 3996338 w 7467600"/>
              <a:gd name="connsiteY820" fmla="*/ 968237 h 6858000"/>
              <a:gd name="connsiteX821" fmla="*/ 3766672 w 7467600"/>
              <a:gd name="connsiteY821" fmla="*/ 359429 h 6858000"/>
              <a:gd name="connsiteX822" fmla="*/ 5805386 w 7467600"/>
              <a:gd name="connsiteY822" fmla="*/ 239240 h 6858000"/>
              <a:gd name="connsiteX823" fmla="*/ 5736947 w 7467600"/>
              <a:gd name="connsiteY823" fmla="*/ 261367 h 6858000"/>
              <a:gd name="connsiteX824" fmla="*/ 5427012 w 7467600"/>
              <a:gd name="connsiteY824" fmla="*/ 311272 h 6858000"/>
              <a:gd name="connsiteX825" fmla="*/ 5147818 w 7467600"/>
              <a:gd name="connsiteY825" fmla="*/ 322112 h 6858000"/>
              <a:gd name="connsiteX826" fmla="*/ 5060854 w 7467600"/>
              <a:gd name="connsiteY826" fmla="*/ 311882 h 6858000"/>
              <a:gd name="connsiteX827" fmla="*/ 4945989 w 7467600"/>
              <a:gd name="connsiteY827" fmla="*/ 300516 h 6858000"/>
              <a:gd name="connsiteX828" fmla="*/ 5410479 w 7467600"/>
              <a:gd name="connsiteY828" fmla="*/ 348434 h 6858000"/>
              <a:gd name="connsiteX829" fmla="*/ 5805386 w 7467600"/>
              <a:gd name="connsiteY829" fmla="*/ 239240 h 6858000"/>
              <a:gd name="connsiteX830" fmla="*/ 5905192 w 7467600"/>
              <a:gd name="connsiteY830" fmla="*/ 163079 h 6858000"/>
              <a:gd name="connsiteX831" fmla="*/ 5865655 w 7467600"/>
              <a:gd name="connsiteY831" fmla="*/ 171901 h 6858000"/>
              <a:gd name="connsiteX832" fmla="*/ 5259740 w 7467600"/>
              <a:gd name="connsiteY832" fmla="*/ 257013 h 6858000"/>
              <a:gd name="connsiteX833" fmla="*/ 5208466 w 7467600"/>
              <a:gd name="connsiteY833" fmla="*/ 257550 h 6858000"/>
              <a:gd name="connsiteX834" fmla="*/ 4980204 w 7467600"/>
              <a:gd name="connsiteY834" fmla="*/ 271903 h 6858000"/>
              <a:gd name="connsiteX835" fmla="*/ 5068068 w 7467600"/>
              <a:gd name="connsiteY835" fmla="*/ 282244 h 6858000"/>
              <a:gd name="connsiteX836" fmla="*/ 5153231 w 7467600"/>
              <a:gd name="connsiteY836" fmla="*/ 292240 h 6858000"/>
              <a:gd name="connsiteX837" fmla="*/ 5426491 w 7467600"/>
              <a:gd name="connsiteY837" fmla="*/ 281128 h 6858000"/>
              <a:gd name="connsiteX838" fmla="*/ 5731212 w 7467600"/>
              <a:gd name="connsiteY838" fmla="*/ 231951 h 6858000"/>
              <a:gd name="connsiteX839" fmla="*/ 5905192 w 7467600"/>
              <a:gd name="connsiteY839" fmla="*/ 163079 h 6858000"/>
              <a:gd name="connsiteX840" fmla="*/ 5944437 w 7467600"/>
              <a:gd name="connsiteY840" fmla="*/ 113829 h 6858000"/>
              <a:gd name="connsiteX841" fmla="*/ 5825032 w 7467600"/>
              <a:gd name="connsiteY841" fmla="*/ 146405 h 6858000"/>
              <a:gd name="connsiteX842" fmla="*/ 4955599 w 7467600"/>
              <a:gd name="connsiteY842" fmla="*/ 247008 h 6858000"/>
              <a:gd name="connsiteX843" fmla="*/ 5210104 w 7467600"/>
              <a:gd name="connsiteY843" fmla="*/ 228123 h 6858000"/>
              <a:gd name="connsiteX844" fmla="*/ 5261015 w 7467600"/>
              <a:gd name="connsiteY844" fmla="*/ 227087 h 6858000"/>
              <a:gd name="connsiteX845" fmla="*/ 5861181 w 7467600"/>
              <a:gd name="connsiteY845" fmla="*/ 143093 h 6858000"/>
              <a:gd name="connsiteX846" fmla="*/ 5961252 w 7467600"/>
              <a:gd name="connsiteY846" fmla="*/ 114820 h 6858000"/>
              <a:gd name="connsiteX847" fmla="*/ 5944437 w 7467600"/>
              <a:gd name="connsiteY847" fmla="*/ 113829 h 6858000"/>
              <a:gd name="connsiteX848" fmla="*/ 3882765 w 7467600"/>
              <a:gd name="connsiteY848" fmla="*/ 0 h 6858000"/>
              <a:gd name="connsiteX849" fmla="*/ 3995099 w 7467600"/>
              <a:gd name="connsiteY849" fmla="*/ 0 h 6858000"/>
              <a:gd name="connsiteX850" fmla="*/ 4163818 w 7467600"/>
              <a:gd name="connsiteY850" fmla="*/ 234104 h 6858000"/>
              <a:gd name="connsiteX851" fmla="*/ 4172099 w 7467600"/>
              <a:gd name="connsiteY851" fmla="*/ 234207 h 6858000"/>
              <a:gd name="connsiteX852" fmla="*/ 4784282 w 7467600"/>
              <a:gd name="connsiteY852" fmla="*/ 276561 h 6858000"/>
              <a:gd name="connsiteX853" fmla="*/ 4801687 w 7467600"/>
              <a:gd name="connsiteY853" fmla="*/ 267764 h 6858000"/>
              <a:gd name="connsiteX854" fmla="*/ 6082788 w 7467600"/>
              <a:gd name="connsiteY854" fmla="*/ 64119 h 6858000"/>
              <a:gd name="connsiteX855" fmla="*/ 6099442 w 7467600"/>
              <a:gd name="connsiteY855" fmla="*/ 82568 h 6858000"/>
              <a:gd name="connsiteX856" fmla="*/ 4804137 w 7467600"/>
              <a:gd name="connsiteY856" fmla="*/ 320931 h 6858000"/>
              <a:gd name="connsiteX857" fmla="*/ 4227047 w 7467600"/>
              <a:gd name="connsiteY857" fmla="*/ 313415 h 6858000"/>
              <a:gd name="connsiteX858" fmla="*/ 4346041 w 7467600"/>
              <a:gd name="connsiteY858" fmla="*/ 456086 h 6858000"/>
              <a:gd name="connsiteX859" fmla="*/ 4870967 w 7467600"/>
              <a:gd name="connsiteY859" fmla="*/ 963061 h 6858000"/>
              <a:gd name="connsiteX860" fmla="*/ 4889647 w 7467600"/>
              <a:gd name="connsiteY860" fmla="*/ 957147 h 6858000"/>
              <a:gd name="connsiteX861" fmla="*/ 5422504 w 7467600"/>
              <a:gd name="connsiteY861" fmla="*/ 805191 h 6858000"/>
              <a:gd name="connsiteX862" fmla="*/ 6087656 w 7467600"/>
              <a:gd name="connsiteY862" fmla="*/ 826703 h 6858000"/>
              <a:gd name="connsiteX863" fmla="*/ 6058717 w 7467600"/>
              <a:gd name="connsiteY863" fmla="*/ 865992 h 6858000"/>
              <a:gd name="connsiteX864" fmla="*/ 4974153 w 7467600"/>
              <a:gd name="connsiteY864" fmla="*/ 1045456 h 6858000"/>
              <a:gd name="connsiteX865" fmla="*/ 5627835 w 7467600"/>
              <a:gd name="connsiteY865" fmla="*/ 1472077 h 6858000"/>
              <a:gd name="connsiteX866" fmla="*/ 5629817 w 7467600"/>
              <a:gd name="connsiteY866" fmla="*/ 1471412 h 6858000"/>
              <a:gd name="connsiteX867" fmla="*/ 5634124 w 7467600"/>
              <a:gd name="connsiteY867" fmla="*/ 1470572 h 6858000"/>
              <a:gd name="connsiteX868" fmla="*/ 5755832 w 7467600"/>
              <a:gd name="connsiteY868" fmla="*/ 1383886 h 6858000"/>
              <a:gd name="connsiteX869" fmla="*/ 6014186 w 7467600"/>
              <a:gd name="connsiteY869" fmla="*/ 1279799 h 6858000"/>
              <a:gd name="connsiteX870" fmla="*/ 6901619 w 7467600"/>
              <a:gd name="connsiteY870" fmla="*/ 1047874 h 6858000"/>
              <a:gd name="connsiteX871" fmla="*/ 6931566 w 7467600"/>
              <a:gd name="connsiteY871" fmla="*/ 1062034 h 6858000"/>
              <a:gd name="connsiteX872" fmla="*/ 5790982 w 7467600"/>
              <a:gd name="connsiteY872" fmla="*/ 1561380 h 6858000"/>
              <a:gd name="connsiteX873" fmla="*/ 6188971 w 7467600"/>
              <a:gd name="connsiteY873" fmla="*/ 1755168 h 6858000"/>
              <a:gd name="connsiteX874" fmla="*/ 6202446 w 7467600"/>
              <a:gd name="connsiteY874" fmla="*/ 1752268 h 6858000"/>
              <a:gd name="connsiteX875" fmla="*/ 7179560 w 7467600"/>
              <a:gd name="connsiteY875" fmla="*/ 1467551 h 6858000"/>
              <a:gd name="connsiteX876" fmla="*/ 7158730 w 7467600"/>
              <a:gd name="connsiteY876" fmla="*/ 1507835 h 6858000"/>
              <a:gd name="connsiteX877" fmla="*/ 6326959 w 7467600"/>
              <a:gd name="connsiteY877" fmla="*/ 1817686 h 6858000"/>
              <a:gd name="connsiteX878" fmla="*/ 6537433 w 7467600"/>
              <a:gd name="connsiteY878" fmla="*/ 1907790 h 6858000"/>
              <a:gd name="connsiteX879" fmla="*/ 6550221 w 7467600"/>
              <a:gd name="connsiteY879" fmla="*/ 1910729 h 6858000"/>
              <a:gd name="connsiteX880" fmla="*/ 6964438 w 7467600"/>
              <a:gd name="connsiteY880" fmla="*/ 2209505 h 6858000"/>
              <a:gd name="connsiteX881" fmla="*/ 7367862 w 7467600"/>
              <a:gd name="connsiteY881" fmla="*/ 2806833 h 6858000"/>
              <a:gd name="connsiteX882" fmla="*/ 7364329 w 7467600"/>
              <a:gd name="connsiteY882" fmla="*/ 2826907 h 6858000"/>
              <a:gd name="connsiteX883" fmla="*/ 7290545 w 7467600"/>
              <a:gd name="connsiteY883" fmla="*/ 2850663 h 6858000"/>
              <a:gd name="connsiteX884" fmla="*/ 6472036 w 7467600"/>
              <a:gd name="connsiteY884" fmla="*/ 1959003 h 6858000"/>
              <a:gd name="connsiteX885" fmla="*/ 5792897 w 7467600"/>
              <a:gd name="connsiteY885" fmla="*/ 1647747 h 6858000"/>
              <a:gd name="connsiteX886" fmla="*/ 5842751 w 7467600"/>
              <a:gd name="connsiteY886" fmla="*/ 1816112 h 6858000"/>
              <a:gd name="connsiteX887" fmla="*/ 5847424 w 7467600"/>
              <a:gd name="connsiteY887" fmla="*/ 1815776 h 6858000"/>
              <a:gd name="connsiteX888" fmla="*/ 6399821 w 7467600"/>
              <a:gd name="connsiteY888" fmla="*/ 2344799 h 6858000"/>
              <a:gd name="connsiteX889" fmla="*/ 6323232 w 7467600"/>
              <a:gd name="connsiteY889" fmla="*/ 2389634 h 6858000"/>
              <a:gd name="connsiteX890" fmla="*/ 5942958 w 7467600"/>
              <a:gd name="connsiteY890" fmla="*/ 2077708 h 6858000"/>
              <a:gd name="connsiteX891" fmla="*/ 5921559 w 7467600"/>
              <a:gd name="connsiteY891" fmla="*/ 2378596 h 6858000"/>
              <a:gd name="connsiteX892" fmla="*/ 5817651 w 7467600"/>
              <a:gd name="connsiteY892" fmla="*/ 3023919 h 6858000"/>
              <a:gd name="connsiteX893" fmla="*/ 5729634 w 7467600"/>
              <a:gd name="connsiteY893" fmla="*/ 3051849 h 6858000"/>
              <a:gd name="connsiteX894" fmla="*/ 5611018 w 7467600"/>
              <a:gd name="connsiteY894" fmla="*/ 2316769 h 6858000"/>
              <a:gd name="connsiteX895" fmla="*/ 5687608 w 7467600"/>
              <a:gd name="connsiteY895" fmla="*/ 2039972 h 6858000"/>
              <a:gd name="connsiteX896" fmla="*/ 5657554 w 7467600"/>
              <a:gd name="connsiteY896" fmla="*/ 1576445 h 6858000"/>
              <a:gd name="connsiteX897" fmla="*/ 5150475 w 7467600"/>
              <a:gd name="connsiteY897" fmla="*/ 1274012 h 6858000"/>
              <a:gd name="connsiteX898" fmla="*/ 5349142 w 7467600"/>
              <a:gd name="connsiteY898" fmla="*/ 2204405 h 6858000"/>
              <a:gd name="connsiteX899" fmla="*/ 5262214 w 7467600"/>
              <a:gd name="connsiteY899" fmla="*/ 2233836 h 6858000"/>
              <a:gd name="connsiteX900" fmla="*/ 4981539 w 7467600"/>
              <a:gd name="connsiteY900" fmla="*/ 1542201 h 6858000"/>
              <a:gd name="connsiteX901" fmla="*/ 4958461 w 7467600"/>
              <a:gd name="connsiteY901" fmla="*/ 1136957 h 6858000"/>
              <a:gd name="connsiteX902" fmla="*/ 4655015 w 7467600"/>
              <a:gd name="connsiteY902" fmla="*/ 891426 h 6858000"/>
              <a:gd name="connsiteX903" fmla="*/ 4348002 w 7467600"/>
              <a:gd name="connsiteY903" fmla="*/ 2205895 h 6858000"/>
              <a:gd name="connsiteX904" fmla="*/ 4262250 w 7467600"/>
              <a:gd name="connsiteY904" fmla="*/ 2219972 h 6858000"/>
              <a:gd name="connsiteX905" fmla="*/ 4550611 w 7467600"/>
              <a:gd name="connsiteY905" fmla="*/ 817540 h 6858000"/>
              <a:gd name="connsiteX906" fmla="*/ 4564418 w 7467600"/>
              <a:gd name="connsiteY906" fmla="*/ 808293 h 6858000"/>
              <a:gd name="connsiteX907" fmla="*/ 4266388 w 7467600"/>
              <a:gd name="connsiteY907" fmla="*/ 500083 h 6858000"/>
              <a:gd name="connsiteX908" fmla="*/ 4032842 w 7467600"/>
              <a:gd name="connsiteY908" fmla="*/ 211809 h 6858000"/>
              <a:gd name="connsiteX909" fmla="*/ 3882765 w 7467600"/>
              <a:gd name="connsiteY909" fmla="*/ 0 h 6858000"/>
              <a:gd name="connsiteX910" fmla="*/ 3721337 w 7467600"/>
              <a:gd name="connsiteY910" fmla="*/ 0 h 6858000"/>
              <a:gd name="connsiteX911" fmla="*/ 3797544 w 7467600"/>
              <a:gd name="connsiteY911" fmla="*/ 0 h 6858000"/>
              <a:gd name="connsiteX912" fmla="*/ 3775734 w 7467600"/>
              <a:gd name="connsiteY912" fmla="*/ 95131 h 6858000"/>
              <a:gd name="connsiteX913" fmla="*/ 3724807 w 7467600"/>
              <a:gd name="connsiteY913" fmla="*/ 272257 h 6858000"/>
              <a:gd name="connsiteX914" fmla="*/ 3726844 w 7467600"/>
              <a:gd name="connsiteY914" fmla="*/ 282988 h 6858000"/>
              <a:gd name="connsiteX915" fmla="*/ 3742664 w 7467600"/>
              <a:gd name="connsiteY915" fmla="*/ 279918 h 6858000"/>
              <a:gd name="connsiteX916" fmla="*/ 4103910 w 7467600"/>
              <a:gd name="connsiteY916" fmla="*/ 1161917 h 6858000"/>
              <a:gd name="connsiteX917" fmla="*/ 4020269 w 7467600"/>
              <a:gd name="connsiteY917" fmla="*/ 1200406 h 6858000"/>
              <a:gd name="connsiteX918" fmla="*/ 3674882 w 7467600"/>
              <a:gd name="connsiteY918" fmla="*/ 488524 h 6858000"/>
              <a:gd name="connsiteX919" fmla="*/ 3132682 w 7467600"/>
              <a:gd name="connsiteY919" fmla="*/ 1072284 h 6858000"/>
              <a:gd name="connsiteX920" fmla="*/ 2716346 w 7467600"/>
              <a:gd name="connsiteY920" fmla="*/ 1276376 h 6858000"/>
              <a:gd name="connsiteX921" fmla="*/ 2716772 w 7467600"/>
              <a:gd name="connsiteY921" fmla="*/ 1255462 h 6858000"/>
              <a:gd name="connsiteX922" fmla="*/ 3471096 w 7467600"/>
              <a:gd name="connsiteY922" fmla="*/ 437072 h 6858000"/>
              <a:gd name="connsiteX923" fmla="*/ 3639057 w 7467600"/>
              <a:gd name="connsiteY923" fmla="*/ 286334 h 6858000"/>
              <a:gd name="connsiteX924" fmla="*/ 3640309 w 7467600"/>
              <a:gd name="connsiteY924" fmla="*/ 284664 h 6858000"/>
              <a:gd name="connsiteX925" fmla="*/ 3646022 w 7467600"/>
              <a:gd name="connsiteY925" fmla="*/ 276711 h 6858000"/>
              <a:gd name="connsiteX926" fmla="*/ 3707943 w 7467600"/>
              <a:gd name="connsiteY926" fmla="*/ 65958 h 6858000"/>
              <a:gd name="connsiteX927" fmla="*/ 3721337 w 7467600"/>
              <a:gd name="connsiteY927" fmla="*/ 0 h 6858000"/>
              <a:gd name="connsiteX928" fmla="*/ 2867960 w 7467600"/>
              <a:gd name="connsiteY928" fmla="*/ 0 h 6858000"/>
              <a:gd name="connsiteX929" fmla="*/ 2926351 w 7467600"/>
              <a:gd name="connsiteY929" fmla="*/ 0 h 6858000"/>
              <a:gd name="connsiteX930" fmla="*/ 2902823 w 7467600"/>
              <a:gd name="connsiteY930" fmla="*/ 262929 h 6858000"/>
              <a:gd name="connsiteX931" fmla="*/ 2940663 w 7467600"/>
              <a:gd name="connsiteY931" fmla="*/ 140884 h 6858000"/>
              <a:gd name="connsiteX932" fmla="*/ 2947039 w 7467600"/>
              <a:gd name="connsiteY932" fmla="*/ 122524 h 6858000"/>
              <a:gd name="connsiteX933" fmla="*/ 2984316 w 7467600"/>
              <a:gd name="connsiteY933" fmla="*/ 0 h 6858000"/>
              <a:gd name="connsiteX934" fmla="*/ 3016114 w 7467600"/>
              <a:gd name="connsiteY934" fmla="*/ 0 h 6858000"/>
              <a:gd name="connsiteX935" fmla="*/ 2979949 w 7467600"/>
              <a:gd name="connsiteY935" fmla="*/ 119274 h 6858000"/>
              <a:gd name="connsiteX936" fmla="*/ 3023879 w 7467600"/>
              <a:gd name="connsiteY936" fmla="*/ 0 h 6858000"/>
              <a:gd name="connsiteX937" fmla="*/ 3105400 w 7467600"/>
              <a:gd name="connsiteY937" fmla="*/ 0 h 6858000"/>
              <a:gd name="connsiteX938" fmla="*/ 3094669 w 7467600"/>
              <a:gd name="connsiteY938" fmla="*/ 30308 h 6858000"/>
              <a:gd name="connsiteX939" fmla="*/ 2901945 w 7467600"/>
              <a:gd name="connsiteY939" fmla="*/ 466538 h 6858000"/>
              <a:gd name="connsiteX940" fmla="*/ 2815209 w 7467600"/>
              <a:gd name="connsiteY940" fmla="*/ 497361 h 6858000"/>
              <a:gd name="connsiteX941" fmla="*/ 2844845 w 7467600"/>
              <a:gd name="connsiteY941" fmla="*/ 127638 h 6858000"/>
              <a:gd name="connsiteX942" fmla="*/ 2867960 w 7467600"/>
              <a:gd name="connsiteY942" fmla="*/ 0 h 6858000"/>
              <a:gd name="connsiteX943" fmla="*/ 1057230 w 7467600"/>
              <a:gd name="connsiteY943" fmla="*/ 0 h 6858000"/>
              <a:gd name="connsiteX944" fmla="*/ 1111003 w 7467600"/>
              <a:gd name="connsiteY944" fmla="*/ 0 h 6858000"/>
              <a:gd name="connsiteX945" fmla="*/ 1125553 w 7467600"/>
              <a:gd name="connsiteY945" fmla="*/ 52588 h 6858000"/>
              <a:gd name="connsiteX946" fmla="*/ 1304276 w 7467600"/>
              <a:gd name="connsiteY946" fmla="*/ 476275 h 6858000"/>
              <a:gd name="connsiteX947" fmla="*/ 1492066 w 7467600"/>
              <a:gd name="connsiteY947" fmla="*/ 886333 h 6858000"/>
              <a:gd name="connsiteX948" fmla="*/ 1423698 w 7467600"/>
              <a:gd name="connsiteY948" fmla="*/ 710817 h 6858000"/>
              <a:gd name="connsiteX949" fmla="*/ 1357609 w 7467600"/>
              <a:gd name="connsiteY949" fmla="*/ 532892 h 6858000"/>
              <a:gd name="connsiteX950" fmla="*/ 1309550 w 7467600"/>
              <a:gd name="connsiteY950" fmla="*/ 374031 h 6858000"/>
              <a:gd name="connsiteX951" fmla="*/ 1193673 w 7467600"/>
              <a:gd name="connsiteY951" fmla="*/ 49533 h 6858000"/>
              <a:gd name="connsiteX952" fmla="*/ 1164391 w 7467600"/>
              <a:gd name="connsiteY952" fmla="*/ 0 h 6858000"/>
              <a:gd name="connsiteX953" fmla="*/ 1200666 w 7467600"/>
              <a:gd name="connsiteY953" fmla="*/ 0 h 6858000"/>
              <a:gd name="connsiteX954" fmla="*/ 1223408 w 7467600"/>
              <a:gd name="connsiteY954" fmla="*/ 38996 h 6858000"/>
              <a:gd name="connsiteX955" fmla="*/ 1339635 w 7467600"/>
              <a:gd name="connsiteY955" fmla="*/ 365517 h 6858000"/>
              <a:gd name="connsiteX956" fmla="*/ 1387469 w 7467600"/>
              <a:gd name="connsiteY956" fmla="*/ 523079 h 6858000"/>
              <a:gd name="connsiteX957" fmla="*/ 1452685 w 7467600"/>
              <a:gd name="connsiteY957" fmla="*/ 699806 h 6858000"/>
              <a:gd name="connsiteX958" fmla="*/ 1492092 w 7467600"/>
              <a:gd name="connsiteY958" fmla="*/ 800424 h 6858000"/>
              <a:gd name="connsiteX959" fmla="*/ 1455302 w 7467600"/>
              <a:gd name="connsiteY959" fmla="*/ 632913 h 6858000"/>
              <a:gd name="connsiteX960" fmla="*/ 1222336 w 7467600"/>
              <a:gd name="connsiteY960" fmla="*/ 9480 h 6858000"/>
              <a:gd name="connsiteX961" fmla="*/ 1214634 w 7467600"/>
              <a:gd name="connsiteY961" fmla="*/ 0 h 6858000"/>
              <a:gd name="connsiteX962" fmla="*/ 1289827 w 7467600"/>
              <a:gd name="connsiteY962" fmla="*/ 0 h 6858000"/>
              <a:gd name="connsiteX963" fmla="*/ 1321076 w 7467600"/>
              <a:gd name="connsiteY963" fmla="*/ 59722 h 6858000"/>
              <a:gd name="connsiteX964" fmla="*/ 1512579 w 7467600"/>
              <a:gd name="connsiteY964" fmla="*/ 626441 h 6858000"/>
              <a:gd name="connsiteX965" fmla="*/ 1506076 w 7467600"/>
              <a:gd name="connsiteY965" fmla="*/ 1089289 h 6858000"/>
              <a:gd name="connsiteX966" fmla="*/ 1486346 w 7467600"/>
              <a:gd name="connsiteY966" fmla="*/ 1079919 h 6858000"/>
              <a:gd name="connsiteX967" fmla="*/ 1070511 w 7467600"/>
              <a:gd name="connsiteY967" fmla="*/ 48609 h 6858000"/>
              <a:gd name="connsiteX968" fmla="*/ 1057230 w 7467600"/>
              <a:gd name="connsiteY968" fmla="*/ 0 h 6858000"/>
              <a:gd name="connsiteX969" fmla="*/ 43151 w 7467600"/>
              <a:gd name="connsiteY969" fmla="*/ 0 h 6858000"/>
              <a:gd name="connsiteX970" fmla="*/ 95283 w 7467600"/>
              <a:gd name="connsiteY970" fmla="*/ 0 h 6858000"/>
              <a:gd name="connsiteX971" fmla="*/ 300708 w 7467600"/>
              <a:gd name="connsiteY971" fmla="*/ 154571 h 6858000"/>
              <a:gd name="connsiteX972" fmla="*/ 530414 w 7467600"/>
              <a:gd name="connsiteY972" fmla="*/ 354673 h 6858000"/>
              <a:gd name="connsiteX973" fmla="*/ 333785 w 7467600"/>
              <a:gd name="connsiteY973" fmla="*/ 161564 h 6858000"/>
              <a:gd name="connsiteX974" fmla="*/ 147005 w 7467600"/>
              <a:gd name="connsiteY974" fmla="*/ 0 h 6858000"/>
              <a:gd name="connsiteX975" fmla="*/ 272509 w 7467600"/>
              <a:gd name="connsiteY975" fmla="*/ 0 h 6858000"/>
              <a:gd name="connsiteX976" fmla="*/ 326276 w 7467600"/>
              <a:gd name="connsiteY976" fmla="*/ 45847 h 6858000"/>
              <a:gd name="connsiteX977" fmla="*/ 823759 w 7467600"/>
              <a:gd name="connsiteY977" fmla="*/ 574145 h 6858000"/>
              <a:gd name="connsiteX978" fmla="*/ 811254 w 7467600"/>
              <a:gd name="connsiteY978" fmla="*/ 665546 h 6858000"/>
              <a:gd name="connsiteX979" fmla="*/ 154042 w 7467600"/>
              <a:gd name="connsiteY979" fmla="*/ 261522 h 6858000"/>
              <a:gd name="connsiteX980" fmla="*/ 13550 w 7467600"/>
              <a:gd name="connsiteY980" fmla="*/ 158423 h 6858000"/>
              <a:gd name="connsiteX981" fmla="*/ 0 w 7467600"/>
              <a:gd name="connsiteY981" fmla="*/ 146618 h 6858000"/>
              <a:gd name="connsiteX982" fmla="*/ 0 w 7467600"/>
              <a:gd name="connsiteY982" fmla="*/ 59161 h 6858000"/>
              <a:gd name="connsiteX983" fmla="*/ 45427 w 7467600"/>
              <a:gd name="connsiteY983" fmla="*/ 101078 h 6858000"/>
              <a:gd name="connsiteX984" fmla="*/ 630103 w 7467600"/>
              <a:gd name="connsiteY984" fmla="*/ 485885 h 6858000"/>
              <a:gd name="connsiteX985" fmla="*/ 532040 w 7467600"/>
              <a:gd name="connsiteY985" fmla="*/ 399359 h 6858000"/>
              <a:gd name="connsiteX986" fmla="*/ 517618 w 7467600"/>
              <a:gd name="connsiteY986" fmla="*/ 385726 h 6858000"/>
              <a:gd name="connsiteX987" fmla="*/ 285074 w 7467600"/>
              <a:gd name="connsiteY987" fmla="*/ 182755 h 6858000"/>
              <a:gd name="connsiteX988" fmla="*/ 43151 w 7467600"/>
              <a:gd name="connsiteY988"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12201 w 7467600"/>
              <a:gd name="connsiteY127" fmla="*/ 5128278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312201 w 7467600"/>
              <a:gd name="connsiteY131" fmla="*/ 5128278 h 6858000"/>
              <a:gd name="connsiteX132" fmla="*/ 1903353 w 7467600"/>
              <a:gd name="connsiteY132" fmla="*/ 5044827 h 6858000"/>
              <a:gd name="connsiteX133" fmla="*/ 1936931 w 7467600"/>
              <a:gd name="connsiteY133" fmla="*/ 5093954 h 6858000"/>
              <a:gd name="connsiteX134" fmla="*/ 2195868 w 7467600"/>
              <a:gd name="connsiteY134" fmla="*/ 5396574 h 6858000"/>
              <a:gd name="connsiteX135" fmla="*/ 2088852 w 7467600"/>
              <a:gd name="connsiteY135" fmla="*/ 5166123 h 6858000"/>
              <a:gd name="connsiteX136" fmla="*/ 1958241 w 7467600"/>
              <a:gd name="connsiteY136" fmla="*/ 5067955 h 6858000"/>
              <a:gd name="connsiteX137" fmla="*/ 1903353 w 7467600"/>
              <a:gd name="connsiteY137" fmla="*/ 5044827 h 6858000"/>
              <a:gd name="connsiteX138" fmla="*/ 1979378 w 7467600"/>
              <a:gd name="connsiteY138" fmla="*/ 4769504 h 6858000"/>
              <a:gd name="connsiteX139" fmla="*/ 2882120 w 7467600"/>
              <a:gd name="connsiteY139" fmla="*/ 5064547 h 6858000"/>
              <a:gd name="connsiteX140" fmla="*/ 2793103 w 7467600"/>
              <a:gd name="connsiteY140" fmla="*/ 5039699 h 6858000"/>
              <a:gd name="connsiteX141" fmla="*/ 2770041 w 7467600"/>
              <a:gd name="connsiteY141" fmla="*/ 5033634 h 6858000"/>
              <a:gd name="connsiteX142" fmla="*/ 1979378 w 7467600"/>
              <a:gd name="connsiteY142" fmla="*/ 4769504 h 6858000"/>
              <a:gd name="connsiteX143" fmla="*/ 1927410 w 7467600"/>
              <a:gd name="connsiteY143" fmla="*/ 4716164 h 6858000"/>
              <a:gd name="connsiteX144" fmla="*/ 1959587 w 7467600"/>
              <a:gd name="connsiteY144" fmla="*/ 4728849 h 6858000"/>
              <a:gd name="connsiteX145" fmla="*/ 2777707 w 7467600"/>
              <a:gd name="connsiteY145" fmla="*/ 5003991 h 6858000"/>
              <a:gd name="connsiteX146" fmla="*/ 2800768 w 7467600"/>
              <a:gd name="connsiteY146" fmla="*/ 5010056 h 6858000"/>
              <a:gd name="connsiteX147" fmla="*/ 2879408 w 7467600"/>
              <a:gd name="connsiteY147" fmla="*/ 5031590 h 6858000"/>
              <a:gd name="connsiteX148" fmla="*/ 2862295 w 7467600"/>
              <a:gd name="connsiteY148" fmla="*/ 5022958 h 6858000"/>
              <a:gd name="connsiteX149" fmla="*/ 2813343 w 7467600"/>
              <a:gd name="connsiteY149" fmla="*/ 4998369 h 6858000"/>
              <a:gd name="connsiteX150" fmla="*/ 2646245 w 7467600"/>
              <a:gd name="connsiteY150" fmla="*/ 4930999 h 6858000"/>
              <a:gd name="connsiteX151" fmla="*/ 1999243 w 7467600"/>
              <a:gd name="connsiteY151" fmla="*/ 4730524 h 6858000"/>
              <a:gd name="connsiteX152" fmla="*/ 1979527 w 7467600"/>
              <a:gd name="connsiteY152" fmla="*/ 4726651 h 6858000"/>
              <a:gd name="connsiteX153" fmla="*/ 1927410 w 7467600"/>
              <a:gd name="connsiteY153" fmla="*/ 4716164 h 6858000"/>
              <a:gd name="connsiteX154" fmla="*/ 1997014 w 7467600"/>
              <a:gd name="connsiteY154" fmla="*/ 4698007 h 6858000"/>
              <a:gd name="connsiteX155" fmla="*/ 2005458 w 7467600"/>
              <a:gd name="connsiteY155" fmla="*/ 4699540 h 6858000"/>
              <a:gd name="connsiteX156" fmla="*/ 2657186 w 7467600"/>
              <a:gd name="connsiteY156" fmla="*/ 4901687 h 6858000"/>
              <a:gd name="connsiteX157" fmla="*/ 2826662 w 7467600"/>
              <a:gd name="connsiteY157" fmla="*/ 4970362 h 6858000"/>
              <a:gd name="connsiteX158" fmla="*/ 2876100 w 7467600"/>
              <a:gd name="connsiteY158" fmla="*/ 4995397 h 6858000"/>
              <a:gd name="connsiteX159" fmla="*/ 3042600 w 7467600"/>
              <a:gd name="connsiteY159" fmla="*/ 5059532 h 6858000"/>
              <a:gd name="connsiteX160" fmla="*/ 1997014 w 7467600"/>
              <a:gd name="connsiteY160" fmla="*/ 4698007 h 6858000"/>
              <a:gd name="connsiteX161" fmla="*/ 2305292 w 7467600"/>
              <a:gd name="connsiteY161" fmla="*/ 4219492 h 6858000"/>
              <a:gd name="connsiteX162" fmla="*/ 3360922 w 7467600"/>
              <a:gd name="connsiteY162" fmla="*/ 4529373 h 6858000"/>
              <a:gd name="connsiteX163" fmla="*/ 3492420 w 7467600"/>
              <a:gd name="connsiteY163" fmla="*/ 4510145 h 6858000"/>
              <a:gd name="connsiteX164" fmla="*/ 3364086 w 7467600"/>
              <a:gd name="connsiteY164" fmla="*/ 4480340 h 6858000"/>
              <a:gd name="connsiteX165" fmla="*/ 3225818 w 7467600"/>
              <a:gd name="connsiteY165" fmla="*/ 4411822 h 6858000"/>
              <a:gd name="connsiteX166" fmla="*/ 3129696 w 7467600"/>
              <a:gd name="connsiteY166" fmla="*/ 4360704 h 6858000"/>
              <a:gd name="connsiteX167" fmla="*/ 2814545 w 7467600"/>
              <a:gd name="connsiteY167" fmla="*/ 4282955 h 6858000"/>
              <a:gd name="connsiteX168" fmla="*/ 2305292 w 7467600"/>
              <a:gd name="connsiteY168" fmla="*/ 4219492 h 6858000"/>
              <a:gd name="connsiteX169" fmla="*/ 2626982 w 7467600"/>
              <a:gd name="connsiteY169" fmla="*/ 4206450 h 6858000"/>
              <a:gd name="connsiteX170" fmla="*/ 2490617 w 7467600"/>
              <a:gd name="connsiteY170" fmla="*/ 4206951 h 6858000"/>
              <a:gd name="connsiteX171" fmla="*/ 2819869 w 7467600"/>
              <a:gd name="connsiteY171" fmla="*/ 4252936 h 6858000"/>
              <a:gd name="connsiteX172" fmla="*/ 3143018 w 7467600"/>
              <a:gd name="connsiteY172" fmla="*/ 4332698 h 6858000"/>
              <a:gd name="connsiteX173" fmla="*/ 3241520 w 7467600"/>
              <a:gd name="connsiteY173" fmla="*/ 4385112 h 6858000"/>
              <a:gd name="connsiteX174" fmla="*/ 3374575 w 7467600"/>
              <a:gd name="connsiteY174" fmla="*/ 4451517 h 6858000"/>
              <a:gd name="connsiteX175" fmla="*/ 3505221 w 7467600"/>
              <a:gd name="connsiteY175" fmla="*/ 4480757 h 6858000"/>
              <a:gd name="connsiteX176" fmla="*/ 2626982 w 7467600"/>
              <a:gd name="connsiteY176" fmla="*/ 4206450 h 6858000"/>
              <a:gd name="connsiteX177" fmla="*/ 1310106 w 7467600"/>
              <a:gd name="connsiteY177" fmla="*/ 3943217 h 6858000"/>
              <a:gd name="connsiteX178" fmla="*/ 854994 w 7467600"/>
              <a:gd name="connsiteY178" fmla="*/ 4399136 h 6858000"/>
              <a:gd name="connsiteX179" fmla="*/ 742462 w 7467600"/>
              <a:gd name="connsiteY179" fmla="*/ 4594648 h 6858000"/>
              <a:gd name="connsiteX180" fmla="*/ 820602 w 7467600"/>
              <a:gd name="connsiteY180" fmla="*/ 4485915 h 6858000"/>
              <a:gd name="connsiteX181" fmla="*/ 878295 w 7467600"/>
              <a:gd name="connsiteY181" fmla="*/ 4403594 h 6858000"/>
              <a:gd name="connsiteX182" fmla="*/ 1240607 w 7467600"/>
              <a:gd name="connsiteY182" fmla="*/ 4010401 h 6858000"/>
              <a:gd name="connsiteX183" fmla="*/ 1310106 w 7467600"/>
              <a:gd name="connsiteY183" fmla="*/ 3943217 h 6858000"/>
              <a:gd name="connsiteX184" fmla="*/ 1423113 w 7467600"/>
              <a:gd name="connsiteY184" fmla="*/ 3874565 h 6858000"/>
              <a:gd name="connsiteX185" fmla="*/ 1260565 w 7467600"/>
              <a:gd name="connsiteY185" fmla="*/ 4031982 h 6858000"/>
              <a:gd name="connsiteX186" fmla="*/ 901900 w 7467600"/>
              <a:gd name="connsiteY186" fmla="*/ 4421236 h 6858000"/>
              <a:gd name="connsiteX187" fmla="*/ 845044 w 7467600"/>
              <a:gd name="connsiteY187" fmla="*/ 4502436 h 6858000"/>
              <a:gd name="connsiteX188" fmla="*/ 685926 w 7467600"/>
              <a:gd name="connsiteY188" fmla="*/ 4703069 h 6858000"/>
              <a:gd name="connsiteX189" fmla="*/ 684248 w 7467600"/>
              <a:gd name="connsiteY189" fmla="*/ 4706721 h 6858000"/>
              <a:gd name="connsiteX190" fmla="*/ 1423113 w 7467600"/>
              <a:gd name="connsiteY190" fmla="*/ 3874565 h 6858000"/>
              <a:gd name="connsiteX191" fmla="*/ 3316479 w 7467600"/>
              <a:gd name="connsiteY191" fmla="*/ 3872136 h 6858000"/>
              <a:gd name="connsiteX192" fmla="*/ 3546806 w 7467600"/>
              <a:gd name="connsiteY192" fmla="*/ 4356139 h 6858000"/>
              <a:gd name="connsiteX193" fmla="*/ 3364433 w 7467600"/>
              <a:gd name="connsiteY193" fmla="*/ 3953121 h 6858000"/>
              <a:gd name="connsiteX194" fmla="*/ 3316479 w 7467600"/>
              <a:gd name="connsiteY194" fmla="*/ 3872136 h 6858000"/>
              <a:gd name="connsiteX195" fmla="*/ 3291335 w 7467600"/>
              <a:gd name="connsiteY195" fmla="*/ 3767420 h 6858000"/>
              <a:gd name="connsiteX196" fmla="*/ 3390805 w 7467600"/>
              <a:gd name="connsiteY196" fmla="*/ 3937163 h 6858000"/>
              <a:gd name="connsiteX197" fmla="*/ 3579062 w 7467600"/>
              <a:gd name="connsiteY197" fmla="*/ 4359040 h 6858000"/>
              <a:gd name="connsiteX198" fmla="*/ 3467355 w 7467600"/>
              <a:gd name="connsiteY198" fmla="*/ 3988130 h 6858000"/>
              <a:gd name="connsiteX199" fmla="*/ 3310753 w 7467600"/>
              <a:gd name="connsiteY199" fmla="*/ 3787140 h 6858000"/>
              <a:gd name="connsiteX200" fmla="*/ 3291335 w 7467600"/>
              <a:gd name="connsiteY200" fmla="*/ 3767420 h 6858000"/>
              <a:gd name="connsiteX201" fmla="*/ 1635889 w 7467600"/>
              <a:gd name="connsiteY201" fmla="*/ 3709494 h 6858000"/>
              <a:gd name="connsiteX202" fmla="*/ 1634800 w 7467600"/>
              <a:gd name="connsiteY202" fmla="*/ 3731111 h 6858000"/>
              <a:gd name="connsiteX203" fmla="*/ 1635889 w 7467600"/>
              <a:gd name="connsiteY203" fmla="*/ 3709494 h 6858000"/>
              <a:gd name="connsiteX204" fmla="*/ 1510397 w 7467600"/>
              <a:gd name="connsiteY204" fmla="*/ 3684705 h 6858000"/>
              <a:gd name="connsiteX205" fmla="*/ 1146550 w 7467600"/>
              <a:gd name="connsiteY205" fmla="*/ 3802012 h 6858000"/>
              <a:gd name="connsiteX206" fmla="*/ 698834 w 7467600"/>
              <a:gd name="connsiteY206" fmla="*/ 3952272 h 6858000"/>
              <a:gd name="connsiteX207" fmla="*/ 34256 w 7467600"/>
              <a:gd name="connsiteY207" fmla="*/ 4347603 h 6858000"/>
              <a:gd name="connsiteX208" fmla="*/ 527241 w 7467600"/>
              <a:gd name="connsiteY208" fmla="*/ 4065078 h 6858000"/>
              <a:gd name="connsiteX209" fmla="*/ 1510397 w 7467600"/>
              <a:gd name="connsiteY209" fmla="*/ 3684705 h 6858000"/>
              <a:gd name="connsiteX210" fmla="*/ 1313114 w 7467600"/>
              <a:gd name="connsiteY210" fmla="*/ 3655216 h 6858000"/>
              <a:gd name="connsiteX211" fmla="*/ 1109304 w 7467600"/>
              <a:gd name="connsiteY211" fmla="*/ 3669030 h 6858000"/>
              <a:gd name="connsiteX212" fmla="*/ 8129 w 7467600"/>
              <a:gd name="connsiteY212" fmla="*/ 4330519 h 6858000"/>
              <a:gd name="connsiteX213" fmla="*/ 687572 w 7467600"/>
              <a:gd name="connsiteY213" fmla="*/ 3925629 h 6858000"/>
              <a:gd name="connsiteX214" fmla="*/ 1138365 w 7467600"/>
              <a:gd name="connsiteY214" fmla="*/ 3774515 h 6858000"/>
              <a:gd name="connsiteX215" fmla="*/ 1505579 w 7467600"/>
              <a:gd name="connsiteY215" fmla="*/ 3655526 h 6858000"/>
              <a:gd name="connsiteX216" fmla="*/ 1313114 w 7467600"/>
              <a:gd name="connsiteY216" fmla="*/ 3655216 h 6858000"/>
              <a:gd name="connsiteX217" fmla="*/ 3655073 w 7467600"/>
              <a:gd name="connsiteY217" fmla="*/ 3650884 h 6858000"/>
              <a:gd name="connsiteX218" fmla="*/ 3989938 w 7467600"/>
              <a:gd name="connsiteY218" fmla="*/ 3991685 h 6858000"/>
              <a:gd name="connsiteX219" fmla="*/ 4393907 w 7467600"/>
              <a:gd name="connsiteY219" fmla="*/ 4261258 h 6858000"/>
              <a:gd name="connsiteX220" fmla="*/ 4648051 w 7467600"/>
              <a:gd name="connsiteY220" fmla="*/ 4374051 h 6858000"/>
              <a:gd name="connsiteX221" fmla="*/ 4383389 w 7467600"/>
              <a:gd name="connsiteY221" fmla="*/ 4184369 h 6858000"/>
              <a:gd name="connsiteX222" fmla="*/ 4165508 w 7467600"/>
              <a:gd name="connsiteY222" fmla="*/ 4035196 h 6858000"/>
              <a:gd name="connsiteX223" fmla="*/ 4068162 w 7467600"/>
              <a:gd name="connsiteY223" fmla="*/ 3953394 h 6858000"/>
              <a:gd name="connsiteX224" fmla="*/ 3981416 w 7467600"/>
              <a:gd name="connsiteY224" fmla="*/ 3880482 h 6858000"/>
              <a:gd name="connsiteX225" fmla="*/ 3800147 w 7467600"/>
              <a:gd name="connsiteY225" fmla="*/ 3749872 h 6858000"/>
              <a:gd name="connsiteX226" fmla="*/ 3655073 w 7467600"/>
              <a:gd name="connsiteY226" fmla="*/ 3650884 h 6858000"/>
              <a:gd name="connsiteX227" fmla="*/ 3670252 w 7467600"/>
              <a:gd name="connsiteY227" fmla="*/ 3622798 h 6858000"/>
              <a:gd name="connsiteX228" fmla="*/ 3817258 w 7467600"/>
              <a:gd name="connsiteY228" fmla="*/ 3723577 h 6858000"/>
              <a:gd name="connsiteX229" fmla="*/ 4000461 w 7467600"/>
              <a:gd name="connsiteY229" fmla="*/ 3855966 h 6858000"/>
              <a:gd name="connsiteX230" fmla="*/ 4088180 w 7467600"/>
              <a:gd name="connsiteY230" fmla="*/ 3929774 h 6858000"/>
              <a:gd name="connsiteX231" fmla="*/ 4184555 w 7467600"/>
              <a:gd name="connsiteY231" fmla="*/ 4010683 h 6858000"/>
              <a:gd name="connsiteX232" fmla="*/ 4399563 w 7467600"/>
              <a:gd name="connsiteY232" fmla="*/ 4158106 h 6858000"/>
              <a:gd name="connsiteX233" fmla="*/ 4684469 w 7467600"/>
              <a:gd name="connsiteY233" fmla="*/ 4364680 h 6858000"/>
              <a:gd name="connsiteX234" fmla="*/ 4690271 w 7467600"/>
              <a:gd name="connsiteY234" fmla="*/ 4370034 h 6858000"/>
              <a:gd name="connsiteX235" fmla="*/ 4136093 w 7467600"/>
              <a:gd name="connsiteY235" fmla="*/ 3858466 h 6858000"/>
              <a:gd name="connsiteX236" fmla="*/ 3670252 w 7467600"/>
              <a:gd name="connsiteY236" fmla="*/ 3622798 h 6858000"/>
              <a:gd name="connsiteX237" fmla="*/ 4440129 w 7467600"/>
              <a:gd name="connsiteY237" fmla="*/ 3448571 h 6858000"/>
              <a:gd name="connsiteX238" fmla="*/ 4856525 w 7467600"/>
              <a:gd name="connsiteY238" fmla="*/ 3915351 h 6858000"/>
              <a:gd name="connsiteX239" fmla="*/ 5059055 w 7467600"/>
              <a:gd name="connsiteY239" fmla="*/ 4108918 h 6858000"/>
              <a:gd name="connsiteX240" fmla="*/ 5290070 w 7467600"/>
              <a:gd name="connsiteY240" fmla="*/ 4263619 h 6858000"/>
              <a:gd name="connsiteX241" fmla="*/ 4834991 w 7467600"/>
              <a:gd name="connsiteY241" fmla="*/ 3830985 h 6858000"/>
              <a:gd name="connsiteX242" fmla="*/ 4440129 w 7467600"/>
              <a:gd name="connsiteY242" fmla="*/ 3448571 h 6858000"/>
              <a:gd name="connsiteX243" fmla="*/ 4441737 w 7467600"/>
              <a:gd name="connsiteY243" fmla="*/ 3399734 h 6858000"/>
              <a:gd name="connsiteX244" fmla="*/ 4431236 w 7467600"/>
              <a:gd name="connsiteY244" fmla="*/ 3400954 h 6858000"/>
              <a:gd name="connsiteX245" fmla="*/ 4557150 w 7467600"/>
              <a:gd name="connsiteY245" fmla="*/ 3510023 h 6858000"/>
              <a:gd name="connsiteX246" fmla="*/ 4856936 w 7467600"/>
              <a:gd name="connsiteY246" fmla="*/ 3809146 h 6858000"/>
              <a:gd name="connsiteX247" fmla="*/ 5111996 w 7467600"/>
              <a:gd name="connsiteY247" fmla="*/ 4065759 h 6858000"/>
              <a:gd name="connsiteX248" fmla="*/ 5388878 w 7467600"/>
              <a:gd name="connsiteY248" fmla="*/ 4300185 h 6858000"/>
              <a:gd name="connsiteX249" fmla="*/ 5425556 w 7467600"/>
              <a:gd name="connsiteY249" fmla="*/ 4308967 h 6858000"/>
              <a:gd name="connsiteX250" fmla="*/ 4943646 w 7467600"/>
              <a:gd name="connsiteY250" fmla="*/ 3822916 h 6858000"/>
              <a:gd name="connsiteX251" fmla="*/ 4594837 w 7467600"/>
              <a:gd name="connsiteY251" fmla="*/ 3532274 h 6858000"/>
              <a:gd name="connsiteX252" fmla="*/ 4441737 w 7467600"/>
              <a:gd name="connsiteY252" fmla="*/ 3399734 h 6858000"/>
              <a:gd name="connsiteX253" fmla="*/ 5425834 w 7467600"/>
              <a:gd name="connsiteY253" fmla="*/ 3162785 h 6858000"/>
              <a:gd name="connsiteX254" fmla="*/ 5401644 w 7467600"/>
              <a:gd name="connsiteY254" fmla="*/ 3617847 h 6858000"/>
              <a:gd name="connsiteX255" fmla="*/ 5467256 w 7467600"/>
              <a:gd name="connsiteY255" fmla="*/ 4175494 h 6858000"/>
              <a:gd name="connsiteX256" fmla="*/ 5448069 w 7467600"/>
              <a:gd name="connsiteY256" fmla="*/ 3567554 h 6858000"/>
              <a:gd name="connsiteX257" fmla="*/ 5425834 w 7467600"/>
              <a:gd name="connsiteY257" fmla="*/ 3162785 h 6858000"/>
              <a:gd name="connsiteX258" fmla="*/ 1318687 w 7467600"/>
              <a:gd name="connsiteY258" fmla="*/ 3113840 h 6858000"/>
              <a:gd name="connsiteX259" fmla="*/ 1066793 w 7467600"/>
              <a:gd name="connsiteY259" fmla="*/ 3212171 h 6858000"/>
              <a:gd name="connsiteX260" fmla="*/ 993319 w 7467600"/>
              <a:gd name="connsiteY260" fmla="*/ 3247648 h 6858000"/>
              <a:gd name="connsiteX261" fmla="*/ 853081 w 7467600"/>
              <a:gd name="connsiteY261" fmla="*/ 3312410 h 6858000"/>
              <a:gd name="connsiteX262" fmla="*/ 805957 w 7467600"/>
              <a:gd name="connsiteY262" fmla="*/ 3330443 h 6858000"/>
              <a:gd name="connsiteX263" fmla="*/ 1318687 w 7467600"/>
              <a:gd name="connsiteY263" fmla="*/ 3113840 h 6858000"/>
              <a:gd name="connsiteX264" fmla="*/ 5453702 w 7467600"/>
              <a:gd name="connsiteY264" fmla="*/ 3090882 h 6858000"/>
              <a:gd name="connsiteX265" fmla="*/ 5480135 w 7467600"/>
              <a:gd name="connsiteY265" fmla="*/ 3565802 h 6858000"/>
              <a:gd name="connsiteX266" fmla="*/ 5499023 w 7467600"/>
              <a:gd name="connsiteY266" fmla="*/ 4166310 h 6858000"/>
              <a:gd name="connsiteX267" fmla="*/ 5547022 w 7467600"/>
              <a:gd name="connsiteY267" fmla="*/ 3607838 h 6858000"/>
              <a:gd name="connsiteX268" fmla="*/ 5515964 w 7467600"/>
              <a:gd name="connsiteY268" fmla="*/ 3378541 h 6858000"/>
              <a:gd name="connsiteX269" fmla="*/ 5453702 w 7467600"/>
              <a:gd name="connsiteY269" fmla="*/ 3090882 h 6858000"/>
              <a:gd name="connsiteX270" fmla="*/ 1238695 w 7467600"/>
              <a:gd name="connsiteY270" fmla="*/ 3076820 h 6858000"/>
              <a:gd name="connsiteX271" fmla="*/ 716371 w 7467600"/>
              <a:gd name="connsiteY271" fmla="*/ 3293249 h 6858000"/>
              <a:gd name="connsiteX272" fmla="*/ 579522 w 7467600"/>
              <a:gd name="connsiteY272" fmla="*/ 3371759 h 6858000"/>
              <a:gd name="connsiteX273" fmla="*/ 600288 w 7467600"/>
              <a:gd name="connsiteY273" fmla="*/ 3365555 h 6858000"/>
              <a:gd name="connsiteX274" fmla="*/ 840692 w 7467600"/>
              <a:gd name="connsiteY274" fmla="*/ 3284921 h 6858000"/>
              <a:gd name="connsiteX275" fmla="*/ 979248 w 7467600"/>
              <a:gd name="connsiteY275" fmla="*/ 3221003 h 6858000"/>
              <a:gd name="connsiteX276" fmla="*/ 1053282 w 7467600"/>
              <a:gd name="connsiteY276" fmla="*/ 3185247 h 6858000"/>
              <a:gd name="connsiteX277" fmla="*/ 1320603 w 7467600"/>
              <a:gd name="connsiteY277" fmla="*/ 3081281 h 6858000"/>
              <a:gd name="connsiteX278" fmla="*/ 1238695 w 7467600"/>
              <a:gd name="connsiteY278" fmla="*/ 3076820 h 6858000"/>
              <a:gd name="connsiteX279" fmla="*/ 5425627 w 7467600"/>
              <a:gd name="connsiteY279" fmla="*/ 2954192 h 6858000"/>
              <a:gd name="connsiteX280" fmla="*/ 5470770 w 7467600"/>
              <a:gd name="connsiteY280" fmla="*/ 3005435 h 6858000"/>
              <a:gd name="connsiteX281" fmla="*/ 5519779 w 7467600"/>
              <a:gd name="connsiteY281" fmla="*/ 4359223 h 6858000"/>
              <a:gd name="connsiteX282" fmla="*/ 5520293 w 7467600"/>
              <a:gd name="connsiteY282" fmla="*/ 4360602 h 6858000"/>
              <a:gd name="connsiteX283" fmla="*/ 5767221 w 7467600"/>
              <a:gd name="connsiteY283" fmla="*/ 4665564 h 6858000"/>
              <a:gd name="connsiteX284" fmla="*/ 6937169 w 7467600"/>
              <a:gd name="connsiteY284" fmla="*/ 4815941 h 6858000"/>
              <a:gd name="connsiteX285" fmla="*/ 6953922 w 7467600"/>
              <a:gd name="connsiteY285" fmla="*/ 4890068 h 6858000"/>
              <a:gd name="connsiteX286" fmla="*/ 6071359 w 7467600"/>
              <a:gd name="connsiteY286" fmla="*/ 4770770 h 6858000"/>
              <a:gd name="connsiteX287" fmla="*/ 6038839 w 7467600"/>
              <a:gd name="connsiteY287" fmla="*/ 4764474 h 6858000"/>
              <a:gd name="connsiteX288" fmla="*/ 6038706 w 7467600"/>
              <a:gd name="connsiteY288" fmla="*/ 4763847 h 6858000"/>
              <a:gd name="connsiteX289" fmla="*/ 6037784 w 7467600"/>
              <a:gd name="connsiteY289" fmla="*/ 4764270 h 6858000"/>
              <a:gd name="connsiteX290" fmla="*/ 6038839 w 7467600"/>
              <a:gd name="connsiteY290" fmla="*/ 4764474 h 6858000"/>
              <a:gd name="connsiteX291" fmla="*/ 6040338 w 7467600"/>
              <a:gd name="connsiteY291" fmla="*/ 4771418 h 6858000"/>
              <a:gd name="connsiteX292" fmla="*/ 6024488 w 7467600"/>
              <a:gd name="connsiteY292" fmla="*/ 4809903 h 6858000"/>
              <a:gd name="connsiteX293" fmla="*/ 5599771 w 7467600"/>
              <a:gd name="connsiteY293" fmla="*/ 5509652 h 6858000"/>
              <a:gd name="connsiteX294" fmla="*/ 5548843 w 7467600"/>
              <a:gd name="connsiteY294" fmla="*/ 5563845 h 6858000"/>
              <a:gd name="connsiteX295" fmla="*/ 5940952 w 7467600"/>
              <a:gd name="connsiteY295" fmla="*/ 6250028 h 6858000"/>
              <a:gd name="connsiteX296" fmla="*/ 6043441 w 7467600"/>
              <a:gd name="connsiteY296" fmla="*/ 6665847 h 6858000"/>
              <a:gd name="connsiteX297" fmla="*/ 6093432 w 7467600"/>
              <a:gd name="connsiteY297" fmla="*/ 6858000 h 6858000"/>
              <a:gd name="connsiteX298" fmla="*/ 6034344 w 7467600"/>
              <a:gd name="connsiteY298" fmla="*/ 6858000 h 6858000"/>
              <a:gd name="connsiteX299" fmla="*/ 6026679 w 7467600"/>
              <a:gd name="connsiteY299" fmla="*/ 6836959 h 6858000"/>
              <a:gd name="connsiteX300" fmla="*/ 5800441 w 7467600"/>
              <a:gd name="connsiteY300" fmla="*/ 6335286 h 6858000"/>
              <a:gd name="connsiteX301" fmla="*/ 5526562 w 7467600"/>
              <a:gd name="connsiteY301" fmla="*/ 5705388 h 6858000"/>
              <a:gd name="connsiteX302" fmla="*/ 5519640 w 7467600"/>
              <a:gd name="connsiteY302" fmla="*/ 5683774 h 6858000"/>
              <a:gd name="connsiteX303" fmla="*/ 5844559 w 7467600"/>
              <a:gd name="connsiteY303" fmla="*/ 6553349 h 6858000"/>
              <a:gd name="connsiteX304" fmla="*/ 5975994 w 7467600"/>
              <a:gd name="connsiteY304" fmla="*/ 6858000 h 6858000"/>
              <a:gd name="connsiteX305" fmla="*/ 5898547 w 7467600"/>
              <a:gd name="connsiteY305" fmla="*/ 6858000 h 6858000"/>
              <a:gd name="connsiteX306" fmla="*/ 5682041 w 7467600"/>
              <a:gd name="connsiteY306" fmla="*/ 6355860 h 6858000"/>
              <a:gd name="connsiteX307" fmla="*/ 5461758 w 7467600"/>
              <a:gd name="connsiteY307" fmla="*/ 5820220 h 6858000"/>
              <a:gd name="connsiteX308" fmla="*/ 5237282 w 7467600"/>
              <a:gd name="connsiteY308" fmla="*/ 6579086 h 6858000"/>
              <a:gd name="connsiteX309" fmla="*/ 5115009 w 7467600"/>
              <a:gd name="connsiteY309" fmla="*/ 6858000 h 6858000"/>
              <a:gd name="connsiteX310" fmla="*/ 5028074 w 7467600"/>
              <a:gd name="connsiteY310" fmla="*/ 6858000 h 6858000"/>
              <a:gd name="connsiteX311" fmla="*/ 5079508 w 7467600"/>
              <a:gd name="connsiteY311" fmla="*/ 6749074 h 6858000"/>
              <a:gd name="connsiteX312" fmla="*/ 5371846 w 7467600"/>
              <a:gd name="connsiteY312" fmla="*/ 5924413 h 6858000"/>
              <a:gd name="connsiteX313" fmla="*/ 5270512 w 7467600"/>
              <a:gd name="connsiteY313" fmla="*/ 6138975 h 6858000"/>
              <a:gd name="connsiteX314" fmla="*/ 5062409 w 7467600"/>
              <a:gd name="connsiteY314" fmla="*/ 6653544 h 6858000"/>
              <a:gd name="connsiteX315" fmla="*/ 5036628 w 7467600"/>
              <a:gd name="connsiteY315" fmla="*/ 6754247 h 6858000"/>
              <a:gd name="connsiteX316" fmla="*/ 5009112 w 7467600"/>
              <a:gd name="connsiteY316" fmla="*/ 6858000 h 6858000"/>
              <a:gd name="connsiteX317" fmla="*/ 4976679 w 7467600"/>
              <a:gd name="connsiteY317" fmla="*/ 6858000 h 6858000"/>
              <a:gd name="connsiteX318" fmla="*/ 5006537 w 7467600"/>
              <a:gd name="connsiteY318" fmla="*/ 6747068 h 6858000"/>
              <a:gd name="connsiteX319" fmla="*/ 5032723 w 7467600"/>
              <a:gd name="connsiteY319" fmla="*/ 6644957 h 6858000"/>
              <a:gd name="connsiteX320" fmla="*/ 5242949 w 7467600"/>
              <a:gd name="connsiteY320" fmla="*/ 6125175 h 6858000"/>
              <a:gd name="connsiteX321" fmla="*/ 5286321 w 7467600"/>
              <a:gd name="connsiteY321" fmla="*/ 6033555 h 6858000"/>
              <a:gd name="connsiteX322" fmla="*/ 5008210 w 7467600"/>
              <a:gd name="connsiteY322" fmla="*/ 6649194 h 6858000"/>
              <a:gd name="connsiteX323" fmla="*/ 4986321 w 7467600"/>
              <a:gd name="connsiteY323" fmla="*/ 6765687 h 6858000"/>
              <a:gd name="connsiteX324" fmla="*/ 4973474 w 7467600"/>
              <a:gd name="connsiteY324" fmla="*/ 6858000 h 6858000"/>
              <a:gd name="connsiteX325" fmla="*/ 4907178 w 7467600"/>
              <a:gd name="connsiteY325" fmla="*/ 6858000 h 6858000"/>
              <a:gd name="connsiteX326" fmla="*/ 4910810 w 7467600"/>
              <a:gd name="connsiteY326" fmla="*/ 6829660 h 6858000"/>
              <a:gd name="connsiteX327" fmla="*/ 4987461 w 7467600"/>
              <a:gd name="connsiteY327" fmla="*/ 6432994 h 6858000"/>
              <a:gd name="connsiteX328" fmla="*/ 5179262 w 7467600"/>
              <a:gd name="connsiteY328" fmla="*/ 6035044 h 6858000"/>
              <a:gd name="connsiteX329" fmla="*/ 4689678 w 7467600"/>
              <a:gd name="connsiteY329" fmla="*/ 6440241 h 6858000"/>
              <a:gd name="connsiteX330" fmla="*/ 4477543 w 7467600"/>
              <a:gd name="connsiteY330" fmla="*/ 6674836 h 6858000"/>
              <a:gd name="connsiteX331" fmla="*/ 4329957 w 7467600"/>
              <a:gd name="connsiteY331" fmla="*/ 6858000 h 6858000"/>
              <a:gd name="connsiteX332" fmla="*/ 4218595 w 7467600"/>
              <a:gd name="connsiteY332" fmla="*/ 6858000 h 6858000"/>
              <a:gd name="connsiteX333" fmla="*/ 4368888 w 7467600"/>
              <a:gd name="connsiteY333" fmla="*/ 6668412 h 6858000"/>
              <a:gd name="connsiteX334" fmla="*/ 4563091 w 7467600"/>
              <a:gd name="connsiteY334" fmla="*/ 6442508 h 6858000"/>
              <a:gd name="connsiteX335" fmla="*/ 5387324 w 7467600"/>
              <a:gd name="connsiteY335" fmla="*/ 5705830 h 6858000"/>
              <a:gd name="connsiteX336" fmla="*/ 5073620 w 7467600"/>
              <a:gd name="connsiteY336" fmla="*/ 5955437 h 6858000"/>
              <a:gd name="connsiteX337" fmla="*/ 4689789 w 7467600"/>
              <a:gd name="connsiteY337" fmla="*/ 6268382 h 6858000"/>
              <a:gd name="connsiteX338" fmla="*/ 4418722 w 7467600"/>
              <a:gd name="connsiteY338" fmla="*/ 6570886 h 6858000"/>
              <a:gd name="connsiteX339" fmla="*/ 4214944 w 7467600"/>
              <a:gd name="connsiteY339" fmla="*/ 6858000 h 6858000"/>
              <a:gd name="connsiteX340" fmla="*/ 4177898 w 7467600"/>
              <a:gd name="connsiteY340" fmla="*/ 6858000 h 6858000"/>
              <a:gd name="connsiteX341" fmla="*/ 4391597 w 7467600"/>
              <a:gd name="connsiteY341" fmla="*/ 6556370 h 6858000"/>
              <a:gd name="connsiteX342" fmla="*/ 4668889 w 7467600"/>
              <a:gd name="connsiteY342" fmla="*/ 6246399 h 6858000"/>
              <a:gd name="connsiteX343" fmla="*/ 5055427 w 7467600"/>
              <a:gd name="connsiteY343" fmla="*/ 5931476 h 6858000"/>
              <a:gd name="connsiteX344" fmla="*/ 5371814 w 7467600"/>
              <a:gd name="connsiteY344" fmla="*/ 5678975 h 6858000"/>
              <a:gd name="connsiteX345" fmla="*/ 4987918 w 7467600"/>
              <a:gd name="connsiteY345" fmla="*/ 5838701 h 6858000"/>
              <a:gd name="connsiteX346" fmla="*/ 4317146 w 7467600"/>
              <a:gd name="connsiteY346" fmla="*/ 6587716 h 6858000"/>
              <a:gd name="connsiteX347" fmla="*/ 4171627 w 7467600"/>
              <a:gd name="connsiteY347" fmla="*/ 6858000 h 6858000"/>
              <a:gd name="connsiteX348" fmla="*/ 4081585 w 7467600"/>
              <a:gd name="connsiteY348" fmla="*/ 6858000 h 6858000"/>
              <a:gd name="connsiteX349" fmla="*/ 4238603 w 7467600"/>
              <a:gd name="connsiteY349" fmla="*/ 6559341 h 6858000"/>
              <a:gd name="connsiteX350" fmla="*/ 4778333 w 7467600"/>
              <a:gd name="connsiteY350" fmla="*/ 5873626 h 6858000"/>
              <a:gd name="connsiteX351" fmla="*/ 5414185 w 7467600"/>
              <a:gd name="connsiteY351" fmla="*/ 5573882 h 6858000"/>
              <a:gd name="connsiteX352" fmla="*/ 5959648 w 7467600"/>
              <a:gd name="connsiteY352" fmla="*/ 4760797 h 6858000"/>
              <a:gd name="connsiteX353" fmla="*/ 5355019 w 7467600"/>
              <a:gd name="connsiteY353" fmla="*/ 4734672 h 6858000"/>
              <a:gd name="connsiteX354" fmla="*/ 5083565 w 7467600"/>
              <a:gd name="connsiteY354" fmla="*/ 5179121 h 6858000"/>
              <a:gd name="connsiteX355" fmla="*/ 4713577 w 7467600"/>
              <a:gd name="connsiteY355" fmla="*/ 5616803 h 6858000"/>
              <a:gd name="connsiteX356" fmla="*/ 3989559 w 7467600"/>
              <a:gd name="connsiteY356" fmla="*/ 6145945 h 6858000"/>
              <a:gd name="connsiteX357" fmla="*/ 3939824 w 7467600"/>
              <a:gd name="connsiteY357" fmla="*/ 6066900 h 6858000"/>
              <a:gd name="connsiteX358" fmla="*/ 4584537 w 7467600"/>
              <a:gd name="connsiteY358" fmla="*/ 5324826 h 6858000"/>
              <a:gd name="connsiteX359" fmla="*/ 5037105 w 7467600"/>
              <a:gd name="connsiteY359" fmla="*/ 5088765 h 6858000"/>
              <a:gd name="connsiteX360" fmla="*/ 5039930 w 7467600"/>
              <a:gd name="connsiteY360" fmla="*/ 5089585 h 6858000"/>
              <a:gd name="connsiteX361" fmla="*/ 5263764 w 7467600"/>
              <a:gd name="connsiteY361" fmla="*/ 4735525 h 6858000"/>
              <a:gd name="connsiteX362" fmla="*/ 4086300 w 7467600"/>
              <a:gd name="connsiteY362" fmla="*/ 4884599 h 6858000"/>
              <a:gd name="connsiteX363" fmla="*/ 4085485 w 7467600"/>
              <a:gd name="connsiteY363" fmla="*/ 4899070 h 6858000"/>
              <a:gd name="connsiteX364" fmla="*/ 3871915 w 7467600"/>
              <a:gd name="connsiteY364" fmla="*/ 5253645 h 6858000"/>
              <a:gd name="connsiteX365" fmla="*/ 3799374 w 7467600"/>
              <a:gd name="connsiteY365" fmla="*/ 5466127 h 6858000"/>
              <a:gd name="connsiteX366" fmla="*/ 3498850 w 7467600"/>
              <a:gd name="connsiteY366" fmla="*/ 6661888 h 6858000"/>
              <a:gd name="connsiteX367" fmla="*/ 3399216 w 7467600"/>
              <a:gd name="connsiteY367" fmla="*/ 6858000 h 6858000"/>
              <a:gd name="connsiteX368" fmla="*/ 3303688 w 7467600"/>
              <a:gd name="connsiteY368" fmla="*/ 6858000 h 6858000"/>
              <a:gd name="connsiteX369" fmla="*/ 3391774 w 7467600"/>
              <a:gd name="connsiteY369" fmla="*/ 6697181 h 6858000"/>
              <a:gd name="connsiteX370" fmla="*/ 3735540 w 7467600"/>
              <a:gd name="connsiteY370" fmla="*/ 5546923 h 6858000"/>
              <a:gd name="connsiteX371" fmla="*/ 3729438 w 7467600"/>
              <a:gd name="connsiteY371" fmla="*/ 5569058 h 6858000"/>
              <a:gd name="connsiteX372" fmla="*/ 3707782 w 7467600"/>
              <a:gd name="connsiteY372" fmla="*/ 5644908 h 6858000"/>
              <a:gd name="connsiteX373" fmla="*/ 3583827 w 7467600"/>
              <a:gd name="connsiteY373" fmla="*/ 6039215 h 6858000"/>
              <a:gd name="connsiteX374" fmla="*/ 3547861 w 7467600"/>
              <a:gd name="connsiteY374" fmla="*/ 6129609 h 6858000"/>
              <a:gd name="connsiteX375" fmla="*/ 3490905 w 7467600"/>
              <a:gd name="connsiteY375" fmla="*/ 6277660 h 6858000"/>
              <a:gd name="connsiteX376" fmla="*/ 3455859 w 7467600"/>
              <a:gd name="connsiteY376" fmla="*/ 6391301 h 6858000"/>
              <a:gd name="connsiteX377" fmla="*/ 3429112 w 7467600"/>
              <a:gd name="connsiteY377" fmla="*/ 6479469 h 6858000"/>
              <a:gd name="connsiteX378" fmla="*/ 3304862 w 7467600"/>
              <a:gd name="connsiteY378" fmla="*/ 6796476 h 6858000"/>
              <a:gd name="connsiteX379" fmla="*/ 3276071 w 7467600"/>
              <a:gd name="connsiteY379" fmla="*/ 6858000 h 6858000"/>
              <a:gd name="connsiteX380" fmla="*/ 3240805 w 7467600"/>
              <a:gd name="connsiteY380" fmla="*/ 6858000 h 6858000"/>
              <a:gd name="connsiteX381" fmla="*/ 3275917 w 7467600"/>
              <a:gd name="connsiteY381" fmla="*/ 6783192 h 6858000"/>
              <a:gd name="connsiteX382" fmla="*/ 3399358 w 7467600"/>
              <a:gd name="connsiteY382" fmla="*/ 6469011 h 6858000"/>
              <a:gd name="connsiteX383" fmla="*/ 3425650 w 7467600"/>
              <a:gd name="connsiteY383" fmla="*/ 6381333 h 6858000"/>
              <a:gd name="connsiteX384" fmla="*/ 3460661 w 7467600"/>
              <a:gd name="connsiteY384" fmla="*/ 6266763 h 6858000"/>
              <a:gd name="connsiteX385" fmla="*/ 3518021 w 7467600"/>
              <a:gd name="connsiteY385" fmla="*/ 6117298 h 6858000"/>
              <a:gd name="connsiteX386" fmla="*/ 3554035 w 7467600"/>
              <a:gd name="connsiteY386" fmla="*/ 6027832 h 6858000"/>
              <a:gd name="connsiteX387" fmla="*/ 3677174 w 7467600"/>
              <a:gd name="connsiteY387" fmla="*/ 5636351 h 6858000"/>
              <a:gd name="connsiteX388" fmla="*/ 3698819 w 7467600"/>
              <a:gd name="connsiteY388" fmla="*/ 5560503 h 6858000"/>
              <a:gd name="connsiteX389" fmla="*/ 3702094 w 7467600"/>
              <a:gd name="connsiteY389" fmla="*/ 5549194 h 6858000"/>
              <a:gd name="connsiteX390" fmla="*/ 3398355 w 7467600"/>
              <a:gd name="connsiteY390" fmla="*/ 6094603 h 6858000"/>
              <a:gd name="connsiteX391" fmla="*/ 3193941 w 7467600"/>
              <a:gd name="connsiteY391" fmla="*/ 6798775 h 6858000"/>
              <a:gd name="connsiteX392" fmla="*/ 3184140 w 7467600"/>
              <a:gd name="connsiteY392" fmla="*/ 6858000 h 6858000"/>
              <a:gd name="connsiteX393" fmla="*/ 3099978 w 7467600"/>
              <a:gd name="connsiteY393" fmla="*/ 6858000 h 6858000"/>
              <a:gd name="connsiteX394" fmla="*/ 3101556 w 7467600"/>
              <a:gd name="connsiteY394" fmla="*/ 6843337 h 6858000"/>
              <a:gd name="connsiteX395" fmla="*/ 3370162 w 7467600"/>
              <a:gd name="connsiteY395" fmla="*/ 5785550 h 6858000"/>
              <a:gd name="connsiteX396" fmla="*/ 3746477 w 7467600"/>
              <a:gd name="connsiteY396" fmla="*/ 5377889 h 6858000"/>
              <a:gd name="connsiteX397" fmla="*/ 3863399 w 7467600"/>
              <a:gd name="connsiteY397" fmla="*/ 5087257 h 6858000"/>
              <a:gd name="connsiteX398" fmla="*/ 3968712 w 7467600"/>
              <a:gd name="connsiteY398" fmla="*/ 4913989 h 6858000"/>
              <a:gd name="connsiteX399" fmla="*/ 2792390 w 7467600"/>
              <a:gd name="connsiteY399" fmla="*/ 5382974 h 6858000"/>
              <a:gd name="connsiteX400" fmla="*/ 2714982 w 7467600"/>
              <a:gd name="connsiteY400" fmla="*/ 5427051 h 6858000"/>
              <a:gd name="connsiteX401" fmla="*/ 2813361 w 7467600"/>
              <a:gd name="connsiteY401" fmla="*/ 6023912 h 6858000"/>
              <a:gd name="connsiteX402" fmla="*/ 2688430 w 7467600"/>
              <a:gd name="connsiteY402" fmla="*/ 6801564 h 6858000"/>
              <a:gd name="connsiteX403" fmla="*/ 2629626 w 7467600"/>
              <a:gd name="connsiteY403" fmla="*/ 6763394 h 6858000"/>
              <a:gd name="connsiteX404" fmla="*/ 2565328 w 7467600"/>
              <a:gd name="connsiteY404" fmla="*/ 5516399 h 6858000"/>
              <a:gd name="connsiteX405" fmla="*/ 1922999 w 7467600"/>
              <a:gd name="connsiteY405" fmla="*/ 5980343 h 6858000"/>
              <a:gd name="connsiteX406" fmla="*/ 1950261 w 7467600"/>
              <a:gd name="connsiteY406" fmla="*/ 6405858 h 6858000"/>
              <a:gd name="connsiteX407" fmla="*/ 2365554 w 7467600"/>
              <a:gd name="connsiteY407" fmla="*/ 6759107 h 6858000"/>
              <a:gd name="connsiteX408" fmla="*/ 2424142 w 7467600"/>
              <a:gd name="connsiteY408" fmla="*/ 6858000 h 6858000"/>
              <a:gd name="connsiteX409" fmla="*/ 2395994 w 7467600"/>
              <a:gd name="connsiteY409" fmla="*/ 6858000 h 6858000"/>
              <a:gd name="connsiteX410" fmla="*/ 2392863 w 7467600"/>
              <a:gd name="connsiteY410" fmla="*/ 6852964 h 6858000"/>
              <a:gd name="connsiteX411" fmla="*/ 2017589 w 7467600"/>
              <a:gd name="connsiteY411" fmla="*/ 6493982 h 6858000"/>
              <a:gd name="connsiteX412" fmla="*/ 2147336 w 7467600"/>
              <a:gd name="connsiteY412" fmla="*/ 6594052 h 6858000"/>
              <a:gd name="connsiteX413" fmla="*/ 2207047 w 7467600"/>
              <a:gd name="connsiteY413" fmla="*/ 6654540 h 6858000"/>
              <a:gd name="connsiteX414" fmla="*/ 2299106 w 7467600"/>
              <a:gd name="connsiteY414" fmla="*/ 6778931 h 6858000"/>
              <a:gd name="connsiteX415" fmla="*/ 2314430 w 7467600"/>
              <a:gd name="connsiteY415" fmla="*/ 6801144 h 6858000"/>
              <a:gd name="connsiteX416" fmla="*/ 2352406 w 7467600"/>
              <a:gd name="connsiteY416" fmla="*/ 6858000 h 6858000"/>
              <a:gd name="connsiteX417" fmla="*/ 2314492 w 7467600"/>
              <a:gd name="connsiteY417" fmla="*/ 6858000 h 6858000"/>
              <a:gd name="connsiteX418" fmla="*/ 2288095 w 7467600"/>
              <a:gd name="connsiteY418" fmla="*/ 6818030 h 6858000"/>
              <a:gd name="connsiteX419" fmla="*/ 2272768 w 7467600"/>
              <a:gd name="connsiteY419" fmla="*/ 6795822 h 6858000"/>
              <a:gd name="connsiteX420" fmla="*/ 2182715 w 7467600"/>
              <a:gd name="connsiteY420" fmla="*/ 6675071 h 6858000"/>
              <a:gd name="connsiteX421" fmla="*/ 2032061 w 7467600"/>
              <a:gd name="connsiteY421" fmla="*/ 6541380 h 6858000"/>
              <a:gd name="connsiteX422" fmla="*/ 2257220 w 7467600"/>
              <a:gd name="connsiteY422" fmla="*/ 6826257 h 6858000"/>
              <a:gd name="connsiteX423" fmla="*/ 2281324 w 7467600"/>
              <a:gd name="connsiteY423" fmla="*/ 6858000 h 6858000"/>
              <a:gd name="connsiteX424" fmla="*/ 2242860 w 7467600"/>
              <a:gd name="connsiteY424" fmla="*/ 6858000 h 6858000"/>
              <a:gd name="connsiteX425" fmla="*/ 2232818 w 7467600"/>
              <a:gd name="connsiteY425" fmla="*/ 6844926 h 6858000"/>
              <a:gd name="connsiteX426" fmla="*/ 1990172 w 7467600"/>
              <a:gd name="connsiteY426" fmla="*/ 6542121 h 6858000"/>
              <a:gd name="connsiteX427" fmla="*/ 2124090 w 7467600"/>
              <a:gd name="connsiteY427" fmla="*/ 6761017 h 6858000"/>
              <a:gd name="connsiteX428" fmla="*/ 2200380 w 7467600"/>
              <a:gd name="connsiteY428" fmla="*/ 6858000 h 6858000"/>
              <a:gd name="connsiteX429" fmla="*/ 2147507 w 7467600"/>
              <a:gd name="connsiteY429" fmla="*/ 6858000 h 6858000"/>
              <a:gd name="connsiteX430" fmla="*/ 2070668 w 7467600"/>
              <a:gd name="connsiteY430" fmla="*/ 6761520 h 6858000"/>
              <a:gd name="connsiteX431" fmla="*/ 1975142 w 7467600"/>
              <a:gd name="connsiteY431" fmla="*/ 6585570 h 6858000"/>
              <a:gd name="connsiteX432" fmla="*/ 2050035 w 7467600"/>
              <a:gd name="connsiteY432" fmla="*/ 6813345 h 6858000"/>
              <a:gd name="connsiteX433" fmla="*/ 2063025 w 7467600"/>
              <a:gd name="connsiteY433" fmla="*/ 6858000 h 6858000"/>
              <a:gd name="connsiteX434" fmla="*/ 2021675 w 7467600"/>
              <a:gd name="connsiteY434" fmla="*/ 6858000 h 6858000"/>
              <a:gd name="connsiteX435" fmla="*/ 2019308 w 7467600"/>
              <a:gd name="connsiteY435" fmla="*/ 6847118 h 6858000"/>
              <a:gd name="connsiteX436" fmla="*/ 1938835 w 7467600"/>
              <a:gd name="connsiteY436" fmla="*/ 6551160 h 6858000"/>
              <a:gd name="connsiteX437" fmla="*/ 1953230 w 7467600"/>
              <a:gd name="connsiteY437" fmla="*/ 6759699 h 6858000"/>
              <a:gd name="connsiteX438" fmla="*/ 1956763 w 7467600"/>
              <a:gd name="connsiteY438" fmla="*/ 6778191 h 6858000"/>
              <a:gd name="connsiteX439" fmla="*/ 1967925 w 7467600"/>
              <a:gd name="connsiteY439" fmla="*/ 6858000 h 6858000"/>
              <a:gd name="connsiteX440" fmla="*/ 1936622 w 7467600"/>
              <a:gd name="connsiteY440" fmla="*/ 6858000 h 6858000"/>
              <a:gd name="connsiteX441" fmla="*/ 1926261 w 7467600"/>
              <a:gd name="connsiteY441" fmla="*/ 6784064 h 6858000"/>
              <a:gd name="connsiteX442" fmla="*/ 1922724 w 7467600"/>
              <a:gd name="connsiteY442" fmla="*/ 6765577 h 6858000"/>
              <a:gd name="connsiteX443" fmla="*/ 1904650 w 7467600"/>
              <a:gd name="connsiteY443" fmla="*/ 6639616 h 6858000"/>
              <a:gd name="connsiteX444" fmla="*/ 1885273 w 7467600"/>
              <a:gd name="connsiteY444" fmla="*/ 6858000 h 6858000"/>
              <a:gd name="connsiteX445" fmla="*/ 1854363 w 7467600"/>
              <a:gd name="connsiteY445" fmla="*/ 6858000 h 6858000"/>
              <a:gd name="connsiteX446" fmla="*/ 1880391 w 7467600"/>
              <a:gd name="connsiteY446" fmla="*/ 6603796 h 6858000"/>
              <a:gd name="connsiteX447" fmla="*/ 1818273 w 7467600"/>
              <a:gd name="connsiteY447" fmla="*/ 6715729 h 6858000"/>
              <a:gd name="connsiteX448" fmla="*/ 1794691 w 7467600"/>
              <a:gd name="connsiteY448" fmla="*/ 6843239 h 6858000"/>
              <a:gd name="connsiteX449" fmla="*/ 1794914 w 7467600"/>
              <a:gd name="connsiteY449" fmla="*/ 6858000 h 6858000"/>
              <a:gd name="connsiteX450" fmla="*/ 1746128 w 7467600"/>
              <a:gd name="connsiteY450" fmla="*/ 6858000 h 6858000"/>
              <a:gd name="connsiteX451" fmla="*/ 1753934 w 7467600"/>
              <a:gd name="connsiteY451" fmla="*/ 6724796 h 6858000"/>
              <a:gd name="connsiteX452" fmla="*/ 1792053 w 7467600"/>
              <a:gd name="connsiteY452" fmla="*/ 6572396 h 6858000"/>
              <a:gd name="connsiteX453" fmla="*/ 1862248 w 7467600"/>
              <a:gd name="connsiteY453" fmla="*/ 6266397 h 6858000"/>
              <a:gd name="connsiteX454" fmla="*/ 1862250 w 7467600"/>
              <a:gd name="connsiteY454" fmla="*/ 6033531 h 6858000"/>
              <a:gd name="connsiteX455" fmla="*/ 1211999 w 7467600"/>
              <a:gd name="connsiteY455" fmla="*/ 6683610 h 6858000"/>
              <a:gd name="connsiteX456" fmla="*/ 1213266 w 7467600"/>
              <a:gd name="connsiteY456" fmla="*/ 6691947 h 6858000"/>
              <a:gd name="connsiteX457" fmla="*/ 1203370 w 7467600"/>
              <a:gd name="connsiteY457" fmla="*/ 6850676 h 6858000"/>
              <a:gd name="connsiteX458" fmla="*/ 1203671 w 7467600"/>
              <a:gd name="connsiteY458" fmla="*/ 6858000 h 6858000"/>
              <a:gd name="connsiteX459" fmla="*/ 1143180 w 7467600"/>
              <a:gd name="connsiteY459" fmla="*/ 6858000 h 6858000"/>
              <a:gd name="connsiteX460" fmla="*/ 1142176 w 7467600"/>
              <a:gd name="connsiteY460" fmla="*/ 6766045 h 6858000"/>
              <a:gd name="connsiteX461" fmla="*/ 1067484 w 7467600"/>
              <a:gd name="connsiteY461" fmla="*/ 6858000 h 6858000"/>
              <a:gd name="connsiteX462" fmla="*/ 953928 w 7467600"/>
              <a:gd name="connsiteY462" fmla="*/ 6858000 h 6858000"/>
              <a:gd name="connsiteX463" fmla="*/ 959715 w 7467600"/>
              <a:gd name="connsiteY463" fmla="*/ 6850185 h 6858000"/>
              <a:gd name="connsiteX464" fmla="*/ 1483788 w 7467600"/>
              <a:gd name="connsiteY464" fmla="*/ 6259174 h 6858000"/>
              <a:gd name="connsiteX465" fmla="*/ 1100671 w 7467600"/>
              <a:gd name="connsiteY465" fmla="*/ 6252137 h 6858000"/>
              <a:gd name="connsiteX466" fmla="*/ 1090144 w 7467600"/>
              <a:gd name="connsiteY466" fmla="*/ 6256748 h 6858000"/>
              <a:gd name="connsiteX467" fmla="*/ 1095872 w 7467600"/>
              <a:gd name="connsiteY467" fmla="*/ 6271892 h 6858000"/>
              <a:gd name="connsiteX468" fmla="*/ 262785 w 7467600"/>
              <a:gd name="connsiteY468" fmla="*/ 6845450 h 6858000"/>
              <a:gd name="connsiteX469" fmla="*/ 209968 w 7467600"/>
              <a:gd name="connsiteY469" fmla="*/ 6770713 h 6858000"/>
              <a:gd name="connsiteX470" fmla="*/ 873460 w 7467600"/>
              <a:gd name="connsiteY470" fmla="*/ 6253768 h 6858000"/>
              <a:gd name="connsiteX471" fmla="*/ 192686 w 7467600"/>
              <a:gd name="connsiteY471" fmla="*/ 5849257 h 6858000"/>
              <a:gd name="connsiteX472" fmla="*/ 4696 w 7467600"/>
              <a:gd name="connsiteY472" fmla="*/ 5697668 h 6858000"/>
              <a:gd name="connsiteX473" fmla="*/ 0 w 7467600"/>
              <a:gd name="connsiteY473" fmla="*/ 5689984 h 6858000"/>
              <a:gd name="connsiteX474" fmla="*/ 0 w 7467600"/>
              <a:gd name="connsiteY474" fmla="*/ 5513472 h 6858000"/>
              <a:gd name="connsiteX475" fmla="*/ 174101 w 7467600"/>
              <a:gd name="connsiteY475" fmla="*/ 5620277 h 6858000"/>
              <a:gd name="connsiteX476" fmla="*/ 891800 w 7467600"/>
              <a:gd name="connsiteY476" fmla="*/ 6036935 h 6858000"/>
              <a:gd name="connsiteX477" fmla="*/ 1072219 w 7467600"/>
              <a:gd name="connsiteY477" fmla="*/ 6169443 h 6858000"/>
              <a:gd name="connsiteX478" fmla="*/ 1074117 w 7467600"/>
              <a:gd name="connsiteY478" fmla="*/ 6170301 h 6858000"/>
              <a:gd name="connsiteX479" fmla="*/ 1083114 w 7467600"/>
              <a:gd name="connsiteY479" fmla="*/ 6174131 h 6858000"/>
              <a:gd name="connsiteX480" fmla="*/ 1543010 w 7467600"/>
              <a:gd name="connsiteY480" fmla="*/ 6191140 h 6858000"/>
              <a:gd name="connsiteX481" fmla="*/ 1551080 w 7467600"/>
              <a:gd name="connsiteY481" fmla="*/ 6195006 h 6858000"/>
              <a:gd name="connsiteX482" fmla="*/ 2345443 w 7467600"/>
              <a:gd name="connsiteY482" fmla="*/ 5549882 h 6858000"/>
              <a:gd name="connsiteX483" fmla="*/ 1721499 w 7467600"/>
              <a:gd name="connsiteY483" fmla="*/ 5599969 h 6858000"/>
              <a:gd name="connsiteX484" fmla="*/ 767716 w 7467600"/>
              <a:gd name="connsiteY484" fmla="*/ 5472768 h 6858000"/>
              <a:gd name="connsiteX485" fmla="*/ 722147 w 7467600"/>
              <a:gd name="connsiteY485" fmla="*/ 5393091 h 6858000"/>
              <a:gd name="connsiteX486" fmla="*/ 1485552 w 7467600"/>
              <a:gd name="connsiteY486" fmla="*/ 5313202 h 6858000"/>
              <a:gd name="connsiteX487" fmla="*/ 2143004 w 7467600"/>
              <a:gd name="connsiteY487" fmla="*/ 5402420 h 6858000"/>
              <a:gd name="connsiteX488" fmla="*/ 1933391 w 7467600"/>
              <a:gd name="connsiteY488" fmla="*/ 5156971 h 6858000"/>
              <a:gd name="connsiteX489" fmla="*/ 1827118 w 7467600"/>
              <a:gd name="connsiteY489" fmla="*/ 4968410 h 6858000"/>
              <a:gd name="connsiteX490" fmla="*/ 1837349 w 7467600"/>
              <a:gd name="connsiteY490" fmla="*/ 4956357 h 6858000"/>
              <a:gd name="connsiteX491" fmla="*/ 2162835 w 7467600"/>
              <a:gd name="connsiteY491" fmla="*/ 5187853 h 6858000"/>
              <a:gd name="connsiteX492" fmla="*/ 2257167 w 7467600"/>
              <a:gd name="connsiteY492" fmla="*/ 5462123 h 6858000"/>
              <a:gd name="connsiteX493" fmla="*/ 2261598 w 7467600"/>
              <a:gd name="connsiteY493" fmla="*/ 5467998 h 6858000"/>
              <a:gd name="connsiteX494" fmla="*/ 2437177 w 7467600"/>
              <a:gd name="connsiteY494" fmla="*/ 5479608 h 6858000"/>
              <a:gd name="connsiteX495" fmla="*/ 2445247 w 7467600"/>
              <a:gd name="connsiteY495" fmla="*/ 5483476 h 6858000"/>
              <a:gd name="connsiteX496" fmla="*/ 2743626 w 7467600"/>
              <a:gd name="connsiteY496" fmla="*/ 5304819 h 6858000"/>
              <a:gd name="connsiteX497" fmla="*/ 3048102 w 7467600"/>
              <a:gd name="connsiteY497" fmla="*/ 5150595 h 6858000"/>
              <a:gd name="connsiteX498" fmla="*/ 1799414 w 7467600"/>
              <a:gd name="connsiteY498" fmla="*/ 4694732 h 6858000"/>
              <a:gd name="connsiteX499" fmla="*/ 1771735 w 7467600"/>
              <a:gd name="connsiteY499" fmla="*/ 4619929 h 6858000"/>
              <a:gd name="connsiteX500" fmla="*/ 3104273 w 7467600"/>
              <a:gd name="connsiteY500" fmla="*/ 5076159 h 6858000"/>
              <a:gd name="connsiteX501" fmla="*/ 3113245 w 7467600"/>
              <a:gd name="connsiteY501" fmla="*/ 5090705 h 6858000"/>
              <a:gd name="connsiteX502" fmla="*/ 3126294 w 7467600"/>
              <a:gd name="connsiteY502" fmla="*/ 5114400 h 6858000"/>
              <a:gd name="connsiteX503" fmla="*/ 3937433 w 7467600"/>
              <a:gd name="connsiteY503" fmla="*/ 4830473 h 6858000"/>
              <a:gd name="connsiteX504" fmla="*/ 3590475 w 7467600"/>
              <a:gd name="connsiteY504" fmla="*/ 4597974 h 6858000"/>
              <a:gd name="connsiteX505" fmla="*/ 3100264 w 7467600"/>
              <a:gd name="connsiteY505" fmla="*/ 4579845 h 6858000"/>
              <a:gd name="connsiteX506" fmla="*/ 2183576 w 7467600"/>
              <a:gd name="connsiteY506" fmla="*/ 4227150 h 6858000"/>
              <a:gd name="connsiteX507" fmla="*/ 2151029 w 7467600"/>
              <a:gd name="connsiteY507" fmla="*/ 4146947 h 6858000"/>
              <a:gd name="connsiteX508" fmla="*/ 3563434 w 7467600"/>
              <a:gd name="connsiteY508" fmla="*/ 4469115 h 6858000"/>
              <a:gd name="connsiteX509" fmla="*/ 3177952 w 7467600"/>
              <a:gd name="connsiteY509" fmla="*/ 3657386 h 6858000"/>
              <a:gd name="connsiteX510" fmla="*/ 3189263 w 7467600"/>
              <a:gd name="connsiteY510" fmla="*/ 3625726 h 6858000"/>
              <a:gd name="connsiteX511" fmla="*/ 3560912 w 7467600"/>
              <a:gd name="connsiteY511" fmla="*/ 4079863 h 6858000"/>
              <a:gd name="connsiteX512" fmla="*/ 3626636 w 7467600"/>
              <a:gd name="connsiteY512" fmla="*/ 4512230 h 6858000"/>
              <a:gd name="connsiteX513" fmla="*/ 3653088 w 7467600"/>
              <a:gd name="connsiteY513" fmla="*/ 4521417 h 6858000"/>
              <a:gd name="connsiteX514" fmla="*/ 3988128 w 7467600"/>
              <a:gd name="connsiteY514" fmla="*/ 4817267 h 6858000"/>
              <a:gd name="connsiteX515" fmla="*/ 4830582 w 7467600"/>
              <a:gd name="connsiteY515" fmla="*/ 4676000 h 6858000"/>
              <a:gd name="connsiteX516" fmla="*/ 4830100 w 7467600"/>
              <a:gd name="connsiteY516" fmla="*/ 4675554 h 6858000"/>
              <a:gd name="connsiteX517" fmla="*/ 4036318 w 7467600"/>
              <a:gd name="connsiteY517" fmla="*/ 4147013 h 6858000"/>
              <a:gd name="connsiteX518" fmla="*/ 3432098 w 7467600"/>
              <a:gd name="connsiteY518" fmla="*/ 3537312 h 6858000"/>
              <a:gd name="connsiteX519" fmla="*/ 3446761 w 7467600"/>
              <a:gd name="connsiteY519" fmla="*/ 3461278 h 6858000"/>
              <a:gd name="connsiteX520" fmla="*/ 4419733 w 7467600"/>
              <a:gd name="connsiteY520" fmla="*/ 3963555 h 6858000"/>
              <a:gd name="connsiteX521" fmla="*/ 4781371 w 7467600"/>
              <a:gd name="connsiteY521" fmla="*/ 4458604 h 6858000"/>
              <a:gd name="connsiteX522" fmla="*/ 4780440 w 7467600"/>
              <a:gd name="connsiteY522" fmla="*/ 4470290 h 6858000"/>
              <a:gd name="connsiteX523" fmla="*/ 4898954 w 7467600"/>
              <a:gd name="connsiteY523" fmla="*/ 4662092 h 6858000"/>
              <a:gd name="connsiteX524" fmla="*/ 4900699 w 7467600"/>
              <a:gd name="connsiteY524" fmla="*/ 4670867 h 6858000"/>
              <a:gd name="connsiteX525" fmla="*/ 5714511 w 7467600"/>
              <a:gd name="connsiteY525" fmla="*/ 4663483 h 6858000"/>
              <a:gd name="connsiteX526" fmla="*/ 5464793 w 7467600"/>
              <a:gd name="connsiteY526" fmla="*/ 4393556 h 6858000"/>
              <a:gd name="connsiteX527" fmla="*/ 5461897 w 7467600"/>
              <a:gd name="connsiteY527" fmla="*/ 4390879 h 6858000"/>
              <a:gd name="connsiteX528" fmla="*/ 4294126 w 7467600"/>
              <a:gd name="connsiteY528" fmla="*/ 3303048 h 6858000"/>
              <a:gd name="connsiteX529" fmla="*/ 4305321 w 7467600"/>
              <a:gd name="connsiteY529" fmla="*/ 3256953 h 6858000"/>
              <a:gd name="connsiteX530" fmla="*/ 4949299 w 7467600"/>
              <a:gd name="connsiteY530" fmla="*/ 3766336 h 6858000"/>
              <a:gd name="connsiteX531" fmla="*/ 5291452 w 7467600"/>
              <a:gd name="connsiteY531" fmla="*/ 4076801 h 6858000"/>
              <a:gd name="connsiteX532" fmla="*/ 5434998 w 7467600"/>
              <a:gd name="connsiteY532" fmla="*/ 4254100 h 6858000"/>
              <a:gd name="connsiteX533" fmla="*/ 5351015 w 7467600"/>
              <a:gd name="connsiteY533" fmla="*/ 3760989 h 6858000"/>
              <a:gd name="connsiteX534" fmla="*/ 5413780 w 7467600"/>
              <a:gd name="connsiteY534" fmla="*/ 2966265 h 6858000"/>
              <a:gd name="connsiteX535" fmla="*/ 5425627 w 7467600"/>
              <a:gd name="connsiteY535" fmla="*/ 2954192 h 6858000"/>
              <a:gd name="connsiteX536" fmla="*/ 6604735 w 7467600"/>
              <a:gd name="connsiteY536" fmla="*/ 2041381 h 6858000"/>
              <a:gd name="connsiteX537" fmla="*/ 7204487 w 7467600"/>
              <a:gd name="connsiteY537" fmla="*/ 2742112 h 6858000"/>
              <a:gd name="connsiteX538" fmla="*/ 7131592 w 7467600"/>
              <a:gd name="connsiteY538" fmla="*/ 2672096 h 6858000"/>
              <a:gd name="connsiteX539" fmla="*/ 6996344 w 7467600"/>
              <a:gd name="connsiteY539" fmla="*/ 2518310 h 6858000"/>
              <a:gd name="connsiteX540" fmla="*/ 6735495 w 7467600"/>
              <a:gd name="connsiteY540" fmla="*/ 2196890 h 6858000"/>
              <a:gd name="connsiteX541" fmla="*/ 6721901 w 7467600"/>
              <a:gd name="connsiteY541" fmla="*/ 2179274 h 6858000"/>
              <a:gd name="connsiteX542" fmla="*/ 6604735 w 7467600"/>
              <a:gd name="connsiteY542" fmla="*/ 2041381 h 6858000"/>
              <a:gd name="connsiteX543" fmla="*/ 6591670 w 7467600"/>
              <a:gd name="connsiteY543" fmla="*/ 1988277 h 6858000"/>
              <a:gd name="connsiteX544" fmla="*/ 6747349 w 7467600"/>
              <a:gd name="connsiteY544" fmla="*/ 2160069 h 6858000"/>
              <a:gd name="connsiteX545" fmla="*/ 6760943 w 7467600"/>
              <a:gd name="connsiteY545" fmla="*/ 2177686 h 6858000"/>
              <a:gd name="connsiteX546" fmla="*/ 7021065 w 7467600"/>
              <a:gd name="connsiteY546" fmla="*/ 2498102 h 6858000"/>
              <a:gd name="connsiteX547" fmla="*/ 7155223 w 7467600"/>
              <a:gd name="connsiteY547" fmla="*/ 2650386 h 6858000"/>
              <a:gd name="connsiteX548" fmla="*/ 7203167 w 7467600"/>
              <a:gd name="connsiteY548" fmla="*/ 2697288 h 6858000"/>
              <a:gd name="connsiteX549" fmla="*/ 6937703 w 7467600"/>
              <a:gd name="connsiteY549" fmla="*/ 2321981 h 6858000"/>
              <a:gd name="connsiteX550" fmla="*/ 6591670 w 7467600"/>
              <a:gd name="connsiteY550" fmla="*/ 1988277 h 6858000"/>
              <a:gd name="connsiteX551" fmla="*/ 5798671 w 7467600"/>
              <a:gd name="connsiteY551" fmla="*/ 1981601 h 6858000"/>
              <a:gd name="connsiteX552" fmla="*/ 5754709 w 7467600"/>
              <a:gd name="connsiteY552" fmla="*/ 2071454 h 6858000"/>
              <a:gd name="connsiteX553" fmla="*/ 5763044 w 7467600"/>
              <a:gd name="connsiteY553" fmla="*/ 2842206 h 6858000"/>
              <a:gd name="connsiteX554" fmla="*/ 5764974 w 7467600"/>
              <a:gd name="connsiteY554" fmla="*/ 2799609 h 6858000"/>
              <a:gd name="connsiteX555" fmla="*/ 5767665 w 7467600"/>
              <a:gd name="connsiteY555" fmla="*/ 2666409 h 6858000"/>
              <a:gd name="connsiteX556" fmla="*/ 5763055 w 7467600"/>
              <a:gd name="connsiteY556" fmla="*/ 2579705 h 6858000"/>
              <a:gd name="connsiteX557" fmla="*/ 5758079 w 7467600"/>
              <a:gd name="connsiteY557" fmla="*/ 2492508 h 6858000"/>
              <a:gd name="connsiteX558" fmla="*/ 5779325 w 7467600"/>
              <a:gd name="connsiteY558" fmla="*/ 2197069 h 6858000"/>
              <a:gd name="connsiteX559" fmla="*/ 5798671 w 7467600"/>
              <a:gd name="connsiteY559" fmla="*/ 1981601 h 6858000"/>
              <a:gd name="connsiteX560" fmla="*/ 5829202 w 7467600"/>
              <a:gd name="connsiteY560" fmla="*/ 1971679 h 6858000"/>
              <a:gd name="connsiteX561" fmla="*/ 5809558 w 7467600"/>
              <a:gd name="connsiteY561" fmla="*/ 2198043 h 6858000"/>
              <a:gd name="connsiteX562" fmla="*/ 5788653 w 7467600"/>
              <a:gd name="connsiteY562" fmla="*/ 2489430 h 6858000"/>
              <a:gd name="connsiteX563" fmla="*/ 5793439 w 7467600"/>
              <a:gd name="connsiteY563" fmla="*/ 2575235 h 6858000"/>
              <a:gd name="connsiteX564" fmla="*/ 5796837 w 7467600"/>
              <a:gd name="connsiteY564" fmla="*/ 2637633 h 6858000"/>
              <a:gd name="connsiteX565" fmla="*/ 5818614 w 7467600"/>
              <a:gd name="connsiteY565" fmla="*/ 2473055 h 6858000"/>
              <a:gd name="connsiteX566" fmla="*/ 5829202 w 7467600"/>
              <a:gd name="connsiteY566" fmla="*/ 1971679 h 6858000"/>
              <a:gd name="connsiteX567" fmla="*/ 5911389 w 7467600"/>
              <a:gd name="connsiteY567" fmla="*/ 1898371 h 6858000"/>
              <a:gd name="connsiteX568" fmla="*/ 6237627 w 7467600"/>
              <a:gd name="connsiteY568" fmla="*/ 2231921 h 6858000"/>
              <a:gd name="connsiteX569" fmla="*/ 5911389 w 7467600"/>
              <a:gd name="connsiteY569" fmla="*/ 1898371 h 6858000"/>
              <a:gd name="connsiteX570" fmla="*/ 6944437 w 7467600"/>
              <a:gd name="connsiteY570" fmla="*/ 1575402 h 6858000"/>
              <a:gd name="connsiteX571" fmla="*/ 6304730 w 7467600"/>
              <a:gd name="connsiteY571" fmla="*/ 1766654 h 6858000"/>
              <a:gd name="connsiteX572" fmla="*/ 6944437 w 7467600"/>
              <a:gd name="connsiteY572" fmla="*/ 1575402 h 6858000"/>
              <a:gd name="connsiteX573" fmla="*/ 7019523 w 7467600"/>
              <a:gd name="connsiteY573" fmla="*/ 1519450 h 6858000"/>
              <a:gd name="connsiteX574" fmla="*/ 6298091 w 7467600"/>
              <a:gd name="connsiteY574" fmla="*/ 1737122 h 6858000"/>
              <a:gd name="connsiteX575" fmla="*/ 7019523 w 7467600"/>
              <a:gd name="connsiteY575" fmla="*/ 1519450 h 6858000"/>
              <a:gd name="connsiteX576" fmla="*/ 2399523 w 7467600"/>
              <a:gd name="connsiteY576" fmla="*/ 1428234 h 6858000"/>
              <a:gd name="connsiteX577" fmla="*/ 2224982 w 7467600"/>
              <a:gd name="connsiteY577" fmla="*/ 1826201 h 6858000"/>
              <a:gd name="connsiteX578" fmla="*/ 2096099 w 7467600"/>
              <a:gd name="connsiteY578" fmla="*/ 2345900 h 6858000"/>
              <a:gd name="connsiteX579" fmla="*/ 2283317 w 7467600"/>
              <a:gd name="connsiteY579" fmla="*/ 1796925 h 6858000"/>
              <a:gd name="connsiteX580" fmla="*/ 2399523 w 7467600"/>
              <a:gd name="connsiteY580" fmla="*/ 1428234 h 6858000"/>
              <a:gd name="connsiteX581" fmla="*/ 2448558 w 7467600"/>
              <a:gd name="connsiteY581" fmla="*/ 1373435 h 6858000"/>
              <a:gd name="connsiteX582" fmla="*/ 2312521 w 7467600"/>
              <a:gd name="connsiteY582" fmla="*/ 1806140 h 6858000"/>
              <a:gd name="connsiteX583" fmla="*/ 2127533 w 7467600"/>
              <a:gd name="connsiteY583" fmla="*/ 2348380 h 6858000"/>
              <a:gd name="connsiteX584" fmla="*/ 2358080 w 7467600"/>
              <a:gd name="connsiteY584" fmla="*/ 1866134 h 6858000"/>
              <a:gd name="connsiteX585" fmla="*/ 2407436 w 7467600"/>
              <a:gd name="connsiteY585" fmla="*/ 1651070 h 6858000"/>
              <a:gd name="connsiteX586" fmla="*/ 2448558 w 7467600"/>
              <a:gd name="connsiteY586" fmla="*/ 1373435 h 6858000"/>
              <a:gd name="connsiteX587" fmla="*/ 278707 w 7467600"/>
              <a:gd name="connsiteY587" fmla="*/ 1352270 h 6858000"/>
              <a:gd name="connsiteX588" fmla="*/ 321570 w 7467600"/>
              <a:gd name="connsiteY588" fmla="*/ 1861610 h 6858000"/>
              <a:gd name="connsiteX589" fmla="*/ 294281 w 7467600"/>
              <a:gd name="connsiteY589" fmla="*/ 1440658 h 6858000"/>
              <a:gd name="connsiteX590" fmla="*/ 278707 w 7467600"/>
              <a:gd name="connsiteY590" fmla="*/ 1352270 h 6858000"/>
              <a:gd name="connsiteX591" fmla="*/ 1423821 w 7467600"/>
              <a:gd name="connsiteY591" fmla="*/ 1351958 h 6858000"/>
              <a:gd name="connsiteX592" fmla="*/ 1638521 w 7467600"/>
              <a:gd name="connsiteY592" fmla="*/ 1908470 h 6858000"/>
              <a:gd name="connsiteX593" fmla="*/ 1754199 w 7467600"/>
              <a:gd name="connsiteY593" fmla="*/ 2149284 h 6858000"/>
              <a:gd name="connsiteX594" fmla="*/ 1908359 w 7467600"/>
              <a:gd name="connsiteY594" fmla="*/ 2364988 h 6858000"/>
              <a:gd name="connsiteX595" fmla="*/ 1647661 w 7467600"/>
              <a:gd name="connsiteY595" fmla="*/ 1825945 h 6858000"/>
              <a:gd name="connsiteX596" fmla="*/ 1423821 w 7467600"/>
              <a:gd name="connsiteY596" fmla="*/ 1351958 h 6858000"/>
              <a:gd name="connsiteX597" fmla="*/ 1431890 w 7467600"/>
              <a:gd name="connsiteY597" fmla="*/ 1306475 h 6858000"/>
              <a:gd name="connsiteX598" fmla="*/ 1507597 w 7467600"/>
              <a:gd name="connsiteY598" fmla="*/ 1446132 h 6858000"/>
              <a:gd name="connsiteX599" fmla="*/ 1674586 w 7467600"/>
              <a:gd name="connsiteY599" fmla="*/ 1813832 h 6858000"/>
              <a:gd name="connsiteX600" fmla="*/ 1815950 w 7467600"/>
              <a:gd name="connsiteY600" fmla="*/ 2128564 h 6858000"/>
              <a:gd name="connsiteX601" fmla="*/ 1984242 w 7467600"/>
              <a:gd name="connsiteY601" fmla="*/ 2430829 h 6858000"/>
              <a:gd name="connsiteX602" fmla="*/ 2014023 w 7467600"/>
              <a:gd name="connsiteY602" fmla="*/ 2450995 h 6858000"/>
              <a:gd name="connsiteX603" fmla="*/ 1747337 w 7467600"/>
              <a:gd name="connsiteY603" fmla="*/ 1855264 h 6858000"/>
              <a:gd name="connsiteX604" fmla="*/ 1533749 w 7467600"/>
              <a:gd name="connsiteY604" fmla="*/ 1478656 h 6858000"/>
              <a:gd name="connsiteX605" fmla="*/ 1431890 w 7467600"/>
              <a:gd name="connsiteY605" fmla="*/ 1306475 h 6858000"/>
              <a:gd name="connsiteX606" fmla="*/ 5052692 w 7467600"/>
              <a:gd name="connsiteY606" fmla="*/ 1292994 h 6858000"/>
              <a:gd name="connsiteX607" fmla="*/ 5200661 w 7467600"/>
              <a:gd name="connsiteY607" fmla="*/ 1635186 h 6858000"/>
              <a:gd name="connsiteX608" fmla="*/ 5297138 w 7467600"/>
              <a:gd name="connsiteY608" fmla="*/ 1906351 h 6858000"/>
              <a:gd name="connsiteX609" fmla="*/ 5052692 w 7467600"/>
              <a:gd name="connsiteY609" fmla="*/ 1292994 h 6858000"/>
              <a:gd name="connsiteX610" fmla="*/ 5009948 w 7467600"/>
              <a:gd name="connsiteY610" fmla="*/ 1273619 h 6858000"/>
              <a:gd name="connsiteX611" fmla="*/ 5121777 w 7467600"/>
              <a:gd name="connsiteY611" fmla="*/ 1654213 h 6858000"/>
              <a:gd name="connsiteX612" fmla="*/ 5293545 w 7467600"/>
              <a:gd name="connsiteY612" fmla="*/ 2072247 h 6858000"/>
              <a:gd name="connsiteX613" fmla="*/ 5294042 w 7467600"/>
              <a:gd name="connsiteY613" fmla="*/ 2065019 h 6858000"/>
              <a:gd name="connsiteX614" fmla="*/ 5171936 w 7467600"/>
              <a:gd name="connsiteY614" fmla="*/ 1647613 h 6858000"/>
              <a:gd name="connsiteX615" fmla="*/ 5009948 w 7467600"/>
              <a:gd name="connsiteY615" fmla="*/ 1273619 h 6858000"/>
              <a:gd name="connsiteX616" fmla="*/ 655236 w 7467600"/>
              <a:gd name="connsiteY616" fmla="*/ 1268632 h 6858000"/>
              <a:gd name="connsiteX617" fmla="*/ 839521 w 7467600"/>
              <a:gd name="connsiteY617" fmla="*/ 1685315 h 6858000"/>
              <a:gd name="connsiteX618" fmla="*/ 1109416 w 7467600"/>
              <a:gd name="connsiteY618" fmla="*/ 2061663 h 6858000"/>
              <a:gd name="connsiteX619" fmla="*/ 1298300 w 7467600"/>
              <a:gd name="connsiteY619" fmla="*/ 2247742 h 6858000"/>
              <a:gd name="connsiteX620" fmla="*/ 1125871 w 7467600"/>
              <a:gd name="connsiteY620" fmla="*/ 1989513 h 6858000"/>
              <a:gd name="connsiteX621" fmla="*/ 981574 w 7467600"/>
              <a:gd name="connsiteY621" fmla="*/ 1783157 h 6858000"/>
              <a:gd name="connsiteX622" fmla="*/ 922198 w 7467600"/>
              <a:gd name="connsiteY622" fmla="*/ 1677437 h 6858000"/>
              <a:gd name="connsiteX623" fmla="*/ 869293 w 7467600"/>
              <a:gd name="connsiteY623" fmla="*/ 1583214 h 6858000"/>
              <a:gd name="connsiteX624" fmla="*/ 751431 w 7467600"/>
              <a:gd name="connsiteY624" fmla="*/ 1405731 h 6858000"/>
              <a:gd name="connsiteX625" fmla="*/ 655236 w 7467600"/>
              <a:gd name="connsiteY625" fmla="*/ 1268632 h 6858000"/>
              <a:gd name="connsiteX626" fmla="*/ 6516292 w 7467600"/>
              <a:gd name="connsiteY626" fmla="*/ 1263064 h 6858000"/>
              <a:gd name="connsiteX627" fmla="*/ 5736320 w 7467600"/>
              <a:gd name="connsiteY627" fmla="*/ 1501803 h 6858000"/>
              <a:gd name="connsiteX628" fmla="*/ 6516292 w 7467600"/>
              <a:gd name="connsiteY628" fmla="*/ 1263064 h 6858000"/>
              <a:gd name="connsiteX629" fmla="*/ 291466 w 7467600"/>
              <a:gd name="connsiteY629" fmla="*/ 1250369 h 6858000"/>
              <a:gd name="connsiteX630" fmla="*/ 323180 w 7467600"/>
              <a:gd name="connsiteY630" fmla="*/ 1435283 h 6858000"/>
              <a:gd name="connsiteX631" fmla="*/ 349381 w 7467600"/>
              <a:gd name="connsiteY631" fmla="*/ 1875041 h 6858000"/>
              <a:gd name="connsiteX632" fmla="*/ 374363 w 7467600"/>
              <a:gd name="connsiteY632" fmla="*/ 1506494 h 6858000"/>
              <a:gd name="connsiteX633" fmla="*/ 302168 w 7467600"/>
              <a:gd name="connsiteY633" fmla="*/ 1274495 h 6858000"/>
              <a:gd name="connsiteX634" fmla="*/ 291466 w 7467600"/>
              <a:gd name="connsiteY634" fmla="*/ 1250369 h 6858000"/>
              <a:gd name="connsiteX635" fmla="*/ 678222 w 7467600"/>
              <a:gd name="connsiteY635" fmla="*/ 1248670 h 6858000"/>
              <a:gd name="connsiteX636" fmla="*/ 775536 w 7467600"/>
              <a:gd name="connsiteY636" fmla="*/ 1388015 h 6858000"/>
              <a:gd name="connsiteX637" fmla="*/ 894529 w 7467600"/>
              <a:gd name="connsiteY637" fmla="*/ 1567739 h 6858000"/>
              <a:gd name="connsiteX638" fmla="*/ 948000 w 7467600"/>
              <a:gd name="connsiteY638" fmla="*/ 1663088 h 6858000"/>
              <a:gd name="connsiteX639" fmla="*/ 1006812 w 7467600"/>
              <a:gd name="connsiteY639" fmla="*/ 1767683 h 6858000"/>
              <a:gd name="connsiteX640" fmla="*/ 1149133 w 7467600"/>
              <a:gd name="connsiteY640" fmla="*/ 1971513 h 6858000"/>
              <a:gd name="connsiteX641" fmla="*/ 1333952 w 7467600"/>
              <a:gd name="connsiteY641" fmla="*/ 2251620 h 6858000"/>
              <a:gd name="connsiteX642" fmla="*/ 1337329 w 7467600"/>
              <a:gd name="connsiteY642" fmla="*/ 2258350 h 6858000"/>
              <a:gd name="connsiteX643" fmla="*/ 1014726 w 7467600"/>
              <a:gd name="connsiteY643" fmla="*/ 1615556 h 6858000"/>
              <a:gd name="connsiteX644" fmla="*/ 678222 w 7467600"/>
              <a:gd name="connsiteY644" fmla="*/ 1248670 h 6858000"/>
              <a:gd name="connsiteX645" fmla="*/ 6691602 w 7467600"/>
              <a:gd name="connsiteY645" fmla="*/ 1140573 h 6858000"/>
              <a:gd name="connsiteX646" fmla="*/ 6571100 w 7467600"/>
              <a:gd name="connsiteY646" fmla="*/ 1183662 h 6858000"/>
              <a:gd name="connsiteX647" fmla="*/ 6241687 w 7467600"/>
              <a:gd name="connsiteY647" fmla="*/ 1257600 h 6858000"/>
              <a:gd name="connsiteX648" fmla="*/ 5693009 w 7467600"/>
              <a:gd name="connsiteY648" fmla="*/ 1478256 h 6858000"/>
              <a:gd name="connsiteX649" fmla="*/ 6548420 w 7467600"/>
              <a:gd name="connsiteY649" fmla="*/ 1214599 h 6858000"/>
              <a:gd name="connsiteX650" fmla="*/ 6605473 w 7467600"/>
              <a:gd name="connsiteY650" fmla="*/ 1184686 h 6858000"/>
              <a:gd name="connsiteX651" fmla="*/ 6691602 w 7467600"/>
              <a:gd name="connsiteY651" fmla="*/ 1140573 h 6858000"/>
              <a:gd name="connsiteX652" fmla="*/ 4002475 w 7467600"/>
              <a:gd name="connsiteY652" fmla="*/ 1037802 h 6858000"/>
              <a:gd name="connsiteX653" fmla="*/ 4000324 w 7467600"/>
              <a:gd name="connsiteY653" fmla="*/ 1039362 h 6858000"/>
              <a:gd name="connsiteX654" fmla="*/ 4002862 w 7467600"/>
              <a:gd name="connsiteY654" fmla="*/ 1042866 h 6858000"/>
              <a:gd name="connsiteX655" fmla="*/ 4002475 w 7467600"/>
              <a:gd name="connsiteY655" fmla="*/ 1037802 h 6858000"/>
              <a:gd name="connsiteX656" fmla="*/ 506322 w 7467600"/>
              <a:gd name="connsiteY656" fmla="*/ 1020997 h 6858000"/>
              <a:gd name="connsiteX657" fmla="*/ 533068 w 7467600"/>
              <a:gd name="connsiteY657" fmla="*/ 1029409 h 6858000"/>
              <a:gd name="connsiteX658" fmla="*/ 1232525 w 7467600"/>
              <a:gd name="connsiteY658" fmla="*/ 1804675 h 6858000"/>
              <a:gd name="connsiteX659" fmla="*/ 1388858 w 7467600"/>
              <a:gd name="connsiteY659" fmla="*/ 2368011 h 6858000"/>
              <a:gd name="connsiteX660" fmla="*/ 1384098 w 7467600"/>
              <a:gd name="connsiteY660" fmla="*/ 2378125 h 6858000"/>
              <a:gd name="connsiteX661" fmla="*/ 1425393 w 7467600"/>
              <a:gd name="connsiteY661" fmla="*/ 2589124 h 6858000"/>
              <a:gd name="connsiteX662" fmla="*/ 1424001 w 7467600"/>
              <a:gd name="connsiteY662" fmla="*/ 2597541 h 6858000"/>
              <a:gd name="connsiteX663" fmla="*/ 2152729 w 7467600"/>
              <a:gd name="connsiteY663" fmla="*/ 2864487 h 6858000"/>
              <a:gd name="connsiteX664" fmla="*/ 2020609 w 7467600"/>
              <a:gd name="connsiteY664" fmla="*/ 2539671 h 6858000"/>
              <a:gd name="connsiteX665" fmla="*/ 2018920 w 7467600"/>
              <a:gd name="connsiteY665" fmla="*/ 2536309 h 6858000"/>
              <a:gd name="connsiteX666" fmla="*/ 1342441 w 7467600"/>
              <a:gd name="connsiteY666" fmla="*/ 1173017 h 6858000"/>
              <a:gd name="connsiteX667" fmla="*/ 1367925 w 7467600"/>
              <a:gd name="connsiteY667" fmla="*/ 1135648 h 6858000"/>
              <a:gd name="connsiteX668" fmla="*/ 1771401 w 7467600"/>
              <a:gd name="connsiteY668" fmla="*/ 1806673 h 6858000"/>
              <a:gd name="connsiteX669" fmla="*/ 1972385 w 7467600"/>
              <a:gd name="connsiteY669" fmla="*/ 2198735 h 6858000"/>
              <a:gd name="connsiteX670" fmla="*/ 2040892 w 7467600"/>
              <a:gd name="connsiteY670" fmla="*/ 2405205 h 6858000"/>
              <a:gd name="connsiteX671" fmla="*/ 2131689 w 7467600"/>
              <a:gd name="connsiteY671" fmla="*/ 1936926 h 6858000"/>
              <a:gd name="connsiteX672" fmla="*/ 2454820 w 7467600"/>
              <a:gd name="connsiteY672" fmla="*/ 1248808 h 6858000"/>
              <a:gd name="connsiteX673" fmla="*/ 2492512 w 7467600"/>
              <a:gd name="connsiteY673" fmla="*/ 1302920 h 6858000"/>
              <a:gd name="connsiteX674" fmla="*/ 2081216 w 7467600"/>
              <a:gd name="connsiteY674" fmla="*/ 2527513 h 6858000"/>
              <a:gd name="connsiteX675" fmla="*/ 2081211 w 7467600"/>
              <a:gd name="connsiteY675" fmla="*/ 2528916 h 6858000"/>
              <a:gd name="connsiteX676" fmla="*/ 2199067 w 7467600"/>
              <a:gd name="connsiteY676" fmla="*/ 2884061 h 6858000"/>
              <a:gd name="connsiteX677" fmla="*/ 3192586 w 7467600"/>
              <a:gd name="connsiteY677" fmla="*/ 3411496 h 6858000"/>
              <a:gd name="connsiteX678" fmla="*/ 3182620 w 7467600"/>
              <a:gd name="connsiteY678" fmla="*/ 3483279 h 6858000"/>
              <a:gd name="connsiteX679" fmla="*/ 2435119 w 7467600"/>
              <a:gd name="connsiteY679" fmla="*/ 3080173 h 6858000"/>
              <a:gd name="connsiteX680" fmla="*/ 2410152 w 7467600"/>
              <a:gd name="connsiteY680" fmla="*/ 3063751 h 6858000"/>
              <a:gd name="connsiteX681" fmla="*/ 2408099 w 7467600"/>
              <a:gd name="connsiteY681" fmla="*/ 3064403 h 6858000"/>
              <a:gd name="connsiteX682" fmla="*/ 2407218 w 7467600"/>
              <a:gd name="connsiteY682" fmla="*/ 3070324 h 6858000"/>
              <a:gd name="connsiteX683" fmla="*/ 2380138 w 7467600"/>
              <a:gd name="connsiteY683" fmla="*/ 3099341 h 6858000"/>
              <a:gd name="connsiteX684" fmla="*/ 1765923 w 7467600"/>
              <a:gd name="connsiteY684" fmla="*/ 3581043 h 6858000"/>
              <a:gd name="connsiteX685" fmla="*/ 1702258 w 7467600"/>
              <a:gd name="connsiteY685" fmla="*/ 3612286 h 6858000"/>
              <a:gd name="connsiteX686" fmla="*/ 1538370 w 7467600"/>
              <a:gd name="connsiteY686" fmla="*/ 3811804 h 6858000"/>
              <a:gd name="connsiteX687" fmla="*/ 542867 w 7467600"/>
              <a:gd name="connsiteY687" fmla="*/ 4944092 h 6858000"/>
              <a:gd name="connsiteX688" fmla="*/ 515800 w 7467600"/>
              <a:gd name="connsiteY688" fmla="*/ 4862180 h 6858000"/>
              <a:gd name="connsiteX689" fmla="*/ 909145 w 7467600"/>
              <a:gd name="connsiteY689" fmla="*/ 4199225 h 6858000"/>
              <a:gd name="connsiteX690" fmla="*/ 1214067 w 7467600"/>
              <a:gd name="connsiteY690" fmla="*/ 3908561 h 6858000"/>
              <a:gd name="connsiteX691" fmla="*/ 640967 w 7467600"/>
              <a:gd name="connsiteY691" fmla="*/ 4105601 h 6858000"/>
              <a:gd name="connsiteX692" fmla="*/ 112563 w 7467600"/>
              <a:gd name="connsiteY692" fmla="*/ 4396952 h 6858000"/>
              <a:gd name="connsiteX693" fmla="*/ 0 w 7467600"/>
              <a:gd name="connsiteY693" fmla="*/ 4466006 h 6858000"/>
              <a:gd name="connsiteX694" fmla="*/ 0 w 7467600"/>
              <a:gd name="connsiteY694" fmla="*/ 4233763 h 6858000"/>
              <a:gd name="connsiteX695" fmla="*/ 36881 w 7467600"/>
              <a:gd name="connsiteY695" fmla="*/ 4200118 h 6858000"/>
              <a:gd name="connsiteX696" fmla="*/ 910534 w 7467600"/>
              <a:gd name="connsiteY696" fmla="*/ 3629753 h 6858000"/>
              <a:gd name="connsiteX697" fmla="*/ 1578717 w 7467600"/>
              <a:gd name="connsiteY697" fmla="*/ 3575982 h 6858000"/>
              <a:gd name="connsiteX698" fmla="*/ 2338780 w 7467600"/>
              <a:gd name="connsiteY698" fmla="*/ 3033725 h 6858000"/>
              <a:gd name="connsiteX699" fmla="*/ 1807991 w 7467600"/>
              <a:gd name="connsiteY699" fmla="*/ 2807184 h 6858000"/>
              <a:gd name="connsiteX700" fmla="*/ 1416358 w 7467600"/>
              <a:gd name="connsiteY700" fmla="*/ 3112571 h 6858000"/>
              <a:gd name="connsiteX701" fmla="*/ 939066 w 7467600"/>
              <a:gd name="connsiteY701" fmla="*/ 3378798 h 6858000"/>
              <a:gd name="connsiteX702" fmla="*/ 115099 w 7467600"/>
              <a:gd name="connsiteY702" fmla="*/ 3607650 h 6858000"/>
              <a:gd name="connsiteX703" fmla="*/ 97284 w 7467600"/>
              <a:gd name="connsiteY703" fmla="*/ 3520393 h 6858000"/>
              <a:gd name="connsiteX704" fmla="*/ 922050 w 7467600"/>
              <a:gd name="connsiteY704" fmla="*/ 3074867 h 6858000"/>
              <a:gd name="connsiteX705" fmla="*/ 1405265 w 7467600"/>
              <a:gd name="connsiteY705" fmla="*/ 3016319 h 6858000"/>
              <a:gd name="connsiteX706" fmla="*/ 1407512 w 7467600"/>
              <a:gd name="connsiteY706" fmla="*/ 3018001 h 6858000"/>
              <a:gd name="connsiteX707" fmla="*/ 1726266 w 7467600"/>
              <a:gd name="connsiteY707" fmla="*/ 2777274 h 6858000"/>
              <a:gd name="connsiteX708" fmla="*/ 625390 w 7467600"/>
              <a:gd name="connsiteY708" fmla="*/ 2514541 h 6858000"/>
              <a:gd name="connsiteX709" fmla="*/ 619799 w 7467600"/>
              <a:gd name="connsiteY709" fmla="*/ 2527180 h 6858000"/>
              <a:gd name="connsiteX710" fmla="*/ 310030 w 7467600"/>
              <a:gd name="connsiteY710" fmla="*/ 2771818 h 6858000"/>
              <a:gd name="connsiteX711" fmla="*/ 173877 w 7467600"/>
              <a:gd name="connsiteY711" fmla="*/ 2937056 h 6858000"/>
              <a:gd name="connsiteX712" fmla="*/ 77889 w 7467600"/>
              <a:gd name="connsiteY712" fmla="*/ 3138440 h 6858000"/>
              <a:gd name="connsiteX713" fmla="*/ 0 w 7467600"/>
              <a:gd name="connsiteY713" fmla="*/ 3271395 h 6858000"/>
              <a:gd name="connsiteX714" fmla="*/ 0 w 7467600"/>
              <a:gd name="connsiteY714" fmla="*/ 3153002 h 6858000"/>
              <a:gd name="connsiteX715" fmla="*/ 2386 w 7467600"/>
              <a:gd name="connsiteY715" fmla="*/ 3149203 h 6858000"/>
              <a:gd name="connsiteX716" fmla="*/ 89753 w 7467600"/>
              <a:gd name="connsiteY716" fmla="*/ 2987702 h 6858000"/>
              <a:gd name="connsiteX717" fmla="*/ 76869 w 7467600"/>
              <a:gd name="connsiteY717" fmla="*/ 3005404 h 6858000"/>
              <a:gd name="connsiteX718" fmla="*/ 32049 w 7467600"/>
              <a:gd name="connsiteY718" fmla="*/ 3065814 h 6858000"/>
              <a:gd name="connsiteX719" fmla="*/ 0 w 7467600"/>
              <a:gd name="connsiteY719" fmla="*/ 3108744 h 6858000"/>
              <a:gd name="connsiteX720" fmla="*/ 0 w 7467600"/>
              <a:gd name="connsiteY720" fmla="*/ 3058059 h 6858000"/>
              <a:gd name="connsiteX721" fmla="*/ 7610 w 7467600"/>
              <a:gd name="connsiteY721" fmla="*/ 3047889 h 6858000"/>
              <a:gd name="connsiteX722" fmla="*/ 52419 w 7467600"/>
              <a:gd name="connsiteY722" fmla="*/ 2987479 h 6858000"/>
              <a:gd name="connsiteX723" fmla="*/ 59142 w 7467600"/>
              <a:gd name="connsiteY723" fmla="*/ 2978488 h 6858000"/>
              <a:gd name="connsiteX724" fmla="*/ 0 w 7467600"/>
              <a:gd name="connsiteY724" fmla="*/ 3015334 h 6858000"/>
              <a:gd name="connsiteX725" fmla="*/ 0 w 7467600"/>
              <a:gd name="connsiteY725" fmla="*/ 2914286 h 6858000"/>
              <a:gd name="connsiteX726" fmla="*/ 36383 w 7467600"/>
              <a:gd name="connsiteY726" fmla="*/ 2901128 h 6858000"/>
              <a:gd name="connsiteX727" fmla="*/ 156329 w 7467600"/>
              <a:gd name="connsiteY727" fmla="*/ 2840533 h 6858000"/>
              <a:gd name="connsiteX728" fmla="*/ 358355 w 7467600"/>
              <a:gd name="connsiteY728" fmla="*/ 2620471 h 6858000"/>
              <a:gd name="connsiteX729" fmla="*/ 510577 w 7467600"/>
              <a:gd name="connsiteY729" fmla="*/ 2501244 h 6858000"/>
              <a:gd name="connsiteX730" fmla="*/ 211967 w 7467600"/>
              <a:gd name="connsiteY730" fmla="*/ 2479171 h 6858000"/>
              <a:gd name="connsiteX731" fmla="*/ 0 w 7467600"/>
              <a:gd name="connsiteY731" fmla="*/ 2476398 h 6858000"/>
              <a:gd name="connsiteX732" fmla="*/ 0 w 7467600"/>
              <a:gd name="connsiteY732" fmla="*/ 2389189 h 6858000"/>
              <a:gd name="connsiteX733" fmla="*/ 103062 w 7467600"/>
              <a:gd name="connsiteY733" fmla="*/ 2389518 h 6858000"/>
              <a:gd name="connsiteX734" fmla="*/ 510734 w 7467600"/>
              <a:gd name="connsiteY734" fmla="*/ 2416201 h 6858000"/>
              <a:gd name="connsiteX735" fmla="*/ 279257 w 7467600"/>
              <a:gd name="connsiteY735" fmla="*/ 2092102 h 6858000"/>
              <a:gd name="connsiteX736" fmla="*/ 65265 w 7467600"/>
              <a:gd name="connsiteY736" fmla="*/ 2006049 h 6858000"/>
              <a:gd name="connsiteX737" fmla="*/ 0 w 7467600"/>
              <a:gd name="connsiteY737" fmla="*/ 1982532 h 6858000"/>
              <a:gd name="connsiteX738" fmla="*/ 0 w 7467600"/>
              <a:gd name="connsiteY738" fmla="*/ 1912789 h 6858000"/>
              <a:gd name="connsiteX739" fmla="*/ 97460 w 7467600"/>
              <a:gd name="connsiteY739" fmla="*/ 1953725 h 6858000"/>
              <a:gd name="connsiteX740" fmla="*/ 221272 w 7467600"/>
              <a:gd name="connsiteY740" fmla="*/ 1980766 h 6858000"/>
              <a:gd name="connsiteX741" fmla="*/ 116765 w 7467600"/>
              <a:gd name="connsiteY741" fmla="*/ 1911033 h 6858000"/>
              <a:gd name="connsiteX742" fmla="*/ 16405 w 7467600"/>
              <a:gd name="connsiteY742" fmla="*/ 1803412 h 6858000"/>
              <a:gd name="connsiteX743" fmla="*/ 0 w 7467600"/>
              <a:gd name="connsiteY743" fmla="*/ 1784777 h 6858000"/>
              <a:gd name="connsiteX744" fmla="*/ 0 w 7467600"/>
              <a:gd name="connsiteY744" fmla="*/ 1740082 h 6858000"/>
              <a:gd name="connsiteX745" fmla="*/ 39394 w 7467600"/>
              <a:gd name="connsiteY745" fmla="*/ 1784856 h 6858000"/>
              <a:gd name="connsiteX746" fmla="*/ 135813 w 7467600"/>
              <a:gd name="connsiteY746" fmla="*/ 1888838 h 6858000"/>
              <a:gd name="connsiteX747" fmla="*/ 242575 w 7467600"/>
              <a:gd name="connsiteY747" fmla="*/ 1958841 h 6858000"/>
              <a:gd name="connsiteX748" fmla="*/ 82197 w 7467600"/>
              <a:gd name="connsiteY748" fmla="*/ 1754826 h 6858000"/>
              <a:gd name="connsiteX749" fmla="*/ 0 w 7467600"/>
              <a:gd name="connsiteY749" fmla="*/ 1679650 h 6858000"/>
              <a:gd name="connsiteX750" fmla="*/ 0 w 7467600"/>
              <a:gd name="connsiteY750" fmla="*/ 1602463 h 6858000"/>
              <a:gd name="connsiteX751" fmla="*/ 84689 w 7467600"/>
              <a:gd name="connsiteY751" fmla="*/ 1677442 h 6858000"/>
              <a:gd name="connsiteX752" fmla="*/ 298437 w 7467600"/>
              <a:gd name="connsiteY752" fmla="*/ 1968019 h 6858000"/>
              <a:gd name="connsiteX753" fmla="*/ 227269 w 7467600"/>
              <a:gd name="connsiteY753" fmla="*/ 1114064 h 6858000"/>
              <a:gd name="connsiteX754" fmla="*/ 248003 w 7467600"/>
              <a:gd name="connsiteY754" fmla="*/ 1089613 h 6858000"/>
              <a:gd name="connsiteX755" fmla="*/ 427020 w 7467600"/>
              <a:gd name="connsiteY755" fmla="*/ 1619803 h 6858000"/>
              <a:gd name="connsiteX756" fmla="*/ 340345 w 7467600"/>
              <a:gd name="connsiteY756" fmla="*/ 2027739 h 6858000"/>
              <a:gd name="connsiteX757" fmla="*/ 360865 w 7467600"/>
              <a:gd name="connsiteY757" fmla="*/ 2044827 h 6858000"/>
              <a:gd name="connsiteX758" fmla="*/ 560414 w 7467600"/>
              <a:gd name="connsiteY758" fmla="*/ 2421457 h 6858000"/>
              <a:gd name="connsiteX759" fmla="*/ 1359703 w 7467600"/>
              <a:gd name="connsiteY759" fmla="*/ 2578554 h 6858000"/>
              <a:gd name="connsiteX760" fmla="*/ 1359422 w 7467600"/>
              <a:gd name="connsiteY760" fmla="*/ 2577994 h 6858000"/>
              <a:gd name="connsiteX761" fmla="*/ 828701 w 7467600"/>
              <a:gd name="connsiteY761" fmla="*/ 1839520 h 6858000"/>
              <a:gd name="connsiteX762" fmla="*/ 494427 w 7467600"/>
              <a:gd name="connsiteY762" fmla="*/ 1092333 h 6858000"/>
              <a:gd name="connsiteX763" fmla="*/ 506322 w 7467600"/>
              <a:gd name="connsiteY763" fmla="*/ 1020997 h 6858000"/>
              <a:gd name="connsiteX764" fmla="*/ 4570198 w 7467600"/>
              <a:gd name="connsiteY764" fmla="*/ 978081 h 6858000"/>
              <a:gd name="connsiteX765" fmla="*/ 4523691 w 7467600"/>
              <a:gd name="connsiteY765" fmla="*/ 1127776 h 6858000"/>
              <a:gd name="connsiteX766" fmla="*/ 4509875 w 7467600"/>
              <a:gd name="connsiteY766" fmla="*/ 1167552 h 6858000"/>
              <a:gd name="connsiteX767" fmla="*/ 4478168 w 7467600"/>
              <a:gd name="connsiteY767" fmla="*/ 1260735 h 6858000"/>
              <a:gd name="connsiteX768" fmla="*/ 4409309 w 7467600"/>
              <a:gd name="connsiteY768" fmla="*/ 1666996 h 6858000"/>
              <a:gd name="connsiteX769" fmla="*/ 4370031 w 7467600"/>
              <a:gd name="connsiteY769" fmla="*/ 1955666 h 6858000"/>
              <a:gd name="connsiteX770" fmla="*/ 4570198 w 7467600"/>
              <a:gd name="connsiteY770" fmla="*/ 978081 h 6858000"/>
              <a:gd name="connsiteX771" fmla="*/ 4557898 w 7467600"/>
              <a:gd name="connsiteY771" fmla="*/ 900011 h 6858000"/>
              <a:gd name="connsiteX772" fmla="*/ 4344840 w 7467600"/>
              <a:gd name="connsiteY772" fmla="*/ 1922038 h 6858000"/>
              <a:gd name="connsiteX773" fmla="*/ 4378710 w 7467600"/>
              <a:gd name="connsiteY773" fmla="*/ 1665516 h 6858000"/>
              <a:gd name="connsiteX774" fmla="*/ 4448798 w 7467600"/>
              <a:gd name="connsiteY774" fmla="*/ 1253024 h 6858000"/>
              <a:gd name="connsiteX775" fmla="*/ 4480315 w 7467600"/>
              <a:gd name="connsiteY775" fmla="*/ 1158454 h 6858000"/>
              <a:gd name="connsiteX776" fmla="*/ 4494133 w 7467600"/>
              <a:gd name="connsiteY776" fmla="*/ 1118676 h 6858000"/>
              <a:gd name="connsiteX777" fmla="*/ 4557898 w 7467600"/>
              <a:gd name="connsiteY777" fmla="*/ 900011 h 6858000"/>
              <a:gd name="connsiteX778" fmla="*/ 5870151 w 7467600"/>
              <a:gd name="connsiteY778" fmla="*/ 898890 h 6858000"/>
              <a:gd name="connsiteX779" fmla="*/ 5861335 w 7467600"/>
              <a:gd name="connsiteY779" fmla="*/ 899177 h 6858000"/>
              <a:gd name="connsiteX780" fmla="*/ 5843702 w 7467600"/>
              <a:gd name="connsiteY780" fmla="*/ 899748 h 6858000"/>
              <a:gd name="connsiteX781" fmla="*/ 5651107 w 7467600"/>
              <a:gd name="connsiteY781" fmla="*/ 920306 h 6858000"/>
              <a:gd name="connsiteX782" fmla="*/ 5459407 w 7467600"/>
              <a:gd name="connsiteY782" fmla="*/ 940975 h 6858000"/>
              <a:gd name="connsiteX783" fmla="*/ 5374846 w 7467600"/>
              <a:gd name="connsiteY783" fmla="*/ 941988 h 6858000"/>
              <a:gd name="connsiteX784" fmla="*/ 5256105 w 7467600"/>
              <a:gd name="connsiteY784" fmla="*/ 945632 h 6858000"/>
              <a:gd name="connsiteX785" fmla="*/ 5107071 w 7467600"/>
              <a:gd name="connsiteY785" fmla="*/ 969720 h 6858000"/>
              <a:gd name="connsiteX786" fmla="*/ 4998681 w 7467600"/>
              <a:gd name="connsiteY786" fmla="*/ 988771 h 6858000"/>
              <a:gd name="connsiteX787" fmla="*/ 5870151 w 7467600"/>
              <a:gd name="connsiteY787" fmla="*/ 898890 h 6858000"/>
              <a:gd name="connsiteX788" fmla="*/ 5504425 w 7467600"/>
              <a:gd name="connsiteY788" fmla="*/ 848067 h 6858000"/>
              <a:gd name="connsiteX789" fmla="*/ 4968849 w 7467600"/>
              <a:gd name="connsiteY789" fmla="*/ 962318 h 6858000"/>
              <a:gd name="connsiteX790" fmla="*/ 5104039 w 7467600"/>
              <a:gd name="connsiteY790" fmla="*/ 940634 h 6858000"/>
              <a:gd name="connsiteX791" fmla="*/ 5256311 w 7467600"/>
              <a:gd name="connsiteY791" fmla="*/ 916490 h 6858000"/>
              <a:gd name="connsiteX792" fmla="*/ 5377381 w 7467600"/>
              <a:gd name="connsiteY792" fmla="*/ 912671 h 6858000"/>
              <a:gd name="connsiteX793" fmla="*/ 5460148 w 7467600"/>
              <a:gd name="connsiteY793" fmla="*/ 911442 h 6858000"/>
              <a:gd name="connsiteX794" fmla="*/ 5648971 w 7467600"/>
              <a:gd name="connsiteY794" fmla="*/ 891331 h 6858000"/>
              <a:gd name="connsiteX795" fmla="*/ 5844807 w 7467600"/>
              <a:gd name="connsiteY795" fmla="*/ 870718 h 6858000"/>
              <a:gd name="connsiteX796" fmla="*/ 5862975 w 7467600"/>
              <a:gd name="connsiteY796" fmla="*/ 869756 h 6858000"/>
              <a:gd name="connsiteX797" fmla="*/ 5920887 w 7467600"/>
              <a:gd name="connsiteY797" fmla="*/ 865929 h 6858000"/>
              <a:gd name="connsiteX798" fmla="*/ 5504425 w 7467600"/>
              <a:gd name="connsiteY798" fmla="*/ 848067 h 6858000"/>
              <a:gd name="connsiteX799" fmla="*/ 3607114 w 7467600"/>
              <a:gd name="connsiteY799" fmla="*/ 467441 h 6858000"/>
              <a:gd name="connsiteX800" fmla="*/ 3296242 w 7467600"/>
              <a:gd name="connsiteY800" fmla="*/ 807991 h 6858000"/>
              <a:gd name="connsiteX801" fmla="*/ 3174674 w 7467600"/>
              <a:gd name="connsiteY801" fmla="*/ 919759 h 6858000"/>
              <a:gd name="connsiteX802" fmla="*/ 3042978 w 7467600"/>
              <a:gd name="connsiteY802" fmla="*/ 1054894 h 6858000"/>
              <a:gd name="connsiteX803" fmla="*/ 2968914 w 7467600"/>
              <a:gd name="connsiteY803" fmla="*/ 1133756 h 6858000"/>
              <a:gd name="connsiteX804" fmla="*/ 3103823 w 7467600"/>
              <a:gd name="connsiteY804" fmla="*/ 1026814 h 6858000"/>
              <a:gd name="connsiteX805" fmla="*/ 3607114 w 7467600"/>
              <a:gd name="connsiteY805" fmla="*/ 467441 h 6858000"/>
              <a:gd name="connsiteX806" fmla="*/ 3744487 w 7467600"/>
              <a:gd name="connsiteY806" fmla="*/ 383136 h 6858000"/>
              <a:gd name="connsiteX807" fmla="*/ 3970213 w 7467600"/>
              <a:gd name="connsiteY807" fmla="*/ 995559 h 6858000"/>
              <a:gd name="connsiteX808" fmla="*/ 3744487 w 7467600"/>
              <a:gd name="connsiteY808" fmla="*/ 383136 h 6858000"/>
              <a:gd name="connsiteX809" fmla="*/ 3624562 w 7467600"/>
              <a:gd name="connsiteY809" fmla="*/ 367041 h 6858000"/>
              <a:gd name="connsiteX810" fmla="*/ 3489712 w 7467600"/>
              <a:gd name="connsiteY810" fmla="*/ 485386 h 6858000"/>
              <a:gd name="connsiteX811" fmla="*/ 3182994 w 7467600"/>
              <a:gd name="connsiteY811" fmla="*/ 828265 h 6858000"/>
              <a:gd name="connsiteX812" fmla="*/ 2892114 w 7467600"/>
              <a:gd name="connsiteY812" fmla="*/ 1172635 h 6858000"/>
              <a:gd name="connsiteX813" fmla="*/ 3021459 w 7467600"/>
              <a:gd name="connsiteY813" fmla="*/ 1035385 h 6858000"/>
              <a:gd name="connsiteX814" fmla="*/ 3153873 w 7467600"/>
              <a:gd name="connsiteY814" fmla="*/ 898971 h 6858000"/>
              <a:gd name="connsiteX815" fmla="*/ 3276511 w 7467600"/>
              <a:gd name="connsiteY815" fmla="*/ 786423 h 6858000"/>
              <a:gd name="connsiteX816" fmla="*/ 3584154 w 7467600"/>
              <a:gd name="connsiteY816" fmla="*/ 448218 h 6858000"/>
              <a:gd name="connsiteX817" fmla="*/ 3624562 w 7467600"/>
              <a:gd name="connsiteY817" fmla="*/ 367041 h 6858000"/>
              <a:gd name="connsiteX818" fmla="*/ 3766672 w 7467600"/>
              <a:gd name="connsiteY818" fmla="*/ 359429 h 6858000"/>
              <a:gd name="connsiteX819" fmla="*/ 3996338 w 7467600"/>
              <a:gd name="connsiteY819" fmla="*/ 968237 h 6858000"/>
              <a:gd name="connsiteX820" fmla="*/ 3766672 w 7467600"/>
              <a:gd name="connsiteY820" fmla="*/ 359429 h 6858000"/>
              <a:gd name="connsiteX821" fmla="*/ 5805386 w 7467600"/>
              <a:gd name="connsiteY821" fmla="*/ 239240 h 6858000"/>
              <a:gd name="connsiteX822" fmla="*/ 5736947 w 7467600"/>
              <a:gd name="connsiteY822" fmla="*/ 261367 h 6858000"/>
              <a:gd name="connsiteX823" fmla="*/ 5427012 w 7467600"/>
              <a:gd name="connsiteY823" fmla="*/ 311272 h 6858000"/>
              <a:gd name="connsiteX824" fmla="*/ 5147818 w 7467600"/>
              <a:gd name="connsiteY824" fmla="*/ 322112 h 6858000"/>
              <a:gd name="connsiteX825" fmla="*/ 5060854 w 7467600"/>
              <a:gd name="connsiteY825" fmla="*/ 311882 h 6858000"/>
              <a:gd name="connsiteX826" fmla="*/ 4945989 w 7467600"/>
              <a:gd name="connsiteY826" fmla="*/ 300516 h 6858000"/>
              <a:gd name="connsiteX827" fmla="*/ 5410479 w 7467600"/>
              <a:gd name="connsiteY827" fmla="*/ 348434 h 6858000"/>
              <a:gd name="connsiteX828" fmla="*/ 5805386 w 7467600"/>
              <a:gd name="connsiteY828" fmla="*/ 239240 h 6858000"/>
              <a:gd name="connsiteX829" fmla="*/ 5905192 w 7467600"/>
              <a:gd name="connsiteY829" fmla="*/ 163079 h 6858000"/>
              <a:gd name="connsiteX830" fmla="*/ 5865655 w 7467600"/>
              <a:gd name="connsiteY830" fmla="*/ 171901 h 6858000"/>
              <a:gd name="connsiteX831" fmla="*/ 5259740 w 7467600"/>
              <a:gd name="connsiteY831" fmla="*/ 257013 h 6858000"/>
              <a:gd name="connsiteX832" fmla="*/ 5208466 w 7467600"/>
              <a:gd name="connsiteY832" fmla="*/ 257550 h 6858000"/>
              <a:gd name="connsiteX833" fmla="*/ 4980204 w 7467600"/>
              <a:gd name="connsiteY833" fmla="*/ 271903 h 6858000"/>
              <a:gd name="connsiteX834" fmla="*/ 5068068 w 7467600"/>
              <a:gd name="connsiteY834" fmla="*/ 282244 h 6858000"/>
              <a:gd name="connsiteX835" fmla="*/ 5153231 w 7467600"/>
              <a:gd name="connsiteY835" fmla="*/ 292240 h 6858000"/>
              <a:gd name="connsiteX836" fmla="*/ 5426491 w 7467600"/>
              <a:gd name="connsiteY836" fmla="*/ 281128 h 6858000"/>
              <a:gd name="connsiteX837" fmla="*/ 5731212 w 7467600"/>
              <a:gd name="connsiteY837" fmla="*/ 231951 h 6858000"/>
              <a:gd name="connsiteX838" fmla="*/ 5905192 w 7467600"/>
              <a:gd name="connsiteY838" fmla="*/ 163079 h 6858000"/>
              <a:gd name="connsiteX839" fmla="*/ 5944437 w 7467600"/>
              <a:gd name="connsiteY839" fmla="*/ 113829 h 6858000"/>
              <a:gd name="connsiteX840" fmla="*/ 5825032 w 7467600"/>
              <a:gd name="connsiteY840" fmla="*/ 146405 h 6858000"/>
              <a:gd name="connsiteX841" fmla="*/ 4955599 w 7467600"/>
              <a:gd name="connsiteY841" fmla="*/ 247008 h 6858000"/>
              <a:gd name="connsiteX842" fmla="*/ 5210104 w 7467600"/>
              <a:gd name="connsiteY842" fmla="*/ 228123 h 6858000"/>
              <a:gd name="connsiteX843" fmla="*/ 5261015 w 7467600"/>
              <a:gd name="connsiteY843" fmla="*/ 227087 h 6858000"/>
              <a:gd name="connsiteX844" fmla="*/ 5861181 w 7467600"/>
              <a:gd name="connsiteY844" fmla="*/ 143093 h 6858000"/>
              <a:gd name="connsiteX845" fmla="*/ 5961252 w 7467600"/>
              <a:gd name="connsiteY845" fmla="*/ 114820 h 6858000"/>
              <a:gd name="connsiteX846" fmla="*/ 5944437 w 7467600"/>
              <a:gd name="connsiteY846" fmla="*/ 113829 h 6858000"/>
              <a:gd name="connsiteX847" fmla="*/ 3882765 w 7467600"/>
              <a:gd name="connsiteY847" fmla="*/ 0 h 6858000"/>
              <a:gd name="connsiteX848" fmla="*/ 3995099 w 7467600"/>
              <a:gd name="connsiteY848" fmla="*/ 0 h 6858000"/>
              <a:gd name="connsiteX849" fmla="*/ 4163818 w 7467600"/>
              <a:gd name="connsiteY849" fmla="*/ 234104 h 6858000"/>
              <a:gd name="connsiteX850" fmla="*/ 4172099 w 7467600"/>
              <a:gd name="connsiteY850" fmla="*/ 234207 h 6858000"/>
              <a:gd name="connsiteX851" fmla="*/ 4784282 w 7467600"/>
              <a:gd name="connsiteY851" fmla="*/ 276561 h 6858000"/>
              <a:gd name="connsiteX852" fmla="*/ 4801687 w 7467600"/>
              <a:gd name="connsiteY852" fmla="*/ 267764 h 6858000"/>
              <a:gd name="connsiteX853" fmla="*/ 6082788 w 7467600"/>
              <a:gd name="connsiteY853" fmla="*/ 64119 h 6858000"/>
              <a:gd name="connsiteX854" fmla="*/ 6099442 w 7467600"/>
              <a:gd name="connsiteY854" fmla="*/ 82568 h 6858000"/>
              <a:gd name="connsiteX855" fmla="*/ 4804137 w 7467600"/>
              <a:gd name="connsiteY855" fmla="*/ 320931 h 6858000"/>
              <a:gd name="connsiteX856" fmla="*/ 4227047 w 7467600"/>
              <a:gd name="connsiteY856" fmla="*/ 313415 h 6858000"/>
              <a:gd name="connsiteX857" fmla="*/ 4346041 w 7467600"/>
              <a:gd name="connsiteY857" fmla="*/ 456086 h 6858000"/>
              <a:gd name="connsiteX858" fmla="*/ 4870967 w 7467600"/>
              <a:gd name="connsiteY858" fmla="*/ 963061 h 6858000"/>
              <a:gd name="connsiteX859" fmla="*/ 4889647 w 7467600"/>
              <a:gd name="connsiteY859" fmla="*/ 957147 h 6858000"/>
              <a:gd name="connsiteX860" fmla="*/ 5422504 w 7467600"/>
              <a:gd name="connsiteY860" fmla="*/ 805191 h 6858000"/>
              <a:gd name="connsiteX861" fmla="*/ 6087656 w 7467600"/>
              <a:gd name="connsiteY861" fmla="*/ 826703 h 6858000"/>
              <a:gd name="connsiteX862" fmla="*/ 6058717 w 7467600"/>
              <a:gd name="connsiteY862" fmla="*/ 865992 h 6858000"/>
              <a:gd name="connsiteX863" fmla="*/ 4974153 w 7467600"/>
              <a:gd name="connsiteY863" fmla="*/ 1045456 h 6858000"/>
              <a:gd name="connsiteX864" fmla="*/ 5627835 w 7467600"/>
              <a:gd name="connsiteY864" fmla="*/ 1472077 h 6858000"/>
              <a:gd name="connsiteX865" fmla="*/ 5629817 w 7467600"/>
              <a:gd name="connsiteY865" fmla="*/ 1471412 h 6858000"/>
              <a:gd name="connsiteX866" fmla="*/ 5634124 w 7467600"/>
              <a:gd name="connsiteY866" fmla="*/ 1470572 h 6858000"/>
              <a:gd name="connsiteX867" fmla="*/ 5755832 w 7467600"/>
              <a:gd name="connsiteY867" fmla="*/ 1383886 h 6858000"/>
              <a:gd name="connsiteX868" fmla="*/ 6014186 w 7467600"/>
              <a:gd name="connsiteY868" fmla="*/ 1279799 h 6858000"/>
              <a:gd name="connsiteX869" fmla="*/ 6901619 w 7467600"/>
              <a:gd name="connsiteY869" fmla="*/ 1047874 h 6858000"/>
              <a:gd name="connsiteX870" fmla="*/ 6931566 w 7467600"/>
              <a:gd name="connsiteY870" fmla="*/ 1062034 h 6858000"/>
              <a:gd name="connsiteX871" fmla="*/ 5790982 w 7467600"/>
              <a:gd name="connsiteY871" fmla="*/ 1561380 h 6858000"/>
              <a:gd name="connsiteX872" fmla="*/ 6188971 w 7467600"/>
              <a:gd name="connsiteY872" fmla="*/ 1755168 h 6858000"/>
              <a:gd name="connsiteX873" fmla="*/ 6202446 w 7467600"/>
              <a:gd name="connsiteY873" fmla="*/ 1752268 h 6858000"/>
              <a:gd name="connsiteX874" fmla="*/ 7179560 w 7467600"/>
              <a:gd name="connsiteY874" fmla="*/ 1467551 h 6858000"/>
              <a:gd name="connsiteX875" fmla="*/ 7158730 w 7467600"/>
              <a:gd name="connsiteY875" fmla="*/ 1507835 h 6858000"/>
              <a:gd name="connsiteX876" fmla="*/ 6326959 w 7467600"/>
              <a:gd name="connsiteY876" fmla="*/ 1817686 h 6858000"/>
              <a:gd name="connsiteX877" fmla="*/ 6537433 w 7467600"/>
              <a:gd name="connsiteY877" fmla="*/ 1907790 h 6858000"/>
              <a:gd name="connsiteX878" fmla="*/ 6550221 w 7467600"/>
              <a:gd name="connsiteY878" fmla="*/ 1910729 h 6858000"/>
              <a:gd name="connsiteX879" fmla="*/ 6964438 w 7467600"/>
              <a:gd name="connsiteY879" fmla="*/ 2209505 h 6858000"/>
              <a:gd name="connsiteX880" fmla="*/ 7367862 w 7467600"/>
              <a:gd name="connsiteY880" fmla="*/ 2806833 h 6858000"/>
              <a:gd name="connsiteX881" fmla="*/ 7364329 w 7467600"/>
              <a:gd name="connsiteY881" fmla="*/ 2826907 h 6858000"/>
              <a:gd name="connsiteX882" fmla="*/ 7290545 w 7467600"/>
              <a:gd name="connsiteY882" fmla="*/ 2850663 h 6858000"/>
              <a:gd name="connsiteX883" fmla="*/ 6472036 w 7467600"/>
              <a:gd name="connsiteY883" fmla="*/ 1959003 h 6858000"/>
              <a:gd name="connsiteX884" fmla="*/ 5792897 w 7467600"/>
              <a:gd name="connsiteY884" fmla="*/ 1647747 h 6858000"/>
              <a:gd name="connsiteX885" fmla="*/ 5842751 w 7467600"/>
              <a:gd name="connsiteY885" fmla="*/ 1816112 h 6858000"/>
              <a:gd name="connsiteX886" fmla="*/ 5847424 w 7467600"/>
              <a:gd name="connsiteY886" fmla="*/ 1815776 h 6858000"/>
              <a:gd name="connsiteX887" fmla="*/ 6399821 w 7467600"/>
              <a:gd name="connsiteY887" fmla="*/ 2344799 h 6858000"/>
              <a:gd name="connsiteX888" fmla="*/ 6323232 w 7467600"/>
              <a:gd name="connsiteY888" fmla="*/ 2389634 h 6858000"/>
              <a:gd name="connsiteX889" fmla="*/ 5942958 w 7467600"/>
              <a:gd name="connsiteY889" fmla="*/ 2077708 h 6858000"/>
              <a:gd name="connsiteX890" fmla="*/ 5921559 w 7467600"/>
              <a:gd name="connsiteY890" fmla="*/ 2378596 h 6858000"/>
              <a:gd name="connsiteX891" fmla="*/ 5817651 w 7467600"/>
              <a:gd name="connsiteY891" fmla="*/ 3023919 h 6858000"/>
              <a:gd name="connsiteX892" fmla="*/ 5729634 w 7467600"/>
              <a:gd name="connsiteY892" fmla="*/ 3051849 h 6858000"/>
              <a:gd name="connsiteX893" fmla="*/ 5611018 w 7467600"/>
              <a:gd name="connsiteY893" fmla="*/ 2316769 h 6858000"/>
              <a:gd name="connsiteX894" fmla="*/ 5687608 w 7467600"/>
              <a:gd name="connsiteY894" fmla="*/ 2039972 h 6858000"/>
              <a:gd name="connsiteX895" fmla="*/ 5657554 w 7467600"/>
              <a:gd name="connsiteY895" fmla="*/ 1576445 h 6858000"/>
              <a:gd name="connsiteX896" fmla="*/ 5150475 w 7467600"/>
              <a:gd name="connsiteY896" fmla="*/ 1274012 h 6858000"/>
              <a:gd name="connsiteX897" fmla="*/ 5349142 w 7467600"/>
              <a:gd name="connsiteY897" fmla="*/ 2204405 h 6858000"/>
              <a:gd name="connsiteX898" fmla="*/ 5262214 w 7467600"/>
              <a:gd name="connsiteY898" fmla="*/ 2233836 h 6858000"/>
              <a:gd name="connsiteX899" fmla="*/ 4981539 w 7467600"/>
              <a:gd name="connsiteY899" fmla="*/ 1542201 h 6858000"/>
              <a:gd name="connsiteX900" fmla="*/ 4958461 w 7467600"/>
              <a:gd name="connsiteY900" fmla="*/ 1136957 h 6858000"/>
              <a:gd name="connsiteX901" fmla="*/ 4655015 w 7467600"/>
              <a:gd name="connsiteY901" fmla="*/ 891426 h 6858000"/>
              <a:gd name="connsiteX902" fmla="*/ 4348002 w 7467600"/>
              <a:gd name="connsiteY902" fmla="*/ 2205895 h 6858000"/>
              <a:gd name="connsiteX903" fmla="*/ 4262250 w 7467600"/>
              <a:gd name="connsiteY903" fmla="*/ 2219972 h 6858000"/>
              <a:gd name="connsiteX904" fmla="*/ 4550611 w 7467600"/>
              <a:gd name="connsiteY904" fmla="*/ 817540 h 6858000"/>
              <a:gd name="connsiteX905" fmla="*/ 4564418 w 7467600"/>
              <a:gd name="connsiteY905" fmla="*/ 808293 h 6858000"/>
              <a:gd name="connsiteX906" fmla="*/ 4266388 w 7467600"/>
              <a:gd name="connsiteY906" fmla="*/ 500083 h 6858000"/>
              <a:gd name="connsiteX907" fmla="*/ 4032842 w 7467600"/>
              <a:gd name="connsiteY907" fmla="*/ 211809 h 6858000"/>
              <a:gd name="connsiteX908" fmla="*/ 3882765 w 7467600"/>
              <a:gd name="connsiteY908" fmla="*/ 0 h 6858000"/>
              <a:gd name="connsiteX909" fmla="*/ 3721337 w 7467600"/>
              <a:gd name="connsiteY909" fmla="*/ 0 h 6858000"/>
              <a:gd name="connsiteX910" fmla="*/ 3797544 w 7467600"/>
              <a:gd name="connsiteY910" fmla="*/ 0 h 6858000"/>
              <a:gd name="connsiteX911" fmla="*/ 3775734 w 7467600"/>
              <a:gd name="connsiteY911" fmla="*/ 95131 h 6858000"/>
              <a:gd name="connsiteX912" fmla="*/ 3724807 w 7467600"/>
              <a:gd name="connsiteY912" fmla="*/ 272257 h 6858000"/>
              <a:gd name="connsiteX913" fmla="*/ 3726844 w 7467600"/>
              <a:gd name="connsiteY913" fmla="*/ 282988 h 6858000"/>
              <a:gd name="connsiteX914" fmla="*/ 3742664 w 7467600"/>
              <a:gd name="connsiteY914" fmla="*/ 279918 h 6858000"/>
              <a:gd name="connsiteX915" fmla="*/ 4103910 w 7467600"/>
              <a:gd name="connsiteY915" fmla="*/ 1161917 h 6858000"/>
              <a:gd name="connsiteX916" fmla="*/ 4020269 w 7467600"/>
              <a:gd name="connsiteY916" fmla="*/ 1200406 h 6858000"/>
              <a:gd name="connsiteX917" fmla="*/ 3674882 w 7467600"/>
              <a:gd name="connsiteY917" fmla="*/ 488524 h 6858000"/>
              <a:gd name="connsiteX918" fmla="*/ 3132682 w 7467600"/>
              <a:gd name="connsiteY918" fmla="*/ 1072284 h 6858000"/>
              <a:gd name="connsiteX919" fmla="*/ 2716346 w 7467600"/>
              <a:gd name="connsiteY919" fmla="*/ 1276376 h 6858000"/>
              <a:gd name="connsiteX920" fmla="*/ 2716772 w 7467600"/>
              <a:gd name="connsiteY920" fmla="*/ 1255462 h 6858000"/>
              <a:gd name="connsiteX921" fmla="*/ 3471096 w 7467600"/>
              <a:gd name="connsiteY921" fmla="*/ 437072 h 6858000"/>
              <a:gd name="connsiteX922" fmla="*/ 3639057 w 7467600"/>
              <a:gd name="connsiteY922" fmla="*/ 286334 h 6858000"/>
              <a:gd name="connsiteX923" fmla="*/ 3640309 w 7467600"/>
              <a:gd name="connsiteY923" fmla="*/ 284664 h 6858000"/>
              <a:gd name="connsiteX924" fmla="*/ 3646022 w 7467600"/>
              <a:gd name="connsiteY924" fmla="*/ 276711 h 6858000"/>
              <a:gd name="connsiteX925" fmla="*/ 3707943 w 7467600"/>
              <a:gd name="connsiteY925" fmla="*/ 65958 h 6858000"/>
              <a:gd name="connsiteX926" fmla="*/ 3721337 w 7467600"/>
              <a:gd name="connsiteY926" fmla="*/ 0 h 6858000"/>
              <a:gd name="connsiteX927" fmla="*/ 2867960 w 7467600"/>
              <a:gd name="connsiteY927" fmla="*/ 0 h 6858000"/>
              <a:gd name="connsiteX928" fmla="*/ 2926351 w 7467600"/>
              <a:gd name="connsiteY928" fmla="*/ 0 h 6858000"/>
              <a:gd name="connsiteX929" fmla="*/ 2902823 w 7467600"/>
              <a:gd name="connsiteY929" fmla="*/ 262929 h 6858000"/>
              <a:gd name="connsiteX930" fmla="*/ 2940663 w 7467600"/>
              <a:gd name="connsiteY930" fmla="*/ 140884 h 6858000"/>
              <a:gd name="connsiteX931" fmla="*/ 2947039 w 7467600"/>
              <a:gd name="connsiteY931" fmla="*/ 122524 h 6858000"/>
              <a:gd name="connsiteX932" fmla="*/ 2984316 w 7467600"/>
              <a:gd name="connsiteY932" fmla="*/ 0 h 6858000"/>
              <a:gd name="connsiteX933" fmla="*/ 3016114 w 7467600"/>
              <a:gd name="connsiteY933" fmla="*/ 0 h 6858000"/>
              <a:gd name="connsiteX934" fmla="*/ 2979949 w 7467600"/>
              <a:gd name="connsiteY934" fmla="*/ 119274 h 6858000"/>
              <a:gd name="connsiteX935" fmla="*/ 3023879 w 7467600"/>
              <a:gd name="connsiteY935" fmla="*/ 0 h 6858000"/>
              <a:gd name="connsiteX936" fmla="*/ 3105400 w 7467600"/>
              <a:gd name="connsiteY936" fmla="*/ 0 h 6858000"/>
              <a:gd name="connsiteX937" fmla="*/ 3094669 w 7467600"/>
              <a:gd name="connsiteY937" fmla="*/ 30308 h 6858000"/>
              <a:gd name="connsiteX938" fmla="*/ 2901945 w 7467600"/>
              <a:gd name="connsiteY938" fmla="*/ 466538 h 6858000"/>
              <a:gd name="connsiteX939" fmla="*/ 2815209 w 7467600"/>
              <a:gd name="connsiteY939" fmla="*/ 497361 h 6858000"/>
              <a:gd name="connsiteX940" fmla="*/ 2844845 w 7467600"/>
              <a:gd name="connsiteY940" fmla="*/ 127638 h 6858000"/>
              <a:gd name="connsiteX941" fmla="*/ 2867960 w 7467600"/>
              <a:gd name="connsiteY941" fmla="*/ 0 h 6858000"/>
              <a:gd name="connsiteX942" fmla="*/ 1057230 w 7467600"/>
              <a:gd name="connsiteY942" fmla="*/ 0 h 6858000"/>
              <a:gd name="connsiteX943" fmla="*/ 1111003 w 7467600"/>
              <a:gd name="connsiteY943" fmla="*/ 0 h 6858000"/>
              <a:gd name="connsiteX944" fmla="*/ 1125553 w 7467600"/>
              <a:gd name="connsiteY944" fmla="*/ 52588 h 6858000"/>
              <a:gd name="connsiteX945" fmla="*/ 1304276 w 7467600"/>
              <a:gd name="connsiteY945" fmla="*/ 476275 h 6858000"/>
              <a:gd name="connsiteX946" fmla="*/ 1492066 w 7467600"/>
              <a:gd name="connsiteY946" fmla="*/ 886333 h 6858000"/>
              <a:gd name="connsiteX947" fmla="*/ 1423698 w 7467600"/>
              <a:gd name="connsiteY947" fmla="*/ 710817 h 6858000"/>
              <a:gd name="connsiteX948" fmla="*/ 1357609 w 7467600"/>
              <a:gd name="connsiteY948" fmla="*/ 532892 h 6858000"/>
              <a:gd name="connsiteX949" fmla="*/ 1309550 w 7467600"/>
              <a:gd name="connsiteY949" fmla="*/ 374031 h 6858000"/>
              <a:gd name="connsiteX950" fmla="*/ 1193673 w 7467600"/>
              <a:gd name="connsiteY950" fmla="*/ 49533 h 6858000"/>
              <a:gd name="connsiteX951" fmla="*/ 1164391 w 7467600"/>
              <a:gd name="connsiteY951" fmla="*/ 0 h 6858000"/>
              <a:gd name="connsiteX952" fmla="*/ 1200666 w 7467600"/>
              <a:gd name="connsiteY952" fmla="*/ 0 h 6858000"/>
              <a:gd name="connsiteX953" fmla="*/ 1223408 w 7467600"/>
              <a:gd name="connsiteY953" fmla="*/ 38996 h 6858000"/>
              <a:gd name="connsiteX954" fmla="*/ 1339635 w 7467600"/>
              <a:gd name="connsiteY954" fmla="*/ 365517 h 6858000"/>
              <a:gd name="connsiteX955" fmla="*/ 1387469 w 7467600"/>
              <a:gd name="connsiteY955" fmla="*/ 523079 h 6858000"/>
              <a:gd name="connsiteX956" fmla="*/ 1452685 w 7467600"/>
              <a:gd name="connsiteY956" fmla="*/ 699806 h 6858000"/>
              <a:gd name="connsiteX957" fmla="*/ 1492092 w 7467600"/>
              <a:gd name="connsiteY957" fmla="*/ 800424 h 6858000"/>
              <a:gd name="connsiteX958" fmla="*/ 1455302 w 7467600"/>
              <a:gd name="connsiteY958" fmla="*/ 632913 h 6858000"/>
              <a:gd name="connsiteX959" fmla="*/ 1222336 w 7467600"/>
              <a:gd name="connsiteY959" fmla="*/ 9480 h 6858000"/>
              <a:gd name="connsiteX960" fmla="*/ 1214634 w 7467600"/>
              <a:gd name="connsiteY960" fmla="*/ 0 h 6858000"/>
              <a:gd name="connsiteX961" fmla="*/ 1289827 w 7467600"/>
              <a:gd name="connsiteY961" fmla="*/ 0 h 6858000"/>
              <a:gd name="connsiteX962" fmla="*/ 1321076 w 7467600"/>
              <a:gd name="connsiteY962" fmla="*/ 59722 h 6858000"/>
              <a:gd name="connsiteX963" fmla="*/ 1512579 w 7467600"/>
              <a:gd name="connsiteY963" fmla="*/ 626441 h 6858000"/>
              <a:gd name="connsiteX964" fmla="*/ 1506076 w 7467600"/>
              <a:gd name="connsiteY964" fmla="*/ 1089289 h 6858000"/>
              <a:gd name="connsiteX965" fmla="*/ 1486346 w 7467600"/>
              <a:gd name="connsiteY965" fmla="*/ 1079919 h 6858000"/>
              <a:gd name="connsiteX966" fmla="*/ 1070511 w 7467600"/>
              <a:gd name="connsiteY966" fmla="*/ 48609 h 6858000"/>
              <a:gd name="connsiteX967" fmla="*/ 1057230 w 7467600"/>
              <a:gd name="connsiteY967" fmla="*/ 0 h 6858000"/>
              <a:gd name="connsiteX968" fmla="*/ 43151 w 7467600"/>
              <a:gd name="connsiteY968" fmla="*/ 0 h 6858000"/>
              <a:gd name="connsiteX969" fmla="*/ 95283 w 7467600"/>
              <a:gd name="connsiteY969" fmla="*/ 0 h 6858000"/>
              <a:gd name="connsiteX970" fmla="*/ 300708 w 7467600"/>
              <a:gd name="connsiteY970" fmla="*/ 154571 h 6858000"/>
              <a:gd name="connsiteX971" fmla="*/ 530414 w 7467600"/>
              <a:gd name="connsiteY971" fmla="*/ 354673 h 6858000"/>
              <a:gd name="connsiteX972" fmla="*/ 333785 w 7467600"/>
              <a:gd name="connsiteY972" fmla="*/ 161564 h 6858000"/>
              <a:gd name="connsiteX973" fmla="*/ 147005 w 7467600"/>
              <a:gd name="connsiteY973" fmla="*/ 0 h 6858000"/>
              <a:gd name="connsiteX974" fmla="*/ 272509 w 7467600"/>
              <a:gd name="connsiteY974" fmla="*/ 0 h 6858000"/>
              <a:gd name="connsiteX975" fmla="*/ 326276 w 7467600"/>
              <a:gd name="connsiteY975" fmla="*/ 45847 h 6858000"/>
              <a:gd name="connsiteX976" fmla="*/ 823759 w 7467600"/>
              <a:gd name="connsiteY976" fmla="*/ 574145 h 6858000"/>
              <a:gd name="connsiteX977" fmla="*/ 811254 w 7467600"/>
              <a:gd name="connsiteY977" fmla="*/ 665546 h 6858000"/>
              <a:gd name="connsiteX978" fmla="*/ 154042 w 7467600"/>
              <a:gd name="connsiteY978" fmla="*/ 261522 h 6858000"/>
              <a:gd name="connsiteX979" fmla="*/ 13550 w 7467600"/>
              <a:gd name="connsiteY979" fmla="*/ 158423 h 6858000"/>
              <a:gd name="connsiteX980" fmla="*/ 0 w 7467600"/>
              <a:gd name="connsiteY980" fmla="*/ 146618 h 6858000"/>
              <a:gd name="connsiteX981" fmla="*/ 0 w 7467600"/>
              <a:gd name="connsiteY981" fmla="*/ 59161 h 6858000"/>
              <a:gd name="connsiteX982" fmla="*/ 45427 w 7467600"/>
              <a:gd name="connsiteY982" fmla="*/ 101078 h 6858000"/>
              <a:gd name="connsiteX983" fmla="*/ 630103 w 7467600"/>
              <a:gd name="connsiteY983" fmla="*/ 485885 h 6858000"/>
              <a:gd name="connsiteX984" fmla="*/ 532040 w 7467600"/>
              <a:gd name="connsiteY984" fmla="*/ 399359 h 6858000"/>
              <a:gd name="connsiteX985" fmla="*/ 517618 w 7467600"/>
              <a:gd name="connsiteY985" fmla="*/ 385726 h 6858000"/>
              <a:gd name="connsiteX986" fmla="*/ 285074 w 7467600"/>
              <a:gd name="connsiteY986" fmla="*/ 182755 h 6858000"/>
              <a:gd name="connsiteX987" fmla="*/ 43151 w 7467600"/>
              <a:gd name="connsiteY987"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12201 w 7467600"/>
              <a:gd name="connsiteY127" fmla="*/ 5128278 h 6858000"/>
              <a:gd name="connsiteX128" fmla="*/ 7450656 w 7467600"/>
              <a:gd name="connsiteY128" fmla="*/ 5134750 h 6858000"/>
              <a:gd name="connsiteX129" fmla="*/ 7467600 w 7467600"/>
              <a:gd name="connsiteY129" fmla="*/ 5142496 h 6858000"/>
              <a:gd name="connsiteX130" fmla="*/ 7312201 w 7467600"/>
              <a:gd name="connsiteY130" fmla="*/ 5128278 h 6858000"/>
              <a:gd name="connsiteX131" fmla="*/ 1903353 w 7467600"/>
              <a:gd name="connsiteY131" fmla="*/ 5044827 h 6858000"/>
              <a:gd name="connsiteX132" fmla="*/ 1936931 w 7467600"/>
              <a:gd name="connsiteY132" fmla="*/ 5093954 h 6858000"/>
              <a:gd name="connsiteX133" fmla="*/ 2195868 w 7467600"/>
              <a:gd name="connsiteY133" fmla="*/ 5396574 h 6858000"/>
              <a:gd name="connsiteX134" fmla="*/ 2088852 w 7467600"/>
              <a:gd name="connsiteY134" fmla="*/ 5166123 h 6858000"/>
              <a:gd name="connsiteX135" fmla="*/ 1958241 w 7467600"/>
              <a:gd name="connsiteY135" fmla="*/ 5067955 h 6858000"/>
              <a:gd name="connsiteX136" fmla="*/ 1903353 w 7467600"/>
              <a:gd name="connsiteY136" fmla="*/ 5044827 h 6858000"/>
              <a:gd name="connsiteX137" fmla="*/ 1979378 w 7467600"/>
              <a:gd name="connsiteY137" fmla="*/ 4769504 h 6858000"/>
              <a:gd name="connsiteX138" fmla="*/ 2882120 w 7467600"/>
              <a:gd name="connsiteY138" fmla="*/ 5064547 h 6858000"/>
              <a:gd name="connsiteX139" fmla="*/ 2793103 w 7467600"/>
              <a:gd name="connsiteY139" fmla="*/ 5039699 h 6858000"/>
              <a:gd name="connsiteX140" fmla="*/ 2770041 w 7467600"/>
              <a:gd name="connsiteY140" fmla="*/ 5033634 h 6858000"/>
              <a:gd name="connsiteX141" fmla="*/ 1979378 w 7467600"/>
              <a:gd name="connsiteY141" fmla="*/ 4769504 h 6858000"/>
              <a:gd name="connsiteX142" fmla="*/ 1927410 w 7467600"/>
              <a:gd name="connsiteY142" fmla="*/ 4716164 h 6858000"/>
              <a:gd name="connsiteX143" fmla="*/ 1959587 w 7467600"/>
              <a:gd name="connsiteY143" fmla="*/ 4728849 h 6858000"/>
              <a:gd name="connsiteX144" fmla="*/ 2777707 w 7467600"/>
              <a:gd name="connsiteY144" fmla="*/ 5003991 h 6858000"/>
              <a:gd name="connsiteX145" fmla="*/ 2800768 w 7467600"/>
              <a:gd name="connsiteY145" fmla="*/ 5010056 h 6858000"/>
              <a:gd name="connsiteX146" fmla="*/ 2879408 w 7467600"/>
              <a:gd name="connsiteY146" fmla="*/ 5031590 h 6858000"/>
              <a:gd name="connsiteX147" fmla="*/ 2862295 w 7467600"/>
              <a:gd name="connsiteY147" fmla="*/ 5022958 h 6858000"/>
              <a:gd name="connsiteX148" fmla="*/ 2813343 w 7467600"/>
              <a:gd name="connsiteY148" fmla="*/ 4998369 h 6858000"/>
              <a:gd name="connsiteX149" fmla="*/ 2646245 w 7467600"/>
              <a:gd name="connsiteY149" fmla="*/ 4930999 h 6858000"/>
              <a:gd name="connsiteX150" fmla="*/ 1999243 w 7467600"/>
              <a:gd name="connsiteY150" fmla="*/ 4730524 h 6858000"/>
              <a:gd name="connsiteX151" fmla="*/ 1979527 w 7467600"/>
              <a:gd name="connsiteY151" fmla="*/ 4726651 h 6858000"/>
              <a:gd name="connsiteX152" fmla="*/ 1927410 w 7467600"/>
              <a:gd name="connsiteY152" fmla="*/ 4716164 h 6858000"/>
              <a:gd name="connsiteX153" fmla="*/ 1997014 w 7467600"/>
              <a:gd name="connsiteY153" fmla="*/ 4698007 h 6858000"/>
              <a:gd name="connsiteX154" fmla="*/ 2005458 w 7467600"/>
              <a:gd name="connsiteY154" fmla="*/ 4699540 h 6858000"/>
              <a:gd name="connsiteX155" fmla="*/ 2657186 w 7467600"/>
              <a:gd name="connsiteY155" fmla="*/ 4901687 h 6858000"/>
              <a:gd name="connsiteX156" fmla="*/ 2826662 w 7467600"/>
              <a:gd name="connsiteY156" fmla="*/ 4970362 h 6858000"/>
              <a:gd name="connsiteX157" fmla="*/ 2876100 w 7467600"/>
              <a:gd name="connsiteY157" fmla="*/ 4995397 h 6858000"/>
              <a:gd name="connsiteX158" fmla="*/ 3042600 w 7467600"/>
              <a:gd name="connsiteY158" fmla="*/ 5059532 h 6858000"/>
              <a:gd name="connsiteX159" fmla="*/ 1997014 w 7467600"/>
              <a:gd name="connsiteY159" fmla="*/ 4698007 h 6858000"/>
              <a:gd name="connsiteX160" fmla="*/ 2305292 w 7467600"/>
              <a:gd name="connsiteY160" fmla="*/ 4219492 h 6858000"/>
              <a:gd name="connsiteX161" fmla="*/ 3360922 w 7467600"/>
              <a:gd name="connsiteY161" fmla="*/ 4529373 h 6858000"/>
              <a:gd name="connsiteX162" fmla="*/ 3492420 w 7467600"/>
              <a:gd name="connsiteY162" fmla="*/ 4510145 h 6858000"/>
              <a:gd name="connsiteX163" fmla="*/ 3364086 w 7467600"/>
              <a:gd name="connsiteY163" fmla="*/ 4480340 h 6858000"/>
              <a:gd name="connsiteX164" fmla="*/ 3225818 w 7467600"/>
              <a:gd name="connsiteY164" fmla="*/ 4411822 h 6858000"/>
              <a:gd name="connsiteX165" fmla="*/ 3129696 w 7467600"/>
              <a:gd name="connsiteY165" fmla="*/ 4360704 h 6858000"/>
              <a:gd name="connsiteX166" fmla="*/ 2814545 w 7467600"/>
              <a:gd name="connsiteY166" fmla="*/ 4282955 h 6858000"/>
              <a:gd name="connsiteX167" fmla="*/ 2305292 w 7467600"/>
              <a:gd name="connsiteY167" fmla="*/ 4219492 h 6858000"/>
              <a:gd name="connsiteX168" fmla="*/ 2626982 w 7467600"/>
              <a:gd name="connsiteY168" fmla="*/ 4206450 h 6858000"/>
              <a:gd name="connsiteX169" fmla="*/ 2490617 w 7467600"/>
              <a:gd name="connsiteY169" fmla="*/ 4206951 h 6858000"/>
              <a:gd name="connsiteX170" fmla="*/ 2819869 w 7467600"/>
              <a:gd name="connsiteY170" fmla="*/ 4252936 h 6858000"/>
              <a:gd name="connsiteX171" fmla="*/ 3143018 w 7467600"/>
              <a:gd name="connsiteY171" fmla="*/ 4332698 h 6858000"/>
              <a:gd name="connsiteX172" fmla="*/ 3241520 w 7467600"/>
              <a:gd name="connsiteY172" fmla="*/ 4385112 h 6858000"/>
              <a:gd name="connsiteX173" fmla="*/ 3374575 w 7467600"/>
              <a:gd name="connsiteY173" fmla="*/ 4451517 h 6858000"/>
              <a:gd name="connsiteX174" fmla="*/ 3505221 w 7467600"/>
              <a:gd name="connsiteY174" fmla="*/ 4480757 h 6858000"/>
              <a:gd name="connsiteX175" fmla="*/ 2626982 w 7467600"/>
              <a:gd name="connsiteY175" fmla="*/ 4206450 h 6858000"/>
              <a:gd name="connsiteX176" fmla="*/ 1310106 w 7467600"/>
              <a:gd name="connsiteY176" fmla="*/ 3943217 h 6858000"/>
              <a:gd name="connsiteX177" fmla="*/ 854994 w 7467600"/>
              <a:gd name="connsiteY177" fmla="*/ 4399136 h 6858000"/>
              <a:gd name="connsiteX178" fmla="*/ 742462 w 7467600"/>
              <a:gd name="connsiteY178" fmla="*/ 4594648 h 6858000"/>
              <a:gd name="connsiteX179" fmla="*/ 820602 w 7467600"/>
              <a:gd name="connsiteY179" fmla="*/ 4485915 h 6858000"/>
              <a:gd name="connsiteX180" fmla="*/ 878295 w 7467600"/>
              <a:gd name="connsiteY180" fmla="*/ 4403594 h 6858000"/>
              <a:gd name="connsiteX181" fmla="*/ 1240607 w 7467600"/>
              <a:gd name="connsiteY181" fmla="*/ 4010401 h 6858000"/>
              <a:gd name="connsiteX182" fmla="*/ 1310106 w 7467600"/>
              <a:gd name="connsiteY182" fmla="*/ 3943217 h 6858000"/>
              <a:gd name="connsiteX183" fmla="*/ 1423113 w 7467600"/>
              <a:gd name="connsiteY183" fmla="*/ 3874565 h 6858000"/>
              <a:gd name="connsiteX184" fmla="*/ 1260565 w 7467600"/>
              <a:gd name="connsiteY184" fmla="*/ 4031982 h 6858000"/>
              <a:gd name="connsiteX185" fmla="*/ 901900 w 7467600"/>
              <a:gd name="connsiteY185" fmla="*/ 4421236 h 6858000"/>
              <a:gd name="connsiteX186" fmla="*/ 845044 w 7467600"/>
              <a:gd name="connsiteY186" fmla="*/ 4502436 h 6858000"/>
              <a:gd name="connsiteX187" fmla="*/ 685926 w 7467600"/>
              <a:gd name="connsiteY187" fmla="*/ 4703069 h 6858000"/>
              <a:gd name="connsiteX188" fmla="*/ 684248 w 7467600"/>
              <a:gd name="connsiteY188" fmla="*/ 4706721 h 6858000"/>
              <a:gd name="connsiteX189" fmla="*/ 1423113 w 7467600"/>
              <a:gd name="connsiteY189" fmla="*/ 3874565 h 6858000"/>
              <a:gd name="connsiteX190" fmla="*/ 3316479 w 7467600"/>
              <a:gd name="connsiteY190" fmla="*/ 3872136 h 6858000"/>
              <a:gd name="connsiteX191" fmla="*/ 3546806 w 7467600"/>
              <a:gd name="connsiteY191" fmla="*/ 4356139 h 6858000"/>
              <a:gd name="connsiteX192" fmla="*/ 3364433 w 7467600"/>
              <a:gd name="connsiteY192" fmla="*/ 3953121 h 6858000"/>
              <a:gd name="connsiteX193" fmla="*/ 3316479 w 7467600"/>
              <a:gd name="connsiteY193" fmla="*/ 3872136 h 6858000"/>
              <a:gd name="connsiteX194" fmla="*/ 3291335 w 7467600"/>
              <a:gd name="connsiteY194" fmla="*/ 3767420 h 6858000"/>
              <a:gd name="connsiteX195" fmla="*/ 3390805 w 7467600"/>
              <a:gd name="connsiteY195" fmla="*/ 3937163 h 6858000"/>
              <a:gd name="connsiteX196" fmla="*/ 3579062 w 7467600"/>
              <a:gd name="connsiteY196" fmla="*/ 4359040 h 6858000"/>
              <a:gd name="connsiteX197" fmla="*/ 3467355 w 7467600"/>
              <a:gd name="connsiteY197" fmla="*/ 3988130 h 6858000"/>
              <a:gd name="connsiteX198" fmla="*/ 3310753 w 7467600"/>
              <a:gd name="connsiteY198" fmla="*/ 3787140 h 6858000"/>
              <a:gd name="connsiteX199" fmla="*/ 3291335 w 7467600"/>
              <a:gd name="connsiteY199" fmla="*/ 3767420 h 6858000"/>
              <a:gd name="connsiteX200" fmla="*/ 1635889 w 7467600"/>
              <a:gd name="connsiteY200" fmla="*/ 3709494 h 6858000"/>
              <a:gd name="connsiteX201" fmla="*/ 1634800 w 7467600"/>
              <a:gd name="connsiteY201" fmla="*/ 3731111 h 6858000"/>
              <a:gd name="connsiteX202" fmla="*/ 1635889 w 7467600"/>
              <a:gd name="connsiteY202" fmla="*/ 3709494 h 6858000"/>
              <a:gd name="connsiteX203" fmla="*/ 1510397 w 7467600"/>
              <a:gd name="connsiteY203" fmla="*/ 3684705 h 6858000"/>
              <a:gd name="connsiteX204" fmla="*/ 1146550 w 7467600"/>
              <a:gd name="connsiteY204" fmla="*/ 3802012 h 6858000"/>
              <a:gd name="connsiteX205" fmla="*/ 698834 w 7467600"/>
              <a:gd name="connsiteY205" fmla="*/ 3952272 h 6858000"/>
              <a:gd name="connsiteX206" fmla="*/ 34256 w 7467600"/>
              <a:gd name="connsiteY206" fmla="*/ 4347603 h 6858000"/>
              <a:gd name="connsiteX207" fmla="*/ 527241 w 7467600"/>
              <a:gd name="connsiteY207" fmla="*/ 4065078 h 6858000"/>
              <a:gd name="connsiteX208" fmla="*/ 1510397 w 7467600"/>
              <a:gd name="connsiteY208" fmla="*/ 3684705 h 6858000"/>
              <a:gd name="connsiteX209" fmla="*/ 1313114 w 7467600"/>
              <a:gd name="connsiteY209" fmla="*/ 3655216 h 6858000"/>
              <a:gd name="connsiteX210" fmla="*/ 1109304 w 7467600"/>
              <a:gd name="connsiteY210" fmla="*/ 3669030 h 6858000"/>
              <a:gd name="connsiteX211" fmla="*/ 8129 w 7467600"/>
              <a:gd name="connsiteY211" fmla="*/ 4330519 h 6858000"/>
              <a:gd name="connsiteX212" fmla="*/ 687572 w 7467600"/>
              <a:gd name="connsiteY212" fmla="*/ 3925629 h 6858000"/>
              <a:gd name="connsiteX213" fmla="*/ 1138365 w 7467600"/>
              <a:gd name="connsiteY213" fmla="*/ 3774515 h 6858000"/>
              <a:gd name="connsiteX214" fmla="*/ 1505579 w 7467600"/>
              <a:gd name="connsiteY214" fmla="*/ 3655526 h 6858000"/>
              <a:gd name="connsiteX215" fmla="*/ 1313114 w 7467600"/>
              <a:gd name="connsiteY215" fmla="*/ 3655216 h 6858000"/>
              <a:gd name="connsiteX216" fmla="*/ 3655073 w 7467600"/>
              <a:gd name="connsiteY216" fmla="*/ 3650884 h 6858000"/>
              <a:gd name="connsiteX217" fmla="*/ 3989938 w 7467600"/>
              <a:gd name="connsiteY217" fmla="*/ 3991685 h 6858000"/>
              <a:gd name="connsiteX218" fmla="*/ 4393907 w 7467600"/>
              <a:gd name="connsiteY218" fmla="*/ 4261258 h 6858000"/>
              <a:gd name="connsiteX219" fmla="*/ 4648051 w 7467600"/>
              <a:gd name="connsiteY219" fmla="*/ 4374051 h 6858000"/>
              <a:gd name="connsiteX220" fmla="*/ 4383389 w 7467600"/>
              <a:gd name="connsiteY220" fmla="*/ 4184369 h 6858000"/>
              <a:gd name="connsiteX221" fmla="*/ 4165508 w 7467600"/>
              <a:gd name="connsiteY221" fmla="*/ 4035196 h 6858000"/>
              <a:gd name="connsiteX222" fmla="*/ 4068162 w 7467600"/>
              <a:gd name="connsiteY222" fmla="*/ 3953394 h 6858000"/>
              <a:gd name="connsiteX223" fmla="*/ 3981416 w 7467600"/>
              <a:gd name="connsiteY223" fmla="*/ 3880482 h 6858000"/>
              <a:gd name="connsiteX224" fmla="*/ 3800147 w 7467600"/>
              <a:gd name="connsiteY224" fmla="*/ 3749872 h 6858000"/>
              <a:gd name="connsiteX225" fmla="*/ 3655073 w 7467600"/>
              <a:gd name="connsiteY225" fmla="*/ 3650884 h 6858000"/>
              <a:gd name="connsiteX226" fmla="*/ 3670252 w 7467600"/>
              <a:gd name="connsiteY226" fmla="*/ 3622798 h 6858000"/>
              <a:gd name="connsiteX227" fmla="*/ 3817258 w 7467600"/>
              <a:gd name="connsiteY227" fmla="*/ 3723577 h 6858000"/>
              <a:gd name="connsiteX228" fmla="*/ 4000461 w 7467600"/>
              <a:gd name="connsiteY228" fmla="*/ 3855966 h 6858000"/>
              <a:gd name="connsiteX229" fmla="*/ 4088180 w 7467600"/>
              <a:gd name="connsiteY229" fmla="*/ 3929774 h 6858000"/>
              <a:gd name="connsiteX230" fmla="*/ 4184555 w 7467600"/>
              <a:gd name="connsiteY230" fmla="*/ 4010683 h 6858000"/>
              <a:gd name="connsiteX231" fmla="*/ 4399563 w 7467600"/>
              <a:gd name="connsiteY231" fmla="*/ 4158106 h 6858000"/>
              <a:gd name="connsiteX232" fmla="*/ 4684469 w 7467600"/>
              <a:gd name="connsiteY232" fmla="*/ 4364680 h 6858000"/>
              <a:gd name="connsiteX233" fmla="*/ 4690271 w 7467600"/>
              <a:gd name="connsiteY233" fmla="*/ 4370034 h 6858000"/>
              <a:gd name="connsiteX234" fmla="*/ 4136093 w 7467600"/>
              <a:gd name="connsiteY234" fmla="*/ 3858466 h 6858000"/>
              <a:gd name="connsiteX235" fmla="*/ 3670252 w 7467600"/>
              <a:gd name="connsiteY235" fmla="*/ 3622798 h 6858000"/>
              <a:gd name="connsiteX236" fmla="*/ 4440129 w 7467600"/>
              <a:gd name="connsiteY236" fmla="*/ 3448571 h 6858000"/>
              <a:gd name="connsiteX237" fmla="*/ 4856525 w 7467600"/>
              <a:gd name="connsiteY237" fmla="*/ 3915351 h 6858000"/>
              <a:gd name="connsiteX238" fmla="*/ 5059055 w 7467600"/>
              <a:gd name="connsiteY238" fmla="*/ 4108918 h 6858000"/>
              <a:gd name="connsiteX239" fmla="*/ 5290070 w 7467600"/>
              <a:gd name="connsiteY239" fmla="*/ 4263619 h 6858000"/>
              <a:gd name="connsiteX240" fmla="*/ 4834991 w 7467600"/>
              <a:gd name="connsiteY240" fmla="*/ 3830985 h 6858000"/>
              <a:gd name="connsiteX241" fmla="*/ 4440129 w 7467600"/>
              <a:gd name="connsiteY241" fmla="*/ 3448571 h 6858000"/>
              <a:gd name="connsiteX242" fmla="*/ 4441737 w 7467600"/>
              <a:gd name="connsiteY242" fmla="*/ 3399734 h 6858000"/>
              <a:gd name="connsiteX243" fmla="*/ 4431236 w 7467600"/>
              <a:gd name="connsiteY243" fmla="*/ 3400954 h 6858000"/>
              <a:gd name="connsiteX244" fmla="*/ 4557150 w 7467600"/>
              <a:gd name="connsiteY244" fmla="*/ 3510023 h 6858000"/>
              <a:gd name="connsiteX245" fmla="*/ 4856936 w 7467600"/>
              <a:gd name="connsiteY245" fmla="*/ 3809146 h 6858000"/>
              <a:gd name="connsiteX246" fmla="*/ 5111996 w 7467600"/>
              <a:gd name="connsiteY246" fmla="*/ 4065759 h 6858000"/>
              <a:gd name="connsiteX247" fmla="*/ 5388878 w 7467600"/>
              <a:gd name="connsiteY247" fmla="*/ 4300185 h 6858000"/>
              <a:gd name="connsiteX248" fmla="*/ 5425556 w 7467600"/>
              <a:gd name="connsiteY248" fmla="*/ 4308967 h 6858000"/>
              <a:gd name="connsiteX249" fmla="*/ 4943646 w 7467600"/>
              <a:gd name="connsiteY249" fmla="*/ 3822916 h 6858000"/>
              <a:gd name="connsiteX250" fmla="*/ 4594837 w 7467600"/>
              <a:gd name="connsiteY250" fmla="*/ 3532274 h 6858000"/>
              <a:gd name="connsiteX251" fmla="*/ 4441737 w 7467600"/>
              <a:gd name="connsiteY251" fmla="*/ 3399734 h 6858000"/>
              <a:gd name="connsiteX252" fmla="*/ 5425834 w 7467600"/>
              <a:gd name="connsiteY252" fmla="*/ 3162785 h 6858000"/>
              <a:gd name="connsiteX253" fmla="*/ 5401644 w 7467600"/>
              <a:gd name="connsiteY253" fmla="*/ 3617847 h 6858000"/>
              <a:gd name="connsiteX254" fmla="*/ 5467256 w 7467600"/>
              <a:gd name="connsiteY254" fmla="*/ 4175494 h 6858000"/>
              <a:gd name="connsiteX255" fmla="*/ 5448069 w 7467600"/>
              <a:gd name="connsiteY255" fmla="*/ 3567554 h 6858000"/>
              <a:gd name="connsiteX256" fmla="*/ 5425834 w 7467600"/>
              <a:gd name="connsiteY256" fmla="*/ 3162785 h 6858000"/>
              <a:gd name="connsiteX257" fmla="*/ 1318687 w 7467600"/>
              <a:gd name="connsiteY257" fmla="*/ 3113840 h 6858000"/>
              <a:gd name="connsiteX258" fmla="*/ 1066793 w 7467600"/>
              <a:gd name="connsiteY258" fmla="*/ 3212171 h 6858000"/>
              <a:gd name="connsiteX259" fmla="*/ 993319 w 7467600"/>
              <a:gd name="connsiteY259" fmla="*/ 3247648 h 6858000"/>
              <a:gd name="connsiteX260" fmla="*/ 853081 w 7467600"/>
              <a:gd name="connsiteY260" fmla="*/ 3312410 h 6858000"/>
              <a:gd name="connsiteX261" fmla="*/ 805957 w 7467600"/>
              <a:gd name="connsiteY261" fmla="*/ 3330443 h 6858000"/>
              <a:gd name="connsiteX262" fmla="*/ 1318687 w 7467600"/>
              <a:gd name="connsiteY262" fmla="*/ 3113840 h 6858000"/>
              <a:gd name="connsiteX263" fmla="*/ 5453702 w 7467600"/>
              <a:gd name="connsiteY263" fmla="*/ 3090882 h 6858000"/>
              <a:gd name="connsiteX264" fmla="*/ 5480135 w 7467600"/>
              <a:gd name="connsiteY264" fmla="*/ 3565802 h 6858000"/>
              <a:gd name="connsiteX265" fmla="*/ 5499023 w 7467600"/>
              <a:gd name="connsiteY265" fmla="*/ 4166310 h 6858000"/>
              <a:gd name="connsiteX266" fmla="*/ 5547022 w 7467600"/>
              <a:gd name="connsiteY266" fmla="*/ 3607838 h 6858000"/>
              <a:gd name="connsiteX267" fmla="*/ 5515964 w 7467600"/>
              <a:gd name="connsiteY267" fmla="*/ 3378541 h 6858000"/>
              <a:gd name="connsiteX268" fmla="*/ 5453702 w 7467600"/>
              <a:gd name="connsiteY268" fmla="*/ 3090882 h 6858000"/>
              <a:gd name="connsiteX269" fmla="*/ 1238695 w 7467600"/>
              <a:gd name="connsiteY269" fmla="*/ 3076820 h 6858000"/>
              <a:gd name="connsiteX270" fmla="*/ 716371 w 7467600"/>
              <a:gd name="connsiteY270" fmla="*/ 3293249 h 6858000"/>
              <a:gd name="connsiteX271" fmla="*/ 579522 w 7467600"/>
              <a:gd name="connsiteY271" fmla="*/ 3371759 h 6858000"/>
              <a:gd name="connsiteX272" fmla="*/ 600288 w 7467600"/>
              <a:gd name="connsiteY272" fmla="*/ 3365555 h 6858000"/>
              <a:gd name="connsiteX273" fmla="*/ 840692 w 7467600"/>
              <a:gd name="connsiteY273" fmla="*/ 3284921 h 6858000"/>
              <a:gd name="connsiteX274" fmla="*/ 979248 w 7467600"/>
              <a:gd name="connsiteY274" fmla="*/ 3221003 h 6858000"/>
              <a:gd name="connsiteX275" fmla="*/ 1053282 w 7467600"/>
              <a:gd name="connsiteY275" fmla="*/ 3185247 h 6858000"/>
              <a:gd name="connsiteX276" fmla="*/ 1320603 w 7467600"/>
              <a:gd name="connsiteY276" fmla="*/ 3081281 h 6858000"/>
              <a:gd name="connsiteX277" fmla="*/ 1238695 w 7467600"/>
              <a:gd name="connsiteY277" fmla="*/ 3076820 h 6858000"/>
              <a:gd name="connsiteX278" fmla="*/ 5425627 w 7467600"/>
              <a:gd name="connsiteY278" fmla="*/ 2954192 h 6858000"/>
              <a:gd name="connsiteX279" fmla="*/ 5470770 w 7467600"/>
              <a:gd name="connsiteY279" fmla="*/ 3005435 h 6858000"/>
              <a:gd name="connsiteX280" fmla="*/ 5519779 w 7467600"/>
              <a:gd name="connsiteY280" fmla="*/ 4359223 h 6858000"/>
              <a:gd name="connsiteX281" fmla="*/ 5520293 w 7467600"/>
              <a:gd name="connsiteY281" fmla="*/ 4360602 h 6858000"/>
              <a:gd name="connsiteX282" fmla="*/ 5767221 w 7467600"/>
              <a:gd name="connsiteY282" fmla="*/ 4665564 h 6858000"/>
              <a:gd name="connsiteX283" fmla="*/ 6937169 w 7467600"/>
              <a:gd name="connsiteY283" fmla="*/ 4815941 h 6858000"/>
              <a:gd name="connsiteX284" fmla="*/ 6953922 w 7467600"/>
              <a:gd name="connsiteY284" fmla="*/ 4890068 h 6858000"/>
              <a:gd name="connsiteX285" fmla="*/ 6071359 w 7467600"/>
              <a:gd name="connsiteY285" fmla="*/ 4770770 h 6858000"/>
              <a:gd name="connsiteX286" fmla="*/ 6038839 w 7467600"/>
              <a:gd name="connsiteY286" fmla="*/ 4764474 h 6858000"/>
              <a:gd name="connsiteX287" fmla="*/ 6038706 w 7467600"/>
              <a:gd name="connsiteY287" fmla="*/ 4763847 h 6858000"/>
              <a:gd name="connsiteX288" fmla="*/ 6037784 w 7467600"/>
              <a:gd name="connsiteY288" fmla="*/ 4764270 h 6858000"/>
              <a:gd name="connsiteX289" fmla="*/ 6038839 w 7467600"/>
              <a:gd name="connsiteY289" fmla="*/ 4764474 h 6858000"/>
              <a:gd name="connsiteX290" fmla="*/ 6040338 w 7467600"/>
              <a:gd name="connsiteY290" fmla="*/ 4771418 h 6858000"/>
              <a:gd name="connsiteX291" fmla="*/ 6024488 w 7467600"/>
              <a:gd name="connsiteY291" fmla="*/ 4809903 h 6858000"/>
              <a:gd name="connsiteX292" fmla="*/ 5599771 w 7467600"/>
              <a:gd name="connsiteY292" fmla="*/ 5509652 h 6858000"/>
              <a:gd name="connsiteX293" fmla="*/ 5548843 w 7467600"/>
              <a:gd name="connsiteY293" fmla="*/ 5563845 h 6858000"/>
              <a:gd name="connsiteX294" fmla="*/ 5940952 w 7467600"/>
              <a:gd name="connsiteY294" fmla="*/ 6250028 h 6858000"/>
              <a:gd name="connsiteX295" fmla="*/ 6043441 w 7467600"/>
              <a:gd name="connsiteY295" fmla="*/ 6665847 h 6858000"/>
              <a:gd name="connsiteX296" fmla="*/ 6093432 w 7467600"/>
              <a:gd name="connsiteY296" fmla="*/ 6858000 h 6858000"/>
              <a:gd name="connsiteX297" fmla="*/ 6034344 w 7467600"/>
              <a:gd name="connsiteY297" fmla="*/ 6858000 h 6858000"/>
              <a:gd name="connsiteX298" fmla="*/ 6026679 w 7467600"/>
              <a:gd name="connsiteY298" fmla="*/ 6836959 h 6858000"/>
              <a:gd name="connsiteX299" fmla="*/ 5800441 w 7467600"/>
              <a:gd name="connsiteY299" fmla="*/ 6335286 h 6858000"/>
              <a:gd name="connsiteX300" fmla="*/ 5526562 w 7467600"/>
              <a:gd name="connsiteY300" fmla="*/ 5705388 h 6858000"/>
              <a:gd name="connsiteX301" fmla="*/ 5519640 w 7467600"/>
              <a:gd name="connsiteY301" fmla="*/ 5683774 h 6858000"/>
              <a:gd name="connsiteX302" fmla="*/ 5844559 w 7467600"/>
              <a:gd name="connsiteY302" fmla="*/ 6553349 h 6858000"/>
              <a:gd name="connsiteX303" fmla="*/ 5975994 w 7467600"/>
              <a:gd name="connsiteY303" fmla="*/ 6858000 h 6858000"/>
              <a:gd name="connsiteX304" fmla="*/ 5898547 w 7467600"/>
              <a:gd name="connsiteY304" fmla="*/ 6858000 h 6858000"/>
              <a:gd name="connsiteX305" fmla="*/ 5682041 w 7467600"/>
              <a:gd name="connsiteY305" fmla="*/ 6355860 h 6858000"/>
              <a:gd name="connsiteX306" fmla="*/ 5461758 w 7467600"/>
              <a:gd name="connsiteY306" fmla="*/ 5820220 h 6858000"/>
              <a:gd name="connsiteX307" fmla="*/ 5237282 w 7467600"/>
              <a:gd name="connsiteY307" fmla="*/ 6579086 h 6858000"/>
              <a:gd name="connsiteX308" fmla="*/ 5115009 w 7467600"/>
              <a:gd name="connsiteY308" fmla="*/ 6858000 h 6858000"/>
              <a:gd name="connsiteX309" fmla="*/ 5028074 w 7467600"/>
              <a:gd name="connsiteY309" fmla="*/ 6858000 h 6858000"/>
              <a:gd name="connsiteX310" fmla="*/ 5079508 w 7467600"/>
              <a:gd name="connsiteY310" fmla="*/ 6749074 h 6858000"/>
              <a:gd name="connsiteX311" fmla="*/ 5371846 w 7467600"/>
              <a:gd name="connsiteY311" fmla="*/ 5924413 h 6858000"/>
              <a:gd name="connsiteX312" fmla="*/ 5270512 w 7467600"/>
              <a:gd name="connsiteY312" fmla="*/ 6138975 h 6858000"/>
              <a:gd name="connsiteX313" fmla="*/ 5062409 w 7467600"/>
              <a:gd name="connsiteY313" fmla="*/ 6653544 h 6858000"/>
              <a:gd name="connsiteX314" fmla="*/ 5036628 w 7467600"/>
              <a:gd name="connsiteY314" fmla="*/ 6754247 h 6858000"/>
              <a:gd name="connsiteX315" fmla="*/ 5009112 w 7467600"/>
              <a:gd name="connsiteY315" fmla="*/ 6858000 h 6858000"/>
              <a:gd name="connsiteX316" fmla="*/ 4976679 w 7467600"/>
              <a:gd name="connsiteY316" fmla="*/ 6858000 h 6858000"/>
              <a:gd name="connsiteX317" fmla="*/ 5006537 w 7467600"/>
              <a:gd name="connsiteY317" fmla="*/ 6747068 h 6858000"/>
              <a:gd name="connsiteX318" fmla="*/ 5032723 w 7467600"/>
              <a:gd name="connsiteY318" fmla="*/ 6644957 h 6858000"/>
              <a:gd name="connsiteX319" fmla="*/ 5242949 w 7467600"/>
              <a:gd name="connsiteY319" fmla="*/ 6125175 h 6858000"/>
              <a:gd name="connsiteX320" fmla="*/ 5286321 w 7467600"/>
              <a:gd name="connsiteY320" fmla="*/ 6033555 h 6858000"/>
              <a:gd name="connsiteX321" fmla="*/ 5008210 w 7467600"/>
              <a:gd name="connsiteY321" fmla="*/ 6649194 h 6858000"/>
              <a:gd name="connsiteX322" fmla="*/ 4986321 w 7467600"/>
              <a:gd name="connsiteY322" fmla="*/ 6765687 h 6858000"/>
              <a:gd name="connsiteX323" fmla="*/ 4973474 w 7467600"/>
              <a:gd name="connsiteY323" fmla="*/ 6858000 h 6858000"/>
              <a:gd name="connsiteX324" fmla="*/ 4907178 w 7467600"/>
              <a:gd name="connsiteY324" fmla="*/ 6858000 h 6858000"/>
              <a:gd name="connsiteX325" fmla="*/ 4910810 w 7467600"/>
              <a:gd name="connsiteY325" fmla="*/ 6829660 h 6858000"/>
              <a:gd name="connsiteX326" fmla="*/ 4987461 w 7467600"/>
              <a:gd name="connsiteY326" fmla="*/ 6432994 h 6858000"/>
              <a:gd name="connsiteX327" fmla="*/ 5179262 w 7467600"/>
              <a:gd name="connsiteY327" fmla="*/ 6035044 h 6858000"/>
              <a:gd name="connsiteX328" fmla="*/ 4689678 w 7467600"/>
              <a:gd name="connsiteY328" fmla="*/ 6440241 h 6858000"/>
              <a:gd name="connsiteX329" fmla="*/ 4477543 w 7467600"/>
              <a:gd name="connsiteY329" fmla="*/ 6674836 h 6858000"/>
              <a:gd name="connsiteX330" fmla="*/ 4329957 w 7467600"/>
              <a:gd name="connsiteY330" fmla="*/ 6858000 h 6858000"/>
              <a:gd name="connsiteX331" fmla="*/ 4218595 w 7467600"/>
              <a:gd name="connsiteY331" fmla="*/ 6858000 h 6858000"/>
              <a:gd name="connsiteX332" fmla="*/ 4368888 w 7467600"/>
              <a:gd name="connsiteY332" fmla="*/ 6668412 h 6858000"/>
              <a:gd name="connsiteX333" fmla="*/ 4563091 w 7467600"/>
              <a:gd name="connsiteY333" fmla="*/ 6442508 h 6858000"/>
              <a:gd name="connsiteX334" fmla="*/ 5387324 w 7467600"/>
              <a:gd name="connsiteY334" fmla="*/ 5705830 h 6858000"/>
              <a:gd name="connsiteX335" fmla="*/ 5073620 w 7467600"/>
              <a:gd name="connsiteY335" fmla="*/ 5955437 h 6858000"/>
              <a:gd name="connsiteX336" fmla="*/ 4689789 w 7467600"/>
              <a:gd name="connsiteY336" fmla="*/ 6268382 h 6858000"/>
              <a:gd name="connsiteX337" fmla="*/ 4418722 w 7467600"/>
              <a:gd name="connsiteY337" fmla="*/ 6570886 h 6858000"/>
              <a:gd name="connsiteX338" fmla="*/ 4214944 w 7467600"/>
              <a:gd name="connsiteY338" fmla="*/ 6858000 h 6858000"/>
              <a:gd name="connsiteX339" fmla="*/ 4177898 w 7467600"/>
              <a:gd name="connsiteY339" fmla="*/ 6858000 h 6858000"/>
              <a:gd name="connsiteX340" fmla="*/ 4391597 w 7467600"/>
              <a:gd name="connsiteY340" fmla="*/ 6556370 h 6858000"/>
              <a:gd name="connsiteX341" fmla="*/ 4668889 w 7467600"/>
              <a:gd name="connsiteY341" fmla="*/ 6246399 h 6858000"/>
              <a:gd name="connsiteX342" fmla="*/ 5055427 w 7467600"/>
              <a:gd name="connsiteY342" fmla="*/ 5931476 h 6858000"/>
              <a:gd name="connsiteX343" fmla="*/ 5371814 w 7467600"/>
              <a:gd name="connsiteY343" fmla="*/ 5678975 h 6858000"/>
              <a:gd name="connsiteX344" fmla="*/ 4987918 w 7467600"/>
              <a:gd name="connsiteY344" fmla="*/ 5838701 h 6858000"/>
              <a:gd name="connsiteX345" fmla="*/ 4317146 w 7467600"/>
              <a:gd name="connsiteY345" fmla="*/ 6587716 h 6858000"/>
              <a:gd name="connsiteX346" fmla="*/ 4171627 w 7467600"/>
              <a:gd name="connsiteY346" fmla="*/ 6858000 h 6858000"/>
              <a:gd name="connsiteX347" fmla="*/ 4081585 w 7467600"/>
              <a:gd name="connsiteY347" fmla="*/ 6858000 h 6858000"/>
              <a:gd name="connsiteX348" fmla="*/ 4238603 w 7467600"/>
              <a:gd name="connsiteY348" fmla="*/ 6559341 h 6858000"/>
              <a:gd name="connsiteX349" fmla="*/ 4778333 w 7467600"/>
              <a:gd name="connsiteY349" fmla="*/ 5873626 h 6858000"/>
              <a:gd name="connsiteX350" fmla="*/ 5414185 w 7467600"/>
              <a:gd name="connsiteY350" fmla="*/ 5573882 h 6858000"/>
              <a:gd name="connsiteX351" fmla="*/ 5959648 w 7467600"/>
              <a:gd name="connsiteY351" fmla="*/ 4760797 h 6858000"/>
              <a:gd name="connsiteX352" fmla="*/ 5355019 w 7467600"/>
              <a:gd name="connsiteY352" fmla="*/ 4734672 h 6858000"/>
              <a:gd name="connsiteX353" fmla="*/ 5083565 w 7467600"/>
              <a:gd name="connsiteY353" fmla="*/ 5179121 h 6858000"/>
              <a:gd name="connsiteX354" fmla="*/ 4713577 w 7467600"/>
              <a:gd name="connsiteY354" fmla="*/ 5616803 h 6858000"/>
              <a:gd name="connsiteX355" fmla="*/ 3989559 w 7467600"/>
              <a:gd name="connsiteY355" fmla="*/ 6145945 h 6858000"/>
              <a:gd name="connsiteX356" fmla="*/ 3939824 w 7467600"/>
              <a:gd name="connsiteY356" fmla="*/ 6066900 h 6858000"/>
              <a:gd name="connsiteX357" fmla="*/ 4584537 w 7467600"/>
              <a:gd name="connsiteY357" fmla="*/ 5324826 h 6858000"/>
              <a:gd name="connsiteX358" fmla="*/ 5037105 w 7467600"/>
              <a:gd name="connsiteY358" fmla="*/ 5088765 h 6858000"/>
              <a:gd name="connsiteX359" fmla="*/ 5039930 w 7467600"/>
              <a:gd name="connsiteY359" fmla="*/ 5089585 h 6858000"/>
              <a:gd name="connsiteX360" fmla="*/ 5263764 w 7467600"/>
              <a:gd name="connsiteY360" fmla="*/ 4735525 h 6858000"/>
              <a:gd name="connsiteX361" fmla="*/ 4086300 w 7467600"/>
              <a:gd name="connsiteY361" fmla="*/ 4884599 h 6858000"/>
              <a:gd name="connsiteX362" fmla="*/ 4085485 w 7467600"/>
              <a:gd name="connsiteY362" fmla="*/ 4899070 h 6858000"/>
              <a:gd name="connsiteX363" fmla="*/ 3871915 w 7467600"/>
              <a:gd name="connsiteY363" fmla="*/ 5253645 h 6858000"/>
              <a:gd name="connsiteX364" fmla="*/ 3799374 w 7467600"/>
              <a:gd name="connsiteY364" fmla="*/ 5466127 h 6858000"/>
              <a:gd name="connsiteX365" fmla="*/ 3498850 w 7467600"/>
              <a:gd name="connsiteY365" fmla="*/ 6661888 h 6858000"/>
              <a:gd name="connsiteX366" fmla="*/ 3399216 w 7467600"/>
              <a:gd name="connsiteY366" fmla="*/ 6858000 h 6858000"/>
              <a:gd name="connsiteX367" fmla="*/ 3303688 w 7467600"/>
              <a:gd name="connsiteY367" fmla="*/ 6858000 h 6858000"/>
              <a:gd name="connsiteX368" fmla="*/ 3391774 w 7467600"/>
              <a:gd name="connsiteY368" fmla="*/ 6697181 h 6858000"/>
              <a:gd name="connsiteX369" fmla="*/ 3735540 w 7467600"/>
              <a:gd name="connsiteY369" fmla="*/ 5546923 h 6858000"/>
              <a:gd name="connsiteX370" fmla="*/ 3729438 w 7467600"/>
              <a:gd name="connsiteY370" fmla="*/ 5569058 h 6858000"/>
              <a:gd name="connsiteX371" fmla="*/ 3707782 w 7467600"/>
              <a:gd name="connsiteY371" fmla="*/ 5644908 h 6858000"/>
              <a:gd name="connsiteX372" fmla="*/ 3583827 w 7467600"/>
              <a:gd name="connsiteY372" fmla="*/ 6039215 h 6858000"/>
              <a:gd name="connsiteX373" fmla="*/ 3547861 w 7467600"/>
              <a:gd name="connsiteY373" fmla="*/ 6129609 h 6858000"/>
              <a:gd name="connsiteX374" fmla="*/ 3490905 w 7467600"/>
              <a:gd name="connsiteY374" fmla="*/ 6277660 h 6858000"/>
              <a:gd name="connsiteX375" fmla="*/ 3455859 w 7467600"/>
              <a:gd name="connsiteY375" fmla="*/ 6391301 h 6858000"/>
              <a:gd name="connsiteX376" fmla="*/ 3429112 w 7467600"/>
              <a:gd name="connsiteY376" fmla="*/ 6479469 h 6858000"/>
              <a:gd name="connsiteX377" fmla="*/ 3304862 w 7467600"/>
              <a:gd name="connsiteY377" fmla="*/ 6796476 h 6858000"/>
              <a:gd name="connsiteX378" fmla="*/ 3276071 w 7467600"/>
              <a:gd name="connsiteY378" fmla="*/ 6858000 h 6858000"/>
              <a:gd name="connsiteX379" fmla="*/ 3240805 w 7467600"/>
              <a:gd name="connsiteY379" fmla="*/ 6858000 h 6858000"/>
              <a:gd name="connsiteX380" fmla="*/ 3275917 w 7467600"/>
              <a:gd name="connsiteY380" fmla="*/ 6783192 h 6858000"/>
              <a:gd name="connsiteX381" fmla="*/ 3399358 w 7467600"/>
              <a:gd name="connsiteY381" fmla="*/ 6469011 h 6858000"/>
              <a:gd name="connsiteX382" fmla="*/ 3425650 w 7467600"/>
              <a:gd name="connsiteY382" fmla="*/ 6381333 h 6858000"/>
              <a:gd name="connsiteX383" fmla="*/ 3460661 w 7467600"/>
              <a:gd name="connsiteY383" fmla="*/ 6266763 h 6858000"/>
              <a:gd name="connsiteX384" fmla="*/ 3518021 w 7467600"/>
              <a:gd name="connsiteY384" fmla="*/ 6117298 h 6858000"/>
              <a:gd name="connsiteX385" fmla="*/ 3554035 w 7467600"/>
              <a:gd name="connsiteY385" fmla="*/ 6027832 h 6858000"/>
              <a:gd name="connsiteX386" fmla="*/ 3677174 w 7467600"/>
              <a:gd name="connsiteY386" fmla="*/ 5636351 h 6858000"/>
              <a:gd name="connsiteX387" fmla="*/ 3698819 w 7467600"/>
              <a:gd name="connsiteY387" fmla="*/ 5560503 h 6858000"/>
              <a:gd name="connsiteX388" fmla="*/ 3702094 w 7467600"/>
              <a:gd name="connsiteY388" fmla="*/ 5549194 h 6858000"/>
              <a:gd name="connsiteX389" fmla="*/ 3398355 w 7467600"/>
              <a:gd name="connsiteY389" fmla="*/ 6094603 h 6858000"/>
              <a:gd name="connsiteX390" fmla="*/ 3193941 w 7467600"/>
              <a:gd name="connsiteY390" fmla="*/ 6798775 h 6858000"/>
              <a:gd name="connsiteX391" fmla="*/ 3184140 w 7467600"/>
              <a:gd name="connsiteY391" fmla="*/ 6858000 h 6858000"/>
              <a:gd name="connsiteX392" fmla="*/ 3099978 w 7467600"/>
              <a:gd name="connsiteY392" fmla="*/ 6858000 h 6858000"/>
              <a:gd name="connsiteX393" fmla="*/ 3101556 w 7467600"/>
              <a:gd name="connsiteY393" fmla="*/ 6843337 h 6858000"/>
              <a:gd name="connsiteX394" fmla="*/ 3370162 w 7467600"/>
              <a:gd name="connsiteY394" fmla="*/ 5785550 h 6858000"/>
              <a:gd name="connsiteX395" fmla="*/ 3746477 w 7467600"/>
              <a:gd name="connsiteY395" fmla="*/ 5377889 h 6858000"/>
              <a:gd name="connsiteX396" fmla="*/ 3863399 w 7467600"/>
              <a:gd name="connsiteY396" fmla="*/ 5087257 h 6858000"/>
              <a:gd name="connsiteX397" fmla="*/ 3968712 w 7467600"/>
              <a:gd name="connsiteY397" fmla="*/ 4913989 h 6858000"/>
              <a:gd name="connsiteX398" fmla="*/ 2792390 w 7467600"/>
              <a:gd name="connsiteY398" fmla="*/ 5382974 h 6858000"/>
              <a:gd name="connsiteX399" fmla="*/ 2714982 w 7467600"/>
              <a:gd name="connsiteY399" fmla="*/ 5427051 h 6858000"/>
              <a:gd name="connsiteX400" fmla="*/ 2813361 w 7467600"/>
              <a:gd name="connsiteY400" fmla="*/ 6023912 h 6858000"/>
              <a:gd name="connsiteX401" fmla="*/ 2688430 w 7467600"/>
              <a:gd name="connsiteY401" fmla="*/ 6801564 h 6858000"/>
              <a:gd name="connsiteX402" fmla="*/ 2629626 w 7467600"/>
              <a:gd name="connsiteY402" fmla="*/ 6763394 h 6858000"/>
              <a:gd name="connsiteX403" fmla="*/ 2565328 w 7467600"/>
              <a:gd name="connsiteY403" fmla="*/ 5516399 h 6858000"/>
              <a:gd name="connsiteX404" fmla="*/ 1922999 w 7467600"/>
              <a:gd name="connsiteY404" fmla="*/ 5980343 h 6858000"/>
              <a:gd name="connsiteX405" fmla="*/ 1950261 w 7467600"/>
              <a:gd name="connsiteY405" fmla="*/ 6405858 h 6858000"/>
              <a:gd name="connsiteX406" fmla="*/ 2365554 w 7467600"/>
              <a:gd name="connsiteY406" fmla="*/ 6759107 h 6858000"/>
              <a:gd name="connsiteX407" fmla="*/ 2424142 w 7467600"/>
              <a:gd name="connsiteY407" fmla="*/ 6858000 h 6858000"/>
              <a:gd name="connsiteX408" fmla="*/ 2395994 w 7467600"/>
              <a:gd name="connsiteY408" fmla="*/ 6858000 h 6858000"/>
              <a:gd name="connsiteX409" fmla="*/ 2392863 w 7467600"/>
              <a:gd name="connsiteY409" fmla="*/ 6852964 h 6858000"/>
              <a:gd name="connsiteX410" fmla="*/ 2017589 w 7467600"/>
              <a:gd name="connsiteY410" fmla="*/ 6493982 h 6858000"/>
              <a:gd name="connsiteX411" fmla="*/ 2147336 w 7467600"/>
              <a:gd name="connsiteY411" fmla="*/ 6594052 h 6858000"/>
              <a:gd name="connsiteX412" fmla="*/ 2207047 w 7467600"/>
              <a:gd name="connsiteY412" fmla="*/ 6654540 h 6858000"/>
              <a:gd name="connsiteX413" fmla="*/ 2299106 w 7467600"/>
              <a:gd name="connsiteY413" fmla="*/ 6778931 h 6858000"/>
              <a:gd name="connsiteX414" fmla="*/ 2314430 w 7467600"/>
              <a:gd name="connsiteY414" fmla="*/ 6801144 h 6858000"/>
              <a:gd name="connsiteX415" fmla="*/ 2352406 w 7467600"/>
              <a:gd name="connsiteY415" fmla="*/ 6858000 h 6858000"/>
              <a:gd name="connsiteX416" fmla="*/ 2314492 w 7467600"/>
              <a:gd name="connsiteY416" fmla="*/ 6858000 h 6858000"/>
              <a:gd name="connsiteX417" fmla="*/ 2288095 w 7467600"/>
              <a:gd name="connsiteY417" fmla="*/ 6818030 h 6858000"/>
              <a:gd name="connsiteX418" fmla="*/ 2272768 w 7467600"/>
              <a:gd name="connsiteY418" fmla="*/ 6795822 h 6858000"/>
              <a:gd name="connsiteX419" fmla="*/ 2182715 w 7467600"/>
              <a:gd name="connsiteY419" fmla="*/ 6675071 h 6858000"/>
              <a:gd name="connsiteX420" fmla="*/ 2032061 w 7467600"/>
              <a:gd name="connsiteY420" fmla="*/ 6541380 h 6858000"/>
              <a:gd name="connsiteX421" fmla="*/ 2257220 w 7467600"/>
              <a:gd name="connsiteY421" fmla="*/ 6826257 h 6858000"/>
              <a:gd name="connsiteX422" fmla="*/ 2281324 w 7467600"/>
              <a:gd name="connsiteY422" fmla="*/ 6858000 h 6858000"/>
              <a:gd name="connsiteX423" fmla="*/ 2242860 w 7467600"/>
              <a:gd name="connsiteY423" fmla="*/ 6858000 h 6858000"/>
              <a:gd name="connsiteX424" fmla="*/ 2232818 w 7467600"/>
              <a:gd name="connsiteY424" fmla="*/ 6844926 h 6858000"/>
              <a:gd name="connsiteX425" fmla="*/ 1990172 w 7467600"/>
              <a:gd name="connsiteY425" fmla="*/ 6542121 h 6858000"/>
              <a:gd name="connsiteX426" fmla="*/ 2124090 w 7467600"/>
              <a:gd name="connsiteY426" fmla="*/ 6761017 h 6858000"/>
              <a:gd name="connsiteX427" fmla="*/ 2200380 w 7467600"/>
              <a:gd name="connsiteY427" fmla="*/ 6858000 h 6858000"/>
              <a:gd name="connsiteX428" fmla="*/ 2147507 w 7467600"/>
              <a:gd name="connsiteY428" fmla="*/ 6858000 h 6858000"/>
              <a:gd name="connsiteX429" fmla="*/ 2070668 w 7467600"/>
              <a:gd name="connsiteY429" fmla="*/ 6761520 h 6858000"/>
              <a:gd name="connsiteX430" fmla="*/ 1975142 w 7467600"/>
              <a:gd name="connsiteY430" fmla="*/ 6585570 h 6858000"/>
              <a:gd name="connsiteX431" fmla="*/ 2050035 w 7467600"/>
              <a:gd name="connsiteY431" fmla="*/ 6813345 h 6858000"/>
              <a:gd name="connsiteX432" fmla="*/ 2063025 w 7467600"/>
              <a:gd name="connsiteY432" fmla="*/ 6858000 h 6858000"/>
              <a:gd name="connsiteX433" fmla="*/ 2021675 w 7467600"/>
              <a:gd name="connsiteY433" fmla="*/ 6858000 h 6858000"/>
              <a:gd name="connsiteX434" fmla="*/ 2019308 w 7467600"/>
              <a:gd name="connsiteY434" fmla="*/ 6847118 h 6858000"/>
              <a:gd name="connsiteX435" fmla="*/ 1938835 w 7467600"/>
              <a:gd name="connsiteY435" fmla="*/ 6551160 h 6858000"/>
              <a:gd name="connsiteX436" fmla="*/ 1953230 w 7467600"/>
              <a:gd name="connsiteY436" fmla="*/ 6759699 h 6858000"/>
              <a:gd name="connsiteX437" fmla="*/ 1956763 w 7467600"/>
              <a:gd name="connsiteY437" fmla="*/ 6778191 h 6858000"/>
              <a:gd name="connsiteX438" fmla="*/ 1967925 w 7467600"/>
              <a:gd name="connsiteY438" fmla="*/ 6858000 h 6858000"/>
              <a:gd name="connsiteX439" fmla="*/ 1936622 w 7467600"/>
              <a:gd name="connsiteY439" fmla="*/ 6858000 h 6858000"/>
              <a:gd name="connsiteX440" fmla="*/ 1926261 w 7467600"/>
              <a:gd name="connsiteY440" fmla="*/ 6784064 h 6858000"/>
              <a:gd name="connsiteX441" fmla="*/ 1922724 w 7467600"/>
              <a:gd name="connsiteY441" fmla="*/ 6765577 h 6858000"/>
              <a:gd name="connsiteX442" fmla="*/ 1904650 w 7467600"/>
              <a:gd name="connsiteY442" fmla="*/ 6639616 h 6858000"/>
              <a:gd name="connsiteX443" fmla="*/ 1885273 w 7467600"/>
              <a:gd name="connsiteY443" fmla="*/ 6858000 h 6858000"/>
              <a:gd name="connsiteX444" fmla="*/ 1854363 w 7467600"/>
              <a:gd name="connsiteY444" fmla="*/ 6858000 h 6858000"/>
              <a:gd name="connsiteX445" fmla="*/ 1880391 w 7467600"/>
              <a:gd name="connsiteY445" fmla="*/ 6603796 h 6858000"/>
              <a:gd name="connsiteX446" fmla="*/ 1818273 w 7467600"/>
              <a:gd name="connsiteY446" fmla="*/ 6715729 h 6858000"/>
              <a:gd name="connsiteX447" fmla="*/ 1794691 w 7467600"/>
              <a:gd name="connsiteY447" fmla="*/ 6843239 h 6858000"/>
              <a:gd name="connsiteX448" fmla="*/ 1794914 w 7467600"/>
              <a:gd name="connsiteY448" fmla="*/ 6858000 h 6858000"/>
              <a:gd name="connsiteX449" fmla="*/ 1746128 w 7467600"/>
              <a:gd name="connsiteY449" fmla="*/ 6858000 h 6858000"/>
              <a:gd name="connsiteX450" fmla="*/ 1753934 w 7467600"/>
              <a:gd name="connsiteY450" fmla="*/ 6724796 h 6858000"/>
              <a:gd name="connsiteX451" fmla="*/ 1792053 w 7467600"/>
              <a:gd name="connsiteY451" fmla="*/ 6572396 h 6858000"/>
              <a:gd name="connsiteX452" fmla="*/ 1862248 w 7467600"/>
              <a:gd name="connsiteY452" fmla="*/ 6266397 h 6858000"/>
              <a:gd name="connsiteX453" fmla="*/ 1862250 w 7467600"/>
              <a:gd name="connsiteY453" fmla="*/ 6033531 h 6858000"/>
              <a:gd name="connsiteX454" fmla="*/ 1211999 w 7467600"/>
              <a:gd name="connsiteY454" fmla="*/ 6683610 h 6858000"/>
              <a:gd name="connsiteX455" fmla="*/ 1213266 w 7467600"/>
              <a:gd name="connsiteY455" fmla="*/ 6691947 h 6858000"/>
              <a:gd name="connsiteX456" fmla="*/ 1203370 w 7467600"/>
              <a:gd name="connsiteY456" fmla="*/ 6850676 h 6858000"/>
              <a:gd name="connsiteX457" fmla="*/ 1203671 w 7467600"/>
              <a:gd name="connsiteY457" fmla="*/ 6858000 h 6858000"/>
              <a:gd name="connsiteX458" fmla="*/ 1143180 w 7467600"/>
              <a:gd name="connsiteY458" fmla="*/ 6858000 h 6858000"/>
              <a:gd name="connsiteX459" fmla="*/ 1142176 w 7467600"/>
              <a:gd name="connsiteY459" fmla="*/ 6766045 h 6858000"/>
              <a:gd name="connsiteX460" fmla="*/ 1067484 w 7467600"/>
              <a:gd name="connsiteY460" fmla="*/ 6858000 h 6858000"/>
              <a:gd name="connsiteX461" fmla="*/ 953928 w 7467600"/>
              <a:gd name="connsiteY461" fmla="*/ 6858000 h 6858000"/>
              <a:gd name="connsiteX462" fmla="*/ 959715 w 7467600"/>
              <a:gd name="connsiteY462" fmla="*/ 6850185 h 6858000"/>
              <a:gd name="connsiteX463" fmla="*/ 1483788 w 7467600"/>
              <a:gd name="connsiteY463" fmla="*/ 6259174 h 6858000"/>
              <a:gd name="connsiteX464" fmla="*/ 1100671 w 7467600"/>
              <a:gd name="connsiteY464" fmla="*/ 6252137 h 6858000"/>
              <a:gd name="connsiteX465" fmla="*/ 1090144 w 7467600"/>
              <a:gd name="connsiteY465" fmla="*/ 6256748 h 6858000"/>
              <a:gd name="connsiteX466" fmla="*/ 1095872 w 7467600"/>
              <a:gd name="connsiteY466" fmla="*/ 6271892 h 6858000"/>
              <a:gd name="connsiteX467" fmla="*/ 262785 w 7467600"/>
              <a:gd name="connsiteY467" fmla="*/ 6845450 h 6858000"/>
              <a:gd name="connsiteX468" fmla="*/ 209968 w 7467600"/>
              <a:gd name="connsiteY468" fmla="*/ 6770713 h 6858000"/>
              <a:gd name="connsiteX469" fmla="*/ 873460 w 7467600"/>
              <a:gd name="connsiteY469" fmla="*/ 6253768 h 6858000"/>
              <a:gd name="connsiteX470" fmla="*/ 192686 w 7467600"/>
              <a:gd name="connsiteY470" fmla="*/ 5849257 h 6858000"/>
              <a:gd name="connsiteX471" fmla="*/ 4696 w 7467600"/>
              <a:gd name="connsiteY471" fmla="*/ 5697668 h 6858000"/>
              <a:gd name="connsiteX472" fmla="*/ 0 w 7467600"/>
              <a:gd name="connsiteY472" fmla="*/ 5689984 h 6858000"/>
              <a:gd name="connsiteX473" fmla="*/ 0 w 7467600"/>
              <a:gd name="connsiteY473" fmla="*/ 5513472 h 6858000"/>
              <a:gd name="connsiteX474" fmla="*/ 174101 w 7467600"/>
              <a:gd name="connsiteY474" fmla="*/ 5620277 h 6858000"/>
              <a:gd name="connsiteX475" fmla="*/ 891800 w 7467600"/>
              <a:gd name="connsiteY475" fmla="*/ 6036935 h 6858000"/>
              <a:gd name="connsiteX476" fmla="*/ 1072219 w 7467600"/>
              <a:gd name="connsiteY476" fmla="*/ 6169443 h 6858000"/>
              <a:gd name="connsiteX477" fmla="*/ 1074117 w 7467600"/>
              <a:gd name="connsiteY477" fmla="*/ 6170301 h 6858000"/>
              <a:gd name="connsiteX478" fmla="*/ 1083114 w 7467600"/>
              <a:gd name="connsiteY478" fmla="*/ 6174131 h 6858000"/>
              <a:gd name="connsiteX479" fmla="*/ 1543010 w 7467600"/>
              <a:gd name="connsiteY479" fmla="*/ 6191140 h 6858000"/>
              <a:gd name="connsiteX480" fmla="*/ 1551080 w 7467600"/>
              <a:gd name="connsiteY480" fmla="*/ 6195006 h 6858000"/>
              <a:gd name="connsiteX481" fmla="*/ 2345443 w 7467600"/>
              <a:gd name="connsiteY481" fmla="*/ 5549882 h 6858000"/>
              <a:gd name="connsiteX482" fmla="*/ 1721499 w 7467600"/>
              <a:gd name="connsiteY482" fmla="*/ 5599969 h 6858000"/>
              <a:gd name="connsiteX483" fmla="*/ 767716 w 7467600"/>
              <a:gd name="connsiteY483" fmla="*/ 5472768 h 6858000"/>
              <a:gd name="connsiteX484" fmla="*/ 722147 w 7467600"/>
              <a:gd name="connsiteY484" fmla="*/ 5393091 h 6858000"/>
              <a:gd name="connsiteX485" fmla="*/ 1485552 w 7467600"/>
              <a:gd name="connsiteY485" fmla="*/ 5313202 h 6858000"/>
              <a:gd name="connsiteX486" fmla="*/ 2143004 w 7467600"/>
              <a:gd name="connsiteY486" fmla="*/ 5402420 h 6858000"/>
              <a:gd name="connsiteX487" fmla="*/ 1933391 w 7467600"/>
              <a:gd name="connsiteY487" fmla="*/ 5156971 h 6858000"/>
              <a:gd name="connsiteX488" fmla="*/ 1827118 w 7467600"/>
              <a:gd name="connsiteY488" fmla="*/ 4968410 h 6858000"/>
              <a:gd name="connsiteX489" fmla="*/ 1837349 w 7467600"/>
              <a:gd name="connsiteY489" fmla="*/ 4956357 h 6858000"/>
              <a:gd name="connsiteX490" fmla="*/ 2162835 w 7467600"/>
              <a:gd name="connsiteY490" fmla="*/ 5187853 h 6858000"/>
              <a:gd name="connsiteX491" fmla="*/ 2257167 w 7467600"/>
              <a:gd name="connsiteY491" fmla="*/ 5462123 h 6858000"/>
              <a:gd name="connsiteX492" fmla="*/ 2261598 w 7467600"/>
              <a:gd name="connsiteY492" fmla="*/ 5467998 h 6858000"/>
              <a:gd name="connsiteX493" fmla="*/ 2437177 w 7467600"/>
              <a:gd name="connsiteY493" fmla="*/ 5479608 h 6858000"/>
              <a:gd name="connsiteX494" fmla="*/ 2445247 w 7467600"/>
              <a:gd name="connsiteY494" fmla="*/ 5483476 h 6858000"/>
              <a:gd name="connsiteX495" fmla="*/ 2743626 w 7467600"/>
              <a:gd name="connsiteY495" fmla="*/ 5304819 h 6858000"/>
              <a:gd name="connsiteX496" fmla="*/ 3048102 w 7467600"/>
              <a:gd name="connsiteY496" fmla="*/ 5150595 h 6858000"/>
              <a:gd name="connsiteX497" fmla="*/ 1799414 w 7467600"/>
              <a:gd name="connsiteY497" fmla="*/ 4694732 h 6858000"/>
              <a:gd name="connsiteX498" fmla="*/ 1771735 w 7467600"/>
              <a:gd name="connsiteY498" fmla="*/ 4619929 h 6858000"/>
              <a:gd name="connsiteX499" fmla="*/ 3104273 w 7467600"/>
              <a:gd name="connsiteY499" fmla="*/ 5076159 h 6858000"/>
              <a:gd name="connsiteX500" fmla="*/ 3113245 w 7467600"/>
              <a:gd name="connsiteY500" fmla="*/ 5090705 h 6858000"/>
              <a:gd name="connsiteX501" fmla="*/ 3126294 w 7467600"/>
              <a:gd name="connsiteY501" fmla="*/ 5114400 h 6858000"/>
              <a:gd name="connsiteX502" fmla="*/ 3937433 w 7467600"/>
              <a:gd name="connsiteY502" fmla="*/ 4830473 h 6858000"/>
              <a:gd name="connsiteX503" fmla="*/ 3590475 w 7467600"/>
              <a:gd name="connsiteY503" fmla="*/ 4597974 h 6858000"/>
              <a:gd name="connsiteX504" fmla="*/ 3100264 w 7467600"/>
              <a:gd name="connsiteY504" fmla="*/ 4579845 h 6858000"/>
              <a:gd name="connsiteX505" fmla="*/ 2183576 w 7467600"/>
              <a:gd name="connsiteY505" fmla="*/ 4227150 h 6858000"/>
              <a:gd name="connsiteX506" fmla="*/ 2151029 w 7467600"/>
              <a:gd name="connsiteY506" fmla="*/ 4146947 h 6858000"/>
              <a:gd name="connsiteX507" fmla="*/ 3563434 w 7467600"/>
              <a:gd name="connsiteY507" fmla="*/ 4469115 h 6858000"/>
              <a:gd name="connsiteX508" fmla="*/ 3177952 w 7467600"/>
              <a:gd name="connsiteY508" fmla="*/ 3657386 h 6858000"/>
              <a:gd name="connsiteX509" fmla="*/ 3189263 w 7467600"/>
              <a:gd name="connsiteY509" fmla="*/ 3625726 h 6858000"/>
              <a:gd name="connsiteX510" fmla="*/ 3560912 w 7467600"/>
              <a:gd name="connsiteY510" fmla="*/ 4079863 h 6858000"/>
              <a:gd name="connsiteX511" fmla="*/ 3626636 w 7467600"/>
              <a:gd name="connsiteY511" fmla="*/ 4512230 h 6858000"/>
              <a:gd name="connsiteX512" fmla="*/ 3653088 w 7467600"/>
              <a:gd name="connsiteY512" fmla="*/ 4521417 h 6858000"/>
              <a:gd name="connsiteX513" fmla="*/ 3988128 w 7467600"/>
              <a:gd name="connsiteY513" fmla="*/ 4817267 h 6858000"/>
              <a:gd name="connsiteX514" fmla="*/ 4830582 w 7467600"/>
              <a:gd name="connsiteY514" fmla="*/ 4676000 h 6858000"/>
              <a:gd name="connsiteX515" fmla="*/ 4830100 w 7467600"/>
              <a:gd name="connsiteY515" fmla="*/ 4675554 h 6858000"/>
              <a:gd name="connsiteX516" fmla="*/ 4036318 w 7467600"/>
              <a:gd name="connsiteY516" fmla="*/ 4147013 h 6858000"/>
              <a:gd name="connsiteX517" fmla="*/ 3432098 w 7467600"/>
              <a:gd name="connsiteY517" fmla="*/ 3537312 h 6858000"/>
              <a:gd name="connsiteX518" fmla="*/ 3446761 w 7467600"/>
              <a:gd name="connsiteY518" fmla="*/ 3461278 h 6858000"/>
              <a:gd name="connsiteX519" fmla="*/ 4419733 w 7467600"/>
              <a:gd name="connsiteY519" fmla="*/ 3963555 h 6858000"/>
              <a:gd name="connsiteX520" fmla="*/ 4781371 w 7467600"/>
              <a:gd name="connsiteY520" fmla="*/ 4458604 h 6858000"/>
              <a:gd name="connsiteX521" fmla="*/ 4780440 w 7467600"/>
              <a:gd name="connsiteY521" fmla="*/ 4470290 h 6858000"/>
              <a:gd name="connsiteX522" fmla="*/ 4898954 w 7467600"/>
              <a:gd name="connsiteY522" fmla="*/ 4662092 h 6858000"/>
              <a:gd name="connsiteX523" fmla="*/ 4900699 w 7467600"/>
              <a:gd name="connsiteY523" fmla="*/ 4670867 h 6858000"/>
              <a:gd name="connsiteX524" fmla="*/ 5714511 w 7467600"/>
              <a:gd name="connsiteY524" fmla="*/ 4663483 h 6858000"/>
              <a:gd name="connsiteX525" fmla="*/ 5464793 w 7467600"/>
              <a:gd name="connsiteY525" fmla="*/ 4393556 h 6858000"/>
              <a:gd name="connsiteX526" fmla="*/ 5461897 w 7467600"/>
              <a:gd name="connsiteY526" fmla="*/ 4390879 h 6858000"/>
              <a:gd name="connsiteX527" fmla="*/ 4294126 w 7467600"/>
              <a:gd name="connsiteY527" fmla="*/ 3303048 h 6858000"/>
              <a:gd name="connsiteX528" fmla="*/ 4305321 w 7467600"/>
              <a:gd name="connsiteY528" fmla="*/ 3256953 h 6858000"/>
              <a:gd name="connsiteX529" fmla="*/ 4949299 w 7467600"/>
              <a:gd name="connsiteY529" fmla="*/ 3766336 h 6858000"/>
              <a:gd name="connsiteX530" fmla="*/ 5291452 w 7467600"/>
              <a:gd name="connsiteY530" fmla="*/ 4076801 h 6858000"/>
              <a:gd name="connsiteX531" fmla="*/ 5434998 w 7467600"/>
              <a:gd name="connsiteY531" fmla="*/ 4254100 h 6858000"/>
              <a:gd name="connsiteX532" fmla="*/ 5351015 w 7467600"/>
              <a:gd name="connsiteY532" fmla="*/ 3760989 h 6858000"/>
              <a:gd name="connsiteX533" fmla="*/ 5413780 w 7467600"/>
              <a:gd name="connsiteY533" fmla="*/ 2966265 h 6858000"/>
              <a:gd name="connsiteX534" fmla="*/ 5425627 w 7467600"/>
              <a:gd name="connsiteY534" fmla="*/ 2954192 h 6858000"/>
              <a:gd name="connsiteX535" fmla="*/ 6604735 w 7467600"/>
              <a:gd name="connsiteY535" fmla="*/ 2041381 h 6858000"/>
              <a:gd name="connsiteX536" fmla="*/ 7204487 w 7467600"/>
              <a:gd name="connsiteY536" fmla="*/ 2742112 h 6858000"/>
              <a:gd name="connsiteX537" fmla="*/ 7131592 w 7467600"/>
              <a:gd name="connsiteY537" fmla="*/ 2672096 h 6858000"/>
              <a:gd name="connsiteX538" fmla="*/ 6996344 w 7467600"/>
              <a:gd name="connsiteY538" fmla="*/ 2518310 h 6858000"/>
              <a:gd name="connsiteX539" fmla="*/ 6735495 w 7467600"/>
              <a:gd name="connsiteY539" fmla="*/ 2196890 h 6858000"/>
              <a:gd name="connsiteX540" fmla="*/ 6721901 w 7467600"/>
              <a:gd name="connsiteY540" fmla="*/ 2179274 h 6858000"/>
              <a:gd name="connsiteX541" fmla="*/ 6604735 w 7467600"/>
              <a:gd name="connsiteY541" fmla="*/ 2041381 h 6858000"/>
              <a:gd name="connsiteX542" fmla="*/ 6591670 w 7467600"/>
              <a:gd name="connsiteY542" fmla="*/ 1988277 h 6858000"/>
              <a:gd name="connsiteX543" fmla="*/ 6747349 w 7467600"/>
              <a:gd name="connsiteY543" fmla="*/ 2160069 h 6858000"/>
              <a:gd name="connsiteX544" fmla="*/ 6760943 w 7467600"/>
              <a:gd name="connsiteY544" fmla="*/ 2177686 h 6858000"/>
              <a:gd name="connsiteX545" fmla="*/ 7021065 w 7467600"/>
              <a:gd name="connsiteY545" fmla="*/ 2498102 h 6858000"/>
              <a:gd name="connsiteX546" fmla="*/ 7155223 w 7467600"/>
              <a:gd name="connsiteY546" fmla="*/ 2650386 h 6858000"/>
              <a:gd name="connsiteX547" fmla="*/ 7203167 w 7467600"/>
              <a:gd name="connsiteY547" fmla="*/ 2697288 h 6858000"/>
              <a:gd name="connsiteX548" fmla="*/ 6937703 w 7467600"/>
              <a:gd name="connsiteY548" fmla="*/ 2321981 h 6858000"/>
              <a:gd name="connsiteX549" fmla="*/ 6591670 w 7467600"/>
              <a:gd name="connsiteY549" fmla="*/ 1988277 h 6858000"/>
              <a:gd name="connsiteX550" fmla="*/ 5798671 w 7467600"/>
              <a:gd name="connsiteY550" fmla="*/ 1981601 h 6858000"/>
              <a:gd name="connsiteX551" fmla="*/ 5754709 w 7467600"/>
              <a:gd name="connsiteY551" fmla="*/ 2071454 h 6858000"/>
              <a:gd name="connsiteX552" fmla="*/ 5763044 w 7467600"/>
              <a:gd name="connsiteY552" fmla="*/ 2842206 h 6858000"/>
              <a:gd name="connsiteX553" fmla="*/ 5764974 w 7467600"/>
              <a:gd name="connsiteY553" fmla="*/ 2799609 h 6858000"/>
              <a:gd name="connsiteX554" fmla="*/ 5767665 w 7467600"/>
              <a:gd name="connsiteY554" fmla="*/ 2666409 h 6858000"/>
              <a:gd name="connsiteX555" fmla="*/ 5763055 w 7467600"/>
              <a:gd name="connsiteY555" fmla="*/ 2579705 h 6858000"/>
              <a:gd name="connsiteX556" fmla="*/ 5758079 w 7467600"/>
              <a:gd name="connsiteY556" fmla="*/ 2492508 h 6858000"/>
              <a:gd name="connsiteX557" fmla="*/ 5779325 w 7467600"/>
              <a:gd name="connsiteY557" fmla="*/ 2197069 h 6858000"/>
              <a:gd name="connsiteX558" fmla="*/ 5798671 w 7467600"/>
              <a:gd name="connsiteY558" fmla="*/ 1981601 h 6858000"/>
              <a:gd name="connsiteX559" fmla="*/ 5829202 w 7467600"/>
              <a:gd name="connsiteY559" fmla="*/ 1971679 h 6858000"/>
              <a:gd name="connsiteX560" fmla="*/ 5809558 w 7467600"/>
              <a:gd name="connsiteY560" fmla="*/ 2198043 h 6858000"/>
              <a:gd name="connsiteX561" fmla="*/ 5788653 w 7467600"/>
              <a:gd name="connsiteY561" fmla="*/ 2489430 h 6858000"/>
              <a:gd name="connsiteX562" fmla="*/ 5793439 w 7467600"/>
              <a:gd name="connsiteY562" fmla="*/ 2575235 h 6858000"/>
              <a:gd name="connsiteX563" fmla="*/ 5796837 w 7467600"/>
              <a:gd name="connsiteY563" fmla="*/ 2637633 h 6858000"/>
              <a:gd name="connsiteX564" fmla="*/ 5818614 w 7467600"/>
              <a:gd name="connsiteY564" fmla="*/ 2473055 h 6858000"/>
              <a:gd name="connsiteX565" fmla="*/ 5829202 w 7467600"/>
              <a:gd name="connsiteY565" fmla="*/ 1971679 h 6858000"/>
              <a:gd name="connsiteX566" fmla="*/ 5911389 w 7467600"/>
              <a:gd name="connsiteY566" fmla="*/ 1898371 h 6858000"/>
              <a:gd name="connsiteX567" fmla="*/ 6237627 w 7467600"/>
              <a:gd name="connsiteY567" fmla="*/ 2231921 h 6858000"/>
              <a:gd name="connsiteX568" fmla="*/ 5911389 w 7467600"/>
              <a:gd name="connsiteY568" fmla="*/ 1898371 h 6858000"/>
              <a:gd name="connsiteX569" fmla="*/ 6944437 w 7467600"/>
              <a:gd name="connsiteY569" fmla="*/ 1575402 h 6858000"/>
              <a:gd name="connsiteX570" fmla="*/ 6304730 w 7467600"/>
              <a:gd name="connsiteY570" fmla="*/ 1766654 h 6858000"/>
              <a:gd name="connsiteX571" fmla="*/ 6944437 w 7467600"/>
              <a:gd name="connsiteY571" fmla="*/ 1575402 h 6858000"/>
              <a:gd name="connsiteX572" fmla="*/ 7019523 w 7467600"/>
              <a:gd name="connsiteY572" fmla="*/ 1519450 h 6858000"/>
              <a:gd name="connsiteX573" fmla="*/ 6298091 w 7467600"/>
              <a:gd name="connsiteY573" fmla="*/ 1737122 h 6858000"/>
              <a:gd name="connsiteX574" fmla="*/ 7019523 w 7467600"/>
              <a:gd name="connsiteY574" fmla="*/ 1519450 h 6858000"/>
              <a:gd name="connsiteX575" fmla="*/ 2399523 w 7467600"/>
              <a:gd name="connsiteY575" fmla="*/ 1428234 h 6858000"/>
              <a:gd name="connsiteX576" fmla="*/ 2224982 w 7467600"/>
              <a:gd name="connsiteY576" fmla="*/ 1826201 h 6858000"/>
              <a:gd name="connsiteX577" fmla="*/ 2096099 w 7467600"/>
              <a:gd name="connsiteY577" fmla="*/ 2345900 h 6858000"/>
              <a:gd name="connsiteX578" fmla="*/ 2283317 w 7467600"/>
              <a:gd name="connsiteY578" fmla="*/ 1796925 h 6858000"/>
              <a:gd name="connsiteX579" fmla="*/ 2399523 w 7467600"/>
              <a:gd name="connsiteY579" fmla="*/ 1428234 h 6858000"/>
              <a:gd name="connsiteX580" fmla="*/ 2448558 w 7467600"/>
              <a:gd name="connsiteY580" fmla="*/ 1373435 h 6858000"/>
              <a:gd name="connsiteX581" fmla="*/ 2312521 w 7467600"/>
              <a:gd name="connsiteY581" fmla="*/ 1806140 h 6858000"/>
              <a:gd name="connsiteX582" fmla="*/ 2127533 w 7467600"/>
              <a:gd name="connsiteY582" fmla="*/ 2348380 h 6858000"/>
              <a:gd name="connsiteX583" fmla="*/ 2358080 w 7467600"/>
              <a:gd name="connsiteY583" fmla="*/ 1866134 h 6858000"/>
              <a:gd name="connsiteX584" fmla="*/ 2407436 w 7467600"/>
              <a:gd name="connsiteY584" fmla="*/ 1651070 h 6858000"/>
              <a:gd name="connsiteX585" fmla="*/ 2448558 w 7467600"/>
              <a:gd name="connsiteY585" fmla="*/ 1373435 h 6858000"/>
              <a:gd name="connsiteX586" fmla="*/ 278707 w 7467600"/>
              <a:gd name="connsiteY586" fmla="*/ 1352270 h 6858000"/>
              <a:gd name="connsiteX587" fmla="*/ 321570 w 7467600"/>
              <a:gd name="connsiteY587" fmla="*/ 1861610 h 6858000"/>
              <a:gd name="connsiteX588" fmla="*/ 294281 w 7467600"/>
              <a:gd name="connsiteY588" fmla="*/ 1440658 h 6858000"/>
              <a:gd name="connsiteX589" fmla="*/ 278707 w 7467600"/>
              <a:gd name="connsiteY589" fmla="*/ 1352270 h 6858000"/>
              <a:gd name="connsiteX590" fmla="*/ 1423821 w 7467600"/>
              <a:gd name="connsiteY590" fmla="*/ 1351958 h 6858000"/>
              <a:gd name="connsiteX591" fmla="*/ 1638521 w 7467600"/>
              <a:gd name="connsiteY591" fmla="*/ 1908470 h 6858000"/>
              <a:gd name="connsiteX592" fmla="*/ 1754199 w 7467600"/>
              <a:gd name="connsiteY592" fmla="*/ 2149284 h 6858000"/>
              <a:gd name="connsiteX593" fmla="*/ 1908359 w 7467600"/>
              <a:gd name="connsiteY593" fmla="*/ 2364988 h 6858000"/>
              <a:gd name="connsiteX594" fmla="*/ 1647661 w 7467600"/>
              <a:gd name="connsiteY594" fmla="*/ 1825945 h 6858000"/>
              <a:gd name="connsiteX595" fmla="*/ 1423821 w 7467600"/>
              <a:gd name="connsiteY595" fmla="*/ 1351958 h 6858000"/>
              <a:gd name="connsiteX596" fmla="*/ 1431890 w 7467600"/>
              <a:gd name="connsiteY596" fmla="*/ 1306475 h 6858000"/>
              <a:gd name="connsiteX597" fmla="*/ 1507597 w 7467600"/>
              <a:gd name="connsiteY597" fmla="*/ 1446132 h 6858000"/>
              <a:gd name="connsiteX598" fmla="*/ 1674586 w 7467600"/>
              <a:gd name="connsiteY598" fmla="*/ 1813832 h 6858000"/>
              <a:gd name="connsiteX599" fmla="*/ 1815950 w 7467600"/>
              <a:gd name="connsiteY599" fmla="*/ 2128564 h 6858000"/>
              <a:gd name="connsiteX600" fmla="*/ 1984242 w 7467600"/>
              <a:gd name="connsiteY600" fmla="*/ 2430829 h 6858000"/>
              <a:gd name="connsiteX601" fmla="*/ 2014023 w 7467600"/>
              <a:gd name="connsiteY601" fmla="*/ 2450995 h 6858000"/>
              <a:gd name="connsiteX602" fmla="*/ 1747337 w 7467600"/>
              <a:gd name="connsiteY602" fmla="*/ 1855264 h 6858000"/>
              <a:gd name="connsiteX603" fmla="*/ 1533749 w 7467600"/>
              <a:gd name="connsiteY603" fmla="*/ 1478656 h 6858000"/>
              <a:gd name="connsiteX604" fmla="*/ 1431890 w 7467600"/>
              <a:gd name="connsiteY604" fmla="*/ 1306475 h 6858000"/>
              <a:gd name="connsiteX605" fmla="*/ 5052692 w 7467600"/>
              <a:gd name="connsiteY605" fmla="*/ 1292994 h 6858000"/>
              <a:gd name="connsiteX606" fmla="*/ 5200661 w 7467600"/>
              <a:gd name="connsiteY606" fmla="*/ 1635186 h 6858000"/>
              <a:gd name="connsiteX607" fmla="*/ 5297138 w 7467600"/>
              <a:gd name="connsiteY607" fmla="*/ 1906351 h 6858000"/>
              <a:gd name="connsiteX608" fmla="*/ 5052692 w 7467600"/>
              <a:gd name="connsiteY608" fmla="*/ 1292994 h 6858000"/>
              <a:gd name="connsiteX609" fmla="*/ 5009948 w 7467600"/>
              <a:gd name="connsiteY609" fmla="*/ 1273619 h 6858000"/>
              <a:gd name="connsiteX610" fmla="*/ 5121777 w 7467600"/>
              <a:gd name="connsiteY610" fmla="*/ 1654213 h 6858000"/>
              <a:gd name="connsiteX611" fmla="*/ 5293545 w 7467600"/>
              <a:gd name="connsiteY611" fmla="*/ 2072247 h 6858000"/>
              <a:gd name="connsiteX612" fmla="*/ 5294042 w 7467600"/>
              <a:gd name="connsiteY612" fmla="*/ 2065019 h 6858000"/>
              <a:gd name="connsiteX613" fmla="*/ 5171936 w 7467600"/>
              <a:gd name="connsiteY613" fmla="*/ 1647613 h 6858000"/>
              <a:gd name="connsiteX614" fmla="*/ 5009948 w 7467600"/>
              <a:gd name="connsiteY614" fmla="*/ 1273619 h 6858000"/>
              <a:gd name="connsiteX615" fmla="*/ 655236 w 7467600"/>
              <a:gd name="connsiteY615" fmla="*/ 1268632 h 6858000"/>
              <a:gd name="connsiteX616" fmla="*/ 839521 w 7467600"/>
              <a:gd name="connsiteY616" fmla="*/ 1685315 h 6858000"/>
              <a:gd name="connsiteX617" fmla="*/ 1109416 w 7467600"/>
              <a:gd name="connsiteY617" fmla="*/ 2061663 h 6858000"/>
              <a:gd name="connsiteX618" fmla="*/ 1298300 w 7467600"/>
              <a:gd name="connsiteY618" fmla="*/ 2247742 h 6858000"/>
              <a:gd name="connsiteX619" fmla="*/ 1125871 w 7467600"/>
              <a:gd name="connsiteY619" fmla="*/ 1989513 h 6858000"/>
              <a:gd name="connsiteX620" fmla="*/ 981574 w 7467600"/>
              <a:gd name="connsiteY620" fmla="*/ 1783157 h 6858000"/>
              <a:gd name="connsiteX621" fmla="*/ 922198 w 7467600"/>
              <a:gd name="connsiteY621" fmla="*/ 1677437 h 6858000"/>
              <a:gd name="connsiteX622" fmla="*/ 869293 w 7467600"/>
              <a:gd name="connsiteY622" fmla="*/ 1583214 h 6858000"/>
              <a:gd name="connsiteX623" fmla="*/ 751431 w 7467600"/>
              <a:gd name="connsiteY623" fmla="*/ 1405731 h 6858000"/>
              <a:gd name="connsiteX624" fmla="*/ 655236 w 7467600"/>
              <a:gd name="connsiteY624" fmla="*/ 1268632 h 6858000"/>
              <a:gd name="connsiteX625" fmla="*/ 6516292 w 7467600"/>
              <a:gd name="connsiteY625" fmla="*/ 1263064 h 6858000"/>
              <a:gd name="connsiteX626" fmla="*/ 5736320 w 7467600"/>
              <a:gd name="connsiteY626" fmla="*/ 1501803 h 6858000"/>
              <a:gd name="connsiteX627" fmla="*/ 6516292 w 7467600"/>
              <a:gd name="connsiteY627" fmla="*/ 1263064 h 6858000"/>
              <a:gd name="connsiteX628" fmla="*/ 291466 w 7467600"/>
              <a:gd name="connsiteY628" fmla="*/ 1250369 h 6858000"/>
              <a:gd name="connsiteX629" fmla="*/ 323180 w 7467600"/>
              <a:gd name="connsiteY629" fmla="*/ 1435283 h 6858000"/>
              <a:gd name="connsiteX630" fmla="*/ 349381 w 7467600"/>
              <a:gd name="connsiteY630" fmla="*/ 1875041 h 6858000"/>
              <a:gd name="connsiteX631" fmla="*/ 374363 w 7467600"/>
              <a:gd name="connsiteY631" fmla="*/ 1506494 h 6858000"/>
              <a:gd name="connsiteX632" fmla="*/ 302168 w 7467600"/>
              <a:gd name="connsiteY632" fmla="*/ 1274495 h 6858000"/>
              <a:gd name="connsiteX633" fmla="*/ 291466 w 7467600"/>
              <a:gd name="connsiteY633" fmla="*/ 1250369 h 6858000"/>
              <a:gd name="connsiteX634" fmla="*/ 678222 w 7467600"/>
              <a:gd name="connsiteY634" fmla="*/ 1248670 h 6858000"/>
              <a:gd name="connsiteX635" fmla="*/ 775536 w 7467600"/>
              <a:gd name="connsiteY635" fmla="*/ 1388015 h 6858000"/>
              <a:gd name="connsiteX636" fmla="*/ 894529 w 7467600"/>
              <a:gd name="connsiteY636" fmla="*/ 1567739 h 6858000"/>
              <a:gd name="connsiteX637" fmla="*/ 948000 w 7467600"/>
              <a:gd name="connsiteY637" fmla="*/ 1663088 h 6858000"/>
              <a:gd name="connsiteX638" fmla="*/ 1006812 w 7467600"/>
              <a:gd name="connsiteY638" fmla="*/ 1767683 h 6858000"/>
              <a:gd name="connsiteX639" fmla="*/ 1149133 w 7467600"/>
              <a:gd name="connsiteY639" fmla="*/ 1971513 h 6858000"/>
              <a:gd name="connsiteX640" fmla="*/ 1333952 w 7467600"/>
              <a:gd name="connsiteY640" fmla="*/ 2251620 h 6858000"/>
              <a:gd name="connsiteX641" fmla="*/ 1337329 w 7467600"/>
              <a:gd name="connsiteY641" fmla="*/ 2258350 h 6858000"/>
              <a:gd name="connsiteX642" fmla="*/ 1014726 w 7467600"/>
              <a:gd name="connsiteY642" fmla="*/ 1615556 h 6858000"/>
              <a:gd name="connsiteX643" fmla="*/ 678222 w 7467600"/>
              <a:gd name="connsiteY643" fmla="*/ 1248670 h 6858000"/>
              <a:gd name="connsiteX644" fmla="*/ 6691602 w 7467600"/>
              <a:gd name="connsiteY644" fmla="*/ 1140573 h 6858000"/>
              <a:gd name="connsiteX645" fmla="*/ 6571100 w 7467600"/>
              <a:gd name="connsiteY645" fmla="*/ 1183662 h 6858000"/>
              <a:gd name="connsiteX646" fmla="*/ 6241687 w 7467600"/>
              <a:gd name="connsiteY646" fmla="*/ 1257600 h 6858000"/>
              <a:gd name="connsiteX647" fmla="*/ 5693009 w 7467600"/>
              <a:gd name="connsiteY647" fmla="*/ 1478256 h 6858000"/>
              <a:gd name="connsiteX648" fmla="*/ 6548420 w 7467600"/>
              <a:gd name="connsiteY648" fmla="*/ 1214599 h 6858000"/>
              <a:gd name="connsiteX649" fmla="*/ 6605473 w 7467600"/>
              <a:gd name="connsiteY649" fmla="*/ 1184686 h 6858000"/>
              <a:gd name="connsiteX650" fmla="*/ 6691602 w 7467600"/>
              <a:gd name="connsiteY650" fmla="*/ 1140573 h 6858000"/>
              <a:gd name="connsiteX651" fmla="*/ 4002475 w 7467600"/>
              <a:gd name="connsiteY651" fmla="*/ 1037802 h 6858000"/>
              <a:gd name="connsiteX652" fmla="*/ 4000324 w 7467600"/>
              <a:gd name="connsiteY652" fmla="*/ 1039362 h 6858000"/>
              <a:gd name="connsiteX653" fmla="*/ 4002862 w 7467600"/>
              <a:gd name="connsiteY653" fmla="*/ 1042866 h 6858000"/>
              <a:gd name="connsiteX654" fmla="*/ 4002475 w 7467600"/>
              <a:gd name="connsiteY654" fmla="*/ 1037802 h 6858000"/>
              <a:gd name="connsiteX655" fmla="*/ 506322 w 7467600"/>
              <a:gd name="connsiteY655" fmla="*/ 1020997 h 6858000"/>
              <a:gd name="connsiteX656" fmla="*/ 533068 w 7467600"/>
              <a:gd name="connsiteY656" fmla="*/ 1029409 h 6858000"/>
              <a:gd name="connsiteX657" fmla="*/ 1232525 w 7467600"/>
              <a:gd name="connsiteY657" fmla="*/ 1804675 h 6858000"/>
              <a:gd name="connsiteX658" fmla="*/ 1388858 w 7467600"/>
              <a:gd name="connsiteY658" fmla="*/ 2368011 h 6858000"/>
              <a:gd name="connsiteX659" fmla="*/ 1384098 w 7467600"/>
              <a:gd name="connsiteY659" fmla="*/ 2378125 h 6858000"/>
              <a:gd name="connsiteX660" fmla="*/ 1425393 w 7467600"/>
              <a:gd name="connsiteY660" fmla="*/ 2589124 h 6858000"/>
              <a:gd name="connsiteX661" fmla="*/ 1424001 w 7467600"/>
              <a:gd name="connsiteY661" fmla="*/ 2597541 h 6858000"/>
              <a:gd name="connsiteX662" fmla="*/ 2152729 w 7467600"/>
              <a:gd name="connsiteY662" fmla="*/ 2864487 h 6858000"/>
              <a:gd name="connsiteX663" fmla="*/ 2020609 w 7467600"/>
              <a:gd name="connsiteY663" fmla="*/ 2539671 h 6858000"/>
              <a:gd name="connsiteX664" fmla="*/ 2018920 w 7467600"/>
              <a:gd name="connsiteY664" fmla="*/ 2536309 h 6858000"/>
              <a:gd name="connsiteX665" fmla="*/ 1342441 w 7467600"/>
              <a:gd name="connsiteY665" fmla="*/ 1173017 h 6858000"/>
              <a:gd name="connsiteX666" fmla="*/ 1367925 w 7467600"/>
              <a:gd name="connsiteY666" fmla="*/ 1135648 h 6858000"/>
              <a:gd name="connsiteX667" fmla="*/ 1771401 w 7467600"/>
              <a:gd name="connsiteY667" fmla="*/ 1806673 h 6858000"/>
              <a:gd name="connsiteX668" fmla="*/ 1972385 w 7467600"/>
              <a:gd name="connsiteY668" fmla="*/ 2198735 h 6858000"/>
              <a:gd name="connsiteX669" fmla="*/ 2040892 w 7467600"/>
              <a:gd name="connsiteY669" fmla="*/ 2405205 h 6858000"/>
              <a:gd name="connsiteX670" fmla="*/ 2131689 w 7467600"/>
              <a:gd name="connsiteY670" fmla="*/ 1936926 h 6858000"/>
              <a:gd name="connsiteX671" fmla="*/ 2454820 w 7467600"/>
              <a:gd name="connsiteY671" fmla="*/ 1248808 h 6858000"/>
              <a:gd name="connsiteX672" fmla="*/ 2492512 w 7467600"/>
              <a:gd name="connsiteY672" fmla="*/ 1302920 h 6858000"/>
              <a:gd name="connsiteX673" fmla="*/ 2081216 w 7467600"/>
              <a:gd name="connsiteY673" fmla="*/ 2527513 h 6858000"/>
              <a:gd name="connsiteX674" fmla="*/ 2081211 w 7467600"/>
              <a:gd name="connsiteY674" fmla="*/ 2528916 h 6858000"/>
              <a:gd name="connsiteX675" fmla="*/ 2199067 w 7467600"/>
              <a:gd name="connsiteY675" fmla="*/ 2884061 h 6858000"/>
              <a:gd name="connsiteX676" fmla="*/ 3192586 w 7467600"/>
              <a:gd name="connsiteY676" fmla="*/ 3411496 h 6858000"/>
              <a:gd name="connsiteX677" fmla="*/ 3182620 w 7467600"/>
              <a:gd name="connsiteY677" fmla="*/ 3483279 h 6858000"/>
              <a:gd name="connsiteX678" fmla="*/ 2435119 w 7467600"/>
              <a:gd name="connsiteY678" fmla="*/ 3080173 h 6858000"/>
              <a:gd name="connsiteX679" fmla="*/ 2410152 w 7467600"/>
              <a:gd name="connsiteY679" fmla="*/ 3063751 h 6858000"/>
              <a:gd name="connsiteX680" fmla="*/ 2408099 w 7467600"/>
              <a:gd name="connsiteY680" fmla="*/ 3064403 h 6858000"/>
              <a:gd name="connsiteX681" fmla="*/ 2407218 w 7467600"/>
              <a:gd name="connsiteY681" fmla="*/ 3070324 h 6858000"/>
              <a:gd name="connsiteX682" fmla="*/ 2380138 w 7467600"/>
              <a:gd name="connsiteY682" fmla="*/ 3099341 h 6858000"/>
              <a:gd name="connsiteX683" fmla="*/ 1765923 w 7467600"/>
              <a:gd name="connsiteY683" fmla="*/ 3581043 h 6858000"/>
              <a:gd name="connsiteX684" fmla="*/ 1702258 w 7467600"/>
              <a:gd name="connsiteY684" fmla="*/ 3612286 h 6858000"/>
              <a:gd name="connsiteX685" fmla="*/ 1538370 w 7467600"/>
              <a:gd name="connsiteY685" fmla="*/ 3811804 h 6858000"/>
              <a:gd name="connsiteX686" fmla="*/ 542867 w 7467600"/>
              <a:gd name="connsiteY686" fmla="*/ 4944092 h 6858000"/>
              <a:gd name="connsiteX687" fmla="*/ 515800 w 7467600"/>
              <a:gd name="connsiteY687" fmla="*/ 4862180 h 6858000"/>
              <a:gd name="connsiteX688" fmla="*/ 909145 w 7467600"/>
              <a:gd name="connsiteY688" fmla="*/ 4199225 h 6858000"/>
              <a:gd name="connsiteX689" fmla="*/ 1214067 w 7467600"/>
              <a:gd name="connsiteY689" fmla="*/ 3908561 h 6858000"/>
              <a:gd name="connsiteX690" fmla="*/ 640967 w 7467600"/>
              <a:gd name="connsiteY690" fmla="*/ 4105601 h 6858000"/>
              <a:gd name="connsiteX691" fmla="*/ 112563 w 7467600"/>
              <a:gd name="connsiteY691" fmla="*/ 4396952 h 6858000"/>
              <a:gd name="connsiteX692" fmla="*/ 0 w 7467600"/>
              <a:gd name="connsiteY692" fmla="*/ 4466006 h 6858000"/>
              <a:gd name="connsiteX693" fmla="*/ 0 w 7467600"/>
              <a:gd name="connsiteY693" fmla="*/ 4233763 h 6858000"/>
              <a:gd name="connsiteX694" fmla="*/ 36881 w 7467600"/>
              <a:gd name="connsiteY694" fmla="*/ 4200118 h 6858000"/>
              <a:gd name="connsiteX695" fmla="*/ 910534 w 7467600"/>
              <a:gd name="connsiteY695" fmla="*/ 3629753 h 6858000"/>
              <a:gd name="connsiteX696" fmla="*/ 1578717 w 7467600"/>
              <a:gd name="connsiteY696" fmla="*/ 3575982 h 6858000"/>
              <a:gd name="connsiteX697" fmla="*/ 2338780 w 7467600"/>
              <a:gd name="connsiteY697" fmla="*/ 3033725 h 6858000"/>
              <a:gd name="connsiteX698" fmla="*/ 1807991 w 7467600"/>
              <a:gd name="connsiteY698" fmla="*/ 2807184 h 6858000"/>
              <a:gd name="connsiteX699" fmla="*/ 1416358 w 7467600"/>
              <a:gd name="connsiteY699" fmla="*/ 3112571 h 6858000"/>
              <a:gd name="connsiteX700" fmla="*/ 939066 w 7467600"/>
              <a:gd name="connsiteY700" fmla="*/ 3378798 h 6858000"/>
              <a:gd name="connsiteX701" fmla="*/ 115099 w 7467600"/>
              <a:gd name="connsiteY701" fmla="*/ 3607650 h 6858000"/>
              <a:gd name="connsiteX702" fmla="*/ 97284 w 7467600"/>
              <a:gd name="connsiteY702" fmla="*/ 3520393 h 6858000"/>
              <a:gd name="connsiteX703" fmla="*/ 922050 w 7467600"/>
              <a:gd name="connsiteY703" fmla="*/ 3074867 h 6858000"/>
              <a:gd name="connsiteX704" fmla="*/ 1405265 w 7467600"/>
              <a:gd name="connsiteY704" fmla="*/ 3016319 h 6858000"/>
              <a:gd name="connsiteX705" fmla="*/ 1407512 w 7467600"/>
              <a:gd name="connsiteY705" fmla="*/ 3018001 h 6858000"/>
              <a:gd name="connsiteX706" fmla="*/ 1726266 w 7467600"/>
              <a:gd name="connsiteY706" fmla="*/ 2777274 h 6858000"/>
              <a:gd name="connsiteX707" fmla="*/ 625390 w 7467600"/>
              <a:gd name="connsiteY707" fmla="*/ 2514541 h 6858000"/>
              <a:gd name="connsiteX708" fmla="*/ 619799 w 7467600"/>
              <a:gd name="connsiteY708" fmla="*/ 2527180 h 6858000"/>
              <a:gd name="connsiteX709" fmla="*/ 310030 w 7467600"/>
              <a:gd name="connsiteY709" fmla="*/ 2771818 h 6858000"/>
              <a:gd name="connsiteX710" fmla="*/ 173877 w 7467600"/>
              <a:gd name="connsiteY710" fmla="*/ 2937056 h 6858000"/>
              <a:gd name="connsiteX711" fmla="*/ 77889 w 7467600"/>
              <a:gd name="connsiteY711" fmla="*/ 3138440 h 6858000"/>
              <a:gd name="connsiteX712" fmla="*/ 0 w 7467600"/>
              <a:gd name="connsiteY712" fmla="*/ 3271395 h 6858000"/>
              <a:gd name="connsiteX713" fmla="*/ 0 w 7467600"/>
              <a:gd name="connsiteY713" fmla="*/ 3153002 h 6858000"/>
              <a:gd name="connsiteX714" fmla="*/ 2386 w 7467600"/>
              <a:gd name="connsiteY714" fmla="*/ 3149203 h 6858000"/>
              <a:gd name="connsiteX715" fmla="*/ 89753 w 7467600"/>
              <a:gd name="connsiteY715" fmla="*/ 2987702 h 6858000"/>
              <a:gd name="connsiteX716" fmla="*/ 76869 w 7467600"/>
              <a:gd name="connsiteY716" fmla="*/ 3005404 h 6858000"/>
              <a:gd name="connsiteX717" fmla="*/ 32049 w 7467600"/>
              <a:gd name="connsiteY717" fmla="*/ 3065814 h 6858000"/>
              <a:gd name="connsiteX718" fmla="*/ 0 w 7467600"/>
              <a:gd name="connsiteY718" fmla="*/ 3108744 h 6858000"/>
              <a:gd name="connsiteX719" fmla="*/ 0 w 7467600"/>
              <a:gd name="connsiteY719" fmla="*/ 3058059 h 6858000"/>
              <a:gd name="connsiteX720" fmla="*/ 7610 w 7467600"/>
              <a:gd name="connsiteY720" fmla="*/ 3047889 h 6858000"/>
              <a:gd name="connsiteX721" fmla="*/ 52419 w 7467600"/>
              <a:gd name="connsiteY721" fmla="*/ 2987479 h 6858000"/>
              <a:gd name="connsiteX722" fmla="*/ 59142 w 7467600"/>
              <a:gd name="connsiteY722" fmla="*/ 2978488 h 6858000"/>
              <a:gd name="connsiteX723" fmla="*/ 0 w 7467600"/>
              <a:gd name="connsiteY723" fmla="*/ 3015334 h 6858000"/>
              <a:gd name="connsiteX724" fmla="*/ 0 w 7467600"/>
              <a:gd name="connsiteY724" fmla="*/ 2914286 h 6858000"/>
              <a:gd name="connsiteX725" fmla="*/ 36383 w 7467600"/>
              <a:gd name="connsiteY725" fmla="*/ 2901128 h 6858000"/>
              <a:gd name="connsiteX726" fmla="*/ 156329 w 7467600"/>
              <a:gd name="connsiteY726" fmla="*/ 2840533 h 6858000"/>
              <a:gd name="connsiteX727" fmla="*/ 358355 w 7467600"/>
              <a:gd name="connsiteY727" fmla="*/ 2620471 h 6858000"/>
              <a:gd name="connsiteX728" fmla="*/ 510577 w 7467600"/>
              <a:gd name="connsiteY728" fmla="*/ 2501244 h 6858000"/>
              <a:gd name="connsiteX729" fmla="*/ 211967 w 7467600"/>
              <a:gd name="connsiteY729" fmla="*/ 2479171 h 6858000"/>
              <a:gd name="connsiteX730" fmla="*/ 0 w 7467600"/>
              <a:gd name="connsiteY730" fmla="*/ 2476398 h 6858000"/>
              <a:gd name="connsiteX731" fmla="*/ 0 w 7467600"/>
              <a:gd name="connsiteY731" fmla="*/ 2389189 h 6858000"/>
              <a:gd name="connsiteX732" fmla="*/ 103062 w 7467600"/>
              <a:gd name="connsiteY732" fmla="*/ 2389518 h 6858000"/>
              <a:gd name="connsiteX733" fmla="*/ 510734 w 7467600"/>
              <a:gd name="connsiteY733" fmla="*/ 2416201 h 6858000"/>
              <a:gd name="connsiteX734" fmla="*/ 279257 w 7467600"/>
              <a:gd name="connsiteY734" fmla="*/ 2092102 h 6858000"/>
              <a:gd name="connsiteX735" fmla="*/ 65265 w 7467600"/>
              <a:gd name="connsiteY735" fmla="*/ 2006049 h 6858000"/>
              <a:gd name="connsiteX736" fmla="*/ 0 w 7467600"/>
              <a:gd name="connsiteY736" fmla="*/ 1982532 h 6858000"/>
              <a:gd name="connsiteX737" fmla="*/ 0 w 7467600"/>
              <a:gd name="connsiteY737" fmla="*/ 1912789 h 6858000"/>
              <a:gd name="connsiteX738" fmla="*/ 97460 w 7467600"/>
              <a:gd name="connsiteY738" fmla="*/ 1953725 h 6858000"/>
              <a:gd name="connsiteX739" fmla="*/ 221272 w 7467600"/>
              <a:gd name="connsiteY739" fmla="*/ 1980766 h 6858000"/>
              <a:gd name="connsiteX740" fmla="*/ 116765 w 7467600"/>
              <a:gd name="connsiteY740" fmla="*/ 1911033 h 6858000"/>
              <a:gd name="connsiteX741" fmla="*/ 16405 w 7467600"/>
              <a:gd name="connsiteY741" fmla="*/ 1803412 h 6858000"/>
              <a:gd name="connsiteX742" fmla="*/ 0 w 7467600"/>
              <a:gd name="connsiteY742" fmla="*/ 1784777 h 6858000"/>
              <a:gd name="connsiteX743" fmla="*/ 0 w 7467600"/>
              <a:gd name="connsiteY743" fmla="*/ 1740082 h 6858000"/>
              <a:gd name="connsiteX744" fmla="*/ 39394 w 7467600"/>
              <a:gd name="connsiteY744" fmla="*/ 1784856 h 6858000"/>
              <a:gd name="connsiteX745" fmla="*/ 135813 w 7467600"/>
              <a:gd name="connsiteY745" fmla="*/ 1888838 h 6858000"/>
              <a:gd name="connsiteX746" fmla="*/ 242575 w 7467600"/>
              <a:gd name="connsiteY746" fmla="*/ 1958841 h 6858000"/>
              <a:gd name="connsiteX747" fmla="*/ 82197 w 7467600"/>
              <a:gd name="connsiteY747" fmla="*/ 1754826 h 6858000"/>
              <a:gd name="connsiteX748" fmla="*/ 0 w 7467600"/>
              <a:gd name="connsiteY748" fmla="*/ 1679650 h 6858000"/>
              <a:gd name="connsiteX749" fmla="*/ 0 w 7467600"/>
              <a:gd name="connsiteY749" fmla="*/ 1602463 h 6858000"/>
              <a:gd name="connsiteX750" fmla="*/ 84689 w 7467600"/>
              <a:gd name="connsiteY750" fmla="*/ 1677442 h 6858000"/>
              <a:gd name="connsiteX751" fmla="*/ 298437 w 7467600"/>
              <a:gd name="connsiteY751" fmla="*/ 1968019 h 6858000"/>
              <a:gd name="connsiteX752" fmla="*/ 227269 w 7467600"/>
              <a:gd name="connsiteY752" fmla="*/ 1114064 h 6858000"/>
              <a:gd name="connsiteX753" fmla="*/ 248003 w 7467600"/>
              <a:gd name="connsiteY753" fmla="*/ 1089613 h 6858000"/>
              <a:gd name="connsiteX754" fmla="*/ 427020 w 7467600"/>
              <a:gd name="connsiteY754" fmla="*/ 1619803 h 6858000"/>
              <a:gd name="connsiteX755" fmla="*/ 340345 w 7467600"/>
              <a:gd name="connsiteY755" fmla="*/ 2027739 h 6858000"/>
              <a:gd name="connsiteX756" fmla="*/ 360865 w 7467600"/>
              <a:gd name="connsiteY756" fmla="*/ 2044827 h 6858000"/>
              <a:gd name="connsiteX757" fmla="*/ 560414 w 7467600"/>
              <a:gd name="connsiteY757" fmla="*/ 2421457 h 6858000"/>
              <a:gd name="connsiteX758" fmla="*/ 1359703 w 7467600"/>
              <a:gd name="connsiteY758" fmla="*/ 2578554 h 6858000"/>
              <a:gd name="connsiteX759" fmla="*/ 1359422 w 7467600"/>
              <a:gd name="connsiteY759" fmla="*/ 2577994 h 6858000"/>
              <a:gd name="connsiteX760" fmla="*/ 828701 w 7467600"/>
              <a:gd name="connsiteY760" fmla="*/ 1839520 h 6858000"/>
              <a:gd name="connsiteX761" fmla="*/ 494427 w 7467600"/>
              <a:gd name="connsiteY761" fmla="*/ 1092333 h 6858000"/>
              <a:gd name="connsiteX762" fmla="*/ 506322 w 7467600"/>
              <a:gd name="connsiteY762" fmla="*/ 1020997 h 6858000"/>
              <a:gd name="connsiteX763" fmla="*/ 4570198 w 7467600"/>
              <a:gd name="connsiteY763" fmla="*/ 978081 h 6858000"/>
              <a:gd name="connsiteX764" fmla="*/ 4523691 w 7467600"/>
              <a:gd name="connsiteY764" fmla="*/ 1127776 h 6858000"/>
              <a:gd name="connsiteX765" fmla="*/ 4509875 w 7467600"/>
              <a:gd name="connsiteY765" fmla="*/ 1167552 h 6858000"/>
              <a:gd name="connsiteX766" fmla="*/ 4478168 w 7467600"/>
              <a:gd name="connsiteY766" fmla="*/ 1260735 h 6858000"/>
              <a:gd name="connsiteX767" fmla="*/ 4409309 w 7467600"/>
              <a:gd name="connsiteY767" fmla="*/ 1666996 h 6858000"/>
              <a:gd name="connsiteX768" fmla="*/ 4370031 w 7467600"/>
              <a:gd name="connsiteY768" fmla="*/ 1955666 h 6858000"/>
              <a:gd name="connsiteX769" fmla="*/ 4570198 w 7467600"/>
              <a:gd name="connsiteY769" fmla="*/ 978081 h 6858000"/>
              <a:gd name="connsiteX770" fmla="*/ 4557898 w 7467600"/>
              <a:gd name="connsiteY770" fmla="*/ 900011 h 6858000"/>
              <a:gd name="connsiteX771" fmla="*/ 4344840 w 7467600"/>
              <a:gd name="connsiteY771" fmla="*/ 1922038 h 6858000"/>
              <a:gd name="connsiteX772" fmla="*/ 4378710 w 7467600"/>
              <a:gd name="connsiteY772" fmla="*/ 1665516 h 6858000"/>
              <a:gd name="connsiteX773" fmla="*/ 4448798 w 7467600"/>
              <a:gd name="connsiteY773" fmla="*/ 1253024 h 6858000"/>
              <a:gd name="connsiteX774" fmla="*/ 4480315 w 7467600"/>
              <a:gd name="connsiteY774" fmla="*/ 1158454 h 6858000"/>
              <a:gd name="connsiteX775" fmla="*/ 4494133 w 7467600"/>
              <a:gd name="connsiteY775" fmla="*/ 1118676 h 6858000"/>
              <a:gd name="connsiteX776" fmla="*/ 4557898 w 7467600"/>
              <a:gd name="connsiteY776" fmla="*/ 900011 h 6858000"/>
              <a:gd name="connsiteX777" fmla="*/ 5870151 w 7467600"/>
              <a:gd name="connsiteY777" fmla="*/ 898890 h 6858000"/>
              <a:gd name="connsiteX778" fmla="*/ 5861335 w 7467600"/>
              <a:gd name="connsiteY778" fmla="*/ 899177 h 6858000"/>
              <a:gd name="connsiteX779" fmla="*/ 5843702 w 7467600"/>
              <a:gd name="connsiteY779" fmla="*/ 899748 h 6858000"/>
              <a:gd name="connsiteX780" fmla="*/ 5651107 w 7467600"/>
              <a:gd name="connsiteY780" fmla="*/ 920306 h 6858000"/>
              <a:gd name="connsiteX781" fmla="*/ 5459407 w 7467600"/>
              <a:gd name="connsiteY781" fmla="*/ 940975 h 6858000"/>
              <a:gd name="connsiteX782" fmla="*/ 5374846 w 7467600"/>
              <a:gd name="connsiteY782" fmla="*/ 941988 h 6858000"/>
              <a:gd name="connsiteX783" fmla="*/ 5256105 w 7467600"/>
              <a:gd name="connsiteY783" fmla="*/ 945632 h 6858000"/>
              <a:gd name="connsiteX784" fmla="*/ 5107071 w 7467600"/>
              <a:gd name="connsiteY784" fmla="*/ 969720 h 6858000"/>
              <a:gd name="connsiteX785" fmla="*/ 4998681 w 7467600"/>
              <a:gd name="connsiteY785" fmla="*/ 988771 h 6858000"/>
              <a:gd name="connsiteX786" fmla="*/ 5870151 w 7467600"/>
              <a:gd name="connsiteY786" fmla="*/ 898890 h 6858000"/>
              <a:gd name="connsiteX787" fmla="*/ 5504425 w 7467600"/>
              <a:gd name="connsiteY787" fmla="*/ 848067 h 6858000"/>
              <a:gd name="connsiteX788" fmla="*/ 4968849 w 7467600"/>
              <a:gd name="connsiteY788" fmla="*/ 962318 h 6858000"/>
              <a:gd name="connsiteX789" fmla="*/ 5104039 w 7467600"/>
              <a:gd name="connsiteY789" fmla="*/ 940634 h 6858000"/>
              <a:gd name="connsiteX790" fmla="*/ 5256311 w 7467600"/>
              <a:gd name="connsiteY790" fmla="*/ 916490 h 6858000"/>
              <a:gd name="connsiteX791" fmla="*/ 5377381 w 7467600"/>
              <a:gd name="connsiteY791" fmla="*/ 912671 h 6858000"/>
              <a:gd name="connsiteX792" fmla="*/ 5460148 w 7467600"/>
              <a:gd name="connsiteY792" fmla="*/ 911442 h 6858000"/>
              <a:gd name="connsiteX793" fmla="*/ 5648971 w 7467600"/>
              <a:gd name="connsiteY793" fmla="*/ 891331 h 6858000"/>
              <a:gd name="connsiteX794" fmla="*/ 5844807 w 7467600"/>
              <a:gd name="connsiteY794" fmla="*/ 870718 h 6858000"/>
              <a:gd name="connsiteX795" fmla="*/ 5862975 w 7467600"/>
              <a:gd name="connsiteY795" fmla="*/ 869756 h 6858000"/>
              <a:gd name="connsiteX796" fmla="*/ 5920887 w 7467600"/>
              <a:gd name="connsiteY796" fmla="*/ 865929 h 6858000"/>
              <a:gd name="connsiteX797" fmla="*/ 5504425 w 7467600"/>
              <a:gd name="connsiteY797" fmla="*/ 848067 h 6858000"/>
              <a:gd name="connsiteX798" fmla="*/ 3607114 w 7467600"/>
              <a:gd name="connsiteY798" fmla="*/ 467441 h 6858000"/>
              <a:gd name="connsiteX799" fmla="*/ 3296242 w 7467600"/>
              <a:gd name="connsiteY799" fmla="*/ 807991 h 6858000"/>
              <a:gd name="connsiteX800" fmla="*/ 3174674 w 7467600"/>
              <a:gd name="connsiteY800" fmla="*/ 919759 h 6858000"/>
              <a:gd name="connsiteX801" fmla="*/ 3042978 w 7467600"/>
              <a:gd name="connsiteY801" fmla="*/ 1054894 h 6858000"/>
              <a:gd name="connsiteX802" fmla="*/ 2968914 w 7467600"/>
              <a:gd name="connsiteY802" fmla="*/ 1133756 h 6858000"/>
              <a:gd name="connsiteX803" fmla="*/ 3103823 w 7467600"/>
              <a:gd name="connsiteY803" fmla="*/ 1026814 h 6858000"/>
              <a:gd name="connsiteX804" fmla="*/ 3607114 w 7467600"/>
              <a:gd name="connsiteY804" fmla="*/ 467441 h 6858000"/>
              <a:gd name="connsiteX805" fmla="*/ 3744487 w 7467600"/>
              <a:gd name="connsiteY805" fmla="*/ 383136 h 6858000"/>
              <a:gd name="connsiteX806" fmla="*/ 3970213 w 7467600"/>
              <a:gd name="connsiteY806" fmla="*/ 995559 h 6858000"/>
              <a:gd name="connsiteX807" fmla="*/ 3744487 w 7467600"/>
              <a:gd name="connsiteY807" fmla="*/ 383136 h 6858000"/>
              <a:gd name="connsiteX808" fmla="*/ 3624562 w 7467600"/>
              <a:gd name="connsiteY808" fmla="*/ 367041 h 6858000"/>
              <a:gd name="connsiteX809" fmla="*/ 3489712 w 7467600"/>
              <a:gd name="connsiteY809" fmla="*/ 485386 h 6858000"/>
              <a:gd name="connsiteX810" fmla="*/ 3182994 w 7467600"/>
              <a:gd name="connsiteY810" fmla="*/ 828265 h 6858000"/>
              <a:gd name="connsiteX811" fmla="*/ 2892114 w 7467600"/>
              <a:gd name="connsiteY811" fmla="*/ 1172635 h 6858000"/>
              <a:gd name="connsiteX812" fmla="*/ 3021459 w 7467600"/>
              <a:gd name="connsiteY812" fmla="*/ 1035385 h 6858000"/>
              <a:gd name="connsiteX813" fmla="*/ 3153873 w 7467600"/>
              <a:gd name="connsiteY813" fmla="*/ 898971 h 6858000"/>
              <a:gd name="connsiteX814" fmla="*/ 3276511 w 7467600"/>
              <a:gd name="connsiteY814" fmla="*/ 786423 h 6858000"/>
              <a:gd name="connsiteX815" fmla="*/ 3584154 w 7467600"/>
              <a:gd name="connsiteY815" fmla="*/ 448218 h 6858000"/>
              <a:gd name="connsiteX816" fmla="*/ 3624562 w 7467600"/>
              <a:gd name="connsiteY816" fmla="*/ 367041 h 6858000"/>
              <a:gd name="connsiteX817" fmla="*/ 3766672 w 7467600"/>
              <a:gd name="connsiteY817" fmla="*/ 359429 h 6858000"/>
              <a:gd name="connsiteX818" fmla="*/ 3996338 w 7467600"/>
              <a:gd name="connsiteY818" fmla="*/ 968237 h 6858000"/>
              <a:gd name="connsiteX819" fmla="*/ 3766672 w 7467600"/>
              <a:gd name="connsiteY819" fmla="*/ 359429 h 6858000"/>
              <a:gd name="connsiteX820" fmla="*/ 5805386 w 7467600"/>
              <a:gd name="connsiteY820" fmla="*/ 239240 h 6858000"/>
              <a:gd name="connsiteX821" fmla="*/ 5736947 w 7467600"/>
              <a:gd name="connsiteY821" fmla="*/ 261367 h 6858000"/>
              <a:gd name="connsiteX822" fmla="*/ 5427012 w 7467600"/>
              <a:gd name="connsiteY822" fmla="*/ 311272 h 6858000"/>
              <a:gd name="connsiteX823" fmla="*/ 5147818 w 7467600"/>
              <a:gd name="connsiteY823" fmla="*/ 322112 h 6858000"/>
              <a:gd name="connsiteX824" fmla="*/ 5060854 w 7467600"/>
              <a:gd name="connsiteY824" fmla="*/ 311882 h 6858000"/>
              <a:gd name="connsiteX825" fmla="*/ 4945989 w 7467600"/>
              <a:gd name="connsiteY825" fmla="*/ 300516 h 6858000"/>
              <a:gd name="connsiteX826" fmla="*/ 5410479 w 7467600"/>
              <a:gd name="connsiteY826" fmla="*/ 348434 h 6858000"/>
              <a:gd name="connsiteX827" fmla="*/ 5805386 w 7467600"/>
              <a:gd name="connsiteY827" fmla="*/ 239240 h 6858000"/>
              <a:gd name="connsiteX828" fmla="*/ 5905192 w 7467600"/>
              <a:gd name="connsiteY828" fmla="*/ 163079 h 6858000"/>
              <a:gd name="connsiteX829" fmla="*/ 5865655 w 7467600"/>
              <a:gd name="connsiteY829" fmla="*/ 171901 h 6858000"/>
              <a:gd name="connsiteX830" fmla="*/ 5259740 w 7467600"/>
              <a:gd name="connsiteY830" fmla="*/ 257013 h 6858000"/>
              <a:gd name="connsiteX831" fmla="*/ 5208466 w 7467600"/>
              <a:gd name="connsiteY831" fmla="*/ 257550 h 6858000"/>
              <a:gd name="connsiteX832" fmla="*/ 4980204 w 7467600"/>
              <a:gd name="connsiteY832" fmla="*/ 271903 h 6858000"/>
              <a:gd name="connsiteX833" fmla="*/ 5068068 w 7467600"/>
              <a:gd name="connsiteY833" fmla="*/ 282244 h 6858000"/>
              <a:gd name="connsiteX834" fmla="*/ 5153231 w 7467600"/>
              <a:gd name="connsiteY834" fmla="*/ 292240 h 6858000"/>
              <a:gd name="connsiteX835" fmla="*/ 5426491 w 7467600"/>
              <a:gd name="connsiteY835" fmla="*/ 281128 h 6858000"/>
              <a:gd name="connsiteX836" fmla="*/ 5731212 w 7467600"/>
              <a:gd name="connsiteY836" fmla="*/ 231951 h 6858000"/>
              <a:gd name="connsiteX837" fmla="*/ 5905192 w 7467600"/>
              <a:gd name="connsiteY837" fmla="*/ 163079 h 6858000"/>
              <a:gd name="connsiteX838" fmla="*/ 5944437 w 7467600"/>
              <a:gd name="connsiteY838" fmla="*/ 113829 h 6858000"/>
              <a:gd name="connsiteX839" fmla="*/ 5825032 w 7467600"/>
              <a:gd name="connsiteY839" fmla="*/ 146405 h 6858000"/>
              <a:gd name="connsiteX840" fmla="*/ 4955599 w 7467600"/>
              <a:gd name="connsiteY840" fmla="*/ 247008 h 6858000"/>
              <a:gd name="connsiteX841" fmla="*/ 5210104 w 7467600"/>
              <a:gd name="connsiteY841" fmla="*/ 228123 h 6858000"/>
              <a:gd name="connsiteX842" fmla="*/ 5261015 w 7467600"/>
              <a:gd name="connsiteY842" fmla="*/ 227087 h 6858000"/>
              <a:gd name="connsiteX843" fmla="*/ 5861181 w 7467600"/>
              <a:gd name="connsiteY843" fmla="*/ 143093 h 6858000"/>
              <a:gd name="connsiteX844" fmla="*/ 5961252 w 7467600"/>
              <a:gd name="connsiteY844" fmla="*/ 114820 h 6858000"/>
              <a:gd name="connsiteX845" fmla="*/ 5944437 w 7467600"/>
              <a:gd name="connsiteY845" fmla="*/ 113829 h 6858000"/>
              <a:gd name="connsiteX846" fmla="*/ 3882765 w 7467600"/>
              <a:gd name="connsiteY846" fmla="*/ 0 h 6858000"/>
              <a:gd name="connsiteX847" fmla="*/ 3995099 w 7467600"/>
              <a:gd name="connsiteY847" fmla="*/ 0 h 6858000"/>
              <a:gd name="connsiteX848" fmla="*/ 4163818 w 7467600"/>
              <a:gd name="connsiteY848" fmla="*/ 234104 h 6858000"/>
              <a:gd name="connsiteX849" fmla="*/ 4172099 w 7467600"/>
              <a:gd name="connsiteY849" fmla="*/ 234207 h 6858000"/>
              <a:gd name="connsiteX850" fmla="*/ 4784282 w 7467600"/>
              <a:gd name="connsiteY850" fmla="*/ 276561 h 6858000"/>
              <a:gd name="connsiteX851" fmla="*/ 4801687 w 7467600"/>
              <a:gd name="connsiteY851" fmla="*/ 267764 h 6858000"/>
              <a:gd name="connsiteX852" fmla="*/ 6082788 w 7467600"/>
              <a:gd name="connsiteY852" fmla="*/ 64119 h 6858000"/>
              <a:gd name="connsiteX853" fmla="*/ 6099442 w 7467600"/>
              <a:gd name="connsiteY853" fmla="*/ 82568 h 6858000"/>
              <a:gd name="connsiteX854" fmla="*/ 4804137 w 7467600"/>
              <a:gd name="connsiteY854" fmla="*/ 320931 h 6858000"/>
              <a:gd name="connsiteX855" fmla="*/ 4227047 w 7467600"/>
              <a:gd name="connsiteY855" fmla="*/ 313415 h 6858000"/>
              <a:gd name="connsiteX856" fmla="*/ 4346041 w 7467600"/>
              <a:gd name="connsiteY856" fmla="*/ 456086 h 6858000"/>
              <a:gd name="connsiteX857" fmla="*/ 4870967 w 7467600"/>
              <a:gd name="connsiteY857" fmla="*/ 963061 h 6858000"/>
              <a:gd name="connsiteX858" fmla="*/ 4889647 w 7467600"/>
              <a:gd name="connsiteY858" fmla="*/ 957147 h 6858000"/>
              <a:gd name="connsiteX859" fmla="*/ 5422504 w 7467600"/>
              <a:gd name="connsiteY859" fmla="*/ 805191 h 6858000"/>
              <a:gd name="connsiteX860" fmla="*/ 6087656 w 7467600"/>
              <a:gd name="connsiteY860" fmla="*/ 826703 h 6858000"/>
              <a:gd name="connsiteX861" fmla="*/ 6058717 w 7467600"/>
              <a:gd name="connsiteY861" fmla="*/ 865992 h 6858000"/>
              <a:gd name="connsiteX862" fmla="*/ 4974153 w 7467600"/>
              <a:gd name="connsiteY862" fmla="*/ 1045456 h 6858000"/>
              <a:gd name="connsiteX863" fmla="*/ 5627835 w 7467600"/>
              <a:gd name="connsiteY863" fmla="*/ 1472077 h 6858000"/>
              <a:gd name="connsiteX864" fmla="*/ 5629817 w 7467600"/>
              <a:gd name="connsiteY864" fmla="*/ 1471412 h 6858000"/>
              <a:gd name="connsiteX865" fmla="*/ 5634124 w 7467600"/>
              <a:gd name="connsiteY865" fmla="*/ 1470572 h 6858000"/>
              <a:gd name="connsiteX866" fmla="*/ 5755832 w 7467600"/>
              <a:gd name="connsiteY866" fmla="*/ 1383886 h 6858000"/>
              <a:gd name="connsiteX867" fmla="*/ 6014186 w 7467600"/>
              <a:gd name="connsiteY867" fmla="*/ 1279799 h 6858000"/>
              <a:gd name="connsiteX868" fmla="*/ 6901619 w 7467600"/>
              <a:gd name="connsiteY868" fmla="*/ 1047874 h 6858000"/>
              <a:gd name="connsiteX869" fmla="*/ 6931566 w 7467600"/>
              <a:gd name="connsiteY869" fmla="*/ 1062034 h 6858000"/>
              <a:gd name="connsiteX870" fmla="*/ 5790982 w 7467600"/>
              <a:gd name="connsiteY870" fmla="*/ 1561380 h 6858000"/>
              <a:gd name="connsiteX871" fmla="*/ 6188971 w 7467600"/>
              <a:gd name="connsiteY871" fmla="*/ 1755168 h 6858000"/>
              <a:gd name="connsiteX872" fmla="*/ 6202446 w 7467600"/>
              <a:gd name="connsiteY872" fmla="*/ 1752268 h 6858000"/>
              <a:gd name="connsiteX873" fmla="*/ 7179560 w 7467600"/>
              <a:gd name="connsiteY873" fmla="*/ 1467551 h 6858000"/>
              <a:gd name="connsiteX874" fmla="*/ 7158730 w 7467600"/>
              <a:gd name="connsiteY874" fmla="*/ 1507835 h 6858000"/>
              <a:gd name="connsiteX875" fmla="*/ 6326959 w 7467600"/>
              <a:gd name="connsiteY875" fmla="*/ 1817686 h 6858000"/>
              <a:gd name="connsiteX876" fmla="*/ 6537433 w 7467600"/>
              <a:gd name="connsiteY876" fmla="*/ 1907790 h 6858000"/>
              <a:gd name="connsiteX877" fmla="*/ 6550221 w 7467600"/>
              <a:gd name="connsiteY877" fmla="*/ 1910729 h 6858000"/>
              <a:gd name="connsiteX878" fmla="*/ 6964438 w 7467600"/>
              <a:gd name="connsiteY878" fmla="*/ 2209505 h 6858000"/>
              <a:gd name="connsiteX879" fmla="*/ 7367862 w 7467600"/>
              <a:gd name="connsiteY879" fmla="*/ 2806833 h 6858000"/>
              <a:gd name="connsiteX880" fmla="*/ 7364329 w 7467600"/>
              <a:gd name="connsiteY880" fmla="*/ 2826907 h 6858000"/>
              <a:gd name="connsiteX881" fmla="*/ 7290545 w 7467600"/>
              <a:gd name="connsiteY881" fmla="*/ 2850663 h 6858000"/>
              <a:gd name="connsiteX882" fmla="*/ 6472036 w 7467600"/>
              <a:gd name="connsiteY882" fmla="*/ 1959003 h 6858000"/>
              <a:gd name="connsiteX883" fmla="*/ 5792897 w 7467600"/>
              <a:gd name="connsiteY883" fmla="*/ 1647747 h 6858000"/>
              <a:gd name="connsiteX884" fmla="*/ 5842751 w 7467600"/>
              <a:gd name="connsiteY884" fmla="*/ 1816112 h 6858000"/>
              <a:gd name="connsiteX885" fmla="*/ 5847424 w 7467600"/>
              <a:gd name="connsiteY885" fmla="*/ 1815776 h 6858000"/>
              <a:gd name="connsiteX886" fmla="*/ 6399821 w 7467600"/>
              <a:gd name="connsiteY886" fmla="*/ 2344799 h 6858000"/>
              <a:gd name="connsiteX887" fmla="*/ 6323232 w 7467600"/>
              <a:gd name="connsiteY887" fmla="*/ 2389634 h 6858000"/>
              <a:gd name="connsiteX888" fmla="*/ 5942958 w 7467600"/>
              <a:gd name="connsiteY888" fmla="*/ 2077708 h 6858000"/>
              <a:gd name="connsiteX889" fmla="*/ 5921559 w 7467600"/>
              <a:gd name="connsiteY889" fmla="*/ 2378596 h 6858000"/>
              <a:gd name="connsiteX890" fmla="*/ 5817651 w 7467600"/>
              <a:gd name="connsiteY890" fmla="*/ 3023919 h 6858000"/>
              <a:gd name="connsiteX891" fmla="*/ 5729634 w 7467600"/>
              <a:gd name="connsiteY891" fmla="*/ 3051849 h 6858000"/>
              <a:gd name="connsiteX892" fmla="*/ 5611018 w 7467600"/>
              <a:gd name="connsiteY892" fmla="*/ 2316769 h 6858000"/>
              <a:gd name="connsiteX893" fmla="*/ 5687608 w 7467600"/>
              <a:gd name="connsiteY893" fmla="*/ 2039972 h 6858000"/>
              <a:gd name="connsiteX894" fmla="*/ 5657554 w 7467600"/>
              <a:gd name="connsiteY894" fmla="*/ 1576445 h 6858000"/>
              <a:gd name="connsiteX895" fmla="*/ 5150475 w 7467600"/>
              <a:gd name="connsiteY895" fmla="*/ 1274012 h 6858000"/>
              <a:gd name="connsiteX896" fmla="*/ 5349142 w 7467600"/>
              <a:gd name="connsiteY896" fmla="*/ 2204405 h 6858000"/>
              <a:gd name="connsiteX897" fmla="*/ 5262214 w 7467600"/>
              <a:gd name="connsiteY897" fmla="*/ 2233836 h 6858000"/>
              <a:gd name="connsiteX898" fmla="*/ 4981539 w 7467600"/>
              <a:gd name="connsiteY898" fmla="*/ 1542201 h 6858000"/>
              <a:gd name="connsiteX899" fmla="*/ 4958461 w 7467600"/>
              <a:gd name="connsiteY899" fmla="*/ 1136957 h 6858000"/>
              <a:gd name="connsiteX900" fmla="*/ 4655015 w 7467600"/>
              <a:gd name="connsiteY900" fmla="*/ 891426 h 6858000"/>
              <a:gd name="connsiteX901" fmla="*/ 4348002 w 7467600"/>
              <a:gd name="connsiteY901" fmla="*/ 2205895 h 6858000"/>
              <a:gd name="connsiteX902" fmla="*/ 4262250 w 7467600"/>
              <a:gd name="connsiteY902" fmla="*/ 2219972 h 6858000"/>
              <a:gd name="connsiteX903" fmla="*/ 4550611 w 7467600"/>
              <a:gd name="connsiteY903" fmla="*/ 817540 h 6858000"/>
              <a:gd name="connsiteX904" fmla="*/ 4564418 w 7467600"/>
              <a:gd name="connsiteY904" fmla="*/ 808293 h 6858000"/>
              <a:gd name="connsiteX905" fmla="*/ 4266388 w 7467600"/>
              <a:gd name="connsiteY905" fmla="*/ 500083 h 6858000"/>
              <a:gd name="connsiteX906" fmla="*/ 4032842 w 7467600"/>
              <a:gd name="connsiteY906" fmla="*/ 211809 h 6858000"/>
              <a:gd name="connsiteX907" fmla="*/ 3882765 w 7467600"/>
              <a:gd name="connsiteY907" fmla="*/ 0 h 6858000"/>
              <a:gd name="connsiteX908" fmla="*/ 3721337 w 7467600"/>
              <a:gd name="connsiteY908" fmla="*/ 0 h 6858000"/>
              <a:gd name="connsiteX909" fmla="*/ 3797544 w 7467600"/>
              <a:gd name="connsiteY909" fmla="*/ 0 h 6858000"/>
              <a:gd name="connsiteX910" fmla="*/ 3775734 w 7467600"/>
              <a:gd name="connsiteY910" fmla="*/ 95131 h 6858000"/>
              <a:gd name="connsiteX911" fmla="*/ 3724807 w 7467600"/>
              <a:gd name="connsiteY911" fmla="*/ 272257 h 6858000"/>
              <a:gd name="connsiteX912" fmla="*/ 3726844 w 7467600"/>
              <a:gd name="connsiteY912" fmla="*/ 282988 h 6858000"/>
              <a:gd name="connsiteX913" fmla="*/ 3742664 w 7467600"/>
              <a:gd name="connsiteY913" fmla="*/ 279918 h 6858000"/>
              <a:gd name="connsiteX914" fmla="*/ 4103910 w 7467600"/>
              <a:gd name="connsiteY914" fmla="*/ 1161917 h 6858000"/>
              <a:gd name="connsiteX915" fmla="*/ 4020269 w 7467600"/>
              <a:gd name="connsiteY915" fmla="*/ 1200406 h 6858000"/>
              <a:gd name="connsiteX916" fmla="*/ 3674882 w 7467600"/>
              <a:gd name="connsiteY916" fmla="*/ 488524 h 6858000"/>
              <a:gd name="connsiteX917" fmla="*/ 3132682 w 7467600"/>
              <a:gd name="connsiteY917" fmla="*/ 1072284 h 6858000"/>
              <a:gd name="connsiteX918" fmla="*/ 2716346 w 7467600"/>
              <a:gd name="connsiteY918" fmla="*/ 1276376 h 6858000"/>
              <a:gd name="connsiteX919" fmla="*/ 2716772 w 7467600"/>
              <a:gd name="connsiteY919" fmla="*/ 1255462 h 6858000"/>
              <a:gd name="connsiteX920" fmla="*/ 3471096 w 7467600"/>
              <a:gd name="connsiteY920" fmla="*/ 437072 h 6858000"/>
              <a:gd name="connsiteX921" fmla="*/ 3639057 w 7467600"/>
              <a:gd name="connsiteY921" fmla="*/ 286334 h 6858000"/>
              <a:gd name="connsiteX922" fmla="*/ 3640309 w 7467600"/>
              <a:gd name="connsiteY922" fmla="*/ 284664 h 6858000"/>
              <a:gd name="connsiteX923" fmla="*/ 3646022 w 7467600"/>
              <a:gd name="connsiteY923" fmla="*/ 276711 h 6858000"/>
              <a:gd name="connsiteX924" fmla="*/ 3707943 w 7467600"/>
              <a:gd name="connsiteY924" fmla="*/ 65958 h 6858000"/>
              <a:gd name="connsiteX925" fmla="*/ 3721337 w 7467600"/>
              <a:gd name="connsiteY925" fmla="*/ 0 h 6858000"/>
              <a:gd name="connsiteX926" fmla="*/ 2867960 w 7467600"/>
              <a:gd name="connsiteY926" fmla="*/ 0 h 6858000"/>
              <a:gd name="connsiteX927" fmla="*/ 2926351 w 7467600"/>
              <a:gd name="connsiteY927" fmla="*/ 0 h 6858000"/>
              <a:gd name="connsiteX928" fmla="*/ 2902823 w 7467600"/>
              <a:gd name="connsiteY928" fmla="*/ 262929 h 6858000"/>
              <a:gd name="connsiteX929" fmla="*/ 2940663 w 7467600"/>
              <a:gd name="connsiteY929" fmla="*/ 140884 h 6858000"/>
              <a:gd name="connsiteX930" fmla="*/ 2947039 w 7467600"/>
              <a:gd name="connsiteY930" fmla="*/ 122524 h 6858000"/>
              <a:gd name="connsiteX931" fmla="*/ 2984316 w 7467600"/>
              <a:gd name="connsiteY931" fmla="*/ 0 h 6858000"/>
              <a:gd name="connsiteX932" fmla="*/ 3016114 w 7467600"/>
              <a:gd name="connsiteY932" fmla="*/ 0 h 6858000"/>
              <a:gd name="connsiteX933" fmla="*/ 2979949 w 7467600"/>
              <a:gd name="connsiteY933" fmla="*/ 119274 h 6858000"/>
              <a:gd name="connsiteX934" fmla="*/ 3023879 w 7467600"/>
              <a:gd name="connsiteY934" fmla="*/ 0 h 6858000"/>
              <a:gd name="connsiteX935" fmla="*/ 3105400 w 7467600"/>
              <a:gd name="connsiteY935" fmla="*/ 0 h 6858000"/>
              <a:gd name="connsiteX936" fmla="*/ 3094669 w 7467600"/>
              <a:gd name="connsiteY936" fmla="*/ 30308 h 6858000"/>
              <a:gd name="connsiteX937" fmla="*/ 2901945 w 7467600"/>
              <a:gd name="connsiteY937" fmla="*/ 466538 h 6858000"/>
              <a:gd name="connsiteX938" fmla="*/ 2815209 w 7467600"/>
              <a:gd name="connsiteY938" fmla="*/ 497361 h 6858000"/>
              <a:gd name="connsiteX939" fmla="*/ 2844845 w 7467600"/>
              <a:gd name="connsiteY939" fmla="*/ 127638 h 6858000"/>
              <a:gd name="connsiteX940" fmla="*/ 2867960 w 7467600"/>
              <a:gd name="connsiteY940" fmla="*/ 0 h 6858000"/>
              <a:gd name="connsiteX941" fmla="*/ 1057230 w 7467600"/>
              <a:gd name="connsiteY941" fmla="*/ 0 h 6858000"/>
              <a:gd name="connsiteX942" fmla="*/ 1111003 w 7467600"/>
              <a:gd name="connsiteY942" fmla="*/ 0 h 6858000"/>
              <a:gd name="connsiteX943" fmla="*/ 1125553 w 7467600"/>
              <a:gd name="connsiteY943" fmla="*/ 52588 h 6858000"/>
              <a:gd name="connsiteX944" fmla="*/ 1304276 w 7467600"/>
              <a:gd name="connsiteY944" fmla="*/ 476275 h 6858000"/>
              <a:gd name="connsiteX945" fmla="*/ 1492066 w 7467600"/>
              <a:gd name="connsiteY945" fmla="*/ 886333 h 6858000"/>
              <a:gd name="connsiteX946" fmla="*/ 1423698 w 7467600"/>
              <a:gd name="connsiteY946" fmla="*/ 710817 h 6858000"/>
              <a:gd name="connsiteX947" fmla="*/ 1357609 w 7467600"/>
              <a:gd name="connsiteY947" fmla="*/ 532892 h 6858000"/>
              <a:gd name="connsiteX948" fmla="*/ 1309550 w 7467600"/>
              <a:gd name="connsiteY948" fmla="*/ 374031 h 6858000"/>
              <a:gd name="connsiteX949" fmla="*/ 1193673 w 7467600"/>
              <a:gd name="connsiteY949" fmla="*/ 49533 h 6858000"/>
              <a:gd name="connsiteX950" fmla="*/ 1164391 w 7467600"/>
              <a:gd name="connsiteY950" fmla="*/ 0 h 6858000"/>
              <a:gd name="connsiteX951" fmla="*/ 1200666 w 7467600"/>
              <a:gd name="connsiteY951" fmla="*/ 0 h 6858000"/>
              <a:gd name="connsiteX952" fmla="*/ 1223408 w 7467600"/>
              <a:gd name="connsiteY952" fmla="*/ 38996 h 6858000"/>
              <a:gd name="connsiteX953" fmla="*/ 1339635 w 7467600"/>
              <a:gd name="connsiteY953" fmla="*/ 365517 h 6858000"/>
              <a:gd name="connsiteX954" fmla="*/ 1387469 w 7467600"/>
              <a:gd name="connsiteY954" fmla="*/ 523079 h 6858000"/>
              <a:gd name="connsiteX955" fmla="*/ 1452685 w 7467600"/>
              <a:gd name="connsiteY955" fmla="*/ 699806 h 6858000"/>
              <a:gd name="connsiteX956" fmla="*/ 1492092 w 7467600"/>
              <a:gd name="connsiteY956" fmla="*/ 800424 h 6858000"/>
              <a:gd name="connsiteX957" fmla="*/ 1455302 w 7467600"/>
              <a:gd name="connsiteY957" fmla="*/ 632913 h 6858000"/>
              <a:gd name="connsiteX958" fmla="*/ 1222336 w 7467600"/>
              <a:gd name="connsiteY958" fmla="*/ 9480 h 6858000"/>
              <a:gd name="connsiteX959" fmla="*/ 1214634 w 7467600"/>
              <a:gd name="connsiteY959" fmla="*/ 0 h 6858000"/>
              <a:gd name="connsiteX960" fmla="*/ 1289827 w 7467600"/>
              <a:gd name="connsiteY960" fmla="*/ 0 h 6858000"/>
              <a:gd name="connsiteX961" fmla="*/ 1321076 w 7467600"/>
              <a:gd name="connsiteY961" fmla="*/ 59722 h 6858000"/>
              <a:gd name="connsiteX962" fmla="*/ 1512579 w 7467600"/>
              <a:gd name="connsiteY962" fmla="*/ 626441 h 6858000"/>
              <a:gd name="connsiteX963" fmla="*/ 1506076 w 7467600"/>
              <a:gd name="connsiteY963" fmla="*/ 1089289 h 6858000"/>
              <a:gd name="connsiteX964" fmla="*/ 1486346 w 7467600"/>
              <a:gd name="connsiteY964" fmla="*/ 1079919 h 6858000"/>
              <a:gd name="connsiteX965" fmla="*/ 1070511 w 7467600"/>
              <a:gd name="connsiteY965" fmla="*/ 48609 h 6858000"/>
              <a:gd name="connsiteX966" fmla="*/ 1057230 w 7467600"/>
              <a:gd name="connsiteY966" fmla="*/ 0 h 6858000"/>
              <a:gd name="connsiteX967" fmla="*/ 43151 w 7467600"/>
              <a:gd name="connsiteY967" fmla="*/ 0 h 6858000"/>
              <a:gd name="connsiteX968" fmla="*/ 95283 w 7467600"/>
              <a:gd name="connsiteY968" fmla="*/ 0 h 6858000"/>
              <a:gd name="connsiteX969" fmla="*/ 300708 w 7467600"/>
              <a:gd name="connsiteY969" fmla="*/ 154571 h 6858000"/>
              <a:gd name="connsiteX970" fmla="*/ 530414 w 7467600"/>
              <a:gd name="connsiteY970" fmla="*/ 354673 h 6858000"/>
              <a:gd name="connsiteX971" fmla="*/ 333785 w 7467600"/>
              <a:gd name="connsiteY971" fmla="*/ 161564 h 6858000"/>
              <a:gd name="connsiteX972" fmla="*/ 147005 w 7467600"/>
              <a:gd name="connsiteY972" fmla="*/ 0 h 6858000"/>
              <a:gd name="connsiteX973" fmla="*/ 272509 w 7467600"/>
              <a:gd name="connsiteY973" fmla="*/ 0 h 6858000"/>
              <a:gd name="connsiteX974" fmla="*/ 326276 w 7467600"/>
              <a:gd name="connsiteY974" fmla="*/ 45847 h 6858000"/>
              <a:gd name="connsiteX975" fmla="*/ 823759 w 7467600"/>
              <a:gd name="connsiteY975" fmla="*/ 574145 h 6858000"/>
              <a:gd name="connsiteX976" fmla="*/ 811254 w 7467600"/>
              <a:gd name="connsiteY976" fmla="*/ 665546 h 6858000"/>
              <a:gd name="connsiteX977" fmla="*/ 154042 w 7467600"/>
              <a:gd name="connsiteY977" fmla="*/ 261522 h 6858000"/>
              <a:gd name="connsiteX978" fmla="*/ 13550 w 7467600"/>
              <a:gd name="connsiteY978" fmla="*/ 158423 h 6858000"/>
              <a:gd name="connsiteX979" fmla="*/ 0 w 7467600"/>
              <a:gd name="connsiteY979" fmla="*/ 146618 h 6858000"/>
              <a:gd name="connsiteX980" fmla="*/ 0 w 7467600"/>
              <a:gd name="connsiteY980" fmla="*/ 59161 h 6858000"/>
              <a:gd name="connsiteX981" fmla="*/ 45427 w 7467600"/>
              <a:gd name="connsiteY981" fmla="*/ 101078 h 6858000"/>
              <a:gd name="connsiteX982" fmla="*/ 630103 w 7467600"/>
              <a:gd name="connsiteY982" fmla="*/ 485885 h 6858000"/>
              <a:gd name="connsiteX983" fmla="*/ 532040 w 7467600"/>
              <a:gd name="connsiteY983" fmla="*/ 399359 h 6858000"/>
              <a:gd name="connsiteX984" fmla="*/ 517618 w 7467600"/>
              <a:gd name="connsiteY984" fmla="*/ 385726 h 6858000"/>
              <a:gd name="connsiteX985" fmla="*/ 285074 w 7467600"/>
              <a:gd name="connsiteY985" fmla="*/ 182755 h 6858000"/>
              <a:gd name="connsiteX986" fmla="*/ 43151 w 7467600"/>
              <a:gd name="connsiteY986"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12201 w 7467600"/>
              <a:gd name="connsiteY127" fmla="*/ 5128278 h 6858000"/>
              <a:gd name="connsiteX128" fmla="*/ 7450656 w 7467600"/>
              <a:gd name="connsiteY128" fmla="*/ 5134750 h 6858000"/>
              <a:gd name="connsiteX129" fmla="*/ 7312201 w 7467600"/>
              <a:gd name="connsiteY129" fmla="*/ 5128278 h 6858000"/>
              <a:gd name="connsiteX130" fmla="*/ 1903353 w 7467600"/>
              <a:gd name="connsiteY130" fmla="*/ 5044827 h 6858000"/>
              <a:gd name="connsiteX131" fmla="*/ 1936931 w 7467600"/>
              <a:gd name="connsiteY131" fmla="*/ 5093954 h 6858000"/>
              <a:gd name="connsiteX132" fmla="*/ 2195868 w 7467600"/>
              <a:gd name="connsiteY132" fmla="*/ 5396574 h 6858000"/>
              <a:gd name="connsiteX133" fmla="*/ 2088852 w 7467600"/>
              <a:gd name="connsiteY133" fmla="*/ 5166123 h 6858000"/>
              <a:gd name="connsiteX134" fmla="*/ 1958241 w 7467600"/>
              <a:gd name="connsiteY134" fmla="*/ 5067955 h 6858000"/>
              <a:gd name="connsiteX135" fmla="*/ 1903353 w 7467600"/>
              <a:gd name="connsiteY135" fmla="*/ 5044827 h 6858000"/>
              <a:gd name="connsiteX136" fmla="*/ 1979378 w 7467600"/>
              <a:gd name="connsiteY136" fmla="*/ 4769504 h 6858000"/>
              <a:gd name="connsiteX137" fmla="*/ 2882120 w 7467600"/>
              <a:gd name="connsiteY137" fmla="*/ 5064547 h 6858000"/>
              <a:gd name="connsiteX138" fmla="*/ 2793103 w 7467600"/>
              <a:gd name="connsiteY138" fmla="*/ 5039699 h 6858000"/>
              <a:gd name="connsiteX139" fmla="*/ 2770041 w 7467600"/>
              <a:gd name="connsiteY139" fmla="*/ 5033634 h 6858000"/>
              <a:gd name="connsiteX140" fmla="*/ 1979378 w 7467600"/>
              <a:gd name="connsiteY140" fmla="*/ 4769504 h 6858000"/>
              <a:gd name="connsiteX141" fmla="*/ 1927410 w 7467600"/>
              <a:gd name="connsiteY141" fmla="*/ 4716164 h 6858000"/>
              <a:gd name="connsiteX142" fmla="*/ 1959587 w 7467600"/>
              <a:gd name="connsiteY142" fmla="*/ 4728849 h 6858000"/>
              <a:gd name="connsiteX143" fmla="*/ 2777707 w 7467600"/>
              <a:gd name="connsiteY143" fmla="*/ 5003991 h 6858000"/>
              <a:gd name="connsiteX144" fmla="*/ 2800768 w 7467600"/>
              <a:gd name="connsiteY144" fmla="*/ 5010056 h 6858000"/>
              <a:gd name="connsiteX145" fmla="*/ 2879408 w 7467600"/>
              <a:gd name="connsiteY145" fmla="*/ 5031590 h 6858000"/>
              <a:gd name="connsiteX146" fmla="*/ 2862295 w 7467600"/>
              <a:gd name="connsiteY146" fmla="*/ 5022958 h 6858000"/>
              <a:gd name="connsiteX147" fmla="*/ 2813343 w 7467600"/>
              <a:gd name="connsiteY147" fmla="*/ 4998369 h 6858000"/>
              <a:gd name="connsiteX148" fmla="*/ 2646245 w 7467600"/>
              <a:gd name="connsiteY148" fmla="*/ 4930999 h 6858000"/>
              <a:gd name="connsiteX149" fmla="*/ 1999243 w 7467600"/>
              <a:gd name="connsiteY149" fmla="*/ 4730524 h 6858000"/>
              <a:gd name="connsiteX150" fmla="*/ 1979527 w 7467600"/>
              <a:gd name="connsiteY150" fmla="*/ 4726651 h 6858000"/>
              <a:gd name="connsiteX151" fmla="*/ 1927410 w 7467600"/>
              <a:gd name="connsiteY151" fmla="*/ 4716164 h 6858000"/>
              <a:gd name="connsiteX152" fmla="*/ 1997014 w 7467600"/>
              <a:gd name="connsiteY152" fmla="*/ 4698007 h 6858000"/>
              <a:gd name="connsiteX153" fmla="*/ 2005458 w 7467600"/>
              <a:gd name="connsiteY153" fmla="*/ 4699540 h 6858000"/>
              <a:gd name="connsiteX154" fmla="*/ 2657186 w 7467600"/>
              <a:gd name="connsiteY154" fmla="*/ 4901687 h 6858000"/>
              <a:gd name="connsiteX155" fmla="*/ 2826662 w 7467600"/>
              <a:gd name="connsiteY155" fmla="*/ 4970362 h 6858000"/>
              <a:gd name="connsiteX156" fmla="*/ 2876100 w 7467600"/>
              <a:gd name="connsiteY156" fmla="*/ 4995397 h 6858000"/>
              <a:gd name="connsiteX157" fmla="*/ 3042600 w 7467600"/>
              <a:gd name="connsiteY157" fmla="*/ 5059532 h 6858000"/>
              <a:gd name="connsiteX158" fmla="*/ 1997014 w 7467600"/>
              <a:gd name="connsiteY158" fmla="*/ 4698007 h 6858000"/>
              <a:gd name="connsiteX159" fmla="*/ 2305292 w 7467600"/>
              <a:gd name="connsiteY159" fmla="*/ 4219492 h 6858000"/>
              <a:gd name="connsiteX160" fmla="*/ 3360922 w 7467600"/>
              <a:gd name="connsiteY160" fmla="*/ 4529373 h 6858000"/>
              <a:gd name="connsiteX161" fmla="*/ 3492420 w 7467600"/>
              <a:gd name="connsiteY161" fmla="*/ 4510145 h 6858000"/>
              <a:gd name="connsiteX162" fmla="*/ 3364086 w 7467600"/>
              <a:gd name="connsiteY162" fmla="*/ 4480340 h 6858000"/>
              <a:gd name="connsiteX163" fmla="*/ 3225818 w 7467600"/>
              <a:gd name="connsiteY163" fmla="*/ 4411822 h 6858000"/>
              <a:gd name="connsiteX164" fmla="*/ 3129696 w 7467600"/>
              <a:gd name="connsiteY164" fmla="*/ 4360704 h 6858000"/>
              <a:gd name="connsiteX165" fmla="*/ 2814545 w 7467600"/>
              <a:gd name="connsiteY165" fmla="*/ 4282955 h 6858000"/>
              <a:gd name="connsiteX166" fmla="*/ 2305292 w 7467600"/>
              <a:gd name="connsiteY166" fmla="*/ 4219492 h 6858000"/>
              <a:gd name="connsiteX167" fmla="*/ 2626982 w 7467600"/>
              <a:gd name="connsiteY167" fmla="*/ 4206450 h 6858000"/>
              <a:gd name="connsiteX168" fmla="*/ 2490617 w 7467600"/>
              <a:gd name="connsiteY168" fmla="*/ 4206951 h 6858000"/>
              <a:gd name="connsiteX169" fmla="*/ 2819869 w 7467600"/>
              <a:gd name="connsiteY169" fmla="*/ 4252936 h 6858000"/>
              <a:gd name="connsiteX170" fmla="*/ 3143018 w 7467600"/>
              <a:gd name="connsiteY170" fmla="*/ 4332698 h 6858000"/>
              <a:gd name="connsiteX171" fmla="*/ 3241520 w 7467600"/>
              <a:gd name="connsiteY171" fmla="*/ 4385112 h 6858000"/>
              <a:gd name="connsiteX172" fmla="*/ 3374575 w 7467600"/>
              <a:gd name="connsiteY172" fmla="*/ 4451517 h 6858000"/>
              <a:gd name="connsiteX173" fmla="*/ 3505221 w 7467600"/>
              <a:gd name="connsiteY173" fmla="*/ 4480757 h 6858000"/>
              <a:gd name="connsiteX174" fmla="*/ 2626982 w 7467600"/>
              <a:gd name="connsiteY174" fmla="*/ 4206450 h 6858000"/>
              <a:gd name="connsiteX175" fmla="*/ 1310106 w 7467600"/>
              <a:gd name="connsiteY175" fmla="*/ 3943217 h 6858000"/>
              <a:gd name="connsiteX176" fmla="*/ 854994 w 7467600"/>
              <a:gd name="connsiteY176" fmla="*/ 4399136 h 6858000"/>
              <a:gd name="connsiteX177" fmla="*/ 742462 w 7467600"/>
              <a:gd name="connsiteY177" fmla="*/ 4594648 h 6858000"/>
              <a:gd name="connsiteX178" fmla="*/ 820602 w 7467600"/>
              <a:gd name="connsiteY178" fmla="*/ 4485915 h 6858000"/>
              <a:gd name="connsiteX179" fmla="*/ 878295 w 7467600"/>
              <a:gd name="connsiteY179" fmla="*/ 4403594 h 6858000"/>
              <a:gd name="connsiteX180" fmla="*/ 1240607 w 7467600"/>
              <a:gd name="connsiteY180" fmla="*/ 4010401 h 6858000"/>
              <a:gd name="connsiteX181" fmla="*/ 1310106 w 7467600"/>
              <a:gd name="connsiteY181" fmla="*/ 3943217 h 6858000"/>
              <a:gd name="connsiteX182" fmla="*/ 1423113 w 7467600"/>
              <a:gd name="connsiteY182" fmla="*/ 3874565 h 6858000"/>
              <a:gd name="connsiteX183" fmla="*/ 1260565 w 7467600"/>
              <a:gd name="connsiteY183" fmla="*/ 4031982 h 6858000"/>
              <a:gd name="connsiteX184" fmla="*/ 901900 w 7467600"/>
              <a:gd name="connsiteY184" fmla="*/ 4421236 h 6858000"/>
              <a:gd name="connsiteX185" fmla="*/ 845044 w 7467600"/>
              <a:gd name="connsiteY185" fmla="*/ 4502436 h 6858000"/>
              <a:gd name="connsiteX186" fmla="*/ 685926 w 7467600"/>
              <a:gd name="connsiteY186" fmla="*/ 4703069 h 6858000"/>
              <a:gd name="connsiteX187" fmla="*/ 684248 w 7467600"/>
              <a:gd name="connsiteY187" fmla="*/ 4706721 h 6858000"/>
              <a:gd name="connsiteX188" fmla="*/ 1423113 w 7467600"/>
              <a:gd name="connsiteY188" fmla="*/ 3874565 h 6858000"/>
              <a:gd name="connsiteX189" fmla="*/ 3316479 w 7467600"/>
              <a:gd name="connsiteY189" fmla="*/ 3872136 h 6858000"/>
              <a:gd name="connsiteX190" fmla="*/ 3546806 w 7467600"/>
              <a:gd name="connsiteY190" fmla="*/ 4356139 h 6858000"/>
              <a:gd name="connsiteX191" fmla="*/ 3364433 w 7467600"/>
              <a:gd name="connsiteY191" fmla="*/ 3953121 h 6858000"/>
              <a:gd name="connsiteX192" fmla="*/ 3316479 w 7467600"/>
              <a:gd name="connsiteY192" fmla="*/ 3872136 h 6858000"/>
              <a:gd name="connsiteX193" fmla="*/ 3291335 w 7467600"/>
              <a:gd name="connsiteY193" fmla="*/ 3767420 h 6858000"/>
              <a:gd name="connsiteX194" fmla="*/ 3390805 w 7467600"/>
              <a:gd name="connsiteY194" fmla="*/ 3937163 h 6858000"/>
              <a:gd name="connsiteX195" fmla="*/ 3579062 w 7467600"/>
              <a:gd name="connsiteY195" fmla="*/ 4359040 h 6858000"/>
              <a:gd name="connsiteX196" fmla="*/ 3467355 w 7467600"/>
              <a:gd name="connsiteY196" fmla="*/ 3988130 h 6858000"/>
              <a:gd name="connsiteX197" fmla="*/ 3310753 w 7467600"/>
              <a:gd name="connsiteY197" fmla="*/ 3787140 h 6858000"/>
              <a:gd name="connsiteX198" fmla="*/ 3291335 w 7467600"/>
              <a:gd name="connsiteY198" fmla="*/ 3767420 h 6858000"/>
              <a:gd name="connsiteX199" fmla="*/ 1635889 w 7467600"/>
              <a:gd name="connsiteY199" fmla="*/ 3709494 h 6858000"/>
              <a:gd name="connsiteX200" fmla="*/ 1634800 w 7467600"/>
              <a:gd name="connsiteY200" fmla="*/ 3731111 h 6858000"/>
              <a:gd name="connsiteX201" fmla="*/ 1635889 w 7467600"/>
              <a:gd name="connsiteY201" fmla="*/ 3709494 h 6858000"/>
              <a:gd name="connsiteX202" fmla="*/ 1510397 w 7467600"/>
              <a:gd name="connsiteY202" fmla="*/ 3684705 h 6858000"/>
              <a:gd name="connsiteX203" fmla="*/ 1146550 w 7467600"/>
              <a:gd name="connsiteY203" fmla="*/ 3802012 h 6858000"/>
              <a:gd name="connsiteX204" fmla="*/ 698834 w 7467600"/>
              <a:gd name="connsiteY204" fmla="*/ 3952272 h 6858000"/>
              <a:gd name="connsiteX205" fmla="*/ 34256 w 7467600"/>
              <a:gd name="connsiteY205" fmla="*/ 4347603 h 6858000"/>
              <a:gd name="connsiteX206" fmla="*/ 527241 w 7467600"/>
              <a:gd name="connsiteY206" fmla="*/ 4065078 h 6858000"/>
              <a:gd name="connsiteX207" fmla="*/ 1510397 w 7467600"/>
              <a:gd name="connsiteY207" fmla="*/ 3684705 h 6858000"/>
              <a:gd name="connsiteX208" fmla="*/ 1313114 w 7467600"/>
              <a:gd name="connsiteY208" fmla="*/ 3655216 h 6858000"/>
              <a:gd name="connsiteX209" fmla="*/ 1109304 w 7467600"/>
              <a:gd name="connsiteY209" fmla="*/ 3669030 h 6858000"/>
              <a:gd name="connsiteX210" fmla="*/ 8129 w 7467600"/>
              <a:gd name="connsiteY210" fmla="*/ 4330519 h 6858000"/>
              <a:gd name="connsiteX211" fmla="*/ 687572 w 7467600"/>
              <a:gd name="connsiteY211" fmla="*/ 3925629 h 6858000"/>
              <a:gd name="connsiteX212" fmla="*/ 1138365 w 7467600"/>
              <a:gd name="connsiteY212" fmla="*/ 3774515 h 6858000"/>
              <a:gd name="connsiteX213" fmla="*/ 1505579 w 7467600"/>
              <a:gd name="connsiteY213" fmla="*/ 3655526 h 6858000"/>
              <a:gd name="connsiteX214" fmla="*/ 1313114 w 7467600"/>
              <a:gd name="connsiteY214" fmla="*/ 3655216 h 6858000"/>
              <a:gd name="connsiteX215" fmla="*/ 3655073 w 7467600"/>
              <a:gd name="connsiteY215" fmla="*/ 3650884 h 6858000"/>
              <a:gd name="connsiteX216" fmla="*/ 3989938 w 7467600"/>
              <a:gd name="connsiteY216" fmla="*/ 3991685 h 6858000"/>
              <a:gd name="connsiteX217" fmla="*/ 4393907 w 7467600"/>
              <a:gd name="connsiteY217" fmla="*/ 4261258 h 6858000"/>
              <a:gd name="connsiteX218" fmla="*/ 4648051 w 7467600"/>
              <a:gd name="connsiteY218" fmla="*/ 4374051 h 6858000"/>
              <a:gd name="connsiteX219" fmla="*/ 4383389 w 7467600"/>
              <a:gd name="connsiteY219" fmla="*/ 4184369 h 6858000"/>
              <a:gd name="connsiteX220" fmla="*/ 4165508 w 7467600"/>
              <a:gd name="connsiteY220" fmla="*/ 4035196 h 6858000"/>
              <a:gd name="connsiteX221" fmla="*/ 4068162 w 7467600"/>
              <a:gd name="connsiteY221" fmla="*/ 3953394 h 6858000"/>
              <a:gd name="connsiteX222" fmla="*/ 3981416 w 7467600"/>
              <a:gd name="connsiteY222" fmla="*/ 3880482 h 6858000"/>
              <a:gd name="connsiteX223" fmla="*/ 3800147 w 7467600"/>
              <a:gd name="connsiteY223" fmla="*/ 3749872 h 6858000"/>
              <a:gd name="connsiteX224" fmla="*/ 3655073 w 7467600"/>
              <a:gd name="connsiteY224" fmla="*/ 3650884 h 6858000"/>
              <a:gd name="connsiteX225" fmla="*/ 3670252 w 7467600"/>
              <a:gd name="connsiteY225" fmla="*/ 3622798 h 6858000"/>
              <a:gd name="connsiteX226" fmla="*/ 3817258 w 7467600"/>
              <a:gd name="connsiteY226" fmla="*/ 3723577 h 6858000"/>
              <a:gd name="connsiteX227" fmla="*/ 4000461 w 7467600"/>
              <a:gd name="connsiteY227" fmla="*/ 3855966 h 6858000"/>
              <a:gd name="connsiteX228" fmla="*/ 4088180 w 7467600"/>
              <a:gd name="connsiteY228" fmla="*/ 3929774 h 6858000"/>
              <a:gd name="connsiteX229" fmla="*/ 4184555 w 7467600"/>
              <a:gd name="connsiteY229" fmla="*/ 4010683 h 6858000"/>
              <a:gd name="connsiteX230" fmla="*/ 4399563 w 7467600"/>
              <a:gd name="connsiteY230" fmla="*/ 4158106 h 6858000"/>
              <a:gd name="connsiteX231" fmla="*/ 4684469 w 7467600"/>
              <a:gd name="connsiteY231" fmla="*/ 4364680 h 6858000"/>
              <a:gd name="connsiteX232" fmla="*/ 4690271 w 7467600"/>
              <a:gd name="connsiteY232" fmla="*/ 4370034 h 6858000"/>
              <a:gd name="connsiteX233" fmla="*/ 4136093 w 7467600"/>
              <a:gd name="connsiteY233" fmla="*/ 3858466 h 6858000"/>
              <a:gd name="connsiteX234" fmla="*/ 3670252 w 7467600"/>
              <a:gd name="connsiteY234" fmla="*/ 3622798 h 6858000"/>
              <a:gd name="connsiteX235" fmla="*/ 4440129 w 7467600"/>
              <a:gd name="connsiteY235" fmla="*/ 3448571 h 6858000"/>
              <a:gd name="connsiteX236" fmla="*/ 4856525 w 7467600"/>
              <a:gd name="connsiteY236" fmla="*/ 3915351 h 6858000"/>
              <a:gd name="connsiteX237" fmla="*/ 5059055 w 7467600"/>
              <a:gd name="connsiteY237" fmla="*/ 4108918 h 6858000"/>
              <a:gd name="connsiteX238" fmla="*/ 5290070 w 7467600"/>
              <a:gd name="connsiteY238" fmla="*/ 4263619 h 6858000"/>
              <a:gd name="connsiteX239" fmla="*/ 4834991 w 7467600"/>
              <a:gd name="connsiteY239" fmla="*/ 3830985 h 6858000"/>
              <a:gd name="connsiteX240" fmla="*/ 4440129 w 7467600"/>
              <a:gd name="connsiteY240" fmla="*/ 3448571 h 6858000"/>
              <a:gd name="connsiteX241" fmla="*/ 4441737 w 7467600"/>
              <a:gd name="connsiteY241" fmla="*/ 3399734 h 6858000"/>
              <a:gd name="connsiteX242" fmla="*/ 4431236 w 7467600"/>
              <a:gd name="connsiteY242" fmla="*/ 3400954 h 6858000"/>
              <a:gd name="connsiteX243" fmla="*/ 4557150 w 7467600"/>
              <a:gd name="connsiteY243" fmla="*/ 3510023 h 6858000"/>
              <a:gd name="connsiteX244" fmla="*/ 4856936 w 7467600"/>
              <a:gd name="connsiteY244" fmla="*/ 3809146 h 6858000"/>
              <a:gd name="connsiteX245" fmla="*/ 5111996 w 7467600"/>
              <a:gd name="connsiteY245" fmla="*/ 4065759 h 6858000"/>
              <a:gd name="connsiteX246" fmla="*/ 5388878 w 7467600"/>
              <a:gd name="connsiteY246" fmla="*/ 4300185 h 6858000"/>
              <a:gd name="connsiteX247" fmla="*/ 5425556 w 7467600"/>
              <a:gd name="connsiteY247" fmla="*/ 4308967 h 6858000"/>
              <a:gd name="connsiteX248" fmla="*/ 4943646 w 7467600"/>
              <a:gd name="connsiteY248" fmla="*/ 3822916 h 6858000"/>
              <a:gd name="connsiteX249" fmla="*/ 4594837 w 7467600"/>
              <a:gd name="connsiteY249" fmla="*/ 3532274 h 6858000"/>
              <a:gd name="connsiteX250" fmla="*/ 4441737 w 7467600"/>
              <a:gd name="connsiteY250" fmla="*/ 3399734 h 6858000"/>
              <a:gd name="connsiteX251" fmla="*/ 5425834 w 7467600"/>
              <a:gd name="connsiteY251" fmla="*/ 3162785 h 6858000"/>
              <a:gd name="connsiteX252" fmla="*/ 5401644 w 7467600"/>
              <a:gd name="connsiteY252" fmla="*/ 3617847 h 6858000"/>
              <a:gd name="connsiteX253" fmla="*/ 5467256 w 7467600"/>
              <a:gd name="connsiteY253" fmla="*/ 4175494 h 6858000"/>
              <a:gd name="connsiteX254" fmla="*/ 5448069 w 7467600"/>
              <a:gd name="connsiteY254" fmla="*/ 3567554 h 6858000"/>
              <a:gd name="connsiteX255" fmla="*/ 5425834 w 7467600"/>
              <a:gd name="connsiteY255" fmla="*/ 3162785 h 6858000"/>
              <a:gd name="connsiteX256" fmla="*/ 1318687 w 7467600"/>
              <a:gd name="connsiteY256" fmla="*/ 3113840 h 6858000"/>
              <a:gd name="connsiteX257" fmla="*/ 1066793 w 7467600"/>
              <a:gd name="connsiteY257" fmla="*/ 3212171 h 6858000"/>
              <a:gd name="connsiteX258" fmla="*/ 993319 w 7467600"/>
              <a:gd name="connsiteY258" fmla="*/ 3247648 h 6858000"/>
              <a:gd name="connsiteX259" fmla="*/ 853081 w 7467600"/>
              <a:gd name="connsiteY259" fmla="*/ 3312410 h 6858000"/>
              <a:gd name="connsiteX260" fmla="*/ 805957 w 7467600"/>
              <a:gd name="connsiteY260" fmla="*/ 3330443 h 6858000"/>
              <a:gd name="connsiteX261" fmla="*/ 1318687 w 7467600"/>
              <a:gd name="connsiteY261" fmla="*/ 3113840 h 6858000"/>
              <a:gd name="connsiteX262" fmla="*/ 5453702 w 7467600"/>
              <a:gd name="connsiteY262" fmla="*/ 3090882 h 6858000"/>
              <a:gd name="connsiteX263" fmla="*/ 5480135 w 7467600"/>
              <a:gd name="connsiteY263" fmla="*/ 3565802 h 6858000"/>
              <a:gd name="connsiteX264" fmla="*/ 5499023 w 7467600"/>
              <a:gd name="connsiteY264" fmla="*/ 4166310 h 6858000"/>
              <a:gd name="connsiteX265" fmla="*/ 5547022 w 7467600"/>
              <a:gd name="connsiteY265" fmla="*/ 3607838 h 6858000"/>
              <a:gd name="connsiteX266" fmla="*/ 5515964 w 7467600"/>
              <a:gd name="connsiteY266" fmla="*/ 3378541 h 6858000"/>
              <a:gd name="connsiteX267" fmla="*/ 5453702 w 7467600"/>
              <a:gd name="connsiteY267" fmla="*/ 3090882 h 6858000"/>
              <a:gd name="connsiteX268" fmla="*/ 1238695 w 7467600"/>
              <a:gd name="connsiteY268" fmla="*/ 3076820 h 6858000"/>
              <a:gd name="connsiteX269" fmla="*/ 716371 w 7467600"/>
              <a:gd name="connsiteY269" fmla="*/ 3293249 h 6858000"/>
              <a:gd name="connsiteX270" fmla="*/ 579522 w 7467600"/>
              <a:gd name="connsiteY270" fmla="*/ 3371759 h 6858000"/>
              <a:gd name="connsiteX271" fmla="*/ 600288 w 7467600"/>
              <a:gd name="connsiteY271" fmla="*/ 3365555 h 6858000"/>
              <a:gd name="connsiteX272" fmla="*/ 840692 w 7467600"/>
              <a:gd name="connsiteY272" fmla="*/ 3284921 h 6858000"/>
              <a:gd name="connsiteX273" fmla="*/ 979248 w 7467600"/>
              <a:gd name="connsiteY273" fmla="*/ 3221003 h 6858000"/>
              <a:gd name="connsiteX274" fmla="*/ 1053282 w 7467600"/>
              <a:gd name="connsiteY274" fmla="*/ 3185247 h 6858000"/>
              <a:gd name="connsiteX275" fmla="*/ 1320603 w 7467600"/>
              <a:gd name="connsiteY275" fmla="*/ 3081281 h 6858000"/>
              <a:gd name="connsiteX276" fmla="*/ 1238695 w 7467600"/>
              <a:gd name="connsiteY276" fmla="*/ 3076820 h 6858000"/>
              <a:gd name="connsiteX277" fmla="*/ 5425627 w 7467600"/>
              <a:gd name="connsiteY277" fmla="*/ 2954192 h 6858000"/>
              <a:gd name="connsiteX278" fmla="*/ 5470770 w 7467600"/>
              <a:gd name="connsiteY278" fmla="*/ 3005435 h 6858000"/>
              <a:gd name="connsiteX279" fmla="*/ 5519779 w 7467600"/>
              <a:gd name="connsiteY279" fmla="*/ 4359223 h 6858000"/>
              <a:gd name="connsiteX280" fmla="*/ 5520293 w 7467600"/>
              <a:gd name="connsiteY280" fmla="*/ 4360602 h 6858000"/>
              <a:gd name="connsiteX281" fmla="*/ 5767221 w 7467600"/>
              <a:gd name="connsiteY281" fmla="*/ 4665564 h 6858000"/>
              <a:gd name="connsiteX282" fmla="*/ 6937169 w 7467600"/>
              <a:gd name="connsiteY282" fmla="*/ 4815941 h 6858000"/>
              <a:gd name="connsiteX283" fmla="*/ 6953922 w 7467600"/>
              <a:gd name="connsiteY283" fmla="*/ 4890068 h 6858000"/>
              <a:gd name="connsiteX284" fmla="*/ 6071359 w 7467600"/>
              <a:gd name="connsiteY284" fmla="*/ 4770770 h 6858000"/>
              <a:gd name="connsiteX285" fmla="*/ 6038839 w 7467600"/>
              <a:gd name="connsiteY285" fmla="*/ 4764474 h 6858000"/>
              <a:gd name="connsiteX286" fmla="*/ 6038706 w 7467600"/>
              <a:gd name="connsiteY286" fmla="*/ 4763847 h 6858000"/>
              <a:gd name="connsiteX287" fmla="*/ 6037784 w 7467600"/>
              <a:gd name="connsiteY287" fmla="*/ 4764270 h 6858000"/>
              <a:gd name="connsiteX288" fmla="*/ 6038839 w 7467600"/>
              <a:gd name="connsiteY288" fmla="*/ 4764474 h 6858000"/>
              <a:gd name="connsiteX289" fmla="*/ 6040338 w 7467600"/>
              <a:gd name="connsiteY289" fmla="*/ 4771418 h 6858000"/>
              <a:gd name="connsiteX290" fmla="*/ 6024488 w 7467600"/>
              <a:gd name="connsiteY290" fmla="*/ 4809903 h 6858000"/>
              <a:gd name="connsiteX291" fmla="*/ 5599771 w 7467600"/>
              <a:gd name="connsiteY291" fmla="*/ 5509652 h 6858000"/>
              <a:gd name="connsiteX292" fmla="*/ 5548843 w 7467600"/>
              <a:gd name="connsiteY292" fmla="*/ 5563845 h 6858000"/>
              <a:gd name="connsiteX293" fmla="*/ 5940952 w 7467600"/>
              <a:gd name="connsiteY293" fmla="*/ 6250028 h 6858000"/>
              <a:gd name="connsiteX294" fmla="*/ 6043441 w 7467600"/>
              <a:gd name="connsiteY294" fmla="*/ 6665847 h 6858000"/>
              <a:gd name="connsiteX295" fmla="*/ 6093432 w 7467600"/>
              <a:gd name="connsiteY295" fmla="*/ 6858000 h 6858000"/>
              <a:gd name="connsiteX296" fmla="*/ 6034344 w 7467600"/>
              <a:gd name="connsiteY296" fmla="*/ 6858000 h 6858000"/>
              <a:gd name="connsiteX297" fmla="*/ 6026679 w 7467600"/>
              <a:gd name="connsiteY297" fmla="*/ 6836959 h 6858000"/>
              <a:gd name="connsiteX298" fmla="*/ 5800441 w 7467600"/>
              <a:gd name="connsiteY298" fmla="*/ 6335286 h 6858000"/>
              <a:gd name="connsiteX299" fmla="*/ 5526562 w 7467600"/>
              <a:gd name="connsiteY299" fmla="*/ 5705388 h 6858000"/>
              <a:gd name="connsiteX300" fmla="*/ 5519640 w 7467600"/>
              <a:gd name="connsiteY300" fmla="*/ 5683774 h 6858000"/>
              <a:gd name="connsiteX301" fmla="*/ 5844559 w 7467600"/>
              <a:gd name="connsiteY301" fmla="*/ 6553349 h 6858000"/>
              <a:gd name="connsiteX302" fmla="*/ 5975994 w 7467600"/>
              <a:gd name="connsiteY302" fmla="*/ 6858000 h 6858000"/>
              <a:gd name="connsiteX303" fmla="*/ 5898547 w 7467600"/>
              <a:gd name="connsiteY303" fmla="*/ 6858000 h 6858000"/>
              <a:gd name="connsiteX304" fmla="*/ 5682041 w 7467600"/>
              <a:gd name="connsiteY304" fmla="*/ 6355860 h 6858000"/>
              <a:gd name="connsiteX305" fmla="*/ 5461758 w 7467600"/>
              <a:gd name="connsiteY305" fmla="*/ 5820220 h 6858000"/>
              <a:gd name="connsiteX306" fmla="*/ 5237282 w 7467600"/>
              <a:gd name="connsiteY306" fmla="*/ 6579086 h 6858000"/>
              <a:gd name="connsiteX307" fmla="*/ 5115009 w 7467600"/>
              <a:gd name="connsiteY307" fmla="*/ 6858000 h 6858000"/>
              <a:gd name="connsiteX308" fmla="*/ 5028074 w 7467600"/>
              <a:gd name="connsiteY308" fmla="*/ 6858000 h 6858000"/>
              <a:gd name="connsiteX309" fmla="*/ 5079508 w 7467600"/>
              <a:gd name="connsiteY309" fmla="*/ 6749074 h 6858000"/>
              <a:gd name="connsiteX310" fmla="*/ 5371846 w 7467600"/>
              <a:gd name="connsiteY310" fmla="*/ 5924413 h 6858000"/>
              <a:gd name="connsiteX311" fmla="*/ 5270512 w 7467600"/>
              <a:gd name="connsiteY311" fmla="*/ 6138975 h 6858000"/>
              <a:gd name="connsiteX312" fmla="*/ 5062409 w 7467600"/>
              <a:gd name="connsiteY312" fmla="*/ 6653544 h 6858000"/>
              <a:gd name="connsiteX313" fmla="*/ 5036628 w 7467600"/>
              <a:gd name="connsiteY313" fmla="*/ 6754247 h 6858000"/>
              <a:gd name="connsiteX314" fmla="*/ 5009112 w 7467600"/>
              <a:gd name="connsiteY314" fmla="*/ 6858000 h 6858000"/>
              <a:gd name="connsiteX315" fmla="*/ 4976679 w 7467600"/>
              <a:gd name="connsiteY315" fmla="*/ 6858000 h 6858000"/>
              <a:gd name="connsiteX316" fmla="*/ 5006537 w 7467600"/>
              <a:gd name="connsiteY316" fmla="*/ 6747068 h 6858000"/>
              <a:gd name="connsiteX317" fmla="*/ 5032723 w 7467600"/>
              <a:gd name="connsiteY317" fmla="*/ 6644957 h 6858000"/>
              <a:gd name="connsiteX318" fmla="*/ 5242949 w 7467600"/>
              <a:gd name="connsiteY318" fmla="*/ 6125175 h 6858000"/>
              <a:gd name="connsiteX319" fmla="*/ 5286321 w 7467600"/>
              <a:gd name="connsiteY319" fmla="*/ 6033555 h 6858000"/>
              <a:gd name="connsiteX320" fmla="*/ 5008210 w 7467600"/>
              <a:gd name="connsiteY320" fmla="*/ 6649194 h 6858000"/>
              <a:gd name="connsiteX321" fmla="*/ 4986321 w 7467600"/>
              <a:gd name="connsiteY321" fmla="*/ 6765687 h 6858000"/>
              <a:gd name="connsiteX322" fmla="*/ 4973474 w 7467600"/>
              <a:gd name="connsiteY322" fmla="*/ 6858000 h 6858000"/>
              <a:gd name="connsiteX323" fmla="*/ 4907178 w 7467600"/>
              <a:gd name="connsiteY323" fmla="*/ 6858000 h 6858000"/>
              <a:gd name="connsiteX324" fmla="*/ 4910810 w 7467600"/>
              <a:gd name="connsiteY324" fmla="*/ 6829660 h 6858000"/>
              <a:gd name="connsiteX325" fmla="*/ 4987461 w 7467600"/>
              <a:gd name="connsiteY325" fmla="*/ 6432994 h 6858000"/>
              <a:gd name="connsiteX326" fmla="*/ 5179262 w 7467600"/>
              <a:gd name="connsiteY326" fmla="*/ 6035044 h 6858000"/>
              <a:gd name="connsiteX327" fmla="*/ 4689678 w 7467600"/>
              <a:gd name="connsiteY327" fmla="*/ 6440241 h 6858000"/>
              <a:gd name="connsiteX328" fmla="*/ 4477543 w 7467600"/>
              <a:gd name="connsiteY328" fmla="*/ 6674836 h 6858000"/>
              <a:gd name="connsiteX329" fmla="*/ 4329957 w 7467600"/>
              <a:gd name="connsiteY329" fmla="*/ 6858000 h 6858000"/>
              <a:gd name="connsiteX330" fmla="*/ 4218595 w 7467600"/>
              <a:gd name="connsiteY330" fmla="*/ 6858000 h 6858000"/>
              <a:gd name="connsiteX331" fmla="*/ 4368888 w 7467600"/>
              <a:gd name="connsiteY331" fmla="*/ 6668412 h 6858000"/>
              <a:gd name="connsiteX332" fmla="*/ 4563091 w 7467600"/>
              <a:gd name="connsiteY332" fmla="*/ 6442508 h 6858000"/>
              <a:gd name="connsiteX333" fmla="*/ 5387324 w 7467600"/>
              <a:gd name="connsiteY333" fmla="*/ 5705830 h 6858000"/>
              <a:gd name="connsiteX334" fmla="*/ 5073620 w 7467600"/>
              <a:gd name="connsiteY334" fmla="*/ 5955437 h 6858000"/>
              <a:gd name="connsiteX335" fmla="*/ 4689789 w 7467600"/>
              <a:gd name="connsiteY335" fmla="*/ 6268382 h 6858000"/>
              <a:gd name="connsiteX336" fmla="*/ 4418722 w 7467600"/>
              <a:gd name="connsiteY336" fmla="*/ 6570886 h 6858000"/>
              <a:gd name="connsiteX337" fmla="*/ 4214944 w 7467600"/>
              <a:gd name="connsiteY337" fmla="*/ 6858000 h 6858000"/>
              <a:gd name="connsiteX338" fmla="*/ 4177898 w 7467600"/>
              <a:gd name="connsiteY338" fmla="*/ 6858000 h 6858000"/>
              <a:gd name="connsiteX339" fmla="*/ 4391597 w 7467600"/>
              <a:gd name="connsiteY339" fmla="*/ 6556370 h 6858000"/>
              <a:gd name="connsiteX340" fmla="*/ 4668889 w 7467600"/>
              <a:gd name="connsiteY340" fmla="*/ 6246399 h 6858000"/>
              <a:gd name="connsiteX341" fmla="*/ 5055427 w 7467600"/>
              <a:gd name="connsiteY341" fmla="*/ 5931476 h 6858000"/>
              <a:gd name="connsiteX342" fmla="*/ 5371814 w 7467600"/>
              <a:gd name="connsiteY342" fmla="*/ 5678975 h 6858000"/>
              <a:gd name="connsiteX343" fmla="*/ 4987918 w 7467600"/>
              <a:gd name="connsiteY343" fmla="*/ 5838701 h 6858000"/>
              <a:gd name="connsiteX344" fmla="*/ 4317146 w 7467600"/>
              <a:gd name="connsiteY344" fmla="*/ 6587716 h 6858000"/>
              <a:gd name="connsiteX345" fmla="*/ 4171627 w 7467600"/>
              <a:gd name="connsiteY345" fmla="*/ 6858000 h 6858000"/>
              <a:gd name="connsiteX346" fmla="*/ 4081585 w 7467600"/>
              <a:gd name="connsiteY346" fmla="*/ 6858000 h 6858000"/>
              <a:gd name="connsiteX347" fmla="*/ 4238603 w 7467600"/>
              <a:gd name="connsiteY347" fmla="*/ 6559341 h 6858000"/>
              <a:gd name="connsiteX348" fmla="*/ 4778333 w 7467600"/>
              <a:gd name="connsiteY348" fmla="*/ 5873626 h 6858000"/>
              <a:gd name="connsiteX349" fmla="*/ 5414185 w 7467600"/>
              <a:gd name="connsiteY349" fmla="*/ 5573882 h 6858000"/>
              <a:gd name="connsiteX350" fmla="*/ 5959648 w 7467600"/>
              <a:gd name="connsiteY350" fmla="*/ 4760797 h 6858000"/>
              <a:gd name="connsiteX351" fmla="*/ 5355019 w 7467600"/>
              <a:gd name="connsiteY351" fmla="*/ 4734672 h 6858000"/>
              <a:gd name="connsiteX352" fmla="*/ 5083565 w 7467600"/>
              <a:gd name="connsiteY352" fmla="*/ 5179121 h 6858000"/>
              <a:gd name="connsiteX353" fmla="*/ 4713577 w 7467600"/>
              <a:gd name="connsiteY353" fmla="*/ 5616803 h 6858000"/>
              <a:gd name="connsiteX354" fmla="*/ 3989559 w 7467600"/>
              <a:gd name="connsiteY354" fmla="*/ 6145945 h 6858000"/>
              <a:gd name="connsiteX355" fmla="*/ 3939824 w 7467600"/>
              <a:gd name="connsiteY355" fmla="*/ 6066900 h 6858000"/>
              <a:gd name="connsiteX356" fmla="*/ 4584537 w 7467600"/>
              <a:gd name="connsiteY356" fmla="*/ 5324826 h 6858000"/>
              <a:gd name="connsiteX357" fmla="*/ 5037105 w 7467600"/>
              <a:gd name="connsiteY357" fmla="*/ 5088765 h 6858000"/>
              <a:gd name="connsiteX358" fmla="*/ 5039930 w 7467600"/>
              <a:gd name="connsiteY358" fmla="*/ 5089585 h 6858000"/>
              <a:gd name="connsiteX359" fmla="*/ 5263764 w 7467600"/>
              <a:gd name="connsiteY359" fmla="*/ 4735525 h 6858000"/>
              <a:gd name="connsiteX360" fmla="*/ 4086300 w 7467600"/>
              <a:gd name="connsiteY360" fmla="*/ 4884599 h 6858000"/>
              <a:gd name="connsiteX361" fmla="*/ 4085485 w 7467600"/>
              <a:gd name="connsiteY361" fmla="*/ 4899070 h 6858000"/>
              <a:gd name="connsiteX362" fmla="*/ 3871915 w 7467600"/>
              <a:gd name="connsiteY362" fmla="*/ 5253645 h 6858000"/>
              <a:gd name="connsiteX363" fmla="*/ 3799374 w 7467600"/>
              <a:gd name="connsiteY363" fmla="*/ 5466127 h 6858000"/>
              <a:gd name="connsiteX364" fmla="*/ 3498850 w 7467600"/>
              <a:gd name="connsiteY364" fmla="*/ 6661888 h 6858000"/>
              <a:gd name="connsiteX365" fmla="*/ 3399216 w 7467600"/>
              <a:gd name="connsiteY365" fmla="*/ 6858000 h 6858000"/>
              <a:gd name="connsiteX366" fmla="*/ 3303688 w 7467600"/>
              <a:gd name="connsiteY366" fmla="*/ 6858000 h 6858000"/>
              <a:gd name="connsiteX367" fmla="*/ 3391774 w 7467600"/>
              <a:gd name="connsiteY367" fmla="*/ 6697181 h 6858000"/>
              <a:gd name="connsiteX368" fmla="*/ 3735540 w 7467600"/>
              <a:gd name="connsiteY368" fmla="*/ 5546923 h 6858000"/>
              <a:gd name="connsiteX369" fmla="*/ 3729438 w 7467600"/>
              <a:gd name="connsiteY369" fmla="*/ 5569058 h 6858000"/>
              <a:gd name="connsiteX370" fmla="*/ 3707782 w 7467600"/>
              <a:gd name="connsiteY370" fmla="*/ 5644908 h 6858000"/>
              <a:gd name="connsiteX371" fmla="*/ 3583827 w 7467600"/>
              <a:gd name="connsiteY371" fmla="*/ 6039215 h 6858000"/>
              <a:gd name="connsiteX372" fmla="*/ 3547861 w 7467600"/>
              <a:gd name="connsiteY372" fmla="*/ 6129609 h 6858000"/>
              <a:gd name="connsiteX373" fmla="*/ 3490905 w 7467600"/>
              <a:gd name="connsiteY373" fmla="*/ 6277660 h 6858000"/>
              <a:gd name="connsiteX374" fmla="*/ 3455859 w 7467600"/>
              <a:gd name="connsiteY374" fmla="*/ 6391301 h 6858000"/>
              <a:gd name="connsiteX375" fmla="*/ 3429112 w 7467600"/>
              <a:gd name="connsiteY375" fmla="*/ 6479469 h 6858000"/>
              <a:gd name="connsiteX376" fmla="*/ 3304862 w 7467600"/>
              <a:gd name="connsiteY376" fmla="*/ 6796476 h 6858000"/>
              <a:gd name="connsiteX377" fmla="*/ 3276071 w 7467600"/>
              <a:gd name="connsiteY377" fmla="*/ 6858000 h 6858000"/>
              <a:gd name="connsiteX378" fmla="*/ 3240805 w 7467600"/>
              <a:gd name="connsiteY378" fmla="*/ 6858000 h 6858000"/>
              <a:gd name="connsiteX379" fmla="*/ 3275917 w 7467600"/>
              <a:gd name="connsiteY379" fmla="*/ 6783192 h 6858000"/>
              <a:gd name="connsiteX380" fmla="*/ 3399358 w 7467600"/>
              <a:gd name="connsiteY380" fmla="*/ 6469011 h 6858000"/>
              <a:gd name="connsiteX381" fmla="*/ 3425650 w 7467600"/>
              <a:gd name="connsiteY381" fmla="*/ 6381333 h 6858000"/>
              <a:gd name="connsiteX382" fmla="*/ 3460661 w 7467600"/>
              <a:gd name="connsiteY382" fmla="*/ 6266763 h 6858000"/>
              <a:gd name="connsiteX383" fmla="*/ 3518021 w 7467600"/>
              <a:gd name="connsiteY383" fmla="*/ 6117298 h 6858000"/>
              <a:gd name="connsiteX384" fmla="*/ 3554035 w 7467600"/>
              <a:gd name="connsiteY384" fmla="*/ 6027832 h 6858000"/>
              <a:gd name="connsiteX385" fmla="*/ 3677174 w 7467600"/>
              <a:gd name="connsiteY385" fmla="*/ 5636351 h 6858000"/>
              <a:gd name="connsiteX386" fmla="*/ 3698819 w 7467600"/>
              <a:gd name="connsiteY386" fmla="*/ 5560503 h 6858000"/>
              <a:gd name="connsiteX387" fmla="*/ 3702094 w 7467600"/>
              <a:gd name="connsiteY387" fmla="*/ 5549194 h 6858000"/>
              <a:gd name="connsiteX388" fmla="*/ 3398355 w 7467600"/>
              <a:gd name="connsiteY388" fmla="*/ 6094603 h 6858000"/>
              <a:gd name="connsiteX389" fmla="*/ 3193941 w 7467600"/>
              <a:gd name="connsiteY389" fmla="*/ 6798775 h 6858000"/>
              <a:gd name="connsiteX390" fmla="*/ 3184140 w 7467600"/>
              <a:gd name="connsiteY390" fmla="*/ 6858000 h 6858000"/>
              <a:gd name="connsiteX391" fmla="*/ 3099978 w 7467600"/>
              <a:gd name="connsiteY391" fmla="*/ 6858000 h 6858000"/>
              <a:gd name="connsiteX392" fmla="*/ 3101556 w 7467600"/>
              <a:gd name="connsiteY392" fmla="*/ 6843337 h 6858000"/>
              <a:gd name="connsiteX393" fmla="*/ 3370162 w 7467600"/>
              <a:gd name="connsiteY393" fmla="*/ 5785550 h 6858000"/>
              <a:gd name="connsiteX394" fmla="*/ 3746477 w 7467600"/>
              <a:gd name="connsiteY394" fmla="*/ 5377889 h 6858000"/>
              <a:gd name="connsiteX395" fmla="*/ 3863399 w 7467600"/>
              <a:gd name="connsiteY395" fmla="*/ 5087257 h 6858000"/>
              <a:gd name="connsiteX396" fmla="*/ 3968712 w 7467600"/>
              <a:gd name="connsiteY396" fmla="*/ 4913989 h 6858000"/>
              <a:gd name="connsiteX397" fmla="*/ 2792390 w 7467600"/>
              <a:gd name="connsiteY397" fmla="*/ 5382974 h 6858000"/>
              <a:gd name="connsiteX398" fmla="*/ 2714982 w 7467600"/>
              <a:gd name="connsiteY398" fmla="*/ 5427051 h 6858000"/>
              <a:gd name="connsiteX399" fmla="*/ 2813361 w 7467600"/>
              <a:gd name="connsiteY399" fmla="*/ 6023912 h 6858000"/>
              <a:gd name="connsiteX400" fmla="*/ 2688430 w 7467600"/>
              <a:gd name="connsiteY400" fmla="*/ 6801564 h 6858000"/>
              <a:gd name="connsiteX401" fmla="*/ 2629626 w 7467600"/>
              <a:gd name="connsiteY401" fmla="*/ 6763394 h 6858000"/>
              <a:gd name="connsiteX402" fmla="*/ 2565328 w 7467600"/>
              <a:gd name="connsiteY402" fmla="*/ 5516399 h 6858000"/>
              <a:gd name="connsiteX403" fmla="*/ 1922999 w 7467600"/>
              <a:gd name="connsiteY403" fmla="*/ 5980343 h 6858000"/>
              <a:gd name="connsiteX404" fmla="*/ 1950261 w 7467600"/>
              <a:gd name="connsiteY404" fmla="*/ 6405858 h 6858000"/>
              <a:gd name="connsiteX405" fmla="*/ 2365554 w 7467600"/>
              <a:gd name="connsiteY405" fmla="*/ 6759107 h 6858000"/>
              <a:gd name="connsiteX406" fmla="*/ 2424142 w 7467600"/>
              <a:gd name="connsiteY406" fmla="*/ 6858000 h 6858000"/>
              <a:gd name="connsiteX407" fmla="*/ 2395994 w 7467600"/>
              <a:gd name="connsiteY407" fmla="*/ 6858000 h 6858000"/>
              <a:gd name="connsiteX408" fmla="*/ 2392863 w 7467600"/>
              <a:gd name="connsiteY408" fmla="*/ 6852964 h 6858000"/>
              <a:gd name="connsiteX409" fmla="*/ 2017589 w 7467600"/>
              <a:gd name="connsiteY409" fmla="*/ 6493982 h 6858000"/>
              <a:gd name="connsiteX410" fmla="*/ 2147336 w 7467600"/>
              <a:gd name="connsiteY410" fmla="*/ 6594052 h 6858000"/>
              <a:gd name="connsiteX411" fmla="*/ 2207047 w 7467600"/>
              <a:gd name="connsiteY411" fmla="*/ 6654540 h 6858000"/>
              <a:gd name="connsiteX412" fmla="*/ 2299106 w 7467600"/>
              <a:gd name="connsiteY412" fmla="*/ 6778931 h 6858000"/>
              <a:gd name="connsiteX413" fmla="*/ 2314430 w 7467600"/>
              <a:gd name="connsiteY413" fmla="*/ 6801144 h 6858000"/>
              <a:gd name="connsiteX414" fmla="*/ 2352406 w 7467600"/>
              <a:gd name="connsiteY414" fmla="*/ 6858000 h 6858000"/>
              <a:gd name="connsiteX415" fmla="*/ 2314492 w 7467600"/>
              <a:gd name="connsiteY415" fmla="*/ 6858000 h 6858000"/>
              <a:gd name="connsiteX416" fmla="*/ 2288095 w 7467600"/>
              <a:gd name="connsiteY416" fmla="*/ 6818030 h 6858000"/>
              <a:gd name="connsiteX417" fmla="*/ 2272768 w 7467600"/>
              <a:gd name="connsiteY417" fmla="*/ 6795822 h 6858000"/>
              <a:gd name="connsiteX418" fmla="*/ 2182715 w 7467600"/>
              <a:gd name="connsiteY418" fmla="*/ 6675071 h 6858000"/>
              <a:gd name="connsiteX419" fmla="*/ 2032061 w 7467600"/>
              <a:gd name="connsiteY419" fmla="*/ 6541380 h 6858000"/>
              <a:gd name="connsiteX420" fmla="*/ 2257220 w 7467600"/>
              <a:gd name="connsiteY420" fmla="*/ 6826257 h 6858000"/>
              <a:gd name="connsiteX421" fmla="*/ 2281324 w 7467600"/>
              <a:gd name="connsiteY421" fmla="*/ 6858000 h 6858000"/>
              <a:gd name="connsiteX422" fmla="*/ 2242860 w 7467600"/>
              <a:gd name="connsiteY422" fmla="*/ 6858000 h 6858000"/>
              <a:gd name="connsiteX423" fmla="*/ 2232818 w 7467600"/>
              <a:gd name="connsiteY423" fmla="*/ 6844926 h 6858000"/>
              <a:gd name="connsiteX424" fmla="*/ 1990172 w 7467600"/>
              <a:gd name="connsiteY424" fmla="*/ 6542121 h 6858000"/>
              <a:gd name="connsiteX425" fmla="*/ 2124090 w 7467600"/>
              <a:gd name="connsiteY425" fmla="*/ 6761017 h 6858000"/>
              <a:gd name="connsiteX426" fmla="*/ 2200380 w 7467600"/>
              <a:gd name="connsiteY426" fmla="*/ 6858000 h 6858000"/>
              <a:gd name="connsiteX427" fmla="*/ 2147507 w 7467600"/>
              <a:gd name="connsiteY427" fmla="*/ 6858000 h 6858000"/>
              <a:gd name="connsiteX428" fmla="*/ 2070668 w 7467600"/>
              <a:gd name="connsiteY428" fmla="*/ 6761520 h 6858000"/>
              <a:gd name="connsiteX429" fmla="*/ 1975142 w 7467600"/>
              <a:gd name="connsiteY429" fmla="*/ 6585570 h 6858000"/>
              <a:gd name="connsiteX430" fmla="*/ 2050035 w 7467600"/>
              <a:gd name="connsiteY430" fmla="*/ 6813345 h 6858000"/>
              <a:gd name="connsiteX431" fmla="*/ 2063025 w 7467600"/>
              <a:gd name="connsiteY431" fmla="*/ 6858000 h 6858000"/>
              <a:gd name="connsiteX432" fmla="*/ 2021675 w 7467600"/>
              <a:gd name="connsiteY432" fmla="*/ 6858000 h 6858000"/>
              <a:gd name="connsiteX433" fmla="*/ 2019308 w 7467600"/>
              <a:gd name="connsiteY433" fmla="*/ 6847118 h 6858000"/>
              <a:gd name="connsiteX434" fmla="*/ 1938835 w 7467600"/>
              <a:gd name="connsiteY434" fmla="*/ 6551160 h 6858000"/>
              <a:gd name="connsiteX435" fmla="*/ 1953230 w 7467600"/>
              <a:gd name="connsiteY435" fmla="*/ 6759699 h 6858000"/>
              <a:gd name="connsiteX436" fmla="*/ 1956763 w 7467600"/>
              <a:gd name="connsiteY436" fmla="*/ 6778191 h 6858000"/>
              <a:gd name="connsiteX437" fmla="*/ 1967925 w 7467600"/>
              <a:gd name="connsiteY437" fmla="*/ 6858000 h 6858000"/>
              <a:gd name="connsiteX438" fmla="*/ 1936622 w 7467600"/>
              <a:gd name="connsiteY438" fmla="*/ 6858000 h 6858000"/>
              <a:gd name="connsiteX439" fmla="*/ 1926261 w 7467600"/>
              <a:gd name="connsiteY439" fmla="*/ 6784064 h 6858000"/>
              <a:gd name="connsiteX440" fmla="*/ 1922724 w 7467600"/>
              <a:gd name="connsiteY440" fmla="*/ 6765577 h 6858000"/>
              <a:gd name="connsiteX441" fmla="*/ 1904650 w 7467600"/>
              <a:gd name="connsiteY441" fmla="*/ 6639616 h 6858000"/>
              <a:gd name="connsiteX442" fmla="*/ 1885273 w 7467600"/>
              <a:gd name="connsiteY442" fmla="*/ 6858000 h 6858000"/>
              <a:gd name="connsiteX443" fmla="*/ 1854363 w 7467600"/>
              <a:gd name="connsiteY443" fmla="*/ 6858000 h 6858000"/>
              <a:gd name="connsiteX444" fmla="*/ 1880391 w 7467600"/>
              <a:gd name="connsiteY444" fmla="*/ 6603796 h 6858000"/>
              <a:gd name="connsiteX445" fmla="*/ 1818273 w 7467600"/>
              <a:gd name="connsiteY445" fmla="*/ 6715729 h 6858000"/>
              <a:gd name="connsiteX446" fmla="*/ 1794691 w 7467600"/>
              <a:gd name="connsiteY446" fmla="*/ 6843239 h 6858000"/>
              <a:gd name="connsiteX447" fmla="*/ 1794914 w 7467600"/>
              <a:gd name="connsiteY447" fmla="*/ 6858000 h 6858000"/>
              <a:gd name="connsiteX448" fmla="*/ 1746128 w 7467600"/>
              <a:gd name="connsiteY448" fmla="*/ 6858000 h 6858000"/>
              <a:gd name="connsiteX449" fmla="*/ 1753934 w 7467600"/>
              <a:gd name="connsiteY449" fmla="*/ 6724796 h 6858000"/>
              <a:gd name="connsiteX450" fmla="*/ 1792053 w 7467600"/>
              <a:gd name="connsiteY450" fmla="*/ 6572396 h 6858000"/>
              <a:gd name="connsiteX451" fmla="*/ 1862248 w 7467600"/>
              <a:gd name="connsiteY451" fmla="*/ 6266397 h 6858000"/>
              <a:gd name="connsiteX452" fmla="*/ 1862250 w 7467600"/>
              <a:gd name="connsiteY452" fmla="*/ 6033531 h 6858000"/>
              <a:gd name="connsiteX453" fmla="*/ 1211999 w 7467600"/>
              <a:gd name="connsiteY453" fmla="*/ 6683610 h 6858000"/>
              <a:gd name="connsiteX454" fmla="*/ 1213266 w 7467600"/>
              <a:gd name="connsiteY454" fmla="*/ 6691947 h 6858000"/>
              <a:gd name="connsiteX455" fmla="*/ 1203370 w 7467600"/>
              <a:gd name="connsiteY455" fmla="*/ 6850676 h 6858000"/>
              <a:gd name="connsiteX456" fmla="*/ 1203671 w 7467600"/>
              <a:gd name="connsiteY456" fmla="*/ 6858000 h 6858000"/>
              <a:gd name="connsiteX457" fmla="*/ 1143180 w 7467600"/>
              <a:gd name="connsiteY457" fmla="*/ 6858000 h 6858000"/>
              <a:gd name="connsiteX458" fmla="*/ 1142176 w 7467600"/>
              <a:gd name="connsiteY458" fmla="*/ 6766045 h 6858000"/>
              <a:gd name="connsiteX459" fmla="*/ 1067484 w 7467600"/>
              <a:gd name="connsiteY459" fmla="*/ 6858000 h 6858000"/>
              <a:gd name="connsiteX460" fmla="*/ 953928 w 7467600"/>
              <a:gd name="connsiteY460" fmla="*/ 6858000 h 6858000"/>
              <a:gd name="connsiteX461" fmla="*/ 959715 w 7467600"/>
              <a:gd name="connsiteY461" fmla="*/ 6850185 h 6858000"/>
              <a:gd name="connsiteX462" fmla="*/ 1483788 w 7467600"/>
              <a:gd name="connsiteY462" fmla="*/ 6259174 h 6858000"/>
              <a:gd name="connsiteX463" fmla="*/ 1100671 w 7467600"/>
              <a:gd name="connsiteY463" fmla="*/ 6252137 h 6858000"/>
              <a:gd name="connsiteX464" fmla="*/ 1090144 w 7467600"/>
              <a:gd name="connsiteY464" fmla="*/ 6256748 h 6858000"/>
              <a:gd name="connsiteX465" fmla="*/ 1095872 w 7467600"/>
              <a:gd name="connsiteY465" fmla="*/ 6271892 h 6858000"/>
              <a:gd name="connsiteX466" fmla="*/ 262785 w 7467600"/>
              <a:gd name="connsiteY466" fmla="*/ 6845450 h 6858000"/>
              <a:gd name="connsiteX467" fmla="*/ 209968 w 7467600"/>
              <a:gd name="connsiteY467" fmla="*/ 6770713 h 6858000"/>
              <a:gd name="connsiteX468" fmla="*/ 873460 w 7467600"/>
              <a:gd name="connsiteY468" fmla="*/ 6253768 h 6858000"/>
              <a:gd name="connsiteX469" fmla="*/ 192686 w 7467600"/>
              <a:gd name="connsiteY469" fmla="*/ 5849257 h 6858000"/>
              <a:gd name="connsiteX470" fmla="*/ 4696 w 7467600"/>
              <a:gd name="connsiteY470" fmla="*/ 5697668 h 6858000"/>
              <a:gd name="connsiteX471" fmla="*/ 0 w 7467600"/>
              <a:gd name="connsiteY471" fmla="*/ 5689984 h 6858000"/>
              <a:gd name="connsiteX472" fmla="*/ 0 w 7467600"/>
              <a:gd name="connsiteY472" fmla="*/ 5513472 h 6858000"/>
              <a:gd name="connsiteX473" fmla="*/ 174101 w 7467600"/>
              <a:gd name="connsiteY473" fmla="*/ 5620277 h 6858000"/>
              <a:gd name="connsiteX474" fmla="*/ 891800 w 7467600"/>
              <a:gd name="connsiteY474" fmla="*/ 6036935 h 6858000"/>
              <a:gd name="connsiteX475" fmla="*/ 1072219 w 7467600"/>
              <a:gd name="connsiteY475" fmla="*/ 6169443 h 6858000"/>
              <a:gd name="connsiteX476" fmla="*/ 1074117 w 7467600"/>
              <a:gd name="connsiteY476" fmla="*/ 6170301 h 6858000"/>
              <a:gd name="connsiteX477" fmla="*/ 1083114 w 7467600"/>
              <a:gd name="connsiteY477" fmla="*/ 6174131 h 6858000"/>
              <a:gd name="connsiteX478" fmla="*/ 1543010 w 7467600"/>
              <a:gd name="connsiteY478" fmla="*/ 6191140 h 6858000"/>
              <a:gd name="connsiteX479" fmla="*/ 1551080 w 7467600"/>
              <a:gd name="connsiteY479" fmla="*/ 6195006 h 6858000"/>
              <a:gd name="connsiteX480" fmla="*/ 2345443 w 7467600"/>
              <a:gd name="connsiteY480" fmla="*/ 5549882 h 6858000"/>
              <a:gd name="connsiteX481" fmla="*/ 1721499 w 7467600"/>
              <a:gd name="connsiteY481" fmla="*/ 5599969 h 6858000"/>
              <a:gd name="connsiteX482" fmla="*/ 767716 w 7467600"/>
              <a:gd name="connsiteY482" fmla="*/ 5472768 h 6858000"/>
              <a:gd name="connsiteX483" fmla="*/ 722147 w 7467600"/>
              <a:gd name="connsiteY483" fmla="*/ 5393091 h 6858000"/>
              <a:gd name="connsiteX484" fmla="*/ 1485552 w 7467600"/>
              <a:gd name="connsiteY484" fmla="*/ 5313202 h 6858000"/>
              <a:gd name="connsiteX485" fmla="*/ 2143004 w 7467600"/>
              <a:gd name="connsiteY485" fmla="*/ 5402420 h 6858000"/>
              <a:gd name="connsiteX486" fmla="*/ 1933391 w 7467600"/>
              <a:gd name="connsiteY486" fmla="*/ 5156971 h 6858000"/>
              <a:gd name="connsiteX487" fmla="*/ 1827118 w 7467600"/>
              <a:gd name="connsiteY487" fmla="*/ 4968410 h 6858000"/>
              <a:gd name="connsiteX488" fmla="*/ 1837349 w 7467600"/>
              <a:gd name="connsiteY488" fmla="*/ 4956357 h 6858000"/>
              <a:gd name="connsiteX489" fmla="*/ 2162835 w 7467600"/>
              <a:gd name="connsiteY489" fmla="*/ 5187853 h 6858000"/>
              <a:gd name="connsiteX490" fmla="*/ 2257167 w 7467600"/>
              <a:gd name="connsiteY490" fmla="*/ 5462123 h 6858000"/>
              <a:gd name="connsiteX491" fmla="*/ 2261598 w 7467600"/>
              <a:gd name="connsiteY491" fmla="*/ 5467998 h 6858000"/>
              <a:gd name="connsiteX492" fmla="*/ 2437177 w 7467600"/>
              <a:gd name="connsiteY492" fmla="*/ 5479608 h 6858000"/>
              <a:gd name="connsiteX493" fmla="*/ 2445247 w 7467600"/>
              <a:gd name="connsiteY493" fmla="*/ 5483476 h 6858000"/>
              <a:gd name="connsiteX494" fmla="*/ 2743626 w 7467600"/>
              <a:gd name="connsiteY494" fmla="*/ 5304819 h 6858000"/>
              <a:gd name="connsiteX495" fmla="*/ 3048102 w 7467600"/>
              <a:gd name="connsiteY495" fmla="*/ 5150595 h 6858000"/>
              <a:gd name="connsiteX496" fmla="*/ 1799414 w 7467600"/>
              <a:gd name="connsiteY496" fmla="*/ 4694732 h 6858000"/>
              <a:gd name="connsiteX497" fmla="*/ 1771735 w 7467600"/>
              <a:gd name="connsiteY497" fmla="*/ 4619929 h 6858000"/>
              <a:gd name="connsiteX498" fmla="*/ 3104273 w 7467600"/>
              <a:gd name="connsiteY498" fmla="*/ 5076159 h 6858000"/>
              <a:gd name="connsiteX499" fmla="*/ 3113245 w 7467600"/>
              <a:gd name="connsiteY499" fmla="*/ 5090705 h 6858000"/>
              <a:gd name="connsiteX500" fmla="*/ 3126294 w 7467600"/>
              <a:gd name="connsiteY500" fmla="*/ 5114400 h 6858000"/>
              <a:gd name="connsiteX501" fmla="*/ 3937433 w 7467600"/>
              <a:gd name="connsiteY501" fmla="*/ 4830473 h 6858000"/>
              <a:gd name="connsiteX502" fmla="*/ 3590475 w 7467600"/>
              <a:gd name="connsiteY502" fmla="*/ 4597974 h 6858000"/>
              <a:gd name="connsiteX503" fmla="*/ 3100264 w 7467600"/>
              <a:gd name="connsiteY503" fmla="*/ 4579845 h 6858000"/>
              <a:gd name="connsiteX504" fmla="*/ 2183576 w 7467600"/>
              <a:gd name="connsiteY504" fmla="*/ 4227150 h 6858000"/>
              <a:gd name="connsiteX505" fmla="*/ 2151029 w 7467600"/>
              <a:gd name="connsiteY505" fmla="*/ 4146947 h 6858000"/>
              <a:gd name="connsiteX506" fmla="*/ 3563434 w 7467600"/>
              <a:gd name="connsiteY506" fmla="*/ 4469115 h 6858000"/>
              <a:gd name="connsiteX507" fmla="*/ 3177952 w 7467600"/>
              <a:gd name="connsiteY507" fmla="*/ 3657386 h 6858000"/>
              <a:gd name="connsiteX508" fmla="*/ 3189263 w 7467600"/>
              <a:gd name="connsiteY508" fmla="*/ 3625726 h 6858000"/>
              <a:gd name="connsiteX509" fmla="*/ 3560912 w 7467600"/>
              <a:gd name="connsiteY509" fmla="*/ 4079863 h 6858000"/>
              <a:gd name="connsiteX510" fmla="*/ 3626636 w 7467600"/>
              <a:gd name="connsiteY510" fmla="*/ 4512230 h 6858000"/>
              <a:gd name="connsiteX511" fmla="*/ 3653088 w 7467600"/>
              <a:gd name="connsiteY511" fmla="*/ 4521417 h 6858000"/>
              <a:gd name="connsiteX512" fmla="*/ 3988128 w 7467600"/>
              <a:gd name="connsiteY512" fmla="*/ 4817267 h 6858000"/>
              <a:gd name="connsiteX513" fmla="*/ 4830582 w 7467600"/>
              <a:gd name="connsiteY513" fmla="*/ 4676000 h 6858000"/>
              <a:gd name="connsiteX514" fmla="*/ 4830100 w 7467600"/>
              <a:gd name="connsiteY514" fmla="*/ 4675554 h 6858000"/>
              <a:gd name="connsiteX515" fmla="*/ 4036318 w 7467600"/>
              <a:gd name="connsiteY515" fmla="*/ 4147013 h 6858000"/>
              <a:gd name="connsiteX516" fmla="*/ 3432098 w 7467600"/>
              <a:gd name="connsiteY516" fmla="*/ 3537312 h 6858000"/>
              <a:gd name="connsiteX517" fmla="*/ 3446761 w 7467600"/>
              <a:gd name="connsiteY517" fmla="*/ 3461278 h 6858000"/>
              <a:gd name="connsiteX518" fmla="*/ 4419733 w 7467600"/>
              <a:gd name="connsiteY518" fmla="*/ 3963555 h 6858000"/>
              <a:gd name="connsiteX519" fmla="*/ 4781371 w 7467600"/>
              <a:gd name="connsiteY519" fmla="*/ 4458604 h 6858000"/>
              <a:gd name="connsiteX520" fmla="*/ 4780440 w 7467600"/>
              <a:gd name="connsiteY520" fmla="*/ 4470290 h 6858000"/>
              <a:gd name="connsiteX521" fmla="*/ 4898954 w 7467600"/>
              <a:gd name="connsiteY521" fmla="*/ 4662092 h 6858000"/>
              <a:gd name="connsiteX522" fmla="*/ 4900699 w 7467600"/>
              <a:gd name="connsiteY522" fmla="*/ 4670867 h 6858000"/>
              <a:gd name="connsiteX523" fmla="*/ 5714511 w 7467600"/>
              <a:gd name="connsiteY523" fmla="*/ 4663483 h 6858000"/>
              <a:gd name="connsiteX524" fmla="*/ 5464793 w 7467600"/>
              <a:gd name="connsiteY524" fmla="*/ 4393556 h 6858000"/>
              <a:gd name="connsiteX525" fmla="*/ 5461897 w 7467600"/>
              <a:gd name="connsiteY525" fmla="*/ 4390879 h 6858000"/>
              <a:gd name="connsiteX526" fmla="*/ 4294126 w 7467600"/>
              <a:gd name="connsiteY526" fmla="*/ 3303048 h 6858000"/>
              <a:gd name="connsiteX527" fmla="*/ 4305321 w 7467600"/>
              <a:gd name="connsiteY527" fmla="*/ 3256953 h 6858000"/>
              <a:gd name="connsiteX528" fmla="*/ 4949299 w 7467600"/>
              <a:gd name="connsiteY528" fmla="*/ 3766336 h 6858000"/>
              <a:gd name="connsiteX529" fmla="*/ 5291452 w 7467600"/>
              <a:gd name="connsiteY529" fmla="*/ 4076801 h 6858000"/>
              <a:gd name="connsiteX530" fmla="*/ 5434998 w 7467600"/>
              <a:gd name="connsiteY530" fmla="*/ 4254100 h 6858000"/>
              <a:gd name="connsiteX531" fmla="*/ 5351015 w 7467600"/>
              <a:gd name="connsiteY531" fmla="*/ 3760989 h 6858000"/>
              <a:gd name="connsiteX532" fmla="*/ 5413780 w 7467600"/>
              <a:gd name="connsiteY532" fmla="*/ 2966265 h 6858000"/>
              <a:gd name="connsiteX533" fmla="*/ 5425627 w 7467600"/>
              <a:gd name="connsiteY533" fmla="*/ 2954192 h 6858000"/>
              <a:gd name="connsiteX534" fmla="*/ 6604735 w 7467600"/>
              <a:gd name="connsiteY534" fmla="*/ 2041381 h 6858000"/>
              <a:gd name="connsiteX535" fmla="*/ 7204487 w 7467600"/>
              <a:gd name="connsiteY535" fmla="*/ 2742112 h 6858000"/>
              <a:gd name="connsiteX536" fmla="*/ 7131592 w 7467600"/>
              <a:gd name="connsiteY536" fmla="*/ 2672096 h 6858000"/>
              <a:gd name="connsiteX537" fmla="*/ 6996344 w 7467600"/>
              <a:gd name="connsiteY537" fmla="*/ 2518310 h 6858000"/>
              <a:gd name="connsiteX538" fmla="*/ 6735495 w 7467600"/>
              <a:gd name="connsiteY538" fmla="*/ 2196890 h 6858000"/>
              <a:gd name="connsiteX539" fmla="*/ 6721901 w 7467600"/>
              <a:gd name="connsiteY539" fmla="*/ 2179274 h 6858000"/>
              <a:gd name="connsiteX540" fmla="*/ 6604735 w 7467600"/>
              <a:gd name="connsiteY540" fmla="*/ 2041381 h 6858000"/>
              <a:gd name="connsiteX541" fmla="*/ 6591670 w 7467600"/>
              <a:gd name="connsiteY541" fmla="*/ 1988277 h 6858000"/>
              <a:gd name="connsiteX542" fmla="*/ 6747349 w 7467600"/>
              <a:gd name="connsiteY542" fmla="*/ 2160069 h 6858000"/>
              <a:gd name="connsiteX543" fmla="*/ 6760943 w 7467600"/>
              <a:gd name="connsiteY543" fmla="*/ 2177686 h 6858000"/>
              <a:gd name="connsiteX544" fmla="*/ 7021065 w 7467600"/>
              <a:gd name="connsiteY544" fmla="*/ 2498102 h 6858000"/>
              <a:gd name="connsiteX545" fmla="*/ 7155223 w 7467600"/>
              <a:gd name="connsiteY545" fmla="*/ 2650386 h 6858000"/>
              <a:gd name="connsiteX546" fmla="*/ 7203167 w 7467600"/>
              <a:gd name="connsiteY546" fmla="*/ 2697288 h 6858000"/>
              <a:gd name="connsiteX547" fmla="*/ 6937703 w 7467600"/>
              <a:gd name="connsiteY547" fmla="*/ 2321981 h 6858000"/>
              <a:gd name="connsiteX548" fmla="*/ 6591670 w 7467600"/>
              <a:gd name="connsiteY548" fmla="*/ 1988277 h 6858000"/>
              <a:gd name="connsiteX549" fmla="*/ 5798671 w 7467600"/>
              <a:gd name="connsiteY549" fmla="*/ 1981601 h 6858000"/>
              <a:gd name="connsiteX550" fmla="*/ 5754709 w 7467600"/>
              <a:gd name="connsiteY550" fmla="*/ 2071454 h 6858000"/>
              <a:gd name="connsiteX551" fmla="*/ 5763044 w 7467600"/>
              <a:gd name="connsiteY551" fmla="*/ 2842206 h 6858000"/>
              <a:gd name="connsiteX552" fmla="*/ 5764974 w 7467600"/>
              <a:gd name="connsiteY552" fmla="*/ 2799609 h 6858000"/>
              <a:gd name="connsiteX553" fmla="*/ 5767665 w 7467600"/>
              <a:gd name="connsiteY553" fmla="*/ 2666409 h 6858000"/>
              <a:gd name="connsiteX554" fmla="*/ 5763055 w 7467600"/>
              <a:gd name="connsiteY554" fmla="*/ 2579705 h 6858000"/>
              <a:gd name="connsiteX555" fmla="*/ 5758079 w 7467600"/>
              <a:gd name="connsiteY555" fmla="*/ 2492508 h 6858000"/>
              <a:gd name="connsiteX556" fmla="*/ 5779325 w 7467600"/>
              <a:gd name="connsiteY556" fmla="*/ 2197069 h 6858000"/>
              <a:gd name="connsiteX557" fmla="*/ 5798671 w 7467600"/>
              <a:gd name="connsiteY557" fmla="*/ 1981601 h 6858000"/>
              <a:gd name="connsiteX558" fmla="*/ 5829202 w 7467600"/>
              <a:gd name="connsiteY558" fmla="*/ 1971679 h 6858000"/>
              <a:gd name="connsiteX559" fmla="*/ 5809558 w 7467600"/>
              <a:gd name="connsiteY559" fmla="*/ 2198043 h 6858000"/>
              <a:gd name="connsiteX560" fmla="*/ 5788653 w 7467600"/>
              <a:gd name="connsiteY560" fmla="*/ 2489430 h 6858000"/>
              <a:gd name="connsiteX561" fmla="*/ 5793439 w 7467600"/>
              <a:gd name="connsiteY561" fmla="*/ 2575235 h 6858000"/>
              <a:gd name="connsiteX562" fmla="*/ 5796837 w 7467600"/>
              <a:gd name="connsiteY562" fmla="*/ 2637633 h 6858000"/>
              <a:gd name="connsiteX563" fmla="*/ 5818614 w 7467600"/>
              <a:gd name="connsiteY563" fmla="*/ 2473055 h 6858000"/>
              <a:gd name="connsiteX564" fmla="*/ 5829202 w 7467600"/>
              <a:gd name="connsiteY564" fmla="*/ 1971679 h 6858000"/>
              <a:gd name="connsiteX565" fmla="*/ 5911389 w 7467600"/>
              <a:gd name="connsiteY565" fmla="*/ 1898371 h 6858000"/>
              <a:gd name="connsiteX566" fmla="*/ 6237627 w 7467600"/>
              <a:gd name="connsiteY566" fmla="*/ 2231921 h 6858000"/>
              <a:gd name="connsiteX567" fmla="*/ 5911389 w 7467600"/>
              <a:gd name="connsiteY567" fmla="*/ 1898371 h 6858000"/>
              <a:gd name="connsiteX568" fmla="*/ 6944437 w 7467600"/>
              <a:gd name="connsiteY568" fmla="*/ 1575402 h 6858000"/>
              <a:gd name="connsiteX569" fmla="*/ 6304730 w 7467600"/>
              <a:gd name="connsiteY569" fmla="*/ 1766654 h 6858000"/>
              <a:gd name="connsiteX570" fmla="*/ 6944437 w 7467600"/>
              <a:gd name="connsiteY570" fmla="*/ 1575402 h 6858000"/>
              <a:gd name="connsiteX571" fmla="*/ 7019523 w 7467600"/>
              <a:gd name="connsiteY571" fmla="*/ 1519450 h 6858000"/>
              <a:gd name="connsiteX572" fmla="*/ 6298091 w 7467600"/>
              <a:gd name="connsiteY572" fmla="*/ 1737122 h 6858000"/>
              <a:gd name="connsiteX573" fmla="*/ 7019523 w 7467600"/>
              <a:gd name="connsiteY573" fmla="*/ 1519450 h 6858000"/>
              <a:gd name="connsiteX574" fmla="*/ 2399523 w 7467600"/>
              <a:gd name="connsiteY574" fmla="*/ 1428234 h 6858000"/>
              <a:gd name="connsiteX575" fmla="*/ 2224982 w 7467600"/>
              <a:gd name="connsiteY575" fmla="*/ 1826201 h 6858000"/>
              <a:gd name="connsiteX576" fmla="*/ 2096099 w 7467600"/>
              <a:gd name="connsiteY576" fmla="*/ 2345900 h 6858000"/>
              <a:gd name="connsiteX577" fmla="*/ 2283317 w 7467600"/>
              <a:gd name="connsiteY577" fmla="*/ 1796925 h 6858000"/>
              <a:gd name="connsiteX578" fmla="*/ 2399523 w 7467600"/>
              <a:gd name="connsiteY578" fmla="*/ 1428234 h 6858000"/>
              <a:gd name="connsiteX579" fmla="*/ 2448558 w 7467600"/>
              <a:gd name="connsiteY579" fmla="*/ 1373435 h 6858000"/>
              <a:gd name="connsiteX580" fmla="*/ 2312521 w 7467600"/>
              <a:gd name="connsiteY580" fmla="*/ 1806140 h 6858000"/>
              <a:gd name="connsiteX581" fmla="*/ 2127533 w 7467600"/>
              <a:gd name="connsiteY581" fmla="*/ 2348380 h 6858000"/>
              <a:gd name="connsiteX582" fmla="*/ 2358080 w 7467600"/>
              <a:gd name="connsiteY582" fmla="*/ 1866134 h 6858000"/>
              <a:gd name="connsiteX583" fmla="*/ 2407436 w 7467600"/>
              <a:gd name="connsiteY583" fmla="*/ 1651070 h 6858000"/>
              <a:gd name="connsiteX584" fmla="*/ 2448558 w 7467600"/>
              <a:gd name="connsiteY584" fmla="*/ 1373435 h 6858000"/>
              <a:gd name="connsiteX585" fmla="*/ 278707 w 7467600"/>
              <a:gd name="connsiteY585" fmla="*/ 1352270 h 6858000"/>
              <a:gd name="connsiteX586" fmla="*/ 321570 w 7467600"/>
              <a:gd name="connsiteY586" fmla="*/ 1861610 h 6858000"/>
              <a:gd name="connsiteX587" fmla="*/ 294281 w 7467600"/>
              <a:gd name="connsiteY587" fmla="*/ 1440658 h 6858000"/>
              <a:gd name="connsiteX588" fmla="*/ 278707 w 7467600"/>
              <a:gd name="connsiteY588" fmla="*/ 1352270 h 6858000"/>
              <a:gd name="connsiteX589" fmla="*/ 1423821 w 7467600"/>
              <a:gd name="connsiteY589" fmla="*/ 1351958 h 6858000"/>
              <a:gd name="connsiteX590" fmla="*/ 1638521 w 7467600"/>
              <a:gd name="connsiteY590" fmla="*/ 1908470 h 6858000"/>
              <a:gd name="connsiteX591" fmla="*/ 1754199 w 7467600"/>
              <a:gd name="connsiteY591" fmla="*/ 2149284 h 6858000"/>
              <a:gd name="connsiteX592" fmla="*/ 1908359 w 7467600"/>
              <a:gd name="connsiteY592" fmla="*/ 2364988 h 6858000"/>
              <a:gd name="connsiteX593" fmla="*/ 1647661 w 7467600"/>
              <a:gd name="connsiteY593" fmla="*/ 1825945 h 6858000"/>
              <a:gd name="connsiteX594" fmla="*/ 1423821 w 7467600"/>
              <a:gd name="connsiteY594" fmla="*/ 1351958 h 6858000"/>
              <a:gd name="connsiteX595" fmla="*/ 1431890 w 7467600"/>
              <a:gd name="connsiteY595" fmla="*/ 1306475 h 6858000"/>
              <a:gd name="connsiteX596" fmla="*/ 1507597 w 7467600"/>
              <a:gd name="connsiteY596" fmla="*/ 1446132 h 6858000"/>
              <a:gd name="connsiteX597" fmla="*/ 1674586 w 7467600"/>
              <a:gd name="connsiteY597" fmla="*/ 1813832 h 6858000"/>
              <a:gd name="connsiteX598" fmla="*/ 1815950 w 7467600"/>
              <a:gd name="connsiteY598" fmla="*/ 2128564 h 6858000"/>
              <a:gd name="connsiteX599" fmla="*/ 1984242 w 7467600"/>
              <a:gd name="connsiteY599" fmla="*/ 2430829 h 6858000"/>
              <a:gd name="connsiteX600" fmla="*/ 2014023 w 7467600"/>
              <a:gd name="connsiteY600" fmla="*/ 2450995 h 6858000"/>
              <a:gd name="connsiteX601" fmla="*/ 1747337 w 7467600"/>
              <a:gd name="connsiteY601" fmla="*/ 1855264 h 6858000"/>
              <a:gd name="connsiteX602" fmla="*/ 1533749 w 7467600"/>
              <a:gd name="connsiteY602" fmla="*/ 1478656 h 6858000"/>
              <a:gd name="connsiteX603" fmla="*/ 1431890 w 7467600"/>
              <a:gd name="connsiteY603" fmla="*/ 1306475 h 6858000"/>
              <a:gd name="connsiteX604" fmla="*/ 5052692 w 7467600"/>
              <a:gd name="connsiteY604" fmla="*/ 1292994 h 6858000"/>
              <a:gd name="connsiteX605" fmla="*/ 5200661 w 7467600"/>
              <a:gd name="connsiteY605" fmla="*/ 1635186 h 6858000"/>
              <a:gd name="connsiteX606" fmla="*/ 5297138 w 7467600"/>
              <a:gd name="connsiteY606" fmla="*/ 1906351 h 6858000"/>
              <a:gd name="connsiteX607" fmla="*/ 5052692 w 7467600"/>
              <a:gd name="connsiteY607" fmla="*/ 1292994 h 6858000"/>
              <a:gd name="connsiteX608" fmla="*/ 5009948 w 7467600"/>
              <a:gd name="connsiteY608" fmla="*/ 1273619 h 6858000"/>
              <a:gd name="connsiteX609" fmla="*/ 5121777 w 7467600"/>
              <a:gd name="connsiteY609" fmla="*/ 1654213 h 6858000"/>
              <a:gd name="connsiteX610" fmla="*/ 5293545 w 7467600"/>
              <a:gd name="connsiteY610" fmla="*/ 2072247 h 6858000"/>
              <a:gd name="connsiteX611" fmla="*/ 5294042 w 7467600"/>
              <a:gd name="connsiteY611" fmla="*/ 2065019 h 6858000"/>
              <a:gd name="connsiteX612" fmla="*/ 5171936 w 7467600"/>
              <a:gd name="connsiteY612" fmla="*/ 1647613 h 6858000"/>
              <a:gd name="connsiteX613" fmla="*/ 5009948 w 7467600"/>
              <a:gd name="connsiteY613" fmla="*/ 1273619 h 6858000"/>
              <a:gd name="connsiteX614" fmla="*/ 655236 w 7467600"/>
              <a:gd name="connsiteY614" fmla="*/ 1268632 h 6858000"/>
              <a:gd name="connsiteX615" fmla="*/ 839521 w 7467600"/>
              <a:gd name="connsiteY615" fmla="*/ 1685315 h 6858000"/>
              <a:gd name="connsiteX616" fmla="*/ 1109416 w 7467600"/>
              <a:gd name="connsiteY616" fmla="*/ 2061663 h 6858000"/>
              <a:gd name="connsiteX617" fmla="*/ 1298300 w 7467600"/>
              <a:gd name="connsiteY617" fmla="*/ 2247742 h 6858000"/>
              <a:gd name="connsiteX618" fmla="*/ 1125871 w 7467600"/>
              <a:gd name="connsiteY618" fmla="*/ 1989513 h 6858000"/>
              <a:gd name="connsiteX619" fmla="*/ 981574 w 7467600"/>
              <a:gd name="connsiteY619" fmla="*/ 1783157 h 6858000"/>
              <a:gd name="connsiteX620" fmla="*/ 922198 w 7467600"/>
              <a:gd name="connsiteY620" fmla="*/ 1677437 h 6858000"/>
              <a:gd name="connsiteX621" fmla="*/ 869293 w 7467600"/>
              <a:gd name="connsiteY621" fmla="*/ 1583214 h 6858000"/>
              <a:gd name="connsiteX622" fmla="*/ 751431 w 7467600"/>
              <a:gd name="connsiteY622" fmla="*/ 1405731 h 6858000"/>
              <a:gd name="connsiteX623" fmla="*/ 655236 w 7467600"/>
              <a:gd name="connsiteY623" fmla="*/ 1268632 h 6858000"/>
              <a:gd name="connsiteX624" fmla="*/ 6516292 w 7467600"/>
              <a:gd name="connsiteY624" fmla="*/ 1263064 h 6858000"/>
              <a:gd name="connsiteX625" fmla="*/ 5736320 w 7467600"/>
              <a:gd name="connsiteY625" fmla="*/ 1501803 h 6858000"/>
              <a:gd name="connsiteX626" fmla="*/ 6516292 w 7467600"/>
              <a:gd name="connsiteY626" fmla="*/ 1263064 h 6858000"/>
              <a:gd name="connsiteX627" fmla="*/ 291466 w 7467600"/>
              <a:gd name="connsiteY627" fmla="*/ 1250369 h 6858000"/>
              <a:gd name="connsiteX628" fmla="*/ 323180 w 7467600"/>
              <a:gd name="connsiteY628" fmla="*/ 1435283 h 6858000"/>
              <a:gd name="connsiteX629" fmla="*/ 349381 w 7467600"/>
              <a:gd name="connsiteY629" fmla="*/ 1875041 h 6858000"/>
              <a:gd name="connsiteX630" fmla="*/ 374363 w 7467600"/>
              <a:gd name="connsiteY630" fmla="*/ 1506494 h 6858000"/>
              <a:gd name="connsiteX631" fmla="*/ 302168 w 7467600"/>
              <a:gd name="connsiteY631" fmla="*/ 1274495 h 6858000"/>
              <a:gd name="connsiteX632" fmla="*/ 291466 w 7467600"/>
              <a:gd name="connsiteY632" fmla="*/ 1250369 h 6858000"/>
              <a:gd name="connsiteX633" fmla="*/ 678222 w 7467600"/>
              <a:gd name="connsiteY633" fmla="*/ 1248670 h 6858000"/>
              <a:gd name="connsiteX634" fmla="*/ 775536 w 7467600"/>
              <a:gd name="connsiteY634" fmla="*/ 1388015 h 6858000"/>
              <a:gd name="connsiteX635" fmla="*/ 894529 w 7467600"/>
              <a:gd name="connsiteY635" fmla="*/ 1567739 h 6858000"/>
              <a:gd name="connsiteX636" fmla="*/ 948000 w 7467600"/>
              <a:gd name="connsiteY636" fmla="*/ 1663088 h 6858000"/>
              <a:gd name="connsiteX637" fmla="*/ 1006812 w 7467600"/>
              <a:gd name="connsiteY637" fmla="*/ 1767683 h 6858000"/>
              <a:gd name="connsiteX638" fmla="*/ 1149133 w 7467600"/>
              <a:gd name="connsiteY638" fmla="*/ 1971513 h 6858000"/>
              <a:gd name="connsiteX639" fmla="*/ 1333952 w 7467600"/>
              <a:gd name="connsiteY639" fmla="*/ 2251620 h 6858000"/>
              <a:gd name="connsiteX640" fmla="*/ 1337329 w 7467600"/>
              <a:gd name="connsiteY640" fmla="*/ 2258350 h 6858000"/>
              <a:gd name="connsiteX641" fmla="*/ 1014726 w 7467600"/>
              <a:gd name="connsiteY641" fmla="*/ 1615556 h 6858000"/>
              <a:gd name="connsiteX642" fmla="*/ 678222 w 7467600"/>
              <a:gd name="connsiteY642" fmla="*/ 1248670 h 6858000"/>
              <a:gd name="connsiteX643" fmla="*/ 6691602 w 7467600"/>
              <a:gd name="connsiteY643" fmla="*/ 1140573 h 6858000"/>
              <a:gd name="connsiteX644" fmla="*/ 6571100 w 7467600"/>
              <a:gd name="connsiteY644" fmla="*/ 1183662 h 6858000"/>
              <a:gd name="connsiteX645" fmla="*/ 6241687 w 7467600"/>
              <a:gd name="connsiteY645" fmla="*/ 1257600 h 6858000"/>
              <a:gd name="connsiteX646" fmla="*/ 5693009 w 7467600"/>
              <a:gd name="connsiteY646" fmla="*/ 1478256 h 6858000"/>
              <a:gd name="connsiteX647" fmla="*/ 6548420 w 7467600"/>
              <a:gd name="connsiteY647" fmla="*/ 1214599 h 6858000"/>
              <a:gd name="connsiteX648" fmla="*/ 6605473 w 7467600"/>
              <a:gd name="connsiteY648" fmla="*/ 1184686 h 6858000"/>
              <a:gd name="connsiteX649" fmla="*/ 6691602 w 7467600"/>
              <a:gd name="connsiteY649" fmla="*/ 1140573 h 6858000"/>
              <a:gd name="connsiteX650" fmla="*/ 4002475 w 7467600"/>
              <a:gd name="connsiteY650" fmla="*/ 1037802 h 6858000"/>
              <a:gd name="connsiteX651" fmla="*/ 4000324 w 7467600"/>
              <a:gd name="connsiteY651" fmla="*/ 1039362 h 6858000"/>
              <a:gd name="connsiteX652" fmla="*/ 4002862 w 7467600"/>
              <a:gd name="connsiteY652" fmla="*/ 1042866 h 6858000"/>
              <a:gd name="connsiteX653" fmla="*/ 4002475 w 7467600"/>
              <a:gd name="connsiteY653" fmla="*/ 1037802 h 6858000"/>
              <a:gd name="connsiteX654" fmla="*/ 506322 w 7467600"/>
              <a:gd name="connsiteY654" fmla="*/ 1020997 h 6858000"/>
              <a:gd name="connsiteX655" fmla="*/ 533068 w 7467600"/>
              <a:gd name="connsiteY655" fmla="*/ 1029409 h 6858000"/>
              <a:gd name="connsiteX656" fmla="*/ 1232525 w 7467600"/>
              <a:gd name="connsiteY656" fmla="*/ 1804675 h 6858000"/>
              <a:gd name="connsiteX657" fmla="*/ 1388858 w 7467600"/>
              <a:gd name="connsiteY657" fmla="*/ 2368011 h 6858000"/>
              <a:gd name="connsiteX658" fmla="*/ 1384098 w 7467600"/>
              <a:gd name="connsiteY658" fmla="*/ 2378125 h 6858000"/>
              <a:gd name="connsiteX659" fmla="*/ 1425393 w 7467600"/>
              <a:gd name="connsiteY659" fmla="*/ 2589124 h 6858000"/>
              <a:gd name="connsiteX660" fmla="*/ 1424001 w 7467600"/>
              <a:gd name="connsiteY660" fmla="*/ 2597541 h 6858000"/>
              <a:gd name="connsiteX661" fmla="*/ 2152729 w 7467600"/>
              <a:gd name="connsiteY661" fmla="*/ 2864487 h 6858000"/>
              <a:gd name="connsiteX662" fmla="*/ 2020609 w 7467600"/>
              <a:gd name="connsiteY662" fmla="*/ 2539671 h 6858000"/>
              <a:gd name="connsiteX663" fmla="*/ 2018920 w 7467600"/>
              <a:gd name="connsiteY663" fmla="*/ 2536309 h 6858000"/>
              <a:gd name="connsiteX664" fmla="*/ 1342441 w 7467600"/>
              <a:gd name="connsiteY664" fmla="*/ 1173017 h 6858000"/>
              <a:gd name="connsiteX665" fmla="*/ 1367925 w 7467600"/>
              <a:gd name="connsiteY665" fmla="*/ 1135648 h 6858000"/>
              <a:gd name="connsiteX666" fmla="*/ 1771401 w 7467600"/>
              <a:gd name="connsiteY666" fmla="*/ 1806673 h 6858000"/>
              <a:gd name="connsiteX667" fmla="*/ 1972385 w 7467600"/>
              <a:gd name="connsiteY667" fmla="*/ 2198735 h 6858000"/>
              <a:gd name="connsiteX668" fmla="*/ 2040892 w 7467600"/>
              <a:gd name="connsiteY668" fmla="*/ 2405205 h 6858000"/>
              <a:gd name="connsiteX669" fmla="*/ 2131689 w 7467600"/>
              <a:gd name="connsiteY669" fmla="*/ 1936926 h 6858000"/>
              <a:gd name="connsiteX670" fmla="*/ 2454820 w 7467600"/>
              <a:gd name="connsiteY670" fmla="*/ 1248808 h 6858000"/>
              <a:gd name="connsiteX671" fmla="*/ 2492512 w 7467600"/>
              <a:gd name="connsiteY671" fmla="*/ 1302920 h 6858000"/>
              <a:gd name="connsiteX672" fmla="*/ 2081216 w 7467600"/>
              <a:gd name="connsiteY672" fmla="*/ 2527513 h 6858000"/>
              <a:gd name="connsiteX673" fmla="*/ 2081211 w 7467600"/>
              <a:gd name="connsiteY673" fmla="*/ 2528916 h 6858000"/>
              <a:gd name="connsiteX674" fmla="*/ 2199067 w 7467600"/>
              <a:gd name="connsiteY674" fmla="*/ 2884061 h 6858000"/>
              <a:gd name="connsiteX675" fmla="*/ 3192586 w 7467600"/>
              <a:gd name="connsiteY675" fmla="*/ 3411496 h 6858000"/>
              <a:gd name="connsiteX676" fmla="*/ 3182620 w 7467600"/>
              <a:gd name="connsiteY676" fmla="*/ 3483279 h 6858000"/>
              <a:gd name="connsiteX677" fmla="*/ 2435119 w 7467600"/>
              <a:gd name="connsiteY677" fmla="*/ 3080173 h 6858000"/>
              <a:gd name="connsiteX678" fmla="*/ 2410152 w 7467600"/>
              <a:gd name="connsiteY678" fmla="*/ 3063751 h 6858000"/>
              <a:gd name="connsiteX679" fmla="*/ 2408099 w 7467600"/>
              <a:gd name="connsiteY679" fmla="*/ 3064403 h 6858000"/>
              <a:gd name="connsiteX680" fmla="*/ 2407218 w 7467600"/>
              <a:gd name="connsiteY680" fmla="*/ 3070324 h 6858000"/>
              <a:gd name="connsiteX681" fmla="*/ 2380138 w 7467600"/>
              <a:gd name="connsiteY681" fmla="*/ 3099341 h 6858000"/>
              <a:gd name="connsiteX682" fmla="*/ 1765923 w 7467600"/>
              <a:gd name="connsiteY682" fmla="*/ 3581043 h 6858000"/>
              <a:gd name="connsiteX683" fmla="*/ 1702258 w 7467600"/>
              <a:gd name="connsiteY683" fmla="*/ 3612286 h 6858000"/>
              <a:gd name="connsiteX684" fmla="*/ 1538370 w 7467600"/>
              <a:gd name="connsiteY684" fmla="*/ 3811804 h 6858000"/>
              <a:gd name="connsiteX685" fmla="*/ 542867 w 7467600"/>
              <a:gd name="connsiteY685" fmla="*/ 4944092 h 6858000"/>
              <a:gd name="connsiteX686" fmla="*/ 515800 w 7467600"/>
              <a:gd name="connsiteY686" fmla="*/ 4862180 h 6858000"/>
              <a:gd name="connsiteX687" fmla="*/ 909145 w 7467600"/>
              <a:gd name="connsiteY687" fmla="*/ 4199225 h 6858000"/>
              <a:gd name="connsiteX688" fmla="*/ 1214067 w 7467600"/>
              <a:gd name="connsiteY688" fmla="*/ 3908561 h 6858000"/>
              <a:gd name="connsiteX689" fmla="*/ 640967 w 7467600"/>
              <a:gd name="connsiteY689" fmla="*/ 4105601 h 6858000"/>
              <a:gd name="connsiteX690" fmla="*/ 112563 w 7467600"/>
              <a:gd name="connsiteY690" fmla="*/ 4396952 h 6858000"/>
              <a:gd name="connsiteX691" fmla="*/ 0 w 7467600"/>
              <a:gd name="connsiteY691" fmla="*/ 4466006 h 6858000"/>
              <a:gd name="connsiteX692" fmla="*/ 0 w 7467600"/>
              <a:gd name="connsiteY692" fmla="*/ 4233763 h 6858000"/>
              <a:gd name="connsiteX693" fmla="*/ 36881 w 7467600"/>
              <a:gd name="connsiteY693" fmla="*/ 4200118 h 6858000"/>
              <a:gd name="connsiteX694" fmla="*/ 910534 w 7467600"/>
              <a:gd name="connsiteY694" fmla="*/ 3629753 h 6858000"/>
              <a:gd name="connsiteX695" fmla="*/ 1578717 w 7467600"/>
              <a:gd name="connsiteY695" fmla="*/ 3575982 h 6858000"/>
              <a:gd name="connsiteX696" fmla="*/ 2338780 w 7467600"/>
              <a:gd name="connsiteY696" fmla="*/ 3033725 h 6858000"/>
              <a:gd name="connsiteX697" fmla="*/ 1807991 w 7467600"/>
              <a:gd name="connsiteY697" fmla="*/ 2807184 h 6858000"/>
              <a:gd name="connsiteX698" fmla="*/ 1416358 w 7467600"/>
              <a:gd name="connsiteY698" fmla="*/ 3112571 h 6858000"/>
              <a:gd name="connsiteX699" fmla="*/ 939066 w 7467600"/>
              <a:gd name="connsiteY699" fmla="*/ 3378798 h 6858000"/>
              <a:gd name="connsiteX700" fmla="*/ 115099 w 7467600"/>
              <a:gd name="connsiteY700" fmla="*/ 3607650 h 6858000"/>
              <a:gd name="connsiteX701" fmla="*/ 97284 w 7467600"/>
              <a:gd name="connsiteY701" fmla="*/ 3520393 h 6858000"/>
              <a:gd name="connsiteX702" fmla="*/ 922050 w 7467600"/>
              <a:gd name="connsiteY702" fmla="*/ 3074867 h 6858000"/>
              <a:gd name="connsiteX703" fmla="*/ 1405265 w 7467600"/>
              <a:gd name="connsiteY703" fmla="*/ 3016319 h 6858000"/>
              <a:gd name="connsiteX704" fmla="*/ 1407512 w 7467600"/>
              <a:gd name="connsiteY704" fmla="*/ 3018001 h 6858000"/>
              <a:gd name="connsiteX705" fmla="*/ 1726266 w 7467600"/>
              <a:gd name="connsiteY705" fmla="*/ 2777274 h 6858000"/>
              <a:gd name="connsiteX706" fmla="*/ 625390 w 7467600"/>
              <a:gd name="connsiteY706" fmla="*/ 2514541 h 6858000"/>
              <a:gd name="connsiteX707" fmla="*/ 619799 w 7467600"/>
              <a:gd name="connsiteY707" fmla="*/ 2527180 h 6858000"/>
              <a:gd name="connsiteX708" fmla="*/ 310030 w 7467600"/>
              <a:gd name="connsiteY708" fmla="*/ 2771818 h 6858000"/>
              <a:gd name="connsiteX709" fmla="*/ 173877 w 7467600"/>
              <a:gd name="connsiteY709" fmla="*/ 2937056 h 6858000"/>
              <a:gd name="connsiteX710" fmla="*/ 77889 w 7467600"/>
              <a:gd name="connsiteY710" fmla="*/ 3138440 h 6858000"/>
              <a:gd name="connsiteX711" fmla="*/ 0 w 7467600"/>
              <a:gd name="connsiteY711" fmla="*/ 3271395 h 6858000"/>
              <a:gd name="connsiteX712" fmla="*/ 0 w 7467600"/>
              <a:gd name="connsiteY712" fmla="*/ 3153002 h 6858000"/>
              <a:gd name="connsiteX713" fmla="*/ 2386 w 7467600"/>
              <a:gd name="connsiteY713" fmla="*/ 3149203 h 6858000"/>
              <a:gd name="connsiteX714" fmla="*/ 89753 w 7467600"/>
              <a:gd name="connsiteY714" fmla="*/ 2987702 h 6858000"/>
              <a:gd name="connsiteX715" fmla="*/ 76869 w 7467600"/>
              <a:gd name="connsiteY715" fmla="*/ 3005404 h 6858000"/>
              <a:gd name="connsiteX716" fmla="*/ 32049 w 7467600"/>
              <a:gd name="connsiteY716" fmla="*/ 3065814 h 6858000"/>
              <a:gd name="connsiteX717" fmla="*/ 0 w 7467600"/>
              <a:gd name="connsiteY717" fmla="*/ 3108744 h 6858000"/>
              <a:gd name="connsiteX718" fmla="*/ 0 w 7467600"/>
              <a:gd name="connsiteY718" fmla="*/ 3058059 h 6858000"/>
              <a:gd name="connsiteX719" fmla="*/ 7610 w 7467600"/>
              <a:gd name="connsiteY719" fmla="*/ 3047889 h 6858000"/>
              <a:gd name="connsiteX720" fmla="*/ 52419 w 7467600"/>
              <a:gd name="connsiteY720" fmla="*/ 2987479 h 6858000"/>
              <a:gd name="connsiteX721" fmla="*/ 59142 w 7467600"/>
              <a:gd name="connsiteY721" fmla="*/ 2978488 h 6858000"/>
              <a:gd name="connsiteX722" fmla="*/ 0 w 7467600"/>
              <a:gd name="connsiteY722" fmla="*/ 3015334 h 6858000"/>
              <a:gd name="connsiteX723" fmla="*/ 0 w 7467600"/>
              <a:gd name="connsiteY723" fmla="*/ 2914286 h 6858000"/>
              <a:gd name="connsiteX724" fmla="*/ 36383 w 7467600"/>
              <a:gd name="connsiteY724" fmla="*/ 2901128 h 6858000"/>
              <a:gd name="connsiteX725" fmla="*/ 156329 w 7467600"/>
              <a:gd name="connsiteY725" fmla="*/ 2840533 h 6858000"/>
              <a:gd name="connsiteX726" fmla="*/ 358355 w 7467600"/>
              <a:gd name="connsiteY726" fmla="*/ 2620471 h 6858000"/>
              <a:gd name="connsiteX727" fmla="*/ 510577 w 7467600"/>
              <a:gd name="connsiteY727" fmla="*/ 2501244 h 6858000"/>
              <a:gd name="connsiteX728" fmla="*/ 211967 w 7467600"/>
              <a:gd name="connsiteY728" fmla="*/ 2479171 h 6858000"/>
              <a:gd name="connsiteX729" fmla="*/ 0 w 7467600"/>
              <a:gd name="connsiteY729" fmla="*/ 2476398 h 6858000"/>
              <a:gd name="connsiteX730" fmla="*/ 0 w 7467600"/>
              <a:gd name="connsiteY730" fmla="*/ 2389189 h 6858000"/>
              <a:gd name="connsiteX731" fmla="*/ 103062 w 7467600"/>
              <a:gd name="connsiteY731" fmla="*/ 2389518 h 6858000"/>
              <a:gd name="connsiteX732" fmla="*/ 510734 w 7467600"/>
              <a:gd name="connsiteY732" fmla="*/ 2416201 h 6858000"/>
              <a:gd name="connsiteX733" fmla="*/ 279257 w 7467600"/>
              <a:gd name="connsiteY733" fmla="*/ 2092102 h 6858000"/>
              <a:gd name="connsiteX734" fmla="*/ 65265 w 7467600"/>
              <a:gd name="connsiteY734" fmla="*/ 2006049 h 6858000"/>
              <a:gd name="connsiteX735" fmla="*/ 0 w 7467600"/>
              <a:gd name="connsiteY735" fmla="*/ 1982532 h 6858000"/>
              <a:gd name="connsiteX736" fmla="*/ 0 w 7467600"/>
              <a:gd name="connsiteY736" fmla="*/ 1912789 h 6858000"/>
              <a:gd name="connsiteX737" fmla="*/ 97460 w 7467600"/>
              <a:gd name="connsiteY737" fmla="*/ 1953725 h 6858000"/>
              <a:gd name="connsiteX738" fmla="*/ 221272 w 7467600"/>
              <a:gd name="connsiteY738" fmla="*/ 1980766 h 6858000"/>
              <a:gd name="connsiteX739" fmla="*/ 116765 w 7467600"/>
              <a:gd name="connsiteY739" fmla="*/ 1911033 h 6858000"/>
              <a:gd name="connsiteX740" fmla="*/ 16405 w 7467600"/>
              <a:gd name="connsiteY740" fmla="*/ 1803412 h 6858000"/>
              <a:gd name="connsiteX741" fmla="*/ 0 w 7467600"/>
              <a:gd name="connsiteY741" fmla="*/ 1784777 h 6858000"/>
              <a:gd name="connsiteX742" fmla="*/ 0 w 7467600"/>
              <a:gd name="connsiteY742" fmla="*/ 1740082 h 6858000"/>
              <a:gd name="connsiteX743" fmla="*/ 39394 w 7467600"/>
              <a:gd name="connsiteY743" fmla="*/ 1784856 h 6858000"/>
              <a:gd name="connsiteX744" fmla="*/ 135813 w 7467600"/>
              <a:gd name="connsiteY744" fmla="*/ 1888838 h 6858000"/>
              <a:gd name="connsiteX745" fmla="*/ 242575 w 7467600"/>
              <a:gd name="connsiteY745" fmla="*/ 1958841 h 6858000"/>
              <a:gd name="connsiteX746" fmla="*/ 82197 w 7467600"/>
              <a:gd name="connsiteY746" fmla="*/ 1754826 h 6858000"/>
              <a:gd name="connsiteX747" fmla="*/ 0 w 7467600"/>
              <a:gd name="connsiteY747" fmla="*/ 1679650 h 6858000"/>
              <a:gd name="connsiteX748" fmla="*/ 0 w 7467600"/>
              <a:gd name="connsiteY748" fmla="*/ 1602463 h 6858000"/>
              <a:gd name="connsiteX749" fmla="*/ 84689 w 7467600"/>
              <a:gd name="connsiteY749" fmla="*/ 1677442 h 6858000"/>
              <a:gd name="connsiteX750" fmla="*/ 298437 w 7467600"/>
              <a:gd name="connsiteY750" fmla="*/ 1968019 h 6858000"/>
              <a:gd name="connsiteX751" fmla="*/ 227269 w 7467600"/>
              <a:gd name="connsiteY751" fmla="*/ 1114064 h 6858000"/>
              <a:gd name="connsiteX752" fmla="*/ 248003 w 7467600"/>
              <a:gd name="connsiteY752" fmla="*/ 1089613 h 6858000"/>
              <a:gd name="connsiteX753" fmla="*/ 427020 w 7467600"/>
              <a:gd name="connsiteY753" fmla="*/ 1619803 h 6858000"/>
              <a:gd name="connsiteX754" fmla="*/ 340345 w 7467600"/>
              <a:gd name="connsiteY754" fmla="*/ 2027739 h 6858000"/>
              <a:gd name="connsiteX755" fmla="*/ 360865 w 7467600"/>
              <a:gd name="connsiteY755" fmla="*/ 2044827 h 6858000"/>
              <a:gd name="connsiteX756" fmla="*/ 560414 w 7467600"/>
              <a:gd name="connsiteY756" fmla="*/ 2421457 h 6858000"/>
              <a:gd name="connsiteX757" fmla="*/ 1359703 w 7467600"/>
              <a:gd name="connsiteY757" fmla="*/ 2578554 h 6858000"/>
              <a:gd name="connsiteX758" fmla="*/ 1359422 w 7467600"/>
              <a:gd name="connsiteY758" fmla="*/ 2577994 h 6858000"/>
              <a:gd name="connsiteX759" fmla="*/ 828701 w 7467600"/>
              <a:gd name="connsiteY759" fmla="*/ 1839520 h 6858000"/>
              <a:gd name="connsiteX760" fmla="*/ 494427 w 7467600"/>
              <a:gd name="connsiteY760" fmla="*/ 1092333 h 6858000"/>
              <a:gd name="connsiteX761" fmla="*/ 506322 w 7467600"/>
              <a:gd name="connsiteY761" fmla="*/ 1020997 h 6858000"/>
              <a:gd name="connsiteX762" fmla="*/ 4570198 w 7467600"/>
              <a:gd name="connsiteY762" fmla="*/ 978081 h 6858000"/>
              <a:gd name="connsiteX763" fmla="*/ 4523691 w 7467600"/>
              <a:gd name="connsiteY763" fmla="*/ 1127776 h 6858000"/>
              <a:gd name="connsiteX764" fmla="*/ 4509875 w 7467600"/>
              <a:gd name="connsiteY764" fmla="*/ 1167552 h 6858000"/>
              <a:gd name="connsiteX765" fmla="*/ 4478168 w 7467600"/>
              <a:gd name="connsiteY765" fmla="*/ 1260735 h 6858000"/>
              <a:gd name="connsiteX766" fmla="*/ 4409309 w 7467600"/>
              <a:gd name="connsiteY766" fmla="*/ 1666996 h 6858000"/>
              <a:gd name="connsiteX767" fmla="*/ 4370031 w 7467600"/>
              <a:gd name="connsiteY767" fmla="*/ 1955666 h 6858000"/>
              <a:gd name="connsiteX768" fmla="*/ 4570198 w 7467600"/>
              <a:gd name="connsiteY768" fmla="*/ 978081 h 6858000"/>
              <a:gd name="connsiteX769" fmla="*/ 4557898 w 7467600"/>
              <a:gd name="connsiteY769" fmla="*/ 900011 h 6858000"/>
              <a:gd name="connsiteX770" fmla="*/ 4344840 w 7467600"/>
              <a:gd name="connsiteY770" fmla="*/ 1922038 h 6858000"/>
              <a:gd name="connsiteX771" fmla="*/ 4378710 w 7467600"/>
              <a:gd name="connsiteY771" fmla="*/ 1665516 h 6858000"/>
              <a:gd name="connsiteX772" fmla="*/ 4448798 w 7467600"/>
              <a:gd name="connsiteY772" fmla="*/ 1253024 h 6858000"/>
              <a:gd name="connsiteX773" fmla="*/ 4480315 w 7467600"/>
              <a:gd name="connsiteY773" fmla="*/ 1158454 h 6858000"/>
              <a:gd name="connsiteX774" fmla="*/ 4494133 w 7467600"/>
              <a:gd name="connsiteY774" fmla="*/ 1118676 h 6858000"/>
              <a:gd name="connsiteX775" fmla="*/ 4557898 w 7467600"/>
              <a:gd name="connsiteY775" fmla="*/ 900011 h 6858000"/>
              <a:gd name="connsiteX776" fmla="*/ 5870151 w 7467600"/>
              <a:gd name="connsiteY776" fmla="*/ 898890 h 6858000"/>
              <a:gd name="connsiteX777" fmla="*/ 5861335 w 7467600"/>
              <a:gd name="connsiteY777" fmla="*/ 899177 h 6858000"/>
              <a:gd name="connsiteX778" fmla="*/ 5843702 w 7467600"/>
              <a:gd name="connsiteY778" fmla="*/ 899748 h 6858000"/>
              <a:gd name="connsiteX779" fmla="*/ 5651107 w 7467600"/>
              <a:gd name="connsiteY779" fmla="*/ 920306 h 6858000"/>
              <a:gd name="connsiteX780" fmla="*/ 5459407 w 7467600"/>
              <a:gd name="connsiteY780" fmla="*/ 940975 h 6858000"/>
              <a:gd name="connsiteX781" fmla="*/ 5374846 w 7467600"/>
              <a:gd name="connsiteY781" fmla="*/ 941988 h 6858000"/>
              <a:gd name="connsiteX782" fmla="*/ 5256105 w 7467600"/>
              <a:gd name="connsiteY782" fmla="*/ 945632 h 6858000"/>
              <a:gd name="connsiteX783" fmla="*/ 5107071 w 7467600"/>
              <a:gd name="connsiteY783" fmla="*/ 969720 h 6858000"/>
              <a:gd name="connsiteX784" fmla="*/ 4998681 w 7467600"/>
              <a:gd name="connsiteY784" fmla="*/ 988771 h 6858000"/>
              <a:gd name="connsiteX785" fmla="*/ 5870151 w 7467600"/>
              <a:gd name="connsiteY785" fmla="*/ 898890 h 6858000"/>
              <a:gd name="connsiteX786" fmla="*/ 5504425 w 7467600"/>
              <a:gd name="connsiteY786" fmla="*/ 848067 h 6858000"/>
              <a:gd name="connsiteX787" fmla="*/ 4968849 w 7467600"/>
              <a:gd name="connsiteY787" fmla="*/ 962318 h 6858000"/>
              <a:gd name="connsiteX788" fmla="*/ 5104039 w 7467600"/>
              <a:gd name="connsiteY788" fmla="*/ 940634 h 6858000"/>
              <a:gd name="connsiteX789" fmla="*/ 5256311 w 7467600"/>
              <a:gd name="connsiteY789" fmla="*/ 916490 h 6858000"/>
              <a:gd name="connsiteX790" fmla="*/ 5377381 w 7467600"/>
              <a:gd name="connsiteY790" fmla="*/ 912671 h 6858000"/>
              <a:gd name="connsiteX791" fmla="*/ 5460148 w 7467600"/>
              <a:gd name="connsiteY791" fmla="*/ 911442 h 6858000"/>
              <a:gd name="connsiteX792" fmla="*/ 5648971 w 7467600"/>
              <a:gd name="connsiteY792" fmla="*/ 891331 h 6858000"/>
              <a:gd name="connsiteX793" fmla="*/ 5844807 w 7467600"/>
              <a:gd name="connsiteY793" fmla="*/ 870718 h 6858000"/>
              <a:gd name="connsiteX794" fmla="*/ 5862975 w 7467600"/>
              <a:gd name="connsiteY794" fmla="*/ 869756 h 6858000"/>
              <a:gd name="connsiteX795" fmla="*/ 5920887 w 7467600"/>
              <a:gd name="connsiteY795" fmla="*/ 865929 h 6858000"/>
              <a:gd name="connsiteX796" fmla="*/ 5504425 w 7467600"/>
              <a:gd name="connsiteY796" fmla="*/ 848067 h 6858000"/>
              <a:gd name="connsiteX797" fmla="*/ 3607114 w 7467600"/>
              <a:gd name="connsiteY797" fmla="*/ 467441 h 6858000"/>
              <a:gd name="connsiteX798" fmla="*/ 3296242 w 7467600"/>
              <a:gd name="connsiteY798" fmla="*/ 807991 h 6858000"/>
              <a:gd name="connsiteX799" fmla="*/ 3174674 w 7467600"/>
              <a:gd name="connsiteY799" fmla="*/ 919759 h 6858000"/>
              <a:gd name="connsiteX800" fmla="*/ 3042978 w 7467600"/>
              <a:gd name="connsiteY800" fmla="*/ 1054894 h 6858000"/>
              <a:gd name="connsiteX801" fmla="*/ 2968914 w 7467600"/>
              <a:gd name="connsiteY801" fmla="*/ 1133756 h 6858000"/>
              <a:gd name="connsiteX802" fmla="*/ 3103823 w 7467600"/>
              <a:gd name="connsiteY802" fmla="*/ 1026814 h 6858000"/>
              <a:gd name="connsiteX803" fmla="*/ 3607114 w 7467600"/>
              <a:gd name="connsiteY803" fmla="*/ 467441 h 6858000"/>
              <a:gd name="connsiteX804" fmla="*/ 3744487 w 7467600"/>
              <a:gd name="connsiteY804" fmla="*/ 383136 h 6858000"/>
              <a:gd name="connsiteX805" fmla="*/ 3970213 w 7467600"/>
              <a:gd name="connsiteY805" fmla="*/ 995559 h 6858000"/>
              <a:gd name="connsiteX806" fmla="*/ 3744487 w 7467600"/>
              <a:gd name="connsiteY806" fmla="*/ 383136 h 6858000"/>
              <a:gd name="connsiteX807" fmla="*/ 3624562 w 7467600"/>
              <a:gd name="connsiteY807" fmla="*/ 367041 h 6858000"/>
              <a:gd name="connsiteX808" fmla="*/ 3489712 w 7467600"/>
              <a:gd name="connsiteY808" fmla="*/ 485386 h 6858000"/>
              <a:gd name="connsiteX809" fmla="*/ 3182994 w 7467600"/>
              <a:gd name="connsiteY809" fmla="*/ 828265 h 6858000"/>
              <a:gd name="connsiteX810" fmla="*/ 2892114 w 7467600"/>
              <a:gd name="connsiteY810" fmla="*/ 1172635 h 6858000"/>
              <a:gd name="connsiteX811" fmla="*/ 3021459 w 7467600"/>
              <a:gd name="connsiteY811" fmla="*/ 1035385 h 6858000"/>
              <a:gd name="connsiteX812" fmla="*/ 3153873 w 7467600"/>
              <a:gd name="connsiteY812" fmla="*/ 898971 h 6858000"/>
              <a:gd name="connsiteX813" fmla="*/ 3276511 w 7467600"/>
              <a:gd name="connsiteY813" fmla="*/ 786423 h 6858000"/>
              <a:gd name="connsiteX814" fmla="*/ 3584154 w 7467600"/>
              <a:gd name="connsiteY814" fmla="*/ 448218 h 6858000"/>
              <a:gd name="connsiteX815" fmla="*/ 3624562 w 7467600"/>
              <a:gd name="connsiteY815" fmla="*/ 367041 h 6858000"/>
              <a:gd name="connsiteX816" fmla="*/ 3766672 w 7467600"/>
              <a:gd name="connsiteY816" fmla="*/ 359429 h 6858000"/>
              <a:gd name="connsiteX817" fmla="*/ 3996338 w 7467600"/>
              <a:gd name="connsiteY817" fmla="*/ 968237 h 6858000"/>
              <a:gd name="connsiteX818" fmla="*/ 3766672 w 7467600"/>
              <a:gd name="connsiteY818" fmla="*/ 359429 h 6858000"/>
              <a:gd name="connsiteX819" fmla="*/ 5805386 w 7467600"/>
              <a:gd name="connsiteY819" fmla="*/ 239240 h 6858000"/>
              <a:gd name="connsiteX820" fmla="*/ 5736947 w 7467600"/>
              <a:gd name="connsiteY820" fmla="*/ 261367 h 6858000"/>
              <a:gd name="connsiteX821" fmla="*/ 5427012 w 7467600"/>
              <a:gd name="connsiteY821" fmla="*/ 311272 h 6858000"/>
              <a:gd name="connsiteX822" fmla="*/ 5147818 w 7467600"/>
              <a:gd name="connsiteY822" fmla="*/ 322112 h 6858000"/>
              <a:gd name="connsiteX823" fmla="*/ 5060854 w 7467600"/>
              <a:gd name="connsiteY823" fmla="*/ 311882 h 6858000"/>
              <a:gd name="connsiteX824" fmla="*/ 4945989 w 7467600"/>
              <a:gd name="connsiteY824" fmla="*/ 300516 h 6858000"/>
              <a:gd name="connsiteX825" fmla="*/ 5410479 w 7467600"/>
              <a:gd name="connsiteY825" fmla="*/ 348434 h 6858000"/>
              <a:gd name="connsiteX826" fmla="*/ 5805386 w 7467600"/>
              <a:gd name="connsiteY826" fmla="*/ 239240 h 6858000"/>
              <a:gd name="connsiteX827" fmla="*/ 5905192 w 7467600"/>
              <a:gd name="connsiteY827" fmla="*/ 163079 h 6858000"/>
              <a:gd name="connsiteX828" fmla="*/ 5865655 w 7467600"/>
              <a:gd name="connsiteY828" fmla="*/ 171901 h 6858000"/>
              <a:gd name="connsiteX829" fmla="*/ 5259740 w 7467600"/>
              <a:gd name="connsiteY829" fmla="*/ 257013 h 6858000"/>
              <a:gd name="connsiteX830" fmla="*/ 5208466 w 7467600"/>
              <a:gd name="connsiteY830" fmla="*/ 257550 h 6858000"/>
              <a:gd name="connsiteX831" fmla="*/ 4980204 w 7467600"/>
              <a:gd name="connsiteY831" fmla="*/ 271903 h 6858000"/>
              <a:gd name="connsiteX832" fmla="*/ 5068068 w 7467600"/>
              <a:gd name="connsiteY832" fmla="*/ 282244 h 6858000"/>
              <a:gd name="connsiteX833" fmla="*/ 5153231 w 7467600"/>
              <a:gd name="connsiteY833" fmla="*/ 292240 h 6858000"/>
              <a:gd name="connsiteX834" fmla="*/ 5426491 w 7467600"/>
              <a:gd name="connsiteY834" fmla="*/ 281128 h 6858000"/>
              <a:gd name="connsiteX835" fmla="*/ 5731212 w 7467600"/>
              <a:gd name="connsiteY835" fmla="*/ 231951 h 6858000"/>
              <a:gd name="connsiteX836" fmla="*/ 5905192 w 7467600"/>
              <a:gd name="connsiteY836" fmla="*/ 163079 h 6858000"/>
              <a:gd name="connsiteX837" fmla="*/ 5944437 w 7467600"/>
              <a:gd name="connsiteY837" fmla="*/ 113829 h 6858000"/>
              <a:gd name="connsiteX838" fmla="*/ 5825032 w 7467600"/>
              <a:gd name="connsiteY838" fmla="*/ 146405 h 6858000"/>
              <a:gd name="connsiteX839" fmla="*/ 4955599 w 7467600"/>
              <a:gd name="connsiteY839" fmla="*/ 247008 h 6858000"/>
              <a:gd name="connsiteX840" fmla="*/ 5210104 w 7467600"/>
              <a:gd name="connsiteY840" fmla="*/ 228123 h 6858000"/>
              <a:gd name="connsiteX841" fmla="*/ 5261015 w 7467600"/>
              <a:gd name="connsiteY841" fmla="*/ 227087 h 6858000"/>
              <a:gd name="connsiteX842" fmla="*/ 5861181 w 7467600"/>
              <a:gd name="connsiteY842" fmla="*/ 143093 h 6858000"/>
              <a:gd name="connsiteX843" fmla="*/ 5961252 w 7467600"/>
              <a:gd name="connsiteY843" fmla="*/ 114820 h 6858000"/>
              <a:gd name="connsiteX844" fmla="*/ 5944437 w 7467600"/>
              <a:gd name="connsiteY844" fmla="*/ 113829 h 6858000"/>
              <a:gd name="connsiteX845" fmla="*/ 3882765 w 7467600"/>
              <a:gd name="connsiteY845" fmla="*/ 0 h 6858000"/>
              <a:gd name="connsiteX846" fmla="*/ 3995099 w 7467600"/>
              <a:gd name="connsiteY846" fmla="*/ 0 h 6858000"/>
              <a:gd name="connsiteX847" fmla="*/ 4163818 w 7467600"/>
              <a:gd name="connsiteY847" fmla="*/ 234104 h 6858000"/>
              <a:gd name="connsiteX848" fmla="*/ 4172099 w 7467600"/>
              <a:gd name="connsiteY848" fmla="*/ 234207 h 6858000"/>
              <a:gd name="connsiteX849" fmla="*/ 4784282 w 7467600"/>
              <a:gd name="connsiteY849" fmla="*/ 276561 h 6858000"/>
              <a:gd name="connsiteX850" fmla="*/ 4801687 w 7467600"/>
              <a:gd name="connsiteY850" fmla="*/ 267764 h 6858000"/>
              <a:gd name="connsiteX851" fmla="*/ 6082788 w 7467600"/>
              <a:gd name="connsiteY851" fmla="*/ 64119 h 6858000"/>
              <a:gd name="connsiteX852" fmla="*/ 6099442 w 7467600"/>
              <a:gd name="connsiteY852" fmla="*/ 82568 h 6858000"/>
              <a:gd name="connsiteX853" fmla="*/ 4804137 w 7467600"/>
              <a:gd name="connsiteY853" fmla="*/ 320931 h 6858000"/>
              <a:gd name="connsiteX854" fmla="*/ 4227047 w 7467600"/>
              <a:gd name="connsiteY854" fmla="*/ 313415 h 6858000"/>
              <a:gd name="connsiteX855" fmla="*/ 4346041 w 7467600"/>
              <a:gd name="connsiteY855" fmla="*/ 456086 h 6858000"/>
              <a:gd name="connsiteX856" fmla="*/ 4870967 w 7467600"/>
              <a:gd name="connsiteY856" fmla="*/ 963061 h 6858000"/>
              <a:gd name="connsiteX857" fmla="*/ 4889647 w 7467600"/>
              <a:gd name="connsiteY857" fmla="*/ 957147 h 6858000"/>
              <a:gd name="connsiteX858" fmla="*/ 5422504 w 7467600"/>
              <a:gd name="connsiteY858" fmla="*/ 805191 h 6858000"/>
              <a:gd name="connsiteX859" fmla="*/ 6087656 w 7467600"/>
              <a:gd name="connsiteY859" fmla="*/ 826703 h 6858000"/>
              <a:gd name="connsiteX860" fmla="*/ 6058717 w 7467600"/>
              <a:gd name="connsiteY860" fmla="*/ 865992 h 6858000"/>
              <a:gd name="connsiteX861" fmla="*/ 4974153 w 7467600"/>
              <a:gd name="connsiteY861" fmla="*/ 1045456 h 6858000"/>
              <a:gd name="connsiteX862" fmla="*/ 5627835 w 7467600"/>
              <a:gd name="connsiteY862" fmla="*/ 1472077 h 6858000"/>
              <a:gd name="connsiteX863" fmla="*/ 5629817 w 7467600"/>
              <a:gd name="connsiteY863" fmla="*/ 1471412 h 6858000"/>
              <a:gd name="connsiteX864" fmla="*/ 5634124 w 7467600"/>
              <a:gd name="connsiteY864" fmla="*/ 1470572 h 6858000"/>
              <a:gd name="connsiteX865" fmla="*/ 5755832 w 7467600"/>
              <a:gd name="connsiteY865" fmla="*/ 1383886 h 6858000"/>
              <a:gd name="connsiteX866" fmla="*/ 6014186 w 7467600"/>
              <a:gd name="connsiteY866" fmla="*/ 1279799 h 6858000"/>
              <a:gd name="connsiteX867" fmla="*/ 6901619 w 7467600"/>
              <a:gd name="connsiteY867" fmla="*/ 1047874 h 6858000"/>
              <a:gd name="connsiteX868" fmla="*/ 6931566 w 7467600"/>
              <a:gd name="connsiteY868" fmla="*/ 1062034 h 6858000"/>
              <a:gd name="connsiteX869" fmla="*/ 5790982 w 7467600"/>
              <a:gd name="connsiteY869" fmla="*/ 1561380 h 6858000"/>
              <a:gd name="connsiteX870" fmla="*/ 6188971 w 7467600"/>
              <a:gd name="connsiteY870" fmla="*/ 1755168 h 6858000"/>
              <a:gd name="connsiteX871" fmla="*/ 6202446 w 7467600"/>
              <a:gd name="connsiteY871" fmla="*/ 1752268 h 6858000"/>
              <a:gd name="connsiteX872" fmla="*/ 7179560 w 7467600"/>
              <a:gd name="connsiteY872" fmla="*/ 1467551 h 6858000"/>
              <a:gd name="connsiteX873" fmla="*/ 7158730 w 7467600"/>
              <a:gd name="connsiteY873" fmla="*/ 1507835 h 6858000"/>
              <a:gd name="connsiteX874" fmla="*/ 6326959 w 7467600"/>
              <a:gd name="connsiteY874" fmla="*/ 1817686 h 6858000"/>
              <a:gd name="connsiteX875" fmla="*/ 6537433 w 7467600"/>
              <a:gd name="connsiteY875" fmla="*/ 1907790 h 6858000"/>
              <a:gd name="connsiteX876" fmla="*/ 6550221 w 7467600"/>
              <a:gd name="connsiteY876" fmla="*/ 1910729 h 6858000"/>
              <a:gd name="connsiteX877" fmla="*/ 6964438 w 7467600"/>
              <a:gd name="connsiteY877" fmla="*/ 2209505 h 6858000"/>
              <a:gd name="connsiteX878" fmla="*/ 7367862 w 7467600"/>
              <a:gd name="connsiteY878" fmla="*/ 2806833 h 6858000"/>
              <a:gd name="connsiteX879" fmla="*/ 7364329 w 7467600"/>
              <a:gd name="connsiteY879" fmla="*/ 2826907 h 6858000"/>
              <a:gd name="connsiteX880" fmla="*/ 7290545 w 7467600"/>
              <a:gd name="connsiteY880" fmla="*/ 2850663 h 6858000"/>
              <a:gd name="connsiteX881" fmla="*/ 6472036 w 7467600"/>
              <a:gd name="connsiteY881" fmla="*/ 1959003 h 6858000"/>
              <a:gd name="connsiteX882" fmla="*/ 5792897 w 7467600"/>
              <a:gd name="connsiteY882" fmla="*/ 1647747 h 6858000"/>
              <a:gd name="connsiteX883" fmla="*/ 5842751 w 7467600"/>
              <a:gd name="connsiteY883" fmla="*/ 1816112 h 6858000"/>
              <a:gd name="connsiteX884" fmla="*/ 5847424 w 7467600"/>
              <a:gd name="connsiteY884" fmla="*/ 1815776 h 6858000"/>
              <a:gd name="connsiteX885" fmla="*/ 6399821 w 7467600"/>
              <a:gd name="connsiteY885" fmla="*/ 2344799 h 6858000"/>
              <a:gd name="connsiteX886" fmla="*/ 6323232 w 7467600"/>
              <a:gd name="connsiteY886" fmla="*/ 2389634 h 6858000"/>
              <a:gd name="connsiteX887" fmla="*/ 5942958 w 7467600"/>
              <a:gd name="connsiteY887" fmla="*/ 2077708 h 6858000"/>
              <a:gd name="connsiteX888" fmla="*/ 5921559 w 7467600"/>
              <a:gd name="connsiteY888" fmla="*/ 2378596 h 6858000"/>
              <a:gd name="connsiteX889" fmla="*/ 5817651 w 7467600"/>
              <a:gd name="connsiteY889" fmla="*/ 3023919 h 6858000"/>
              <a:gd name="connsiteX890" fmla="*/ 5729634 w 7467600"/>
              <a:gd name="connsiteY890" fmla="*/ 3051849 h 6858000"/>
              <a:gd name="connsiteX891" fmla="*/ 5611018 w 7467600"/>
              <a:gd name="connsiteY891" fmla="*/ 2316769 h 6858000"/>
              <a:gd name="connsiteX892" fmla="*/ 5687608 w 7467600"/>
              <a:gd name="connsiteY892" fmla="*/ 2039972 h 6858000"/>
              <a:gd name="connsiteX893" fmla="*/ 5657554 w 7467600"/>
              <a:gd name="connsiteY893" fmla="*/ 1576445 h 6858000"/>
              <a:gd name="connsiteX894" fmla="*/ 5150475 w 7467600"/>
              <a:gd name="connsiteY894" fmla="*/ 1274012 h 6858000"/>
              <a:gd name="connsiteX895" fmla="*/ 5349142 w 7467600"/>
              <a:gd name="connsiteY895" fmla="*/ 2204405 h 6858000"/>
              <a:gd name="connsiteX896" fmla="*/ 5262214 w 7467600"/>
              <a:gd name="connsiteY896" fmla="*/ 2233836 h 6858000"/>
              <a:gd name="connsiteX897" fmla="*/ 4981539 w 7467600"/>
              <a:gd name="connsiteY897" fmla="*/ 1542201 h 6858000"/>
              <a:gd name="connsiteX898" fmla="*/ 4958461 w 7467600"/>
              <a:gd name="connsiteY898" fmla="*/ 1136957 h 6858000"/>
              <a:gd name="connsiteX899" fmla="*/ 4655015 w 7467600"/>
              <a:gd name="connsiteY899" fmla="*/ 891426 h 6858000"/>
              <a:gd name="connsiteX900" fmla="*/ 4348002 w 7467600"/>
              <a:gd name="connsiteY900" fmla="*/ 2205895 h 6858000"/>
              <a:gd name="connsiteX901" fmla="*/ 4262250 w 7467600"/>
              <a:gd name="connsiteY901" fmla="*/ 2219972 h 6858000"/>
              <a:gd name="connsiteX902" fmla="*/ 4550611 w 7467600"/>
              <a:gd name="connsiteY902" fmla="*/ 817540 h 6858000"/>
              <a:gd name="connsiteX903" fmla="*/ 4564418 w 7467600"/>
              <a:gd name="connsiteY903" fmla="*/ 808293 h 6858000"/>
              <a:gd name="connsiteX904" fmla="*/ 4266388 w 7467600"/>
              <a:gd name="connsiteY904" fmla="*/ 500083 h 6858000"/>
              <a:gd name="connsiteX905" fmla="*/ 4032842 w 7467600"/>
              <a:gd name="connsiteY905" fmla="*/ 211809 h 6858000"/>
              <a:gd name="connsiteX906" fmla="*/ 3882765 w 7467600"/>
              <a:gd name="connsiteY906" fmla="*/ 0 h 6858000"/>
              <a:gd name="connsiteX907" fmla="*/ 3721337 w 7467600"/>
              <a:gd name="connsiteY907" fmla="*/ 0 h 6858000"/>
              <a:gd name="connsiteX908" fmla="*/ 3797544 w 7467600"/>
              <a:gd name="connsiteY908" fmla="*/ 0 h 6858000"/>
              <a:gd name="connsiteX909" fmla="*/ 3775734 w 7467600"/>
              <a:gd name="connsiteY909" fmla="*/ 95131 h 6858000"/>
              <a:gd name="connsiteX910" fmla="*/ 3724807 w 7467600"/>
              <a:gd name="connsiteY910" fmla="*/ 272257 h 6858000"/>
              <a:gd name="connsiteX911" fmla="*/ 3726844 w 7467600"/>
              <a:gd name="connsiteY911" fmla="*/ 282988 h 6858000"/>
              <a:gd name="connsiteX912" fmla="*/ 3742664 w 7467600"/>
              <a:gd name="connsiteY912" fmla="*/ 279918 h 6858000"/>
              <a:gd name="connsiteX913" fmla="*/ 4103910 w 7467600"/>
              <a:gd name="connsiteY913" fmla="*/ 1161917 h 6858000"/>
              <a:gd name="connsiteX914" fmla="*/ 4020269 w 7467600"/>
              <a:gd name="connsiteY914" fmla="*/ 1200406 h 6858000"/>
              <a:gd name="connsiteX915" fmla="*/ 3674882 w 7467600"/>
              <a:gd name="connsiteY915" fmla="*/ 488524 h 6858000"/>
              <a:gd name="connsiteX916" fmla="*/ 3132682 w 7467600"/>
              <a:gd name="connsiteY916" fmla="*/ 1072284 h 6858000"/>
              <a:gd name="connsiteX917" fmla="*/ 2716346 w 7467600"/>
              <a:gd name="connsiteY917" fmla="*/ 1276376 h 6858000"/>
              <a:gd name="connsiteX918" fmla="*/ 2716772 w 7467600"/>
              <a:gd name="connsiteY918" fmla="*/ 1255462 h 6858000"/>
              <a:gd name="connsiteX919" fmla="*/ 3471096 w 7467600"/>
              <a:gd name="connsiteY919" fmla="*/ 437072 h 6858000"/>
              <a:gd name="connsiteX920" fmla="*/ 3639057 w 7467600"/>
              <a:gd name="connsiteY920" fmla="*/ 286334 h 6858000"/>
              <a:gd name="connsiteX921" fmla="*/ 3640309 w 7467600"/>
              <a:gd name="connsiteY921" fmla="*/ 284664 h 6858000"/>
              <a:gd name="connsiteX922" fmla="*/ 3646022 w 7467600"/>
              <a:gd name="connsiteY922" fmla="*/ 276711 h 6858000"/>
              <a:gd name="connsiteX923" fmla="*/ 3707943 w 7467600"/>
              <a:gd name="connsiteY923" fmla="*/ 65958 h 6858000"/>
              <a:gd name="connsiteX924" fmla="*/ 3721337 w 7467600"/>
              <a:gd name="connsiteY924" fmla="*/ 0 h 6858000"/>
              <a:gd name="connsiteX925" fmla="*/ 2867960 w 7467600"/>
              <a:gd name="connsiteY925" fmla="*/ 0 h 6858000"/>
              <a:gd name="connsiteX926" fmla="*/ 2926351 w 7467600"/>
              <a:gd name="connsiteY926" fmla="*/ 0 h 6858000"/>
              <a:gd name="connsiteX927" fmla="*/ 2902823 w 7467600"/>
              <a:gd name="connsiteY927" fmla="*/ 262929 h 6858000"/>
              <a:gd name="connsiteX928" fmla="*/ 2940663 w 7467600"/>
              <a:gd name="connsiteY928" fmla="*/ 140884 h 6858000"/>
              <a:gd name="connsiteX929" fmla="*/ 2947039 w 7467600"/>
              <a:gd name="connsiteY929" fmla="*/ 122524 h 6858000"/>
              <a:gd name="connsiteX930" fmla="*/ 2984316 w 7467600"/>
              <a:gd name="connsiteY930" fmla="*/ 0 h 6858000"/>
              <a:gd name="connsiteX931" fmla="*/ 3016114 w 7467600"/>
              <a:gd name="connsiteY931" fmla="*/ 0 h 6858000"/>
              <a:gd name="connsiteX932" fmla="*/ 2979949 w 7467600"/>
              <a:gd name="connsiteY932" fmla="*/ 119274 h 6858000"/>
              <a:gd name="connsiteX933" fmla="*/ 3023879 w 7467600"/>
              <a:gd name="connsiteY933" fmla="*/ 0 h 6858000"/>
              <a:gd name="connsiteX934" fmla="*/ 3105400 w 7467600"/>
              <a:gd name="connsiteY934" fmla="*/ 0 h 6858000"/>
              <a:gd name="connsiteX935" fmla="*/ 3094669 w 7467600"/>
              <a:gd name="connsiteY935" fmla="*/ 30308 h 6858000"/>
              <a:gd name="connsiteX936" fmla="*/ 2901945 w 7467600"/>
              <a:gd name="connsiteY936" fmla="*/ 466538 h 6858000"/>
              <a:gd name="connsiteX937" fmla="*/ 2815209 w 7467600"/>
              <a:gd name="connsiteY937" fmla="*/ 497361 h 6858000"/>
              <a:gd name="connsiteX938" fmla="*/ 2844845 w 7467600"/>
              <a:gd name="connsiteY938" fmla="*/ 127638 h 6858000"/>
              <a:gd name="connsiteX939" fmla="*/ 2867960 w 7467600"/>
              <a:gd name="connsiteY939" fmla="*/ 0 h 6858000"/>
              <a:gd name="connsiteX940" fmla="*/ 1057230 w 7467600"/>
              <a:gd name="connsiteY940" fmla="*/ 0 h 6858000"/>
              <a:gd name="connsiteX941" fmla="*/ 1111003 w 7467600"/>
              <a:gd name="connsiteY941" fmla="*/ 0 h 6858000"/>
              <a:gd name="connsiteX942" fmla="*/ 1125553 w 7467600"/>
              <a:gd name="connsiteY942" fmla="*/ 52588 h 6858000"/>
              <a:gd name="connsiteX943" fmla="*/ 1304276 w 7467600"/>
              <a:gd name="connsiteY943" fmla="*/ 476275 h 6858000"/>
              <a:gd name="connsiteX944" fmla="*/ 1492066 w 7467600"/>
              <a:gd name="connsiteY944" fmla="*/ 886333 h 6858000"/>
              <a:gd name="connsiteX945" fmla="*/ 1423698 w 7467600"/>
              <a:gd name="connsiteY945" fmla="*/ 710817 h 6858000"/>
              <a:gd name="connsiteX946" fmla="*/ 1357609 w 7467600"/>
              <a:gd name="connsiteY946" fmla="*/ 532892 h 6858000"/>
              <a:gd name="connsiteX947" fmla="*/ 1309550 w 7467600"/>
              <a:gd name="connsiteY947" fmla="*/ 374031 h 6858000"/>
              <a:gd name="connsiteX948" fmla="*/ 1193673 w 7467600"/>
              <a:gd name="connsiteY948" fmla="*/ 49533 h 6858000"/>
              <a:gd name="connsiteX949" fmla="*/ 1164391 w 7467600"/>
              <a:gd name="connsiteY949" fmla="*/ 0 h 6858000"/>
              <a:gd name="connsiteX950" fmla="*/ 1200666 w 7467600"/>
              <a:gd name="connsiteY950" fmla="*/ 0 h 6858000"/>
              <a:gd name="connsiteX951" fmla="*/ 1223408 w 7467600"/>
              <a:gd name="connsiteY951" fmla="*/ 38996 h 6858000"/>
              <a:gd name="connsiteX952" fmla="*/ 1339635 w 7467600"/>
              <a:gd name="connsiteY952" fmla="*/ 365517 h 6858000"/>
              <a:gd name="connsiteX953" fmla="*/ 1387469 w 7467600"/>
              <a:gd name="connsiteY953" fmla="*/ 523079 h 6858000"/>
              <a:gd name="connsiteX954" fmla="*/ 1452685 w 7467600"/>
              <a:gd name="connsiteY954" fmla="*/ 699806 h 6858000"/>
              <a:gd name="connsiteX955" fmla="*/ 1492092 w 7467600"/>
              <a:gd name="connsiteY955" fmla="*/ 800424 h 6858000"/>
              <a:gd name="connsiteX956" fmla="*/ 1455302 w 7467600"/>
              <a:gd name="connsiteY956" fmla="*/ 632913 h 6858000"/>
              <a:gd name="connsiteX957" fmla="*/ 1222336 w 7467600"/>
              <a:gd name="connsiteY957" fmla="*/ 9480 h 6858000"/>
              <a:gd name="connsiteX958" fmla="*/ 1214634 w 7467600"/>
              <a:gd name="connsiteY958" fmla="*/ 0 h 6858000"/>
              <a:gd name="connsiteX959" fmla="*/ 1289827 w 7467600"/>
              <a:gd name="connsiteY959" fmla="*/ 0 h 6858000"/>
              <a:gd name="connsiteX960" fmla="*/ 1321076 w 7467600"/>
              <a:gd name="connsiteY960" fmla="*/ 59722 h 6858000"/>
              <a:gd name="connsiteX961" fmla="*/ 1512579 w 7467600"/>
              <a:gd name="connsiteY961" fmla="*/ 626441 h 6858000"/>
              <a:gd name="connsiteX962" fmla="*/ 1506076 w 7467600"/>
              <a:gd name="connsiteY962" fmla="*/ 1089289 h 6858000"/>
              <a:gd name="connsiteX963" fmla="*/ 1486346 w 7467600"/>
              <a:gd name="connsiteY963" fmla="*/ 1079919 h 6858000"/>
              <a:gd name="connsiteX964" fmla="*/ 1070511 w 7467600"/>
              <a:gd name="connsiteY964" fmla="*/ 48609 h 6858000"/>
              <a:gd name="connsiteX965" fmla="*/ 1057230 w 7467600"/>
              <a:gd name="connsiteY965" fmla="*/ 0 h 6858000"/>
              <a:gd name="connsiteX966" fmla="*/ 43151 w 7467600"/>
              <a:gd name="connsiteY966" fmla="*/ 0 h 6858000"/>
              <a:gd name="connsiteX967" fmla="*/ 95283 w 7467600"/>
              <a:gd name="connsiteY967" fmla="*/ 0 h 6858000"/>
              <a:gd name="connsiteX968" fmla="*/ 300708 w 7467600"/>
              <a:gd name="connsiteY968" fmla="*/ 154571 h 6858000"/>
              <a:gd name="connsiteX969" fmla="*/ 530414 w 7467600"/>
              <a:gd name="connsiteY969" fmla="*/ 354673 h 6858000"/>
              <a:gd name="connsiteX970" fmla="*/ 333785 w 7467600"/>
              <a:gd name="connsiteY970" fmla="*/ 161564 h 6858000"/>
              <a:gd name="connsiteX971" fmla="*/ 147005 w 7467600"/>
              <a:gd name="connsiteY971" fmla="*/ 0 h 6858000"/>
              <a:gd name="connsiteX972" fmla="*/ 272509 w 7467600"/>
              <a:gd name="connsiteY972" fmla="*/ 0 h 6858000"/>
              <a:gd name="connsiteX973" fmla="*/ 326276 w 7467600"/>
              <a:gd name="connsiteY973" fmla="*/ 45847 h 6858000"/>
              <a:gd name="connsiteX974" fmla="*/ 823759 w 7467600"/>
              <a:gd name="connsiteY974" fmla="*/ 574145 h 6858000"/>
              <a:gd name="connsiteX975" fmla="*/ 811254 w 7467600"/>
              <a:gd name="connsiteY975" fmla="*/ 665546 h 6858000"/>
              <a:gd name="connsiteX976" fmla="*/ 154042 w 7467600"/>
              <a:gd name="connsiteY976" fmla="*/ 261522 h 6858000"/>
              <a:gd name="connsiteX977" fmla="*/ 13550 w 7467600"/>
              <a:gd name="connsiteY977" fmla="*/ 158423 h 6858000"/>
              <a:gd name="connsiteX978" fmla="*/ 0 w 7467600"/>
              <a:gd name="connsiteY978" fmla="*/ 146618 h 6858000"/>
              <a:gd name="connsiteX979" fmla="*/ 0 w 7467600"/>
              <a:gd name="connsiteY979" fmla="*/ 59161 h 6858000"/>
              <a:gd name="connsiteX980" fmla="*/ 45427 w 7467600"/>
              <a:gd name="connsiteY980" fmla="*/ 101078 h 6858000"/>
              <a:gd name="connsiteX981" fmla="*/ 630103 w 7467600"/>
              <a:gd name="connsiteY981" fmla="*/ 485885 h 6858000"/>
              <a:gd name="connsiteX982" fmla="*/ 532040 w 7467600"/>
              <a:gd name="connsiteY982" fmla="*/ 399359 h 6858000"/>
              <a:gd name="connsiteX983" fmla="*/ 517618 w 7467600"/>
              <a:gd name="connsiteY983" fmla="*/ 385726 h 6858000"/>
              <a:gd name="connsiteX984" fmla="*/ 285074 w 7467600"/>
              <a:gd name="connsiteY984" fmla="*/ 182755 h 6858000"/>
              <a:gd name="connsiteX985" fmla="*/ 43151 w 7467600"/>
              <a:gd name="connsiteY985"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1903353 w 7467600"/>
              <a:gd name="connsiteY127" fmla="*/ 5044827 h 6858000"/>
              <a:gd name="connsiteX128" fmla="*/ 1936931 w 7467600"/>
              <a:gd name="connsiteY128" fmla="*/ 5093954 h 6858000"/>
              <a:gd name="connsiteX129" fmla="*/ 2195868 w 7467600"/>
              <a:gd name="connsiteY129" fmla="*/ 5396574 h 6858000"/>
              <a:gd name="connsiteX130" fmla="*/ 2088852 w 7467600"/>
              <a:gd name="connsiteY130" fmla="*/ 5166123 h 6858000"/>
              <a:gd name="connsiteX131" fmla="*/ 1958241 w 7467600"/>
              <a:gd name="connsiteY131" fmla="*/ 5067955 h 6858000"/>
              <a:gd name="connsiteX132" fmla="*/ 1903353 w 7467600"/>
              <a:gd name="connsiteY132" fmla="*/ 5044827 h 6858000"/>
              <a:gd name="connsiteX133" fmla="*/ 1979378 w 7467600"/>
              <a:gd name="connsiteY133" fmla="*/ 4769504 h 6858000"/>
              <a:gd name="connsiteX134" fmla="*/ 2882120 w 7467600"/>
              <a:gd name="connsiteY134" fmla="*/ 5064547 h 6858000"/>
              <a:gd name="connsiteX135" fmla="*/ 2793103 w 7467600"/>
              <a:gd name="connsiteY135" fmla="*/ 5039699 h 6858000"/>
              <a:gd name="connsiteX136" fmla="*/ 2770041 w 7467600"/>
              <a:gd name="connsiteY136" fmla="*/ 5033634 h 6858000"/>
              <a:gd name="connsiteX137" fmla="*/ 1979378 w 7467600"/>
              <a:gd name="connsiteY137" fmla="*/ 4769504 h 6858000"/>
              <a:gd name="connsiteX138" fmla="*/ 1927410 w 7467600"/>
              <a:gd name="connsiteY138" fmla="*/ 4716164 h 6858000"/>
              <a:gd name="connsiteX139" fmla="*/ 1959587 w 7467600"/>
              <a:gd name="connsiteY139" fmla="*/ 4728849 h 6858000"/>
              <a:gd name="connsiteX140" fmla="*/ 2777707 w 7467600"/>
              <a:gd name="connsiteY140" fmla="*/ 5003991 h 6858000"/>
              <a:gd name="connsiteX141" fmla="*/ 2800768 w 7467600"/>
              <a:gd name="connsiteY141" fmla="*/ 5010056 h 6858000"/>
              <a:gd name="connsiteX142" fmla="*/ 2879408 w 7467600"/>
              <a:gd name="connsiteY142" fmla="*/ 5031590 h 6858000"/>
              <a:gd name="connsiteX143" fmla="*/ 2862295 w 7467600"/>
              <a:gd name="connsiteY143" fmla="*/ 5022958 h 6858000"/>
              <a:gd name="connsiteX144" fmla="*/ 2813343 w 7467600"/>
              <a:gd name="connsiteY144" fmla="*/ 4998369 h 6858000"/>
              <a:gd name="connsiteX145" fmla="*/ 2646245 w 7467600"/>
              <a:gd name="connsiteY145" fmla="*/ 4930999 h 6858000"/>
              <a:gd name="connsiteX146" fmla="*/ 1999243 w 7467600"/>
              <a:gd name="connsiteY146" fmla="*/ 4730524 h 6858000"/>
              <a:gd name="connsiteX147" fmla="*/ 1979527 w 7467600"/>
              <a:gd name="connsiteY147" fmla="*/ 4726651 h 6858000"/>
              <a:gd name="connsiteX148" fmla="*/ 1927410 w 7467600"/>
              <a:gd name="connsiteY148" fmla="*/ 4716164 h 6858000"/>
              <a:gd name="connsiteX149" fmla="*/ 1997014 w 7467600"/>
              <a:gd name="connsiteY149" fmla="*/ 4698007 h 6858000"/>
              <a:gd name="connsiteX150" fmla="*/ 2005458 w 7467600"/>
              <a:gd name="connsiteY150" fmla="*/ 4699540 h 6858000"/>
              <a:gd name="connsiteX151" fmla="*/ 2657186 w 7467600"/>
              <a:gd name="connsiteY151" fmla="*/ 4901687 h 6858000"/>
              <a:gd name="connsiteX152" fmla="*/ 2826662 w 7467600"/>
              <a:gd name="connsiteY152" fmla="*/ 4970362 h 6858000"/>
              <a:gd name="connsiteX153" fmla="*/ 2876100 w 7467600"/>
              <a:gd name="connsiteY153" fmla="*/ 4995397 h 6858000"/>
              <a:gd name="connsiteX154" fmla="*/ 3042600 w 7467600"/>
              <a:gd name="connsiteY154" fmla="*/ 5059532 h 6858000"/>
              <a:gd name="connsiteX155" fmla="*/ 1997014 w 7467600"/>
              <a:gd name="connsiteY155" fmla="*/ 4698007 h 6858000"/>
              <a:gd name="connsiteX156" fmla="*/ 2305292 w 7467600"/>
              <a:gd name="connsiteY156" fmla="*/ 4219492 h 6858000"/>
              <a:gd name="connsiteX157" fmla="*/ 3360922 w 7467600"/>
              <a:gd name="connsiteY157" fmla="*/ 4529373 h 6858000"/>
              <a:gd name="connsiteX158" fmla="*/ 3492420 w 7467600"/>
              <a:gd name="connsiteY158" fmla="*/ 4510145 h 6858000"/>
              <a:gd name="connsiteX159" fmla="*/ 3364086 w 7467600"/>
              <a:gd name="connsiteY159" fmla="*/ 4480340 h 6858000"/>
              <a:gd name="connsiteX160" fmla="*/ 3225818 w 7467600"/>
              <a:gd name="connsiteY160" fmla="*/ 4411822 h 6858000"/>
              <a:gd name="connsiteX161" fmla="*/ 3129696 w 7467600"/>
              <a:gd name="connsiteY161" fmla="*/ 4360704 h 6858000"/>
              <a:gd name="connsiteX162" fmla="*/ 2814545 w 7467600"/>
              <a:gd name="connsiteY162" fmla="*/ 4282955 h 6858000"/>
              <a:gd name="connsiteX163" fmla="*/ 2305292 w 7467600"/>
              <a:gd name="connsiteY163" fmla="*/ 4219492 h 6858000"/>
              <a:gd name="connsiteX164" fmla="*/ 2626982 w 7467600"/>
              <a:gd name="connsiteY164" fmla="*/ 4206450 h 6858000"/>
              <a:gd name="connsiteX165" fmla="*/ 2490617 w 7467600"/>
              <a:gd name="connsiteY165" fmla="*/ 4206951 h 6858000"/>
              <a:gd name="connsiteX166" fmla="*/ 2819869 w 7467600"/>
              <a:gd name="connsiteY166" fmla="*/ 4252936 h 6858000"/>
              <a:gd name="connsiteX167" fmla="*/ 3143018 w 7467600"/>
              <a:gd name="connsiteY167" fmla="*/ 4332698 h 6858000"/>
              <a:gd name="connsiteX168" fmla="*/ 3241520 w 7467600"/>
              <a:gd name="connsiteY168" fmla="*/ 4385112 h 6858000"/>
              <a:gd name="connsiteX169" fmla="*/ 3374575 w 7467600"/>
              <a:gd name="connsiteY169" fmla="*/ 4451517 h 6858000"/>
              <a:gd name="connsiteX170" fmla="*/ 3505221 w 7467600"/>
              <a:gd name="connsiteY170" fmla="*/ 4480757 h 6858000"/>
              <a:gd name="connsiteX171" fmla="*/ 2626982 w 7467600"/>
              <a:gd name="connsiteY171" fmla="*/ 4206450 h 6858000"/>
              <a:gd name="connsiteX172" fmla="*/ 1310106 w 7467600"/>
              <a:gd name="connsiteY172" fmla="*/ 3943217 h 6858000"/>
              <a:gd name="connsiteX173" fmla="*/ 854994 w 7467600"/>
              <a:gd name="connsiteY173" fmla="*/ 4399136 h 6858000"/>
              <a:gd name="connsiteX174" fmla="*/ 742462 w 7467600"/>
              <a:gd name="connsiteY174" fmla="*/ 4594648 h 6858000"/>
              <a:gd name="connsiteX175" fmla="*/ 820602 w 7467600"/>
              <a:gd name="connsiteY175" fmla="*/ 4485915 h 6858000"/>
              <a:gd name="connsiteX176" fmla="*/ 878295 w 7467600"/>
              <a:gd name="connsiteY176" fmla="*/ 4403594 h 6858000"/>
              <a:gd name="connsiteX177" fmla="*/ 1240607 w 7467600"/>
              <a:gd name="connsiteY177" fmla="*/ 4010401 h 6858000"/>
              <a:gd name="connsiteX178" fmla="*/ 1310106 w 7467600"/>
              <a:gd name="connsiteY178" fmla="*/ 3943217 h 6858000"/>
              <a:gd name="connsiteX179" fmla="*/ 1423113 w 7467600"/>
              <a:gd name="connsiteY179" fmla="*/ 3874565 h 6858000"/>
              <a:gd name="connsiteX180" fmla="*/ 1260565 w 7467600"/>
              <a:gd name="connsiteY180" fmla="*/ 4031982 h 6858000"/>
              <a:gd name="connsiteX181" fmla="*/ 901900 w 7467600"/>
              <a:gd name="connsiteY181" fmla="*/ 4421236 h 6858000"/>
              <a:gd name="connsiteX182" fmla="*/ 845044 w 7467600"/>
              <a:gd name="connsiteY182" fmla="*/ 4502436 h 6858000"/>
              <a:gd name="connsiteX183" fmla="*/ 685926 w 7467600"/>
              <a:gd name="connsiteY183" fmla="*/ 4703069 h 6858000"/>
              <a:gd name="connsiteX184" fmla="*/ 684248 w 7467600"/>
              <a:gd name="connsiteY184" fmla="*/ 4706721 h 6858000"/>
              <a:gd name="connsiteX185" fmla="*/ 1423113 w 7467600"/>
              <a:gd name="connsiteY185" fmla="*/ 3874565 h 6858000"/>
              <a:gd name="connsiteX186" fmla="*/ 3316479 w 7467600"/>
              <a:gd name="connsiteY186" fmla="*/ 3872136 h 6858000"/>
              <a:gd name="connsiteX187" fmla="*/ 3546806 w 7467600"/>
              <a:gd name="connsiteY187" fmla="*/ 4356139 h 6858000"/>
              <a:gd name="connsiteX188" fmla="*/ 3364433 w 7467600"/>
              <a:gd name="connsiteY188" fmla="*/ 3953121 h 6858000"/>
              <a:gd name="connsiteX189" fmla="*/ 3316479 w 7467600"/>
              <a:gd name="connsiteY189" fmla="*/ 3872136 h 6858000"/>
              <a:gd name="connsiteX190" fmla="*/ 3291335 w 7467600"/>
              <a:gd name="connsiteY190" fmla="*/ 3767420 h 6858000"/>
              <a:gd name="connsiteX191" fmla="*/ 3390805 w 7467600"/>
              <a:gd name="connsiteY191" fmla="*/ 3937163 h 6858000"/>
              <a:gd name="connsiteX192" fmla="*/ 3579062 w 7467600"/>
              <a:gd name="connsiteY192" fmla="*/ 4359040 h 6858000"/>
              <a:gd name="connsiteX193" fmla="*/ 3467355 w 7467600"/>
              <a:gd name="connsiteY193" fmla="*/ 3988130 h 6858000"/>
              <a:gd name="connsiteX194" fmla="*/ 3310753 w 7467600"/>
              <a:gd name="connsiteY194" fmla="*/ 3787140 h 6858000"/>
              <a:gd name="connsiteX195" fmla="*/ 3291335 w 7467600"/>
              <a:gd name="connsiteY195" fmla="*/ 3767420 h 6858000"/>
              <a:gd name="connsiteX196" fmla="*/ 1635889 w 7467600"/>
              <a:gd name="connsiteY196" fmla="*/ 3709494 h 6858000"/>
              <a:gd name="connsiteX197" fmla="*/ 1634800 w 7467600"/>
              <a:gd name="connsiteY197" fmla="*/ 3731111 h 6858000"/>
              <a:gd name="connsiteX198" fmla="*/ 1635889 w 7467600"/>
              <a:gd name="connsiteY198" fmla="*/ 3709494 h 6858000"/>
              <a:gd name="connsiteX199" fmla="*/ 1510397 w 7467600"/>
              <a:gd name="connsiteY199" fmla="*/ 3684705 h 6858000"/>
              <a:gd name="connsiteX200" fmla="*/ 1146550 w 7467600"/>
              <a:gd name="connsiteY200" fmla="*/ 3802012 h 6858000"/>
              <a:gd name="connsiteX201" fmla="*/ 698834 w 7467600"/>
              <a:gd name="connsiteY201" fmla="*/ 3952272 h 6858000"/>
              <a:gd name="connsiteX202" fmla="*/ 34256 w 7467600"/>
              <a:gd name="connsiteY202" fmla="*/ 4347603 h 6858000"/>
              <a:gd name="connsiteX203" fmla="*/ 527241 w 7467600"/>
              <a:gd name="connsiteY203" fmla="*/ 4065078 h 6858000"/>
              <a:gd name="connsiteX204" fmla="*/ 1510397 w 7467600"/>
              <a:gd name="connsiteY204" fmla="*/ 3684705 h 6858000"/>
              <a:gd name="connsiteX205" fmla="*/ 1313114 w 7467600"/>
              <a:gd name="connsiteY205" fmla="*/ 3655216 h 6858000"/>
              <a:gd name="connsiteX206" fmla="*/ 1109304 w 7467600"/>
              <a:gd name="connsiteY206" fmla="*/ 3669030 h 6858000"/>
              <a:gd name="connsiteX207" fmla="*/ 8129 w 7467600"/>
              <a:gd name="connsiteY207" fmla="*/ 4330519 h 6858000"/>
              <a:gd name="connsiteX208" fmla="*/ 687572 w 7467600"/>
              <a:gd name="connsiteY208" fmla="*/ 3925629 h 6858000"/>
              <a:gd name="connsiteX209" fmla="*/ 1138365 w 7467600"/>
              <a:gd name="connsiteY209" fmla="*/ 3774515 h 6858000"/>
              <a:gd name="connsiteX210" fmla="*/ 1505579 w 7467600"/>
              <a:gd name="connsiteY210" fmla="*/ 3655526 h 6858000"/>
              <a:gd name="connsiteX211" fmla="*/ 1313114 w 7467600"/>
              <a:gd name="connsiteY211" fmla="*/ 3655216 h 6858000"/>
              <a:gd name="connsiteX212" fmla="*/ 3655073 w 7467600"/>
              <a:gd name="connsiteY212" fmla="*/ 3650884 h 6858000"/>
              <a:gd name="connsiteX213" fmla="*/ 3989938 w 7467600"/>
              <a:gd name="connsiteY213" fmla="*/ 3991685 h 6858000"/>
              <a:gd name="connsiteX214" fmla="*/ 4393907 w 7467600"/>
              <a:gd name="connsiteY214" fmla="*/ 4261258 h 6858000"/>
              <a:gd name="connsiteX215" fmla="*/ 4648051 w 7467600"/>
              <a:gd name="connsiteY215" fmla="*/ 4374051 h 6858000"/>
              <a:gd name="connsiteX216" fmla="*/ 4383389 w 7467600"/>
              <a:gd name="connsiteY216" fmla="*/ 4184369 h 6858000"/>
              <a:gd name="connsiteX217" fmla="*/ 4165508 w 7467600"/>
              <a:gd name="connsiteY217" fmla="*/ 4035196 h 6858000"/>
              <a:gd name="connsiteX218" fmla="*/ 4068162 w 7467600"/>
              <a:gd name="connsiteY218" fmla="*/ 3953394 h 6858000"/>
              <a:gd name="connsiteX219" fmla="*/ 3981416 w 7467600"/>
              <a:gd name="connsiteY219" fmla="*/ 3880482 h 6858000"/>
              <a:gd name="connsiteX220" fmla="*/ 3800147 w 7467600"/>
              <a:gd name="connsiteY220" fmla="*/ 3749872 h 6858000"/>
              <a:gd name="connsiteX221" fmla="*/ 3655073 w 7467600"/>
              <a:gd name="connsiteY221" fmla="*/ 3650884 h 6858000"/>
              <a:gd name="connsiteX222" fmla="*/ 3670252 w 7467600"/>
              <a:gd name="connsiteY222" fmla="*/ 3622798 h 6858000"/>
              <a:gd name="connsiteX223" fmla="*/ 3817258 w 7467600"/>
              <a:gd name="connsiteY223" fmla="*/ 3723577 h 6858000"/>
              <a:gd name="connsiteX224" fmla="*/ 4000461 w 7467600"/>
              <a:gd name="connsiteY224" fmla="*/ 3855966 h 6858000"/>
              <a:gd name="connsiteX225" fmla="*/ 4088180 w 7467600"/>
              <a:gd name="connsiteY225" fmla="*/ 3929774 h 6858000"/>
              <a:gd name="connsiteX226" fmla="*/ 4184555 w 7467600"/>
              <a:gd name="connsiteY226" fmla="*/ 4010683 h 6858000"/>
              <a:gd name="connsiteX227" fmla="*/ 4399563 w 7467600"/>
              <a:gd name="connsiteY227" fmla="*/ 4158106 h 6858000"/>
              <a:gd name="connsiteX228" fmla="*/ 4684469 w 7467600"/>
              <a:gd name="connsiteY228" fmla="*/ 4364680 h 6858000"/>
              <a:gd name="connsiteX229" fmla="*/ 4690271 w 7467600"/>
              <a:gd name="connsiteY229" fmla="*/ 4370034 h 6858000"/>
              <a:gd name="connsiteX230" fmla="*/ 4136093 w 7467600"/>
              <a:gd name="connsiteY230" fmla="*/ 3858466 h 6858000"/>
              <a:gd name="connsiteX231" fmla="*/ 3670252 w 7467600"/>
              <a:gd name="connsiteY231" fmla="*/ 3622798 h 6858000"/>
              <a:gd name="connsiteX232" fmla="*/ 4440129 w 7467600"/>
              <a:gd name="connsiteY232" fmla="*/ 3448571 h 6858000"/>
              <a:gd name="connsiteX233" fmla="*/ 4856525 w 7467600"/>
              <a:gd name="connsiteY233" fmla="*/ 3915351 h 6858000"/>
              <a:gd name="connsiteX234" fmla="*/ 5059055 w 7467600"/>
              <a:gd name="connsiteY234" fmla="*/ 4108918 h 6858000"/>
              <a:gd name="connsiteX235" fmla="*/ 5290070 w 7467600"/>
              <a:gd name="connsiteY235" fmla="*/ 4263619 h 6858000"/>
              <a:gd name="connsiteX236" fmla="*/ 4834991 w 7467600"/>
              <a:gd name="connsiteY236" fmla="*/ 3830985 h 6858000"/>
              <a:gd name="connsiteX237" fmla="*/ 4440129 w 7467600"/>
              <a:gd name="connsiteY237" fmla="*/ 3448571 h 6858000"/>
              <a:gd name="connsiteX238" fmla="*/ 4441737 w 7467600"/>
              <a:gd name="connsiteY238" fmla="*/ 3399734 h 6858000"/>
              <a:gd name="connsiteX239" fmla="*/ 4431236 w 7467600"/>
              <a:gd name="connsiteY239" fmla="*/ 3400954 h 6858000"/>
              <a:gd name="connsiteX240" fmla="*/ 4557150 w 7467600"/>
              <a:gd name="connsiteY240" fmla="*/ 3510023 h 6858000"/>
              <a:gd name="connsiteX241" fmla="*/ 4856936 w 7467600"/>
              <a:gd name="connsiteY241" fmla="*/ 3809146 h 6858000"/>
              <a:gd name="connsiteX242" fmla="*/ 5111996 w 7467600"/>
              <a:gd name="connsiteY242" fmla="*/ 4065759 h 6858000"/>
              <a:gd name="connsiteX243" fmla="*/ 5388878 w 7467600"/>
              <a:gd name="connsiteY243" fmla="*/ 4300185 h 6858000"/>
              <a:gd name="connsiteX244" fmla="*/ 5425556 w 7467600"/>
              <a:gd name="connsiteY244" fmla="*/ 4308967 h 6858000"/>
              <a:gd name="connsiteX245" fmla="*/ 4943646 w 7467600"/>
              <a:gd name="connsiteY245" fmla="*/ 3822916 h 6858000"/>
              <a:gd name="connsiteX246" fmla="*/ 4594837 w 7467600"/>
              <a:gd name="connsiteY246" fmla="*/ 3532274 h 6858000"/>
              <a:gd name="connsiteX247" fmla="*/ 4441737 w 7467600"/>
              <a:gd name="connsiteY247" fmla="*/ 3399734 h 6858000"/>
              <a:gd name="connsiteX248" fmla="*/ 5425834 w 7467600"/>
              <a:gd name="connsiteY248" fmla="*/ 3162785 h 6858000"/>
              <a:gd name="connsiteX249" fmla="*/ 5401644 w 7467600"/>
              <a:gd name="connsiteY249" fmla="*/ 3617847 h 6858000"/>
              <a:gd name="connsiteX250" fmla="*/ 5467256 w 7467600"/>
              <a:gd name="connsiteY250" fmla="*/ 4175494 h 6858000"/>
              <a:gd name="connsiteX251" fmla="*/ 5448069 w 7467600"/>
              <a:gd name="connsiteY251" fmla="*/ 3567554 h 6858000"/>
              <a:gd name="connsiteX252" fmla="*/ 5425834 w 7467600"/>
              <a:gd name="connsiteY252" fmla="*/ 3162785 h 6858000"/>
              <a:gd name="connsiteX253" fmla="*/ 1318687 w 7467600"/>
              <a:gd name="connsiteY253" fmla="*/ 3113840 h 6858000"/>
              <a:gd name="connsiteX254" fmla="*/ 1066793 w 7467600"/>
              <a:gd name="connsiteY254" fmla="*/ 3212171 h 6858000"/>
              <a:gd name="connsiteX255" fmla="*/ 993319 w 7467600"/>
              <a:gd name="connsiteY255" fmla="*/ 3247648 h 6858000"/>
              <a:gd name="connsiteX256" fmla="*/ 853081 w 7467600"/>
              <a:gd name="connsiteY256" fmla="*/ 3312410 h 6858000"/>
              <a:gd name="connsiteX257" fmla="*/ 805957 w 7467600"/>
              <a:gd name="connsiteY257" fmla="*/ 3330443 h 6858000"/>
              <a:gd name="connsiteX258" fmla="*/ 1318687 w 7467600"/>
              <a:gd name="connsiteY258" fmla="*/ 3113840 h 6858000"/>
              <a:gd name="connsiteX259" fmla="*/ 5453702 w 7467600"/>
              <a:gd name="connsiteY259" fmla="*/ 3090882 h 6858000"/>
              <a:gd name="connsiteX260" fmla="*/ 5480135 w 7467600"/>
              <a:gd name="connsiteY260" fmla="*/ 3565802 h 6858000"/>
              <a:gd name="connsiteX261" fmla="*/ 5499023 w 7467600"/>
              <a:gd name="connsiteY261" fmla="*/ 4166310 h 6858000"/>
              <a:gd name="connsiteX262" fmla="*/ 5547022 w 7467600"/>
              <a:gd name="connsiteY262" fmla="*/ 3607838 h 6858000"/>
              <a:gd name="connsiteX263" fmla="*/ 5515964 w 7467600"/>
              <a:gd name="connsiteY263" fmla="*/ 3378541 h 6858000"/>
              <a:gd name="connsiteX264" fmla="*/ 5453702 w 7467600"/>
              <a:gd name="connsiteY264" fmla="*/ 3090882 h 6858000"/>
              <a:gd name="connsiteX265" fmla="*/ 1238695 w 7467600"/>
              <a:gd name="connsiteY265" fmla="*/ 3076820 h 6858000"/>
              <a:gd name="connsiteX266" fmla="*/ 716371 w 7467600"/>
              <a:gd name="connsiteY266" fmla="*/ 3293249 h 6858000"/>
              <a:gd name="connsiteX267" fmla="*/ 579522 w 7467600"/>
              <a:gd name="connsiteY267" fmla="*/ 3371759 h 6858000"/>
              <a:gd name="connsiteX268" fmla="*/ 600288 w 7467600"/>
              <a:gd name="connsiteY268" fmla="*/ 3365555 h 6858000"/>
              <a:gd name="connsiteX269" fmla="*/ 840692 w 7467600"/>
              <a:gd name="connsiteY269" fmla="*/ 3284921 h 6858000"/>
              <a:gd name="connsiteX270" fmla="*/ 979248 w 7467600"/>
              <a:gd name="connsiteY270" fmla="*/ 3221003 h 6858000"/>
              <a:gd name="connsiteX271" fmla="*/ 1053282 w 7467600"/>
              <a:gd name="connsiteY271" fmla="*/ 3185247 h 6858000"/>
              <a:gd name="connsiteX272" fmla="*/ 1320603 w 7467600"/>
              <a:gd name="connsiteY272" fmla="*/ 3081281 h 6858000"/>
              <a:gd name="connsiteX273" fmla="*/ 1238695 w 7467600"/>
              <a:gd name="connsiteY273" fmla="*/ 3076820 h 6858000"/>
              <a:gd name="connsiteX274" fmla="*/ 5425627 w 7467600"/>
              <a:gd name="connsiteY274" fmla="*/ 2954192 h 6858000"/>
              <a:gd name="connsiteX275" fmla="*/ 5470770 w 7467600"/>
              <a:gd name="connsiteY275" fmla="*/ 3005435 h 6858000"/>
              <a:gd name="connsiteX276" fmla="*/ 5519779 w 7467600"/>
              <a:gd name="connsiteY276" fmla="*/ 4359223 h 6858000"/>
              <a:gd name="connsiteX277" fmla="*/ 5520293 w 7467600"/>
              <a:gd name="connsiteY277" fmla="*/ 4360602 h 6858000"/>
              <a:gd name="connsiteX278" fmla="*/ 5767221 w 7467600"/>
              <a:gd name="connsiteY278" fmla="*/ 4665564 h 6858000"/>
              <a:gd name="connsiteX279" fmla="*/ 6937169 w 7467600"/>
              <a:gd name="connsiteY279" fmla="*/ 4815941 h 6858000"/>
              <a:gd name="connsiteX280" fmla="*/ 6953922 w 7467600"/>
              <a:gd name="connsiteY280" fmla="*/ 4890068 h 6858000"/>
              <a:gd name="connsiteX281" fmla="*/ 6071359 w 7467600"/>
              <a:gd name="connsiteY281" fmla="*/ 4770770 h 6858000"/>
              <a:gd name="connsiteX282" fmla="*/ 6038839 w 7467600"/>
              <a:gd name="connsiteY282" fmla="*/ 4764474 h 6858000"/>
              <a:gd name="connsiteX283" fmla="*/ 6038706 w 7467600"/>
              <a:gd name="connsiteY283" fmla="*/ 4763847 h 6858000"/>
              <a:gd name="connsiteX284" fmla="*/ 6037784 w 7467600"/>
              <a:gd name="connsiteY284" fmla="*/ 4764270 h 6858000"/>
              <a:gd name="connsiteX285" fmla="*/ 6038839 w 7467600"/>
              <a:gd name="connsiteY285" fmla="*/ 4764474 h 6858000"/>
              <a:gd name="connsiteX286" fmla="*/ 6040338 w 7467600"/>
              <a:gd name="connsiteY286" fmla="*/ 4771418 h 6858000"/>
              <a:gd name="connsiteX287" fmla="*/ 6024488 w 7467600"/>
              <a:gd name="connsiteY287" fmla="*/ 4809903 h 6858000"/>
              <a:gd name="connsiteX288" fmla="*/ 5599771 w 7467600"/>
              <a:gd name="connsiteY288" fmla="*/ 5509652 h 6858000"/>
              <a:gd name="connsiteX289" fmla="*/ 5548843 w 7467600"/>
              <a:gd name="connsiteY289" fmla="*/ 5563845 h 6858000"/>
              <a:gd name="connsiteX290" fmla="*/ 5940952 w 7467600"/>
              <a:gd name="connsiteY290" fmla="*/ 6250028 h 6858000"/>
              <a:gd name="connsiteX291" fmla="*/ 6043441 w 7467600"/>
              <a:gd name="connsiteY291" fmla="*/ 6665847 h 6858000"/>
              <a:gd name="connsiteX292" fmla="*/ 6093432 w 7467600"/>
              <a:gd name="connsiteY292" fmla="*/ 6858000 h 6858000"/>
              <a:gd name="connsiteX293" fmla="*/ 6034344 w 7467600"/>
              <a:gd name="connsiteY293" fmla="*/ 6858000 h 6858000"/>
              <a:gd name="connsiteX294" fmla="*/ 6026679 w 7467600"/>
              <a:gd name="connsiteY294" fmla="*/ 6836959 h 6858000"/>
              <a:gd name="connsiteX295" fmla="*/ 5800441 w 7467600"/>
              <a:gd name="connsiteY295" fmla="*/ 6335286 h 6858000"/>
              <a:gd name="connsiteX296" fmla="*/ 5526562 w 7467600"/>
              <a:gd name="connsiteY296" fmla="*/ 5705388 h 6858000"/>
              <a:gd name="connsiteX297" fmla="*/ 5519640 w 7467600"/>
              <a:gd name="connsiteY297" fmla="*/ 5683774 h 6858000"/>
              <a:gd name="connsiteX298" fmla="*/ 5844559 w 7467600"/>
              <a:gd name="connsiteY298" fmla="*/ 6553349 h 6858000"/>
              <a:gd name="connsiteX299" fmla="*/ 5975994 w 7467600"/>
              <a:gd name="connsiteY299" fmla="*/ 6858000 h 6858000"/>
              <a:gd name="connsiteX300" fmla="*/ 5898547 w 7467600"/>
              <a:gd name="connsiteY300" fmla="*/ 6858000 h 6858000"/>
              <a:gd name="connsiteX301" fmla="*/ 5682041 w 7467600"/>
              <a:gd name="connsiteY301" fmla="*/ 6355860 h 6858000"/>
              <a:gd name="connsiteX302" fmla="*/ 5461758 w 7467600"/>
              <a:gd name="connsiteY302" fmla="*/ 5820220 h 6858000"/>
              <a:gd name="connsiteX303" fmla="*/ 5237282 w 7467600"/>
              <a:gd name="connsiteY303" fmla="*/ 6579086 h 6858000"/>
              <a:gd name="connsiteX304" fmla="*/ 5115009 w 7467600"/>
              <a:gd name="connsiteY304" fmla="*/ 6858000 h 6858000"/>
              <a:gd name="connsiteX305" fmla="*/ 5028074 w 7467600"/>
              <a:gd name="connsiteY305" fmla="*/ 6858000 h 6858000"/>
              <a:gd name="connsiteX306" fmla="*/ 5079508 w 7467600"/>
              <a:gd name="connsiteY306" fmla="*/ 6749074 h 6858000"/>
              <a:gd name="connsiteX307" fmla="*/ 5371846 w 7467600"/>
              <a:gd name="connsiteY307" fmla="*/ 5924413 h 6858000"/>
              <a:gd name="connsiteX308" fmla="*/ 5270512 w 7467600"/>
              <a:gd name="connsiteY308" fmla="*/ 6138975 h 6858000"/>
              <a:gd name="connsiteX309" fmla="*/ 5062409 w 7467600"/>
              <a:gd name="connsiteY309" fmla="*/ 6653544 h 6858000"/>
              <a:gd name="connsiteX310" fmla="*/ 5036628 w 7467600"/>
              <a:gd name="connsiteY310" fmla="*/ 6754247 h 6858000"/>
              <a:gd name="connsiteX311" fmla="*/ 5009112 w 7467600"/>
              <a:gd name="connsiteY311" fmla="*/ 6858000 h 6858000"/>
              <a:gd name="connsiteX312" fmla="*/ 4976679 w 7467600"/>
              <a:gd name="connsiteY312" fmla="*/ 6858000 h 6858000"/>
              <a:gd name="connsiteX313" fmla="*/ 5006537 w 7467600"/>
              <a:gd name="connsiteY313" fmla="*/ 6747068 h 6858000"/>
              <a:gd name="connsiteX314" fmla="*/ 5032723 w 7467600"/>
              <a:gd name="connsiteY314" fmla="*/ 6644957 h 6858000"/>
              <a:gd name="connsiteX315" fmla="*/ 5242949 w 7467600"/>
              <a:gd name="connsiteY315" fmla="*/ 6125175 h 6858000"/>
              <a:gd name="connsiteX316" fmla="*/ 5286321 w 7467600"/>
              <a:gd name="connsiteY316" fmla="*/ 6033555 h 6858000"/>
              <a:gd name="connsiteX317" fmla="*/ 5008210 w 7467600"/>
              <a:gd name="connsiteY317" fmla="*/ 6649194 h 6858000"/>
              <a:gd name="connsiteX318" fmla="*/ 4986321 w 7467600"/>
              <a:gd name="connsiteY318" fmla="*/ 6765687 h 6858000"/>
              <a:gd name="connsiteX319" fmla="*/ 4973474 w 7467600"/>
              <a:gd name="connsiteY319" fmla="*/ 6858000 h 6858000"/>
              <a:gd name="connsiteX320" fmla="*/ 4907178 w 7467600"/>
              <a:gd name="connsiteY320" fmla="*/ 6858000 h 6858000"/>
              <a:gd name="connsiteX321" fmla="*/ 4910810 w 7467600"/>
              <a:gd name="connsiteY321" fmla="*/ 6829660 h 6858000"/>
              <a:gd name="connsiteX322" fmla="*/ 4987461 w 7467600"/>
              <a:gd name="connsiteY322" fmla="*/ 6432994 h 6858000"/>
              <a:gd name="connsiteX323" fmla="*/ 5179262 w 7467600"/>
              <a:gd name="connsiteY323" fmla="*/ 6035044 h 6858000"/>
              <a:gd name="connsiteX324" fmla="*/ 4689678 w 7467600"/>
              <a:gd name="connsiteY324" fmla="*/ 6440241 h 6858000"/>
              <a:gd name="connsiteX325" fmla="*/ 4477543 w 7467600"/>
              <a:gd name="connsiteY325" fmla="*/ 6674836 h 6858000"/>
              <a:gd name="connsiteX326" fmla="*/ 4329957 w 7467600"/>
              <a:gd name="connsiteY326" fmla="*/ 6858000 h 6858000"/>
              <a:gd name="connsiteX327" fmla="*/ 4218595 w 7467600"/>
              <a:gd name="connsiteY327" fmla="*/ 6858000 h 6858000"/>
              <a:gd name="connsiteX328" fmla="*/ 4368888 w 7467600"/>
              <a:gd name="connsiteY328" fmla="*/ 6668412 h 6858000"/>
              <a:gd name="connsiteX329" fmla="*/ 4563091 w 7467600"/>
              <a:gd name="connsiteY329" fmla="*/ 6442508 h 6858000"/>
              <a:gd name="connsiteX330" fmla="*/ 5387324 w 7467600"/>
              <a:gd name="connsiteY330" fmla="*/ 5705830 h 6858000"/>
              <a:gd name="connsiteX331" fmla="*/ 5073620 w 7467600"/>
              <a:gd name="connsiteY331" fmla="*/ 5955437 h 6858000"/>
              <a:gd name="connsiteX332" fmla="*/ 4689789 w 7467600"/>
              <a:gd name="connsiteY332" fmla="*/ 6268382 h 6858000"/>
              <a:gd name="connsiteX333" fmla="*/ 4418722 w 7467600"/>
              <a:gd name="connsiteY333" fmla="*/ 6570886 h 6858000"/>
              <a:gd name="connsiteX334" fmla="*/ 4214944 w 7467600"/>
              <a:gd name="connsiteY334" fmla="*/ 6858000 h 6858000"/>
              <a:gd name="connsiteX335" fmla="*/ 4177898 w 7467600"/>
              <a:gd name="connsiteY335" fmla="*/ 6858000 h 6858000"/>
              <a:gd name="connsiteX336" fmla="*/ 4391597 w 7467600"/>
              <a:gd name="connsiteY336" fmla="*/ 6556370 h 6858000"/>
              <a:gd name="connsiteX337" fmla="*/ 4668889 w 7467600"/>
              <a:gd name="connsiteY337" fmla="*/ 6246399 h 6858000"/>
              <a:gd name="connsiteX338" fmla="*/ 5055427 w 7467600"/>
              <a:gd name="connsiteY338" fmla="*/ 5931476 h 6858000"/>
              <a:gd name="connsiteX339" fmla="*/ 5371814 w 7467600"/>
              <a:gd name="connsiteY339" fmla="*/ 5678975 h 6858000"/>
              <a:gd name="connsiteX340" fmla="*/ 4987918 w 7467600"/>
              <a:gd name="connsiteY340" fmla="*/ 5838701 h 6858000"/>
              <a:gd name="connsiteX341" fmla="*/ 4317146 w 7467600"/>
              <a:gd name="connsiteY341" fmla="*/ 6587716 h 6858000"/>
              <a:gd name="connsiteX342" fmla="*/ 4171627 w 7467600"/>
              <a:gd name="connsiteY342" fmla="*/ 6858000 h 6858000"/>
              <a:gd name="connsiteX343" fmla="*/ 4081585 w 7467600"/>
              <a:gd name="connsiteY343" fmla="*/ 6858000 h 6858000"/>
              <a:gd name="connsiteX344" fmla="*/ 4238603 w 7467600"/>
              <a:gd name="connsiteY344" fmla="*/ 6559341 h 6858000"/>
              <a:gd name="connsiteX345" fmla="*/ 4778333 w 7467600"/>
              <a:gd name="connsiteY345" fmla="*/ 5873626 h 6858000"/>
              <a:gd name="connsiteX346" fmla="*/ 5414185 w 7467600"/>
              <a:gd name="connsiteY346" fmla="*/ 5573882 h 6858000"/>
              <a:gd name="connsiteX347" fmla="*/ 5959648 w 7467600"/>
              <a:gd name="connsiteY347" fmla="*/ 4760797 h 6858000"/>
              <a:gd name="connsiteX348" fmla="*/ 5355019 w 7467600"/>
              <a:gd name="connsiteY348" fmla="*/ 4734672 h 6858000"/>
              <a:gd name="connsiteX349" fmla="*/ 5083565 w 7467600"/>
              <a:gd name="connsiteY349" fmla="*/ 5179121 h 6858000"/>
              <a:gd name="connsiteX350" fmla="*/ 4713577 w 7467600"/>
              <a:gd name="connsiteY350" fmla="*/ 5616803 h 6858000"/>
              <a:gd name="connsiteX351" fmla="*/ 3989559 w 7467600"/>
              <a:gd name="connsiteY351" fmla="*/ 6145945 h 6858000"/>
              <a:gd name="connsiteX352" fmla="*/ 3939824 w 7467600"/>
              <a:gd name="connsiteY352" fmla="*/ 6066900 h 6858000"/>
              <a:gd name="connsiteX353" fmla="*/ 4584537 w 7467600"/>
              <a:gd name="connsiteY353" fmla="*/ 5324826 h 6858000"/>
              <a:gd name="connsiteX354" fmla="*/ 5037105 w 7467600"/>
              <a:gd name="connsiteY354" fmla="*/ 5088765 h 6858000"/>
              <a:gd name="connsiteX355" fmla="*/ 5039930 w 7467600"/>
              <a:gd name="connsiteY355" fmla="*/ 5089585 h 6858000"/>
              <a:gd name="connsiteX356" fmla="*/ 5263764 w 7467600"/>
              <a:gd name="connsiteY356" fmla="*/ 4735525 h 6858000"/>
              <a:gd name="connsiteX357" fmla="*/ 4086300 w 7467600"/>
              <a:gd name="connsiteY357" fmla="*/ 4884599 h 6858000"/>
              <a:gd name="connsiteX358" fmla="*/ 4085485 w 7467600"/>
              <a:gd name="connsiteY358" fmla="*/ 4899070 h 6858000"/>
              <a:gd name="connsiteX359" fmla="*/ 3871915 w 7467600"/>
              <a:gd name="connsiteY359" fmla="*/ 5253645 h 6858000"/>
              <a:gd name="connsiteX360" fmla="*/ 3799374 w 7467600"/>
              <a:gd name="connsiteY360" fmla="*/ 5466127 h 6858000"/>
              <a:gd name="connsiteX361" fmla="*/ 3498850 w 7467600"/>
              <a:gd name="connsiteY361" fmla="*/ 6661888 h 6858000"/>
              <a:gd name="connsiteX362" fmla="*/ 3399216 w 7467600"/>
              <a:gd name="connsiteY362" fmla="*/ 6858000 h 6858000"/>
              <a:gd name="connsiteX363" fmla="*/ 3303688 w 7467600"/>
              <a:gd name="connsiteY363" fmla="*/ 6858000 h 6858000"/>
              <a:gd name="connsiteX364" fmla="*/ 3391774 w 7467600"/>
              <a:gd name="connsiteY364" fmla="*/ 6697181 h 6858000"/>
              <a:gd name="connsiteX365" fmla="*/ 3735540 w 7467600"/>
              <a:gd name="connsiteY365" fmla="*/ 5546923 h 6858000"/>
              <a:gd name="connsiteX366" fmla="*/ 3729438 w 7467600"/>
              <a:gd name="connsiteY366" fmla="*/ 5569058 h 6858000"/>
              <a:gd name="connsiteX367" fmla="*/ 3707782 w 7467600"/>
              <a:gd name="connsiteY367" fmla="*/ 5644908 h 6858000"/>
              <a:gd name="connsiteX368" fmla="*/ 3583827 w 7467600"/>
              <a:gd name="connsiteY368" fmla="*/ 6039215 h 6858000"/>
              <a:gd name="connsiteX369" fmla="*/ 3547861 w 7467600"/>
              <a:gd name="connsiteY369" fmla="*/ 6129609 h 6858000"/>
              <a:gd name="connsiteX370" fmla="*/ 3490905 w 7467600"/>
              <a:gd name="connsiteY370" fmla="*/ 6277660 h 6858000"/>
              <a:gd name="connsiteX371" fmla="*/ 3455859 w 7467600"/>
              <a:gd name="connsiteY371" fmla="*/ 6391301 h 6858000"/>
              <a:gd name="connsiteX372" fmla="*/ 3429112 w 7467600"/>
              <a:gd name="connsiteY372" fmla="*/ 6479469 h 6858000"/>
              <a:gd name="connsiteX373" fmla="*/ 3304862 w 7467600"/>
              <a:gd name="connsiteY373" fmla="*/ 6796476 h 6858000"/>
              <a:gd name="connsiteX374" fmla="*/ 3276071 w 7467600"/>
              <a:gd name="connsiteY374" fmla="*/ 6858000 h 6858000"/>
              <a:gd name="connsiteX375" fmla="*/ 3240805 w 7467600"/>
              <a:gd name="connsiteY375" fmla="*/ 6858000 h 6858000"/>
              <a:gd name="connsiteX376" fmla="*/ 3275917 w 7467600"/>
              <a:gd name="connsiteY376" fmla="*/ 6783192 h 6858000"/>
              <a:gd name="connsiteX377" fmla="*/ 3399358 w 7467600"/>
              <a:gd name="connsiteY377" fmla="*/ 6469011 h 6858000"/>
              <a:gd name="connsiteX378" fmla="*/ 3425650 w 7467600"/>
              <a:gd name="connsiteY378" fmla="*/ 6381333 h 6858000"/>
              <a:gd name="connsiteX379" fmla="*/ 3460661 w 7467600"/>
              <a:gd name="connsiteY379" fmla="*/ 6266763 h 6858000"/>
              <a:gd name="connsiteX380" fmla="*/ 3518021 w 7467600"/>
              <a:gd name="connsiteY380" fmla="*/ 6117298 h 6858000"/>
              <a:gd name="connsiteX381" fmla="*/ 3554035 w 7467600"/>
              <a:gd name="connsiteY381" fmla="*/ 6027832 h 6858000"/>
              <a:gd name="connsiteX382" fmla="*/ 3677174 w 7467600"/>
              <a:gd name="connsiteY382" fmla="*/ 5636351 h 6858000"/>
              <a:gd name="connsiteX383" fmla="*/ 3698819 w 7467600"/>
              <a:gd name="connsiteY383" fmla="*/ 5560503 h 6858000"/>
              <a:gd name="connsiteX384" fmla="*/ 3702094 w 7467600"/>
              <a:gd name="connsiteY384" fmla="*/ 5549194 h 6858000"/>
              <a:gd name="connsiteX385" fmla="*/ 3398355 w 7467600"/>
              <a:gd name="connsiteY385" fmla="*/ 6094603 h 6858000"/>
              <a:gd name="connsiteX386" fmla="*/ 3193941 w 7467600"/>
              <a:gd name="connsiteY386" fmla="*/ 6798775 h 6858000"/>
              <a:gd name="connsiteX387" fmla="*/ 3184140 w 7467600"/>
              <a:gd name="connsiteY387" fmla="*/ 6858000 h 6858000"/>
              <a:gd name="connsiteX388" fmla="*/ 3099978 w 7467600"/>
              <a:gd name="connsiteY388" fmla="*/ 6858000 h 6858000"/>
              <a:gd name="connsiteX389" fmla="*/ 3101556 w 7467600"/>
              <a:gd name="connsiteY389" fmla="*/ 6843337 h 6858000"/>
              <a:gd name="connsiteX390" fmla="*/ 3370162 w 7467600"/>
              <a:gd name="connsiteY390" fmla="*/ 5785550 h 6858000"/>
              <a:gd name="connsiteX391" fmla="*/ 3746477 w 7467600"/>
              <a:gd name="connsiteY391" fmla="*/ 5377889 h 6858000"/>
              <a:gd name="connsiteX392" fmla="*/ 3863399 w 7467600"/>
              <a:gd name="connsiteY392" fmla="*/ 5087257 h 6858000"/>
              <a:gd name="connsiteX393" fmla="*/ 3968712 w 7467600"/>
              <a:gd name="connsiteY393" fmla="*/ 4913989 h 6858000"/>
              <a:gd name="connsiteX394" fmla="*/ 2792390 w 7467600"/>
              <a:gd name="connsiteY394" fmla="*/ 5382974 h 6858000"/>
              <a:gd name="connsiteX395" fmla="*/ 2714982 w 7467600"/>
              <a:gd name="connsiteY395" fmla="*/ 5427051 h 6858000"/>
              <a:gd name="connsiteX396" fmla="*/ 2813361 w 7467600"/>
              <a:gd name="connsiteY396" fmla="*/ 6023912 h 6858000"/>
              <a:gd name="connsiteX397" fmla="*/ 2688430 w 7467600"/>
              <a:gd name="connsiteY397" fmla="*/ 6801564 h 6858000"/>
              <a:gd name="connsiteX398" fmla="*/ 2629626 w 7467600"/>
              <a:gd name="connsiteY398" fmla="*/ 6763394 h 6858000"/>
              <a:gd name="connsiteX399" fmla="*/ 2565328 w 7467600"/>
              <a:gd name="connsiteY399" fmla="*/ 5516399 h 6858000"/>
              <a:gd name="connsiteX400" fmla="*/ 1922999 w 7467600"/>
              <a:gd name="connsiteY400" fmla="*/ 5980343 h 6858000"/>
              <a:gd name="connsiteX401" fmla="*/ 1950261 w 7467600"/>
              <a:gd name="connsiteY401" fmla="*/ 6405858 h 6858000"/>
              <a:gd name="connsiteX402" fmla="*/ 2365554 w 7467600"/>
              <a:gd name="connsiteY402" fmla="*/ 6759107 h 6858000"/>
              <a:gd name="connsiteX403" fmla="*/ 2424142 w 7467600"/>
              <a:gd name="connsiteY403" fmla="*/ 6858000 h 6858000"/>
              <a:gd name="connsiteX404" fmla="*/ 2395994 w 7467600"/>
              <a:gd name="connsiteY404" fmla="*/ 6858000 h 6858000"/>
              <a:gd name="connsiteX405" fmla="*/ 2392863 w 7467600"/>
              <a:gd name="connsiteY405" fmla="*/ 6852964 h 6858000"/>
              <a:gd name="connsiteX406" fmla="*/ 2017589 w 7467600"/>
              <a:gd name="connsiteY406" fmla="*/ 6493982 h 6858000"/>
              <a:gd name="connsiteX407" fmla="*/ 2147336 w 7467600"/>
              <a:gd name="connsiteY407" fmla="*/ 6594052 h 6858000"/>
              <a:gd name="connsiteX408" fmla="*/ 2207047 w 7467600"/>
              <a:gd name="connsiteY408" fmla="*/ 6654540 h 6858000"/>
              <a:gd name="connsiteX409" fmla="*/ 2299106 w 7467600"/>
              <a:gd name="connsiteY409" fmla="*/ 6778931 h 6858000"/>
              <a:gd name="connsiteX410" fmla="*/ 2314430 w 7467600"/>
              <a:gd name="connsiteY410" fmla="*/ 6801144 h 6858000"/>
              <a:gd name="connsiteX411" fmla="*/ 2352406 w 7467600"/>
              <a:gd name="connsiteY411" fmla="*/ 6858000 h 6858000"/>
              <a:gd name="connsiteX412" fmla="*/ 2314492 w 7467600"/>
              <a:gd name="connsiteY412" fmla="*/ 6858000 h 6858000"/>
              <a:gd name="connsiteX413" fmla="*/ 2288095 w 7467600"/>
              <a:gd name="connsiteY413" fmla="*/ 6818030 h 6858000"/>
              <a:gd name="connsiteX414" fmla="*/ 2272768 w 7467600"/>
              <a:gd name="connsiteY414" fmla="*/ 6795822 h 6858000"/>
              <a:gd name="connsiteX415" fmla="*/ 2182715 w 7467600"/>
              <a:gd name="connsiteY415" fmla="*/ 6675071 h 6858000"/>
              <a:gd name="connsiteX416" fmla="*/ 2032061 w 7467600"/>
              <a:gd name="connsiteY416" fmla="*/ 6541380 h 6858000"/>
              <a:gd name="connsiteX417" fmla="*/ 2257220 w 7467600"/>
              <a:gd name="connsiteY417" fmla="*/ 6826257 h 6858000"/>
              <a:gd name="connsiteX418" fmla="*/ 2281324 w 7467600"/>
              <a:gd name="connsiteY418" fmla="*/ 6858000 h 6858000"/>
              <a:gd name="connsiteX419" fmla="*/ 2242860 w 7467600"/>
              <a:gd name="connsiteY419" fmla="*/ 6858000 h 6858000"/>
              <a:gd name="connsiteX420" fmla="*/ 2232818 w 7467600"/>
              <a:gd name="connsiteY420" fmla="*/ 6844926 h 6858000"/>
              <a:gd name="connsiteX421" fmla="*/ 1990172 w 7467600"/>
              <a:gd name="connsiteY421" fmla="*/ 6542121 h 6858000"/>
              <a:gd name="connsiteX422" fmla="*/ 2124090 w 7467600"/>
              <a:gd name="connsiteY422" fmla="*/ 6761017 h 6858000"/>
              <a:gd name="connsiteX423" fmla="*/ 2200380 w 7467600"/>
              <a:gd name="connsiteY423" fmla="*/ 6858000 h 6858000"/>
              <a:gd name="connsiteX424" fmla="*/ 2147507 w 7467600"/>
              <a:gd name="connsiteY424" fmla="*/ 6858000 h 6858000"/>
              <a:gd name="connsiteX425" fmla="*/ 2070668 w 7467600"/>
              <a:gd name="connsiteY425" fmla="*/ 6761520 h 6858000"/>
              <a:gd name="connsiteX426" fmla="*/ 1975142 w 7467600"/>
              <a:gd name="connsiteY426" fmla="*/ 6585570 h 6858000"/>
              <a:gd name="connsiteX427" fmla="*/ 2050035 w 7467600"/>
              <a:gd name="connsiteY427" fmla="*/ 6813345 h 6858000"/>
              <a:gd name="connsiteX428" fmla="*/ 2063025 w 7467600"/>
              <a:gd name="connsiteY428" fmla="*/ 6858000 h 6858000"/>
              <a:gd name="connsiteX429" fmla="*/ 2021675 w 7467600"/>
              <a:gd name="connsiteY429" fmla="*/ 6858000 h 6858000"/>
              <a:gd name="connsiteX430" fmla="*/ 2019308 w 7467600"/>
              <a:gd name="connsiteY430" fmla="*/ 6847118 h 6858000"/>
              <a:gd name="connsiteX431" fmla="*/ 1938835 w 7467600"/>
              <a:gd name="connsiteY431" fmla="*/ 6551160 h 6858000"/>
              <a:gd name="connsiteX432" fmla="*/ 1953230 w 7467600"/>
              <a:gd name="connsiteY432" fmla="*/ 6759699 h 6858000"/>
              <a:gd name="connsiteX433" fmla="*/ 1956763 w 7467600"/>
              <a:gd name="connsiteY433" fmla="*/ 6778191 h 6858000"/>
              <a:gd name="connsiteX434" fmla="*/ 1967925 w 7467600"/>
              <a:gd name="connsiteY434" fmla="*/ 6858000 h 6858000"/>
              <a:gd name="connsiteX435" fmla="*/ 1936622 w 7467600"/>
              <a:gd name="connsiteY435" fmla="*/ 6858000 h 6858000"/>
              <a:gd name="connsiteX436" fmla="*/ 1926261 w 7467600"/>
              <a:gd name="connsiteY436" fmla="*/ 6784064 h 6858000"/>
              <a:gd name="connsiteX437" fmla="*/ 1922724 w 7467600"/>
              <a:gd name="connsiteY437" fmla="*/ 6765577 h 6858000"/>
              <a:gd name="connsiteX438" fmla="*/ 1904650 w 7467600"/>
              <a:gd name="connsiteY438" fmla="*/ 6639616 h 6858000"/>
              <a:gd name="connsiteX439" fmla="*/ 1885273 w 7467600"/>
              <a:gd name="connsiteY439" fmla="*/ 6858000 h 6858000"/>
              <a:gd name="connsiteX440" fmla="*/ 1854363 w 7467600"/>
              <a:gd name="connsiteY440" fmla="*/ 6858000 h 6858000"/>
              <a:gd name="connsiteX441" fmla="*/ 1880391 w 7467600"/>
              <a:gd name="connsiteY441" fmla="*/ 6603796 h 6858000"/>
              <a:gd name="connsiteX442" fmla="*/ 1818273 w 7467600"/>
              <a:gd name="connsiteY442" fmla="*/ 6715729 h 6858000"/>
              <a:gd name="connsiteX443" fmla="*/ 1794691 w 7467600"/>
              <a:gd name="connsiteY443" fmla="*/ 6843239 h 6858000"/>
              <a:gd name="connsiteX444" fmla="*/ 1794914 w 7467600"/>
              <a:gd name="connsiteY444" fmla="*/ 6858000 h 6858000"/>
              <a:gd name="connsiteX445" fmla="*/ 1746128 w 7467600"/>
              <a:gd name="connsiteY445" fmla="*/ 6858000 h 6858000"/>
              <a:gd name="connsiteX446" fmla="*/ 1753934 w 7467600"/>
              <a:gd name="connsiteY446" fmla="*/ 6724796 h 6858000"/>
              <a:gd name="connsiteX447" fmla="*/ 1792053 w 7467600"/>
              <a:gd name="connsiteY447" fmla="*/ 6572396 h 6858000"/>
              <a:gd name="connsiteX448" fmla="*/ 1862248 w 7467600"/>
              <a:gd name="connsiteY448" fmla="*/ 6266397 h 6858000"/>
              <a:gd name="connsiteX449" fmla="*/ 1862250 w 7467600"/>
              <a:gd name="connsiteY449" fmla="*/ 6033531 h 6858000"/>
              <a:gd name="connsiteX450" fmla="*/ 1211999 w 7467600"/>
              <a:gd name="connsiteY450" fmla="*/ 6683610 h 6858000"/>
              <a:gd name="connsiteX451" fmla="*/ 1213266 w 7467600"/>
              <a:gd name="connsiteY451" fmla="*/ 6691947 h 6858000"/>
              <a:gd name="connsiteX452" fmla="*/ 1203370 w 7467600"/>
              <a:gd name="connsiteY452" fmla="*/ 6850676 h 6858000"/>
              <a:gd name="connsiteX453" fmla="*/ 1203671 w 7467600"/>
              <a:gd name="connsiteY453" fmla="*/ 6858000 h 6858000"/>
              <a:gd name="connsiteX454" fmla="*/ 1143180 w 7467600"/>
              <a:gd name="connsiteY454" fmla="*/ 6858000 h 6858000"/>
              <a:gd name="connsiteX455" fmla="*/ 1142176 w 7467600"/>
              <a:gd name="connsiteY455" fmla="*/ 6766045 h 6858000"/>
              <a:gd name="connsiteX456" fmla="*/ 1067484 w 7467600"/>
              <a:gd name="connsiteY456" fmla="*/ 6858000 h 6858000"/>
              <a:gd name="connsiteX457" fmla="*/ 953928 w 7467600"/>
              <a:gd name="connsiteY457" fmla="*/ 6858000 h 6858000"/>
              <a:gd name="connsiteX458" fmla="*/ 959715 w 7467600"/>
              <a:gd name="connsiteY458" fmla="*/ 6850185 h 6858000"/>
              <a:gd name="connsiteX459" fmla="*/ 1483788 w 7467600"/>
              <a:gd name="connsiteY459" fmla="*/ 6259174 h 6858000"/>
              <a:gd name="connsiteX460" fmla="*/ 1100671 w 7467600"/>
              <a:gd name="connsiteY460" fmla="*/ 6252137 h 6858000"/>
              <a:gd name="connsiteX461" fmla="*/ 1090144 w 7467600"/>
              <a:gd name="connsiteY461" fmla="*/ 6256748 h 6858000"/>
              <a:gd name="connsiteX462" fmla="*/ 1095872 w 7467600"/>
              <a:gd name="connsiteY462" fmla="*/ 6271892 h 6858000"/>
              <a:gd name="connsiteX463" fmla="*/ 262785 w 7467600"/>
              <a:gd name="connsiteY463" fmla="*/ 6845450 h 6858000"/>
              <a:gd name="connsiteX464" fmla="*/ 209968 w 7467600"/>
              <a:gd name="connsiteY464" fmla="*/ 6770713 h 6858000"/>
              <a:gd name="connsiteX465" fmla="*/ 873460 w 7467600"/>
              <a:gd name="connsiteY465" fmla="*/ 6253768 h 6858000"/>
              <a:gd name="connsiteX466" fmla="*/ 192686 w 7467600"/>
              <a:gd name="connsiteY466" fmla="*/ 5849257 h 6858000"/>
              <a:gd name="connsiteX467" fmla="*/ 4696 w 7467600"/>
              <a:gd name="connsiteY467" fmla="*/ 5697668 h 6858000"/>
              <a:gd name="connsiteX468" fmla="*/ 0 w 7467600"/>
              <a:gd name="connsiteY468" fmla="*/ 5689984 h 6858000"/>
              <a:gd name="connsiteX469" fmla="*/ 0 w 7467600"/>
              <a:gd name="connsiteY469" fmla="*/ 5513472 h 6858000"/>
              <a:gd name="connsiteX470" fmla="*/ 174101 w 7467600"/>
              <a:gd name="connsiteY470" fmla="*/ 5620277 h 6858000"/>
              <a:gd name="connsiteX471" fmla="*/ 891800 w 7467600"/>
              <a:gd name="connsiteY471" fmla="*/ 6036935 h 6858000"/>
              <a:gd name="connsiteX472" fmla="*/ 1072219 w 7467600"/>
              <a:gd name="connsiteY472" fmla="*/ 6169443 h 6858000"/>
              <a:gd name="connsiteX473" fmla="*/ 1074117 w 7467600"/>
              <a:gd name="connsiteY473" fmla="*/ 6170301 h 6858000"/>
              <a:gd name="connsiteX474" fmla="*/ 1083114 w 7467600"/>
              <a:gd name="connsiteY474" fmla="*/ 6174131 h 6858000"/>
              <a:gd name="connsiteX475" fmla="*/ 1543010 w 7467600"/>
              <a:gd name="connsiteY475" fmla="*/ 6191140 h 6858000"/>
              <a:gd name="connsiteX476" fmla="*/ 1551080 w 7467600"/>
              <a:gd name="connsiteY476" fmla="*/ 6195006 h 6858000"/>
              <a:gd name="connsiteX477" fmla="*/ 2345443 w 7467600"/>
              <a:gd name="connsiteY477" fmla="*/ 5549882 h 6858000"/>
              <a:gd name="connsiteX478" fmla="*/ 1721499 w 7467600"/>
              <a:gd name="connsiteY478" fmla="*/ 5599969 h 6858000"/>
              <a:gd name="connsiteX479" fmla="*/ 767716 w 7467600"/>
              <a:gd name="connsiteY479" fmla="*/ 5472768 h 6858000"/>
              <a:gd name="connsiteX480" fmla="*/ 722147 w 7467600"/>
              <a:gd name="connsiteY480" fmla="*/ 5393091 h 6858000"/>
              <a:gd name="connsiteX481" fmla="*/ 1485552 w 7467600"/>
              <a:gd name="connsiteY481" fmla="*/ 5313202 h 6858000"/>
              <a:gd name="connsiteX482" fmla="*/ 2143004 w 7467600"/>
              <a:gd name="connsiteY482" fmla="*/ 5402420 h 6858000"/>
              <a:gd name="connsiteX483" fmla="*/ 1933391 w 7467600"/>
              <a:gd name="connsiteY483" fmla="*/ 5156971 h 6858000"/>
              <a:gd name="connsiteX484" fmla="*/ 1827118 w 7467600"/>
              <a:gd name="connsiteY484" fmla="*/ 4968410 h 6858000"/>
              <a:gd name="connsiteX485" fmla="*/ 1837349 w 7467600"/>
              <a:gd name="connsiteY485" fmla="*/ 4956357 h 6858000"/>
              <a:gd name="connsiteX486" fmla="*/ 2162835 w 7467600"/>
              <a:gd name="connsiteY486" fmla="*/ 5187853 h 6858000"/>
              <a:gd name="connsiteX487" fmla="*/ 2257167 w 7467600"/>
              <a:gd name="connsiteY487" fmla="*/ 5462123 h 6858000"/>
              <a:gd name="connsiteX488" fmla="*/ 2261598 w 7467600"/>
              <a:gd name="connsiteY488" fmla="*/ 5467998 h 6858000"/>
              <a:gd name="connsiteX489" fmla="*/ 2437177 w 7467600"/>
              <a:gd name="connsiteY489" fmla="*/ 5479608 h 6858000"/>
              <a:gd name="connsiteX490" fmla="*/ 2445247 w 7467600"/>
              <a:gd name="connsiteY490" fmla="*/ 5483476 h 6858000"/>
              <a:gd name="connsiteX491" fmla="*/ 2743626 w 7467600"/>
              <a:gd name="connsiteY491" fmla="*/ 5304819 h 6858000"/>
              <a:gd name="connsiteX492" fmla="*/ 3048102 w 7467600"/>
              <a:gd name="connsiteY492" fmla="*/ 5150595 h 6858000"/>
              <a:gd name="connsiteX493" fmla="*/ 1799414 w 7467600"/>
              <a:gd name="connsiteY493" fmla="*/ 4694732 h 6858000"/>
              <a:gd name="connsiteX494" fmla="*/ 1771735 w 7467600"/>
              <a:gd name="connsiteY494" fmla="*/ 4619929 h 6858000"/>
              <a:gd name="connsiteX495" fmla="*/ 3104273 w 7467600"/>
              <a:gd name="connsiteY495" fmla="*/ 5076159 h 6858000"/>
              <a:gd name="connsiteX496" fmla="*/ 3113245 w 7467600"/>
              <a:gd name="connsiteY496" fmla="*/ 5090705 h 6858000"/>
              <a:gd name="connsiteX497" fmla="*/ 3126294 w 7467600"/>
              <a:gd name="connsiteY497" fmla="*/ 5114400 h 6858000"/>
              <a:gd name="connsiteX498" fmla="*/ 3937433 w 7467600"/>
              <a:gd name="connsiteY498" fmla="*/ 4830473 h 6858000"/>
              <a:gd name="connsiteX499" fmla="*/ 3590475 w 7467600"/>
              <a:gd name="connsiteY499" fmla="*/ 4597974 h 6858000"/>
              <a:gd name="connsiteX500" fmla="*/ 3100264 w 7467600"/>
              <a:gd name="connsiteY500" fmla="*/ 4579845 h 6858000"/>
              <a:gd name="connsiteX501" fmla="*/ 2183576 w 7467600"/>
              <a:gd name="connsiteY501" fmla="*/ 4227150 h 6858000"/>
              <a:gd name="connsiteX502" fmla="*/ 2151029 w 7467600"/>
              <a:gd name="connsiteY502" fmla="*/ 4146947 h 6858000"/>
              <a:gd name="connsiteX503" fmla="*/ 3563434 w 7467600"/>
              <a:gd name="connsiteY503" fmla="*/ 4469115 h 6858000"/>
              <a:gd name="connsiteX504" fmla="*/ 3177952 w 7467600"/>
              <a:gd name="connsiteY504" fmla="*/ 3657386 h 6858000"/>
              <a:gd name="connsiteX505" fmla="*/ 3189263 w 7467600"/>
              <a:gd name="connsiteY505" fmla="*/ 3625726 h 6858000"/>
              <a:gd name="connsiteX506" fmla="*/ 3560912 w 7467600"/>
              <a:gd name="connsiteY506" fmla="*/ 4079863 h 6858000"/>
              <a:gd name="connsiteX507" fmla="*/ 3626636 w 7467600"/>
              <a:gd name="connsiteY507" fmla="*/ 4512230 h 6858000"/>
              <a:gd name="connsiteX508" fmla="*/ 3653088 w 7467600"/>
              <a:gd name="connsiteY508" fmla="*/ 4521417 h 6858000"/>
              <a:gd name="connsiteX509" fmla="*/ 3988128 w 7467600"/>
              <a:gd name="connsiteY509" fmla="*/ 4817267 h 6858000"/>
              <a:gd name="connsiteX510" fmla="*/ 4830582 w 7467600"/>
              <a:gd name="connsiteY510" fmla="*/ 4676000 h 6858000"/>
              <a:gd name="connsiteX511" fmla="*/ 4830100 w 7467600"/>
              <a:gd name="connsiteY511" fmla="*/ 4675554 h 6858000"/>
              <a:gd name="connsiteX512" fmla="*/ 4036318 w 7467600"/>
              <a:gd name="connsiteY512" fmla="*/ 4147013 h 6858000"/>
              <a:gd name="connsiteX513" fmla="*/ 3432098 w 7467600"/>
              <a:gd name="connsiteY513" fmla="*/ 3537312 h 6858000"/>
              <a:gd name="connsiteX514" fmla="*/ 3446761 w 7467600"/>
              <a:gd name="connsiteY514" fmla="*/ 3461278 h 6858000"/>
              <a:gd name="connsiteX515" fmla="*/ 4419733 w 7467600"/>
              <a:gd name="connsiteY515" fmla="*/ 3963555 h 6858000"/>
              <a:gd name="connsiteX516" fmla="*/ 4781371 w 7467600"/>
              <a:gd name="connsiteY516" fmla="*/ 4458604 h 6858000"/>
              <a:gd name="connsiteX517" fmla="*/ 4780440 w 7467600"/>
              <a:gd name="connsiteY517" fmla="*/ 4470290 h 6858000"/>
              <a:gd name="connsiteX518" fmla="*/ 4898954 w 7467600"/>
              <a:gd name="connsiteY518" fmla="*/ 4662092 h 6858000"/>
              <a:gd name="connsiteX519" fmla="*/ 4900699 w 7467600"/>
              <a:gd name="connsiteY519" fmla="*/ 4670867 h 6858000"/>
              <a:gd name="connsiteX520" fmla="*/ 5714511 w 7467600"/>
              <a:gd name="connsiteY520" fmla="*/ 4663483 h 6858000"/>
              <a:gd name="connsiteX521" fmla="*/ 5464793 w 7467600"/>
              <a:gd name="connsiteY521" fmla="*/ 4393556 h 6858000"/>
              <a:gd name="connsiteX522" fmla="*/ 5461897 w 7467600"/>
              <a:gd name="connsiteY522" fmla="*/ 4390879 h 6858000"/>
              <a:gd name="connsiteX523" fmla="*/ 4294126 w 7467600"/>
              <a:gd name="connsiteY523" fmla="*/ 3303048 h 6858000"/>
              <a:gd name="connsiteX524" fmla="*/ 4305321 w 7467600"/>
              <a:gd name="connsiteY524" fmla="*/ 3256953 h 6858000"/>
              <a:gd name="connsiteX525" fmla="*/ 4949299 w 7467600"/>
              <a:gd name="connsiteY525" fmla="*/ 3766336 h 6858000"/>
              <a:gd name="connsiteX526" fmla="*/ 5291452 w 7467600"/>
              <a:gd name="connsiteY526" fmla="*/ 4076801 h 6858000"/>
              <a:gd name="connsiteX527" fmla="*/ 5434998 w 7467600"/>
              <a:gd name="connsiteY527" fmla="*/ 4254100 h 6858000"/>
              <a:gd name="connsiteX528" fmla="*/ 5351015 w 7467600"/>
              <a:gd name="connsiteY528" fmla="*/ 3760989 h 6858000"/>
              <a:gd name="connsiteX529" fmla="*/ 5413780 w 7467600"/>
              <a:gd name="connsiteY529" fmla="*/ 2966265 h 6858000"/>
              <a:gd name="connsiteX530" fmla="*/ 5425627 w 7467600"/>
              <a:gd name="connsiteY530" fmla="*/ 2954192 h 6858000"/>
              <a:gd name="connsiteX531" fmla="*/ 6604735 w 7467600"/>
              <a:gd name="connsiteY531" fmla="*/ 2041381 h 6858000"/>
              <a:gd name="connsiteX532" fmla="*/ 7204487 w 7467600"/>
              <a:gd name="connsiteY532" fmla="*/ 2742112 h 6858000"/>
              <a:gd name="connsiteX533" fmla="*/ 7131592 w 7467600"/>
              <a:gd name="connsiteY533" fmla="*/ 2672096 h 6858000"/>
              <a:gd name="connsiteX534" fmla="*/ 6996344 w 7467600"/>
              <a:gd name="connsiteY534" fmla="*/ 2518310 h 6858000"/>
              <a:gd name="connsiteX535" fmla="*/ 6735495 w 7467600"/>
              <a:gd name="connsiteY535" fmla="*/ 2196890 h 6858000"/>
              <a:gd name="connsiteX536" fmla="*/ 6721901 w 7467600"/>
              <a:gd name="connsiteY536" fmla="*/ 2179274 h 6858000"/>
              <a:gd name="connsiteX537" fmla="*/ 6604735 w 7467600"/>
              <a:gd name="connsiteY537" fmla="*/ 2041381 h 6858000"/>
              <a:gd name="connsiteX538" fmla="*/ 6591670 w 7467600"/>
              <a:gd name="connsiteY538" fmla="*/ 1988277 h 6858000"/>
              <a:gd name="connsiteX539" fmla="*/ 6747349 w 7467600"/>
              <a:gd name="connsiteY539" fmla="*/ 2160069 h 6858000"/>
              <a:gd name="connsiteX540" fmla="*/ 6760943 w 7467600"/>
              <a:gd name="connsiteY540" fmla="*/ 2177686 h 6858000"/>
              <a:gd name="connsiteX541" fmla="*/ 7021065 w 7467600"/>
              <a:gd name="connsiteY541" fmla="*/ 2498102 h 6858000"/>
              <a:gd name="connsiteX542" fmla="*/ 7155223 w 7467600"/>
              <a:gd name="connsiteY542" fmla="*/ 2650386 h 6858000"/>
              <a:gd name="connsiteX543" fmla="*/ 7203167 w 7467600"/>
              <a:gd name="connsiteY543" fmla="*/ 2697288 h 6858000"/>
              <a:gd name="connsiteX544" fmla="*/ 6937703 w 7467600"/>
              <a:gd name="connsiteY544" fmla="*/ 2321981 h 6858000"/>
              <a:gd name="connsiteX545" fmla="*/ 6591670 w 7467600"/>
              <a:gd name="connsiteY545" fmla="*/ 1988277 h 6858000"/>
              <a:gd name="connsiteX546" fmla="*/ 5798671 w 7467600"/>
              <a:gd name="connsiteY546" fmla="*/ 1981601 h 6858000"/>
              <a:gd name="connsiteX547" fmla="*/ 5754709 w 7467600"/>
              <a:gd name="connsiteY547" fmla="*/ 2071454 h 6858000"/>
              <a:gd name="connsiteX548" fmla="*/ 5763044 w 7467600"/>
              <a:gd name="connsiteY548" fmla="*/ 2842206 h 6858000"/>
              <a:gd name="connsiteX549" fmla="*/ 5764974 w 7467600"/>
              <a:gd name="connsiteY549" fmla="*/ 2799609 h 6858000"/>
              <a:gd name="connsiteX550" fmla="*/ 5767665 w 7467600"/>
              <a:gd name="connsiteY550" fmla="*/ 2666409 h 6858000"/>
              <a:gd name="connsiteX551" fmla="*/ 5763055 w 7467600"/>
              <a:gd name="connsiteY551" fmla="*/ 2579705 h 6858000"/>
              <a:gd name="connsiteX552" fmla="*/ 5758079 w 7467600"/>
              <a:gd name="connsiteY552" fmla="*/ 2492508 h 6858000"/>
              <a:gd name="connsiteX553" fmla="*/ 5779325 w 7467600"/>
              <a:gd name="connsiteY553" fmla="*/ 2197069 h 6858000"/>
              <a:gd name="connsiteX554" fmla="*/ 5798671 w 7467600"/>
              <a:gd name="connsiteY554" fmla="*/ 1981601 h 6858000"/>
              <a:gd name="connsiteX555" fmla="*/ 5829202 w 7467600"/>
              <a:gd name="connsiteY555" fmla="*/ 1971679 h 6858000"/>
              <a:gd name="connsiteX556" fmla="*/ 5809558 w 7467600"/>
              <a:gd name="connsiteY556" fmla="*/ 2198043 h 6858000"/>
              <a:gd name="connsiteX557" fmla="*/ 5788653 w 7467600"/>
              <a:gd name="connsiteY557" fmla="*/ 2489430 h 6858000"/>
              <a:gd name="connsiteX558" fmla="*/ 5793439 w 7467600"/>
              <a:gd name="connsiteY558" fmla="*/ 2575235 h 6858000"/>
              <a:gd name="connsiteX559" fmla="*/ 5796837 w 7467600"/>
              <a:gd name="connsiteY559" fmla="*/ 2637633 h 6858000"/>
              <a:gd name="connsiteX560" fmla="*/ 5818614 w 7467600"/>
              <a:gd name="connsiteY560" fmla="*/ 2473055 h 6858000"/>
              <a:gd name="connsiteX561" fmla="*/ 5829202 w 7467600"/>
              <a:gd name="connsiteY561" fmla="*/ 1971679 h 6858000"/>
              <a:gd name="connsiteX562" fmla="*/ 5911389 w 7467600"/>
              <a:gd name="connsiteY562" fmla="*/ 1898371 h 6858000"/>
              <a:gd name="connsiteX563" fmla="*/ 6237627 w 7467600"/>
              <a:gd name="connsiteY563" fmla="*/ 2231921 h 6858000"/>
              <a:gd name="connsiteX564" fmla="*/ 5911389 w 7467600"/>
              <a:gd name="connsiteY564" fmla="*/ 1898371 h 6858000"/>
              <a:gd name="connsiteX565" fmla="*/ 6944437 w 7467600"/>
              <a:gd name="connsiteY565" fmla="*/ 1575402 h 6858000"/>
              <a:gd name="connsiteX566" fmla="*/ 6304730 w 7467600"/>
              <a:gd name="connsiteY566" fmla="*/ 1766654 h 6858000"/>
              <a:gd name="connsiteX567" fmla="*/ 6944437 w 7467600"/>
              <a:gd name="connsiteY567" fmla="*/ 1575402 h 6858000"/>
              <a:gd name="connsiteX568" fmla="*/ 7019523 w 7467600"/>
              <a:gd name="connsiteY568" fmla="*/ 1519450 h 6858000"/>
              <a:gd name="connsiteX569" fmla="*/ 6298091 w 7467600"/>
              <a:gd name="connsiteY569" fmla="*/ 1737122 h 6858000"/>
              <a:gd name="connsiteX570" fmla="*/ 7019523 w 7467600"/>
              <a:gd name="connsiteY570" fmla="*/ 1519450 h 6858000"/>
              <a:gd name="connsiteX571" fmla="*/ 2399523 w 7467600"/>
              <a:gd name="connsiteY571" fmla="*/ 1428234 h 6858000"/>
              <a:gd name="connsiteX572" fmla="*/ 2224982 w 7467600"/>
              <a:gd name="connsiteY572" fmla="*/ 1826201 h 6858000"/>
              <a:gd name="connsiteX573" fmla="*/ 2096099 w 7467600"/>
              <a:gd name="connsiteY573" fmla="*/ 2345900 h 6858000"/>
              <a:gd name="connsiteX574" fmla="*/ 2283317 w 7467600"/>
              <a:gd name="connsiteY574" fmla="*/ 1796925 h 6858000"/>
              <a:gd name="connsiteX575" fmla="*/ 2399523 w 7467600"/>
              <a:gd name="connsiteY575" fmla="*/ 1428234 h 6858000"/>
              <a:gd name="connsiteX576" fmla="*/ 2448558 w 7467600"/>
              <a:gd name="connsiteY576" fmla="*/ 1373435 h 6858000"/>
              <a:gd name="connsiteX577" fmla="*/ 2312521 w 7467600"/>
              <a:gd name="connsiteY577" fmla="*/ 1806140 h 6858000"/>
              <a:gd name="connsiteX578" fmla="*/ 2127533 w 7467600"/>
              <a:gd name="connsiteY578" fmla="*/ 2348380 h 6858000"/>
              <a:gd name="connsiteX579" fmla="*/ 2358080 w 7467600"/>
              <a:gd name="connsiteY579" fmla="*/ 1866134 h 6858000"/>
              <a:gd name="connsiteX580" fmla="*/ 2407436 w 7467600"/>
              <a:gd name="connsiteY580" fmla="*/ 1651070 h 6858000"/>
              <a:gd name="connsiteX581" fmla="*/ 2448558 w 7467600"/>
              <a:gd name="connsiteY581" fmla="*/ 1373435 h 6858000"/>
              <a:gd name="connsiteX582" fmla="*/ 278707 w 7467600"/>
              <a:gd name="connsiteY582" fmla="*/ 1352270 h 6858000"/>
              <a:gd name="connsiteX583" fmla="*/ 321570 w 7467600"/>
              <a:gd name="connsiteY583" fmla="*/ 1861610 h 6858000"/>
              <a:gd name="connsiteX584" fmla="*/ 294281 w 7467600"/>
              <a:gd name="connsiteY584" fmla="*/ 1440658 h 6858000"/>
              <a:gd name="connsiteX585" fmla="*/ 278707 w 7467600"/>
              <a:gd name="connsiteY585" fmla="*/ 1352270 h 6858000"/>
              <a:gd name="connsiteX586" fmla="*/ 1423821 w 7467600"/>
              <a:gd name="connsiteY586" fmla="*/ 1351958 h 6858000"/>
              <a:gd name="connsiteX587" fmla="*/ 1638521 w 7467600"/>
              <a:gd name="connsiteY587" fmla="*/ 1908470 h 6858000"/>
              <a:gd name="connsiteX588" fmla="*/ 1754199 w 7467600"/>
              <a:gd name="connsiteY588" fmla="*/ 2149284 h 6858000"/>
              <a:gd name="connsiteX589" fmla="*/ 1908359 w 7467600"/>
              <a:gd name="connsiteY589" fmla="*/ 2364988 h 6858000"/>
              <a:gd name="connsiteX590" fmla="*/ 1647661 w 7467600"/>
              <a:gd name="connsiteY590" fmla="*/ 1825945 h 6858000"/>
              <a:gd name="connsiteX591" fmla="*/ 1423821 w 7467600"/>
              <a:gd name="connsiteY591" fmla="*/ 1351958 h 6858000"/>
              <a:gd name="connsiteX592" fmla="*/ 1431890 w 7467600"/>
              <a:gd name="connsiteY592" fmla="*/ 1306475 h 6858000"/>
              <a:gd name="connsiteX593" fmla="*/ 1507597 w 7467600"/>
              <a:gd name="connsiteY593" fmla="*/ 1446132 h 6858000"/>
              <a:gd name="connsiteX594" fmla="*/ 1674586 w 7467600"/>
              <a:gd name="connsiteY594" fmla="*/ 1813832 h 6858000"/>
              <a:gd name="connsiteX595" fmla="*/ 1815950 w 7467600"/>
              <a:gd name="connsiteY595" fmla="*/ 2128564 h 6858000"/>
              <a:gd name="connsiteX596" fmla="*/ 1984242 w 7467600"/>
              <a:gd name="connsiteY596" fmla="*/ 2430829 h 6858000"/>
              <a:gd name="connsiteX597" fmla="*/ 2014023 w 7467600"/>
              <a:gd name="connsiteY597" fmla="*/ 2450995 h 6858000"/>
              <a:gd name="connsiteX598" fmla="*/ 1747337 w 7467600"/>
              <a:gd name="connsiteY598" fmla="*/ 1855264 h 6858000"/>
              <a:gd name="connsiteX599" fmla="*/ 1533749 w 7467600"/>
              <a:gd name="connsiteY599" fmla="*/ 1478656 h 6858000"/>
              <a:gd name="connsiteX600" fmla="*/ 1431890 w 7467600"/>
              <a:gd name="connsiteY600" fmla="*/ 1306475 h 6858000"/>
              <a:gd name="connsiteX601" fmla="*/ 5052692 w 7467600"/>
              <a:gd name="connsiteY601" fmla="*/ 1292994 h 6858000"/>
              <a:gd name="connsiteX602" fmla="*/ 5200661 w 7467600"/>
              <a:gd name="connsiteY602" fmla="*/ 1635186 h 6858000"/>
              <a:gd name="connsiteX603" fmla="*/ 5297138 w 7467600"/>
              <a:gd name="connsiteY603" fmla="*/ 1906351 h 6858000"/>
              <a:gd name="connsiteX604" fmla="*/ 5052692 w 7467600"/>
              <a:gd name="connsiteY604" fmla="*/ 1292994 h 6858000"/>
              <a:gd name="connsiteX605" fmla="*/ 5009948 w 7467600"/>
              <a:gd name="connsiteY605" fmla="*/ 1273619 h 6858000"/>
              <a:gd name="connsiteX606" fmla="*/ 5121777 w 7467600"/>
              <a:gd name="connsiteY606" fmla="*/ 1654213 h 6858000"/>
              <a:gd name="connsiteX607" fmla="*/ 5293545 w 7467600"/>
              <a:gd name="connsiteY607" fmla="*/ 2072247 h 6858000"/>
              <a:gd name="connsiteX608" fmla="*/ 5294042 w 7467600"/>
              <a:gd name="connsiteY608" fmla="*/ 2065019 h 6858000"/>
              <a:gd name="connsiteX609" fmla="*/ 5171936 w 7467600"/>
              <a:gd name="connsiteY609" fmla="*/ 1647613 h 6858000"/>
              <a:gd name="connsiteX610" fmla="*/ 5009948 w 7467600"/>
              <a:gd name="connsiteY610" fmla="*/ 1273619 h 6858000"/>
              <a:gd name="connsiteX611" fmla="*/ 655236 w 7467600"/>
              <a:gd name="connsiteY611" fmla="*/ 1268632 h 6858000"/>
              <a:gd name="connsiteX612" fmla="*/ 839521 w 7467600"/>
              <a:gd name="connsiteY612" fmla="*/ 1685315 h 6858000"/>
              <a:gd name="connsiteX613" fmla="*/ 1109416 w 7467600"/>
              <a:gd name="connsiteY613" fmla="*/ 2061663 h 6858000"/>
              <a:gd name="connsiteX614" fmla="*/ 1298300 w 7467600"/>
              <a:gd name="connsiteY614" fmla="*/ 2247742 h 6858000"/>
              <a:gd name="connsiteX615" fmla="*/ 1125871 w 7467600"/>
              <a:gd name="connsiteY615" fmla="*/ 1989513 h 6858000"/>
              <a:gd name="connsiteX616" fmla="*/ 981574 w 7467600"/>
              <a:gd name="connsiteY616" fmla="*/ 1783157 h 6858000"/>
              <a:gd name="connsiteX617" fmla="*/ 922198 w 7467600"/>
              <a:gd name="connsiteY617" fmla="*/ 1677437 h 6858000"/>
              <a:gd name="connsiteX618" fmla="*/ 869293 w 7467600"/>
              <a:gd name="connsiteY618" fmla="*/ 1583214 h 6858000"/>
              <a:gd name="connsiteX619" fmla="*/ 751431 w 7467600"/>
              <a:gd name="connsiteY619" fmla="*/ 1405731 h 6858000"/>
              <a:gd name="connsiteX620" fmla="*/ 655236 w 7467600"/>
              <a:gd name="connsiteY620" fmla="*/ 1268632 h 6858000"/>
              <a:gd name="connsiteX621" fmla="*/ 6516292 w 7467600"/>
              <a:gd name="connsiteY621" fmla="*/ 1263064 h 6858000"/>
              <a:gd name="connsiteX622" fmla="*/ 5736320 w 7467600"/>
              <a:gd name="connsiteY622" fmla="*/ 1501803 h 6858000"/>
              <a:gd name="connsiteX623" fmla="*/ 6516292 w 7467600"/>
              <a:gd name="connsiteY623" fmla="*/ 1263064 h 6858000"/>
              <a:gd name="connsiteX624" fmla="*/ 291466 w 7467600"/>
              <a:gd name="connsiteY624" fmla="*/ 1250369 h 6858000"/>
              <a:gd name="connsiteX625" fmla="*/ 323180 w 7467600"/>
              <a:gd name="connsiteY625" fmla="*/ 1435283 h 6858000"/>
              <a:gd name="connsiteX626" fmla="*/ 349381 w 7467600"/>
              <a:gd name="connsiteY626" fmla="*/ 1875041 h 6858000"/>
              <a:gd name="connsiteX627" fmla="*/ 374363 w 7467600"/>
              <a:gd name="connsiteY627" fmla="*/ 1506494 h 6858000"/>
              <a:gd name="connsiteX628" fmla="*/ 302168 w 7467600"/>
              <a:gd name="connsiteY628" fmla="*/ 1274495 h 6858000"/>
              <a:gd name="connsiteX629" fmla="*/ 291466 w 7467600"/>
              <a:gd name="connsiteY629" fmla="*/ 1250369 h 6858000"/>
              <a:gd name="connsiteX630" fmla="*/ 678222 w 7467600"/>
              <a:gd name="connsiteY630" fmla="*/ 1248670 h 6858000"/>
              <a:gd name="connsiteX631" fmla="*/ 775536 w 7467600"/>
              <a:gd name="connsiteY631" fmla="*/ 1388015 h 6858000"/>
              <a:gd name="connsiteX632" fmla="*/ 894529 w 7467600"/>
              <a:gd name="connsiteY632" fmla="*/ 1567739 h 6858000"/>
              <a:gd name="connsiteX633" fmla="*/ 948000 w 7467600"/>
              <a:gd name="connsiteY633" fmla="*/ 1663088 h 6858000"/>
              <a:gd name="connsiteX634" fmla="*/ 1006812 w 7467600"/>
              <a:gd name="connsiteY634" fmla="*/ 1767683 h 6858000"/>
              <a:gd name="connsiteX635" fmla="*/ 1149133 w 7467600"/>
              <a:gd name="connsiteY635" fmla="*/ 1971513 h 6858000"/>
              <a:gd name="connsiteX636" fmla="*/ 1333952 w 7467600"/>
              <a:gd name="connsiteY636" fmla="*/ 2251620 h 6858000"/>
              <a:gd name="connsiteX637" fmla="*/ 1337329 w 7467600"/>
              <a:gd name="connsiteY637" fmla="*/ 2258350 h 6858000"/>
              <a:gd name="connsiteX638" fmla="*/ 1014726 w 7467600"/>
              <a:gd name="connsiteY638" fmla="*/ 1615556 h 6858000"/>
              <a:gd name="connsiteX639" fmla="*/ 678222 w 7467600"/>
              <a:gd name="connsiteY639" fmla="*/ 1248670 h 6858000"/>
              <a:gd name="connsiteX640" fmla="*/ 6691602 w 7467600"/>
              <a:gd name="connsiteY640" fmla="*/ 1140573 h 6858000"/>
              <a:gd name="connsiteX641" fmla="*/ 6571100 w 7467600"/>
              <a:gd name="connsiteY641" fmla="*/ 1183662 h 6858000"/>
              <a:gd name="connsiteX642" fmla="*/ 6241687 w 7467600"/>
              <a:gd name="connsiteY642" fmla="*/ 1257600 h 6858000"/>
              <a:gd name="connsiteX643" fmla="*/ 5693009 w 7467600"/>
              <a:gd name="connsiteY643" fmla="*/ 1478256 h 6858000"/>
              <a:gd name="connsiteX644" fmla="*/ 6548420 w 7467600"/>
              <a:gd name="connsiteY644" fmla="*/ 1214599 h 6858000"/>
              <a:gd name="connsiteX645" fmla="*/ 6605473 w 7467600"/>
              <a:gd name="connsiteY645" fmla="*/ 1184686 h 6858000"/>
              <a:gd name="connsiteX646" fmla="*/ 6691602 w 7467600"/>
              <a:gd name="connsiteY646" fmla="*/ 1140573 h 6858000"/>
              <a:gd name="connsiteX647" fmla="*/ 4002475 w 7467600"/>
              <a:gd name="connsiteY647" fmla="*/ 1037802 h 6858000"/>
              <a:gd name="connsiteX648" fmla="*/ 4000324 w 7467600"/>
              <a:gd name="connsiteY648" fmla="*/ 1039362 h 6858000"/>
              <a:gd name="connsiteX649" fmla="*/ 4002862 w 7467600"/>
              <a:gd name="connsiteY649" fmla="*/ 1042866 h 6858000"/>
              <a:gd name="connsiteX650" fmla="*/ 4002475 w 7467600"/>
              <a:gd name="connsiteY650" fmla="*/ 1037802 h 6858000"/>
              <a:gd name="connsiteX651" fmla="*/ 506322 w 7467600"/>
              <a:gd name="connsiteY651" fmla="*/ 1020997 h 6858000"/>
              <a:gd name="connsiteX652" fmla="*/ 533068 w 7467600"/>
              <a:gd name="connsiteY652" fmla="*/ 1029409 h 6858000"/>
              <a:gd name="connsiteX653" fmla="*/ 1232525 w 7467600"/>
              <a:gd name="connsiteY653" fmla="*/ 1804675 h 6858000"/>
              <a:gd name="connsiteX654" fmla="*/ 1388858 w 7467600"/>
              <a:gd name="connsiteY654" fmla="*/ 2368011 h 6858000"/>
              <a:gd name="connsiteX655" fmla="*/ 1384098 w 7467600"/>
              <a:gd name="connsiteY655" fmla="*/ 2378125 h 6858000"/>
              <a:gd name="connsiteX656" fmla="*/ 1425393 w 7467600"/>
              <a:gd name="connsiteY656" fmla="*/ 2589124 h 6858000"/>
              <a:gd name="connsiteX657" fmla="*/ 1424001 w 7467600"/>
              <a:gd name="connsiteY657" fmla="*/ 2597541 h 6858000"/>
              <a:gd name="connsiteX658" fmla="*/ 2152729 w 7467600"/>
              <a:gd name="connsiteY658" fmla="*/ 2864487 h 6858000"/>
              <a:gd name="connsiteX659" fmla="*/ 2020609 w 7467600"/>
              <a:gd name="connsiteY659" fmla="*/ 2539671 h 6858000"/>
              <a:gd name="connsiteX660" fmla="*/ 2018920 w 7467600"/>
              <a:gd name="connsiteY660" fmla="*/ 2536309 h 6858000"/>
              <a:gd name="connsiteX661" fmla="*/ 1342441 w 7467600"/>
              <a:gd name="connsiteY661" fmla="*/ 1173017 h 6858000"/>
              <a:gd name="connsiteX662" fmla="*/ 1367925 w 7467600"/>
              <a:gd name="connsiteY662" fmla="*/ 1135648 h 6858000"/>
              <a:gd name="connsiteX663" fmla="*/ 1771401 w 7467600"/>
              <a:gd name="connsiteY663" fmla="*/ 1806673 h 6858000"/>
              <a:gd name="connsiteX664" fmla="*/ 1972385 w 7467600"/>
              <a:gd name="connsiteY664" fmla="*/ 2198735 h 6858000"/>
              <a:gd name="connsiteX665" fmla="*/ 2040892 w 7467600"/>
              <a:gd name="connsiteY665" fmla="*/ 2405205 h 6858000"/>
              <a:gd name="connsiteX666" fmla="*/ 2131689 w 7467600"/>
              <a:gd name="connsiteY666" fmla="*/ 1936926 h 6858000"/>
              <a:gd name="connsiteX667" fmla="*/ 2454820 w 7467600"/>
              <a:gd name="connsiteY667" fmla="*/ 1248808 h 6858000"/>
              <a:gd name="connsiteX668" fmla="*/ 2492512 w 7467600"/>
              <a:gd name="connsiteY668" fmla="*/ 1302920 h 6858000"/>
              <a:gd name="connsiteX669" fmla="*/ 2081216 w 7467600"/>
              <a:gd name="connsiteY669" fmla="*/ 2527513 h 6858000"/>
              <a:gd name="connsiteX670" fmla="*/ 2081211 w 7467600"/>
              <a:gd name="connsiteY670" fmla="*/ 2528916 h 6858000"/>
              <a:gd name="connsiteX671" fmla="*/ 2199067 w 7467600"/>
              <a:gd name="connsiteY671" fmla="*/ 2884061 h 6858000"/>
              <a:gd name="connsiteX672" fmla="*/ 3192586 w 7467600"/>
              <a:gd name="connsiteY672" fmla="*/ 3411496 h 6858000"/>
              <a:gd name="connsiteX673" fmla="*/ 3182620 w 7467600"/>
              <a:gd name="connsiteY673" fmla="*/ 3483279 h 6858000"/>
              <a:gd name="connsiteX674" fmla="*/ 2435119 w 7467600"/>
              <a:gd name="connsiteY674" fmla="*/ 3080173 h 6858000"/>
              <a:gd name="connsiteX675" fmla="*/ 2410152 w 7467600"/>
              <a:gd name="connsiteY675" fmla="*/ 3063751 h 6858000"/>
              <a:gd name="connsiteX676" fmla="*/ 2408099 w 7467600"/>
              <a:gd name="connsiteY676" fmla="*/ 3064403 h 6858000"/>
              <a:gd name="connsiteX677" fmla="*/ 2407218 w 7467600"/>
              <a:gd name="connsiteY677" fmla="*/ 3070324 h 6858000"/>
              <a:gd name="connsiteX678" fmla="*/ 2380138 w 7467600"/>
              <a:gd name="connsiteY678" fmla="*/ 3099341 h 6858000"/>
              <a:gd name="connsiteX679" fmla="*/ 1765923 w 7467600"/>
              <a:gd name="connsiteY679" fmla="*/ 3581043 h 6858000"/>
              <a:gd name="connsiteX680" fmla="*/ 1702258 w 7467600"/>
              <a:gd name="connsiteY680" fmla="*/ 3612286 h 6858000"/>
              <a:gd name="connsiteX681" fmla="*/ 1538370 w 7467600"/>
              <a:gd name="connsiteY681" fmla="*/ 3811804 h 6858000"/>
              <a:gd name="connsiteX682" fmla="*/ 542867 w 7467600"/>
              <a:gd name="connsiteY682" fmla="*/ 4944092 h 6858000"/>
              <a:gd name="connsiteX683" fmla="*/ 515800 w 7467600"/>
              <a:gd name="connsiteY683" fmla="*/ 4862180 h 6858000"/>
              <a:gd name="connsiteX684" fmla="*/ 909145 w 7467600"/>
              <a:gd name="connsiteY684" fmla="*/ 4199225 h 6858000"/>
              <a:gd name="connsiteX685" fmla="*/ 1214067 w 7467600"/>
              <a:gd name="connsiteY685" fmla="*/ 3908561 h 6858000"/>
              <a:gd name="connsiteX686" fmla="*/ 640967 w 7467600"/>
              <a:gd name="connsiteY686" fmla="*/ 4105601 h 6858000"/>
              <a:gd name="connsiteX687" fmla="*/ 112563 w 7467600"/>
              <a:gd name="connsiteY687" fmla="*/ 4396952 h 6858000"/>
              <a:gd name="connsiteX688" fmla="*/ 0 w 7467600"/>
              <a:gd name="connsiteY688" fmla="*/ 4466006 h 6858000"/>
              <a:gd name="connsiteX689" fmla="*/ 0 w 7467600"/>
              <a:gd name="connsiteY689" fmla="*/ 4233763 h 6858000"/>
              <a:gd name="connsiteX690" fmla="*/ 36881 w 7467600"/>
              <a:gd name="connsiteY690" fmla="*/ 4200118 h 6858000"/>
              <a:gd name="connsiteX691" fmla="*/ 910534 w 7467600"/>
              <a:gd name="connsiteY691" fmla="*/ 3629753 h 6858000"/>
              <a:gd name="connsiteX692" fmla="*/ 1578717 w 7467600"/>
              <a:gd name="connsiteY692" fmla="*/ 3575982 h 6858000"/>
              <a:gd name="connsiteX693" fmla="*/ 2338780 w 7467600"/>
              <a:gd name="connsiteY693" fmla="*/ 3033725 h 6858000"/>
              <a:gd name="connsiteX694" fmla="*/ 1807991 w 7467600"/>
              <a:gd name="connsiteY694" fmla="*/ 2807184 h 6858000"/>
              <a:gd name="connsiteX695" fmla="*/ 1416358 w 7467600"/>
              <a:gd name="connsiteY695" fmla="*/ 3112571 h 6858000"/>
              <a:gd name="connsiteX696" fmla="*/ 939066 w 7467600"/>
              <a:gd name="connsiteY696" fmla="*/ 3378798 h 6858000"/>
              <a:gd name="connsiteX697" fmla="*/ 115099 w 7467600"/>
              <a:gd name="connsiteY697" fmla="*/ 3607650 h 6858000"/>
              <a:gd name="connsiteX698" fmla="*/ 97284 w 7467600"/>
              <a:gd name="connsiteY698" fmla="*/ 3520393 h 6858000"/>
              <a:gd name="connsiteX699" fmla="*/ 922050 w 7467600"/>
              <a:gd name="connsiteY699" fmla="*/ 3074867 h 6858000"/>
              <a:gd name="connsiteX700" fmla="*/ 1405265 w 7467600"/>
              <a:gd name="connsiteY700" fmla="*/ 3016319 h 6858000"/>
              <a:gd name="connsiteX701" fmla="*/ 1407512 w 7467600"/>
              <a:gd name="connsiteY701" fmla="*/ 3018001 h 6858000"/>
              <a:gd name="connsiteX702" fmla="*/ 1726266 w 7467600"/>
              <a:gd name="connsiteY702" fmla="*/ 2777274 h 6858000"/>
              <a:gd name="connsiteX703" fmla="*/ 625390 w 7467600"/>
              <a:gd name="connsiteY703" fmla="*/ 2514541 h 6858000"/>
              <a:gd name="connsiteX704" fmla="*/ 619799 w 7467600"/>
              <a:gd name="connsiteY704" fmla="*/ 2527180 h 6858000"/>
              <a:gd name="connsiteX705" fmla="*/ 310030 w 7467600"/>
              <a:gd name="connsiteY705" fmla="*/ 2771818 h 6858000"/>
              <a:gd name="connsiteX706" fmla="*/ 173877 w 7467600"/>
              <a:gd name="connsiteY706" fmla="*/ 2937056 h 6858000"/>
              <a:gd name="connsiteX707" fmla="*/ 77889 w 7467600"/>
              <a:gd name="connsiteY707" fmla="*/ 3138440 h 6858000"/>
              <a:gd name="connsiteX708" fmla="*/ 0 w 7467600"/>
              <a:gd name="connsiteY708" fmla="*/ 3271395 h 6858000"/>
              <a:gd name="connsiteX709" fmla="*/ 0 w 7467600"/>
              <a:gd name="connsiteY709" fmla="*/ 3153002 h 6858000"/>
              <a:gd name="connsiteX710" fmla="*/ 2386 w 7467600"/>
              <a:gd name="connsiteY710" fmla="*/ 3149203 h 6858000"/>
              <a:gd name="connsiteX711" fmla="*/ 89753 w 7467600"/>
              <a:gd name="connsiteY711" fmla="*/ 2987702 h 6858000"/>
              <a:gd name="connsiteX712" fmla="*/ 76869 w 7467600"/>
              <a:gd name="connsiteY712" fmla="*/ 3005404 h 6858000"/>
              <a:gd name="connsiteX713" fmla="*/ 32049 w 7467600"/>
              <a:gd name="connsiteY713" fmla="*/ 3065814 h 6858000"/>
              <a:gd name="connsiteX714" fmla="*/ 0 w 7467600"/>
              <a:gd name="connsiteY714" fmla="*/ 3108744 h 6858000"/>
              <a:gd name="connsiteX715" fmla="*/ 0 w 7467600"/>
              <a:gd name="connsiteY715" fmla="*/ 3058059 h 6858000"/>
              <a:gd name="connsiteX716" fmla="*/ 7610 w 7467600"/>
              <a:gd name="connsiteY716" fmla="*/ 3047889 h 6858000"/>
              <a:gd name="connsiteX717" fmla="*/ 52419 w 7467600"/>
              <a:gd name="connsiteY717" fmla="*/ 2987479 h 6858000"/>
              <a:gd name="connsiteX718" fmla="*/ 59142 w 7467600"/>
              <a:gd name="connsiteY718" fmla="*/ 2978488 h 6858000"/>
              <a:gd name="connsiteX719" fmla="*/ 0 w 7467600"/>
              <a:gd name="connsiteY719" fmla="*/ 3015334 h 6858000"/>
              <a:gd name="connsiteX720" fmla="*/ 0 w 7467600"/>
              <a:gd name="connsiteY720" fmla="*/ 2914286 h 6858000"/>
              <a:gd name="connsiteX721" fmla="*/ 36383 w 7467600"/>
              <a:gd name="connsiteY721" fmla="*/ 2901128 h 6858000"/>
              <a:gd name="connsiteX722" fmla="*/ 156329 w 7467600"/>
              <a:gd name="connsiteY722" fmla="*/ 2840533 h 6858000"/>
              <a:gd name="connsiteX723" fmla="*/ 358355 w 7467600"/>
              <a:gd name="connsiteY723" fmla="*/ 2620471 h 6858000"/>
              <a:gd name="connsiteX724" fmla="*/ 510577 w 7467600"/>
              <a:gd name="connsiteY724" fmla="*/ 2501244 h 6858000"/>
              <a:gd name="connsiteX725" fmla="*/ 211967 w 7467600"/>
              <a:gd name="connsiteY725" fmla="*/ 2479171 h 6858000"/>
              <a:gd name="connsiteX726" fmla="*/ 0 w 7467600"/>
              <a:gd name="connsiteY726" fmla="*/ 2476398 h 6858000"/>
              <a:gd name="connsiteX727" fmla="*/ 0 w 7467600"/>
              <a:gd name="connsiteY727" fmla="*/ 2389189 h 6858000"/>
              <a:gd name="connsiteX728" fmla="*/ 103062 w 7467600"/>
              <a:gd name="connsiteY728" fmla="*/ 2389518 h 6858000"/>
              <a:gd name="connsiteX729" fmla="*/ 510734 w 7467600"/>
              <a:gd name="connsiteY729" fmla="*/ 2416201 h 6858000"/>
              <a:gd name="connsiteX730" fmla="*/ 279257 w 7467600"/>
              <a:gd name="connsiteY730" fmla="*/ 2092102 h 6858000"/>
              <a:gd name="connsiteX731" fmla="*/ 65265 w 7467600"/>
              <a:gd name="connsiteY731" fmla="*/ 2006049 h 6858000"/>
              <a:gd name="connsiteX732" fmla="*/ 0 w 7467600"/>
              <a:gd name="connsiteY732" fmla="*/ 1982532 h 6858000"/>
              <a:gd name="connsiteX733" fmla="*/ 0 w 7467600"/>
              <a:gd name="connsiteY733" fmla="*/ 1912789 h 6858000"/>
              <a:gd name="connsiteX734" fmla="*/ 97460 w 7467600"/>
              <a:gd name="connsiteY734" fmla="*/ 1953725 h 6858000"/>
              <a:gd name="connsiteX735" fmla="*/ 221272 w 7467600"/>
              <a:gd name="connsiteY735" fmla="*/ 1980766 h 6858000"/>
              <a:gd name="connsiteX736" fmla="*/ 116765 w 7467600"/>
              <a:gd name="connsiteY736" fmla="*/ 1911033 h 6858000"/>
              <a:gd name="connsiteX737" fmla="*/ 16405 w 7467600"/>
              <a:gd name="connsiteY737" fmla="*/ 1803412 h 6858000"/>
              <a:gd name="connsiteX738" fmla="*/ 0 w 7467600"/>
              <a:gd name="connsiteY738" fmla="*/ 1784777 h 6858000"/>
              <a:gd name="connsiteX739" fmla="*/ 0 w 7467600"/>
              <a:gd name="connsiteY739" fmla="*/ 1740082 h 6858000"/>
              <a:gd name="connsiteX740" fmla="*/ 39394 w 7467600"/>
              <a:gd name="connsiteY740" fmla="*/ 1784856 h 6858000"/>
              <a:gd name="connsiteX741" fmla="*/ 135813 w 7467600"/>
              <a:gd name="connsiteY741" fmla="*/ 1888838 h 6858000"/>
              <a:gd name="connsiteX742" fmla="*/ 242575 w 7467600"/>
              <a:gd name="connsiteY742" fmla="*/ 1958841 h 6858000"/>
              <a:gd name="connsiteX743" fmla="*/ 82197 w 7467600"/>
              <a:gd name="connsiteY743" fmla="*/ 1754826 h 6858000"/>
              <a:gd name="connsiteX744" fmla="*/ 0 w 7467600"/>
              <a:gd name="connsiteY744" fmla="*/ 1679650 h 6858000"/>
              <a:gd name="connsiteX745" fmla="*/ 0 w 7467600"/>
              <a:gd name="connsiteY745" fmla="*/ 1602463 h 6858000"/>
              <a:gd name="connsiteX746" fmla="*/ 84689 w 7467600"/>
              <a:gd name="connsiteY746" fmla="*/ 1677442 h 6858000"/>
              <a:gd name="connsiteX747" fmla="*/ 298437 w 7467600"/>
              <a:gd name="connsiteY747" fmla="*/ 1968019 h 6858000"/>
              <a:gd name="connsiteX748" fmla="*/ 227269 w 7467600"/>
              <a:gd name="connsiteY748" fmla="*/ 1114064 h 6858000"/>
              <a:gd name="connsiteX749" fmla="*/ 248003 w 7467600"/>
              <a:gd name="connsiteY749" fmla="*/ 1089613 h 6858000"/>
              <a:gd name="connsiteX750" fmla="*/ 427020 w 7467600"/>
              <a:gd name="connsiteY750" fmla="*/ 1619803 h 6858000"/>
              <a:gd name="connsiteX751" fmla="*/ 340345 w 7467600"/>
              <a:gd name="connsiteY751" fmla="*/ 2027739 h 6858000"/>
              <a:gd name="connsiteX752" fmla="*/ 360865 w 7467600"/>
              <a:gd name="connsiteY752" fmla="*/ 2044827 h 6858000"/>
              <a:gd name="connsiteX753" fmla="*/ 560414 w 7467600"/>
              <a:gd name="connsiteY753" fmla="*/ 2421457 h 6858000"/>
              <a:gd name="connsiteX754" fmla="*/ 1359703 w 7467600"/>
              <a:gd name="connsiteY754" fmla="*/ 2578554 h 6858000"/>
              <a:gd name="connsiteX755" fmla="*/ 1359422 w 7467600"/>
              <a:gd name="connsiteY755" fmla="*/ 2577994 h 6858000"/>
              <a:gd name="connsiteX756" fmla="*/ 828701 w 7467600"/>
              <a:gd name="connsiteY756" fmla="*/ 1839520 h 6858000"/>
              <a:gd name="connsiteX757" fmla="*/ 494427 w 7467600"/>
              <a:gd name="connsiteY757" fmla="*/ 1092333 h 6858000"/>
              <a:gd name="connsiteX758" fmla="*/ 506322 w 7467600"/>
              <a:gd name="connsiteY758" fmla="*/ 1020997 h 6858000"/>
              <a:gd name="connsiteX759" fmla="*/ 4570198 w 7467600"/>
              <a:gd name="connsiteY759" fmla="*/ 978081 h 6858000"/>
              <a:gd name="connsiteX760" fmla="*/ 4523691 w 7467600"/>
              <a:gd name="connsiteY760" fmla="*/ 1127776 h 6858000"/>
              <a:gd name="connsiteX761" fmla="*/ 4509875 w 7467600"/>
              <a:gd name="connsiteY761" fmla="*/ 1167552 h 6858000"/>
              <a:gd name="connsiteX762" fmla="*/ 4478168 w 7467600"/>
              <a:gd name="connsiteY762" fmla="*/ 1260735 h 6858000"/>
              <a:gd name="connsiteX763" fmla="*/ 4409309 w 7467600"/>
              <a:gd name="connsiteY763" fmla="*/ 1666996 h 6858000"/>
              <a:gd name="connsiteX764" fmla="*/ 4370031 w 7467600"/>
              <a:gd name="connsiteY764" fmla="*/ 1955666 h 6858000"/>
              <a:gd name="connsiteX765" fmla="*/ 4570198 w 7467600"/>
              <a:gd name="connsiteY765" fmla="*/ 978081 h 6858000"/>
              <a:gd name="connsiteX766" fmla="*/ 4557898 w 7467600"/>
              <a:gd name="connsiteY766" fmla="*/ 900011 h 6858000"/>
              <a:gd name="connsiteX767" fmla="*/ 4344840 w 7467600"/>
              <a:gd name="connsiteY767" fmla="*/ 1922038 h 6858000"/>
              <a:gd name="connsiteX768" fmla="*/ 4378710 w 7467600"/>
              <a:gd name="connsiteY768" fmla="*/ 1665516 h 6858000"/>
              <a:gd name="connsiteX769" fmla="*/ 4448798 w 7467600"/>
              <a:gd name="connsiteY769" fmla="*/ 1253024 h 6858000"/>
              <a:gd name="connsiteX770" fmla="*/ 4480315 w 7467600"/>
              <a:gd name="connsiteY770" fmla="*/ 1158454 h 6858000"/>
              <a:gd name="connsiteX771" fmla="*/ 4494133 w 7467600"/>
              <a:gd name="connsiteY771" fmla="*/ 1118676 h 6858000"/>
              <a:gd name="connsiteX772" fmla="*/ 4557898 w 7467600"/>
              <a:gd name="connsiteY772" fmla="*/ 900011 h 6858000"/>
              <a:gd name="connsiteX773" fmla="*/ 5870151 w 7467600"/>
              <a:gd name="connsiteY773" fmla="*/ 898890 h 6858000"/>
              <a:gd name="connsiteX774" fmla="*/ 5861335 w 7467600"/>
              <a:gd name="connsiteY774" fmla="*/ 899177 h 6858000"/>
              <a:gd name="connsiteX775" fmla="*/ 5843702 w 7467600"/>
              <a:gd name="connsiteY775" fmla="*/ 899748 h 6858000"/>
              <a:gd name="connsiteX776" fmla="*/ 5651107 w 7467600"/>
              <a:gd name="connsiteY776" fmla="*/ 920306 h 6858000"/>
              <a:gd name="connsiteX777" fmla="*/ 5459407 w 7467600"/>
              <a:gd name="connsiteY777" fmla="*/ 940975 h 6858000"/>
              <a:gd name="connsiteX778" fmla="*/ 5374846 w 7467600"/>
              <a:gd name="connsiteY778" fmla="*/ 941988 h 6858000"/>
              <a:gd name="connsiteX779" fmla="*/ 5256105 w 7467600"/>
              <a:gd name="connsiteY779" fmla="*/ 945632 h 6858000"/>
              <a:gd name="connsiteX780" fmla="*/ 5107071 w 7467600"/>
              <a:gd name="connsiteY780" fmla="*/ 969720 h 6858000"/>
              <a:gd name="connsiteX781" fmla="*/ 4998681 w 7467600"/>
              <a:gd name="connsiteY781" fmla="*/ 988771 h 6858000"/>
              <a:gd name="connsiteX782" fmla="*/ 5870151 w 7467600"/>
              <a:gd name="connsiteY782" fmla="*/ 898890 h 6858000"/>
              <a:gd name="connsiteX783" fmla="*/ 5504425 w 7467600"/>
              <a:gd name="connsiteY783" fmla="*/ 848067 h 6858000"/>
              <a:gd name="connsiteX784" fmla="*/ 4968849 w 7467600"/>
              <a:gd name="connsiteY784" fmla="*/ 962318 h 6858000"/>
              <a:gd name="connsiteX785" fmla="*/ 5104039 w 7467600"/>
              <a:gd name="connsiteY785" fmla="*/ 940634 h 6858000"/>
              <a:gd name="connsiteX786" fmla="*/ 5256311 w 7467600"/>
              <a:gd name="connsiteY786" fmla="*/ 916490 h 6858000"/>
              <a:gd name="connsiteX787" fmla="*/ 5377381 w 7467600"/>
              <a:gd name="connsiteY787" fmla="*/ 912671 h 6858000"/>
              <a:gd name="connsiteX788" fmla="*/ 5460148 w 7467600"/>
              <a:gd name="connsiteY788" fmla="*/ 911442 h 6858000"/>
              <a:gd name="connsiteX789" fmla="*/ 5648971 w 7467600"/>
              <a:gd name="connsiteY789" fmla="*/ 891331 h 6858000"/>
              <a:gd name="connsiteX790" fmla="*/ 5844807 w 7467600"/>
              <a:gd name="connsiteY790" fmla="*/ 870718 h 6858000"/>
              <a:gd name="connsiteX791" fmla="*/ 5862975 w 7467600"/>
              <a:gd name="connsiteY791" fmla="*/ 869756 h 6858000"/>
              <a:gd name="connsiteX792" fmla="*/ 5920887 w 7467600"/>
              <a:gd name="connsiteY792" fmla="*/ 865929 h 6858000"/>
              <a:gd name="connsiteX793" fmla="*/ 5504425 w 7467600"/>
              <a:gd name="connsiteY793" fmla="*/ 848067 h 6858000"/>
              <a:gd name="connsiteX794" fmla="*/ 3607114 w 7467600"/>
              <a:gd name="connsiteY794" fmla="*/ 467441 h 6858000"/>
              <a:gd name="connsiteX795" fmla="*/ 3296242 w 7467600"/>
              <a:gd name="connsiteY795" fmla="*/ 807991 h 6858000"/>
              <a:gd name="connsiteX796" fmla="*/ 3174674 w 7467600"/>
              <a:gd name="connsiteY796" fmla="*/ 919759 h 6858000"/>
              <a:gd name="connsiteX797" fmla="*/ 3042978 w 7467600"/>
              <a:gd name="connsiteY797" fmla="*/ 1054894 h 6858000"/>
              <a:gd name="connsiteX798" fmla="*/ 2968914 w 7467600"/>
              <a:gd name="connsiteY798" fmla="*/ 1133756 h 6858000"/>
              <a:gd name="connsiteX799" fmla="*/ 3103823 w 7467600"/>
              <a:gd name="connsiteY799" fmla="*/ 1026814 h 6858000"/>
              <a:gd name="connsiteX800" fmla="*/ 3607114 w 7467600"/>
              <a:gd name="connsiteY800" fmla="*/ 467441 h 6858000"/>
              <a:gd name="connsiteX801" fmla="*/ 3744487 w 7467600"/>
              <a:gd name="connsiteY801" fmla="*/ 383136 h 6858000"/>
              <a:gd name="connsiteX802" fmla="*/ 3970213 w 7467600"/>
              <a:gd name="connsiteY802" fmla="*/ 995559 h 6858000"/>
              <a:gd name="connsiteX803" fmla="*/ 3744487 w 7467600"/>
              <a:gd name="connsiteY803" fmla="*/ 383136 h 6858000"/>
              <a:gd name="connsiteX804" fmla="*/ 3624562 w 7467600"/>
              <a:gd name="connsiteY804" fmla="*/ 367041 h 6858000"/>
              <a:gd name="connsiteX805" fmla="*/ 3489712 w 7467600"/>
              <a:gd name="connsiteY805" fmla="*/ 485386 h 6858000"/>
              <a:gd name="connsiteX806" fmla="*/ 3182994 w 7467600"/>
              <a:gd name="connsiteY806" fmla="*/ 828265 h 6858000"/>
              <a:gd name="connsiteX807" fmla="*/ 2892114 w 7467600"/>
              <a:gd name="connsiteY807" fmla="*/ 1172635 h 6858000"/>
              <a:gd name="connsiteX808" fmla="*/ 3021459 w 7467600"/>
              <a:gd name="connsiteY808" fmla="*/ 1035385 h 6858000"/>
              <a:gd name="connsiteX809" fmla="*/ 3153873 w 7467600"/>
              <a:gd name="connsiteY809" fmla="*/ 898971 h 6858000"/>
              <a:gd name="connsiteX810" fmla="*/ 3276511 w 7467600"/>
              <a:gd name="connsiteY810" fmla="*/ 786423 h 6858000"/>
              <a:gd name="connsiteX811" fmla="*/ 3584154 w 7467600"/>
              <a:gd name="connsiteY811" fmla="*/ 448218 h 6858000"/>
              <a:gd name="connsiteX812" fmla="*/ 3624562 w 7467600"/>
              <a:gd name="connsiteY812" fmla="*/ 367041 h 6858000"/>
              <a:gd name="connsiteX813" fmla="*/ 3766672 w 7467600"/>
              <a:gd name="connsiteY813" fmla="*/ 359429 h 6858000"/>
              <a:gd name="connsiteX814" fmla="*/ 3996338 w 7467600"/>
              <a:gd name="connsiteY814" fmla="*/ 968237 h 6858000"/>
              <a:gd name="connsiteX815" fmla="*/ 3766672 w 7467600"/>
              <a:gd name="connsiteY815" fmla="*/ 359429 h 6858000"/>
              <a:gd name="connsiteX816" fmla="*/ 5805386 w 7467600"/>
              <a:gd name="connsiteY816" fmla="*/ 239240 h 6858000"/>
              <a:gd name="connsiteX817" fmla="*/ 5736947 w 7467600"/>
              <a:gd name="connsiteY817" fmla="*/ 261367 h 6858000"/>
              <a:gd name="connsiteX818" fmla="*/ 5427012 w 7467600"/>
              <a:gd name="connsiteY818" fmla="*/ 311272 h 6858000"/>
              <a:gd name="connsiteX819" fmla="*/ 5147818 w 7467600"/>
              <a:gd name="connsiteY819" fmla="*/ 322112 h 6858000"/>
              <a:gd name="connsiteX820" fmla="*/ 5060854 w 7467600"/>
              <a:gd name="connsiteY820" fmla="*/ 311882 h 6858000"/>
              <a:gd name="connsiteX821" fmla="*/ 4945989 w 7467600"/>
              <a:gd name="connsiteY821" fmla="*/ 300516 h 6858000"/>
              <a:gd name="connsiteX822" fmla="*/ 5410479 w 7467600"/>
              <a:gd name="connsiteY822" fmla="*/ 348434 h 6858000"/>
              <a:gd name="connsiteX823" fmla="*/ 5805386 w 7467600"/>
              <a:gd name="connsiteY823" fmla="*/ 239240 h 6858000"/>
              <a:gd name="connsiteX824" fmla="*/ 5905192 w 7467600"/>
              <a:gd name="connsiteY824" fmla="*/ 163079 h 6858000"/>
              <a:gd name="connsiteX825" fmla="*/ 5865655 w 7467600"/>
              <a:gd name="connsiteY825" fmla="*/ 171901 h 6858000"/>
              <a:gd name="connsiteX826" fmla="*/ 5259740 w 7467600"/>
              <a:gd name="connsiteY826" fmla="*/ 257013 h 6858000"/>
              <a:gd name="connsiteX827" fmla="*/ 5208466 w 7467600"/>
              <a:gd name="connsiteY827" fmla="*/ 257550 h 6858000"/>
              <a:gd name="connsiteX828" fmla="*/ 4980204 w 7467600"/>
              <a:gd name="connsiteY828" fmla="*/ 271903 h 6858000"/>
              <a:gd name="connsiteX829" fmla="*/ 5068068 w 7467600"/>
              <a:gd name="connsiteY829" fmla="*/ 282244 h 6858000"/>
              <a:gd name="connsiteX830" fmla="*/ 5153231 w 7467600"/>
              <a:gd name="connsiteY830" fmla="*/ 292240 h 6858000"/>
              <a:gd name="connsiteX831" fmla="*/ 5426491 w 7467600"/>
              <a:gd name="connsiteY831" fmla="*/ 281128 h 6858000"/>
              <a:gd name="connsiteX832" fmla="*/ 5731212 w 7467600"/>
              <a:gd name="connsiteY832" fmla="*/ 231951 h 6858000"/>
              <a:gd name="connsiteX833" fmla="*/ 5905192 w 7467600"/>
              <a:gd name="connsiteY833" fmla="*/ 163079 h 6858000"/>
              <a:gd name="connsiteX834" fmla="*/ 5944437 w 7467600"/>
              <a:gd name="connsiteY834" fmla="*/ 113829 h 6858000"/>
              <a:gd name="connsiteX835" fmla="*/ 5825032 w 7467600"/>
              <a:gd name="connsiteY835" fmla="*/ 146405 h 6858000"/>
              <a:gd name="connsiteX836" fmla="*/ 4955599 w 7467600"/>
              <a:gd name="connsiteY836" fmla="*/ 247008 h 6858000"/>
              <a:gd name="connsiteX837" fmla="*/ 5210104 w 7467600"/>
              <a:gd name="connsiteY837" fmla="*/ 228123 h 6858000"/>
              <a:gd name="connsiteX838" fmla="*/ 5261015 w 7467600"/>
              <a:gd name="connsiteY838" fmla="*/ 227087 h 6858000"/>
              <a:gd name="connsiteX839" fmla="*/ 5861181 w 7467600"/>
              <a:gd name="connsiteY839" fmla="*/ 143093 h 6858000"/>
              <a:gd name="connsiteX840" fmla="*/ 5961252 w 7467600"/>
              <a:gd name="connsiteY840" fmla="*/ 114820 h 6858000"/>
              <a:gd name="connsiteX841" fmla="*/ 5944437 w 7467600"/>
              <a:gd name="connsiteY841" fmla="*/ 113829 h 6858000"/>
              <a:gd name="connsiteX842" fmla="*/ 3882765 w 7467600"/>
              <a:gd name="connsiteY842" fmla="*/ 0 h 6858000"/>
              <a:gd name="connsiteX843" fmla="*/ 3995099 w 7467600"/>
              <a:gd name="connsiteY843" fmla="*/ 0 h 6858000"/>
              <a:gd name="connsiteX844" fmla="*/ 4163818 w 7467600"/>
              <a:gd name="connsiteY844" fmla="*/ 234104 h 6858000"/>
              <a:gd name="connsiteX845" fmla="*/ 4172099 w 7467600"/>
              <a:gd name="connsiteY845" fmla="*/ 234207 h 6858000"/>
              <a:gd name="connsiteX846" fmla="*/ 4784282 w 7467600"/>
              <a:gd name="connsiteY846" fmla="*/ 276561 h 6858000"/>
              <a:gd name="connsiteX847" fmla="*/ 4801687 w 7467600"/>
              <a:gd name="connsiteY847" fmla="*/ 267764 h 6858000"/>
              <a:gd name="connsiteX848" fmla="*/ 6082788 w 7467600"/>
              <a:gd name="connsiteY848" fmla="*/ 64119 h 6858000"/>
              <a:gd name="connsiteX849" fmla="*/ 6099442 w 7467600"/>
              <a:gd name="connsiteY849" fmla="*/ 82568 h 6858000"/>
              <a:gd name="connsiteX850" fmla="*/ 4804137 w 7467600"/>
              <a:gd name="connsiteY850" fmla="*/ 320931 h 6858000"/>
              <a:gd name="connsiteX851" fmla="*/ 4227047 w 7467600"/>
              <a:gd name="connsiteY851" fmla="*/ 313415 h 6858000"/>
              <a:gd name="connsiteX852" fmla="*/ 4346041 w 7467600"/>
              <a:gd name="connsiteY852" fmla="*/ 456086 h 6858000"/>
              <a:gd name="connsiteX853" fmla="*/ 4870967 w 7467600"/>
              <a:gd name="connsiteY853" fmla="*/ 963061 h 6858000"/>
              <a:gd name="connsiteX854" fmla="*/ 4889647 w 7467600"/>
              <a:gd name="connsiteY854" fmla="*/ 957147 h 6858000"/>
              <a:gd name="connsiteX855" fmla="*/ 5422504 w 7467600"/>
              <a:gd name="connsiteY855" fmla="*/ 805191 h 6858000"/>
              <a:gd name="connsiteX856" fmla="*/ 6087656 w 7467600"/>
              <a:gd name="connsiteY856" fmla="*/ 826703 h 6858000"/>
              <a:gd name="connsiteX857" fmla="*/ 6058717 w 7467600"/>
              <a:gd name="connsiteY857" fmla="*/ 865992 h 6858000"/>
              <a:gd name="connsiteX858" fmla="*/ 4974153 w 7467600"/>
              <a:gd name="connsiteY858" fmla="*/ 1045456 h 6858000"/>
              <a:gd name="connsiteX859" fmla="*/ 5627835 w 7467600"/>
              <a:gd name="connsiteY859" fmla="*/ 1472077 h 6858000"/>
              <a:gd name="connsiteX860" fmla="*/ 5629817 w 7467600"/>
              <a:gd name="connsiteY860" fmla="*/ 1471412 h 6858000"/>
              <a:gd name="connsiteX861" fmla="*/ 5634124 w 7467600"/>
              <a:gd name="connsiteY861" fmla="*/ 1470572 h 6858000"/>
              <a:gd name="connsiteX862" fmla="*/ 5755832 w 7467600"/>
              <a:gd name="connsiteY862" fmla="*/ 1383886 h 6858000"/>
              <a:gd name="connsiteX863" fmla="*/ 6014186 w 7467600"/>
              <a:gd name="connsiteY863" fmla="*/ 1279799 h 6858000"/>
              <a:gd name="connsiteX864" fmla="*/ 6901619 w 7467600"/>
              <a:gd name="connsiteY864" fmla="*/ 1047874 h 6858000"/>
              <a:gd name="connsiteX865" fmla="*/ 6931566 w 7467600"/>
              <a:gd name="connsiteY865" fmla="*/ 1062034 h 6858000"/>
              <a:gd name="connsiteX866" fmla="*/ 5790982 w 7467600"/>
              <a:gd name="connsiteY866" fmla="*/ 1561380 h 6858000"/>
              <a:gd name="connsiteX867" fmla="*/ 6188971 w 7467600"/>
              <a:gd name="connsiteY867" fmla="*/ 1755168 h 6858000"/>
              <a:gd name="connsiteX868" fmla="*/ 6202446 w 7467600"/>
              <a:gd name="connsiteY868" fmla="*/ 1752268 h 6858000"/>
              <a:gd name="connsiteX869" fmla="*/ 7179560 w 7467600"/>
              <a:gd name="connsiteY869" fmla="*/ 1467551 h 6858000"/>
              <a:gd name="connsiteX870" fmla="*/ 7158730 w 7467600"/>
              <a:gd name="connsiteY870" fmla="*/ 1507835 h 6858000"/>
              <a:gd name="connsiteX871" fmla="*/ 6326959 w 7467600"/>
              <a:gd name="connsiteY871" fmla="*/ 1817686 h 6858000"/>
              <a:gd name="connsiteX872" fmla="*/ 6537433 w 7467600"/>
              <a:gd name="connsiteY872" fmla="*/ 1907790 h 6858000"/>
              <a:gd name="connsiteX873" fmla="*/ 6550221 w 7467600"/>
              <a:gd name="connsiteY873" fmla="*/ 1910729 h 6858000"/>
              <a:gd name="connsiteX874" fmla="*/ 6964438 w 7467600"/>
              <a:gd name="connsiteY874" fmla="*/ 2209505 h 6858000"/>
              <a:gd name="connsiteX875" fmla="*/ 7367862 w 7467600"/>
              <a:gd name="connsiteY875" fmla="*/ 2806833 h 6858000"/>
              <a:gd name="connsiteX876" fmla="*/ 7364329 w 7467600"/>
              <a:gd name="connsiteY876" fmla="*/ 2826907 h 6858000"/>
              <a:gd name="connsiteX877" fmla="*/ 7290545 w 7467600"/>
              <a:gd name="connsiteY877" fmla="*/ 2850663 h 6858000"/>
              <a:gd name="connsiteX878" fmla="*/ 6472036 w 7467600"/>
              <a:gd name="connsiteY878" fmla="*/ 1959003 h 6858000"/>
              <a:gd name="connsiteX879" fmla="*/ 5792897 w 7467600"/>
              <a:gd name="connsiteY879" fmla="*/ 1647747 h 6858000"/>
              <a:gd name="connsiteX880" fmla="*/ 5842751 w 7467600"/>
              <a:gd name="connsiteY880" fmla="*/ 1816112 h 6858000"/>
              <a:gd name="connsiteX881" fmla="*/ 5847424 w 7467600"/>
              <a:gd name="connsiteY881" fmla="*/ 1815776 h 6858000"/>
              <a:gd name="connsiteX882" fmla="*/ 6399821 w 7467600"/>
              <a:gd name="connsiteY882" fmla="*/ 2344799 h 6858000"/>
              <a:gd name="connsiteX883" fmla="*/ 6323232 w 7467600"/>
              <a:gd name="connsiteY883" fmla="*/ 2389634 h 6858000"/>
              <a:gd name="connsiteX884" fmla="*/ 5942958 w 7467600"/>
              <a:gd name="connsiteY884" fmla="*/ 2077708 h 6858000"/>
              <a:gd name="connsiteX885" fmla="*/ 5921559 w 7467600"/>
              <a:gd name="connsiteY885" fmla="*/ 2378596 h 6858000"/>
              <a:gd name="connsiteX886" fmla="*/ 5817651 w 7467600"/>
              <a:gd name="connsiteY886" fmla="*/ 3023919 h 6858000"/>
              <a:gd name="connsiteX887" fmla="*/ 5729634 w 7467600"/>
              <a:gd name="connsiteY887" fmla="*/ 3051849 h 6858000"/>
              <a:gd name="connsiteX888" fmla="*/ 5611018 w 7467600"/>
              <a:gd name="connsiteY888" fmla="*/ 2316769 h 6858000"/>
              <a:gd name="connsiteX889" fmla="*/ 5687608 w 7467600"/>
              <a:gd name="connsiteY889" fmla="*/ 2039972 h 6858000"/>
              <a:gd name="connsiteX890" fmla="*/ 5657554 w 7467600"/>
              <a:gd name="connsiteY890" fmla="*/ 1576445 h 6858000"/>
              <a:gd name="connsiteX891" fmla="*/ 5150475 w 7467600"/>
              <a:gd name="connsiteY891" fmla="*/ 1274012 h 6858000"/>
              <a:gd name="connsiteX892" fmla="*/ 5349142 w 7467600"/>
              <a:gd name="connsiteY892" fmla="*/ 2204405 h 6858000"/>
              <a:gd name="connsiteX893" fmla="*/ 5262214 w 7467600"/>
              <a:gd name="connsiteY893" fmla="*/ 2233836 h 6858000"/>
              <a:gd name="connsiteX894" fmla="*/ 4981539 w 7467600"/>
              <a:gd name="connsiteY894" fmla="*/ 1542201 h 6858000"/>
              <a:gd name="connsiteX895" fmla="*/ 4958461 w 7467600"/>
              <a:gd name="connsiteY895" fmla="*/ 1136957 h 6858000"/>
              <a:gd name="connsiteX896" fmla="*/ 4655015 w 7467600"/>
              <a:gd name="connsiteY896" fmla="*/ 891426 h 6858000"/>
              <a:gd name="connsiteX897" fmla="*/ 4348002 w 7467600"/>
              <a:gd name="connsiteY897" fmla="*/ 2205895 h 6858000"/>
              <a:gd name="connsiteX898" fmla="*/ 4262250 w 7467600"/>
              <a:gd name="connsiteY898" fmla="*/ 2219972 h 6858000"/>
              <a:gd name="connsiteX899" fmla="*/ 4550611 w 7467600"/>
              <a:gd name="connsiteY899" fmla="*/ 817540 h 6858000"/>
              <a:gd name="connsiteX900" fmla="*/ 4564418 w 7467600"/>
              <a:gd name="connsiteY900" fmla="*/ 808293 h 6858000"/>
              <a:gd name="connsiteX901" fmla="*/ 4266388 w 7467600"/>
              <a:gd name="connsiteY901" fmla="*/ 500083 h 6858000"/>
              <a:gd name="connsiteX902" fmla="*/ 4032842 w 7467600"/>
              <a:gd name="connsiteY902" fmla="*/ 211809 h 6858000"/>
              <a:gd name="connsiteX903" fmla="*/ 3882765 w 7467600"/>
              <a:gd name="connsiteY903" fmla="*/ 0 h 6858000"/>
              <a:gd name="connsiteX904" fmla="*/ 3721337 w 7467600"/>
              <a:gd name="connsiteY904" fmla="*/ 0 h 6858000"/>
              <a:gd name="connsiteX905" fmla="*/ 3797544 w 7467600"/>
              <a:gd name="connsiteY905" fmla="*/ 0 h 6858000"/>
              <a:gd name="connsiteX906" fmla="*/ 3775734 w 7467600"/>
              <a:gd name="connsiteY906" fmla="*/ 95131 h 6858000"/>
              <a:gd name="connsiteX907" fmla="*/ 3724807 w 7467600"/>
              <a:gd name="connsiteY907" fmla="*/ 272257 h 6858000"/>
              <a:gd name="connsiteX908" fmla="*/ 3726844 w 7467600"/>
              <a:gd name="connsiteY908" fmla="*/ 282988 h 6858000"/>
              <a:gd name="connsiteX909" fmla="*/ 3742664 w 7467600"/>
              <a:gd name="connsiteY909" fmla="*/ 279918 h 6858000"/>
              <a:gd name="connsiteX910" fmla="*/ 4103910 w 7467600"/>
              <a:gd name="connsiteY910" fmla="*/ 1161917 h 6858000"/>
              <a:gd name="connsiteX911" fmla="*/ 4020269 w 7467600"/>
              <a:gd name="connsiteY911" fmla="*/ 1200406 h 6858000"/>
              <a:gd name="connsiteX912" fmla="*/ 3674882 w 7467600"/>
              <a:gd name="connsiteY912" fmla="*/ 488524 h 6858000"/>
              <a:gd name="connsiteX913" fmla="*/ 3132682 w 7467600"/>
              <a:gd name="connsiteY913" fmla="*/ 1072284 h 6858000"/>
              <a:gd name="connsiteX914" fmla="*/ 2716346 w 7467600"/>
              <a:gd name="connsiteY914" fmla="*/ 1276376 h 6858000"/>
              <a:gd name="connsiteX915" fmla="*/ 2716772 w 7467600"/>
              <a:gd name="connsiteY915" fmla="*/ 1255462 h 6858000"/>
              <a:gd name="connsiteX916" fmla="*/ 3471096 w 7467600"/>
              <a:gd name="connsiteY916" fmla="*/ 437072 h 6858000"/>
              <a:gd name="connsiteX917" fmla="*/ 3639057 w 7467600"/>
              <a:gd name="connsiteY917" fmla="*/ 286334 h 6858000"/>
              <a:gd name="connsiteX918" fmla="*/ 3640309 w 7467600"/>
              <a:gd name="connsiteY918" fmla="*/ 284664 h 6858000"/>
              <a:gd name="connsiteX919" fmla="*/ 3646022 w 7467600"/>
              <a:gd name="connsiteY919" fmla="*/ 276711 h 6858000"/>
              <a:gd name="connsiteX920" fmla="*/ 3707943 w 7467600"/>
              <a:gd name="connsiteY920" fmla="*/ 65958 h 6858000"/>
              <a:gd name="connsiteX921" fmla="*/ 3721337 w 7467600"/>
              <a:gd name="connsiteY921" fmla="*/ 0 h 6858000"/>
              <a:gd name="connsiteX922" fmla="*/ 2867960 w 7467600"/>
              <a:gd name="connsiteY922" fmla="*/ 0 h 6858000"/>
              <a:gd name="connsiteX923" fmla="*/ 2926351 w 7467600"/>
              <a:gd name="connsiteY923" fmla="*/ 0 h 6858000"/>
              <a:gd name="connsiteX924" fmla="*/ 2902823 w 7467600"/>
              <a:gd name="connsiteY924" fmla="*/ 262929 h 6858000"/>
              <a:gd name="connsiteX925" fmla="*/ 2940663 w 7467600"/>
              <a:gd name="connsiteY925" fmla="*/ 140884 h 6858000"/>
              <a:gd name="connsiteX926" fmla="*/ 2947039 w 7467600"/>
              <a:gd name="connsiteY926" fmla="*/ 122524 h 6858000"/>
              <a:gd name="connsiteX927" fmla="*/ 2984316 w 7467600"/>
              <a:gd name="connsiteY927" fmla="*/ 0 h 6858000"/>
              <a:gd name="connsiteX928" fmla="*/ 3016114 w 7467600"/>
              <a:gd name="connsiteY928" fmla="*/ 0 h 6858000"/>
              <a:gd name="connsiteX929" fmla="*/ 2979949 w 7467600"/>
              <a:gd name="connsiteY929" fmla="*/ 119274 h 6858000"/>
              <a:gd name="connsiteX930" fmla="*/ 3023879 w 7467600"/>
              <a:gd name="connsiteY930" fmla="*/ 0 h 6858000"/>
              <a:gd name="connsiteX931" fmla="*/ 3105400 w 7467600"/>
              <a:gd name="connsiteY931" fmla="*/ 0 h 6858000"/>
              <a:gd name="connsiteX932" fmla="*/ 3094669 w 7467600"/>
              <a:gd name="connsiteY932" fmla="*/ 30308 h 6858000"/>
              <a:gd name="connsiteX933" fmla="*/ 2901945 w 7467600"/>
              <a:gd name="connsiteY933" fmla="*/ 466538 h 6858000"/>
              <a:gd name="connsiteX934" fmla="*/ 2815209 w 7467600"/>
              <a:gd name="connsiteY934" fmla="*/ 497361 h 6858000"/>
              <a:gd name="connsiteX935" fmla="*/ 2844845 w 7467600"/>
              <a:gd name="connsiteY935" fmla="*/ 127638 h 6858000"/>
              <a:gd name="connsiteX936" fmla="*/ 2867960 w 7467600"/>
              <a:gd name="connsiteY936" fmla="*/ 0 h 6858000"/>
              <a:gd name="connsiteX937" fmla="*/ 1057230 w 7467600"/>
              <a:gd name="connsiteY937" fmla="*/ 0 h 6858000"/>
              <a:gd name="connsiteX938" fmla="*/ 1111003 w 7467600"/>
              <a:gd name="connsiteY938" fmla="*/ 0 h 6858000"/>
              <a:gd name="connsiteX939" fmla="*/ 1125553 w 7467600"/>
              <a:gd name="connsiteY939" fmla="*/ 52588 h 6858000"/>
              <a:gd name="connsiteX940" fmla="*/ 1304276 w 7467600"/>
              <a:gd name="connsiteY940" fmla="*/ 476275 h 6858000"/>
              <a:gd name="connsiteX941" fmla="*/ 1492066 w 7467600"/>
              <a:gd name="connsiteY941" fmla="*/ 886333 h 6858000"/>
              <a:gd name="connsiteX942" fmla="*/ 1423698 w 7467600"/>
              <a:gd name="connsiteY942" fmla="*/ 710817 h 6858000"/>
              <a:gd name="connsiteX943" fmla="*/ 1357609 w 7467600"/>
              <a:gd name="connsiteY943" fmla="*/ 532892 h 6858000"/>
              <a:gd name="connsiteX944" fmla="*/ 1309550 w 7467600"/>
              <a:gd name="connsiteY944" fmla="*/ 374031 h 6858000"/>
              <a:gd name="connsiteX945" fmla="*/ 1193673 w 7467600"/>
              <a:gd name="connsiteY945" fmla="*/ 49533 h 6858000"/>
              <a:gd name="connsiteX946" fmla="*/ 1164391 w 7467600"/>
              <a:gd name="connsiteY946" fmla="*/ 0 h 6858000"/>
              <a:gd name="connsiteX947" fmla="*/ 1200666 w 7467600"/>
              <a:gd name="connsiteY947" fmla="*/ 0 h 6858000"/>
              <a:gd name="connsiteX948" fmla="*/ 1223408 w 7467600"/>
              <a:gd name="connsiteY948" fmla="*/ 38996 h 6858000"/>
              <a:gd name="connsiteX949" fmla="*/ 1339635 w 7467600"/>
              <a:gd name="connsiteY949" fmla="*/ 365517 h 6858000"/>
              <a:gd name="connsiteX950" fmla="*/ 1387469 w 7467600"/>
              <a:gd name="connsiteY950" fmla="*/ 523079 h 6858000"/>
              <a:gd name="connsiteX951" fmla="*/ 1452685 w 7467600"/>
              <a:gd name="connsiteY951" fmla="*/ 699806 h 6858000"/>
              <a:gd name="connsiteX952" fmla="*/ 1492092 w 7467600"/>
              <a:gd name="connsiteY952" fmla="*/ 800424 h 6858000"/>
              <a:gd name="connsiteX953" fmla="*/ 1455302 w 7467600"/>
              <a:gd name="connsiteY953" fmla="*/ 632913 h 6858000"/>
              <a:gd name="connsiteX954" fmla="*/ 1222336 w 7467600"/>
              <a:gd name="connsiteY954" fmla="*/ 9480 h 6858000"/>
              <a:gd name="connsiteX955" fmla="*/ 1214634 w 7467600"/>
              <a:gd name="connsiteY955" fmla="*/ 0 h 6858000"/>
              <a:gd name="connsiteX956" fmla="*/ 1289827 w 7467600"/>
              <a:gd name="connsiteY956" fmla="*/ 0 h 6858000"/>
              <a:gd name="connsiteX957" fmla="*/ 1321076 w 7467600"/>
              <a:gd name="connsiteY957" fmla="*/ 59722 h 6858000"/>
              <a:gd name="connsiteX958" fmla="*/ 1512579 w 7467600"/>
              <a:gd name="connsiteY958" fmla="*/ 626441 h 6858000"/>
              <a:gd name="connsiteX959" fmla="*/ 1506076 w 7467600"/>
              <a:gd name="connsiteY959" fmla="*/ 1089289 h 6858000"/>
              <a:gd name="connsiteX960" fmla="*/ 1486346 w 7467600"/>
              <a:gd name="connsiteY960" fmla="*/ 1079919 h 6858000"/>
              <a:gd name="connsiteX961" fmla="*/ 1070511 w 7467600"/>
              <a:gd name="connsiteY961" fmla="*/ 48609 h 6858000"/>
              <a:gd name="connsiteX962" fmla="*/ 1057230 w 7467600"/>
              <a:gd name="connsiteY962" fmla="*/ 0 h 6858000"/>
              <a:gd name="connsiteX963" fmla="*/ 43151 w 7467600"/>
              <a:gd name="connsiteY963" fmla="*/ 0 h 6858000"/>
              <a:gd name="connsiteX964" fmla="*/ 95283 w 7467600"/>
              <a:gd name="connsiteY964" fmla="*/ 0 h 6858000"/>
              <a:gd name="connsiteX965" fmla="*/ 300708 w 7467600"/>
              <a:gd name="connsiteY965" fmla="*/ 154571 h 6858000"/>
              <a:gd name="connsiteX966" fmla="*/ 530414 w 7467600"/>
              <a:gd name="connsiteY966" fmla="*/ 354673 h 6858000"/>
              <a:gd name="connsiteX967" fmla="*/ 333785 w 7467600"/>
              <a:gd name="connsiteY967" fmla="*/ 161564 h 6858000"/>
              <a:gd name="connsiteX968" fmla="*/ 147005 w 7467600"/>
              <a:gd name="connsiteY968" fmla="*/ 0 h 6858000"/>
              <a:gd name="connsiteX969" fmla="*/ 272509 w 7467600"/>
              <a:gd name="connsiteY969" fmla="*/ 0 h 6858000"/>
              <a:gd name="connsiteX970" fmla="*/ 326276 w 7467600"/>
              <a:gd name="connsiteY970" fmla="*/ 45847 h 6858000"/>
              <a:gd name="connsiteX971" fmla="*/ 823759 w 7467600"/>
              <a:gd name="connsiteY971" fmla="*/ 574145 h 6858000"/>
              <a:gd name="connsiteX972" fmla="*/ 811254 w 7467600"/>
              <a:gd name="connsiteY972" fmla="*/ 665546 h 6858000"/>
              <a:gd name="connsiteX973" fmla="*/ 154042 w 7467600"/>
              <a:gd name="connsiteY973" fmla="*/ 261522 h 6858000"/>
              <a:gd name="connsiteX974" fmla="*/ 13550 w 7467600"/>
              <a:gd name="connsiteY974" fmla="*/ 158423 h 6858000"/>
              <a:gd name="connsiteX975" fmla="*/ 0 w 7467600"/>
              <a:gd name="connsiteY975" fmla="*/ 146618 h 6858000"/>
              <a:gd name="connsiteX976" fmla="*/ 0 w 7467600"/>
              <a:gd name="connsiteY976" fmla="*/ 59161 h 6858000"/>
              <a:gd name="connsiteX977" fmla="*/ 45427 w 7467600"/>
              <a:gd name="connsiteY977" fmla="*/ 101078 h 6858000"/>
              <a:gd name="connsiteX978" fmla="*/ 630103 w 7467600"/>
              <a:gd name="connsiteY978" fmla="*/ 485885 h 6858000"/>
              <a:gd name="connsiteX979" fmla="*/ 532040 w 7467600"/>
              <a:gd name="connsiteY979" fmla="*/ 399359 h 6858000"/>
              <a:gd name="connsiteX980" fmla="*/ 517618 w 7467600"/>
              <a:gd name="connsiteY980" fmla="*/ 385726 h 6858000"/>
              <a:gd name="connsiteX981" fmla="*/ 285074 w 7467600"/>
              <a:gd name="connsiteY981" fmla="*/ 182755 h 6858000"/>
              <a:gd name="connsiteX982" fmla="*/ 43151 w 7467600"/>
              <a:gd name="connsiteY982"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44835 w 7467600"/>
              <a:gd name="connsiteY76" fmla="*/ 5424988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1456157 w 7467600"/>
              <a:gd name="connsiteY103" fmla="*/ 5371404 h 6858000"/>
              <a:gd name="connsiteX104" fmla="*/ 1244432 w 7467600"/>
              <a:gd name="connsiteY104" fmla="*/ 5385601 h 6858000"/>
              <a:gd name="connsiteX105" fmla="*/ 973990 w 7467600"/>
              <a:gd name="connsiteY105" fmla="*/ 5424940 h 6858000"/>
              <a:gd name="connsiteX106" fmla="*/ 1103809 w 7467600"/>
              <a:gd name="connsiteY106" fmla="*/ 5433720 h 6858000"/>
              <a:gd name="connsiteX107" fmla="*/ 1123454 w 7467600"/>
              <a:gd name="connsiteY107" fmla="*/ 5435727 h 6858000"/>
              <a:gd name="connsiteX108" fmla="*/ 1737017 w 7467600"/>
              <a:gd name="connsiteY108" fmla="*/ 5452183 h 6858000"/>
              <a:gd name="connsiteX109" fmla="*/ 1824397 w 7467600"/>
              <a:gd name="connsiteY109" fmla="*/ 5447757 h 6858000"/>
              <a:gd name="connsiteX110" fmla="*/ 2070059 w 7467600"/>
              <a:gd name="connsiteY110" fmla="*/ 5441660 h 6858000"/>
              <a:gd name="connsiteX111" fmla="*/ 1456157 w 7467600"/>
              <a:gd name="connsiteY111" fmla="*/ 5371404 h 6858000"/>
              <a:gd name="connsiteX112" fmla="*/ 4988186 w 7467600"/>
              <a:gd name="connsiteY112" fmla="*/ 5216467 h 6858000"/>
              <a:gd name="connsiteX113" fmla="*/ 4777334 w 7467600"/>
              <a:gd name="connsiteY113" fmla="*/ 5406072 h 6858000"/>
              <a:gd name="connsiteX114" fmla="*/ 4718341 w 7467600"/>
              <a:gd name="connsiteY114" fmla="*/ 5468043 h 6858000"/>
              <a:gd name="connsiteX115" fmla="*/ 4604655 w 7467600"/>
              <a:gd name="connsiteY115" fmla="*/ 5583434 h 6858000"/>
              <a:gd name="connsiteX116" fmla="*/ 4565074 w 7467600"/>
              <a:gd name="connsiteY116" fmla="*/ 5618550 h 6858000"/>
              <a:gd name="connsiteX117" fmla="*/ 4988186 w 7467600"/>
              <a:gd name="connsiteY117" fmla="*/ 5216467 h 6858000"/>
              <a:gd name="connsiteX118" fmla="*/ 4978032 w 7467600"/>
              <a:gd name="connsiteY118" fmla="*/ 5183809 h 6858000"/>
              <a:gd name="connsiteX119" fmla="*/ 4463413 w 7467600"/>
              <a:gd name="connsiteY119" fmla="*/ 5615162 h 6858000"/>
              <a:gd name="connsiteX120" fmla="*/ 4358134 w 7467600"/>
              <a:gd name="connsiteY120" fmla="*/ 5742791 h 6858000"/>
              <a:gd name="connsiteX121" fmla="*/ 4376219 w 7467600"/>
              <a:gd name="connsiteY121" fmla="*/ 5729027 h 6858000"/>
              <a:gd name="connsiteX122" fmla="*/ 4582340 w 7467600"/>
              <a:gd name="connsiteY122" fmla="*/ 5561037 h 6858000"/>
              <a:gd name="connsiteX123" fmla="*/ 4694684 w 7467600"/>
              <a:gd name="connsiteY123" fmla="*/ 5447098 h 6858000"/>
              <a:gd name="connsiteX124" fmla="*/ 4754123 w 7467600"/>
              <a:gd name="connsiteY124" fmla="*/ 5384643 h 6858000"/>
              <a:gd name="connsiteX125" fmla="*/ 4978032 w 7467600"/>
              <a:gd name="connsiteY125" fmla="*/ 5183809 h 6858000"/>
              <a:gd name="connsiteX126" fmla="*/ 1903353 w 7467600"/>
              <a:gd name="connsiteY126" fmla="*/ 5044827 h 6858000"/>
              <a:gd name="connsiteX127" fmla="*/ 1936931 w 7467600"/>
              <a:gd name="connsiteY127" fmla="*/ 5093954 h 6858000"/>
              <a:gd name="connsiteX128" fmla="*/ 2195868 w 7467600"/>
              <a:gd name="connsiteY128" fmla="*/ 5396574 h 6858000"/>
              <a:gd name="connsiteX129" fmla="*/ 2088852 w 7467600"/>
              <a:gd name="connsiteY129" fmla="*/ 5166123 h 6858000"/>
              <a:gd name="connsiteX130" fmla="*/ 1958241 w 7467600"/>
              <a:gd name="connsiteY130" fmla="*/ 5067955 h 6858000"/>
              <a:gd name="connsiteX131" fmla="*/ 1903353 w 7467600"/>
              <a:gd name="connsiteY131" fmla="*/ 5044827 h 6858000"/>
              <a:gd name="connsiteX132" fmla="*/ 1979378 w 7467600"/>
              <a:gd name="connsiteY132" fmla="*/ 4769504 h 6858000"/>
              <a:gd name="connsiteX133" fmla="*/ 2882120 w 7467600"/>
              <a:gd name="connsiteY133" fmla="*/ 5064547 h 6858000"/>
              <a:gd name="connsiteX134" fmla="*/ 2793103 w 7467600"/>
              <a:gd name="connsiteY134" fmla="*/ 5039699 h 6858000"/>
              <a:gd name="connsiteX135" fmla="*/ 2770041 w 7467600"/>
              <a:gd name="connsiteY135" fmla="*/ 5033634 h 6858000"/>
              <a:gd name="connsiteX136" fmla="*/ 1979378 w 7467600"/>
              <a:gd name="connsiteY136" fmla="*/ 4769504 h 6858000"/>
              <a:gd name="connsiteX137" fmla="*/ 1927410 w 7467600"/>
              <a:gd name="connsiteY137" fmla="*/ 4716164 h 6858000"/>
              <a:gd name="connsiteX138" fmla="*/ 1959587 w 7467600"/>
              <a:gd name="connsiteY138" fmla="*/ 4728849 h 6858000"/>
              <a:gd name="connsiteX139" fmla="*/ 2777707 w 7467600"/>
              <a:gd name="connsiteY139" fmla="*/ 5003991 h 6858000"/>
              <a:gd name="connsiteX140" fmla="*/ 2800768 w 7467600"/>
              <a:gd name="connsiteY140" fmla="*/ 5010056 h 6858000"/>
              <a:gd name="connsiteX141" fmla="*/ 2879408 w 7467600"/>
              <a:gd name="connsiteY141" fmla="*/ 5031590 h 6858000"/>
              <a:gd name="connsiteX142" fmla="*/ 2862295 w 7467600"/>
              <a:gd name="connsiteY142" fmla="*/ 5022958 h 6858000"/>
              <a:gd name="connsiteX143" fmla="*/ 2813343 w 7467600"/>
              <a:gd name="connsiteY143" fmla="*/ 4998369 h 6858000"/>
              <a:gd name="connsiteX144" fmla="*/ 2646245 w 7467600"/>
              <a:gd name="connsiteY144" fmla="*/ 4930999 h 6858000"/>
              <a:gd name="connsiteX145" fmla="*/ 1999243 w 7467600"/>
              <a:gd name="connsiteY145" fmla="*/ 4730524 h 6858000"/>
              <a:gd name="connsiteX146" fmla="*/ 1979527 w 7467600"/>
              <a:gd name="connsiteY146" fmla="*/ 4726651 h 6858000"/>
              <a:gd name="connsiteX147" fmla="*/ 1927410 w 7467600"/>
              <a:gd name="connsiteY147" fmla="*/ 4716164 h 6858000"/>
              <a:gd name="connsiteX148" fmla="*/ 1997014 w 7467600"/>
              <a:gd name="connsiteY148" fmla="*/ 4698007 h 6858000"/>
              <a:gd name="connsiteX149" fmla="*/ 2005458 w 7467600"/>
              <a:gd name="connsiteY149" fmla="*/ 4699540 h 6858000"/>
              <a:gd name="connsiteX150" fmla="*/ 2657186 w 7467600"/>
              <a:gd name="connsiteY150" fmla="*/ 4901687 h 6858000"/>
              <a:gd name="connsiteX151" fmla="*/ 2826662 w 7467600"/>
              <a:gd name="connsiteY151" fmla="*/ 4970362 h 6858000"/>
              <a:gd name="connsiteX152" fmla="*/ 2876100 w 7467600"/>
              <a:gd name="connsiteY152" fmla="*/ 4995397 h 6858000"/>
              <a:gd name="connsiteX153" fmla="*/ 3042600 w 7467600"/>
              <a:gd name="connsiteY153" fmla="*/ 5059532 h 6858000"/>
              <a:gd name="connsiteX154" fmla="*/ 1997014 w 7467600"/>
              <a:gd name="connsiteY154" fmla="*/ 4698007 h 6858000"/>
              <a:gd name="connsiteX155" fmla="*/ 2305292 w 7467600"/>
              <a:gd name="connsiteY155" fmla="*/ 4219492 h 6858000"/>
              <a:gd name="connsiteX156" fmla="*/ 3360922 w 7467600"/>
              <a:gd name="connsiteY156" fmla="*/ 4529373 h 6858000"/>
              <a:gd name="connsiteX157" fmla="*/ 3492420 w 7467600"/>
              <a:gd name="connsiteY157" fmla="*/ 4510145 h 6858000"/>
              <a:gd name="connsiteX158" fmla="*/ 3364086 w 7467600"/>
              <a:gd name="connsiteY158" fmla="*/ 4480340 h 6858000"/>
              <a:gd name="connsiteX159" fmla="*/ 3225818 w 7467600"/>
              <a:gd name="connsiteY159" fmla="*/ 4411822 h 6858000"/>
              <a:gd name="connsiteX160" fmla="*/ 3129696 w 7467600"/>
              <a:gd name="connsiteY160" fmla="*/ 4360704 h 6858000"/>
              <a:gd name="connsiteX161" fmla="*/ 2814545 w 7467600"/>
              <a:gd name="connsiteY161" fmla="*/ 4282955 h 6858000"/>
              <a:gd name="connsiteX162" fmla="*/ 2305292 w 7467600"/>
              <a:gd name="connsiteY162" fmla="*/ 4219492 h 6858000"/>
              <a:gd name="connsiteX163" fmla="*/ 2626982 w 7467600"/>
              <a:gd name="connsiteY163" fmla="*/ 4206450 h 6858000"/>
              <a:gd name="connsiteX164" fmla="*/ 2490617 w 7467600"/>
              <a:gd name="connsiteY164" fmla="*/ 4206951 h 6858000"/>
              <a:gd name="connsiteX165" fmla="*/ 2819869 w 7467600"/>
              <a:gd name="connsiteY165" fmla="*/ 4252936 h 6858000"/>
              <a:gd name="connsiteX166" fmla="*/ 3143018 w 7467600"/>
              <a:gd name="connsiteY166" fmla="*/ 4332698 h 6858000"/>
              <a:gd name="connsiteX167" fmla="*/ 3241520 w 7467600"/>
              <a:gd name="connsiteY167" fmla="*/ 4385112 h 6858000"/>
              <a:gd name="connsiteX168" fmla="*/ 3374575 w 7467600"/>
              <a:gd name="connsiteY168" fmla="*/ 4451517 h 6858000"/>
              <a:gd name="connsiteX169" fmla="*/ 3505221 w 7467600"/>
              <a:gd name="connsiteY169" fmla="*/ 4480757 h 6858000"/>
              <a:gd name="connsiteX170" fmla="*/ 2626982 w 7467600"/>
              <a:gd name="connsiteY170" fmla="*/ 4206450 h 6858000"/>
              <a:gd name="connsiteX171" fmla="*/ 1310106 w 7467600"/>
              <a:gd name="connsiteY171" fmla="*/ 3943217 h 6858000"/>
              <a:gd name="connsiteX172" fmla="*/ 854994 w 7467600"/>
              <a:gd name="connsiteY172" fmla="*/ 4399136 h 6858000"/>
              <a:gd name="connsiteX173" fmla="*/ 742462 w 7467600"/>
              <a:gd name="connsiteY173" fmla="*/ 4594648 h 6858000"/>
              <a:gd name="connsiteX174" fmla="*/ 820602 w 7467600"/>
              <a:gd name="connsiteY174" fmla="*/ 4485915 h 6858000"/>
              <a:gd name="connsiteX175" fmla="*/ 878295 w 7467600"/>
              <a:gd name="connsiteY175" fmla="*/ 4403594 h 6858000"/>
              <a:gd name="connsiteX176" fmla="*/ 1240607 w 7467600"/>
              <a:gd name="connsiteY176" fmla="*/ 4010401 h 6858000"/>
              <a:gd name="connsiteX177" fmla="*/ 1310106 w 7467600"/>
              <a:gd name="connsiteY177" fmla="*/ 3943217 h 6858000"/>
              <a:gd name="connsiteX178" fmla="*/ 1423113 w 7467600"/>
              <a:gd name="connsiteY178" fmla="*/ 3874565 h 6858000"/>
              <a:gd name="connsiteX179" fmla="*/ 1260565 w 7467600"/>
              <a:gd name="connsiteY179" fmla="*/ 4031982 h 6858000"/>
              <a:gd name="connsiteX180" fmla="*/ 901900 w 7467600"/>
              <a:gd name="connsiteY180" fmla="*/ 4421236 h 6858000"/>
              <a:gd name="connsiteX181" fmla="*/ 845044 w 7467600"/>
              <a:gd name="connsiteY181" fmla="*/ 4502436 h 6858000"/>
              <a:gd name="connsiteX182" fmla="*/ 685926 w 7467600"/>
              <a:gd name="connsiteY182" fmla="*/ 4703069 h 6858000"/>
              <a:gd name="connsiteX183" fmla="*/ 684248 w 7467600"/>
              <a:gd name="connsiteY183" fmla="*/ 4706721 h 6858000"/>
              <a:gd name="connsiteX184" fmla="*/ 1423113 w 7467600"/>
              <a:gd name="connsiteY184" fmla="*/ 3874565 h 6858000"/>
              <a:gd name="connsiteX185" fmla="*/ 3316479 w 7467600"/>
              <a:gd name="connsiteY185" fmla="*/ 3872136 h 6858000"/>
              <a:gd name="connsiteX186" fmla="*/ 3546806 w 7467600"/>
              <a:gd name="connsiteY186" fmla="*/ 4356139 h 6858000"/>
              <a:gd name="connsiteX187" fmla="*/ 3364433 w 7467600"/>
              <a:gd name="connsiteY187" fmla="*/ 3953121 h 6858000"/>
              <a:gd name="connsiteX188" fmla="*/ 3316479 w 7467600"/>
              <a:gd name="connsiteY188" fmla="*/ 3872136 h 6858000"/>
              <a:gd name="connsiteX189" fmla="*/ 3291335 w 7467600"/>
              <a:gd name="connsiteY189" fmla="*/ 3767420 h 6858000"/>
              <a:gd name="connsiteX190" fmla="*/ 3390805 w 7467600"/>
              <a:gd name="connsiteY190" fmla="*/ 3937163 h 6858000"/>
              <a:gd name="connsiteX191" fmla="*/ 3579062 w 7467600"/>
              <a:gd name="connsiteY191" fmla="*/ 4359040 h 6858000"/>
              <a:gd name="connsiteX192" fmla="*/ 3467355 w 7467600"/>
              <a:gd name="connsiteY192" fmla="*/ 3988130 h 6858000"/>
              <a:gd name="connsiteX193" fmla="*/ 3310753 w 7467600"/>
              <a:gd name="connsiteY193" fmla="*/ 3787140 h 6858000"/>
              <a:gd name="connsiteX194" fmla="*/ 3291335 w 7467600"/>
              <a:gd name="connsiteY194" fmla="*/ 3767420 h 6858000"/>
              <a:gd name="connsiteX195" fmla="*/ 1635889 w 7467600"/>
              <a:gd name="connsiteY195" fmla="*/ 3709494 h 6858000"/>
              <a:gd name="connsiteX196" fmla="*/ 1634800 w 7467600"/>
              <a:gd name="connsiteY196" fmla="*/ 3731111 h 6858000"/>
              <a:gd name="connsiteX197" fmla="*/ 1635889 w 7467600"/>
              <a:gd name="connsiteY197" fmla="*/ 3709494 h 6858000"/>
              <a:gd name="connsiteX198" fmla="*/ 1510397 w 7467600"/>
              <a:gd name="connsiteY198" fmla="*/ 3684705 h 6858000"/>
              <a:gd name="connsiteX199" fmla="*/ 1146550 w 7467600"/>
              <a:gd name="connsiteY199" fmla="*/ 3802012 h 6858000"/>
              <a:gd name="connsiteX200" fmla="*/ 698834 w 7467600"/>
              <a:gd name="connsiteY200" fmla="*/ 3952272 h 6858000"/>
              <a:gd name="connsiteX201" fmla="*/ 34256 w 7467600"/>
              <a:gd name="connsiteY201" fmla="*/ 4347603 h 6858000"/>
              <a:gd name="connsiteX202" fmla="*/ 527241 w 7467600"/>
              <a:gd name="connsiteY202" fmla="*/ 4065078 h 6858000"/>
              <a:gd name="connsiteX203" fmla="*/ 1510397 w 7467600"/>
              <a:gd name="connsiteY203" fmla="*/ 3684705 h 6858000"/>
              <a:gd name="connsiteX204" fmla="*/ 1313114 w 7467600"/>
              <a:gd name="connsiteY204" fmla="*/ 3655216 h 6858000"/>
              <a:gd name="connsiteX205" fmla="*/ 1109304 w 7467600"/>
              <a:gd name="connsiteY205" fmla="*/ 3669030 h 6858000"/>
              <a:gd name="connsiteX206" fmla="*/ 8129 w 7467600"/>
              <a:gd name="connsiteY206" fmla="*/ 4330519 h 6858000"/>
              <a:gd name="connsiteX207" fmla="*/ 687572 w 7467600"/>
              <a:gd name="connsiteY207" fmla="*/ 3925629 h 6858000"/>
              <a:gd name="connsiteX208" fmla="*/ 1138365 w 7467600"/>
              <a:gd name="connsiteY208" fmla="*/ 3774515 h 6858000"/>
              <a:gd name="connsiteX209" fmla="*/ 1505579 w 7467600"/>
              <a:gd name="connsiteY209" fmla="*/ 3655526 h 6858000"/>
              <a:gd name="connsiteX210" fmla="*/ 1313114 w 7467600"/>
              <a:gd name="connsiteY210" fmla="*/ 3655216 h 6858000"/>
              <a:gd name="connsiteX211" fmla="*/ 3655073 w 7467600"/>
              <a:gd name="connsiteY211" fmla="*/ 3650884 h 6858000"/>
              <a:gd name="connsiteX212" fmla="*/ 3989938 w 7467600"/>
              <a:gd name="connsiteY212" fmla="*/ 3991685 h 6858000"/>
              <a:gd name="connsiteX213" fmla="*/ 4393907 w 7467600"/>
              <a:gd name="connsiteY213" fmla="*/ 4261258 h 6858000"/>
              <a:gd name="connsiteX214" fmla="*/ 4648051 w 7467600"/>
              <a:gd name="connsiteY214" fmla="*/ 4374051 h 6858000"/>
              <a:gd name="connsiteX215" fmla="*/ 4383389 w 7467600"/>
              <a:gd name="connsiteY215" fmla="*/ 4184369 h 6858000"/>
              <a:gd name="connsiteX216" fmla="*/ 4165508 w 7467600"/>
              <a:gd name="connsiteY216" fmla="*/ 4035196 h 6858000"/>
              <a:gd name="connsiteX217" fmla="*/ 4068162 w 7467600"/>
              <a:gd name="connsiteY217" fmla="*/ 3953394 h 6858000"/>
              <a:gd name="connsiteX218" fmla="*/ 3981416 w 7467600"/>
              <a:gd name="connsiteY218" fmla="*/ 3880482 h 6858000"/>
              <a:gd name="connsiteX219" fmla="*/ 3800147 w 7467600"/>
              <a:gd name="connsiteY219" fmla="*/ 3749872 h 6858000"/>
              <a:gd name="connsiteX220" fmla="*/ 3655073 w 7467600"/>
              <a:gd name="connsiteY220" fmla="*/ 3650884 h 6858000"/>
              <a:gd name="connsiteX221" fmla="*/ 3670252 w 7467600"/>
              <a:gd name="connsiteY221" fmla="*/ 3622798 h 6858000"/>
              <a:gd name="connsiteX222" fmla="*/ 3817258 w 7467600"/>
              <a:gd name="connsiteY222" fmla="*/ 3723577 h 6858000"/>
              <a:gd name="connsiteX223" fmla="*/ 4000461 w 7467600"/>
              <a:gd name="connsiteY223" fmla="*/ 3855966 h 6858000"/>
              <a:gd name="connsiteX224" fmla="*/ 4088180 w 7467600"/>
              <a:gd name="connsiteY224" fmla="*/ 3929774 h 6858000"/>
              <a:gd name="connsiteX225" fmla="*/ 4184555 w 7467600"/>
              <a:gd name="connsiteY225" fmla="*/ 4010683 h 6858000"/>
              <a:gd name="connsiteX226" fmla="*/ 4399563 w 7467600"/>
              <a:gd name="connsiteY226" fmla="*/ 4158106 h 6858000"/>
              <a:gd name="connsiteX227" fmla="*/ 4684469 w 7467600"/>
              <a:gd name="connsiteY227" fmla="*/ 4364680 h 6858000"/>
              <a:gd name="connsiteX228" fmla="*/ 4690271 w 7467600"/>
              <a:gd name="connsiteY228" fmla="*/ 4370034 h 6858000"/>
              <a:gd name="connsiteX229" fmla="*/ 4136093 w 7467600"/>
              <a:gd name="connsiteY229" fmla="*/ 3858466 h 6858000"/>
              <a:gd name="connsiteX230" fmla="*/ 3670252 w 7467600"/>
              <a:gd name="connsiteY230" fmla="*/ 3622798 h 6858000"/>
              <a:gd name="connsiteX231" fmla="*/ 4440129 w 7467600"/>
              <a:gd name="connsiteY231" fmla="*/ 3448571 h 6858000"/>
              <a:gd name="connsiteX232" fmla="*/ 4856525 w 7467600"/>
              <a:gd name="connsiteY232" fmla="*/ 3915351 h 6858000"/>
              <a:gd name="connsiteX233" fmla="*/ 5059055 w 7467600"/>
              <a:gd name="connsiteY233" fmla="*/ 4108918 h 6858000"/>
              <a:gd name="connsiteX234" fmla="*/ 5290070 w 7467600"/>
              <a:gd name="connsiteY234" fmla="*/ 4263619 h 6858000"/>
              <a:gd name="connsiteX235" fmla="*/ 4834991 w 7467600"/>
              <a:gd name="connsiteY235" fmla="*/ 3830985 h 6858000"/>
              <a:gd name="connsiteX236" fmla="*/ 4440129 w 7467600"/>
              <a:gd name="connsiteY236" fmla="*/ 3448571 h 6858000"/>
              <a:gd name="connsiteX237" fmla="*/ 4441737 w 7467600"/>
              <a:gd name="connsiteY237" fmla="*/ 3399734 h 6858000"/>
              <a:gd name="connsiteX238" fmla="*/ 4431236 w 7467600"/>
              <a:gd name="connsiteY238" fmla="*/ 3400954 h 6858000"/>
              <a:gd name="connsiteX239" fmla="*/ 4557150 w 7467600"/>
              <a:gd name="connsiteY239" fmla="*/ 3510023 h 6858000"/>
              <a:gd name="connsiteX240" fmla="*/ 4856936 w 7467600"/>
              <a:gd name="connsiteY240" fmla="*/ 3809146 h 6858000"/>
              <a:gd name="connsiteX241" fmla="*/ 5111996 w 7467600"/>
              <a:gd name="connsiteY241" fmla="*/ 4065759 h 6858000"/>
              <a:gd name="connsiteX242" fmla="*/ 5388878 w 7467600"/>
              <a:gd name="connsiteY242" fmla="*/ 4300185 h 6858000"/>
              <a:gd name="connsiteX243" fmla="*/ 5425556 w 7467600"/>
              <a:gd name="connsiteY243" fmla="*/ 4308967 h 6858000"/>
              <a:gd name="connsiteX244" fmla="*/ 4943646 w 7467600"/>
              <a:gd name="connsiteY244" fmla="*/ 3822916 h 6858000"/>
              <a:gd name="connsiteX245" fmla="*/ 4594837 w 7467600"/>
              <a:gd name="connsiteY245" fmla="*/ 3532274 h 6858000"/>
              <a:gd name="connsiteX246" fmla="*/ 4441737 w 7467600"/>
              <a:gd name="connsiteY246" fmla="*/ 3399734 h 6858000"/>
              <a:gd name="connsiteX247" fmla="*/ 5425834 w 7467600"/>
              <a:gd name="connsiteY247" fmla="*/ 3162785 h 6858000"/>
              <a:gd name="connsiteX248" fmla="*/ 5401644 w 7467600"/>
              <a:gd name="connsiteY248" fmla="*/ 3617847 h 6858000"/>
              <a:gd name="connsiteX249" fmla="*/ 5467256 w 7467600"/>
              <a:gd name="connsiteY249" fmla="*/ 4175494 h 6858000"/>
              <a:gd name="connsiteX250" fmla="*/ 5448069 w 7467600"/>
              <a:gd name="connsiteY250" fmla="*/ 3567554 h 6858000"/>
              <a:gd name="connsiteX251" fmla="*/ 5425834 w 7467600"/>
              <a:gd name="connsiteY251" fmla="*/ 3162785 h 6858000"/>
              <a:gd name="connsiteX252" fmla="*/ 1318687 w 7467600"/>
              <a:gd name="connsiteY252" fmla="*/ 3113840 h 6858000"/>
              <a:gd name="connsiteX253" fmla="*/ 1066793 w 7467600"/>
              <a:gd name="connsiteY253" fmla="*/ 3212171 h 6858000"/>
              <a:gd name="connsiteX254" fmla="*/ 993319 w 7467600"/>
              <a:gd name="connsiteY254" fmla="*/ 3247648 h 6858000"/>
              <a:gd name="connsiteX255" fmla="*/ 853081 w 7467600"/>
              <a:gd name="connsiteY255" fmla="*/ 3312410 h 6858000"/>
              <a:gd name="connsiteX256" fmla="*/ 805957 w 7467600"/>
              <a:gd name="connsiteY256" fmla="*/ 3330443 h 6858000"/>
              <a:gd name="connsiteX257" fmla="*/ 1318687 w 7467600"/>
              <a:gd name="connsiteY257" fmla="*/ 3113840 h 6858000"/>
              <a:gd name="connsiteX258" fmla="*/ 5453702 w 7467600"/>
              <a:gd name="connsiteY258" fmla="*/ 3090882 h 6858000"/>
              <a:gd name="connsiteX259" fmla="*/ 5480135 w 7467600"/>
              <a:gd name="connsiteY259" fmla="*/ 3565802 h 6858000"/>
              <a:gd name="connsiteX260" fmla="*/ 5499023 w 7467600"/>
              <a:gd name="connsiteY260" fmla="*/ 4166310 h 6858000"/>
              <a:gd name="connsiteX261" fmla="*/ 5547022 w 7467600"/>
              <a:gd name="connsiteY261" fmla="*/ 3607838 h 6858000"/>
              <a:gd name="connsiteX262" fmla="*/ 5515964 w 7467600"/>
              <a:gd name="connsiteY262" fmla="*/ 3378541 h 6858000"/>
              <a:gd name="connsiteX263" fmla="*/ 5453702 w 7467600"/>
              <a:gd name="connsiteY263" fmla="*/ 3090882 h 6858000"/>
              <a:gd name="connsiteX264" fmla="*/ 1238695 w 7467600"/>
              <a:gd name="connsiteY264" fmla="*/ 3076820 h 6858000"/>
              <a:gd name="connsiteX265" fmla="*/ 716371 w 7467600"/>
              <a:gd name="connsiteY265" fmla="*/ 3293249 h 6858000"/>
              <a:gd name="connsiteX266" fmla="*/ 579522 w 7467600"/>
              <a:gd name="connsiteY266" fmla="*/ 3371759 h 6858000"/>
              <a:gd name="connsiteX267" fmla="*/ 600288 w 7467600"/>
              <a:gd name="connsiteY267" fmla="*/ 3365555 h 6858000"/>
              <a:gd name="connsiteX268" fmla="*/ 840692 w 7467600"/>
              <a:gd name="connsiteY268" fmla="*/ 3284921 h 6858000"/>
              <a:gd name="connsiteX269" fmla="*/ 979248 w 7467600"/>
              <a:gd name="connsiteY269" fmla="*/ 3221003 h 6858000"/>
              <a:gd name="connsiteX270" fmla="*/ 1053282 w 7467600"/>
              <a:gd name="connsiteY270" fmla="*/ 3185247 h 6858000"/>
              <a:gd name="connsiteX271" fmla="*/ 1320603 w 7467600"/>
              <a:gd name="connsiteY271" fmla="*/ 3081281 h 6858000"/>
              <a:gd name="connsiteX272" fmla="*/ 1238695 w 7467600"/>
              <a:gd name="connsiteY272" fmla="*/ 3076820 h 6858000"/>
              <a:gd name="connsiteX273" fmla="*/ 5425627 w 7467600"/>
              <a:gd name="connsiteY273" fmla="*/ 2954192 h 6858000"/>
              <a:gd name="connsiteX274" fmla="*/ 5470770 w 7467600"/>
              <a:gd name="connsiteY274" fmla="*/ 3005435 h 6858000"/>
              <a:gd name="connsiteX275" fmla="*/ 5519779 w 7467600"/>
              <a:gd name="connsiteY275" fmla="*/ 4359223 h 6858000"/>
              <a:gd name="connsiteX276" fmla="*/ 5520293 w 7467600"/>
              <a:gd name="connsiteY276" fmla="*/ 4360602 h 6858000"/>
              <a:gd name="connsiteX277" fmla="*/ 5767221 w 7467600"/>
              <a:gd name="connsiteY277" fmla="*/ 4665564 h 6858000"/>
              <a:gd name="connsiteX278" fmla="*/ 6937169 w 7467600"/>
              <a:gd name="connsiteY278" fmla="*/ 4815941 h 6858000"/>
              <a:gd name="connsiteX279" fmla="*/ 6953922 w 7467600"/>
              <a:gd name="connsiteY279" fmla="*/ 4890068 h 6858000"/>
              <a:gd name="connsiteX280" fmla="*/ 6071359 w 7467600"/>
              <a:gd name="connsiteY280" fmla="*/ 4770770 h 6858000"/>
              <a:gd name="connsiteX281" fmla="*/ 6038839 w 7467600"/>
              <a:gd name="connsiteY281" fmla="*/ 4764474 h 6858000"/>
              <a:gd name="connsiteX282" fmla="*/ 6038706 w 7467600"/>
              <a:gd name="connsiteY282" fmla="*/ 4763847 h 6858000"/>
              <a:gd name="connsiteX283" fmla="*/ 6037784 w 7467600"/>
              <a:gd name="connsiteY283" fmla="*/ 4764270 h 6858000"/>
              <a:gd name="connsiteX284" fmla="*/ 6038839 w 7467600"/>
              <a:gd name="connsiteY284" fmla="*/ 4764474 h 6858000"/>
              <a:gd name="connsiteX285" fmla="*/ 6040338 w 7467600"/>
              <a:gd name="connsiteY285" fmla="*/ 4771418 h 6858000"/>
              <a:gd name="connsiteX286" fmla="*/ 6024488 w 7467600"/>
              <a:gd name="connsiteY286" fmla="*/ 4809903 h 6858000"/>
              <a:gd name="connsiteX287" fmla="*/ 5599771 w 7467600"/>
              <a:gd name="connsiteY287" fmla="*/ 5509652 h 6858000"/>
              <a:gd name="connsiteX288" fmla="*/ 5548843 w 7467600"/>
              <a:gd name="connsiteY288" fmla="*/ 5563845 h 6858000"/>
              <a:gd name="connsiteX289" fmla="*/ 5940952 w 7467600"/>
              <a:gd name="connsiteY289" fmla="*/ 6250028 h 6858000"/>
              <a:gd name="connsiteX290" fmla="*/ 6043441 w 7467600"/>
              <a:gd name="connsiteY290" fmla="*/ 6665847 h 6858000"/>
              <a:gd name="connsiteX291" fmla="*/ 6093432 w 7467600"/>
              <a:gd name="connsiteY291" fmla="*/ 6858000 h 6858000"/>
              <a:gd name="connsiteX292" fmla="*/ 6034344 w 7467600"/>
              <a:gd name="connsiteY292" fmla="*/ 6858000 h 6858000"/>
              <a:gd name="connsiteX293" fmla="*/ 6026679 w 7467600"/>
              <a:gd name="connsiteY293" fmla="*/ 6836959 h 6858000"/>
              <a:gd name="connsiteX294" fmla="*/ 5800441 w 7467600"/>
              <a:gd name="connsiteY294" fmla="*/ 6335286 h 6858000"/>
              <a:gd name="connsiteX295" fmla="*/ 5526562 w 7467600"/>
              <a:gd name="connsiteY295" fmla="*/ 5705388 h 6858000"/>
              <a:gd name="connsiteX296" fmla="*/ 5519640 w 7467600"/>
              <a:gd name="connsiteY296" fmla="*/ 5683774 h 6858000"/>
              <a:gd name="connsiteX297" fmla="*/ 5844559 w 7467600"/>
              <a:gd name="connsiteY297" fmla="*/ 6553349 h 6858000"/>
              <a:gd name="connsiteX298" fmla="*/ 5975994 w 7467600"/>
              <a:gd name="connsiteY298" fmla="*/ 6858000 h 6858000"/>
              <a:gd name="connsiteX299" fmla="*/ 5898547 w 7467600"/>
              <a:gd name="connsiteY299" fmla="*/ 6858000 h 6858000"/>
              <a:gd name="connsiteX300" fmla="*/ 5682041 w 7467600"/>
              <a:gd name="connsiteY300" fmla="*/ 6355860 h 6858000"/>
              <a:gd name="connsiteX301" fmla="*/ 5461758 w 7467600"/>
              <a:gd name="connsiteY301" fmla="*/ 5820220 h 6858000"/>
              <a:gd name="connsiteX302" fmla="*/ 5237282 w 7467600"/>
              <a:gd name="connsiteY302" fmla="*/ 6579086 h 6858000"/>
              <a:gd name="connsiteX303" fmla="*/ 5115009 w 7467600"/>
              <a:gd name="connsiteY303" fmla="*/ 6858000 h 6858000"/>
              <a:gd name="connsiteX304" fmla="*/ 5028074 w 7467600"/>
              <a:gd name="connsiteY304" fmla="*/ 6858000 h 6858000"/>
              <a:gd name="connsiteX305" fmla="*/ 5079508 w 7467600"/>
              <a:gd name="connsiteY305" fmla="*/ 6749074 h 6858000"/>
              <a:gd name="connsiteX306" fmla="*/ 5371846 w 7467600"/>
              <a:gd name="connsiteY306" fmla="*/ 5924413 h 6858000"/>
              <a:gd name="connsiteX307" fmla="*/ 5270512 w 7467600"/>
              <a:gd name="connsiteY307" fmla="*/ 6138975 h 6858000"/>
              <a:gd name="connsiteX308" fmla="*/ 5062409 w 7467600"/>
              <a:gd name="connsiteY308" fmla="*/ 6653544 h 6858000"/>
              <a:gd name="connsiteX309" fmla="*/ 5036628 w 7467600"/>
              <a:gd name="connsiteY309" fmla="*/ 6754247 h 6858000"/>
              <a:gd name="connsiteX310" fmla="*/ 5009112 w 7467600"/>
              <a:gd name="connsiteY310" fmla="*/ 6858000 h 6858000"/>
              <a:gd name="connsiteX311" fmla="*/ 4976679 w 7467600"/>
              <a:gd name="connsiteY311" fmla="*/ 6858000 h 6858000"/>
              <a:gd name="connsiteX312" fmla="*/ 5006537 w 7467600"/>
              <a:gd name="connsiteY312" fmla="*/ 6747068 h 6858000"/>
              <a:gd name="connsiteX313" fmla="*/ 5032723 w 7467600"/>
              <a:gd name="connsiteY313" fmla="*/ 6644957 h 6858000"/>
              <a:gd name="connsiteX314" fmla="*/ 5242949 w 7467600"/>
              <a:gd name="connsiteY314" fmla="*/ 6125175 h 6858000"/>
              <a:gd name="connsiteX315" fmla="*/ 5286321 w 7467600"/>
              <a:gd name="connsiteY315" fmla="*/ 6033555 h 6858000"/>
              <a:gd name="connsiteX316" fmla="*/ 5008210 w 7467600"/>
              <a:gd name="connsiteY316" fmla="*/ 6649194 h 6858000"/>
              <a:gd name="connsiteX317" fmla="*/ 4986321 w 7467600"/>
              <a:gd name="connsiteY317" fmla="*/ 6765687 h 6858000"/>
              <a:gd name="connsiteX318" fmla="*/ 4973474 w 7467600"/>
              <a:gd name="connsiteY318" fmla="*/ 6858000 h 6858000"/>
              <a:gd name="connsiteX319" fmla="*/ 4907178 w 7467600"/>
              <a:gd name="connsiteY319" fmla="*/ 6858000 h 6858000"/>
              <a:gd name="connsiteX320" fmla="*/ 4910810 w 7467600"/>
              <a:gd name="connsiteY320" fmla="*/ 6829660 h 6858000"/>
              <a:gd name="connsiteX321" fmla="*/ 4987461 w 7467600"/>
              <a:gd name="connsiteY321" fmla="*/ 6432994 h 6858000"/>
              <a:gd name="connsiteX322" fmla="*/ 5179262 w 7467600"/>
              <a:gd name="connsiteY322" fmla="*/ 6035044 h 6858000"/>
              <a:gd name="connsiteX323" fmla="*/ 4689678 w 7467600"/>
              <a:gd name="connsiteY323" fmla="*/ 6440241 h 6858000"/>
              <a:gd name="connsiteX324" fmla="*/ 4477543 w 7467600"/>
              <a:gd name="connsiteY324" fmla="*/ 6674836 h 6858000"/>
              <a:gd name="connsiteX325" fmla="*/ 4329957 w 7467600"/>
              <a:gd name="connsiteY325" fmla="*/ 6858000 h 6858000"/>
              <a:gd name="connsiteX326" fmla="*/ 4218595 w 7467600"/>
              <a:gd name="connsiteY326" fmla="*/ 6858000 h 6858000"/>
              <a:gd name="connsiteX327" fmla="*/ 4368888 w 7467600"/>
              <a:gd name="connsiteY327" fmla="*/ 6668412 h 6858000"/>
              <a:gd name="connsiteX328" fmla="*/ 4563091 w 7467600"/>
              <a:gd name="connsiteY328" fmla="*/ 6442508 h 6858000"/>
              <a:gd name="connsiteX329" fmla="*/ 5387324 w 7467600"/>
              <a:gd name="connsiteY329" fmla="*/ 5705830 h 6858000"/>
              <a:gd name="connsiteX330" fmla="*/ 5073620 w 7467600"/>
              <a:gd name="connsiteY330" fmla="*/ 5955437 h 6858000"/>
              <a:gd name="connsiteX331" fmla="*/ 4689789 w 7467600"/>
              <a:gd name="connsiteY331" fmla="*/ 6268382 h 6858000"/>
              <a:gd name="connsiteX332" fmla="*/ 4418722 w 7467600"/>
              <a:gd name="connsiteY332" fmla="*/ 6570886 h 6858000"/>
              <a:gd name="connsiteX333" fmla="*/ 4214944 w 7467600"/>
              <a:gd name="connsiteY333" fmla="*/ 6858000 h 6858000"/>
              <a:gd name="connsiteX334" fmla="*/ 4177898 w 7467600"/>
              <a:gd name="connsiteY334" fmla="*/ 6858000 h 6858000"/>
              <a:gd name="connsiteX335" fmla="*/ 4391597 w 7467600"/>
              <a:gd name="connsiteY335" fmla="*/ 6556370 h 6858000"/>
              <a:gd name="connsiteX336" fmla="*/ 4668889 w 7467600"/>
              <a:gd name="connsiteY336" fmla="*/ 6246399 h 6858000"/>
              <a:gd name="connsiteX337" fmla="*/ 5055427 w 7467600"/>
              <a:gd name="connsiteY337" fmla="*/ 5931476 h 6858000"/>
              <a:gd name="connsiteX338" fmla="*/ 5371814 w 7467600"/>
              <a:gd name="connsiteY338" fmla="*/ 5678975 h 6858000"/>
              <a:gd name="connsiteX339" fmla="*/ 4987918 w 7467600"/>
              <a:gd name="connsiteY339" fmla="*/ 5838701 h 6858000"/>
              <a:gd name="connsiteX340" fmla="*/ 4317146 w 7467600"/>
              <a:gd name="connsiteY340" fmla="*/ 6587716 h 6858000"/>
              <a:gd name="connsiteX341" fmla="*/ 4171627 w 7467600"/>
              <a:gd name="connsiteY341" fmla="*/ 6858000 h 6858000"/>
              <a:gd name="connsiteX342" fmla="*/ 4081585 w 7467600"/>
              <a:gd name="connsiteY342" fmla="*/ 6858000 h 6858000"/>
              <a:gd name="connsiteX343" fmla="*/ 4238603 w 7467600"/>
              <a:gd name="connsiteY343" fmla="*/ 6559341 h 6858000"/>
              <a:gd name="connsiteX344" fmla="*/ 4778333 w 7467600"/>
              <a:gd name="connsiteY344" fmla="*/ 5873626 h 6858000"/>
              <a:gd name="connsiteX345" fmla="*/ 5414185 w 7467600"/>
              <a:gd name="connsiteY345" fmla="*/ 5573882 h 6858000"/>
              <a:gd name="connsiteX346" fmla="*/ 5959648 w 7467600"/>
              <a:gd name="connsiteY346" fmla="*/ 4760797 h 6858000"/>
              <a:gd name="connsiteX347" fmla="*/ 5355019 w 7467600"/>
              <a:gd name="connsiteY347" fmla="*/ 4734672 h 6858000"/>
              <a:gd name="connsiteX348" fmla="*/ 5083565 w 7467600"/>
              <a:gd name="connsiteY348" fmla="*/ 5179121 h 6858000"/>
              <a:gd name="connsiteX349" fmla="*/ 4713577 w 7467600"/>
              <a:gd name="connsiteY349" fmla="*/ 5616803 h 6858000"/>
              <a:gd name="connsiteX350" fmla="*/ 3989559 w 7467600"/>
              <a:gd name="connsiteY350" fmla="*/ 6145945 h 6858000"/>
              <a:gd name="connsiteX351" fmla="*/ 3939824 w 7467600"/>
              <a:gd name="connsiteY351" fmla="*/ 6066900 h 6858000"/>
              <a:gd name="connsiteX352" fmla="*/ 4584537 w 7467600"/>
              <a:gd name="connsiteY352" fmla="*/ 5324826 h 6858000"/>
              <a:gd name="connsiteX353" fmla="*/ 5037105 w 7467600"/>
              <a:gd name="connsiteY353" fmla="*/ 5088765 h 6858000"/>
              <a:gd name="connsiteX354" fmla="*/ 5039930 w 7467600"/>
              <a:gd name="connsiteY354" fmla="*/ 5089585 h 6858000"/>
              <a:gd name="connsiteX355" fmla="*/ 5263764 w 7467600"/>
              <a:gd name="connsiteY355" fmla="*/ 4735525 h 6858000"/>
              <a:gd name="connsiteX356" fmla="*/ 4086300 w 7467600"/>
              <a:gd name="connsiteY356" fmla="*/ 4884599 h 6858000"/>
              <a:gd name="connsiteX357" fmla="*/ 4085485 w 7467600"/>
              <a:gd name="connsiteY357" fmla="*/ 4899070 h 6858000"/>
              <a:gd name="connsiteX358" fmla="*/ 3871915 w 7467600"/>
              <a:gd name="connsiteY358" fmla="*/ 5253645 h 6858000"/>
              <a:gd name="connsiteX359" fmla="*/ 3799374 w 7467600"/>
              <a:gd name="connsiteY359" fmla="*/ 5466127 h 6858000"/>
              <a:gd name="connsiteX360" fmla="*/ 3498850 w 7467600"/>
              <a:gd name="connsiteY360" fmla="*/ 6661888 h 6858000"/>
              <a:gd name="connsiteX361" fmla="*/ 3399216 w 7467600"/>
              <a:gd name="connsiteY361" fmla="*/ 6858000 h 6858000"/>
              <a:gd name="connsiteX362" fmla="*/ 3303688 w 7467600"/>
              <a:gd name="connsiteY362" fmla="*/ 6858000 h 6858000"/>
              <a:gd name="connsiteX363" fmla="*/ 3391774 w 7467600"/>
              <a:gd name="connsiteY363" fmla="*/ 6697181 h 6858000"/>
              <a:gd name="connsiteX364" fmla="*/ 3735540 w 7467600"/>
              <a:gd name="connsiteY364" fmla="*/ 5546923 h 6858000"/>
              <a:gd name="connsiteX365" fmla="*/ 3729438 w 7467600"/>
              <a:gd name="connsiteY365" fmla="*/ 5569058 h 6858000"/>
              <a:gd name="connsiteX366" fmla="*/ 3707782 w 7467600"/>
              <a:gd name="connsiteY366" fmla="*/ 5644908 h 6858000"/>
              <a:gd name="connsiteX367" fmla="*/ 3583827 w 7467600"/>
              <a:gd name="connsiteY367" fmla="*/ 6039215 h 6858000"/>
              <a:gd name="connsiteX368" fmla="*/ 3547861 w 7467600"/>
              <a:gd name="connsiteY368" fmla="*/ 6129609 h 6858000"/>
              <a:gd name="connsiteX369" fmla="*/ 3490905 w 7467600"/>
              <a:gd name="connsiteY369" fmla="*/ 6277660 h 6858000"/>
              <a:gd name="connsiteX370" fmla="*/ 3455859 w 7467600"/>
              <a:gd name="connsiteY370" fmla="*/ 6391301 h 6858000"/>
              <a:gd name="connsiteX371" fmla="*/ 3429112 w 7467600"/>
              <a:gd name="connsiteY371" fmla="*/ 6479469 h 6858000"/>
              <a:gd name="connsiteX372" fmla="*/ 3304862 w 7467600"/>
              <a:gd name="connsiteY372" fmla="*/ 6796476 h 6858000"/>
              <a:gd name="connsiteX373" fmla="*/ 3276071 w 7467600"/>
              <a:gd name="connsiteY373" fmla="*/ 6858000 h 6858000"/>
              <a:gd name="connsiteX374" fmla="*/ 3240805 w 7467600"/>
              <a:gd name="connsiteY374" fmla="*/ 6858000 h 6858000"/>
              <a:gd name="connsiteX375" fmla="*/ 3275917 w 7467600"/>
              <a:gd name="connsiteY375" fmla="*/ 6783192 h 6858000"/>
              <a:gd name="connsiteX376" fmla="*/ 3399358 w 7467600"/>
              <a:gd name="connsiteY376" fmla="*/ 6469011 h 6858000"/>
              <a:gd name="connsiteX377" fmla="*/ 3425650 w 7467600"/>
              <a:gd name="connsiteY377" fmla="*/ 6381333 h 6858000"/>
              <a:gd name="connsiteX378" fmla="*/ 3460661 w 7467600"/>
              <a:gd name="connsiteY378" fmla="*/ 6266763 h 6858000"/>
              <a:gd name="connsiteX379" fmla="*/ 3518021 w 7467600"/>
              <a:gd name="connsiteY379" fmla="*/ 6117298 h 6858000"/>
              <a:gd name="connsiteX380" fmla="*/ 3554035 w 7467600"/>
              <a:gd name="connsiteY380" fmla="*/ 6027832 h 6858000"/>
              <a:gd name="connsiteX381" fmla="*/ 3677174 w 7467600"/>
              <a:gd name="connsiteY381" fmla="*/ 5636351 h 6858000"/>
              <a:gd name="connsiteX382" fmla="*/ 3698819 w 7467600"/>
              <a:gd name="connsiteY382" fmla="*/ 5560503 h 6858000"/>
              <a:gd name="connsiteX383" fmla="*/ 3702094 w 7467600"/>
              <a:gd name="connsiteY383" fmla="*/ 5549194 h 6858000"/>
              <a:gd name="connsiteX384" fmla="*/ 3398355 w 7467600"/>
              <a:gd name="connsiteY384" fmla="*/ 6094603 h 6858000"/>
              <a:gd name="connsiteX385" fmla="*/ 3193941 w 7467600"/>
              <a:gd name="connsiteY385" fmla="*/ 6798775 h 6858000"/>
              <a:gd name="connsiteX386" fmla="*/ 3184140 w 7467600"/>
              <a:gd name="connsiteY386" fmla="*/ 6858000 h 6858000"/>
              <a:gd name="connsiteX387" fmla="*/ 3099978 w 7467600"/>
              <a:gd name="connsiteY387" fmla="*/ 6858000 h 6858000"/>
              <a:gd name="connsiteX388" fmla="*/ 3101556 w 7467600"/>
              <a:gd name="connsiteY388" fmla="*/ 6843337 h 6858000"/>
              <a:gd name="connsiteX389" fmla="*/ 3370162 w 7467600"/>
              <a:gd name="connsiteY389" fmla="*/ 5785550 h 6858000"/>
              <a:gd name="connsiteX390" fmla="*/ 3746477 w 7467600"/>
              <a:gd name="connsiteY390" fmla="*/ 5377889 h 6858000"/>
              <a:gd name="connsiteX391" fmla="*/ 3863399 w 7467600"/>
              <a:gd name="connsiteY391" fmla="*/ 5087257 h 6858000"/>
              <a:gd name="connsiteX392" fmla="*/ 3968712 w 7467600"/>
              <a:gd name="connsiteY392" fmla="*/ 4913989 h 6858000"/>
              <a:gd name="connsiteX393" fmla="*/ 2792390 w 7467600"/>
              <a:gd name="connsiteY393" fmla="*/ 5382974 h 6858000"/>
              <a:gd name="connsiteX394" fmla="*/ 2714982 w 7467600"/>
              <a:gd name="connsiteY394" fmla="*/ 5427051 h 6858000"/>
              <a:gd name="connsiteX395" fmla="*/ 2813361 w 7467600"/>
              <a:gd name="connsiteY395" fmla="*/ 6023912 h 6858000"/>
              <a:gd name="connsiteX396" fmla="*/ 2688430 w 7467600"/>
              <a:gd name="connsiteY396" fmla="*/ 6801564 h 6858000"/>
              <a:gd name="connsiteX397" fmla="*/ 2629626 w 7467600"/>
              <a:gd name="connsiteY397" fmla="*/ 6763394 h 6858000"/>
              <a:gd name="connsiteX398" fmla="*/ 2565328 w 7467600"/>
              <a:gd name="connsiteY398" fmla="*/ 5516399 h 6858000"/>
              <a:gd name="connsiteX399" fmla="*/ 1922999 w 7467600"/>
              <a:gd name="connsiteY399" fmla="*/ 5980343 h 6858000"/>
              <a:gd name="connsiteX400" fmla="*/ 1950261 w 7467600"/>
              <a:gd name="connsiteY400" fmla="*/ 6405858 h 6858000"/>
              <a:gd name="connsiteX401" fmla="*/ 2365554 w 7467600"/>
              <a:gd name="connsiteY401" fmla="*/ 6759107 h 6858000"/>
              <a:gd name="connsiteX402" fmla="*/ 2424142 w 7467600"/>
              <a:gd name="connsiteY402" fmla="*/ 6858000 h 6858000"/>
              <a:gd name="connsiteX403" fmla="*/ 2395994 w 7467600"/>
              <a:gd name="connsiteY403" fmla="*/ 6858000 h 6858000"/>
              <a:gd name="connsiteX404" fmla="*/ 2392863 w 7467600"/>
              <a:gd name="connsiteY404" fmla="*/ 6852964 h 6858000"/>
              <a:gd name="connsiteX405" fmla="*/ 2017589 w 7467600"/>
              <a:gd name="connsiteY405" fmla="*/ 6493982 h 6858000"/>
              <a:gd name="connsiteX406" fmla="*/ 2147336 w 7467600"/>
              <a:gd name="connsiteY406" fmla="*/ 6594052 h 6858000"/>
              <a:gd name="connsiteX407" fmla="*/ 2207047 w 7467600"/>
              <a:gd name="connsiteY407" fmla="*/ 6654540 h 6858000"/>
              <a:gd name="connsiteX408" fmla="*/ 2299106 w 7467600"/>
              <a:gd name="connsiteY408" fmla="*/ 6778931 h 6858000"/>
              <a:gd name="connsiteX409" fmla="*/ 2314430 w 7467600"/>
              <a:gd name="connsiteY409" fmla="*/ 6801144 h 6858000"/>
              <a:gd name="connsiteX410" fmla="*/ 2352406 w 7467600"/>
              <a:gd name="connsiteY410" fmla="*/ 6858000 h 6858000"/>
              <a:gd name="connsiteX411" fmla="*/ 2314492 w 7467600"/>
              <a:gd name="connsiteY411" fmla="*/ 6858000 h 6858000"/>
              <a:gd name="connsiteX412" fmla="*/ 2288095 w 7467600"/>
              <a:gd name="connsiteY412" fmla="*/ 6818030 h 6858000"/>
              <a:gd name="connsiteX413" fmla="*/ 2272768 w 7467600"/>
              <a:gd name="connsiteY413" fmla="*/ 6795822 h 6858000"/>
              <a:gd name="connsiteX414" fmla="*/ 2182715 w 7467600"/>
              <a:gd name="connsiteY414" fmla="*/ 6675071 h 6858000"/>
              <a:gd name="connsiteX415" fmla="*/ 2032061 w 7467600"/>
              <a:gd name="connsiteY415" fmla="*/ 6541380 h 6858000"/>
              <a:gd name="connsiteX416" fmla="*/ 2257220 w 7467600"/>
              <a:gd name="connsiteY416" fmla="*/ 6826257 h 6858000"/>
              <a:gd name="connsiteX417" fmla="*/ 2281324 w 7467600"/>
              <a:gd name="connsiteY417" fmla="*/ 6858000 h 6858000"/>
              <a:gd name="connsiteX418" fmla="*/ 2242860 w 7467600"/>
              <a:gd name="connsiteY418" fmla="*/ 6858000 h 6858000"/>
              <a:gd name="connsiteX419" fmla="*/ 2232818 w 7467600"/>
              <a:gd name="connsiteY419" fmla="*/ 6844926 h 6858000"/>
              <a:gd name="connsiteX420" fmla="*/ 1990172 w 7467600"/>
              <a:gd name="connsiteY420" fmla="*/ 6542121 h 6858000"/>
              <a:gd name="connsiteX421" fmla="*/ 2124090 w 7467600"/>
              <a:gd name="connsiteY421" fmla="*/ 6761017 h 6858000"/>
              <a:gd name="connsiteX422" fmla="*/ 2200380 w 7467600"/>
              <a:gd name="connsiteY422" fmla="*/ 6858000 h 6858000"/>
              <a:gd name="connsiteX423" fmla="*/ 2147507 w 7467600"/>
              <a:gd name="connsiteY423" fmla="*/ 6858000 h 6858000"/>
              <a:gd name="connsiteX424" fmla="*/ 2070668 w 7467600"/>
              <a:gd name="connsiteY424" fmla="*/ 6761520 h 6858000"/>
              <a:gd name="connsiteX425" fmla="*/ 1975142 w 7467600"/>
              <a:gd name="connsiteY425" fmla="*/ 6585570 h 6858000"/>
              <a:gd name="connsiteX426" fmla="*/ 2050035 w 7467600"/>
              <a:gd name="connsiteY426" fmla="*/ 6813345 h 6858000"/>
              <a:gd name="connsiteX427" fmla="*/ 2063025 w 7467600"/>
              <a:gd name="connsiteY427" fmla="*/ 6858000 h 6858000"/>
              <a:gd name="connsiteX428" fmla="*/ 2021675 w 7467600"/>
              <a:gd name="connsiteY428" fmla="*/ 6858000 h 6858000"/>
              <a:gd name="connsiteX429" fmla="*/ 2019308 w 7467600"/>
              <a:gd name="connsiteY429" fmla="*/ 6847118 h 6858000"/>
              <a:gd name="connsiteX430" fmla="*/ 1938835 w 7467600"/>
              <a:gd name="connsiteY430" fmla="*/ 6551160 h 6858000"/>
              <a:gd name="connsiteX431" fmla="*/ 1953230 w 7467600"/>
              <a:gd name="connsiteY431" fmla="*/ 6759699 h 6858000"/>
              <a:gd name="connsiteX432" fmla="*/ 1956763 w 7467600"/>
              <a:gd name="connsiteY432" fmla="*/ 6778191 h 6858000"/>
              <a:gd name="connsiteX433" fmla="*/ 1967925 w 7467600"/>
              <a:gd name="connsiteY433" fmla="*/ 6858000 h 6858000"/>
              <a:gd name="connsiteX434" fmla="*/ 1936622 w 7467600"/>
              <a:gd name="connsiteY434" fmla="*/ 6858000 h 6858000"/>
              <a:gd name="connsiteX435" fmla="*/ 1926261 w 7467600"/>
              <a:gd name="connsiteY435" fmla="*/ 6784064 h 6858000"/>
              <a:gd name="connsiteX436" fmla="*/ 1922724 w 7467600"/>
              <a:gd name="connsiteY436" fmla="*/ 6765577 h 6858000"/>
              <a:gd name="connsiteX437" fmla="*/ 1904650 w 7467600"/>
              <a:gd name="connsiteY437" fmla="*/ 6639616 h 6858000"/>
              <a:gd name="connsiteX438" fmla="*/ 1885273 w 7467600"/>
              <a:gd name="connsiteY438" fmla="*/ 6858000 h 6858000"/>
              <a:gd name="connsiteX439" fmla="*/ 1854363 w 7467600"/>
              <a:gd name="connsiteY439" fmla="*/ 6858000 h 6858000"/>
              <a:gd name="connsiteX440" fmla="*/ 1880391 w 7467600"/>
              <a:gd name="connsiteY440" fmla="*/ 6603796 h 6858000"/>
              <a:gd name="connsiteX441" fmla="*/ 1818273 w 7467600"/>
              <a:gd name="connsiteY441" fmla="*/ 6715729 h 6858000"/>
              <a:gd name="connsiteX442" fmla="*/ 1794691 w 7467600"/>
              <a:gd name="connsiteY442" fmla="*/ 6843239 h 6858000"/>
              <a:gd name="connsiteX443" fmla="*/ 1794914 w 7467600"/>
              <a:gd name="connsiteY443" fmla="*/ 6858000 h 6858000"/>
              <a:gd name="connsiteX444" fmla="*/ 1746128 w 7467600"/>
              <a:gd name="connsiteY444" fmla="*/ 6858000 h 6858000"/>
              <a:gd name="connsiteX445" fmla="*/ 1753934 w 7467600"/>
              <a:gd name="connsiteY445" fmla="*/ 6724796 h 6858000"/>
              <a:gd name="connsiteX446" fmla="*/ 1792053 w 7467600"/>
              <a:gd name="connsiteY446" fmla="*/ 6572396 h 6858000"/>
              <a:gd name="connsiteX447" fmla="*/ 1862248 w 7467600"/>
              <a:gd name="connsiteY447" fmla="*/ 6266397 h 6858000"/>
              <a:gd name="connsiteX448" fmla="*/ 1862250 w 7467600"/>
              <a:gd name="connsiteY448" fmla="*/ 6033531 h 6858000"/>
              <a:gd name="connsiteX449" fmla="*/ 1211999 w 7467600"/>
              <a:gd name="connsiteY449" fmla="*/ 6683610 h 6858000"/>
              <a:gd name="connsiteX450" fmla="*/ 1213266 w 7467600"/>
              <a:gd name="connsiteY450" fmla="*/ 6691947 h 6858000"/>
              <a:gd name="connsiteX451" fmla="*/ 1203370 w 7467600"/>
              <a:gd name="connsiteY451" fmla="*/ 6850676 h 6858000"/>
              <a:gd name="connsiteX452" fmla="*/ 1203671 w 7467600"/>
              <a:gd name="connsiteY452" fmla="*/ 6858000 h 6858000"/>
              <a:gd name="connsiteX453" fmla="*/ 1143180 w 7467600"/>
              <a:gd name="connsiteY453" fmla="*/ 6858000 h 6858000"/>
              <a:gd name="connsiteX454" fmla="*/ 1142176 w 7467600"/>
              <a:gd name="connsiteY454" fmla="*/ 6766045 h 6858000"/>
              <a:gd name="connsiteX455" fmla="*/ 1067484 w 7467600"/>
              <a:gd name="connsiteY455" fmla="*/ 6858000 h 6858000"/>
              <a:gd name="connsiteX456" fmla="*/ 953928 w 7467600"/>
              <a:gd name="connsiteY456" fmla="*/ 6858000 h 6858000"/>
              <a:gd name="connsiteX457" fmla="*/ 959715 w 7467600"/>
              <a:gd name="connsiteY457" fmla="*/ 6850185 h 6858000"/>
              <a:gd name="connsiteX458" fmla="*/ 1483788 w 7467600"/>
              <a:gd name="connsiteY458" fmla="*/ 6259174 h 6858000"/>
              <a:gd name="connsiteX459" fmla="*/ 1100671 w 7467600"/>
              <a:gd name="connsiteY459" fmla="*/ 6252137 h 6858000"/>
              <a:gd name="connsiteX460" fmla="*/ 1090144 w 7467600"/>
              <a:gd name="connsiteY460" fmla="*/ 6256748 h 6858000"/>
              <a:gd name="connsiteX461" fmla="*/ 1095872 w 7467600"/>
              <a:gd name="connsiteY461" fmla="*/ 6271892 h 6858000"/>
              <a:gd name="connsiteX462" fmla="*/ 262785 w 7467600"/>
              <a:gd name="connsiteY462" fmla="*/ 6845450 h 6858000"/>
              <a:gd name="connsiteX463" fmla="*/ 209968 w 7467600"/>
              <a:gd name="connsiteY463" fmla="*/ 6770713 h 6858000"/>
              <a:gd name="connsiteX464" fmla="*/ 873460 w 7467600"/>
              <a:gd name="connsiteY464" fmla="*/ 6253768 h 6858000"/>
              <a:gd name="connsiteX465" fmla="*/ 192686 w 7467600"/>
              <a:gd name="connsiteY465" fmla="*/ 5849257 h 6858000"/>
              <a:gd name="connsiteX466" fmla="*/ 4696 w 7467600"/>
              <a:gd name="connsiteY466" fmla="*/ 5697668 h 6858000"/>
              <a:gd name="connsiteX467" fmla="*/ 0 w 7467600"/>
              <a:gd name="connsiteY467" fmla="*/ 5689984 h 6858000"/>
              <a:gd name="connsiteX468" fmla="*/ 0 w 7467600"/>
              <a:gd name="connsiteY468" fmla="*/ 5513472 h 6858000"/>
              <a:gd name="connsiteX469" fmla="*/ 174101 w 7467600"/>
              <a:gd name="connsiteY469" fmla="*/ 5620277 h 6858000"/>
              <a:gd name="connsiteX470" fmla="*/ 891800 w 7467600"/>
              <a:gd name="connsiteY470" fmla="*/ 6036935 h 6858000"/>
              <a:gd name="connsiteX471" fmla="*/ 1072219 w 7467600"/>
              <a:gd name="connsiteY471" fmla="*/ 6169443 h 6858000"/>
              <a:gd name="connsiteX472" fmla="*/ 1074117 w 7467600"/>
              <a:gd name="connsiteY472" fmla="*/ 6170301 h 6858000"/>
              <a:gd name="connsiteX473" fmla="*/ 1083114 w 7467600"/>
              <a:gd name="connsiteY473" fmla="*/ 6174131 h 6858000"/>
              <a:gd name="connsiteX474" fmla="*/ 1543010 w 7467600"/>
              <a:gd name="connsiteY474" fmla="*/ 6191140 h 6858000"/>
              <a:gd name="connsiteX475" fmla="*/ 1551080 w 7467600"/>
              <a:gd name="connsiteY475" fmla="*/ 6195006 h 6858000"/>
              <a:gd name="connsiteX476" fmla="*/ 2345443 w 7467600"/>
              <a:gd name="connsiteY476" fmla="*/ 5549882 h 6858000"/>
              <a:gd name="connsiteX477" fmla="*/ 1721499 w 7467600"/>
              <a:gd name="connsiteY477" fmla="*/ 5599969 h 6858000"/>
              <a:gd name="connsiteX478" fmla="*/ 767716 w 7467600"/>
              <a:gd name="connsiteY478" fmla="*/ 5472768 h 6858000"/>
              <a:gd name="connsiteX479" fmla="*/ 722147 w 7467600"/>
              <a:gd name="connsiteY479" fmla="*/ 5393091 h 6858000"/>
              <a:gd name="connsiteX480" fmla="*/ 1485552 w 7467600"/>
              <a:gd name="connsiteY480" fmla="*/ 5313202 h 6858000"/>
              <a:gd name="connsiteX481" fmla="*/ 2143004 w 7467600"/>
              <a:gd name="connsiteY481" fmla="*/ 5402420 h 6858000"/>
              <a:gd name="connsiteX482" fmla="*/ 1933391 w 7467600"/>
              <a:gd name="connsiteY482" fmla="*/ 5156971 h 6858000"/>
              <a:gd name="connsiteX483" fmla="*/ 1827118 w 7467600"/>
              <a:gd name="connsiteY483" fmla="*/ 4968410 h 6858000"/>
              <a:gd name="connsiteX484" fmla="*/ 1837349 w 7467600"/>
              <a:gd name="connsiteY484" fmla="*/ 4956357 h 6858000"/>
              <a:gd name="connsiteX485" fmla="*/ 2162835 w 7467600"/>
              <a:gd name="connsiteY485" fmla="*/ 5187853 h 6858000"/>
              <a:gd name="connsiteX486" fmla="*/ 2257167 w 7467600"/>
              <a:gd name="connsiteY486" fmla="*/ 5462123 h 6858000"/>
              <a:gd name="connsiteX487" fmla="*/ 2261598 w 7467600"/>
              <a:gd name="connsiteY487" fmla="*/ 5467998 h 6858000"/>
              <a:gd name="connsiteX488" fmla="*/ 2437177 w 7467600"/>
              <a:gd name="connsiteY488" fmla="*/ 5479608 h 6858000"/>
              <a:gd name="connsiteX489" fmla="*/ 2445247 w 7467600"/>
              <a:gd name="connsiteY489" fmla="*/ 5483476 h 6858000"/>
              <a:gd name="connsiteX490" fmla="*/ 2743626 w 7467600"/>
              <a:gd name="connsiteY490" fmla="*/ 5304819 h 6858000"/>
              <a:gd name="connsiteX491" fmla="*/ 3048102 w 7467600"/>
              <a:gd name="connsiteY491" fmla="*/ 5150595 h 6858000"/>
              <a:gd name="connsiteX492" fmla="*/ 1799414 w 7467600"/>
              <a:gd name="connsiteY492" fmla="*/ 4694732 h 6858000"/>
              <a:gd name="connsiteX493" fmla="*/ 1771735 w 7467600"/>
              <a:gd name="connsiteY493" fmla="*/ 4619929 h 6858000"/>
              <a:gd name="connsiteX494" fmla="*/ 3104273 w 7467600"/>
              <a:gd name="connsiteY494" fmla="*/ 5076159 h 6858000"/>
              <a:gd name="connsiteX495" fmla="*/ 3113245 w 7467600"/>
              <a:gd name="connsiteY495" fmla="*/ 5090705 h 6858000"/>
              <a:gd name="connsiteX496" fmla="*/ 3126294 w 7467600"/>
              <a:gd name="connsiteY496" fmla="*/ 5114400 h 6858000"/>
              <a:gd name="connsiteX497" fmla="*/ 3937433 w 7467600"/>
              <a:gd name="connsiteY497" fmla="*/ 4830473 h 6858000"/>
              <a:gd name="connsiteX498" fmla="*/ 3590475 w 7467600"/>
              <a:gd name="connsiteY498" fmla="*/ 4597974 h 6858000"/>
              <a:gd name="connsiteX499" fmla="*/ 3100264 w 7467600"/>
              <a:gd name="connsiteY499" fmla="*/ 4579845 h 6858000"/>
              <a:gd name="connsiteX500" fmla="*/ 2183576 w 7467600"/>
              <a:gd name="connsiteY500" fmla="*/ 4227150 h 6858000"/>
              <a:gd name="connsiteX501" fmla="*/ 2151029 w 7467600"/>
              <a:gd name="connsiteY501" fmla="*/ 4146947 h 6858000"/>
              <a:gd name="connsiteX502" fmla="*/ 3563434 w 7467600"/>
              <a:gd name="connsiteY502" fmla="*/ 4469115 h 6858000"/>
              <a:gd name="connsiteX503" fmla="*/ 3177952 w 7467600"/>
              <a:gd name="connsiteY503" fmla="*/ 3657386 h 6858000"/>
              <a:gd name="connsiteX504" fmla="*/ 3189263 w 7467600"/>
              <a:gd name="connsiteY504" fmla="*/ 3625726 h 6858000"/>
              <a:gd name="connsiteX505" fmla="*/ 3560912 w 7467600"/>
              <a:gd name="connsiteY505" fmla="*/ 4079863 h 6858000"/>
              <a:gd name="connsiteX506" fmla="*/ 3626636 w 7467600"/>
              <a:gd name="connsiteY506" fmla="*/ 4512230 h 6858000"/>
              <a:gd name="connsiteX507" fmla="*/ 3653088 w 7467600"/>
              <a:gd name="connsiteY507" fmla="*/ 4521417 h 6858000"/>
              <a:gd name="connsiteX508" fmla="*/ 3988128 w 7467600"/>
              <a:gd name="connsiteY508" fmla="*/ 4817267 h 6858000"/>
              <a:gd name="connsiteX509" fmla="*/ 4830582 w 7467600"/>
              <a:gd name="connsiteY509" fmla="*/ 4676000 h 6858000"/>
              <a:gd name="connsiteX510" fmla="*/ 4830100 w 7467600"/>
              <a:gd name="connsiteY510" fmla="*/ 4675554 h 6858000"/>
              <a:gd name="connsiteX511" fmla="*/ 4036318 w 7467600"/>
              <a:gd name="connsiteY511" fmla="*/ 4147013 h 6858000"/>
              <a:gd name="connsiteX512" fmla="*/ 3432098 w 7467600"/>
              <a:gd name="connsiteY512" fmla="*/ 3537312 h 6858000"/>
              <a:gd name="connsiteX513" fmla="*/ 3446761 w 7467600"/>
              <a:gd name="connsiteY513" fmla="*/ 3461278 h 6858000"/>
              <a:gd name="connsiteX514" fmla="*/ 4419733 w 7467600"/>
              <a:gd name="connsiteY514" fmla="*/ 3963555 h 6858000"/>
              <a:gd name="connsiteX515" fmla="*/ 4781371 w 7467600"/>
              <a:gd name="connsiteY515" fmla="*/ 4458604 h 6858000"/>
              <a:gd name="connsiteX516" fmla="*/ 4780440 w 7467600"/>
              <a:gd name="connsiteY516" fmla="*/ 4470290 h 6858000"/>
              <a:gd name="connsiteX517" fmla="*/ 4898954 w 7467600"/>
              <a:gd name="connsiteY517" fmla="*/ 4662092 h 6858000"/>
              <a:gd name="connsiteX518" fmla="*/ 4900699 w 7467600"/>
              <a:gd name="connsiteY518" fmla="*/ 4670867 h 6858000"/>
              <a:gd name="connsiteX519" fmla="*/ 5714511 w 7467600"/>
              <a:gd name="connsiteY519" fmla="*/ 4663483 h 6858000"/>
              <a:gd name="connsiteX520" fmla="*/ 5464793 w 7467600"/>
              <a:gd name="connsiteY520" fmla="*/ 4393556 h 6858000"/>
              <a:gd name="connsiteX521" fmla="*/ 5461897 w 7467600"/>
              <a:gd name="connsiteY521" fmla="*/ 4390879 h 6858000"/>
              <a:gd name="connsiteX522" fmla="*/ 4294126 w 7467600"/>
              <a:gd name="connsiteY522" fmla="*/ 3303048 h 6858000"/>
              <a:gd name="connsiteX523" fmla="*/ 4305321 w 7467600"/>
              <a:gd name="connsiteY523" fmla="*/ 3256953 h 6858000"/>
              <a:gd name="connsiteX524" fmla="*/ 4949299 w 7467600"/>
              <a:gd name="connsiteY524" fmla="*/ 3766336 h 6858000"/>
              <a:gd name="connsiteX525" fmla="*/ 5291452 w 7467600"/>
              <a:gd name="connsiteY525" fmla="*/ 4076801 h 6858000"/>
              <a:gd name="connsiteX526" fmla="*/ 5434998 w 7467600"/>
              <a:gd name="connsiteY526" fmla="*/ 4254100 h 6858000"/>
              <a:gd name="connsiteX527" fmla="*/ 5351015 w 7467600"/>
              <a:gd name="connsiteY527" fmla="*/ 3760989 h 6858000"/>
              <a:gd name="connsiteX528" fmla="*/ 5413780 w 7467600"/>
              <a:gd name="connsiteY528" fmla="*/ 2966265 h 6858000"/>
              <a:gd name="connsiteX529" fmla="*/ 5425627 w 7467600"/>
              <a:gd name="connsiteY529" fmla="*/ 2954192 h 6858000"/>
              <a:gd name="connsiteX530" fmla="*/ 6604735 w 7467600"/>
              <a:gd name="connsiteY530" fmla="*/ 2041381 h 6858000"/>
              <a:gd name="connsiteX531" fmla="*/ 7204487 w 7467600"/>
              <a:gd name="connsiteY531" fmla="*/ 2742112 h 6858000"/>
              <a:gd name="connsiteX532" fmla="*/ 7131592 w 7467600"/>
              <a:gd name="connsiteY532" fmla="*/ 2672096 h 6858000"/>
              <a:gd name="connsiteX533" fmla="*/ 6996344 w 7467600"/>
              <a:gd name="connsiteY533" fmla="*/ 2518310 h 6858000"/>
              <a:gd name="connsiteX534" fmla="*/ 6735495 w 7467600"/>
              <a:gd name="connsiteY534" fmla="*/ 2196890 h 6858000"/>
              <a:gd name="connsiteX535" fmla="*/ 6721901 w 7467600"/>
              <a:gd name="connsiteY535" fmla="*/ 2179274 h 6858000"/>
              <a:gd name="connsiteX536" fmla="*/ 6604735 w 7467600"/>
              <a:gd name="connsiteY536" fmla="*/ 2041381 h 6858000"/>
              <a:gd name="connsiteX537" fmla="*/ 6591670 w 7467600"/>
              <a:gd name="connsiteY537" fmla="*/ 1988277 h 6858000"/>
              <a:gd name="connsiteX538" fmla="*/ 6747349 w 7467600"/>
              <a:gd name="connsiteY538" fmla="*/ 2160069 h 6858000"/>
              <a:gd name="connsiteX539" fmla="*/ 6760943 w 7467600"/>
              <a:gd name="connsiteY539" fmla="*/ 2177686 h 6858000"/>
              <a:gd name="connsiteX540" fmla="*/ 7021065 w 7467600"/>
              <a:gd name="connsiteY540" fmla="*/ 2498102 h 6858000"/>
              <a:gd name="connsiteX541" fmla="*/ 7155223 w 7467600"/>
              <a:gd name="connsiteY541" fmla="*/ 2650386 h 6858000"/>
              <a:gd name="connsiteX542" fmla="*/ 7203167 w 7467600"/>
              <a:gd name="connsiteY542" fmla="*/ 2697288 h 6858000"/>
              <a:gd name="connsiteX543" fmla="*/ 6937703 w 7467600"/>
              <a:gd name="connsiteY543" fmla="*/ 2321981 h 6858000"/>
              <a:gd name="connsiteX544" fmla="*/ 6591670 w 7467600"/>
              <a:gd name="connsiteY544" fmla="*/ 1988277 h 6858000"/>
              <a:gd name="connsiteX545" fmla="*/ 5798671 w 7467600"/>
              <a:gd name="connsiteY545" fmla="*/ 1981601 h 6858000"/>
              <a:gd name="connsiteX546" fmla="*/ 5754709 w 7467600"/>
              <a:gd name="connsiteY546" fmla="*/ 2071454 h 6858000"/>
              <a:gd name="connsiteX547" fmla="*/ 5763044 w 7467600"/>
              <a:gd name="connsiteY547" fmla="*/ 2842206 h 6858000"/>
              <a:gd name="connsiteX548" fmla="*/ 5764974 w 7467600"/>
              <a:gd name="connsiteY548" fmla="*/ 2799609 h 6858000"/>
              <a:gd name="connsiteX549" fmla="*/ 5767665 w 7467600"/>
              <a:gd name="connsiteY549" fmla="*/ 2666409 h 6858000"/>
              <a:gd name="connsiteX550" fmla="*/ 5763055 w 7467600"/>
              <a:gd name="connsiteY550" fmla="*/ 2579705 h 6858000"/>
              <a:gd name="connsiteX551" fmla="*/ 5758079 w 7467600"/>
              <a:gd name="connsiteY551" fmla="*/ 2492508 h 6858000"/>
              <a:gd name="connsiteX552" fmla="*/ 5779325 w 7467600"/>
              <a:gd name="connsiteY552" fmla="*/ 2197069 h 6858000"/>
              <a:gd name="connsiteX553" fmla="*/ 5798671 w 7467600"/>
              <a:gd name="connsiteY553" fmla="*/ 1981601 h 6858000"/>
              <a:gd name="connsiteX554" fmla="*/ 5829202 w 7467600"/>
              <a:gd name="connsiteY554" fmla="*/ 1971679 h 6858000"/>
              <a:gd name="connsiteX555" fmla="*/ 5809558 w 7467600"/>
              <a:gd name="connsiteY555" fmla="*/ 2198043 h 6858000"/>
              <a:gd name="connsiteX556" fmla="*/ 5788653 w 7467600"/>
              <a:gd name="connsiteY556" fmla="*/ 2489430 h 6858000"/>
              <a:gd name="connsiteX557" fmla="*/ 5793439 w 7467600"/>
              <a:gd name="connsiteY557" fmla="*/ 2575235 h 6858000"/>
              <a:gd name="connsiteX558" fmla="*/ 5796837 w 7467600"/>
              <a:gd name="connsiteY558" fmla="*/ 2637633 h 6858000"/>
              <a:gd name="connsiteX559" fmla="*/ 5818614 w 7467600"/>
              <a:gd name="connsiteY559" fmla="*/ 2473055 h 6858000"/>
              <a:gd name="connsiteX560" fmla="*/ 5829202 w 7467600"/>
              <a:gd name="connsiteY560" fmla="*/ 1971679 h 6858000"/>
              <a:gd name="connsiteX561" fmla="*/ 5911389 w 7467600"/>
              <a:gd name="connsiteY561" fmla="*/ 1898371 h 6858000"/>
              <a:gd name="connsiteX562" fmla="*/ 6237627 w 7467600"/>
              <a:gd name="connsiteY562" fmla="*/ 2231921 h 6858000"/>
              <a:gd name="connsiteX563" fmla="*/ 5911389 w 7467600"/>
              <a:gd name="connsiteY563" fmla="*/ 1898371 h 6858000"/>
              <a:gd name="connsiteX564" fmla="*/ 6944437 w 7467600"/>
              <a:gd name="connsiteY564" fmla="*/ 1575402 h 6858000"/>
              <a:gd name="connsiteX565" fmla="*/ 6304730 w 7467600"/>
              <a:gd name="connsiteY565" fmla="*/ 1766654 h 6858000"/>
              <a:gd name="connsiteX566" fmla="*/ 6944437 w 7467600"/>
              <a:gd name="connsiteY566" fmla="*/ 1575402 h 6858000"/>
              <a:gd name="connsiteX567" fmla="*/ 7019523 w 7467600"/>
              <a:gd name="connsiteY567" fmla="*/ 1519450 h 6858000"/>
              <a:gd name="connsiteX568" fmla="*/ 6298091 w 7467600"/>
              <a:gd name="connsiteY568" fmla="*/ 1737122 h 6858000"/>
              <a:gd name="connsiteX569" fmla="*/ 7019523 w 7467600"/>
              <a:gd name="connsiteY569" fmla="*/ 1519450 h 6858000"/>
              <a:gd name="connsiteX570" fmla="*/ 2399523 w 7467600"/>
              <a:gd name="connsiteY570" fmla="*/ 1428234 h 6858000"/>
              <a:gd name="connsiteX571" fmla="*/ 2224982 w 7467600"/>
              <a:gd name="connsiteY571" fmla="*/ 1826201 h 6858000"/>
              <a:gd name="connsiteX572" fmla="*/ 2096099 w 7467600"/>
              <a:gd name="connsiteY572" fmla="*/ 2345900 h 6858000"/>
              <a:gd name="connsiteX573" fmla="*/ 2283317 w 7467600"/>
              <a:gd name="connsiteY573" fmla="*/ 1796925 h 6858000"/>
              <a:gd name="connsiteX574" fmla="*/ 2399523 w 7467600"/>
              <a:gd name="connsiteY574" fmla="*/ 1428234 h 6858000"/>
              <a:gd name="connsiteX575" fmla="*/ 2448558 w 7467600"/>
              <a:gd name="connsiteY575" fmla="*/ 1373435 h 6858000"/>
              <a:gd name="connsiteX576" fmla="*/ 2312521 w 7467600"/>
              <a:gd name="connsiteY576" fmla="*/ 1806140 h 6858000"/>
              <a:gd name="connsiteX577" fmla="*/ 2127533 w 7467600"/>
              <a:gd name="connsiteY577" fmla="*/ 2348380 h 6858000"/>
              <a:gd name="connsiteX578" fmla="*/ 2358080 w 7467600"/>
              <a:gd name="connsiteY578" fmla="*/ 1866134 h 6858000"/>
              <a:gd name="connsiteX579" fmla="*/ 2407436 w 7467600"/>
              <a:gd name="connsiteY579" fmla="*/ 1651070 h 6858000"/>
              <a:gd name="connsiteX580" fmla="*/ 2448558 w 7467600"/>
              <a:gd name="connsiteY580" fmla="*/ 1373435 h 6858000"/>
              <a:gd name="connsiteX581" fmla="*/ 278707 w 7467600"/>
              <a:gd name="connsiteY581" fmla="*/ 1352270 h 6858000"/>
              <a:gd name="connsiteX582" fmla="*/ 321570 w 7467600"/>
              <a:gd name="connsiteY582" fmla="*/ 1861610 h 6858000"/>
              <a:gd name="connsiteX583" fmla="*/ 294281 w 7467600"/>
              <a:gd name="connsiteY583" fmla="*/ 1440658 h 6858000"/>
              <a:gd name="connsiteX584" fmla="*/ 278707 w 7467600"/>
              <a:gd name="connsiteY584" fmla="*/ 1352270 h 6858000"/>
              <a:gd name="connsiteX585" fmla="*/ 1423821 w 7467600"/>
              <a:gd name="connsiteY585" fmla="*/ 1351958 h 6858000"/>
              <a:gd name="connsiteX586" fmla="*/ 1638521 w 7467600"/>
              <a:gd name="connsiteY586" fmla="*/ 1908470 h 6858000"/>
              <a:gd name="connsiteX587" fmla="*/ 1754199 w 7467600"/>
              <a:gd name="connsiteY587" fmla="*/ 2149284 h 6858000"/>
              <a:gd name="connsiteX588" fmla="*/ 1908359 w 7467600"/>
              <a:gd name="connsiteY588" fmla="*/ 2364988 h 6858000"/>
              <a:gd name="connsiteX589" fmla="*/ 1647661 w 7467600"/>
              <a:gd name="connsiteY589" fmla="*/ 1825945 h 6858000"/>
              <a:gd name="connsiteX590" fmla="*/ 1423821 w 7467600"/>
              <a:gd name="connsiteY590" fmla="*/ 1351958 h 6858000"/>
              <a:gd name="connsiteX591" fmla="*/ 1431890 w 7467600"/>
              <a:gd name="connsiteY591" fmla="*/ 1306475 h 6858000"/>
              <a:gd name="connsiteX592" fmla="*/ 1507597 w 7467600"/>
              <a:gd name="connsiteY592" fmla="*/ 1446132 h 6858000"/>
              <a:gd name="connsiteX593" fmla="*/ 1674586 w 7467600"/>
              <a:gd name="connsiteY593" fmla="*/ 1813832 h 6858000"/>
              <a:gd name="connsiteX594" fmla="*/ 1815950 w 7467600"/>
              <a:gd name="connsiteY594" fmla="*/ 2128564 h 6858000"/>
              <a:gd name="connsiteX595" fmla="*/ 1984242 w 7467600"/>
              <a:gd name="connsiteY595" fmla="*/ 2430829 h 6858000"/>
              <a:gd name="connsiteX596" fmla="*/ 2014023 w 7467600"/>
              <a:gd name="connsiteY596" fmla="*/ 2450995 h 6858000"/>
              <a:gd name="connsiteX597" fmla="*/ 1747337 w 7467600"/>
              <a:gd name="connsiteY597" fmla="*/ 1855264 h 6858000"/>
              <a:gd name="connsiteX598" fmla="*/ 1533749 w 7467600"/>
              <a:gd name="connsiteY598" fmla="*/ 1478656 h 6858000"/>
              <a:gd name="connsiteX599" fmla="*/ 1431890 w 7467600"/>
              <a:gd name="connsiteY599" fmla="*/ 1306475 h 6858000"/>
              <a:gd name="connsiteX600" fmla="*/ 5052692 w 7467600"/>
              <a:gd name="connsiteY600" fmla="*/ 1292994 h 6858000"/>
              <a:gd name="connsiteX601" fmla="*/ 5200661 w 7467600"/>
              <a:gd name="connsiteY601" fmla="*/ 1635186 h 6858000"/>
              <a:gd name="connsiteX602" fmla="*/ 5297138 w 7467600"/>
              <a:gd name="connsiteY602" fmla="*/ 1906351 h 6858000"/>
              <a:gd name="connsiteX603" fmla="*/ 5052692 w 7467600"/>
              <a:gd name="connsiteY603" fmla="*/ 1292994 h 6858000"/>
              <a:gd name="connsiteX604" fmla="*/ 5009948 w 7467600"/>
              <a:gd name="connsiteY604" fmla="*/ 1273619 h 6858000"/>
              <a:gd name="connsiteX605" fmla="*/ 5121777 w 7467600"/>
              <a:gd name="connsiteY605" fmla="*/ 1654213 h 6858000"/>
              <a:gd name="connsiteX606" fmla="*/ 5293545 w 7467600"/>
              <a:gd name="connsiteY606" fmla="*/ 2072247 h 6858000"/>
              <a:gd name="connsiteX607" fmla="*/ 5294042 w 7467600"/>
              <a:gd name="connsiteY607" fmla="*/ 2065019 h 6858000"/>
              <a:gd name="connsiteX608" fmla="*/ 5171936 w 7467600"/>
              <a:gd name="connsiteY608" fmla="*/ 1647613 h 6858000"/>
              <a:gd name="connsiteX609" fmla="*/ 5009948 w 7467600"/>
              <a:gd name="connsiteY609" fmla="*/ 1273619 h 6858000"/>
              <a:gd name="connsiteX610" fmla="*/ 655236 w 7467600"/>
              <a:gd name="connsiteY610" fmla="*/ 1268632 h 6858000"/>
              <a:gd name="connsiteX611" fmla="*/ 839521 w 7467600"/>
              <a:gd name="connsiteY611" fmla="*/ 1685315 h 6858000"/>
              <a:gd name="connsiteX612" fmla="*/ 1109416 w 7467600"/>
              <a:gd name="connsiteY612" fmla="*/ 2061663 h 6858000"/>
              <a:gd name="connsiteX613" fmla="*/ 1298300 w 7467600"/>
              <a:gd name="connsiteY613" fmla="*/ 2247742 h 6858000"/>
              <a:gd name="connsiteX614" fmla="*/ 1125871 w 7467600"/>
              <a:gd name="connsiteY614" fmla="*/ 1989513 h 6858000"/>
              <a:gd name="connsiteX615" fmla="*/ 981574 w 7467600"/>
              <a:gd name="connsiteY615" fmla="*/ 1783157 h 6858000"/>
              <a:gd name="connsiteX616" fmla="*/ 922198 w 7467600"/>
              <a:gd name="connsiteY616" fmla="*/ 1677437 h 6858000"/>
              <a:gd name="connsiteX617" fmla="*/ 869293 w 7467600"/>
              <a:gd name="connsiteY617" fmla="*/ 1583214 h 6858000"/>
              <a:gd name="connsiteX618" fmla="*/ 751431 w 7467600"/>
              <a:gd name="connsiteY618" fmla="*/ 1405731 h 6858000"/>
              <a:gd name="connsiteX619" fmla="*/ 655236 w 7467600"/>
              <a:gd name="connsiteY619" fmla="*/ 1268632 h 6858000"/>
              <a:gd name="connsiteX620" fmla="*/ 6516292 w 7467600"/>
              <a:gd name="connsiteY620" fmla="*/ 1263064 h 6858000"/>
              <a:gd name="connsiteX621" fmla="*/ 5736320 w 7467600"/>
              <a:gd name="connsiteY621" fmla="*/ 1501803 h 6858000"/>
              <a:gd name="connsiteX622" fmla="*/ 6516292 w 7467600"/>
              <a:gd name="connsiteY622" fmla="*/ 1263064 h 6858000"/>
              <a:gd name="connsiteX623" fmla="*/ 291466 w 7467600"/>
              <a:gd name="connsiteY623" fmla="*/ 1250369 h 6858000"/>
              <a:gd name="connsiteX624" fmla="*/ 323180 w 7467600"/>
              <a:gd name="connsiteY624" fmla="*/ 1435283 h 6858000"/>
              <a:gd name="connsiteX625" fmla="*/ 349381 w 7467600"/>
              <a:gd name="connsiteY625" fmla="*/ 1875041 h 6858000"/>
              <a:gd name="connsiteX626" fmla="*/ 374363 w 7467600"/>
              <a:gd name="connsiteY626" fmla="*/ 1506494 h 6858000"/>
              <a:gd name="connsiteX627" fmla="*/ 302168 w 7467600"/>
              <a:gd name="connsiteY627" fmla="*/ 1274495 h 6858000"/>
              <a:gd name="connsiteX628" fmla="*/ 291466 w 7467600"/>
              <a:gd name="connsiteY628" fmla="*/ 1250369 h 6858000"/>
              <a:gd name="connsiteX629" fmla="*/ 678222 w 7467600"/>
              <a:gd name="connsiteY629" fmla="*/ 1248670 h 6858000"/>
              <a:gd name="connsiteX630" fmla="*/ 775536 w 7467600"/>
              <a:gd name="connsiteY630" fmla="*/ 1388015 h 6858000"/>
              <a:gd name="connsiteX631" fmla="*/ 894529 w 7467600"/>
              <a:gd name="connsiteY631" fmla="*/ 1567739 h 6858000"/>
              <a:gd name="connsiteX632" fmla="*/ 948000 w 7467600"/>
              <a:gd name="connsiteY632" fmla="*/ 1663088 h 6858000"/>
              <a:gd name="connsiteX633" fmla="*/ 1006812 w 7467600"/>
              <a:gd name="connsiteY633" fmla="*/ 1767683 h 6858000"/>
              <a:gd name="connsiteX634" fmla="*/ 1149133 w 7467600"/>
              <a:gd name="connsiteY634" fmla="*/ 1971513 h 6858000"/>
              <a:gd name="connsiteX635" fmla="*/ 1333952 w 7467600"/>
              <a:gd name="connsiteY635" fmla="*/ 2251620 h 6858000"/>
              <a:gd name="connsiteX636" fmla="*/ 1337329 w 7467600"/>
              <a:gd name="connsiteY636" fmla="*/ 2258350 h 6858000"/>
              <a:gd name="connsiteX637" fmla="*/ 1014726 w 7467600"/>
              <a:gd name="connsiteY637" fmla="*/ 1615556 h 6858000"/>
              <a:gd name="connsiteX638" fmla="*/ 678222 w 7467600"/>
              <a:gd name="connsiteY638" fmla="*/ 1248670 h 6858000"/>
              <a:gd name="connsiteX639" fmla="*/ 6691602 w 7467600"/>
              <a:gd name="connsiteY639" fmla="*/ 1140573 h 6858000"/>
              <a:gd name="connsiteX640" fmla="*/ 6571100 w 7467600"/>
              <a:gd name="connsiteY640" fmla="*/ 1183662 h 6858000"/>
              <a:gd name="connsiteX641" fmla="*/ 6241687 w 7467600"/>
              <a:gd name="connsiteY641" fmla="*/ 1257600 h 6858000"/>
              <a:gd name="connsiteX642" fmla="*/ 5693009 w 7467600"/>
              <a:gd name="connsiteY642" fmla="*/ 1478256 h 6858000"/>
              <a:gd name="connsiteX643" fmla="*/ 6548420 w 7467600"/>
              <a:gd name="connsiteY643" fmla="*/ 1214599 h 6858000"/>
              <a:gd name="connsiteX644" fmla="*/ 6605473 w 7467600"/>
              <a:gd name="connsiteY644" fmla="*/ 1184686 h 6858000"/>
              <a:gd name="connsiteX645" fmla="*/ 6691602 w 7467600"/>
              <a:gd name="connsiteY645" fmla="*/ 1140573 h 6858000"/>
              <a:gd name="connsiteX646" fmla="*/ 4002475 w 7467600"/>
              <a:gd name="connsiteY646" fmla="*/ 1037802 h 6858000"/>
              <a:gd name="connsiteX647" fmla="*/ 4000324 w 7467600"/>
              <a:gd name="connsiteY647" fmla="*/ 1039362 h 6858000"/>
              <a:gd name="connsiteX648" fmla="*/ 4002862 w 7467600"/>
              <a:gd name="connsiteY648" fmla="*/ 1042866 h 6858000"/>
              <a:gd name="connsiteX649" fmla="*/ 4002475 w 7467600"/>
              <a:gd name="connsiteY649" fmla="*/ 1037802 h 6858000"/>
              <a:gd name="connsiteX650" fmla="*/ 506322 w 7467600"/>
              <a:gd name="connsiteY650" fmla="*/ 1020997 h 6858000"/>
              <a:gd name="connsiteX651" fmla="*/ 533068 w 7467600"/>
              <a:gd name="connsiteY651" fmla="*/ 1029409 h 6858000"/>
              <a:gd name="connsiteX652" fmla="*/ 1232525 w 7467600"/>
              <a:gd name="connsiteY652" fmla="*/ 1804675 h 6858000"/>
              <a:gd name="connsiteX653" fmla="*/ 1388858 w 7467600"/>
              <a:gd name="connsiteY653" fmla="*/ 2368011 h 6858000"/>
              <a:gd name="connsiteX654" fmla="*/ 1384098 w 7467600"/>
              <a:gd name="connsiteY654" fmla="*/ 2378125 h 6858000"/>
              <a:gd name="connsiteX655" fmla="*/ 1425393 w 7467600"/>
              <a:gd name="connsiteY655" fmla="*/ 2589124 h 6858000"/>
              <a:gd name="connsiteX656" fmla="*/ 1424001 w 7467600"/>
              <a:gd name="connsiteY656" fmla="*/ 2597541 h 6858000"/>
              <a:gd name="connsiteX657" fmla="*/ 2152729 w 7467600"/>
              <a:gd name="connsiteY657" fmla="*/ 2864487 h 6858000"/>
              <a:gd name="connsiteX658" fmla="*/ 2020609 w 7467600"/>
              <a:gd name="connsiteY658" fmla="*/ 2539671 h 6858000"/>
              <a:gd name="connsiteX659" fmla="*/ 2018920 w 7467600"/>
              <a:gd name="connsiteY659" fmla="*/ 2536309 h 6858000"/>
              <a:gd name="connsiteX660" fmla="*/ 1342441 w 7467600"/>
              <a:gd name="connsiteY660" fmla="*/ 1173017 h 6858000"/>
              <a:gd name="connsiteX661" fmla="*/ 1367925 w 7467600"/>
              <a:gd name="connsiteY661" fmla="*/ 1135648 h 6858000"/>
              <a:gd name="connsiteX662" fmla="*/ 1771401 w 7467600"/>
              <a:gd name="connsiteY662" fmla="*/ 1806673 h 6858000"/>
              <a:gd name="connsiteX663" fmla="*/ 1972385 w 7467600"/>
              <a:gd name="connsiteY663" fmla="*/ 2198735 h 6858000"/>
              <a:gd name="connsiteX664" fmla="*/ 2040892 w 7467600"/>
              <a:gd name="connsiteY664" fmla="*/ 2405205 h 6858000"/>
              <a:gd name="connsiteX665" fmla="*/ 2131689 w 7467600"/>
              <a:gd name="connsiteY665" fmla="*/ 1936926 h 6858000"/>
              <a:gd name="connsiteX666" fmla="*/ 2454820 w 7467600"/>
              <a:gd name="connsiteY666" fmla="*/ 1248808 h 6858000"/>
              <a:gd name="connsiteX667" fmla="*/ 2492512 w 7467600"/>
              <a:gd name="connsiteY667" fmla="*/ 1302920 h 6858000"/>
              <a:gd name="connsiteX668" fmla="*/ 2081216 w 7467600"/>
              <a:gd name="connsiteY668" fmla="*/ 2527513 h 6858000"/>
              <a:gd name="connsiteX669" fmla="*/ 2081211 w 7467600"/>
              <a:gd name="connsiteY669" fmla="*/ 2528916 h 6858000"/>
              <a:gd name="connsiteX670" fmla="*/ 2199067 w 7467600"/>
              <a:gd name="connsiteY670" fmla="*/ 2884061 h 6858000"/>
              <a:gd name="connsiteX671" fmla="*/ 3192586 w 7467600"/>
              <a:gd name="connsiteY671" fmla="*/ 3411496 h 6858000"/>
              <a:gd name="connsiteX672" fmla="*/ 3182620 w 7467600"/>
              <a:gd name="connsiteY672" fmla="*/ 3483279 h 6858000"/>
              <a:gd name="connsiteX673" fmla="*/ 2435119 w 7467600"/>
              <a:gd name="connsiteY673" fmla="*/ 3080173 h 6858000"/>
              <a:gd name="connsiteX674" fmla="*/ 2410152 w 7467600"/>
              <a:gd name="connsiteY674" fmla="*/ 3063751 h 6858000"/>
              <a:gd name="connsiteX675" fmla="*/ 2408099 w 7467600"/>
              <a:gd name="connsiteY675" fmla="*/ 3064403 h 6858000"/>
              <a:gd name="connsiteX676" fmla="*/ 2407218 w 7467600"/>
              <a:gd name="connsiteY676" fmla="*/ 3070324 h 6858000"/>
              <a:gd name="connsiteX677" fmla="*/ 2380138 w 7467600"/>
              <a:gd name="connsiteY677" fmla="*/ 3099341 h 6858000"/>
              <a:gd name="connsiteX678" fmla="*/ 1765923 w 7467600"/>
              <a:gd name="connsiteY678" fmla="*/ 3581043 h 6858000"/>
              <a:gd name="connsiteX679" fmla="*/ 1702258 w 7467600"/>
              <a:gd name="connsiteY679" fmla="*/ 3612286 h 6858000"/>
              <a:gd name="connsiteX680" fmla="*/ 1538370 w 7467600"/>
              <a:gd name="connsiteY680" fmla="*/ 3811804 h 6858000"/>
              <a:gd name="connsiteX681" fmla="*/ 542867 w 7467600"/>
              <a:gd name="connsiteY681" fmla="*/ 4944092 h 6858000"/>
              <a:gd name="connsiteX682" fmla="*/ 515800 w 7467600"/>
              <a:gd name="connsiteY682" fmla="*/ 4862180 h 6858000"/>
              <a:gd name="connsiteX683" fmla="*/ 909145 w 7467600"/>
              <a:gd name="connsiteY683" fmla="*/ 4199225 h 6858000"/>
              <a:gd name="connsiteX684" fmla="*/ 1214067 w 7467600"/>
              <a:gd name="connsiteY684" fmla="*/ 3908561 h 6858000"/>
              <a:gd name="connsiteX685" fmla="*/ 640967 w 7467600"/>
              <a:gd name="connsiteY685" fmla="*/ 4105601 h 6858000"/>
              <a:gd name="connsiteX686" fmla="*/ 112563 w 7467600"/>
              <a:gd name="connsiteY686" fmla="*/ 4396952 h 6858000"/>
              <a:gd name="connsiteX687" fmla="*/ 0 w 7467600"/>
              <a:gd name="connsiteY687" fmla="*/ 4466006 h 6858000"/>
              <a:gd name="connsiteX688" fmla="*/ 0 w 7467600"/>
              <a:gd name="connsiteY688" fmla="*/ 4233763 h 6858000"/>
              <a:gd name="connsiteX689" fmla="*/ 36881 w 7467600"/>
              <a:gd name="connsiteY689" fmla="*/ 4200118 h 6858000"/>
              <a:gd name="connsiteX690" fmla="*/ 910534 w 7467600"/>
              <a:gd name="connsiteY690" fmla="*/ 3629753 h 6858000"/>
              <a:gd name="connsiteX691" fmla="*/ 1578717 w 7467600"/>
              <a:gd name="connsiteY691" fmla="*/ 3575982 h 6858000"/>
              <a:gd name="connsiteX692" fmla="*/ 2338780 w 7467600"/>
              <a:gd name="connsiteY692" fmla="*/ 3033725 h 6858000"/>
              <a:gd name="connsiteX693" fmla="*/ 1807991 w 7467600"/>
              <a:gd name="connsiteY693" fmla="*/ 2807184 h 6858000"/>
              <a:gd name="connsiteX694" fmla="*/ 1416358 w 7467600"/>
              <a:gd name="connsiteY694" fmla="*/ 3112571 h 6858000"/>
              <a:gd name="connsiteX695" fmla="*/ 939066 w 7467600"/>
              <a:gd name="connsiteY695" fmla="*/ 3378798 h 6858000"/>
              <a:gd name="connsiteX696" fmla="*/ 115099 w 7467600"/>
              <a:gd name="connsiteY696" fmla="*/ 3607650 h 6858000"/>
              <a:gd name="connsiteX697" fmla="*/ 97284 w 7467600"/>
              <a:gd name="connsiteY697" fmla="*/ 3520393 h 6858000"/>
              <a:gd name="connsiteX698" fmla="*/ 922050 w 7467600"/>
              <a:gd name="connsiteY698" fmla="*/ 3074867 h 6858000"/>
              <a:gd name="connsiteX699" fmla="*/ 1405265 w 7467600"/>
              <a:gd name="connsiteY699" fmla="*/ 3016319 h 6858000"/>
              <a:gd name="connsiteX700" fmla="*/ 1407512 w 7467600"/>
              <a:gd name="connsiteY700" fmla="*/ 3018001 h 6858000"/>
              <a:gd name="connsiteX701" fmla="*/ 1726266 w 7467600"/>
              <a:gd name="connsiteY701" fmla="*/ 2777274 h 6858000"/>
              <a:gd name="connsiteX702" fmla="*/ 625390 w 7467600"/>
              <a:gd name="connsiteY702" fmla="*/ 2514541 h 6858000"/>
              <a:gd name="connsiteX703" fmla="*/ 619799 w 7467600"/>
              <a:gd name="connsiteY703" fmla="*/ 2527180 h 6858000"/>
              <a:gd name="connsiteX704" fmla="*/ 310030 w 7467600"/>
              <a:gd name="connsiteY704" fmla="*/ 2771818 h 6858000"/>
              <a:gd name="connsiteX705" fmla="*/ 173877 w 7467600"/>
              <a:gd name="connsiteY705" fmla="*/ 2937056 h 6858000"/>
              <a:gd name="connsiteX706" fmla="*/ 77889 w 7467600"/>
              <a:gd name="connsiteY706" fmla="*/ 3138440 h 6858000"/>
              <a:gd name="connsiteX707" fmla="*/ 0 w 7467600"/>
              <a:gd name="connsiteY707" fmla="*/ 3271395 h 6858000"/>
              <a:gd name="connsiteX708" fmla="*/ 0 w 7467600"/>
              <a:gd name="connsiteY708" fmla="*/ 3153002 h 6858000"/>
              <a:gd name="connsiteX709" fmla="*/ 2386 w 7467600"/>
              <a:gd name="connsiteY709" fmla="*/ 3149203 h 6858000"/>
              <a:gd name="connsiteX710" fmla="*/ 89753 w 7467600"/>
              <a:gd name="connsiteY710" fmla="*/ 2987702 h 6858000"/>
              <a:gd name="connsiteX711" fmla="*/ 76869 w 7467600"/>
              <a:gd name="connsiteY711" fmla="*/ 3005404 h 6858000"/>
              <a:gd name="connsiteX712" fmla="*/ 32049 w 7467600"/>
              <a:gd name="connsiteY712" fmla="*/ 3065814 h 6858000"/>
              <a:gd name="connsiteX713" fmla="*/ 0 w 7467600"/>
              <a:gd name="connsiteY713" fmla="*/ 3108744 h 6858000"/>
              <a:gd name="connsiteX714" fmla="*/ 0 w 7467600"/>
              <a:gd name="connsiteY714" fmla="*/ 3058059 h 6858000"/>
              <a:gd name="connsiteX715" fmla="*/ 7610 w 7467600"/>
              <a:gd name="connsiteY715" fmla="*/ 3047889 h 6858000"/>
              <a:gd name="connsiteX716" fmla="*/ 52419 w 7467600"/>
              <a:gd name="connsiteY716" fmla="*/ 2987479 h 6858000"/>
              <a:gd name="connsiteX717" fmla="*/ 59142 w 7467600"/>
              <a:gd name="connsiteY717" fmla="*/ 2978488 h 6858000"/>
              <a:gd name="connsiteX718" fmla="*/ 0 w 7467600"/>
              <a:gd name="connsiteY718" fmla="*/ 3015334 h 6858000"/>
              <a:gd name="connsiteX719" fmla="*/ 0 w 7467600"/>
              <a:gd name="connsiteY719" fmla="*/ 2914286 h 6858000"/>
              <a:gd name="connsiteX720" fmla="*/ 36383 w 7467600"/>
              <a:gd name="connsiteY720" fmla="*/ 2901128 h 6858000"/>
              <a:gd name="connsiteX721" fmla="*/ 156329 w 7467600"/>
              <a:gd name="connsiteY721" fmla="*/ 2840533 h 6858000"/>
              <a:gd name="connsiteX722" fmla="*/ 358355 w 7467600"/>
              <a:gd name="connsiteY722" fmla="*/ 2620471 h 6858000"/>
              <a:gd name="connsiteX723" fmla="*/ 510577 w 7467600"/>
              <a:gd name="connsiteY723" fmla="*/ 2501244 h 6858000"/>
              <a:gd name="connsiteX724" fmla="*/ 211967 w 7467600"/>
              <a:gd name="connsiteY724" fmla="*/ 2479171 h 6858000"/>
              <a:gd name="connsiteX725" fmla="*/ 0 w 7467600"/>
              <a:gd name="connsiteY725" fmla="*/ 2476398 h 6858000"/>
              <a:gd name="connsiteX726" fmla="*/ 0 w 7467600"/>
              <a:gd name="connsiteY726" fmla="*/ 2389189 h 6858000"/>
              <a:gd name="connsiteX727" fmla="*/ 103062 w 7467600"/>
              <a:gd name="connsiteY727" fmla="*/ 2389518 h 6858000"/>
              <a:gd name="connsiteX728" fmla="*/ 510734 w 7467600"/>
              <a:gd name="connsiteY728" fmla="*/ 2416201 h 6858000"/>
              <a:gd name="connsiteX729" fmla="*/ 279257 w 7467600"/>
              <a:gd name="connsiteY729" fmla="*/ 2092102 h 6858000"/>
              <a:gd name="connsiteX730" fmla="*/ 65265 w 7467600"/>
              <a:gd name="connsiteY730" fmla="*/ 2006049 h 6858000"/>
              <a:gd name="connsiteX731" fmla="*/ 0 w 7467600"/>
              <a:gd name="connsiteY731" fmla="*/ 1982532 h 6858000"/>
              <a:gd name="connsiteX732" fmla="*/ 0 w 7467600"/>
              <a:gd name="connsiteY732" fmla="*/ 1912789 h 6858000"/>
              <a:gd name="connsiteX733" fmla="*/ 97460 w 7467600"/>
              <a:gd name="connsiteY733" fmla="*/ 1953725 h 6858000"/>
              <a:gd name="connsiteX734" fmla="*/ 221272 w 7467600"/>
              <a:gd name="connsiteY734" fmla="*/ 1980766 h 6858000"/>
              <a:gd name="connsiteX735" fmla="*/ 116765 w 7467600"/>
              <a:gd name="connsiteY735" fmla="*/ 1911033 h 6858000"/>
              <a:gd name="connsiteX736" fmla="*/ 16405 w 7467600"/>
              <a:gd name="connsiteY736" fmla="*/ 1803412 h 6858000"/>
              <a:gd name="connsiteX737" fmla="*/ 0 w 7467600"/>
              <a:gd name="connsiteY737" fmla="*/ 1784777 h 6858000"/>
              <a:gd name="connsiteX738" fmla="*/ 0 w 7467600"/>
              <a:gd name="connsiteY738" fmla="*/ 1740082 h 6858000"/>
              <a:gd name="connsiteX739" fmla="*/ 39394 w 7467600"/>
              <a:gd name="connsiteY739" fmla="*/ 1784856 h 6858000"/>
              <a:gd name="connsiteX740" fmla="*/ 135813 w 7467600"/>
              <a:gd name="connsiteY740" fmla="*/ 1888838 h 6858000"/>
              <a:gd name="connsiteX741" fmla="*/ 242575 w 7467600"/>
              <a:gd name="connsiteY741" fmla="*/ 1958841 h 6858000"/>
              <a:gd name="connsiteX742" fmla="*/ 82197 w 7467600"/>
              <a:gd name="connsiteY742" fmla="*/ 1754826 h 6858000"/>
              <a:gd name="connsiteX743" fmla="*/ 0 w 7467600"/>
              <a:gd name="connsiteY743" fmla="*/ 1679650 h 6858000"/>
              <a:gd name="connsiteX744" fmla="*/ 0 w 7467600"/>
              <a:gd name="connsiteY744" fmla="*/ 1602463 h 6858000"/>
              <a:gd name="connsiteX745" fmla="*/ 84689 w 7467600"/>
              <a:gd name="connsiteY745" fmla="*/ 1677442 h 6858000"/>
              <a:gd name="connsiteX746" fmla="*/ 298437 w 7467600"/>
              <a:gd name="connsiteY746" fmla="*/ 1968019 h 6858000"/>
              <a:gd name="connsiteX747" fmla="*/ 227269 w 7467600"/>
              <a:gd name="connsiteY747" fmla="*/ 1114064 h 6858000"/>
              <a:gd name="connsiteX748" fmla="*/ 248003 w 7467600"/>
              <a:gd name="connsiteY748" fmla="*/ 1089613 h 6858000"/>
              <a:gd name="connsiteX749" fmla="*/ 427020 w 7467600"/>
              <a:gd name="connsiteY749" fmla="*/ 1619803 h 6858000"/>
              <a:gd name="connsiteX750" fmla="*/ 340345 w 7467600"/>
              <a:gd name="connsiteY750" fmla="*/ 2027739 h 6858000"/>
              <a:gd name="connsiteX751" fmla="*/ 360865 w 7467600"/>
              <a:gd name="connsiteY751" fmla="*/ 2044827 h 6858000"/>
              <a:gd name="connsiteX752" fmla="*/ 560414 w 7467600"/>
              <a:gd name="connsiteY752" fmla="*/ 2421457 h 6858000"/>
              <a:gd name="connsiteX753" fmla="*/ 1359703 w 7467600"/>
              <a:gd name="connsiteY753" fmla="*/ 2578554 h 6858000"/>
              <a:gd name="connsiteX754" fmla="*/ 1359422 w 7467600"/>
              <a:gd name="connsiteY754" fmla="*/ 2577994 h 6858000"/>
              <a:gd name="connsiteX755" fmla="*/ 828701 w 7467600"/>
              <a:gd name="connsiteY755" fmla="*/ 1839520 h 6858000"/>
              <a:gd name="connsiteX756" fmla="*/ 494427 w 7467600"/>
              <a:gd name="connsiteY756" fmla="*/ 1092333 h 6858000"/>
              <a:gd name="connsiteX757" fmla="*/ 506322 w 7467600"/>
              <a:gd name="connsiteY757" fmla="*/ 1020997 h 6858000"/>
              <a:gd name="connsiteX758" fmla="*/ 4570198 w 7467600"/>
              <a:gd name="connsiteY758" fmla="*/ 978081 h 6858000"/>
              <a:gd name="connsiteX759" fmla="*/ 4523691 w 7467600"/>
              <a:gd name="connsiteY759" fmla="*/ 1127776 h 6858000"/>
              <a:gd name="connsiteX760" fmla="*/ 4509875 w 7467600"/>
              <a:gd name="connsiteY760" fmla="*/ 1167552 h 6858000"/>
              <a:gd name="connsiteX761" fmla="*/ 4478168 w 7467600"/>
              <a:gd name="connsiteY761" fmla="*/ 1260735 h 6858000"/>
              <a:gd name="connsiteX762" fmla="*/ 4409309 w 7467600"/>
              <a:gd name="connsiteY762" fmla="*/ 1666996 h 6858000"/>
              <a:gd name="connsiteX763" fmla="*/ 4370031 w 7467600"/>
              <a:gd name="connsiteY763" fmla="*/ 1955666 h 6858000"/>
              <a:gd name="connsiteX764" fmla="*/ 4570198 w 7467600"/>
              <a:gd name="connsiteY764" fmla="*/ 978081 h 6858000"/>
              <a:gd name="connsiteX765" fmla="*/ 4557898 w 7467600"/>
              <a:gd name="connsiteY765" fmla="*/ 900011 h 6858000"/>
              <a:gd name="connsiteX766" fmla="*/ 4344840 w 7467600"/>
              <a:gd name="connsiteY766" fmla="*/ 1922038 h 6858000"/>
              <a:gd name="connsiteX767" fmla="*/ 4378710 w 7467600"/>
              <a:gd name="connsiteY767" fmla="*/ 1665516 h 6858000"/>
              <a:gd name="connsiteX768" fmla="*/ 4448798 w 7467600"/>
              <a:gd name="connsiteY768" fmla="*/ 1253024 h 6858000"/>
              <a:gd name="connsiteX769" fmla="*/ 4480315 w 7467600"/>
              <a:gd name="connsiteY769" fmla="*/ 1158454 h 6858000"/>
              <a:gd name="connsiteX770" fmla="*/ 4494133 w 7467600"/>
              <a:gd name="connsiteY770" fmla="*/ 1118676 h 6858000"/>
              <a:gd name="connsiteX771" fmla="*/ 4557898 w 7467600"/>
              <a:gd name="connsiteY771" fmla="*/ 900011 h 6858000"/>
              <a:gd name="connsiteX772" fmla="*/ 5870151 w 7467600"/>
              <a:gd name="connsiteY772" fmla="*/ 898890 h 6858000"/>
              <a:gd name="connsiteX773" fmla="*/ 5861335 w 7467600"/>
              <a:gd name="connsiteY773" fmla="*/ 899177 h 6858000"/>
              <a:gd name="connsiteX774" fmla="*/ 5843702 w 7467600"/>
              <a:gd name="connsiteY774" fmla="*/ 899748 h 6858000"/>
              <a:gd name="connsiteX775" fmla="*/ 5651107 w 7467600"/>
              <a:gd name="connsiteY775" fmla="*/ 920306 h 6858000"/>
              <a:gd name="connsiteX776" fmla="*/ 5459407 w 7467600"/>
              <a:gd name="connsiteY776" fmla="*/ 940975 h 6858000"/>
              <a:gd name="connsiteX777" fmla="*/ 5374846 w 7467600"/>
              <a:gd name="connsiteY777" fmla="*/ 941988 h 6858000"/>
              <a:gd name="connsiteX778" fmla="*/ 5256105 w 7467600"/>
              <a:gd name="connsiteY778" fmla="*/ 945632 h 6858000"/>
              <a:gd name="connsiteX779" fmla="*/ 5107071 w 7467600"/>
              <a:gd name="connsiteY779" fmla="*/ 969720 h 6858000"/>
              <a:gd name="connsiteX780" fmla="*/ 4998681 w 7467600"/>
              <a:gd name="connsiteY780" fmla="*/ 988771 h 6858000"/>
              <a:gd name="connsiteX781" fmla="*/ 5870151 w 7467600"/>
              <a:gd name="connsiteY781" fmla="*/ 898890 h 6858000"/>
              <a:gd name="connsiteX782" fmla="*/ 5504425 w 7467600"/>
              <a:gd name="connsiteY782" fmla="*/ 848067 h 6858000"/>
              <a:gd name="connsiteX783" fmla="*/ 4968849 w 7467600"/>
              <a:gd name="connsiteY783" fmla="*/ 962318 h 6858000"/>
              <a:gd name="connsiteX784" fmla="*/ 5104039 w 7467600"/>
              <a:gd name="connsiteY784" fmla="*/ 940634 h 6858000"/>
              <a:gd name="connsiteX785" fmla="*/ 5256311 w 7467600"/>
              <a:gd name="connsiteY785" fmla="*/ 916490 h 6858000"/>
              <a:gd name="connsiteX786" fmla="*/ 5377381 w 7467600"/>
              <a:gd name="connsiteY786" fmla="*/ 912671 h 6858000"/>
              <a:gd name="connsiteX787" fmla="*/ 5460148 w 7467600"/>
              <a:gd name="connsiteY787" fmla="*/ 911442 h 6858000"/>
              <a:gd name="connsiteX788" fmla="*/ 5648971 w 7467600"/>
              <a:gd name="connsiteY788" fmla="*/ 891331 h 6858000"/>
              <a:gd name="connsiteX789" fmla="*/ 5844807 w 7467600"/>
              <a:gd name="connsiteY789" fmla="*/ 870718 h 6858000"/>
              <a:gd name="connsiteX790" fmla="*/ 5862975 w 7467600"/>
              <a:gd name="connsiteY790" fmla="*/ 869756 h 6858000"/>
              <a:gd name="connsiteX791" fmla="*/ 5920887 w 7467600"/>
              <a:gd name="connsiteY791" fmla="*/ 865929 h 6858000"/>
              <a:gd name="connsiteX792" fmla="*/ 5504425 w 7467600"/>
              <a:gd name="connsiteY792" fmla="*/ 848067 h 6858000"/>
              <a:gd name="connsiteX793" fmla="*/ 3607114 w 7467600"/>
              <a:gd name="connsiteY793" fmla="*/ 467441 h 6858000"/>
              <a:gd name="connsiteX794" fmla="*/ 3296242 w 7467600"/>
              <a:gd name="connsiteY794" fmla="*/ 807991 h 6858000"/>
              <a:gd name="connsiteX795" fmla="*/ 3174674 w 7467600"/>
              <a:gd name="connsiteY795" fmla="*/ 919759 h 6858000"/>
              <a:gd name="connsiteX796" fmla="*/ 3042978 w 7467600"/>
              <a:gd name="connsiteY796" fmla="*/ 1054894 h 6858000"/>
              <a:gd name="connsiteX797" fmla="*/ 2968914 w 7467600"/>
              <a:gd name="connsiteY797" fmla="*/ 1133756 h 6858000"/>
              <a:gd name="connsiteX798" fmla="*/ 3103823 w 7467600"/>
              <a:gd name="connsiteY798" fmla="*/ 1026814 h 6858000"/>
              <a:gd name="connsiteX799" fmla="*/ 3607114 w 7467600"/>
              <a:gd name="connsiteY799" fmla="*/ 467441 h 6858000"/>
              <a:gd name="connsiteX800" fmla="*/ 3744487 w 7467600"/>
              <a:gd name="connsiteY800" fmla="*/ 383136 h 6858000"/>
              <a:gd name="connsiteX801" fmla="*/ 3970213 w 7467600"/>
              <a:gd name="connsiteY801" fmla="*/ 995559 h 6858000"/>
              <a:gd name="connsiteX802" fmla="*/ 3744487 w 7467600"/>
              <a:gd name="connsiteY802" fmla="*/ 383136 h 6858000"/>
              <a:gd name="connsiteX803" fmla="*/ 3624562 w 7467600"/>
              <a:gd name="connsiteY803" fmla="*/ 367041 h 6858000"/>
              <a:gd name="connsiteX804" fmla="*/ 3489712 w 7467600"/>
              <a:gd name="connsiteY804" fmla="*/ 485386 h 6858000"/>
              <a:gd name="connsiteX805" fmla="*/ 3182994 w 7467600"/>
              <a:gd name="connsiteY805" fmla="*/ 828265 h 6858000"/>
              <a:gd name="connsiteX806" fmla="*/ 2892114 w 7467600"/>
              <a:gd name="connsiteY806" fmla="*/ 1172635 h 6858000"/>
              <a:gd name="connsiteX807" fmla="*/ 3021459 w 7467600"/>
              <a:gd name="connsiteY807" fmla="*/ 1035385 h 6858000"/>
              <a:gd name="connsiteX808" fmla="*/ 3153873 w 7467600"/>
              <a:gd name="connsiteY808" fmla="*/ 898971 h 6858000"/>
              <a:gd name="connsiteX809" fmla="*/ 3276511 w 7467600"/>
              <a:gd name="connsiteY809" fmla="*/ 786423 h 6858000"/>
              <a:gd name="connsiteX810" fmla="*/ 3584154 w 7467600"/>
              <a:gd name="connsiteY810" fmla="*/ 448218 h 6858000"/>
              <a:gd name="connsiteX811" fmla="*/ 3624562 w 7467600"/>
              <a:gd name="connsiteY811" fmla="*/ 367041 h 6858000"/>
              <a:gd name="connsiteX812" fmla="*/ 3766672 w 7467600"/>
              <a:gd name="connsiteY812" fmla="*/ 359429 h 6858000"/>
              <a:gd name="connsiteX813" fmla="*/ 3996338 w 7467600"/>
              <a:gd name="connsiteY813" fmla="*/ 968237 h 6858000"/>
              <a:gd name="connsiteX814" fmla="*/ 3766672 w 7467600"/>
              <a:gd name="connsiteY814" fmla="*/ 359429 h 6858000"/>
              <a:gd name="connsiteX815" fmla="*/ 5805386 w 7467600"/>
              <a:gd name="connsiteY815" fmla="*/ 239240 h 6858000"/>
              <a:gd name="connsiteX816" fmla="*/ 5736947 w 7467600"/>
              <a:gd name="connsiteY816" fmla="*/ 261367 h 6858000"/>
              <a:gd name="connsiteX817" fmla="*/ 5427012 w 7467600"/>
              <a:gd name="connsiteY817" fmla="*/ 311272 h 6858000"/>
              <a:gd name="connsiteX818" fmla="*/ 5147818 w 7467600"/>
              <a:gd name="connsiteY818" fmla="*/ 322112 h 6858000"/>
              <a:gd name="connsiteX819" fmla="*/ 5060854 w 7467600"/>
              <a:gd name="connsiteY819" fmla="*/ 311882 h 6858000"/>
              <a:gd name="connsiteX820" fmla="*/ 4945989 w 7467600"/>
              <a:gd name="connsiteY820" fmla="*/ 300516 h 6858000"/>
              <a:gd name="connsiteX821" fmla="*/ 5410479 w 7467600"/>
              <a:gd name="connsiteY821" fmla="*/ 348434 h 6858000"/>
              <a:gd name="connsiteX822" fmla="*/ 5805386 w 7467600"/>
              <a:gd name="connsiteY822" fmla="*/ 239240 h 6858000"/>
              <a:gd name="connsiteX823" fmla="*/ 5905192 w 7467600"/>
              <a:gd name="connsiteY823" fmla="*/ 163079 h 6858000"/>
              <a:gd name="connsiteX824" fmla="*/ 5865655 w 7467600"/>
              <a:gd name="connsiteY824" fmla="*/ 171901 h 6858000"/>
              <a:gd name="connsiteX825" fmla="*/ 5259740 w 7467600"/>
              <a:gd name="connsiteY825" fmla="*/ 257013 h 6858000"/>
              <a:gd name="connsiteX826" fmla="*/ 5208466 w 7467600"/>
              <a:gd name="connsiteY826" fmla="*/ 257550 h 6858000"/>
              <a:gd name="connsiteX827" fmla="*/ 4980204 w 7467600"/>
              <a:gd name="connsiteY827" fmla="*/ 271903 h 6858000"/>
              <a:gd name="connsiteX828" fmla="*/ 5068068 w 7467600"/>
              <a:gd name="connsiteY828" fmla="*/ 282244 h 6858000"/>
              <a:gd name="connsiteX829" fmla="*/ 5153231 w 7467600"/>
              <a:gd name="connsiteY829" fmla="*/ 292240 h 6858000"/>
              <a:gd name="connsiteX830" fmla="*/ 5426491 w 7467600"/>
              <a:gd name="connsiteY830" fmla="*/ 281128 h 6858000"/>
              <a:gd name="connsiteX831" fmla="*/ 5731212 w 7467600"/>
              <a:gd name="connsiteY831" fmla="*/ 231951 h 6858000"/>
              <a:gd name="connsiteX832" fmla="*/ 5905192 w 7467600"/>
              <a:gd name="connsiteY832" fmla="*/ 163079 h 6858000"/>
              <a:gd name="connsiteX833" fmla="*/ 5944437 w 7467600"/>
              <a:gd name="connsiteY833" fmla="*/ 113829 h 6858000"/>
              <a:gd name="connsiteX834" fmla="*/ 5825032 w 7467600"/>
              <a:gd name="connsiteY834" fmla="*/ 146405 h 6858000"/>
              <a:gd name="connsiteX835" fmla="*/ 4955599 w 7467600"/>
              <a:gd name="connsiteY835" fmla="*/ 247008 h 6858000"/>
              <a:gd name="connsiteX836" fmla="*/ 5210104 w 7467600"/>
              <a:gd name="connsiteY836" fmla="*/ 228123 h 6858000"/>
              <a:gd name="connsiteX837" fmla="*/ 5261015 w 7467600"/>
              <a:gd name="connsiteY837" fmla="*/ 227087 h 6858000"/>
              <a:gd name="connsiteX838" fmla="*/ 5861181 w 7467600"/>
              <a:gd name="connsiteY838" fmla="*/ 143093 h 6858000"/>
              <a:gd name="connsiteX839" fmla="*/ 5961252 w 7467600"/>
              <a:gd name="connsiteY839" fmla="*/ 114820 h 6858000"/>
              <a:gd name="connsiteX840" fmla="*/ 5944437 w 7467600"/>
              <a:gd name="connsiteY840" fmla="*/ 113829 h 6858000"/>
              <a:gd name="connsiteX841" fmla="*/ 3882765 w 7467600"/>
              <a:gd name="connsiteY841" fmla="*/ 0 h 6858000"/>
              <a:gd name="connsiteX842" fmla="*/ 3995099 w 7467600"/>
              <a:gd name="connsiteY842" fmla="*/ 0 h 6858000"/>
              <a:gd name="connsiteX843" fmla="*/ 4163818 w 7467600"/>
              <a:gd name="connsiteY843" fmla="*/ 234104 h 6858000"/>
              <a:gd name="connsiteX844" fmla="*/ 4172099 w 7467600"/>
              <a:gd name="connsiteY844" fmla="*/ 234207 h 6858000"/>
              <a:gd name="connsiteX845" fmla="*/ 4784282 w 7467600"/>
              <a:gd name="connsiteY845" fmla="*/ 276561 h 6858000"/>
              <a:gd name="connsiteX846" fmla="*/ 4801687 w 7467600"/>
              <a:gd name="connsiteY846" fmla="*/ 267764 h 6858000"/>
              <a:gd name="connsiteX847" fmla="*/ 6082788 w 7467600"/>
              <a:gd name="connsiteY847" fmla="*/ 64119 h 6858000"/>
              <a:gd name="connsiteX848" fmla="*/ 6099442 w 7467600"/>
              <a:gd name="connsiteY848" fmla="*/ 82568 h 6858000"/>
              <a:gd name="connsiteX849" fmla="*/ 4804137 w 7467600"/>
              <a:gd name="connsiteY849" fmla="*/ 320931 h 6858000"/>
              <a:gd name="connsiteX850" fmla="*/ 4227047 w 7467600"/>
              <a:gd name="connsiteY850" fmla="*/ 313415 h 6858000"/>
              <a:gd name="connsiteX851" fmla="*/ 4346041 w 7467600"/>
              <a:gd name="connsiteY851" fmla="*/ 456086 h 6858000"/>
              <a:gd name="connsiteX852" fmla="*/ 4870967 w 7467600"/>
              <a:gd name="connsiteY852" fmla="*/ 963061 h 6858000"/>
              <a:gd name="connsiteX853" fmla="*/ 4889647 w 7467600"/>
              <a:gd name="connsiteY853" fmla="*/ 957147 h 6858000"/>
              <a:gd name="connsiteX854" fmla="*/ 5422504 w 7467600"/>
              <a:gd name="connsiteY854" fmla="*/ 805191 h 6858000"/>
              <a:gd name="connsiteX855" fmla="*/ 6087656 w 7467600"/>
              <a:gd name="connsiteY855" fmla="*/ 826703 h 6858000"/>
              <a:gd name="connsiteX856" fmla="*/ 6058717 w 7467600"/>
              <a:gd name="connsiteY856" fmla="*/ 865992 h 6858000"/>
              <a:gd name="connsiteX857" fmla="*/ 4974153 w 7467600"/>
              <a:gd name="connsiteY857" fmla="*/ 1045456 h 6858000"/>
              <a:gd name="connsiteX858" fmla="*/ 5627835 w 7467600"/>
              <a:gd name="connsiteY858" fmla="*/ 1472077 h 6858000"/>
              <a:gd name="connsiteX859" fmla="*/ 5629817 w 7467600"/>
              <a:gd name="connsiteY859" fmla="*/ 1471412 h 6858000"/>
              <a:gd name="connsiteX860" fmla="*/ 5634124 w 7467600"/>
              <a:gd name="connsiteY860" fmla="*/ 1470572 h 6858000"/>
              <a:gd name="connsiteX861" fmla="*/ 5755832 w 7467600"/>
              <a:gd name="connsiteY861" fmla="*/ 1383886 h 6858000"/>
              <a:gd name="connsiteX862" fmla="*/ 6014186 w 7467600"/>
              <a:gd name="connsiteY862" fmla="*/ 1279799 h 6858000"/>
              <a:gd name="connsiteX863" fmla="*/ 6901619 w 7467600"/>
              <a:gd name="connsiteY863" fmla="*/ 1047874 h 6858000"/>
              <a:gd name="connsiteX864" fmla="*/ 6931566 w 7467600"/>
              <a:gd name="connsiteY864" fmla="*/ 1062034 h 6858000"/>
              <a:gd name="connsiteX865" fmla="*/ 5790982 w 7467600"/>
              <a:gd name="connsiteY865" fmla="*/ 1561380 h 6858000"/>
              <a:gd name="connsiteX866" fmla="*/ 6188971 w 7467600"/>
              <a:gd name="connsiteY866" fmla="*/ 1755168 h 6858000"/>
              <a:gd name="connsiteX867" fmla="*/ 6202446 w 7467600"/>
              <a:gd name="connsiteY867" fmla="*/ 1752268 h 6858000"/>
              <a:gd name="connsiteX868" fmla="*/ 7179560 w 7467600"/>
              <a:gd name="connsiteY868" fmla="*/ 1467551 h 6858000"/>
              <a:gd name="connsiteX869" fmla="*/ 7158730 w 7467600"/>
              <a:gd name="connsiteY869" fmla="*/ 1507835 h 6858000"/>
              <a:gd name="connsiteX870" fmla="*/ 6326959 w 7467600"/>
              <a:gd name="connsiteY870" fmla="*/ 1817686 h 6858000"/>
              <a:gd name="connsiteX871" fmla="*/ 6537433 w 7467600"/>
              <a:gd name="connsiteY871" fmla="*/ 1907790 h 6858000"/>
              <a:gd name="connsiteX872" fmla="*/ 6550221 w 7467600"/>
              <a:gd name="connsiteY872" fmla="*/ 1910729 h 6858000"/>
              <a:gd name="connsiteX873" fmla="*/ 6964438 w 7467600"/>
              <a:gd name="connsiteY873" fmla="*/ 2209505 h 6858000"/>
              <a:gd name="connsiteX874" fmla="*/ 7367862 w 7467600"/>
              <a:gd name="connsiteY874" fmla="*/ 2806833 h 6858000"/>
              <a:gd name="connsiteX875" fmla="*/ 7364329 w 7467600"/>
              <a:gd name="connsiteY875" fmla="*/ 2826907 h 6858000"/>
              <a:gd name="connsiteX876" fmla="*/ 7290545 w 7467600"/>
              <a:gd name="connsiteY876" fmla="*/ 2850663 h 6858000"/>
              <a:gd name="connsiteX877" fmla="*/ 6472036 w 7467600"/>
              <a:gd name="connsiteY877" fmla="*/ 1959003 h 6858000"/>
              <a:gd name="connsiteX878" fmla="*/ 5792897 w 7467600"/>
              <a:gd name="connsiteY878" fmla="*/ 1647747 h 6858000"/>
              <a:gd name="connsiteX879" fmla="*/ 5842751 w 7467600"/>
              <a:gd name="connsiteY879" fmla="*/ 1816112 h 6858000"/>
              <a:gd name="connsiteX880" fmla="*/ 5847424 w 7467600"/>
              <a:gd name="connsiteY880" fmla="*/ 1815776 h 6858000"/>
              <a:gd name="connsiteX881" fmla="*/ 6399821 w 7467600"/>
              <a:gd name="connsiteY881" fmla="*/ 2344799 h 6858000"/>
              <a:gd name="connsiteX882" fmla="*/ 6323232 w 7467600"/>
              <a:gd name="connsiteY882" fmla="*/ 2389634 h 6858000"/>
              <a:gd name="connsiteX883" fmla="*/ 5942958 w 7467600"/>
              <a:gd name="connsiteY883" fmla="*/ 2077708 h 6858000"/>
              <a:gd name="connsiteX884" fmla="*/ 5921559 w 7467600"/>
              <a:gd name="connsiteY884" fmla="*/ 2378596 h 6858000"/>
              <a:gd name="connsiteX885" fmla="*/ 5817651 w 7467600"/>
              <a:gd name="connsiteY885" fmla="*/ 3023919 h 6858000"/>
              <a:gd name="connsiteX886" fmla="*/ 5729634 w 7467600"/>
              <a:gd name="connsiteY886" fmla="*/ 3051849 h 6858000"/>
              <a:gd name="connsiteX887" fmla="*/ 5611018 w 7467600"/>
              <a:gd name="connsiteY887" fmla="*/ 2316769 h 6858000"/>
              <a:gd name="connsiteX888" fmla="*/ 5687608 w 7467600"/>
              <a:gd name="connsiteY888" fmla="*/ 2039972 h 6858000"/>
              <a:gd name="connsiteX889" fmla="*/ 5657554 w 7467600"/>
              <a:gd name="connsiteY889" fmla="*/ 1576445 h 6858000"/>
              <a:gd name="connsiteX890" fmla="*/ 5150475 w 7467600"/>
              <a:gd name="connsiteY890" fmla="*/ 1274012 h 6858000"/>
              <a:gd name="connsiteX891" fmla="*/ 5349142 w 7467600"/>
              <a:gd name="connsiteY891" fmla="*/ 2204405 h 6858000"/>
              <a:gd name="connsiteX892" fmla="*/ 5262214 w 7467600"/>
              <a:gd name="connsiteY892" fmla="*/ 2233836 h 6858000"/>
              <a:gd name="connsiteX893" fmla="*/ 4981539 w 7467600"/>
              <a:gd name="connsiteY893" fmla="*/ 1542201 h 6858000"/>
              <a:gd name="connsiteX894" fmla="*/ 4958461 w 7467600"/>
              <a:gd name="connsiteY894" fmla="*/ 1136957 h 6858000"/>
              <a:gd name="connsiteX895" fmla="*/ 4655015 w 7467600"/>
              <a:gd name="connsiteY895" fmla="*/ 891426 h 6858000"/>
              <a:gd name="connsiteX896" fmla="*/ 4348002 w 7467600"/>
              <a:gd name="connsiteY896" fmla="*/ 2205895 h 6858000"/>
              <a:gd name="connsiteX897" fmla="*/ 4262250 w 7467600"/>
              <a:gd name="connsiteY897" fmla="*/ 2219972 h 6858000"/>
              <a:gd name="connsiteX898" fmla="*/ 4550611 w 7467600"/>
              <a:gd name="connsiteY898" fmla="*/ 817540 h 6858000"/>
              <a:gd name="connsiteX899" fmla="*/ 4564418 w 7467600"/>
              <a:gd name="connsiteY899" fmla="*/ 808293 h 6858000"/>
              <a:gd name="connsiteX900" fmla="*/ 4266388 w 7467600"/>
              <a:gd name="connsiteY900" fmla="*/ 500083 h 6858000"/>
              <a:gd name="connsiteX901" fmla="*/ 4032842 w 7467600"/>
              <a:gd name="connsiteY901" fmla="*/ 211809 h 6858000"/>
              <a:gd name="connsiteX902" fmla="*/ 3882765 w 7467600"/>
              <a:gd name="connsiteY902" fmla="*/ 0 h 6858000"/>
              <a:gd name="connsiteX903" fmla="*/ 3721337 w 7467600"/>
              <a:gd name="connsiteY903" fmla="*/ 0 h 6858000"/>
              <a:gd name="connsiteX904" fmla="*/ 3797544 w 7467600"/>
              <a:gd name="connsiteY904" fmla="*/ 0 h 6858000"/>
              <a:gd name="connsiteX905" fmla="*/ 3775734 w 7467600"/>
              <a:gd name="connsiteY905" fmla="*/ 95131 h 6858000"/>
              <a:gd name="connsiteX906" fmla="*/ 3724807 w 7467600"/>
              <a:gd name="connsiteY906" fmla="*/ 272257 h 6858000"/>
              <a:gd name="connsiteX907" fmla="*/ 3726844 w 7467600"/>
              <a:gd name="connsiteY907" fmla="*/ 282988 h 6858000"/>
              <a:gd name="connsiteX908" fmla="*/ 3742664 w 7467600"/>
              <a:gd name="connsiteY908" fmla="*/ 279918 h 6858000"/>
              <a:gd name="connsiteX909" fmla="*/ 4103910 w 7467600"/>
              <a:gd name="connsiteY909" fmla="*/ 1161917 h 6858000"/>
              <a:gd name="connsiteX910" fmla="*/ 4020269 w 7467600"/>
              <a:gd name="connsiteY910" fmla="*/ 1200406 h 6858000"/>
              <a:gd name="connsiteX911" fmla="*/ 3674882 w 7467600"/>
              <a:gd name="connsiteY911" fmla="*/ 488524 h 6858000"/>
              <a:gd name="connsiteX912" fmla="*/ 3132682 w 7467600"/>
              <a:gd name="connsiteY912" fmla="*/ 1072284 h 6858000"/>
              <a:gd name="connsiteX913" fmla="*/ 2716346 w 7467600"/>
              <a:gd name="connsiteY913" fmla="*/ 1276376 h 6858000"/>
              <a:gd name="connsiteX914" fmla="*/ 2716772 w 7467600"/>
              <a:gd name="connsiteY914" fmla="*/ 1255462 h 6858000"/>
              <a:gd name="connsiteX915" fmla="*/ 3471096 w 7467600"/>
              <a:gd name="connsiteY915" fmla="*/ 437072 h 6858000"/>
              <a:gd name="connsiteX916" fmla="*/ 3639057 w 7467600"/>
              <a:gd name="connsiteY916" fmla="*/ 286334 h 6858000"/>
              <a:gd name="connsiteX917" fmla="*/ 3640309 w 7467600"/>
              <a:gd name="connsiteY917" fmla="*/ 284664 h 6858000"/>
              <a:gd name="connsiteX918" fmla="*/ 3646022 w 7467600"/>
              <a:gd name="connsiteY918" fmla="*/ 276711 h 6858000"/>
              <a:gd name="connsiteX919" fmla="*/ 3707943 w 7467600"/>
              <a:gd name="connsiteY919" fmla="*/ 65958 h 6858000"/>
              <a:gd name="connsiteX920" fmla="*/ 3721337 w 7467600"/>
              <a:gd name="connsiteY920" fmla="*/ 0 h 6858000"/>
              <a:gd name="connsiteX921" fmla="*/ 2867960 w 7467600"/>
              <a:gd name="connsiteY921" fmla="*/ 0 h 6858000"/>
              <a:gd name="connsiteX922" fmla="*/ 2926351 w 7467600"/>
              <a:gd name="connsiteY922" fmla="*/ 0 h 6858000"/>
              <a:gd name="connsiteX923" fmla="*/ 2902823 w 7467600"/>
              <a:gd name="connsiteY923" fmla="*/ 262929 h 6858000"/>
              <a:gd name="connsiteX924" fmla="*/ 2940663 w 7467600"/>
              <a:gd name="connsiteY924" fmla="*/ 140884 h 6858000"/>
              <a:gd name="connsiteX925" fmla="*/ 2947039 w 7467600"/>
              <a:gd name="connsiteY925" fmla="*/ 122524 h 6858000"/>
              <a:gd name="connsiteX926" fmla="*/ 2984316 w 7467600"/>
              <a:gd name="connsiteY926" fmla="*/ 0 h 6858000"/>
              <a:gd name="connsiteX927" fmla="*/ 3016114 w 7467600"/>
              <a:gd name="connsiteY927" fmla="*/ 0 h 6858000"/>
              <a:gd name="connsiteX928" fmla="*/ 2979949 w 7467600"/>
              <a:gd name="connsiteY928" fmla="*/ 119274 h 6858000"/>
              <a:gd name="connsiteX929" fmla="*/ 3023879 w 7467600"/>
              <a:gd name="connsiteY929" fmla="*/ 0 h 6858000"/>
              <a:gd name="connsiteX930" fmla="*/ 3105400 w 7467600"/>
              <a:gd name="connsiteY930" fmla="*/ 0 h 6858000"/>
              <a:gd name="connsiteX931" fmla="*/ 3094669 w 7467600"/>
              <a:gd name="connsiteY931" fmla="*/ 30308 h 6858000"/>
              <a:gd name="connsiteX932" fmla="*/ 2901945 w 7467600"/>
              <a:gd name="connsiteY932" fmla="*/ 466538 h 6858000"/>
              <a:gd name="connsiteX933" fmla="*/ 2815209 w 7467600"/>
              <a:gd name="connsiteY933" fmla="*/ 497361 h 6858000"/>
              <a:gd name="connsiteX934" fmla="*/ 2844845 w 7467600"/>
              <a:gd name="connsiteY934" fmla="*/ 127638 h 6858000"/>
              <a:gd name="connsiteX935" fmla="*/ 2867960 w 7467600"/>
              <a:gd name="connsiteY935" fmla="*/ 0 h 6858000"/>
              <a:gd name="connsiteX936" fmla="*/ 1057230 w 7467600"/>
              <a:gd name="connsiteY936" fmla="*/ 0 h 6858000"/>
              <a:gd name="connsiteX937" fmla="*/ 1111003 w 7467600"/>
              <a:gd name="connsiteY937" fmla="*/ 0 h 6858000"/>
              <a:gd name="connsiteX938" fmla="*/ 1125553 w 7467600"/>
              <a:gd name="connsiteY938" fmla="*/ 52588 h 6858000"/>
              <a:gd name="connsiteX939" fmla="*/ 1304276 w 7467600"/>
              <a:gd name="connsiteY939" fmla="*/ 476275 h 6858000"/>
              <a:gd name="connsiteX940" fmla="*/ 1492066 w 7467600"/>
              <a:gd name="connsiteY940" fmla="*/ 886333 h 6858000"/>
              <a:gd name="connsiteX941" fmla="*/ 1423698 w 7467600"/>
              <a:gd name="connsiteY941" fmla="*/ 710817 h 6858000"/>
              <a:gd name="connsiteX942" fmla="*/ 1357609 w 7467600"/>
              <a:gd name="connsiteY942" fmla="*/ 532892 h 6858000"/>
              <a:gd name="connsiteX943" fmla="*/ 1309550 w 7467600"/>
              <a:gd name="connsiteY943" fmla="*/ 374031 h 6858000"/>
              <a:gd name="connsiteX944" fmla="*/ 1193673 w 7467600"/>
              <a:gd name="connsiteY944" fmla="*/ 49533 h 6858000"/>
              <a:gd name="connsiteX945" fmla="*/ 1164391 w 7467600"/>
              <a:gd name="connsiteY945" fmla="*/ 0 h 6858000"/>
              <a:gd name="connsiteX946" fmla="*/ 1200666 w 7467600"/>
              <a:gd name="connsiteY946" fmla="*/ 0 h 6858000"/>
              <a:gd name="connsiteX947" fmla="*/ 1223408 w 7467600"/>
              <a:gd name="connsiteY947" fmla="*/ 38996 h 6858000"/>
              <a:gd name="connsiteX948" fmla="*/ 1339635 w 7467600"/>
              <a:gd name="connsiteY948" fmla="*/ 365517 h 6858000"/>
              <a:gd name="connsiteX949" fmla="*/ 1387469 w 7467600"/>
              <a:gd name="connsiteY949" fmla="*/ 523079 h 6858000"/>
              <a:gd name="connsiteX950" fmla="*/ 1452685 w 7467600"/>
              <a:gd name="connsiteY950" fmla="*/ 699806 h 6858000"/>
              <a:gd name="connsiteX951" fmla="*/ 1492092 w 7467600"/>
              <a:gd name="connsiteY951" fmla="*/ 800424 h 6858000"/>
              <a:gd name="connsiteX952" fmla="*/ 1455302 w 7467600"/>
              <a:gd name="connsiteY952" fmla="*/ 632913 h 6858000"/>
              <a:gd name="connsiteX953" fmla="*/ 1222336 w 7467600"/>
              <a:gd name="connsiteY953" fmla="*/ 9480 h 6858000"/>
              <a:gd name="connsiteX954" fmla="*/ 1214634 w 7467600"/>
              <a:gd name="connsiteY954" fmla="*/ 0 h 6858000"/>
              <a:gd name="connsiteX955" fmla="*/ 1289827 w 7467600"/>
              <a:gd name="connsiteY955" fmla="*/ 0 h 6858000"/>
              <a:gd name="connsiteX956" fmla="*/ 1321076 w 7467600"/>
              <a:gd name="connsiteY956" fmla="*/ 59722 h 6858000"/>
              <a:gd name="connsiteX957" fmla="*/ 1512579 w 7467600"/>
              <a:gd name="connsiteY957" fmla="*/ 626441 h 6858000"/>
              <a:gd name="connsiteX958" fmla="*/ 1506076 w 7467600"/>
              <a:gd name="connsiteY958" fmla="*/ 1089289 h 6858000"/>
              <a:gd name="connsiteX959" fmla="*/ 1486346 w 7467600"/>
              <a:gd name="connsiteY959" fmla="*/ 1079919 h 6858000"/>
              <a:gd name="connsiteX960" fmla="*/ 1070511 w 7467600"/>
              <a:gd name="connsiteY960" fmla="*/ 48609 h 6858000"/>
              <a:gd name="connsiteX961" fmla="*/ 1057230 w 7467600"/>
              <a:gd name="connsiteY961" fmla="*/ 0 h 6858000"/>
              <a:gd name="connsiteX962" fmla="*/ 43151 w 7467600"/>
              <a:gd name="connsiteY962" fmla="*/ 0 h 6858000"/>
              <a:gd name="connsiteX963" fmla="*/ 95283 w 7467600"/>
              <a:gd name="connsiteY963" fmla="*/ 0 h 6858000"/>
              <a:gd name="connsiteX964" fmla="*/ 300708 w 7467600"/>
              <a:gd name="connsiteY964" fmla="*/ 154571 h 6858000"/>
              <a:gd name="connsiteX965" fmla="*/ 530414 w 7467600"/>
              <a:gd name="connsiteY965" fmla="*/ 354673 h 6858000"/>
              <a:gd name="connsiteX966" fmla="*/ 333785 w 7467600"/>
              <a:gd name="connsiteY966" fmla="*/ 161564 h 6858000"/>
              <a:gd name="connsiteX967" fmla="*/ 147005 w 7467600"/>
              <a:gd name="connsiteY967" fmla="*/ 0 h 6858000"/>
              <a:gd name="connsiteX968" fmla="*/ 272509 w 7467600"/>
              <a:gd name="connsiteY968" fmla="*/ 0 h 6858000"/>
              <a:gd name="connsiteX969" fmla="*/ 326276 w 7467600"/>
              <a:gd name="connsiteY969" fmla="*/ 45847 h 6858000"/>
              <a:gd name="connsiteX970" fmla="*/ 823759 w 7467600"/>
              <a:gd name="connsiteY970" fmla="*/ 574145 h 6858000"/>
              <a:gd name="connsiteX971" fmla="*/ 811254 w 7467600"/>
              <a:gd name="connsiteY971" fmla="*/ 665546 h 6858000"/>
              <a:gd name="connsiteX972" fmla="*/ 154042 w 7467600"/>
              <a:gd name="connsiteY972" fmla="*/ 261522 h 6858000"/>
              <a:gd name="connsiteX973" fmla="*/ 13550 w 7467600"/>
              <a:gd name="connsiteY973" fmla="*/ 158423 h 6858000"/>
              <a:gd name="connsiteX974" fmla="*/ 0 w 7467600"/>
              <a:gd name="connsiteY974" fmla="*/ 146618 h 6858000"/>
              <a:gd name="connsiteX975" fmla="*/ 0 w 7467600"/>
              <a:gd name="connsiteY975" fmla="*/ 59161 h 6858000"/>
              <a:gd name="connsiteX976" fmla="*/ 45427 w 7467600"/>
              <a:gd name="connsiteY976" fmla="*/ 101078 h 6858000"/>
              <a:gd name="connsiteX977" fmla="*/ 630103 w 7467600"/>
              <a:gd name="connsiteY977" fmla="*/ 485885 h 6858000"/>
              <a:gd name="connsiteX978" fmla="*/ 532040 w 7467600"/>
              <a:gd name="connsiteY978" fmla="*/ 399359 h 6858000"/>
              <a:gd name="connsiteX979" fmla="*/ 517618 w 7467600"/>
              <a:gd name="connsiteY979" fmla="*/ 385726 h 6858000"/>
              <a:gd name="connsiteX980" fmla="*/ 285074 w 7467600"/>
              <a:gd name="connsiteY980" fmla="*/ 182755 h 6858000"/>
              <a:gd name="connsiteX981" fmla="*/ 43151 w 7467600"/>
              <a:gd name="connsiteY981"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44835 w 7467600"/>
              <a:gd name="connsiteY76" fmla="*/ 5424988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356878 w 7467600"/>
              <a:gd name="connsiteY90" fmla="*/ 5981332 h 6858000"/>
              <a:gd name="connsiteX91" fmla="*/ 7467600 w 7467600"/>
              <a:gd name="connsiteY91" fmla="*/ 6117703 h 6858000"/>
              <a:gd name="connsiteX92" fmla="*/ 7467600 w 7467600"/>
              <a:gd name="connsiteY92" fmla="*/ 6163634 h 6858000"/>
              <a:gd name="connsiteX93" fmla="*/ 7403637 w 7467600"/>
              <a:gd name="connsiteY93" fmla="*/ 6083957 h 6858000"/>
              <a:gd name="connsiteX94" fmla="*/ 7254615 w 7467600"/>
              <a:gd name="connsiteY94" fmla="*/ 5911918 h 6858000"/>
              <a:gd name="connsiteX95" fmla="*/ 7312589 w 7467600"/>
              <a:gd name="connsiteY95" fmla="*/ 5982309 h 6858000"/>
              <a:gd name="connsiteX96" fmla="*/ 7448321 w 7467600"/>
              <a:gd name="connsiteY96" fmla="*/ 6190991 h 6858000"/>
              <a:gd name="connsiteX97" fmla="*/ 7467600 w 7467600"/>
              <a:gd name="connsiteY97" fmla="*/ 6221686 h 6858000"/>
              <a:gd name="connsiteX98" fmla="*/ 7467600 w 7467600"/>
              <a:gd name="connsiteY98" fmla="*/ 6334256 h 6858000"/>
              <a:gd name="connsiteX99" fmla="*/ 7454976 w 7467600"/>
              <a:gd name="connsiteY99" fmla="*/ 6318297 h 6858000"/>
              <a:gd name="connsiteX100" fmla="*/ 7042773 w 7467600"/>
              <a:gd name="connsiteY100" fmla="*/ 5734011 h 6858000"/>
              <a:gd name="connsiteX101" fmla="*/ 6844835 w 7467600"/>
              <a:gd name="connsiteY101" fmla="*/ 5424988 h 6858000"/>
              <a:gd name="connsiteX102" fmla="*/ 1456157 w 7467600"/>
              <a:gd name="connsiteY102" fmla="*/ 5371404 h 6858000"/>
              <a:gd name="connsiteX103" fmla="*/ 1244432 w 7467600"/>
              <a:gd name="connsiteY103" fmla="*/ 5385601 h 6858000"/>
              <a:gd name="connsiteX104" fmla="*/ 973990 w 7467600"/>
              <a:gd name="connsiteY104" fmla="*/ 5424940 h 6858000"/>
              <a:gd name="connsiteX105" fmla="*/ 1103809 w 7467600"/>
              <a:gd name="connsiteY105" fmla="*/ 5433720 h 6858000"/>
              <a:gd name="connsiteX106" fmla="*/ 1123454 w 7467600"/>
              <a:gd name="connsiteY106" fmla="*/ 5435727 h 6858000"/>
              <a:gd name="connsiteX107" fmla="*/ 1737017 w 7467600"/>
              <a:gd name="connsiteY107" fmla="*/ 5452183 h 6858000"/>
              <a:gd name="connsiteX108" fmla="*/ 1824397 w 7467600"/>
              <a:gd name="connsiteY108" fmla="*/ 5447757 h 6858000"/>
              <a:gd name="connsiteX109" fmla="*/ 2070059 w 7467600"/>
              <a:gd name="connsiteY109" fmla="*/ 5441660 h 6858000"/>
              <a:gd name="connsiteX110" fmla="*/ 1456157 w 7467600"/>
              <a:gd name="connsiteY110" fmla="*/ 5371404 h 6858000"/>
              <a:gd name="connsiteX111" fmla="*/ 4988186 w 7467600"/>
              <a:gd name="connsiteY111" fmla="*/ 5216467 h 6858000"/>
              <a:gd name="connsiteX112" fmla="*/ 4777334 w 7467600"/>
              <a:gd name="connsiteY112" fmla="*/ 5406072 h 6858000"/>
              <a:gd name="connsiteX113" fmla="*/ 4718341 w 7467600"/>
              <a:gd name="connsiteY113" fmla="*/ 5468043 h 6858000"/>
              <a:gd name="connsiteX114" fmla="*/ 4604655 w 7467600"/>
              <a:gd name="connsiteY114" fmla="*/ 5583434 h 6858000"/>
              <a:gd name="connsiteX115" fmla="*/ 4565074 w 7467600"/>
              <a:gd name="connsiteY115" fmla="*/ 5618550 h 6858000"/>
              <a:gd name="connsiteX116" fmla="*/ 4988186 w 7467600"/>
              <a:gd name="connsiteY116" fmla="*/ 5216467 h 6858000"/>
              <a:gd name="connsiteX117" fmla="*/ 4978032 w 7467600"/>
              <a:gd name="connsiteY117" fmla="*/ 5183809 h 6858000"/>
              <a:gd name="connsiteX118" fmla="*/ 4463413 w 7467600"/>
              <a:gd name="connsiteY118" fmla="*/ 5615162 h 6858000"/>
              <a:gd name="connsiteX119" fmla="*/ 4358134 w 7467600"/>
              <a:gd name="connsiteY119" fmla="*/ 5742791 h 6858000"/>
              <a:gd name="connsiteX120" fmla="*/ 4376219 w 7467600"/>
              <a:gd name="connsiteY120" fmla="*/ 5729027 h 6858000"/>
              <a:gd name="connsiteX121" fmla="*/ 4582340 w 7467600"/>
              <a:gd name="connsiteY121" fmla="*/ 5561037 h 6858000"/>
              <a:gd name="connsiteX122" fmla="*/ 4694684 w 7467600"/>
              <a:gd name="connsiteY122" fmla="*/ 5447098 h 6858000"/>
              <a:gd name="connsiteX123" fmla="*/ 4754123 w 7467600"/>
              <a:gd name="connsiteY123" fmla="*/ 5384643 h 6858000"/>
              <a:gd name="connsiteX124" fmla="*/ 4978032 w 7467600"/>
              <a:gd name="connsiteY124" fmla="*/ 5183809 h 6858000"/>
              <a:gd name="connsiteX125" fmla="*/ 1903353 w 7467600"/>
              <a:gd name="connsiteY125" fmla="*/ 5044827 h 6858000"/>
              <a:gd name="connsiteX126" fmla="*/ 1936931 w 7467600"/>
              <a:gd name="connsiteY126" fmla="*/ 5093954 h 6858000"/>
              <a:gd name="connsiteX127" fmla="*/ 2195868 w 7467600"/>
              <a:gd name="connsiteY127" fmla="*/ 5396574 h 6858000"/>
              <a:gd name="connsiteX128" fmla="*/ 2088852 w 7467600"/>
              <a:gd name="connsiteY128" fmla="*/ 5166123 h 6858000"/>
              <a:gd name="connsiteX129" fmla="*/ 1958241 w 7467600"/>
              <a:gd name="connsiteY129" fmla="*/ 5067955 h 6858000"/>
              <a:gd name="connsiteX130" fmla="*/ 1903353 w 7467600"/>
              <a:gd name="connsiteY130" fmla="*/ 5044827 h 6858000"/>
              <a:gd name="connsiteX131" fmla="*/ 1979378 w 7467600"/>
              <a:gd name="connsiteY131" fmla="*/ 4769504 h 6858000"/>
              <a:gd name="connsiteX132" fmla="*/ 2882120 w 7467600"/>
              <a:gd name="connsiteY132" fmla="*/ 5064547 h 6858000"/>
              <a:gd name="connsiteX133" fmla="*/ 2793103 w 7467600"/>
              <a:gd name="connsiteY133" fmla="*/ 5039699 h 6858000"/>
              <a:gd name="connsiteX134" fmla="*/ 2770041 w 7467600"/>
              <a:gd name="connsiteY134" fmla="*/ 5033634 h 6858000"/>
              <a:gd name="connsiteX135" fmla="*/ 1979378 w 7467600"/>
              <a:gd name="connsiteY135" fmla="*/ 4769504 h 6858000"/>
              <a:gd name="connsiteX136" fmla="*/ 1927410 w 7467600"/>
              <a:gd name="connsiteY136" fmla="*/ 4716164 h 6858000"/>
              <a:gd name="connsiteX137" fmla="*/ 1959587 w 7467600"/>
              <a:gd name="connsiteY137" fmla="*/ 4728849 h 6858000"/>
              <a:gd name="connsiteX138" fmla="*/ 2777707 w 7467600"/>
              <a:gd name="connsiteY138" fmla="*/ 5003991 h 6858000"/>
              <a:gd name="connsiteX139" fmla="*/ 2800768 w 7467600"/>
              <a:gd name="connsiteY139" fmla="*/ 5010056 h 6858000"/>
              <a:gd name="connsiteX140" fmla="*/ 2879408 w 7467600"/>
              <a:gd name="connsiteY140" fmla="*/ 5031590 h 6858000"/>
              <a:gd name="connsiteX141" fmla="*/ 2862295 w 7467600"/>
              <a:gd name="connsiteY141" fmla="*/ 5022958 h 6858000"/>
              <a:gd name="connsiteX142" fmla="*/ 2813343 w 7467600"/>
              <a:gd name="connsiteY142" fmla="*/ 4998369 h 6858000"/>
              <a:gd name="connsiteX143" fmla="*/ 2646245 w 7467600"/>
              <a:gd name="connsiteY143" fmla="*/ 4930999 h 6858000"/>
              <a:gd name="connsiteX144" fmla="*/ 1999243 w 7467600"/>
              <a:gd name="connsiteY144" fmla="*/ 4730524 h 6858000"/>
              <a:gd name="connsiteX145" fmla="*/ 1979527 w 7467600"/>
              <a:gd name="connsiteY145" fmla="*/ 4726651 h 6858000"/>
              <a:gd name="connsiteX146" fmla="*/ 1927410 w 7467600"/>
              <a:gd name="connsiteY146" fmla="*/ 4716164 h 6858000"/>
              <a:gd name="connsiteX147" fmla="*/ 1997014 w 7467600"/>
              <a:gd name="connsiteY147" fmla="*/ 4698007 h 6858000"/>
              <a:gd name="connsiteX148" fmla="*/ 2005458 w 7467600"/>
              <a:gd name="connsiteY148" fmla="*/ 4699540 h 6858000"/>
              <a:gd name="connsiteX149" fmla="*/ 2657186 w 7467600"/>
              <a:gd name="connsiteY149" fmla="*/ 4901687 h 6858000"/>
              <a:gd name="connsiteX150" fmla="*/ 2826662 w 7467600"/>
              <a:gd name="connsiteY150" fmla="*/ 4970362 h 6858000"/>
              <a:gd name="connsiteX151" fmla="*/ 2876100 w 7467600"/>
              <a:gd name="connsiteY151" fmla="*/ 4995397 h 6858000"/>
              <a:gd name="connsiteX152" fmla="*/ 3042600 w 7467600"/>
              <a:gd name="connsiteY152" fmla="*/ 5059532 h 6858000"/>
              <a:gd name="connsiteX153" fmla="*/ 1997014 w 7467600"/>
              <a:gd name="connsiteY153" fmla="*/ 4698007 h 6858000"/>
              <a:gd name="connsiteX154" fmla="*/ 2305292 w 7467600"/>
              <a:gd name="connsiteY154" fmla="*/ 4219492 h 6858000"/>
              <a:gd name="connsiteX155" fmla="*/ 3360922 w 7467600"/>
              <a:gd name="connsiteY155" fmla="*/ 4529373 h 6858000"/>
              <a:gd name="connsiteX156" fmla="*/ 3492420 w 7467600"/>
              <a:gd name="connsiteY156" fmla="*/ 4510145 h 6858000"/>
              <a:gd name="connsiteX157" fmla="*/ 3364086 w 7467600"/>
              <a:gd name="connsiteY157" fmla="*/ 4480340 h 6858000"/>
              <a:gd name="connsiteX158" fmla="*/ 3225818 w 7467600"/>
              <a:gd name="connsiteY158" fmla="*/ 4411822 h 6858000"/>
              <a:gd name="connsiteX159" fmla="*/ 3129696 w 7467600"/>
              <a:gd name="connsiteY159" fmla="*/ 4360704 h 6858000"/>
              <a:gd name="connsiteX160" fmla="*/ 2814545 w 7467600"/>
              <a:gd name="connsiteY160" fmla="*/ 4282955 h 6858000"/>
              <a:gd name="connsiteX161" fmla="*/ 2305292 w 7467600"/>
              <a:gd name="connsiteY161" fmla="*/ 4219492 h 6858000"/>
              <a:gd name="connsiteX162" fmla="*/ 2626982 w 7467600"/>
              <a:gd name="connsiteY162" fmla="*/ 4206450 h 6858000"/>
              <a:gd name="connsiteX163" fmla="*/ 2490617 w 7467600"/>
              <a:gd name="connsiteY163" fmla="*/ 4206951 h 6858000"/>
              <a:gd name="connsiteX164" fmla="*/ 2819869 w 7467600"/>
              <a:gd name="connsiteY164" fmla="*/ 4252936 h 6858000"/>
              <a:gd name="connsiteX165" fmla="*/ 3143018 w 7467600"/>
              <a:gd name="connsiteY165" fmla="*/ 4332698 h 6858000"/>
              <a:gd name="connsiteX166" fmla="*/ 3241520 w 7467600"/>
              <a:gd name="connsiteY166" fmla="*/ 4385112 h 6858000"/>
              <a:gd name="connsiteX167" fmla="*/ 3374575 w 7467600"/>
              <a:gd name="connsiteY167" fmla="*/ 4451517 h 6858000"/>
              <a:gd name="connsiteX168" fmla="*/ 3505221 w 7467600"/>
              <a:gd name="connsiteY168" fmla="*/ 4480757 h 6858000"/>
              <a:gd name="connsiteX169" fmla="*/ 2626982 w 7467600"/>
              <a:gd name="connsiteY169" fmla="*/ 4206450 h 6858000"/>
              <a:gd name="connsiteX170" fmla="*/ 1310106 w 7467600"/>
              <a:gd name="connsiteY170" fmla="*/ 3943217 h 6858000"/>
              <a:gd name="connsiteX171" fmla="*/ 854994 w 7467600"/>
              <a:gd name="connsiteY171" fmla="*/ 4399136 h 6858000"/>
              <a:gd name="connsiteX172" fmla="*/ 742462 w 7467600"/>
              <a:gd name="connsiteY172" fmla="*/ 4594648 h 6858000"/>
              <a:gd name="connsiteX173" fmla="*/ 820602 w 7467600"/>
              <a:gd name="connsiteY173" fmla="*/ 4485915 h 6858000"/>
              <a:gd name="connsiteX174" fmla="*/ 878295 w 7467600"/>
              <a:gd name="connsiteY174" fmla="*/ 4403594 h 6858000"/>
              <a:gd name="connsiteX175" fmla="*/ 1240607 w 7467600"/>
              <a:gd name="connsiteY175" fmla="*/ 4010401 h 6858000"/>
              <a:gd name="connsiteX176" fmla="*/ 1310106 w 7467600"/>
              <a:gd name="connsiteY176" fmla="*/ 3943217 h 6858000"/>
              <a:gd name="connsiteX177" fmla="*/ 1423113 w 7467600"/>
              <a:gd name="connsiteY177" fmla="*/ 3874565 h 6858000"/>
              <a:gd name="connsiteX178" fmla="*/ 1260565 w 7467600"/>
              <a:gd name="connsiteY178" fmla="*/ 4031982 h 6858000"/>
              <a:gd name="connsiteX179" fmla="*/ 901900 w 7467600"/>
              <a:gd name="connsiteY179" fmla="*/ 4421236 h 6858000"/>
              <a:gd name="connsiteX180" fmla="*/ 845044 w 7467600"/>
              <a:gd name="connsiteY180" fmla="*/ 4502436 h 6858000"/>
              <a:gd name="connsiteX181" fmla="*/ 685926 w 7467600"/>
              <a:gd name="connsiteY181" fmla="*/ 4703069 h 6858000"/>
              <a:gd name="connsiteX182" fmla="*/ 684248 w 7467600"/>
              <a:gd name="connsiteY182" fmla="*/ 4706721 h 6858000"/>
              <a:gd name="connsiteX183" fmla="*/ 1423113 w 7467600"/>
              <a:gd name="connsiteY183" fmla="*/ 3874565 h 6858000"/>
              <a:gd name="connsiteX184" fmla="*/ 3316479 w 7467600"/>
              <a:gd name="connsiteY184" fmla="*/ 3872136 h 6858000"/>
              <a:gd name="connsiteX185" fmla="*/ 3546806 w 7467600"/>
              <a:gd name="connsiteY185" fmla="*/ 4356139 h 6858000"/>
              <a:gd name="connsiteX186" fmla="*/ 3364433 w 7467600"/>
              <a:gd name="connsiteY186" fmla="*/ 3953121 h 6858000"/>
              <a:gd name="connsiteX187" fmla="*/ 3316479 w 7467600"/>
              <a:gd name="connsiteY187" fmla="*/ 3872136 h 6858000"/>
              <a:gd name="connsiteX188" fmla="*/ 3291335 w 7467600"/>
              <a:gd name="connsiteY188" fmla="*/ 3767420 h 6858000"/>
              <a:gd name="connsiteX189" fmla="*/ 3390805 w 7467600"/>
              <a:gd name="connsiteY189" fmla="*/ 3937163 h 6858000"/>
              <a:gd name="connsiteX190" fmla="*/ 3579062 w 7467600"/>
              <a:gd name="connsiteY190" fmla="*/ 4359040 h 6858000"/>
              <a:gd name="connsiteX191" fmla="*/ 3467355 w 7467600"/>
              <a:gd name="connsiteY191" fmla="*/ 3988130 h 6858000"/>
              <a:gd name="connsiteX192" fmla="*/ 3310753 w 7467600"/>
              <a:gd name="connsiteY192" fmla="*/ 3787140 h 6858000"/>
              <a:gd name="connsiteX193" fmla="*/ 3291335 w 7467600"/>
              <a:gd name="connsiteY193" fmla="*/ 3767420 h 6858000"/>
              <a:gd name="connsiteX194" fmla="*/ 1635889 w 7467600"/>
              <a:gd name="connsiteY194" fmla="*/ 3709494 h 6858000"/>
              <a:gd name="connsiteX195" fmla="*/ 1634800 w 7467600"/>
              <a:gd name="connsiteY195" fmla="*/ 3731111 h 6858000"/>
              <a:gd name="connsiteX196" fmla="*/ 1635889 w 7467600"/>
              <a:gd name="connsiteY196" fmla="*/ 3709494 h 6858000"/>
              <a:gd name="connsiteX197" fmla="*/ 1510397 w 7467600"/>
              <a:gd name="connsiteY197" fmla="*/ 3684705 h 6858000"/>
              <a:gd name="connsiteX198" fmla="*/ 1146550 w 7467600"/>
              <a:gd name="connsiteY198" fmla="*/ 3802012 h 6858000"/>
              <a:gd name="connsiteX199" fmla="*/ 698834 w 7467600"/>
              <a:gd name="connsiteY199" fmla="*/ 3952272 h 6858000"/>
              <a:gd name="connsiteX200" fmla="*/ 34256 w 7467600"/>
              <a:gd name="connsiteY200" fmla="*/ 4347603 h 6858000"/>
              <a:gd name="connsiteX201" fmla="*/ 527241 w 7467600"/>
              <a:gd name="connsiteY201" fmla="*/ 4065078 h 6858000"/>
              <a:gd name="connsiteX202" fmla="*/ 1510397 w 7467600"/>
              <a:gd name="connsiteY202" fmla="*/ 3684705 h 6858000"/>
              <a:gd name="connsiteX203" fmla="*/ 1313114 w 7467600"/>
              <a:gd name="connsiteY203" fmla="*/ 3655216 h 6858000"/>
              <a:gd name="connsiteX204" fmla="*/ 1109304 w 7467600"/>
              <a:gd name="connsiteY204" fmla="*/ 3669030 h 6858000"/>
              <a:gd name="connsiteX205" fmla="*/ 8129 w 7467600"/>
              <a:gd name="connsiteY205" fmla="*/ 4330519 h 6858000"/>
              <a:gd name="connsiteX206" fmla="*/ 687572 w 7467600"/>
              <a:gd name="connsiteY206" fmla="*/ 3925629 h 6858000"/>
              <a:gd name="connsiteX207" fmla="*/ 1138365 w 7467600"/>
              <a:gd name="connsiteY207" fmla="*/ 3774515 h 6858000"/>
              <a:gd name="connsiteX208" fmla="*/ 1505579 w 7467600"/>
              <a:gd name="connsiteY208" fmla="*/ 3655526 h 6858000"/>
              <a:gd name="connsiteX209" fmla="*/ 1313114 w 7467600"/>
              <a:gd name="connsiteY209" fmla="*/ 3655216 h 6858000"/>
              <a:gd name="connsiteX210" fmla="*/ 3655073 w 7467600"/>
              <a:gd name="connsiteY210" fmla="*/ 3650884 h 6858000"/>
              <a:gd name="connsiteX211" fmla="*/ 3989938 w 7467600"/>
              <a:gd name="connsiteY211" fmla="*/ 3991685 h 6858000"/>
              <a:gd name="connsiteX212" fmla="*/ 4393907 w 7467600"/>
              <a:gd name="connsiteY212" fmla="*/ 4261258 h 6858000"/>
              <a:gd name="connsiteX213" fmla="*/ 4648051 w 7467600"/>
              <a:gd name="connsiteY213" fmla="*/ 4374051 h 6858000"/>
              <a:gd name="connsiteX214" fmla="*/ 4383389 w 7467600"/>
              <a:gd name="connsiteY214" fmla="*/ 4184369 h 6858000"/>
              <a:gd name="connsiteX215" fmla="*/ 4165508 w 7467600"/>
              <a:gd name="connsiteY215" fmla="*/ 4035196 h 6858000"/>
              <a:gd name="connsiteX216" fmla="*/ 4068162 w 7467600"/>
              <a:gd name="connsiteY216" fmla="*/ 3953394 h 6858000"/>
              <a:gd name="connsiteX217" fmla="*/ 3981416 w 7467600"/>
              <a:gd name="connsiteY217" fmla="*/ 3880482 h 6858000"/>
              <a:gd name="connsiteX218" fmla="*/ 3800147 w 7467600"/>
              <a:gd name="connsiteY218" fmla="*/ 3749872 h 6858000"/>
              <a:gd name="connsiteX219" fmla="*/ 3655073 w 7467600"/>
              <a:gd name="connsiteY219" fmla="*/ 3650884 h 6858000"/>
              <a:gd name="connsiteX220" fmla="*/ 3670252 w 7467600"/>
              <a:gd name="connsiteY220" fmla="*/ 3622798 h 6858000"/>
              <a:gd name="connsiteX221" fmla="*/ 3817258 w 7467600"/>
              <a:gd name="connsiteY221" fmla="*/ 3723577 h 6858000"/>
              <a:gd name="connsiteX222" fmla="*/ 4000461 w 7467600"/>
              <a:gd name="connsiteY222" fmla="*/ 3855966 h 6858000"/>
              <a:gd name="connsiteX223" fmla="*/ 4088180 w 7467600"/>
              <a:gd name="connsiteY223" fmla="*/ 3929774 h 6858000"/>
              <a:gd name="connsiteX224" fmla="*/ 4184555 w 7467600"/>
              <a:gd name="connsiteY224" fmla="*/ 4010683 h 6858000"/>
              <a:gd name="connsiteX225" fmla="*/ 4399563 w 7467600"/>
              <a:gd name="connsiteY225" fmla="*/ 4158106 h 6858000"/>
              <a:gd name="connsiteX226" fmla="*/ 4684469 w 7467600"/>
              <a:gd name="connsiteY226" fmla="*/ 4364680 h 6858000"/>
              <a:gd name="connsiteX227" fmla="*/ 4690271 w 7467600"/>
              <a:gd name="connsiteY227" fmla="*/ 4370034 h 6858000"/>
              <a:gd name="connsiteX228" fmla="*/ 4136093 w 7467600"/>
              <a:gd name="connsiteY228" fmla="*/ 3858466 h 6858000"/>
              <a:gd name="connsiteX229" fmla="*/ 3670252 w 7467600"/>
              <a:gd name="connsiteY229" fmla="*/ 3622798 h 6858000"/>
              <a:gd name="connsiteX230" fmla="*/ 4440129 w 7467600"/>
              <a:gd name="connsiteY230" fmla="*/ 3448571 h 6858000"/>
              <a:gd name="connsiteX231" fmla="*/ 4856525 w 7467600"/>
              <a:gd name="connsiteY231" fmla="*/ 3915351 h 6858000"/>
              <a:gd name="connsiteX232" fmla="*/ 5059055 w 7467600"/>
              <a:gd name="connsiteY232" fmla="*/ 4108918 h 6858000"/>
              <a:gd name="connsiteX233" fmla="*/ 5290070 w 7467600"/>
              <a:gd name="connsiteY233" fmla="*/ 4263619 h 6858000"/>
              <a:gd name="connsiteX234" fmla="*/ 4834991 w 7467600"/>
              <a:gd name="connsiteY234" fmla="*/ 3830985 h 6858000"/>
              <a:gd name="connsiteX235" fmla="*/ 4440129 w 7467600"/>
              <a:gd name="connsiteY235" fmla="*/ 3448571 h 6858000"/>
              <a:gd name="connsiteX236" fmla="*/ 4441737 w 7467600"/>
              <a:gd name="connsiteY236" fmla="*/ 3399734 h 6858000"/>
              <a:gd name="connsiteX237" fmla="*/ 4431236 w 7467600"/>
              <a:gd name="connsiteY237" fmla="*/ 3400954 h 6858000"/>
              <a:gd name="connsiteX238" fmla="*/ 4557150 w 7467600"/>
              <a:gd name="connsiteY238" fmla="*/ 3510023 h 6858000"/>
              <a:gd name="connsiteX239" fmla="*/ 4856936 w 7467600"/>
              <a:gd name="connsiteY239" fmla="*/ 3809146 h 6858000"/>
              <a:gd name="connsiteX240" fmla="*/ 5111996 w 7467600"/>
              <a:gd name="connsiteY240" fmla="*/ 4065759 h 6858000"/>
              <a:gd name="connsiteX241" fmla="*/ 5388878 w 7467600"/>
              <a:gd name="connsiteY241" fmla="*/ 4300185 h 6858000"/>
              <a:gd name="connsiteX242" fmla="*/ 5425556 w 7467600"/>
              <a:gd name="connsiteY242" fmla="*/ 4308967 h 6858000"/>
              <a:gd name="connsiteX243" fmla="*/ 4943646 w 7467600"/>
              <a:gd name="connsiteY243" fmla="*/ 3822916 h 6858000"/>
              <a:gd name="connsiteX244" fmla="*/ 4594837 w 7467600"/>
              <a:gd name="connsiteY244" fmla="*/ 3532274 h 6858000"/>
              <a:gd name="connsiteX245" fmla="*/ 4441737 w 7467600"/>
              <a:gd name="connsiteY245" fmla="*/ 3399734 h 6858000"/>
              <a:gd name="connsiteX246" fmla="*/ 5425834 w 7467600"/>
              <a:gd name="connsiteY246" fmla="*/ 3162785 h 6858000"/>
              <a:gd name="connsiteX247" fmla="*/ 5401644 w 7467600"/>
              <a:gd name="connsiteY247" fmla="*/ 3617847 h 6858000"/>
              <a:gd name="connsiteX248" fmla="*/ 5467256 w 7467600"/>
              <a:gd name="connsiteY248" fmla="*/ 4175494 h 6858000"/>
              <a:gd name="connsiteX249" fmla="*/ 5448069 w 7467600"/>
              <a:gd name="connsiteY249" fmla="*/ 3567554 h 6858000"/>
              <a:gd name="connsiteX250" fmla="*/ 5425834 w 7467600"/>
              <a:gd name="connsiteY250" fmla="*/ 3162785 h 6858000"/>
              <a:gd name="connsiteX251" fmla="*/ 1318687 w 7467600"/>
              <a:gd name="connsiteY251" fmla="*/ 3113840 h 6858000"/>
              <a:gd name="connsiteX252" fmla="*/ 1066793 w 7467600"/>
              <a:gd name="connsiteY252" fmla="*/ 3212171 h 6858000"/>
              <a:gd name="connsiteX253" fmla="*/ 993319 w 7467600"/>
              <a:gd name="connsiteY253" fmla="*/ 3247648 h 6858000"/>
              <a:gd name="connsiteX254" fmla="*/ 853081 w 7467600"/>
              <a:gd name="connsiteY254" fmla="*/ 3312410 h 6858000"/>
              <a:gd name="connsiteX255" fmla="*/ 805957 w 7467600"/>
              <a:gd name="connsiteY255" fmla="*/ 3330443 h 6858000"/>
              <a:gd name="connsiteX256" fmla="*/ 1318687 w 7467600"/>
              <a:gd name="connsiteY256" fmla="*/ 3113840 h 6858000"/>
              <a:gd name="connsiteX257" fmla="*/ 5453702 w 7467600"/>
              <a:gd name="connsiteY257" fmla="*/ 3090882 h 6858000"/>
              <a:gd name="connsiteX258" fmla="*/ 5480135 w 7467600"/>
              <a:gd name="connsiteY258" fmla="*/ 3565802 h 6858000"/>
              <a:gd name="connsiteX259" fmla="*/ 5499023 w 7467600"/>
              <a:gd name="connsiteY259" fmla="*/ 4166310 h 6858000"/>
              <a:gd name="connsiteX260" fmla="*/ 5547022 w 7467600"/>
              <a:gd name="connsiteY260" fmla="*/ 3607838 h 6858000"/>
              <a:gd name="connsiteX261" fmla="*/ 5515964 w 7467600"/>
              <a:gd name="connsiteY261" fmla="*/ 3378541 h 6858000"/>
              <a:gd name="connsiteX262" fmla="*/ 5453702 w 7467600"/>
              <a:gd name="connsiteY262" fmla="*/ 3090882 h 6858000"/>
              <a:gd name="connsiteX263" fmla="*/ 1238695 w 7467600"/>
              <a:gd name="connsiteY263" fmla="*/ 3076820 h 6858000"/>
              <a:gd name="connsiteX264" fmla="*/ 716371 w 7467600"/>
              <a:gd name="connsiteY264" fmla="*/ 3293249 h 6858000"/>
              <a:gd name="connsiteX265" fmla="*/ 579522 w 7467600"/>
              <a:gd name="connsiteY265" fmla="*/ 3371759 h 6858000"/>
              <a:gd name="connsiteX266" fmla="*/ 600288 w 7467600"/>
              <a:gd name="connsiteY266" fmla="*/ 3365555 h 6858000"/>
              <a:gd name="connsiteX267" fmla="*/ 840692 w 7467600"/>
              <a:gd name="connsiteY267" fmla="*/ 3284921 h 6858000"/>
              <a:gd name="connsiteX268" fmla="*/ 979248 w 7467600"/>
              <a:gd name="connsiteY268" fmla="*/ 3221003 h 6858000"/>
              <a:gd name="connsiteX269" fmla="*/ 1053282 w 7467600"/>
              <a:gd name="connsiteY269" fmla="*/ 3185247 h 6858000"/>
              <a:gd name="connsiteX270" fmla="*/ 1320603 w 7467600"/>
              <a:gd name="connsiteY270" fmla="*/ 3081281 h 6858000"/>
              <a:gd name="connsiteX271" fmla="*/ 1238695 w 7467600"/>
              <a:gd name="connsiteY271" fmla="*/ 3076820 h 6858000"/>
              <a:gd name="connsiteX272" fmla="*/ 5425627 w 7467600"/>
              <a:gd name="connsiteY272" fmla="*/ 2954192 h 6858000"/>
              <a:gd name="connsiteX273" fmla="*/ 5470770 w 7467600"/>
              <a:gd name="connsiteY273" fmla="*/ 3005435 h 6858000"/>
              <a:gd name="connsiteX274" fmla="*/ 5519779 w 7467600"/>
              <a:gd name="connsiteY274" fmla="*/ 4359223 h 6858000"/>
              <a:gd name="connsiteX275" fmla="*/ 5520293 w 7467600"/>
              <a:gd name="connsiteY275" fmla="*/ 4360602 h 6858000"/>
              <a:gd name="connsiteX276" fmla="*/ 5767221 w 7467600"/>
              <a:gd name="connsiteY276" fmla="*/ 4665564 h 6858000"/>
              <a:gd name="connsiteX277" fmla="*/ 6937169 w 7467600"/>
              <a:gd name="connsiteY277" fmla="*/ 4815941 h 6858000"/>
              <a:gd name="connsiteX278" fmla="*/ 6953922 w 7467600"/>
              <a:gd name="connsiteY278" fmla="*/ 4890068 h 6858000"/>
              <a:gd name="connsiteX279" fmla="*/ 6071359 w 7467600"/>
              <a:gd name="connsiteY279" fmla="*/ 4770770 h 6858000"/>
              <a:gd name="connsiteX280" fmla="*/ 6038839 w 7467600"/>
              <a:gd name="connsiteY280" fmla="*/ 4764474 h 6858000"/>
              <a:gd name="connsiteX281" fmla="*/ 6038706 w 7467600"/>
              <a:gd name="connsiteY281" fmla="*/ 4763847 h 6858000"/>
              <a:gd name="connsiteX282" fmla="*/ 6037784 w 7467600"/>
              <a:gd name="connsiteY282" fmla="*/ 4764270 h 6858000"/>
              <a:gd name="connsiteX283" fmla="*/ 6038839 w 7467600"/>
              <a:gd name="connsiteY283" fmla="*/ 4764474 h 6858000"/>
              <a:gd name="connsiteX284" fmla="*/ 6040338 w 7467600"/>
              <a:gd name="connsiteY284" fmla="*/ 4771418 h 6858000"/>
              <a:gd name="connsiteX285" fmla="*/ 6024488 w 7467600"/>
              <a:gd name="connsiteY285" fmla="*/ 4809903 h 6858000"/>
              <a:gd name="connsiteX286" fmla="*/ 5599771 w 7467600"/>
              <a:gd name="connsiteY286" fmla="*/ 5509652 h 6858000"/>
              <a:gd name="connsiteX287" fmla="*/ 5548843 w 7467600"/>
              <a:gd name="connsiteY287" fmla="*/ 5563845 h 6858000"/>
              <a:gd name="connsiteX288" fmla="*/ 5940952 w 7467600"/>
              <a:gd name="connsiteY288" fmla="*/ 6250028 h 6858000"/>
              <a:gd name="connsiteX289" fmla="*/ 6043441 w 7467600"/>
              <a:gd name="connsiteY289" fmla="*/ 6665847 h 6858000"/>
              <a:gd name="connsiteX290" fmla="*/ 6093432 w 7467600"/>
              <a:gd name="connsiteY290" fmla="*/ 6858000 h 6858000"/>
              <a:gd name="connsiteX291" fmla="*/ 6034344 w 7467600"/>
              <a:gd name="connsiteY291" fmla="*/ 6858000 h 6858000"/>
              <a:gd name="connsiteX292" fmla="*/ 6026679 w 7467600"/>
              <a:gd name="connsiteY292" fmla="*/ 6836959 h 6858000"/>
              <a:gd name="connsiteX293" fmla="*/ 5800441 w 7467600"/>
              <a:gd name="connsiteY293" fmla="*/ 6335286 h 6858000"/>
              <a:gd name="connsiteX294" fmla="*/ 5526562 w 7467600"/>
              <a:gd name="connsiteY294" fmla="*/ 5705388 h 6858000"/>
              <a:gd name="connsiteX295" fmla="*/ 5519640 w 7467600"/>
              <a:gd name="connsiteY295" fmla="*/ 5683774 h 6858000"/>
              <a:gd name="connsiteX296" fmla="*/ 5844559 w 7467600"/>
              <a:gd name="connsiteY296" fmla="*/ 6553349 h 6858000"/>
              <a:gd name="connsiteX297" fmla="*/ 5975994 w 7467600"/>
              <a:gd name="connsiteY297" fmla="*/ 6858000 h 6858000"/>
              <a:gd name="connsiteX298" fmla="*/ 5898547 w 7467600"/>
              <a:gd name="connsiteY298" fmla="*/ 6858000 h 6858000"/>
              <a:gd name="connsiteX299" fmla="*/ 5682041 w 7467600"/>
              <a:gd name="connsiteY299" fmla="*/ 6355860 h 6858000"/>
              <a:gd name="connsiteX300" fmla="*/ 5461758 w 7467600"/>
              <a:gd name="connsiteY300" fmla="*/ 5820220 h 6858000"/>
              <a:gd name="connsiteX301" fmla="*/ 5237282 w 7467600"/>
              <a:gd name="connsiteY301" fmla="*/ 6579086 h 6858000"/>
              <a:gd name="connsiteX302" fmla="*/ 5115009 w 7467600"/>
              <a:gd name="connsiteY302" fmla="*/ 6858000 h 6858000"/>
              <a:gd name="connsiteX303" fmla="*/ 5028074 w 7467600"/>
              <a:gd name="connsiteY303" fmla="*/ 6858000 h 6858000"/>
              <a:gd name="connsiteX304" fmla="*/ 5079508 w 7467600"/>
              <a:gd name="connsiteY304" fmla="*/ 6749074 h 6858000"/>
              <a:gd name="connsiteX305" fmla="*/ 5371846 w 7467600"/>
              <a:gd name="connsiteY305" fmla="*/ 5924413 h 6858000"/>
              <a:gd name="connsiteX306" fmla="*/ 5270512 w 7467600"/>
              <a:gd name="connsiteY306" fmla="*/ 6138975 h 6858000"/>
              <a:gd name="connsiteX307" fmla="*/ 5062409 w 7467600"/>
              <a:gd name="connsiteY307" fmla="*/ 6653544 h 6858000"/>
              <a:gd name="connsiteX308" fmla="*/ 5036628 w 7467600"/>
              <a:gd name="connsiteY308" fmla="*/ 6754247 h 6858000"/>
              <a:gd name="connsiteX309" fmla="*/ 5009112 w 7467600"/>
              <a:gd name="connsiteY309" fmla="*/ 6858000 h 6858000"/>
              <a:gd name="connsiteX310" fmla="*/ 4976679 w 7467600"/>
              <a:gd name="connsiteY310" fmla="*/ 6858000 h 6858000"/>
              <a:gd name="connsiteX311" fmla="*/ 5006537 w 7467600"/>
              <a:gd name="connsiteY311" fmla="*/ 6747068 h 6858000"/>
              <a:gd name="connsiteX312" fmla="*/ 5032723 w 7467600"/>
              <a:gd name="connsiteY312" fmla="*/ 6644957 h 6858000"/>
              <a:gd name="connsiteX313" fmla="*/ 5242949 w 7467600"/>
              <a:gd name="connsiteY313" fmla="*/ 6125175 h 6858000"/>
              <a:gd name="connsiteX314" fmla="*/ 5286321 w 7467600"/>
              <a:gd name="connsiteY314" fmla="*/ 6033555 h 6858000"/>
              <a:gd name="connsiteX315" fmla="*/ 5008210 w 7467600"/>
              <a:gd name="connsiteY315" fmla="*/ 6649194 h 6858000"/>
              <a:gd name="connsiteX316" fmla="*/ 4986321 w 7467600"/>
              <a:gd name="connsiteY316" fmla="*/ 6765687 h 6858000"/>
              <a:gd name="connsiteX317" fmla="*/ 4973474 w 7467600"/>
              <a:gd name="connsiteY317" fmla="*/ 6858000 h 6858000"/>
              <a:gd name="connsiteX318" fmla="*/ 4907178 w 7467600"/>
              <a:gd name="connsiteY318" fmla="*/ 6858000 h 6858000"/>
              <a:gd name="connsiteX319" fmla="*/ 4910810 w 7467600"/>
              <a:gd name="connsiteY319" fmla="*/ 6829660 h 6858000"/>
              <a:gd name="connsiteX320" fmla="*/ 4987461 w 7467600"/>
              <a:gd name="connsiteY320" fmla="*/ 6432994 h 6858000"/>
              <a:gd name="connsiteX321" fmla="*/ 5179262 w 7467600"/>
              <a:gd name="connsiteY321" fmla="*/ 6035044 h 6858000"/>
              <a:gd name="connsiteX322" fmla="*/ 4689678 w 7467600"/>
              <a:gd name="connsiteY322" fmla="*/ 6440241 h 6858000"/>
              <a:gd name="connsiteX323" fmla="*/ 4477543 w 7467600"/>
              <a:gd name="connsiteY323" fmla="*/ 6674836 h 6858000"/>
              <a:gd name="connsiteX324" fmla="*/ 4329957 w 7467600"/>
              <a:gd name="connsiteY324" fmla="*/ 6858000 h 6858000"/>
              <a:gd name="connsiteX325" fmla="*/ 4218595 w 7467600"/>
              <a:gd name="connsiteY325" fmla="*/ 6858000 h 6858000"/>
              <a:gd name="connsiteX326" fmla="*/ 4368888 w 7467600"/>
              <a:gd name="connsiteY326" fmla="*/ 6668412 h 6858000"/>
              <a:gd name="connsiteX327" fmla="*/ 4563091 w 7467600"/>
              <a:gd name="connsiteY327" fmla="*/ 6442508 h 6858000"/>
              <a:gd name="connsiteX328" fmla="*/ 5387324 w 7467600"/>
              <a:gd name="connsiteY328" fmla="*/ 5705830 h 6858000"/>
              <a:gd name="connsiteX329" fmla="*/ 5073620 w 7467600"/>
              <a:gd name="connsiteY329" fmla="*/ 5955437 h 6858000"/>
              <a:gd name="connsiteX330" fmla="*/ 4689789 w 7467600"/>
              <a:gd name="connsiteY330" fmla="*/ 6268382 h 6858000"/>
              <a:gd name="connsiteX331" fmla="*/ 4418722 w 7467600"/>
              <a:gd name="connsiteY331" fmla="*/ 6570886 h 6858000"/>
              <a:gd name="connsiteX332" fmla="*/ 4214944 w 7467600"/>
              <a:gd name="connsiteY332" fmla="*/ 6858000 h 6858000"/>
              <a:gd name="connsiteX333" fmla="*/ 4177898 w 7467600"/>
              <a:gd name="connsiteY333" fmla="*/ 6858000 h 6858000"/>
              <a:gd name="connsiteX334" fmla="*/ 4391597 w 7467600"/>
              <a:gd name="connsiteY334" fmla="*/ 6556370 h 6858000"/>
              <a:gd name="connsiteX335" fmla="*/ 4668889 w 7467600"/>
              <a:gd name="connsiteY335" fmla="*/ 6246399 h 6858000"/>
              <a:gd name="connsiteX336" fmla="*/ 5055427 w 7467600"/>
              <a:gd name="connsiteY336" fmla="*/ 5931476 h 6858000"/>
              <a:gd name="connsiteX337" fmla="*/ 5371814 w 7467600"/>
              <a:gd name="connsiteY337" fmla="*/ 5678975 h 6858000"/>
              <a:gd name="connsiteX338" fmla="*/ 4987918 w 7467600"/>
              <a:gd name="connsiteY338" fmla="*/ 5838701 h 6858000"/>
              <a:gd name="connsiteX339" fmla="*/ 4317146 w 7467600"/>
              <a:gd name="connsiteY339" fmla="*/ 6587716 h 6858000"/>
              <a:gd name="connsiteX340" fmla="*/ 4171627 w 7467600"/>
              <a:gd name="connsiteY340" fmla="*/ 6858000 h 6858000"/>
              <a:gd name="connsiteX341" fmla="*/ 4081585 w 7467600"/>
              <a:gd name="connsiteY341" fmla="*/ 6858000 h 6858000"/>
              <a:gd name="connsiteX342" fmla="*/ 4238603 w 7467600"/>
              <a:gd name="connsiteY342" fmla="*/ 6559341 h 6858000"/>
              <a:gd name="connsiteX343" fmla="*/ 4778333 w 7467600"/>
              <a:gd name="connsiteY343" fmla="*/ 5873626 h 6858000"/>
              <a:gd name="connsiteX344" fmla="*/ 5414185 w 7467600"/>
              <a:gd name="connsiteY344" fmla="*/ 5573882 h 6858000"/>
              <a:gd name="connsiteX345" fmla="*/ 5959648 w 7467600"/>
              <a:gd name="connsiteY345" fmla="*/ 4760797 h 6858000"/>
              <a:gd name="connsiteX346" fmla="*/ 5355019 w 7467600"/>
              <a:gd name="connsiteY346" fmla="*/ 4734672 h 6858000"/>
              <a:gd name="connsiteX347" fmla="*/ 5083565 w 7467600"/>
              <a:gd name="connsiteY347" fmla="*/ 5179121 h 6858000"/>
              <a:gd name="connsiteX348" fmla="*/ 4713577 w 7467600"/>
              <a:gd name="connsiteY348" fmla="*/ 5616803 h 6858000"/>
              <a:gd name="connsiteX349" fmla="*/ 3989559 w 7467600"/>
              <a:gd name="connsiteY349" fmla="*/ 6145945 h 6858000"/>
              <a:gd name="connsiteX350" fmla="*/ 3939824 w 7467600"/>
              <a:gd name="connsiteY350" fmla="*/ 6066900 h 6858000"/>
              <a:gd name="connsiteX351" fmla="*/ 4584537 w 7467600"/>
              <a:gd name="connsiteY351" fmla="*/ 5324826 h 6858000"/>
              <a:gd name="connsiteX352" fmla="*/ 5037105 w 7467600"/>
              <a:gd name="connsiteY352" fmla="*/ 5088765 h 6858000"/>
              <a:gd name="connsiteX353" fmla="*/ 5039930 w 7467600"/>
              <a:gd name="connsiteY353" fmla="*/ 5089585 h 6858000"/>
              <a:gd name="connsiteX354" fmla="*/ 5263764 w 7467600"/>
              <a:gd name="connsiteY354" fmla="*/ 4735525 h 6858000"/>
              <a:gd name="connsiteX355" fmla="*/ 4086300 w 7467600"/>
              <a:gd name="connsiteY355" fmla="*/ 4884599 h 6858000"/>
              <a:gd name="connsiteX356" fmla="*/ 4085485 w 7467600"/>
              <a:gd name="connsiteY356" fmla="*/ 4899070 h 6858000"/>
              <a:gd name="connsiteX357" fmla="*/ 3871915 w 7467600"/>
              <a:gd name="connsiteY357" fmla="*/ 5253645 h 6858000"/>
              <a:gd name="connsiteX358" fmla="*/ 3799374 w 7467600"/>
              <a:gd name="connsiteY358" fmla="*/ 5466127 h 6858000"/>
              <a:gd name="connsiteX359" fmla="*/ 3498850 w 7467600"/>
              <a:gd name="connsiteY359" fmla="*/ 6661888 h 6858000"/>
              <a:gd name="connsiteX360" fmla="*/ 3399216 w 7467600"/>
              <a:gd name="connsiteY360" fmla="*/ 6858000 h 6858000"/>
              <a:gd name="connsiteX361" fmla="*/ 3303688 w 7467600"/>
              <a:gd name="connsiteY361" fmla="*/ 6858000 h 6858000"/>
              <a:gd name="connsiteX362" fmla="*/ 3391774 w 7467600"/>
              <a:gd name="connsiteY362" fmla="*/ 6697181 h 6858000"/>
              <a:gd name="connsiteX363" fmla="*/ 3735540 w 7467600"/>
              <a:gd name="connsiteY363" fmla="*/ 5546923 h 6858000"/>
              <a:gd name="connsiteX364" fmla="*/ 3729438 w 7467600"/>
              <a:gd name="connsiteY364" fmla="*/ 5569058 h 6858000"/>
              <a:gd name="connsiteX365" fmla="*/ 3707782 w 7467600"/>
              <a:gd name="connsiteY365" fmla="*/ 5644908 h 6858000"/>
              <a:gd name="connsiteX366" fmla="*/ 3583827 w 7467600"/>
              <a:gd name="connsiteY366" fmla="*/ 6039215 h 6858000"/>
              <a:gd name="connsiteX367" fmla="*/ 3547861 w 7467600"/>
              <a:gd name="connsiteY367" fmla="*/ 6129609 h 6858000"/>
              <a:gd name="connsiteX368" fmla="*/ 3490905 w 7467600"/>
              <a:gd name="connsiteY368" fmla="*/ 6277660 h 6858000"/>
              <a:gd name="connsiteX369" fmla="*/ 3455859 w 7467600"/>
              <a:gd name="connsiteY369" fmla="*/ 6391301 h 6858000"/>
              <a:gd name="connsiteX370" fmla="*/ 3429112 w 7467600"/>
              <a:gd name="connsiteY370" fmla="*/ 6479469 h 6858000"/>
              <a:gd name="connsiteX371" fmla="*/ 3304862 w 7467600"/>
              <a:gd name="connsiteY371" fmla="*/ 6796476 h 6858000"/>
              <a:gd name="connsiteX372" fmla="*/ 3276071 w 7467600"/>
              <a:gd name="connsiteY372" fmla="*/ 6858000 h 6858000"/>
              <a:gd name="connsiteX373" fmla="*/ 3240805 w 7467600"/>
              <a:gd name="connsiteY373" fmla="*/ 6858000 h 6858000"/>
              <a:gd name="connsiteX374" fmla="*/ 3275917 w 7467600"/>
              <a:gd name="connsiteY374" fmla="*/ 6783192 h 6858000"/>
              <a:gd name="connsiteX375" fmla="*/ 3399358 w 7467600"/>
              <a:gd name="connsiteY375" fmla="*/ 6469011 h 6858000"/>
              <a:gd name="connsiteX376" fmla="*/ 3425650 w 7467600"/>
              <a:gd name="connsiteY376" fmla="*/ 6381333 h 6858000"/>
              <a:gd name="connsiteX377" fmla="*/ 3460661 w 7467600"/>
              <a:gd name="connsiteY377" fmla="*/ 6266763 h 6858000"/>
              <a:gd name="connsiteX378" fmla="*/ 3518021 w 7467600"/>
              <a:gd name="connsiteY378" fmla="*/ 6117298 h 6858000"/>
              <a:gd name="connsiteX379" fmla="*/ 3554035 w 7467600"/>
              <a:gd name="connsiteY379" fmla="*/ 6027832 h 6858000"/>
              <a:gd name="connsiteX380" fmla="*/ 3677174 w 7467600"/>
              <a:gd name="connsiteY380" fmla="*/ 5636351 h 6858000"/>
              <a:gd name="connsiteX381" fmla="*/ 3698819 w 7467600"/>
              <a:gd name="connsiteY381" fmla="*/ 5560503 h 6858000"/>
              <a:gd name="connsiteX382" fmla="*/ 3702094 w 7467600"/>
              <a:gd name="connsiteY382" fmla="*/ 5549194 h 6858000"/>
              <a:gd name="connsiteX383" fmla="*/ 3398355 w 7467600"/>
              <a:gd name="connsiteY383" fmla="*/ 6094603 h 6858000"/>
              <a:gd name="connsiteX384" fmla="*/ 3193941 w 7467600"/>
              <a:gd name="connsiteY384" fmla="*/ 6798775 h 6858000"/>
              <a:gd name="connsiteX385" fmla="*/ 3184140 w 7467600"/>
              <a:gd name="connsiteY385" fmla="*/ 6858000 h 6858000"/>
              <a:gd name="connsiteX386" fmla="*/ 3099978 w 7467600"/>
              <a:gd name="connsiteY386" fmla="*/ 6858000 h 6858000"/>
              <a:gd name="connsiteX387" fmla="*/ 3101556 w 7467600"/>
              <a:gd name="connsiteY387" fmla="*/ 6843337 h 6858000"/>
              <a:gd name="connsiteX388" fmla="*/ 3370162 w 7467600"/>
              <a:gd name="connsiteY388" fmla="*/ 5785550 h 6858000"/>
              <a:gd name="connsiteX389" fmla="*/ 3746477 w 7467600"/>
              <a:gd name="connsiteY389" fmla="*/ 5377889 h 6858000"/>
              <a:gd name="connsiteX390" fmla="*/ 3863399 w 7467600"/>
              <a:gd name="connsiteY390" fmla="*/ 5087257 h 6858000"/>
              <a:gd name="connsiteX391" fmla="*/ 3968712 w 7467600"/>
              <a:gd name="connsiteY391" fmla="*/ 4913989 h 6858000"/>
              <a:gd name="connsiteX392" fmla="*/ 2792390 w 7467600"/>
              <a:gd name="connsiteY392" fmla="*/ 5382974 h 6858000"/>
              <a:gd name="connsiteX393" fmla="*/ 2714982 w 7467600"/>
              <a:gd name="connsiteY393" fmla="*/ 5427051 h 6858000"/>
              <a:gd name="connsiteX394" fmla="*/ 2813361 w 7467600"/>
              <a:gd name="connsiteY394" fmla="*/ 6023912 h 6858000"/>
              <a:gd name="connsiteX395" fmla="*/ 2688430 w 7467600"/>
              <a:gd name="connsiteY395" fmla="*/ 6801564 h 6858000"/>
              <a:gd name="connsiteX396" fmla="*/ 2629626 w 7467600"/>
              <a:gd name="connsiteY396" fmla="*/ 6763394 h 6858000"/>
              <a:gd name="connsiteX397" fmla="*/ 2565328 w 7467600"/>
              <a:gd name="connsiteY397" fmla="*/ 5516399 h 6858000"/>
              <a:gd name="connsiteX398" fmla="*/ 1922999 w 7467600"/>
              <a:gd name="connsiteY398" fmla="*/ 5980343 h 6858000"/>
              <a:gd name="connsiteX399" fmla="*/ 1950261 w 7467600"/>
              <a:gd name="connsiteY399" fmla="*/ 6405858 h 6858000"/>
              <a:gd name="connsiteX400" fmla="*/ 2365554 w 7467600"/>
              <a:gd name="connsiteY400" fmla="*/ 6759107 h 6858000"/>
              <a:gd name="connsiteX401" fmla="*/ 2424142 w 7467600"/>
              <a:gd name="connsiteY401" fmla="*/ 6858000 h 6858000"/>
              <a:gd name="connsiteX402" fmla="*/ 2395994 w 7467600"/>
              <a:gd name="connsiteY402" fmla="*/ 6858000 h 6858000"/>
              <a:gd name="connsiteX403" fmla="*/ 2392863 w 7467600"/>
              <a:gd name="connsiteY403" fmla="*/ 6852964 h 6858000"/>
              <a:gd name="connsiteX404" fmla="*/ 2017589 w 7467600"/>
              <a:gd name="connsiteY404" fmla="*/ 6493982 h 6858000"/>
              <a:gd name="connsiteX405" fmla="*/ 2147336 w 7467600"/>
              <a:gd name="connsiteY405" fmla="*/ 6594052 h 6858000"/>
              <a:gd name="connsiteX406" fmla="*/ 2207047 w 7467600"/>
              <a:gd name="connsiteY406" fmla="*/ 6654540 h 6858000"/>
              <a:gd name="connsiteX407" fmla="*/ 2299106 w 7467600"/>
              <a:gd name="connsiteY407" fmla="*/ 6778931 h 6858000"/>
              <a:gd name="connsiteX408" fmla="*/ 2314430 w 7467600"/>
              <a:gd name="connsiteY408" fmla="*/ 6801144 h 6858000"/>
              <a:gd name="connsiteX409" fmla="*/ 2352406 w 7467600"/>
              <a:gd name="connsiteY409" fmla="*/ 6858000 h 6858000"/>
              <a:gd name="connsiteX410" fmla="*/ 2314492 w 7467600"/>
              <a:gd name="connsiteY410" fmla="*/ 6858000 h 6858000"/>
              <a:gd name="connsiteX411" fmla="*/ 2288095 w 7467600"/>
              <a:gd name="connsiteY411" fmla="*/ 6818030 h 6858000"/>
              <a:gd name="connsiteX412" fmla="*/ 2272768 w 7467600"/>
              <a:gd name="connsiteY412" fmla="*/ 6795822 h 6858000"/>
              <a:gd name="connsiteX413" fmla="*/ 2182715 w 7467600"/>
              <a:gd name="connsiteY413" fmla="*/ 6675071 h 6858000"/>
              <a:gd name="connsiteX414" fmla="*/ 2032061 w 7467600"/>
              <a:gd name="connsiteY414" fmla="*/ 6541380 h 6858000"/>
              <a:gd name="connsiteX415" fmla="*/ 2257220 w 7467600"/>
              <a:gd name="connsiteY415" fmla="*/ 6826257 h 6858000"/>
              <a:gd name="connsiteX416" fmla="*/ 2281324 w 7467600"/>
              <a:gd name="connsiteY416" fmla="*/ 6858000 h 6858000"/>
              <a:gd name="connsiteX417" fmla="*/ 2242860 w 7467600"/>
              <a:gd name="connsiteY417" fmla="*/ 6858000 h 6858000"/>
              <a:gd name="connsiteX418" fmla="*/ 2232818 w 7467600"/>
              <a:gd name="connsiteY418" fmla="*/ 6844926 h 6858000"/>
              <a:gd name="connsiteX419" fmla="*/ 1990172 w 7467600"/>
              <a:gd name="connsiteY419" fmla="*/ 6542121 h 6858000"/>
              <a:gd name="connsiteX420" fmla="*/ 2124090 w 7467600"/>
              <a:gd name="connsiteY420" fmla="*/ 6761017 h 6858000"/>
              <a:gd name="connsiteX421" fmla="*/ 2200380 w 7467600"/>
              <a:gd name="connsiteY421" fmla="*/ 6858000 h 6858000"/>
              <a:gd name="connsiteX422" fmla="*/ 2147507 w 7467600"/>
              <a:gd name="connsiteY422" fmla="*/ 6858000 h 6858000"/>
              <a:gd name="connsiteX423" fmla="*/ 2070668 w 7467600"/>
              <a:gd name="connsiteY423" fmla="*/ 6761520 h 6858000"/>
              <a:gd name="connsiteX424" fmla="*/ 1975142 w 7467600"/>
              <a:gd name="connsiteY424" fmla="*/ 6585570 h 6858000"/>
              <a:gd name="connsiteX425" fmla="*/ 2050035 w 7467600"/>
              <a:gd name="connsiteY425" fmla="*/ 6813345 h 6858000"/>
              <a:gd name="connsiteX426" fmla="*/ 2063025 w 7467600"/>
              <a:gd name="connsiteY426" fmla="*/ 6858000 h 6858000"/>
              <a:gd name="connsiteX427" fmla="*/ 2021675 w 7467600"/>
              <a:gd name="connsiteY427" fmla="*/ 6858000 h 6858000"/>
              <a:gd name="connsiteX428" fmla="*/ 2019308 w 7467600"/>
              <a:gd name="connsiteY428" fmla="*/ 6847118 h 6858000"/>
              <a:gd name="connsiteX429" fmla="*/ 1938835 w 7467600"/>
              <a:gd name="connsiteY429" fmla="*/ 6551160 h 6858000"/>
              <a:gd name="connsiteX430" fmla="*/ 1953230 w 7467600"/>
              <a:gd name="connsiteY430" fmla="*/ 6759699 h 6858000"/>
              <a:gd name="connsiteX431" fmla="*/ 1956763 w 7467600"/>
              <a:gd name="connsiteY431" fmla="*/ 6778191 h 6858000"/>
              <a:gd name="connsiteX432" fmla="*/ 1967925 w 7467600"/>
              <a:gd name="connsiteY432" fmla="*/ 6858000 h 6858000"/>
              <a:gd name="connsiteX433" fmla="*/ 1936622 w 7467600"/>
              <a:gd name="connsiteY433" fmla="*/ 6858000 h 6858000"/>
              <a:gd name="connsiteX434" fmla="*/ 1926261 w 7467600"/>
              <a:gd name="connsiteY434" fmla="*/ 6784064 h 6858000"/>
              <a:gd name="connsiteX435" fmla="*/ 1922724 w 7467600"/>
              <a:gd name="connsiteY435" fmla="*/ 6765577 h 6858000"/>
              <a:gd name="connsiteX436" fmla="*/ 1904650 w 7467600"/>
              <a:gd name="connsiteY436" fmla="*/ 6639616 h 6858000"/>
              <a:gd name="connsiteX437" fmla="*/ 1885273 w 7467600"/>
              <a:gd name="connsiteY437" fmla="*/ 6858000 h 6858000"/>
              <a:gd name="connsiteX438" fmla="*/ 1854363 w 7467600"/>
              <a:gd name="connsiteY438" fmla="*/ 6858000 h 6858000"/>
              <a:gd name="connsiteX439" fmla="*/ 1880391 w 7467600"/>
              <a:gd name="connsiteY439" fmla="*/ 6603796 h 6858000"/>
              <a:gd name="connsiteX440" fmla="*/ 1818273 w 7467600"/>
              <a:gd name="connsiteY440" fmla="*/ 6715729 h 6858000"/>
              <a:gd name="connsiteX441" fmla="*/ 1794691 w 7467600"/>
              <a:gd name="connsiteY441" fmla="*/ 6843239 h 6858000"/>
              <a:gd name="connsiteX442" fmla="*/ 1794914 w 7467600"/>
              <a:gd name="connsiteY442" fmla="*/ 6858000 h 6858000"/>
              <a:gd name="connsiteX443" fmla="*/ 1746128 w 7467600"/>
              <a:gd name="connsiteY443" fmla="*/ 6858000 h 6858000"/>
              <a:gd name="connsiteX444" fmla="*/ 1753934 w 7467600"/>
              <a:gd name="connsiteY444" fmla="*/ 6724796 h 6858000"/>
              <a:gd name="connsiteX445" fmla="*/ 1792053 w 7467600"/>
              <a:gd name="connsiteY445" fmla="*/ 6572396 h 6858000"/>
              <a:gd name="connsiteX446" fmla="*/ 1862248 w 7467600"/>
              <a:gd name="connsiteY446" fmla="*/ 6266397 h 6858000"/>
              <a:gd name="connsiteX447" fmla="*/ 1862250 w 7467600"/>
              <a:gd name="connsiteY447" fmla="*/ 6033531 h 6858000"/>
              <a:gd name="connsiteX448" fmla="*/ 1211999 w 7467600"/>
              <a:gd name="connsiteY448" fmla="*/ 6683610 h 6858000"/>
              <a:gd name="connsiteX449" fmla="*/ 1213266 w 7467600"/>
              <a:gd name="connsiteY449" fmla="*/ 6691947 h 6858000"/>
              <a:gd name="connsiteX450" fmla="*/ 1203370 w 7467600"/>
              <a:gd name="connsiteY450" fmla="*/ 6850676 h 6858000"/>
              <a:gd name="connsiteX451" fmla="*/ 1203671 w 7467600"/>
              <a:gd name="connsiteY451" fmla="*/ 6858000 h 6858000"/>
              <a:gd name="connsiteX452" fmla="*/ 1143180 w 7467600"/>
              <a:gd name="connsiteY452" fmla="*/ 6858000 h 6858000"/>
              <a:gd name="connsiteX453" fmla="*/ 1142176 w 7467600"/>
              <a:gd name="connsiteY453" fmla="*/ 6766045 h 6858000"/>
              <a:gd name="connsiteX454" fmla="*/ 1067484 w 7467600"/>
              <a:gd name="connsiteY454" fmla="*/ 6858000 h 6858000"/>
              <a:gd name="connsiteX455" fmla="*/ 953928 w 7467600"/>
              <a:gd name="connsiteY455" fmla="*/ 6858000 h 6858000"/>
              <a:gd name="connsiteX456" fmla="*/ 959715 w 7467600"/>
              <a:gd name="connsiteY456" fmla="*/ 6850185 h 6858000"/>
              <a:gd name="connsiteX457" fmla="*/ 1483788 w 7467600"/>
              <a:gd name="connsiteY457" fmla="*/ 6259174 h 6858000"/>
              <a:gd name="connsiteX458" fmla="*/ 1100671 w 7467600"/>
              <a:gd name="connsiteY458" fmla="*/ 6252137 h 6858000"/>
              <a:gd name="connsiteX459" fmla="*/ 1090144 w 7467600"/>
              <a:gd name="connsiteY459" fmla="*/ 6256748 h 6858000"/>
              <a:gd name="connsiteX460" fmla="*/ 1095872 w 7467600"/>
              <a:gd name="connsiteY460" fmla="*/ 6271892 h 6858000"/>
              <a:gd name="connsiteX461" fmla="*/ 262785 w 7467600"/>
              <a:gd name="connsiteY461" fmla="*/ 6845450 h 6858000"/>
              <a:gd name="connsiteX462" fmla="*/ 209968 w 7467600"/>
              <a:gd name="connsiteY462" fmla="*/ 6770713 h 6858000"/>
              <a:gd name="connsiteX463" fmla="*/ 873460 w 7467600"/>
              <a:gd name="connsiteY463" fmla="*/ 6253768 h 6858000"/>
              <a:gd name="connsiteX464" fmla="*/ 192686 w 7467600"/>
              <a:gd name="connsiteY464" fmla="*/ 5849257 h 6858000"/>
              <a:gd name="connsiteX465" fmla="*/ 4696 w 7467600"/>
              <a:gd name="connsiteY465" fmla="*/ 5697668 h 6858000"/>
              <a:gd name="connsiteX466" fmla="*/ 0 w 7467600"/>
              <a:gd name="connsiteY466" fmla="*/ 5689984 h 6858000"/>
              <a:gd name="connsiteX467" fmla="*/ 0 w 7467600"/>
              <a:gd name="connsiteY467" fmla="*/ 5513472 h 6858000"/>
              <a:gd name="connsiteX468" fmla="*/ 174101 w 7467600"/>
              <a:gd name="connsiteY468" fmla="*/ 5620277 h 6858000"/>
              <a:gd name="connsiteX469" fmla="*/ 891800 w 7467600"/>
              <a:gd name="connsiteY469" fmla="*/ 6036935 h 6858000"/>
              <a:gd name="connsiteX470" fmla="*/ 1072219 w 7467600"/>
              <a:gd name="connsiteY470" fmla="*/ 6169443 h 6858000"/>
              <a:gd name="connsiteX471" fmla="*/ 1074117 w 7467600"/>
              <a:gd name="connsiteY471" fmla="*/ 6170301 h 6858000"/>
              <a:gd name="connsiteX472" fmla="*/ 1083114 w 7467600"/>
              <a:gd name="connsiteY472" fmla="*/ 6174131 h 6858000"/>
              <a:gd name="connsiteX473" fmla="*/ 1543010 w 7467600"/>
              <a:gd name="connsiteY473" fmla="*/ 6191140 h 6858000"/>
              <a:gd name="connsiteX474" fmla="*/ 1551080 w 7467600"/>
              <a:gd name="connsiteY474" fmla="*/ 6195006 h 6858000"/>
              <a:gd name="connsiteX475" fmla="*/ 2345443 w 7467600"/>
              <a:gd name="connsiteY475" fmla="*/ 5549882 h 6858000"/>
              <a:gd name="connsiteX476" fmla="*/ 1721499 w 7467600"/>
              <a:gd name="connsiteY476" fmla="*/ 5599969 h 6858000"/>
              <a:gd name="connsiteX477" fmla="*/ 767716 w 7467600"/>
              <a:gd name="connsiteY477" fmla="*/ 5472768 h 6858000"/>
              <a:gd name="connsiteX478" fmla="*/ 722147 w 7467600"/>
              <a:gd name="connsiteY478" fmla="*/ 5393091 h 6858000"/>
              <a:gd name="connsiteX479" fmla="*/ 1485552 w 7467600"/>
              <a:gd name="connsiteY479" fmla="*/ 5313202 h 6858000"/>
              <a:gd name="connsiteX480" fmla="*/ 2143004 w 7467600"/>
              <a:gd name="connsiteY480" fmla="*/ 5402420 h 6858000"/>
              <a:gd name="connsiteX481" fmla="*/ 1933391 w 7467600"/>
              <a:gd name="connsiteY481" fmla="*/ 5156971 h 6858000"/>
              <a:gd name="connsiteX482" fmla="*/ 1827118 w 7467600"/>
              <a:gd name="connsiteY482" fmla="*/ 4968410 h 6858000"/>
              <a:gd name="connsiteX483" fmla="*/ 1837349 w 7467600"/>
              <a:gd name="connsiteY483" fmla="*/ 4956357 h 6858000"/>
              <a:gd name="connsiteX484" fmla="*/ 2162835 w 7467600"/>
              <a:gd name="connsiteY484" fmla="*/ 5187853 h 6858000"/>
              <a:gd name="connsiteX485" fmla="*/ 2257167 w 7467600"/>
              <a:gd name="connsiteY485" fmla="*/ 5462123 h 6858000"/>
              <a:gd name="connsiteX486" fmla="*/ 2261598 w 7467600"/>
              <a:gd name="connsiteY486" fmla="*/ 5467998 h 6858000"/>
              <a:gd name="connsiteX487" fmla="*/ 2437177 w 7467600"/>
              <a:gd name="connsiteY487" fmla="*/ 5479608 h 6858000"/>
              <a:gd name="connsiteX488" fmla="*/ 2445247 w 7467600"/>
              <a:gd name="connsiteY488" fmla="*/ 5483476 h 6858000"/>
              <a:gd name="connsiteX489" fmla="*/ 2743626 w 7467600"/>
              <a:gd name="connsiteY489" fmla="*/ 5304819 h 6858000"/>
              <a:gd name="connsiteX490" fmla="*/ 3048102 w 7467600"/>
              <a:gd name="connsiteY490" fmla="*/ 5150595 h 6858000"/>
              <a:gd name="connsiteX491" fmla="*/ 1799414 w 7467600"/>
              <a:gd name="connsiteY491" fmla="*/ 4694732 h 6858000"/>
              <a:gd name="connsiteX492" fmla="*/ 1771735 w 7467600"/>
              <a:gd name="connsiteY492" fmla="*/ 4619929 h 6858000"/>
              <a:gd name="connsiteX493" fmla="*/ 3104273 w 7467600"/>
              <a:gd name="connsiteY493" fmla="*/ 5076159 h 6858000"/>
              <a:gd name="connsiteX494" fmla="*/ 3113245 w 7467600"/>
              <a:gd name="connsiteY494" fmla="*/ 5090705 h 6858000"/>
              <a:gd name="connsiteX495" fmla="*/ 3126294 w 7467600"/>
              <a:gd name="connsiteY495" fmla="*/ 5114400 h 6858000"/>
              <a:gd name="connsiteX496" fmla="*/ 3937433 w 7467600"/>
              <a:gd name="connsiteY496" fmla="*/ 4830473 h 6858000"/>
              <a:gd name="connsiteX497" fmla="*/ 3590475 w 7467600"/>
              <a:gd name="connsiteY497" fmla="*/ 4597974 h 6858000"/>
              <a:gd name="connsiteX498" fmla="*/ 3100264 w 7467600"/>
              <a:gd name="connsiteY498" fmla="*/ 4579845 h 6858000"/>
              <a:gd name="connsiteX499" fmla="*/ 2183576 w 7467600"/>
              <a:gd name="connsiteY499" fmla="*/ 4227150 h 6858000"/>
              <a:gd name="connsiteX500" fmla="*/ 2151029 w 7467600"/>
              <a:gd name="connsiteY500" fmla="*/ 4146947 h 6858000"/>
              <a:gd name="connsiteX501" fmla="*/ 3563434 w 7467600"/>
              <a:gd name="connsiteY501" fmla="*/ 4469115 h 6858000"/>
              <a:gd name="connsiteX502" fmla="*/ 3177952 w 7467600"/>
              <a:gd name="connsiteY502" fmla="*/ 3657386 h 6858000"/>
              <a:gd name="connsiteX503" fmla="*/ 3189263 w 7467600"/>
              <a:gd name="connsiteY503" fmla="*/ 3625726 h 6858000"/>
              <a:gd name="connsiteX504" fmla="*/ 3560912 w 7467600"/>
              <a:gd name="connsiteY504" fmla="*/ 4079863 h 6858000"/>
              <a:gd name="connsiteX505" fmla="*/ 3626636 w 7467600"/>
              <a:gd name="connsiteY505" fmla="*/ 4512230 h 6858000"/>
              <a:gd name="connsiteX506" fmla="*/ 3653088 w 7467600"/>
              <a:gd name="connsiteY506" fmla="*/ 4521417 h 6858000"/>
              <a:gd name="connsiteX507" fmla="*/ 3988128 w 7467600"/>
              <a:gd name="connsiteY507" fmla="*/ 4817267 h 6858000"/>
              <a:gd name="connsiteX508" fmla="*/ 4830582 w 7467600"/>
              <a:gd name="connsiteY508" fmla="*/ 4676000 h 6858000"/>
              <a:gd name="connsiteX509" fmla="*/ 4830100 w 7467600"/>
              <a:gd name="connsiteY509" fmla="*/ 4675554 h 6858000"/>
              <a:gd name="connsiteX510" fmla="*/ 4036318 w 7467600"/>
              <a:gd name="connsiteY510" fmla="*/ 4147013 h 6858000"/>
              <a:gd name="connsiteX511" fmla="*/ 3432098 w 7467600"/>
              <a:gd name="connsiteY511" fmla="*/ 3537312 h 6858000"/>
              <a:gd name="connsiteX512" fmla="*/ 3446761 w 7467600"/>
              <a:gd name="connsiteY512" fmla="*/ 3461278 h 6858000"/>
              <a:gd name="connsiteX513" fmla="*/ 4419733 w 7467600"/>
              <a:gd name="connsiteY513" fmla="*/ 3963555 h 6858000"/>
              <a:gd name="connsiteX514" fmla="*/ 4781371 w 7467600"/>
              <a:gd name="connsiteY514" fmla="*/ 4458604 h 6858000"/>
              <a:gd name="connsiteX515" fmla="*/ 4780440 w 7467600"/>
              <a:gd name="connsiteY515" fmla="*/ 4470290 h 6858000"/>
              <a:gd name="connsiteX516" fmla="*/ 4898954 w 7467600"/>
              <a:gd name="connsiteY516" fmla="*/ 4662092 h 6858000"/>
              <a:gd name="connsiteX517" fmla="*/ 4900699 w 7467600"/>
              <a:gd name="connsiteY517" fmla="*/ 4670867 h 6858000"/>
              <a:gd name="connsiteX518" fmla="*/ 5714511 w 7467600"/>
              <a:gd name="connsiteY518" fmla="*/ 4663483 h 6858000"/>
              <a:gd name="connsiteX519" fmla="*/ 5464793 w 7467600"/>
              <a:gd name="connsiteY519" fmla="*/ 4393556 h 6858000"/>
              <a:gd name="connsiteX520" fmla="*/ 5461897 w 7467600"/>
              <a:gd name="connsiteY520" fmla="*/ 4390879 h 6858000"/>
              <a:gd name="connsiteX521" fmla="*/ 4294126 w 7467600"/>
              <a:gd name="connsiteY521" fmla="*/ 3303048 h 6858000"/>
              <a:gd name="connsiteX522" fmla="*/ 4305321 w 7467600"/>
              <a:gd name="connsiteY522" fmla="*/ 3256953 h 6858000"/>
              <a:gd name="connsiteX523" fmla="*/ 4949299 w 7467600"/>
              <a:gd name="connsiteY523" fmla="*/ 3766336 h 6858000"/>
              <a:gd name="connsiteX524" fmla="*/ 5291452 w 7467600"/>
              <a:gd name="connsiteY524" fmla="*/ 4076801 h 6858000"/>
              <a:gd name="connsiteX525" fmla="*/ 5434998 w 7467600"/>
              <a:gd name="connsiteY525" fmla="*/ 4254100 h 6858000"/>
              <a:gd name="connsiteX526" fmla="*/ 5351015 w 7467600"/>
              <a:gd name="connsiteY526" fmla="*/ 3760989 h 6858000"/>
              <a:gd name="connsiteX527" fmla="*/ 5413780 w 7467600"/>
              <a:gd name="connsiteY527" fmla="*/ 2966265 h 6858000"/>
              <a:gd name="connsiteX528" fmla="*/ 5425627 w 7467600"/>
              <a:gd name="connsiteY528" fmla="*/ 2954192 h 6858000"/>
              <a:gd name="connsiteX529" fmla="*/ 6604735 w 7467600"/>
              <a:gd name="connsiteY529" fmla="*/ 2041381 h 6858000"/>
              <a:gd name="connsiteX530" fmla="*/ 7204487 w 7467600"/>
              <a:gd name="connsiteY530" fmla="*/ 2742112 h 6858000"/>
              <a:gd name="connsiteX531" fmla="*/ 7131592 w 7467600"/>
              <a:gd name="connsiteY531" fmla="*/ 2672096 h 6858000"/>
              <a:gd name="connsiteX532" fmla="*/ 6996344 w 7467600"/>
              <a:gd name="connsiteY532" fmla="*/ 2518310 h 6858000"/>
              <a:gd name="connsiteX533" fmla="*/ 6735495 w 7467600"/>
              <a:gd name="connsiteY533" fmla="*/ 2196890 h 6858000"/>
              <a:gd name="connsiteX534" fmla="*/ 6721901 w 7467600"/>
              <a:gd name="connsiteY534" fmla="*/ 2179274 h 6858000"/>
              <a:gd name="connsiteX535" fmla="*/ 6604735 w 7467600"/>
              <a:gd name="connsiteY535" fmla="*/ 2041381 h 6858000"/>
              <a:gd name="connsiteX536" fmla="*/ 6591670 w 7467600"/>
              <a:gd name="connsiteY536" fmla="*/ 1988277 h 6858000"/>
              <a:gd name="connsiteX537" fmla="*/ 6747349 w 7467600"/>
              <a:gd name="connsiteY537" fmla="*/ 2160069 h 6858000"/>
              <a:gd name="connsiteX538" fmla="*/ 6760943 w 7467600"/>
              <a:gd name="connsiteY538" fmla="*/ 2177686 h 6858000"/>
              <a:gd name="connsiteX539" fmla="*/ 7021065 w 7467600"/>
              <a:gd name="connsiteY539" fmla="*/ 2498102 h 6858000"/>
              <a:gd name="connsiteX540" fmla="*/ 7155223 w 7467600"/>
              <a:gd name="connsiteY540" fmla="*/ 2650386 h 6858000"/>
              <a:gd name="connsiteX541" fmla="*/ 7203167 w 7467600"/>
              <a:gd name="connsiteY541" fmla="*/ 2697288 h 6858000"/>
              <a:gd name="connsiteX542" fmla="*/ 6937703 w 7467600"/>
              <a:gd name="connsiteY542" fmla="*/ 2321981 h 6858000"/>
              <a:gd name="connsiteX543" fmla="*/ 6591670 w 7467600"/>
              <a:gd name="connsiteY543" fmla="*/ 1988277 h 6858000"/>
              <a:gd name="connsiteX544" fmla="*/ 5798671 w 7467600"/>
              <a:gd name="connsiteY544" fmla="*/ 1981601 h 6858000"/>
              <a:gd name="connsiteX545" fmla="*/ 5754709 w 7467600"/>
              <a:gd name="connsiteY545" fmla="*/ 2071454 h 6858000"/>
              <a:gd name="connsiteX546" fmla="*/ 5763044 w 7467600"/>
              <a:gd name="connsiteY546" fmla="*/ 2842206 h 6858000"/>
              <a:gd name="connsiteX547" fmla="*/ 5764974 w 7467600"/>
              <a:gd name="connsiteY547" fmla="*/ 2799609 h 6858000"/>
              <a:gd name="connsiteX548" fmla="*/ 5767665 w 7467600"/>
              <a:gd name="connsiteY548" fmla="*/ 2666409 h 6858000"/>
              <a:gd name="connsiteX549" fmla="*/ 5763055 w 7467600"/>
              <a:gd name="connsiteY549" fmla="*/ 2579705 h 6858000"/>
              <a:gd name="connsiteX550" fmla="*/ 5758079 w 7467600"/>
              <a:gd name="connsiteY550" fmla="*/ 2492508 h 6858000"/>
              <a:gd name="connsiteX551" fmla="*/ 5779325 w 7467600"/>
              <a:gd name="connsiteY551" fmla="*/ 2197069 h 6858000"/>
              <a:gd name="connsiteX552" fmla="*/ 5798671 w 7467600"/>
              <a:gd name="connsiteY552" fmla="*/ 1981601 h 6858000"/>
              <a:gd name="connsiteX553" fmla="*/ 5829202 w 7467600"/>
              <a:gd name="connsiteY553" fmla="*/ 1971679 h 6858000"/>
              <a:gd name="connsiteX554" fmla="*/ 5809558 w 7467600"/>
              <a:gd name="connsiteY554" fmla="*/ 2198043 h 6858000"/>
              <a:gd name="connsiteX555" fmla="*/ 5788653 w 7467600"/>
              <a:gd name="connsiteY555" fmla="*/ 2489430 h 6858000"/>
              <a:gd name="connsiteX556" fmla="*/ 5793439 w 7467600"/>
              <a:gd name="connsiteY556" fmla="*/ 2575235 h 6858000"/>
              <a:gd name="connsiteX557" fmla="*/ 5796837 w 7467600"/>
              <a:gd name="connsiteY557" fmla="*/ 2637633 h 6858000"/>
              <a:gd name="connsiteX558" fmla="*/ 5818614 w 7467600"/>
              <a:gd name="connsiteY558" fmla="*/ 2473055 h 6858000"/>
              <a:gd name="connsiteX559" fmla="*/ 5829202 w 7467600"/>
              <a:gd name="connsiteY559" fmla="*/ 1971679 h 6858000"/>
              <a:gd name="connsiteX560" fmla="*/ 5911389 w 7467600"/>
              <a:gd name="connsiteY560" fmla="*/ 1898371 h 6858000"/>
              <a:gd name="connsiteX561" fmla="*/ 6237627 w 7467600"/>
              <a:gd name="connsiteY561" fmla="*/ 2231921 h 6858000"/>
              <a:gd name="connsiteX562" fmla="*/ 5911389 w 7467600"/>
              <a:gd name="connsiteY562" fmla="*/ 1898371 h 6858000"/>
              <a:gd name="connsiteX563" fmla="*/ 6944437 w 7467600"/>
              <a:gd name="connsiteY563" fmla="*/ 1575402 h 6858000"/>
              <a:gd name="connsiteX564" fmla="*/ 6304730 w 7467600"/>
              <a:gd name="connsiteY564" fmla="*/ 1766654 h 6858000"/>
              <a:gd name="connsiteX565" fmla="*/ 6944437 w 7467600"/>
              <a:gd name="connsiteY565" fmla="*/ 1575402 h 6858000"/>
              <a:gd name="connsiteX566" fmla="*/ 7019523 w 7467600"/>
              <a:gd name="connsiteY566" fmla="*/ 1519450 h 6858000"/>
              <a:gd name="connsiteX567" fmla="*/ 6298091 w 7467600"/>
              <a:gd name="connsiteY567" fmla="*/ 1737122 h 6858000"/>
              <a:gd name="connsiteX568" fmla="*/ 7019523 w 7467600"/>
              <a:gd name="connsiteY568" fmla="*/ 1519450 h 6858000"/>
              <a:gd name="connsiteX569" fmla="*/ 2399523 w 7467600"/>
              <a:gd name="connsiteY569" fmla="*/ 1428234 h 6858000"/>
              <a:gd name="connsiteX570" fmla="*/ 2224982 w 7467600"/>
              <a:gd name="connsiteY570" fmla="*/ 1826201 h 6858000"/>
              <a:gd name="connsiteX571" fmla="*/ 2096099 w 7467600"/>
              <a:gd name="connsiteY571" fmla="*/ 2345900 h 6858000"/>
              <a:gd name="connsiteX572" fmla="*/ 2283317 w 7467600"/>
              <a:gd name="connsiteY572" fmla="*/ 1796925 h 6858000"/>
              <a:gd name="connsiteX573" fmla="*/ 2399523 w 7467600"/>
              <a:gd name="connsiteY573" fmla="*/ 1428234 h 6858000"/>
              <a:gd name="connsiteX574" fmla="*/ 2448558 w 7467600"/>
              <a:gd name="connsiteY574" fmla="*/ 1373435 h 6858000"/>
              <a:gd name="connsiteX575" fmla="*/ 2312521 w 7467600"/>
              <a:gd name="connsiteY575" fmla="*/ 1806140 h 6858000"/>
              <a:gd name="connsiteX576" fmla="*/ 2127533 w 7467600"/>
              <a:gd name="connsiteY576" fmla="*/ 2348380 h 6858000"/>
              <a:gd name="connsiteX577" fmla="*/ 2358080 w 7467600"/>
              <a:gd name="connsiteY577" fmla="*/ 1866134 h 6858000"/>
              <a:gd name="connsiteX578" fmla="*/ 2407436 w 7467600"/>
              <a:gd name="connsiteY578" fmla="*/ 1651070 h 6858000"/>
              <a:gd name="connsiteX579" fmla="*/ 2448558 w 7467600"/>
              <a:gd name="connsiteY579" fmla="*/ 1373435 h 6858000"/>
              <a:gd name="connsiteX580" fmla="*/ 278707 w 7467600"/>
              <a:gd name="connsiteY580" fmla="*/ 1352270 h 6858000"/>
              <a:gd name="connsiteX581" fmla="*/ 321570 w 7467600"/>
              <a:gd name="connsiteY581" fmla="*/ 1861610 h 6858000"/>
              <a:gd name="connsiteX582" fmla="*/ 294281 w 7467600"/>
              <a:gd name="connsiteY582" fmla="*/ 1440658 h 6858000"/>
              <a:gd name="connsiteX583" fmla="*/ 278707 w 7467600"/>
              <a:gd name="connsiteY583" fmla="*/ 1352270 h 6858000"/>
              <a:gd name="connsiteX584" fmla="*/ 1423821 w 7467600"/>
              <a:gd name="connsiteY584" fmla="*/ 1351958 h 6858000"/>
              <a:gd name="connsiteX585" fmla="*/ 1638521 w 7467600"/>
              <a:gd name="connsiteY585" fmla="*/ 1908470 h 6858000"/>
              <a:gd name="connsiteX586" fmla="*/ 1754199 w 7467600"/>
              <a:gd name="connsiteY586" fmla="*/ 2149284 h 6858000"/>
              <a:gd name="connsiteX587" fmla="*/ 1908359 w 7467600"/>
              <a:gd name="connsiteY587" fmla="*/ 2364988 h 6858000"/>
              <a:gd name="connsiteX588" fmla="*/ 1647661 w 7467600"/>
              <a:gd name="connsiteY588" fmla="*/ 1825945 h 6858000"/>
              <a:gd name="connsiteX589" fmla="*/ 1423821 w 7467600"/>
              <a:gd name="connsiteY589" fmla="*/ 1351958 h 6858000"/>
              <a:gd name="connsiteX590" fmla="*/ 1431890 w 7467600"/>
              <a:gd name="connsiteY590" fmla="*/ 1306475 h 6858000"/>
              <a:gd name="connsiteX591" fmla="*/ 1507597 w 7467600"/>
              <a:gd name="connsiteY591" fmla="*/ 1446132 h 6858000"/>
              <a:gd name="connsiteX592" fmla="*/ 1674586 w 7467600"/>
              <a:gd name="connsiteY592" fmla="*/ 1813832 h 6858000"/>
              <a:gd name="connsiteX593" fmla="*/ 1815950 w 7467600"/>
              <a:gd name="connsiteY593" fmla="*/ 2128564 h 6858000"/>
              <a:gd name="connsiteX594" fmla="*/ 1984242 w 7467600"/>
              <a:gd name="connsiteY594" fmla="*/ 2430829 h 6858000"/>
              <a:gd name="connsiteX595" fmla="*/ 2014023 w 7467600"/>
              <a:gd name="connsiteY595" fmla="*/ 2450995 h 6858000"/>
              <a:gd name="connsiteX596" fmla="*/ 1747337 w 7467600"/>
              <a:gd name="connsiteY596" fmla="*/ 1855264 h 6858000"/>
              <a:gd name="connsiteX597" fmla="*/ 1533749 w 7467600"/>
              <a:gd name="connsiteY597" fmla="*/ 1478656 h 6858000"/>
              <a:gd name="connsiteX598" fmla="*/ 1431890 w 7467600"/>
              <a:gd name="connsiteY598" fmla="*/ 1306475 h 6858000"/>
              <a:gd name="connsiteX599" fmla="*/ 5052692 w 7467600"/>
              <a:gd name="connsiteY599" fmla="*/ 1292994 h 6858000"/>
              <a:gd name="connsiteX600" fmla="*/ 5200661 w 7467600"/>
              <a:gd name="connsiteY600" fmla="*/ 1635186 h 6858000"/>
              <a:gd name="connsiteX601" fmla="*/ 5297138 w 7467600"/>
              <a:gd name="connsiteY601" fmla="*/ 1906351 h 6858000"/>
              <a:gd name="connsiteX602" fmla="*/ 5052692 w 7467600"/>
              <a:gd name="connsiteY602" fmla="*/ 1292994 h 6858000"/>
              <a:gd name="connsiteX603" fmla="*/ 5009948 w 7467600"/>
              <a:gd name="connsiteY603" fmla="*/ 1273619 h 6858000"/>
              <a:gd name="connsiteX604" fmla="*/ 5121777 w 7467600"/>
              <a:gd name="connsiteY604" fmla="*/ 1654213 h 6858000"/>
              <a:gd name="connsiteX605" fmla="*/ 5293545 w 7467600"/>
              <a:gd name="connsiteY605" fmla="*/ 2072247 h 6858000"/>
              <a:gd name="connsiteX606" fmla="*/ 5294042 w 7467600"/>
              <a:gd name="connsiteY606" fmla="*/ 2065019 h 6858000"/>
              <a:gd name="connsiteX607" fmla="*/ 5171936 w 7467600"/>
              <a:gd name="connsiteY607" fmla="*/ 1647613 h 6858000"/>
              <a:gd name="connsiteX608" fmla="*/ 5009948 w 7467600"/>
              <a:gd name="connsiteY608" fmla="*/ 1273619 h 6858000"/>
              <a:gd name="connsiteX609" fmla="*/ 655236 w 7467600"/>
              <a:gd name="connsiteY609" fmla="*/ 1268632 h 6858000"/>
              <a:gd name="connsiteX610" fmla="*/ 839521 w 7467600"/>
              <a:gd name="connsiteY610" fmla="*/ 1685315 h 6858000"/>
              <a:gd name="connsiteX611" fmla="*/ 1109416 w 7467600"/>
              <a:gd name="connsiteY611" fmla="*/ 2061663 h 6858000"/>
              <a:gd name="connsiteX612" fmla="*/ 1298300 w 7467600"/>
              <a:gd name="connsiteY612" fmla="*/ 2247742 h 6858000"/>
              <a:gd name="connsiteX613" fmla="*/ 1125871 w 7467600"/>
              <a:gd name="connsiteY613" fmla="*/ 1989513 h 6858000"/>
              <a:gd name="connsiteX614" fmla="*/ 981574 w 7467600"/>
              <a:gd name="connsiteY614" fmla="*/ 1783157 h 6858000"/>
              <a:gd name="connsiteX615" fmla="*/ 922198 w 7467600"/>
              <a:gd name="connsiteY615" fmla="*/ 1677437 h 6858000"/>
              <a:gd name="connsiteX616" fmla="*/ 869293 w 7467600"/>
              <a:gd name="connsiteY616" fmla="*/ 1583214 h 6858000"/>
              <a:gd name="connsiteX617" fmla="*/ 751431 w 7467600"/>
              <a:gd name="connsiteY617" fmla="*/ 1405731 h 6858000"/>
              <a:gd name="connsiteX618" fmla="*/ 655236 w 7467600"/>
              <a:gd name="connsiteY618" fmla="*/ 1268632 h 6858000"/>
              <a:gd name="connsiteX619" fmla="*/ 6516292 w 7467600"/>
              <a:gd name="connsiteY619" fmla="*/ 1263064 h 6858000"/>
              <a:gd name="connsiteX620" fmla="*/ 5736320 w 7467600"/>
              <a:gd name="connsiteY620" fmla="*/ 1501803 h 6858000"/>
              <a:gd name="connsiteX621" fmla="*/ 6516292 w 7467600"/>
              <a:gd name="connsiteY621" fmla="*/ 1263064 h 6858000"/>
              <a:gd name="connsiteX622" fmla="*/ 291466 w 7467600"/>
              <a:gd name="connsiteY622" fmla="*/ 1250369 h 6858000"/>
              <a:gd name="connsiteX623" fmla="*/ 323180 w 7467600"/>
              <a:gd name="connsiteY623" fmla="*/ 1435283 h 6858000"/>
              <a:gd name="connsiteX624" fmla="*/ 349381 w 7467600"/>
              <a:gd name="connsiteY624" fmla="*/ 1875041 h 6858000"/>
              <a:gd name="connsiteX625" fmla="*/ 374363 w 7467600"/>
              <a:gd name="connsiteY625" fmla="*/ 1506494 h 6858000"/>
              <a:gd name="connsiteX626" fmla="*/ 302168 w 7467600"/>
              <a:gd name="connsiteY626" fmla="*/ 1274495 h 6858000"/>
              <a:gd name="connsiteX627" fmla="*/ 291466 w 7467600"/>
              <a:gd name="connsiteY627" fmla="*/ 1250369 h 6858000"/>
              <a:gd name="connsiteX628" fmla="*/ 678222 w 7467600"/>
              <a:gd name="connsiteY628" fmla="*/ 1248670 h 6858000"/>
              <a:gd name="connsiteX629" fmla="*/ 775536 w 7467600"/>
              <a:gd name="connsiteY629" fmla="*/ 1388015 h 6858000"/>
              <a:gd name="connsiteX630" fmla="*/ 894529 w 7467600"/>
              <a:gd name="connsiteY630" fmla="*/ 1567739 h 6858000"/>
              <a:gd name="connsiteX631" fmla="*/ 948000 w 7467600"/>
              <a:gd name="connsiteY631" fmla="*/ 1663088 h 6858000"/>
              <a:gd name="connsiteX632" fmla="*/ 1006812 w 7467600"/>
              <a:gd name="connsiteY632" fmla="*/ 1767683 h 6858000"/>
              <a:gd name="connsiteX633" fmla="*/ 1149133 w 7467600"/>
              <a:gd name="connsiteY633" fmla="*/ 1971513 h 6858000"/>
              <a:gd name="connsiteX634" fmla="*/ 1333952 w 7467600"/>
              <a:gd name="connsiteY634" fmla="*/ 2251620 h 6858000"/>
              <a:gd name="connsiteX635" fmla="*/ 1337329 w 7467600"/>
              <a:gd name="connsiteY635" fmla="*/ 2258350 h 6858000"/>
              <a:gd name="connsiteX636" fmla="*/ 1014726 w 7467600"/>
              <a:gd name="connsiteY636" fmla="*/ 1615556 h 6858000"/>
              <a:gd name="connsiteX637" fmla="*/ 678222 w 7467600"/>
              <a:gd name="connsiteY637" fmla="*/ 1248670 h 6858000"/>
              <a:gd name="connsiteX638" fmla="*/ 6691602 w 7467600"/>
              <a:gd name="connsiteY638" fmla="*/ 1140573 h 6858000"/>
              <a:gd name="connsiteX639" fmla="*/ 6571100 w 7467600"/>
              <a:gd name="connsiteY639" fmla="*/ 1183662 h 6858000"/>
              <a:gd name="connsiteX640" fmla="*/ 6241687 w 7467600"/>
              <a:gd name="connsiteY640" fmla="*/ 1257600 h 6858000"/>
              <a:gd name="connsiteX641" fmla="*/ 5693009 w 7467600"/>
              <a:gd name="connsiteY641" fmla="*/ 1478256 h 6858000"/>
              <a:gd name="connsiteX642" fmla="*/ 6548420 w 7467600"/>
              <a:gd name="connsiteY642" fmla="*/ 1214599 h 6858000"/>
              <a:gd name="connsiteX643" fmla="*/ 6605473 w 7467600"/>
              <a:gd name="connsiteY643" fmla="*/ 1184686 h 6858000"/>
              <a:gd name="connsiteX644" fmla="*/ 6691602 w 7467600"/>
              <a:gd name="connsiteY644" fmla="*/ 1140573 h 6858000"/>
              <a:gd name="connsiteX645" fmla="*/ 4002475 w 7467600"/>
              <a:gd name="connsiteY645" fmla="*/ 1037802 h 6858000"/>
              <a:gd name="connsiteX646" fmla="*/ 4000324 w 7467600"/>
              <a:gd name="connsiteY646" fmla="*/ 1039362 h 6858000"/>
              <a:gd name="connsiteX647" fmla="*/ 4002862 w 7467600"/>
              <a:gd name="connsiteY647" fmla="*/ 1042866 h 6858000"/>
              <a:gd name="connsiteX648" fmla="*/ 4002475 w 7467600"/>
              <a:gd name="connsiteY648" fmla="*/ 1037802 h 6858000"/>
              <a:gd name="connsiteX649" fmla="*/ 506322 w 7467600"/>
              <a:gd name="connsiteY649" fmla="*/ 1020997 h 6858000"/>
              <a:gd name="connsiteX650" fmla="*/ 533068 w 7467600"/>
              <a:gd name="connsiteY650" fmla="*/ 1029409 h 6858000"/>
              <a:gd name="connsiteX651" fmla="*/ 1232525 w 7467600"/>
              <a:gd name="connsiteY651" fmla="*/ 1804675 h 6858000"/>
              <a:gd name="connsiteX652" fmla="*/ 1388858 w 7467600"/>
              <a:gd name="connsiteY652" fmla="*/ 2368011 h 6858000"/>
              <a:gd name="connsiteX653" fmla="*/ 1384098 w 7467600"/>
              <a:gd name="connsiteY653" fmla="*/ 2378125 h 6858000"/>
              <a:gd name="connsiteX654" fmla="*/ 1425393 w 7467600"/>
              <a:gd name="connsiteY654" fmla="*/ 2589124 h 6858000"/>
              <a:gd name="connsiteX655" fmla="*/ 1424001 w 7467600"/>
              <a:gd name="connsiteY655" fmla="*/ 2597541 h 6858000"/>
              <a:gd name="connsiteX656" fmla="*/ 2152729 w 7467600"/>
              <a:gd name="connsiteY656" fmla="*/ 2864487 h 6858000"/>
              <a:gd name="connsiteX657" fmla="*/ 2020609 w 7467600"/>
              <a:gd name="connsiteY657" fmla="*/ 2539671 h 6858000"/>
              <a:gd name="connsiteX658" fmla="*/ 2018920 w 7467600"/>
              <a:gd name="connsiteY658" fmla="*/ 2536309 h 6858000"/>
              <a:gd name="connsiteX659" fmla="*/ 1342441 w 7467600"/>
              <a:gd name="connsiteY659" fmla="*/ 1173017 h 6858000"/>
              <a:gd name="connsiteX660" fmla="*/ 1367925 w 7467600"/>
              <a:gd name="connsiteY660" fmla="*/ 1135648 h 6858000"/>
              <a:gd name="connsiteX661" fmla="*/ 1771401 w 7467600"/>
              <a:gd name="connsiteY661" fmla="*/ 1806673 h 6858000"/>
              <a:gd name="connsiteX662" fmla="*/ 1972385 w 7467600"/>
              <a:gd name="connsiteY662" fmla="*/ 2198735 h 6858000"/>
              <a:gd name="connsiteX663" fmla="*/ 2040892 w 7467600"/>
              <a:gd name="connsiteY663" fmla="*/ 2405205 h 6858000"/>
              <a:gd name="connsiteX664" fmla="*/ 2131689 w 7467600"/>
              <a:gd name="connsiteY664" fmla="*/ 1936926 h 6858000"/>
              <a:gd name="connsiteX665" fmla="*/ 2454820 w 7467600"/>
              <a:gd name="connsiteY665" fmla="*/ 1248808 h 6858000"/>
              <a:gd name="connsiteX666" fmla="*/ 2492512 w 7467600"/>
              <a:gd name="connsiteY666" fmla="*/ 1302920 h 6858000"/>
              <a:gd name="connsiteX667" fmla="*/ 2081216 w 7467600"/>
              <a:gd name="connsiteY667" fmla="*/ 2527513 h 6858000"/>
              <a:gd name="connsiteX668" fmla="*/ 2081211 w 7467600"/>
              <a:gd name="connsiteY668" fmla="*/ 2528916 h 6858000"/>
              <a:gd name="connsiteX669" fmla="*/ 2199067 w 7467600"/>
              <a:gd name="connsiteY669" fmla="*/ 2884061 h 6858000"/>
              <a:gd name="connsiteX670" fmla="*/ 3192586 w 7467600"/>
              <a:gd name="connsiteY670" fmla="*/ 3411496 h 6858000"/>
              <a:gd name="connsiteX671" fmla="*/ 3182620 w 7467600"/>
              <a:gd name="connsiteY671" fmla="*/ 3483279 h 6858000"/>
              <a:gd name="connsiteX672" fmla="*/ 2435119 w 7467600"/>
              <a:gd name="connsiteY672" fmla="*/ 3080173 h 6858000"/>
              <a:gd name="connsiteX673" fmla="*/ 2410152 w 7467600"/>
              <a:gd name="connsiteY673" fmla="*/ 3063751 h 6858000"/>
              <a:gd name="connsiteX674" fmla="*/ 2408099 w 7467600"/>
              <a:gd name="connsiteY674" fmla="*/ 3064403 h 6858000"/>
              <a:gd name="connsiteX675" fmla="*/ 2407218 w 7467600"/>
              <a:gd name="connsiteY675" fmla="*/ 3070324 h 6858000"/>
              <a:gd name="connsiteX676" fmla="*/ 2380138 w 7467600"/>
              <a:gd name="connsiteY676" fmla="*/ 3099341 h 6858000"/>
              <a:gd name="connsiteX677" fmla="*/ 1765923 w 7467600"/>
              <a:gd name="connsiteY677" fmla="*/ 3581043 h 6858000"/>
              <a:gd name="connsiteX678" fmla="*/ 1702258 w 7467600"/>
              <a:gd name="connsiteY678" fmla="*/ 3612286 h 6858000"/>
              <a:gd name="connsiteX679" fmla="*/ 1538370 w 7467600"/>
              <a:gd name="connsiteY679" fmla="*/ 3811804 h 6858000"/>
              <a:gd name="connsiteX680" fmla="*/ 542867 w 7467600"/>
              <a:gd name="connsiteY680" fmla="*/ 4944092 h 6858000"/>
              <a:gd name="connsiteX681" fmla="*/ 515800 w 7467600"/>
              <a:gd name="connsiteY681" fmla="*/ 4862180 h 6858000"/>
              <a:gd name="connsiteX682" fmla="*/ 909145 w 7467600"/>
              <a:gd name="connsiteY682" fmla="*/ 4199225 h 6858000"/>
              <a:gd name="connsiteX683" fmla="*/ 1214067 w 7467600"/>
              <a:gd name="connsiteY683" fmla="*/ 3908561 h 6858000"/>
              <a:gd name="connsiteX684" fmla="*/ 640967 w 7467600"/>
              <a:gd name="connsiteY684" fmla="*/ 4105601 h 6858000"/>
              <a:gd name="connsiteX685" fmla="*/ 112563 w 7467600"/>
              <a:gd name="connsiteY685" fmla="*/ 4396952 h 6858000"/>
              <a:gd name="connsiteX686" fmla="*/ 0 w 7467600"/>
              <a:gd name="connsiteY686" fmla="*/ 4466006 h 6858000"/>
              <a:gd name="connsiteX687" fmla="*/ 0 w 7467600"/>
              <a:gd name="connsiteY687" fmla="*/ 4233763 h 6858000"/>
              <a:gd name="connsiteX688" fmla="*/ 36881 w 7467600"/>
              <a:gd name="connsiteY688" fmla="*/ 4200118 h 6858000"/>
              <a:gd name="connsiteX689" fmla="*/ 910534 w 7467600"/>
              <a:gd name="connsiteY689" fmla="*/ 3629753 h 6858000"/>
              <a:gd name="connsiteX690" fmla="*/ 1578717 w 7467600"/>
              <a:gd name="connsiteY690" fmla="*/ 3575982 h 6858000"/>
              <a:gd name="connsiteX691" fmla="*/ 2338780 w 7467600"/>
              <a:gd name="connsiteY691" fmla="*/ 3033725 h 6858000"/>
              <a:gd name="connsiteX692" fmla="*/ 1807991 w 7467600"/>
              <a:gd name="connsiteY692" fmla="*/ 2807184 h 6858000"/>
              <a:gd name="connsiteX693" fmla="*/ 1416358 w 7467600"/>
              <a:gd name="connsiteY693" fmla="*/ 3112571 h 6858000"/>
              <a:gd name="connsiteX694" fmla="*/ 939066 w 7467600"/>
              <a:gd name="connsiteY694" fmla="*/ 3378798 h 6858000"/>
              <a:gd name="connsiteX695" fmla="*/ 115099 w 7467600"/>
              <a:gd name="connsiteY695" fmla="*/ 3607650 h 6858000"/>
              <a:gd name="connsiteX696" fmla="*/ 97284 w 7467600"/>
              <a:gd name="connsiteY696" fmla="*/ 3520393 h 6858000"/>
              <a:gd name="connsiteX697" fmla="*/ 922050 w 7467600"/>
              <a:gd name="connsiteY697" fmla="*/ 3074867 h 6858000"/>
              <a:gd name="connsiteX698" fmla="*/ 1405265 w 7467600"/>
              <a:gd name="connsiteY698" fmla="*/ 3016319 h 6858000"/>
              <a:gd name="connsiteX699" fmla="*/ 1407512 w 7467600"/>
              <a:gd name="connsiteY699" fmla="*/ 3018001 h 6858000"/>
              <a:gd name="connsiteX700" fmla="*/ 1726266 w 7467600"/>
              <a:gd name="connsiteY700" fmla="*/ 2777274 h 6858000"/>
              <a:gd name="connsiteX701" fmla="*/ 625390 w 7467600"/>
              <a:gd name="connsiteY701" fmla="*/ 2514541 h 6858000"/>
              <a:gd name="connsiteX702" fmla="*/ 619799 w 7467600"/>
              <a:gd name="connsiteY702" fmla="*/ 2527180 h 6858000"/>
              <a:gd name="connsiteX703" fmla="*/ 310030 w 7467600"/>
              <a:gd name="connsiteY703" fmla="*/ 2771818 h 6858000"/>
              <a:gd name="connsiteX704" fmla="*/ 173877 w 7467600"/>
              <a:gd name="connsiteY704" fmla="*/ 2937056 h 6858000"/>
              <a:gd name="connsiteX705" fmla="*/ 77889 w 7467600"/>
              <a:gd name="connsiteY705" fmla="*/ 3138440 h 6858000"/>
              <a:gd name="connsiteX706" fmla="*/ 0 w 7467600"/>
              <a:gd name="connsiteY706" fmla="*/ 3271395 h 6858000"/>
              <a:gd name="connsiteX707" fmla="*/ 0 w 7467600"/>
              <a:gd name="connsiteY707" fmla="*/ 3153002 h 6858000"/>
              <a:gd name="connsiteX708" fmla="*/ 2386 w 7467600"/>
              <a:gd name="connsiteY708" fmla="*/ 3149203 h 6858000"/>
              <a:gd name="connsiteX709" fmla="*/ 89753 w 7467600"/>
              <a:gd name="connsiteY709" fmla="*/ 2987702 h 6858000"/>
              <a:gd name="connsiteX710" fmla="*/ 76869 w 7467600"/>
              <a:gd name="connsiteY710" fmla="*/ 3005404 h 6858000"/>
              <a:gd name="connsiteX711" fmla="*/ 32049 w 7467600"/>
              <a:gd name="connsiteY711" fmla="*/ 3065814 h 6858000"/>
              <a:gd name="connsiteX712" fmla="*/ 0 w 7467600"/>
              <a:gd name="connsiteY712" fmla="*/ 3108744 h 6858000"/>
              <a:gd name="connsiteX713" fmla="*/ 0 w 7467600"/>
              <a:gd name="connsiteY713" fmla="*/ 3058059 h 6858000"/>
              <a:gd name="connsiteX714" fmla="*/ 7610 w 7467600"/>
              <a:gd name="connsiteY714" fmla="*/ 3047889 h 6858000"/>
              <a:gd name="connsiteX715" fmla="*/ 52419 w 7467600"/>
              <a:gd name="connsiteY715" fmla="*/ 2987479 h 6858000"/>
              <a:gd name="connsiteX716" fmla="*/ 59142 w 7467600"/>
              <a:gd name="connsiteY716" fmla="*/ 2978488 h 6858000"/>
              <a:gd name="connsiteX717" fmla="*/ 0 w 7467600"/>
              <a:gd name="connsiteY717" fmla="*/ 3015334 h 6858000"/>
              <a:gd name="connsiteX718" fmla="*/ 0 w 7467600"/>
              <a:gd name="connsiteY718" fmla="*/ 2914286 h 6858000"/>
              <a:gd name="connsiteX719" fmla="*/ 36383 w 7467600"/>
              <a:gd name="connsiteY719" fmla="*/ 2901128 h 6858000"/>
              <a:gd name="connsiteX720" fmla="*/ 156329 w 7467600"/>
              <a:gd name="connsiteY720" fmla="*/ 2840533 h 6858000"/>
              <a:gd name="connsiteX721" fmla="*/ 358355 w 7467600"/>
              <a:gd name="connsiteY721" fmla="*/ 2620471 h 6858000"/>
              <a:gd name="connsiteX722" fmla="*/ 510577 w 7467600"/>
              <a:gd name="connsiteY722" fmla="*/ 2501244 h 6858000"/>
              <a:gd name="connsiteX723" fmla="*/ 211967 w 7467600"/>
              <a:gd name="connsiteY723" fmla="*/ 2479171 h 6858000"/>
              <a:gd name="connsiteX724" fmla="*/ 0 w 7467600"/>
              <a:gd name="connsiteY724" fmla="*/ 2476398 h 6858000"/>
              <a:gd name="connsiteX725" fmla="*/ 0 w 7467600"/>
              <a:gd name="connsiteY725" fmla="*/ 2389189 h 6858000"/>
              <a:gd name="connsiteX726" fmla="*/ 103062 w 7467600"/>
              <a:gd name="connsiteY726" fmla="*/ 2389518 h 6858000"/>
              <a:gd name="connsiteX727" fmla="*/ 510734 w 7467600"/>
              <a:gd name="connsiteY727" fmla="*/ 2416201 h 6858000"/>
              <a:gd name="connsiteX728" fmla="*/ 279257 w 7467600"/>
              <a:gd name="connsiteY728" fmla="*/ 2092102 h 6858000"/>
              <a:gd name="connsiteX729" fmla="*/ 65265 w 7467600"/>
              <a:gd name="connsiteY729" fmla="*/ 2006049 h 6858000"/>
              <a:gd name="connsiteX730" fmla="*/ 0 w 7467600"/>
              <a:gd name="connsiteY730" fmla="*/ 1982532 h 6858000"/>
              <a:gd name="connsiteX731" fmla="*/ 0 w 7467600"/>
              <a:gd name="connsiteY731" fmla="*/ 1912789 h 6858000"/>
              <a:gd name="connsiteX732" fmla="*/ 97460 w 7467600"/>
              <a:gd name="connsiteY732" fmla="*/ 1953725 h 6858000"/>
              <a:gd name="connsiteX733" fmla="*/ 221272 w 7467600"/>
              <a:gd name="connsiteY733" fmla="*/ 1980766 h 6858000"/>
              <a:gd name="connsiteX734" fmla="*/ 116765 w 7467600"/>
              <a:gd name="connsiteY734" fmla="*/ 1911033 h 6858000"/>
              <a:gd name="connsiteX735" fmla="*/ 16405 w 7467600"/>
              <a:gd name="connsiteY735" fmla="*/ 1803412 h 6858000"/>
              <a:gd name="connsiteX736" fmla="*/ 0 w 7467600"/>
              <a:gd name="connsiteY736" fmla="*/ 1784777 h 6858000"/>
              <a:gd name="connsiteX737" fmla="*/ 0 w 7467600"/>
              <a:gd name="connsiteY737" fmla="*/ 1740082 h 6858000"/>
              <a:gd name="connsiteX738" fmla="*/ 39394 w 7467600"/>
              <a:gd name="connsiteY738" fmla="*/ 1784856 h 6858000"/>
              <a:gd name="connsiteX739" fmla="*/ 135813 w 7467600"/>
              <a:gd name="connsiteY739" fmla="*/ 1888838 h 6858000"/>
              <a:gd name="connsiteX740" fmla="*/ 242575 w 7467600"/>
              <a:gd name="connsiteY740" fmla="*/ 1958841 h 6858000"/>
              <a:gd name="connsiteX741" fmla="*/ 82197 w 7467600"/>
              <a:gd name="connsiteY741" fmla="*/ 1754826 h 6858000"/>
              <a:gd name="connsiteX742" fmla="*/ 0 w 7467600"/>
              <a:gd name="connsiteY742" fmla="*/ 1679650 h 6858000"/>
              <a:gd name="connsiteX743" fmla="*/ 0 w 7467600"/>
              <a:gd name="connsiteY743" fmla="*/ 1602463 h 6858000"/>
              <a:gd name="connsiteX744" fmla="*/ 84689 w 7467600"/>
              <a:gd name="connsiteY744" fmla="*/ 1677442 h 6858000"/>
              <a:gd name="connsiteX745" fmla="*/ 298437 w 7467600"/>
              <a:gd name="connsiteY745" fmla="*/ 1968019 h 6858000"/>
              <a:gd name="connsiteX746" fmla="*/ 227269 w 7467600"/>
              <a:gd name="connsiteY746" fmla="*/ 1114064 h 6858000"/>
              <a:gd name="connsiteX747" fmla="*/ 248003 w 7467600"/>
              <a:gd name="connsiteY747" fmla="*/ 1089613 h 6858000"/>
              <a:gd name="connsiteX748" fmla="*/ 427020 w 7467600"/>
              <a:gd name="connsiteY748" fmla="*/ 1619803 h 6858000"/>
              <a:gd name="connsiteX749" fmla="*/ 340345 w 7467600"/>
              <a:gd name="connsiteY749" fmla="*/ 2027739 h 6858000"/>
              <a:gd name="connsiteX750" fmla="*/ 360865 w 7467600"/>
              <a:gd name="connsiteY750" fmla="*/ 2044827 h 6858000"/>
              <a:gd name="connsiteX751" fmla="*/ 560414 w 7467600"/>
              <a:gd name="connsiteY751" fmla="*/ 2421457 h 6858000"/>
              <a:gd name="connsiteX752" fmla="*/ 1359703 w 7467600"/>
              <a:gd name="connsiteY752" fmla="*/ 2578554 h 6858000"/>
              <a:gd name="connsiteX753" fmla="*/ 1359422 w 7467600"/>
              <a:gd name="connsiteY753" fmla="*/ 2577994 h 6858000"/>
              <a:gd name="connsiteX754" fmla="*/ 828701 w 7467600"/>
              <a:gd name="connsiteY754" fmla="*/ 1839520 h 6858000"/>
              <a:gd name="connsiteX755" fmla="*/ 494427 w 7467600"/>
              <a:gd name="connsiteY755" fmla="*/ 1092333 h 6858000"/>
              <a:gd name="connsiteX756" fmla="*/ 506322 w 7467600"/>
              <a:gd name="connsiteY756" fmla="*/ 1020997 h 6858000"/>
              <a:gd name="connsiteX757" fmla="*/ 4570198 w 7467600"/>
              <a:gd name="connsiteY757" fmla="*/ 978081 h 6858000"/>
              <a:gd name="connsiteX758" fmla="*/ 4523691 w 7467600"/>
              <a:gd name="connsiteY758" fmla="*/ 1127776 h 6858000"/>
              <a:gd name="connsiteX759" fmla="*/ 4509875 w 7467600"/>
              <a:gd name="connsiteY759" fmla="*/ 1167552 h 6858000"/>
              <a:gd name="connsiteX760" fmla="*/ 4478168 w 7467600"/>
              <a:gd name="connsiteY760" fmla="*/ 1260735 h 6858000"/>
              <a:gd name="connsiteX761" fmla="*/ 4409309 w 7467600"/>
              <a:gd name="connsiteY761" fmla="*/ 1666996 h 6858000"/>
              <a:gd name="connsiteX762" fmla="*/ 4370031 w 7467600"/>
              <a:gd name="connsiteY762" fmla="*/ 1955666 h 6858000"/>
              <a:gd name="connsiteX763" fmla="*/ 4570198 w 7467600"/>
              <a:gd name="connsiteY763" fmla="*/ 978081 h 6858000"/>
              <a:gd name="connsiteX764" fmla="*/ 4557898 w 7467600"/>
              <a:gd name="connsiteY764" fmla="*/ 900011 h 6858000"/>
              <a:gd name="connsiteX765" fmla="*/ 4344840 w 7467600"/>
              <a:gd name="connsiteY765" fmla="*/ 1922038 h 6858000"/>
              <a:gd name="connsiteX766" fmla="*/ 4378710 w 7467600"/>
              <a:gd name="connsiteY766" fmla="*/ 1665516 h 6858000"/>
              <a:gd name="connsiteX767" fmla="*/ 4448798 w 7467600"/>
              <a:gd name="connsiteY767" fmla="*/ 1253024 h 6858000"/>
              <a:gd name="connsiteX768" fmla="*/ 4480315 w 7467600"/>
              <a:gd name="connsiteY768" fmla="*/ 1158454 h 6858000"/>
              <a:gd name="connsiteX769" fmla="*/ 4494133 w 7467600"/>
              <a:gd name="connsiteY769" fmla="*/ 1118676 h 6858000"/>
              <a:gd name="connsiteX770" fmla="*/ 4557898 w 7467600"/>
              <a:gd name="connsiteY770" fmla="*/ 900011 h 6858000"/>
              <a:gd name="connsiteX771" fmla="*/ 5870151 w 7467600"/>
              <a:gd name="connsiteY771" fmla="*/ 898890 h 6858000"/>
              <a:gd name="connsiteX772" fmla="*/ 5861335 w 7467600"/>
              <a:gd name="connsiteY772" fmla="*/ 899177 h 6858000"/>
              <a:gd name="connsiteX773" fmla="*/ 5843702 w 7467600"/>
              <a:gd name="connsiteY773" fmla="*/ 899748 h 6858000"/>
              <a:gd name="connsiteX774" fmla="*/ 5651107 w 7467600"/>
              <a:gd name="connsiteY774" fmla="*/ 920306 h 6858000"/>
              <a:gd name="connsiteX775" fmla="*/ 5459407 w 7467600"/>
              <a:gd name="connsiteY775" fmla="*/ 940975 h 6858000"/>
              <a:gd name="connsiteX776" fmla="*/ 5374846 w 7467600"/>
              <a:gd name="connsiteY776" fmla="*/ 941988 h 6858000"/>
              <a:gd name="connsiteX777" fmla="*/ 5256105 w 7467600"/>
              <a:gd name="connsiteY777" fmla="*/ 945632 h 6858000"/>
              <a:gd name="connsiteX778" fmla="*/ 5107071 w 7467600"/>
              <a:gd name="connsiteY778" fmla="*/ 969720 h 6858000"/>
              <a:gd name="connsiteX779" fmla="*/ 4998681 w 7467600"/>
              <a:gd name="connsiteY779" fmla="*/ 988771 h 6858000"/>
              <a:gd name="connsiteX780" fmla="*/ 5870151 w 7467600"/>
              <a:gd name="connsiteY780" fmla="*/ 898890 h 6858000"/>
              <a:gd name="connsiteX781" fmla="*/ 5504425 w 7467600"/>
              <a:gd name="connsiteY781" fmla="*/ 848067 h 6858000"/>
              <a:gd name="connsiteX782" fmla="*/ 4968849 w 7467600"/>
              <a:gd name="connsiteY782" fmla="*/ 962318 h 6858000"/>
              <a:gd name="connsiteX783" fmla="*/ 5104039 w 7467600"/>
              <a:gd name="connsiteY783" fmla="*/ 940634 h 6858000"/>
              <a:gd name="connsiteX784" fmla="*/ 5256311 w 7467600"/>
              <a:gd name="connsiteY784" fmla="*/ 916490 h 6858000"/>
              <a:gd name="connsiteX785" fmla="*/ 5377381 w 7467600"/>
              <a:gd name="connsiteY785" fmla="*/ 912671 h 6858000"/>
              <a:gd name="connsiteX786" fmla="*/ 5460148 w 7467600"/>
              <a:gd name="connsiteY786" fmla="*/ 911442 h 6858000"/>
              <a:gd name="connsiteX787" fmla="*/ 5648971 w 7467600"/>
              <a:gd name="connsiteY787" fmla="*/ 891331 h 6858000"/>
              <a:gd name="connsiteX788" fmla="*/ 5844807 w 7467600"/>
              <a:gd name="connsiteY788" fmla="*/ 870718 h 6858000"/>
              <a:gd name="connsiteX789" fmla="*/ 5862975 w 7467600"/>
              <a:gd name="connsiteY789" fmla="*/ 869756 h 6858000"/>
              <a:gd name="connsiteX790" fmla="*/ 5920887 w 7467600"/>
              <a:gd name="connsiteY790" fmla="*/ 865929 h 6858000"/>
              <a:gd name="connsiteX791" fmla="*/ 5504425 w 7467600"/>
              <a:gd name="connsiteY791" fmla="*/ 848067 h 6858000"/>
              <a:gd name="connsiteX792" fmla="*/ 3607114 w 7467600"/>
              <a:gd name="connsiteY792" fmla="*/ 467441 h 6858000"/>
              <a:gd name="connsiteX793" fmla="*/ 3296242 w 7467600"/>
              <a:gd name="connsiteY793" fmla="*/ 807991 h 6858000"/>
              <a:gd name="connsiteX794" fmla="*/ 3174674 w 7467600"/>
              <a:gd name="connsiteY794" fmla="*/ 919759 h 6858000"/>
              <a:gd name="connsiteX795" fmla="*/ 3042978 w 7467600"/>
              <a:gd name="connsiteY795" fmla="*/ 1054894 h 6858000"/>
              <a:gd name="connsiteX796" fmla="*/ 2968914 w 7467600"/>
              <a:gd name="connsiteY796" fmla="*/ 1133756 h 6858000"/>
              <a:gd name="connsiteX797" fmla="*/ 3103823 w 7467600"/>
              <a:gd name="connsiteY797" fmla="*/ 1026814 h 6858000"/>
              <a:gd name="connsiteX798" fmla="*/ 3607114 w 7467600"/>
              <a:gd name="connsiteY798" fmla="*/ 467441 h 6858000"/>
              <a:gd name="connsiteX799" fmla="*/ 3744487 w 7467600"/>
              <a:gd name="connsiteY799" fmla="*/ 383136 h 6858000"/>
              <a:gd name="connsiteX800" fmla="*/ 3970213 w 7467600"/>
              <a:gd name="connsiteY800" fmla="*/ 995559 h 6858000"/>
              <a:gd name="connsiteX801" fmla="*/ 3744487 w 7467600"/>
              <a:gd name="connsiteY801" fmla="*/ 383136 h 6858000"/>
              <a:gd name="connsiteX802" fmla="*/ 3624562 w 7467600"/>
              <a:gd name="connsiteY802" fmla="*/ 367041 h 6858000"/>
              <a:gd name="connsiteX803" fmla="*/ 3489712 w 7467600"/>
              <a:gd name="connsiteY803" fmla="*/ 485386 h 6858000"/>
              <a:gd name="connsiteX804" fmla="*/ 3182994 w 7467600"/>
              <a:gd name="connsiteY804" fmla="*/ 828265 h 6858000"/>
              <a:gd name="connsiteX805" fmla="*/ 2892114 w 7467600"/>
              <a:gd name="connsiteY805" fmla="*/ 1172635 h 6858000"/>
              <a:gd name="connsiteX806" fmla="*/ 3021459 w 7467600"/>
              <a:gd name="connsiteY806" fmla="*/ 1035385 h 6858000"/>
              <a:gd name="connsiteX807" fmla="*/ 3153873 w 7467600"/>
              <a:gd name="connsiteY807" fmla="*/ 898971 h 6858000"/>
              <a:gd name="connsiteX808" fmla="*/ 3276511 w 7467600"/>
              <a:gd name="connsiteY808" fmla="*/ 786423 h 6858000"/>
              <a:gd name="connsiteX809" fmla="*/ 3584154 w 7467600"/>
              <a:gd name="connsiteY809" fmla="*/ 448218 h 6858000"/>
              <a:gd name="connsiteX810" fmla="*/ 3624562 w 7467600"/>
              <a:gd name="connsiteY810" fmla="*/ 367041 h 6858000"/>
              <a:gd name="connsiteX811" fmla="*/ 3766672 w 7467600"/>
              <a:gd name="connsiteY811" fmla="*/ 359429 h 6858000"/>
              <a:gd name="connsiteX812" fmla="*/ 3996338 w 7467600"/>
              <a:gd name="connsiteY812" fmla="*/ 968237 h 6858000"/>
              <a:gd name="connsiteX813" fmla="*/ 3766672 w 7467600"/>
              <a:gd name="connsiteY813" fmla="*/ 359429 h 6858000"/>
              <a:gd name="connsiteX814" fmla="*/ 5805386 w 7467600"/>
              <a:gd name="connsiteY814" fmla="*/ 239240 h 6858000"/>
              <a:gd name="connsiteX815" fmla="*/ 5736947 w 7467600"/>
              <a:gd name="connsiteY815" fmla="*/ 261367 h 6858000"/>
              <a:gd name="connsiteX816" fmla="*/ 5427012 w 7467600"/>
              <a:gd name="connsiteY816" fmla="*/ 311272 h 6858000"/>
              <a:gd name="connsiteX817" fmla="*/ 5147818 w 7467600"/>
              <a:gd name="connsiteY817" fmla="*/ 322112 h 6858000"/>
              <a:gd name="connsiteX818" fmla="*/ 5060854 w 7467600"/>
              <a:gd name="connsiteY818" fmla="*/ 311882 h 6858000"/>
              <a:gd name="connsiteX819" fmla="*/ 4945989 w 7467600"/>
              <a:gd name="connsiteY819" fmla="*/ 300516 h 6858000"/>
              <a:gd name="connsiteX820" fmla="*/ 5410479 w 7467600"/>
              <a:gd name="connsiteY820" fmla="*/ 348434 h 6858000"/>
              <a:gd name="connsiteX821" fmla="*/ 5805386 w 7467600"/>
              <a:gd name="connsiteY821" fmla="*/ 239240 h 6858000"/>
              <a:gd name="connsiteX822" fmla="*/ 5905192 w 7467600"/>
              <a:gd name="connsiteY822" fmla="*/ 163079 h 6858000"/>
              <a:gd name="connsiteX823" fmla="*/ 5865655 w 7467600"/>
              <a:gd name="connsiteY823" fmla="*/ 171901 h 6858000"/>
              <a:gd name="connsiteX824" fmla="*/ 5259740 w 7467600"/>
              <a:gd name="connsiteY824" fmla="*/ 257013 h 6858000"/>
              <a:gd name="connsiteX825" fmla="*/ 5208466 w 7467600"/>
              <a:gd name="connsiteY825" fmla="*/ 257550 h 6858000"/>
              <a:gd name="connsiteX826" fmla="*/ 4980204 w 7467600"/>
              <a:gd name="connsiteY826" fmla="*/ 271903 h 6858000"/>
              <a:gd name="connsiteX827" fmla="*/ 5068068 w 7467600"/>
              <a:gd name="connsiteY827" fmla="*/ 282244 h 6858000"/>
              <a:gd name="connsiteX828" fmla="*/ 5153231 w 7467600"/>
              <a:gd name="connsiteY828" fmla="*/ 292240 h 6858000"/>
              <a:gd name="connsiteX829" fmla="*/ 5426491 w 7467600"/>
              <a:gd name="connsiteY829" fmla="*/ 281128 h 6858000"/>
              <a:gd name="connsiteX830" fmla="*/ 5731212 w 7467600"/>
              <a:gd name="connsiteY830" fmla="*/ 231951 h 6858000"/>
              <a:gd name="connsiteX831" fmla="*/ 5905192 w 7467600"/>
              <a:gd name="connsiteY831" fmla="*/ 163079 h 6858000"/>
              <a:gd name="connsiteX832" fmla="*/ 5944437 w 7467600"/>
              <a:gd name="connsiteY832" fmla="*/ 113829 h 6858000"/>
              <a:gd name="connsiteX833" fmla="*/ 5825032 w 7467600"/>
              <a:gd name="connsiteY833" fmla="*/ 146405 h 6858000"/>
              <a:gd name="connsiteX834" fmla="*/ 4955599 w 7467600"/>
              <a:gd name="connsiteY834" fmla="*/ 247008 h 6858000"/>
              <a:gd name="connsiteX835" fmla="*/ 5210104 w 7467600"/>
              <a:gd name="connsiteY835" fmla="*/ 228123 h 6858000"/>
              <a:gd name="connsiteX836" fmla="*/ 5261015 w 7467600"/>
              <a:gd name="connsiteY836" fmla="*/ 227087 h 6858000"/>
              <a:gd name="connsiteX837" fmla="*/ 5861181 w 7467600"/>
              <a:gd name="connsiteY837" fmla="*/ 143093 h 6858000"/>
              <a:gd name="connsiteX838" fmla="*/ 5961252 w 7467600"/>
              <a:gd name="connsiteY838" fmla="*/ 114820 h 6858000"/>
              <a:gd name="connsiteX839" fmla="*/ 5944437 w 7467600"/>
              <a:gd name="connsiteY839" fmla="*/ 113829 h 6858000"/>
              <a:gd name="connsiteX840" fmla="*/ 3882765 w 7467600"/>
              <a:gd name="connsiteY840" fmla="*/ 0 h 6858000"/>
              <a:gd name="connsiteX841" fmla="*/ 3995099 w 7467600"/>
              <a:gd name="connsiteY841" fmla="*/ 0 h 6858000"/>
              <a:gd name="connsiteX842" fmla="*/ 4163818 w 7467600"/>
              <a:gd name="connsiteY842" fmla="*/ 234104 h 6858000"/>
              <a:gd name="connsiteX843" fmla="*/ 4172099 w 7467600"/>
              <a:gd name="connsiteY843" fmla="*/ 234207 h 6858000"/>
              <a:gd name="connsiteX844" fmla="*/ 4784282 w 7467600"/>
              <a:gd name="connsiteY844" fmla="*/ 276561 h 6858000"/>
              <a:gd name="connsiteX845" fmla="*/ 4801687 w 7467600"/>
              <a:gd name="connsiteY845" fmla="*/ 267764 h 6858000"/>
              <a:gd name="connsiteX846" fmla="*/ 6082788 w 7467600"/>
              <a:gd name="connsiteY846" fmla="*/ 64119 h 6858000"/>
              <a:gd name="connsiteX847" fmla="*/ 6099442 w 7467600"/>
              <a:gd name="connsiteY847" fmla="*/ 82568 h 6858000"/>
              <a:gd name="connsiteX848" fmla="*/ 4804137 w 7467600"/>
              <a:gd name="connsiteY848" fmla="*/ 320931 h 6858000"/>
              <a:gd name="connsiteX849" fmla="*/ 4227047 w 7467600"/>
              <a:gd name="connsiteY849" fmla="*/ 313415 h 6858000"/>
              <a:gd name="connsiteX850" fmla="*/ 4346041 w 7467600"/>
              <a:gd name="connsiteY850" fmla="*/ 456086 h 6858000"/>
              <a:gd name="connsiteX851" fmla="*/ 4870967 w 7467600"/>
              <a:gd name="connsiteY851" fmla="*/ 963061 h 6858000"/>
              <a:gd name="connsiteX852" fmla="*/ 4889647 w 7467600"/>
              <a:gd name="connsiteY852" fmla="*/ 957147 h 6858000"/>
              <a:gd name="connsiteX853" fmla="*/ 5422504 w 7467600"/>
              <a:gd name="connsiteY853" fmla="*/ 805191 h 6858000"/>
              <a:gd name="connsiteX854" fmla="*/ 6087656 w 7467600"/>
              <a:gd name="connsiteY854" fmla="*/ 826703 h 6858000"/>
              <a:gd name="connsiteX855" fmla="*/ 6058717 w 7467600"/>
              <a:gd name="connsiteY855" fmla="*/ 865992 h 6858000"/>
              <a:gd name="connsiteX856" fmla="*/ 4974153 w 7467600"/>
              <a:gd name="connsiteY856" fmla="*/ 1045456 h 6858000"/>
              <a:gd name="connsiteX857" fmla="*/ 5627835 w 7467600"/>
              <a:gd name="connsiteY857" fmla="*/ 1472077 h 6858000"/>
              <a:gd name="connsiteX858" fmla="*/ 5629817 w 7467600"/>
              <a:gd name="connsiteY858" fmla="*/ 1471412 h 6858000"/>
              <a:gd name="connsiteX859" fmla="*/ 5634124 w 7467600"/>
              <a:gd name="connsiteY859" fmla="*/ 1470572 h 6858000"/>
              <a:gd name="connsiteX860" fmla="*/ 5755832 w 7467600"/>
              <a:gd name="connsiteY860" fmla="*/ 1383886 h 6858000"/>
              <a:gd name="connsiteX861" fmla="*/ 6014186 w 7467600"/>
              <a:gd name="connsiteY861" fmla="*/ 1279799 h 6858000"/>
              <a:gd name="connsiteX862" fmla="*/ 6901619 w 7467600"/>
              <a:gd name="connsiteY862" fmla="*/ 1047874 h 6858000"/>
              <a:gd name="connsiteX863" fmla="*/ 6931566 w 7467600"/>
              <a:gd name="connsiteY863" fmla="*/ 1062034 h 6858000"/>
              <a:gd name="connsiteX864" fmla="*/ 5790982 w 7467600"/>
              <a:gd name="connsiteY864" fmla="*/ 1561380 h 6858000"/>
              <a:gd name="connsiteX865" fmla="*/ 6188971 w 7467600"/>
              <a:gd name="connsiteY865" fmla="*/ 1755168 h 6858000"/>
              <a:gd name="connsiteX866" fmla="*/ 6202446 w 7467600"/>
              <a:gd name="connsiteY866" fmla="*/ 1752268 h 6858000"/>
              <a:gd name="connsiteX867" fmla="*/ 7179560 w 7467600"/>
              <a:gd name="connsiteY867" fmla="*/ 1467551 h 6858000"/>
              <a:gd name="connsiteX868" fmla="*/ 7158730 w 7467600"/>
              <a:gd name="connsiteY868" fmla="*/ 1507835 h 6858000"/>
              <a:gd name="connsiteX869" fmla="*/ 6326959 w 7467600"/>
              <a:gd name="connsiteY869" fmla="*/ 1817686 h 6858000"/>
              <a:gd name="connsiteX870" fmla="*/ 6537433 w 7467600"/>
              <a:gd name="connsiteY870" fmla="*/ 1907790 h 6858000"/>
              <a:gd name="connsiteX871" fmla="*/ 6550221 w 7467600"/>
              <a:gd name="connsiteY871" fmla="*/ 1910729 h 6858000"/>
              <a:gd name="connsiteX872" fmla="*/ 6964438 w 7467600"/>
              <a:gd name="connsiteY872" fmla="*/ 2209505 h 6858000"/>
              <a:gd name="connsiteX873" fmla="*/ 7367862 w 7467600"/>
              <a:gd name="connsiteY873" fmla="*/ 2806833 h 6858000"/>
              <a:gd name="connsiteX874" fmla="*/ 7364329 w 7467600"/>
              <a:gd name="connsiteY874" fmla="*/ 2826907 h 6858000"/>
              <a:gd name="connsiteX875" fmla="*/ 7290545 w 7467600"/>
              <a:gd name="connsiteY875" fmla="*/ 2850663 h 6858000"/>
              <a:gd name="connsiteX876" fmla="*/ 6472036 w 7467600"/>
              <a:gd name="connsiteY876" fmla="*/ 1959003 h 6858000"/>
              <a:gd name="connsiteX877" fmla="*/ 5792897 w 7467600"/>
              <a:gd name="connsiteY877" fmla="*/ 1647747 h 6858000"/>
              <a:gd name="connsiteX878" fmla="*/ 5842751 w 7467600"/>
              <a:gd name="connsiteY878" fmla="*/ 1816112 h 6858000"/>
              <a:gd name="connsiteX879" fmla="*/ 5847424 w 7467600"/>
              <a:gd name="connsiteY879" fmla="*/ 1815776 h 6858000"/>
              <a:gd name="connsiteX880" fmla="*/ 6399821 w 7467600"/>
              <a:gd name="connsiteY880" fmla="*/ 2344799 h 6858000"/>
              <a:gd name="connsiteX881" fmla="*/ 6323232 w 7467600"/>
              <a:gd name="connsiteY881" fmla="*/ 2389634 h 6858000"/>
              <a:gd name="connsiteX882" fmla="*/ 5942958 w 7467600"/>
              <a:gd name="connsiteY882" fmla="*/ 2077708 h 6858000"/>
              <a:gd name="connsiteX883" fmla="*/ 5921559 w 7467600"/>
              <a:gd name="connsiteY883" fmla="*/ 2378596 h 6858000"/>
              <a:gd name="connsiteX884" fmla="*/ 5817651 w 7467600"/>
              <a:gd name="connsiteY884" fmla="*/ 3023919 h 6858000"/>
              <a:gd name="connsiteX885" fmla="*/ 5729634 w 7467600"/>
              <a:gd name="connsiteY885" fmla="*/ 3051849 h 6858000"/>
              <a:gd name="connsiteX886" fmla="*/ 5611018 w 7467600"/>
              <a:gd name="connsiteY886" fmla="*/ 2316769 h 6858000"/>
              <a:gd name="connsiteX887" fmla="*/ 5687608 w 7467600"/>
              <a:gd name="connsiteY887" fmla="*/ 2039972 h 6858000"/>
              <a:gd name="connsiteX888" fmla="*/ 5657554 w 7467600"/>
              <a:gd name="connsiteY888" fmla="*/ 1576445 h 6858000"/>
              <a:gd name="connsiteX889" fmla="*/ 5150475 w 7467600"/>
              <a:gd name="connsiteY889" fmla="*/ 1274012 h 6858000"/>
              <a:gd name="connsiteX890" fmla="*/ 5349142 w 7467600"/>
              <a:gd name="connsiteY890" fmla="*/ 2204405 h 6858000"/>
              <a:gd name="connsiteX891" fmla="*/ 5262214 w 7467600"/>
              <a:gd name="connsiteY891" fmla="*/ 2233836 h 6858000"/>
              <a:gd name="connsiteX892" fmla="*/ 4981539 w 7467600"/>
              <a:gd name="connsiteY892" fmla="*/ 1542201 h 6858000"/>
              <a:gd name="connsiteX893" fmla="*/ 4958461 w 7467600"/>
              <a:gd name="connsiteY893" fmla="*/ 1136957 h 6858000"/>
              <a:gd name="connsiteX894" fmla="*/ 4655015 w 7467600"/>
              <a:gd name="connsiteY894" fmla="*/ 891426 h 6858000"/>
              <a:gd name="connsiteX895" fmla="*/ 4348002 w 7467600"/>
              <a:gd name="connsiteY895" fmla="*/ 2205895 h 6858000"/>
              <a:gd name="connsiteX896" fmla="*/ 4262250 w 7467600"/>
              <a:gd name="connsiteY896" fmla="*/ 2219972 h 6858000"/>
              <a:gd name="connsiteX897" fmla="*/ 4550611 w 7467600"/>
              <a:gd name="connsiteY897" fmla="*/ 817540 h 6858000"/>
              <a:gd name="connsiteX898" fmla="*/ 4564418 w 7467600"/>
              <a:gd name="connsiteY898" fmla="*/ 808293 h 6858000"/>
              <a:gd name="connsiteX899" fmla="*/ 4266388 w 7467600"/>
              <a:gd name="connsiteY899" fmla="*/ 500083 h 6858000"/>
              <a:gd name="connsiteX900" fmla="*/ 4032842 w 7467600"/>
              <a:gd name="connsiteY900" fmla="*/ 211809 h 6858000"/>
              <a:gd name="connsiteX901" fmla="*/ 3882765 w 7467600"/>
              <a:gd name="connsiteY901" fmla="*/ 0 h 6858000"/>
              <a:gd name="connsiteX902" fmla="*/ 3721337 w 7467600"/>
              <a:gd name="connsiteY902" fmla="*/ 0 h 6858000"/>
              <a:gd name="connsiteX903" fmla="*/ 3797544 w 7467600"/>
              <a:gd name="connsiteY903" fmla="*/ 0 h 6858000"/>
              <a:gd name="connsiteX904" fmla="*/ 3775734 w 7467600"/>
              <a:gd name="connsiteY904" fmla="*/ 95131 h 6858000"/>
              <a:gd name="connsiteX905" fmla="*/ 3724807 w 7467600"/>
              <a:gd name="connsiteY905" fmla="*/ 272257 h 6858000"/>
              <a:gd name="connsiteX906" fmla="*/ 3726844 w 7467600"/>
              <a:gd name="connsiteY906" fmla="*/ 282988 h 6858000"/>
              <a:gd name="connsiteX907" fmla="*/ 3742664 w 7467600"/>
              <a:gd name="connsiteY907" fmla="*/ 279918 h 6858000"/>
              <a:gd name="connsiteX908" fmla="*/ 4103910 w 7467600"/>
              <a:gd name="connsiteY908" fmla="*/ 1161917 h 6858000"/>
              <a:gd name="connsiteX909" fmla="*/ 4020269 w 7467600"/>
              <a:gd name="connsiteY909" fmla="*/ 1200406 h 6858000"/>
              <a:gd name="connsiteX910" fmla="*/ 3674882 w 7467600"/>
              <a:gd name="connsiteY910" fmla="*/ 488524 h 6858000"/>
              <a:gd name="connsiteX911" fmla="*/ 3132682 w 7467600"/>
              <a:gd name="connsiteY911" fmla="*/ 1072284 h 6858000"/>
              <a:gd name="connsiteX912" fmla="*/ 2716346 w 7467600"/>
              <a:gd name="connsiteY912" fmla="*/ 1276376 h 6858000"/>
              <a:gd name="connsiteX913" fmla="*/ 2716772 w 7467600"/>
              <a:gd name="connsiteY913" fmla="*/ 1255462 h 6858000"/>
              <a:gd name="connsiteX914" fmla="*/ 3471096 w 7467600"/>
              <a:gd name="connsiteY914" fmla="*/ 437072 h 6858000"/>
              <a:gd name="connsiteX915" fmla="*/ 3639057 w 7467600"/>
              <a:gd name="connsiteY915" fmla="*/ 286334 h 6858000"/>
              <a:gd name="connsiteX916" fmla="*/ 3640309 w 7467600"/>
              <a:gd name="connsiteY916" fmla="*/ 284664 h 6858000"/>
              <a:gd name="connsiteX917" fmla="*/ 3646022 w 7467600"/>
              <a:gd name="connsiteY917" fmla="*/ 276711 h 6858000"/>
              <a:gd name="connsiteX918" fmla="*/ 3707943 w 7467600"/>
              <a:gd name="connsiteY918" fmla="*/ 65958 h 6858000"/>
              <a:gd name="connsiteX919" fmla="*/ 3721337 w 7467600"/>
              <a:gd name="connsiteY919" fmla="*/ 0 h 6858000"/>
              <a:gd name="connsiteX920" fmla="*/ 2867960 w 7467600"/>
              <a:gd name="connsiteY920" fmla="*/ 0 h 6858000"/>
              <a:gd name="connsiteX921" fmla="*/ 2926351 w 7467600"/>
              <a:gd name="connsiteY921" fmla="*/ 0 h 6858000"/>
              <a:gd name="connsiteX922" fmla="*/ 2902823 w 7467600"/>
              <a:gd name="connsiteY922" fmla="*/ 262929 h 6858000"/>
              <a:gd name="connsiteX923" fmla="*/ 2940663 w 7467600"/>
              <a:gd name="connsiteY923" fmla="*/ 140884 h 6858000"/>
              <a:gd name="connsiteX924" fmla="*/ 2947039 w 7467600"/>
              <a:gd name="connsiteY924" fmla="*/ 122524 h 6858000"/>
              <a:gd name="connsiteX925" fmla="*/ 2984316 w 7467600"/>
              <a:gd name="connsiteY925" fmla="*/ 0 h 6858000"/>
              <a:gd name="connsiteX926" fmla="*/ 3016114 w 7467600"/>
              <a:gd name="connsiteY926" fmla="*/ 0 h 6858000"/>
              <a:gd name="connsiteX927" fmla="*/ 2979949 w 7467600"/>
              <a:gd name="connsiteY927" fmla="*/ 119274 h 6858000"/>
              <a:gd name="connsiteX928" fmla="*/ 3023879 w 7467600"/>
              <a:gd name="connsiteY928" fmla="*/ 0 h 6858000"/>
              <a:gd name="connsiteX929" fmla="*/ 3105400 w 7467600"/>
              <a:gd name="connsiteY929" fmla="*/ 0 h 6858000"/>
              <a:gd name="connsiteX930" fmla="*/ 3094669 w 7467600"/>
              <a:gd name="connsiteY930" fmla="*/ 30308 h 6858000"/>
              <a:gd name="connsiteX931" fmla="*/ 2901945 w 7467600"/>
              <a:gd name="connsiteY931" fmla="*/ 466538 h 6858000"/>
              <a:gd name="connsiteX932" fmla="*/ 2815209 w 7467600"/>
              <a:gd name="connsiteY932" fmla="*/ 497361 h 6858000"/>
              <a:gd name="connsiteX933" fmla="*/ 2844845 w 7467600"/>
              <a:gd name="connsiteY933" fmla="*/ 127638 h 6858000"/>
              <a:gd name="connsiteX934" fmla="*/ 2867960 w 7467600"/>
              <a:gd name="connsiteY934" fmla="*/ 0 h 6858000"/>
              <a:gd name="connsiteX935" fmla="*/ 1057230 w 7467600"/>
              <a:gd name="connsiteY935" fmla="*/ 0 h 6858000"/>
              <a:gd name="connsiteX936" fmla="*/ 1111003 w 7467600"/>
              <a:gd name="connsiteY936" fmla="*/ 0 h 6858000"/>
              <a:gd name="connsiteX937" fmla="*/ 1125553 w 7467600"/>
              <a:gd name="connsiteY937" fmla="*/ 52588 h 6858000"/>
              <a:gd name="connsiteX938" fmla="*/ 1304276 w 7467600"/>
              <a:gd name="connsiteY938" fmla="*/ 476275 h 6858000"/>
              <a:gd name="connsiteX939" fmla="*/ 1492066 w 7467600"/>
              <a:gd name="connsiteY939" fmla="*/ 886333 h 6858000"/>
              <a:gd name="connsiteX940" fmla="*/ 1423698 w 7467600"/>
              <a:gd name="connsiteY940" fmla="*/ 710817 h 6858000"/>
              <a:gd name="connsiteX941" fmla="*/ 1357609 w 7467600"/>
              <a:gd name="connsiteY941" fmla="*/ 532892 h 6858000"/>
              <a:gd name="connsiteX942" fmla="*/ 1309550 w 7467600"/>
              <a:gd name="connsiteY942" fmla="*/ 374031 h 6858000"/>
              <a:gd name="connsiteX943" fmla="*/ 1193673 w 7467600"/>
              <a:gd name="connsiteY943" fmla="*/ 49533 h 6858000"/>
              <a:gd name="connsiteX944" fmla="*/ 1164391 w 7467600"/>
              <a:gd name="connsiteY944" fmla="*/ 0 h 6858000"/>
              <a:gd name="connsiteX945" fmla="*/ 1200666 w 7467600"/>
              <a:gd name="connsiteY945" fmla="*/ 0 h 6858000"/>
              <a:gd name="connsiteX946" fmla="*/ 1223408 w 7467600"/>
              <a:gd name="connsiteY946" fmla="*/ 38996 h 6858000"/>
              <a:gd name="connsiteX947" fmla="*/ 1339635 w 7467600"/>
              <a:gd name="connsiteY947" fmla="*/ 365517 h 6858000"/>
              <a:gd name="connsiteX948" fmla="*/ 1387469 w 7467600"/>
              <a:gd name="connsiteY948" fmla="*/ 523079 h 6858000"/>
              <a:gd name="connsiteX949" fmla="*/ 1452685 w 7467600"/>
              <a:gd name="connsiteY949" fmla="*/ 699806 h 6858000"/>
              <a:gd name="connsiteX950" fmla="*/ 1492092 w 7467600"/>
              <a:gd name="connsiteY950" fmla="*/ 800424 h 6858000"/>
              <a:gd name="connsiteX951" fmla="*/ 1455302 w 7467600"/>
              <a:gd name="connsiteY951" fmla="*/ 632913 h 6858000"/>
              <a:gd name="connsiteX952" fmla="*/ 1222336 w 7467600"/>
              <a:gd name="connsiteY952" fmla="*/ 9480 h 6858000"/>
              <a:gd name="connsiteX953" fmla="*/ 1214634 w 7467600"/>
              <a:gd name="connsiteY953" fmla="*/ 0 h 6858000"/>
              <a:gd name="connsiteX954" fmla="*/ 1289827 w 7467600"/>
              <a:gd name="connsiteY954" fmla="*/ 0 h 6858000"/>
              <a:gd name="connsiteX955" fmla="*/ 1321076 w 7467600"/>
              <a:gd name="connsiteY955" fmla="*/ 59722 h 6858000"/>
              <a:gd name="connsiteX956" fmla="*/ 1512579 w 7467600"/>
              <a:gd name="connsiteY956" fmla="*/ 626441 h 6858000"/>
              <a:gd name="connsiteX957" fmla="*/ 1506076 w 7467600"/>
              <a:gd name="connsiteY957" fmla="*/ 1089289 h 6858000"/>
              <a:gd name="connsiteX958" fmla="*/ 1486346 w 7467600"/>
              <a:gd name="connsiteY958" fmla="*/ 1079919 h 6858000"/>
              <a:gd name="connsiteX959" fmla="*/ 1070511 w 7467600"/>
              <a:gd name="connsiteY959" fmla="*/ 48609 h 6858000"/>
              <a:gd name="connsiteX960" fmla="*/ 1057230 w 7467600"/>
              <a:gd name="connsiteY960" fmla="*/ 0 h 6858000"/>
              <a:gd name="connsiteX961" fmla="*/ 43151 w 7467600"/>
              <a:gd name="connsiteY961" fmla="*/ 0 h 6858000"/>
              <a:gd name="connsiteX962" fmla="*/ 95283 w 7467600"/>
              <a:gd name="connsiteY962" fmla="*/ 0 h 6858000"/>
              <a:gd name="connsiteX963" fmla="*/ 300708 w 7467600"/>
              <a:gd name="connsiteY963" fmla="*/ 154571 h 6858000"/>
              <a:gd name="connsiteX964" fmla="*/ 530414 w 7467600"/>
              <a:gd name="connsiteY964" fmla="*/ 354673 h 6858000"/>
              <a:gd name="connsiteX965" fmla="*/ 333785 w 7467600"/>
              <a:gd name="connsiteY965" fmla="*/ 161564 h 6858000"/>
              <a:gd name="connsiteX966" fmla="*/ 147005 w 7467600"/>
              <a:gd name="connsiteY966" fmla="*/ 0 h 6858000"/>
              <a:gd name="connsiteX967" fmla="*/ 272509 w 7467600"/>
              <a:gd name="connsiteY967" fmla="*/ 0 h 6858000"/>
              <a:gd name="connsiteX968" fmla="*/ 326276 w 7467600"/>
              <a:gd name="connsiteY968" fmla="*/ 45847 h 6858000"/>
              <a:gd name="connsiteX969" fmla="*/ 823759 w 7467600"/>
              <a:gd name="connsiteY969" fmla="*/ 574145 h 6858000"/>
              <a:gd name="connsiteX970" fmla="*/ 811254 w 7467600"/>
              <a:gd name="connsiteY970" fmla="*/ 665546 h 6858000"/>
              <a:gd name="connsiteX971" fmla="*/ 154042 w 7467600"/>
              <a:gd name="connsiteY971" fmla="*/ 261522 h 6858000"/>
              <a:gd name="connsiteX972" fmla="*/ 13550 w 7467600"/>
              <a:gd name="connsiteY972" fmla="*/ 158423 h 6858000"/>
              <a:gd name="connsiteX973" fmla="*/ 0 w 7467600"/>
              <a:gd name="connsiteY973" fmla="*/ 146618 h 6858000"/>
              <a:gd name="connsiteX974" fmla="*/ 0 w 7467600"/>
              <a:gd name="connsiteY974" fmla="*/ 59161 h 6858000"/>
              <a:gd name="connsiteX975" fmla="*/ 45427 w 7467600"/>
              <a:gd name="connsiteY975" fmla="*/ 101078 h 6858000"/>
              <a:gd name="connsiteX976" fmla="*/ 630103 w 7467600"/>
              <a:gd name="connsiteY976" fmla="*/ 485885 h 6858000"/>
              <a:gd name="connsiteX977" fmla="*/ 532040 w 7467600"/>
              <a:gd name="connsiteY977" fmla="*/ 399359 h 6858000"/>
              <a:gd name="connsiteX978" fmla="*/ 517618 w 7467600"/>
              <a:gd name="connsiteY978" fmla="*/ 385726 h 6858000"/>
              <a:gd name="connsiteX979" fmla="*/ 285074 w 7467600"/>
              <a:gd name="connsiteY979" fmla="*/ 182755 h 6858000"/>
              <a:gd name="connsiteX980" fmla="*/ 43151 w 7467600"/>
              <a:gd name="connsiteY980"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1019354 w 7467600"/>
              <a:gd name="connsiteY22" fmla="*/ 6315006 h 6858000"/>
              <a:gd name="connsiteX23" fmla="*/ 441046 w 7467600"/>
              <a:gd name="connsiteY23" fmla="*/ 6691153 h 6858000"/>
              <a:gd name="connsiteX24" fmla="*/ 1019354 w 7467600"/>
              <a:gd name="connsiteY24" fmla="*/ 6315006 h 6858000"/>
              <a:gd name="connsiteX25" fmla="*/ 991680 w 7467600"/>
              <a:gd name="connsiteY25" fmla="*/ 6298413 h 6858000"/>
              <a:gd name="connsiteX26" fmla="*/ 409060 w 7467600"/>
              <a:gd name="connsiteY26" fmla="*/ 6671470 h 6858000"/>
              <a:gd name="connsiteX27" fmla="*/ 991680 w 7467600"/>
              <a:gd name="connsiteY27" fmla="*/ 6298413 h 6858000"/>
              <a:gd name="connsiteX28" fmla="*/ 103333 w 7467600"/>
              <a:gd name="connsiteY28" fmla="*/ 5699602 h 6858000"/>
              <a:gd name="connsiteX29" fmla="*/ 233938 w 7467600"/>
              <a:gd name="connsiteY29" fmla="*/ 5809416 h 6858000"/>
              <a:gd name="connsiteX30" fmla="*/ 883580 w 7467600"/>
              <a:gd name="connsiteY30" fmla="*/ 6180710 h 6858000"/>
              <a:gd name="connsiteX31" fmla="*/ 487337 w 7467600"/>
              <a:gd name="connsiteY31" fmla="*/ 5950182 h 6858000"/>
              <a:gd name="connsiteX32" fmla="*/ 354051 w 7467600"/>
              <a:gd name="connsiteY32" fmla="*/ 5854912 h 6858000"/>
              <a:gd name="connsiteX33" fmla="*/ 195436 w 7467600"/>
              <a:gd name="connsiteY33" fmla="*/ 5755068 h 6858000"/>
              <a:gd name="connsiteX34" fmla="*/ 103333 w 7467600"/>
              <a:gd name="connsiteY34" fmla="*/ 5699602 h 6858000"/>
              <a:gd name="connsiteX35" fmla="*/ 5539432 w 7467600"/>
              <a:gd name="connsiteY35" fmla="*/ 5642928 h 6858000"/>
              <a:gd name="connsiteX36" fmla="*/ 5555462 w 7467600"/>
              <a:gd name="connsiteY36" fmla="*/ 5694454 h 6858000"/>
              <a:gd name="connsiteX37" fmla="*/ 5828270 w 7467600"/>
              <a:gd name="connsiteY37" fmla="*/ 6320663 h 6858000"/>
              <a:gd name="connsiteX38" fmla="*/ 5947416 w 7467600"/>
              <a:gd name="connsiteY38" fmla="*/ 6574846 h 6858000"/>
              <a:gd name="connsiteX39" fmla="*/ 5539432 w 7467600"/>
              <a:gd name="connsiteY39" fmla="*/ 5642928 h 6858000"/>
              <a:gd name="connsiteX40" fmla="*/ 51253 w 7467600"/>
              <a:gd name="connsiteY40" fmla="*/ 5631825 h 6858000"/>
              <a:gd name="connsiteX41" fmla="*/ 211622 w 7467600"/>
              <a:gd name="connsiteY41" fmla="*/ 5728803 h 6858000"/>
              <a:gd name="connsiteX42" fmla="*/ 371652 w 7467600"/>
              <a:gd name="connsiteY42" fmla="*/ 5829062 h 6858000"/>
              <a:gd name="connsiteX43" fmla="*/ 505903 w 7467600"/>
              <a:gd name="connsiteY43" fmla="*/ 5925221 h 6858000"/>
              <a:gd name="connsiteX44" fmla="*/ 899240 w 7467600"/>
              <a:gd name="connsiteY44" fmla="*/ 6153068 h 6858000"/>
              <a:gd name="connsiteX45" fmla="*/ 988114 w 7467600"/>
              <a:gd name="connsiteY45" fmla="*/ 6174204 h 6858000"/>
              <a:gd name="connsiteX46" fmla="*/ 845971 w 7467600"/>
              <a:gd name="connsiteY46" fmla="*/ 6067177 h 6858000"/>
              <a:gd name="connsiteX47" fmla="*/ 448057 w 7467600"/>
              <a:gd name="connsiteY47" fmla="*/ 5841376 h 6858000"/>
              <a:gd name="connsiteX48" fmla="*/ 51253 w 7467600"/>
              <a:gd name="connsiteY48" fmla="*/ 5631825 h 6858000"/>
              <a:gd name="connsiteX49" fmla="*/ 2606687 w 7467600"/>
              <a:gd name="connsiteY49" fmla="*/ 5630718 h 6858000"/>
              <a:gd name="connsiteX50" fmla="*/ 2645658 w 7467600"/>
              <a:gd name="connsiteY50" fmla="*/ 6640259 h 6858000"/>
              <a:gd name="connsiteX51" fmla="*/ 2606687 w 7467600"/>
              <a:gd name="connsiteY51" fmla="*/ 5630718 h 6858000"/>
              <a:gd name="connsiteX52" fmla="*/ 3642057 w 7467600"/>
              <a:gd name="connsiteY52" fmla="*/ 5573487 h 6858000"/>
              <a:gd name="connsiteX53" fmla="*/ 3632981 w 7467600"/>
              <a:gd name="connsiteY53" fmla="*/ 5579437 h 6858000"/>
              <a:gd name="connsiteX54" fmla="*/ 3382436 w 7467600"/>
              <a:gd name="connsiteY54" fmla="*/ 5952726 h 6858000"/>
              <a:gd name="connsiteX55" fmla="*/ 3191929 w 7467600"/>
              <a:gd name="connsiteY55" fmla="*/ 6662669 h 6858000"/>
              <a:gd name="connsiteX56" fmla="*/ 3369898 w 7467600"/>
              <a:gd name="connsiteY56" fmla="*/ 6081771 h 6858000"/>
              <a:gd name="connsiteX57" fmla="*/ 3642057 w 7467600"/>
              <a:gd name="connsiteY57" fmla="*/ 5573487 h 6858000"/>
              <a:gd name="connsiteX58" fmla="*/ 2650666 w 7467600"/>
              <a:gd name="connsiteY58" fmla="*/ 5530686 h 6858000"/>
              <a:gd name="connsiteX59" fmla="*/ 2650249 w 7467600"/>
              <a:gd name="connsiteY59" fmla="*/ 5532101 h 6858000"/>
              <a:gd name="connsiteX60" fmla="*/ 2663808 w 7467600"/>
              <a:gd name="connsiteY60" fmla="*/ 6535215 h 6858000"/>
              <a:gd name="connsiteX61" fmla="*/ 2665418 w 7467600"/>
              <a:gd name="connsiteY61" fmla="*/ 6132756 h 6858000"/>
              <a:gd name="connsiteX62" fmla="*/ 2650666 w 7467600"/>
              <a:gd name="connsiteY62" fmla="*/ 5530686 h 6858000"/>
              <a:gd name="connsiteX63" fmla="*/ 2680277 w 7467600"/>
              <a:gd name="connsiteY63" fmla="*/ 5479204 h 6858000"/>
              <a:gd name="connsiteX64" fmla="*/ 2678972 w 7467600"/>
              <a:gd name="connsiteY64" fmla="*/ 5481582 h 6858000"/>
              <a:gd name="connsiteX65" fmla="*/ 2696666 w 7467600"/>
              <a:gd name="connsiteY65" fmla="*/ 6133836 h 6858000"/>
              <a:gd name="connsiteX66" fmla="*/ 2695769 w 7467600"/>
              <a:gd name="connsiteY66" fmla="*/ 6390955 h 6858000"/>
              <a:gd name="connsiteX67" fmla="*/ 2739893 w 7467600"/>
              <a:gd name="connsiteY67" fmla="*/ 6108357 h 6858000"/>
              <a:gd name="connsiteX68" fmla="*/ 2680277 w 7467600"/>
              <a:gd name="connsiteY68" fmla="*/ 5479204 h 6858000"/>
              <a:gd name="connsiteX69" fmla="*/ 1132195 w 7467600"/>
              <a:gd name="connsiteY69" fmla="*/ 5467980 h 6858000"/>
              <a:gd name="connsiteX70" fmla="*/ 1679056 w 7467600"/>
              <a:gd name="connsiteY70" fmla="*/ 5516907 h 6858000"/>
              <a:gd name="connsiteX71" fmla="*/ 2128648 w 7467600"/>
              <a:gd name="connsiteY71" fmla="*/ 5474249 h 6858000"/>
              <a:gd name="connsiteX72" fmla="*/ 1825619 w 7467600"/>
              <a:gd name="connsiteY72" fmla="*/ 5478447 h 6858000"/>
              <a:gd name="connsiteX73" fmla="*/ 1737798 w 7467600"/>
              <a:gd name="connsiteY73" fmla="*/ 5483353 h 6858000"/>
              <a:gd name="connsiteX74" fmla="*/ 1132195 w 7467600"/>
              <a:gd name="connsiteY74" fmla="*/ 5467980 h 6858000"/>
              <a:gd name="connsiteX75" fmla="*/ 6844835 w 7467600"/>
              <a:gd name="connsiteY75" fmla="*/ 5424988 h 6858000"/>
              <a:gd name="connsiteX76" fmla="*/ 6879594 w 7467600"/>
              <a:gd name="connsiteY76" fmla="*/ 5424547 h 6858000"/>
              <a:gd name="connsiteX77" fmla="*/ 7379510 w 7467600"/>
              <a:gd name="connsiteY77" fmla="*/ 5755454 h 6858000"/>
              <a:gd name="connsiteX78" fmla="*/ 7467600 w 7467600"/>
              <a:gd name="connsiteY78" fmla="*/ 5845526 h 6858000"/>
              <a:gd name="connsiteX79" fmla="*/ 7467600 w 7467600"/>
              <a:gd name="connsiteY79" fmla="*/ 5925131 h 6858000"/>
              <a:gd name="connsiteX80" fmla="*/ 7271900 w 7467600"/>
              <a:gd name="connsiteY80" fmla="*/ 5734551 h 6858000"/>
              <a:gd name="connsiteX81" fmla="*/ 7015907 w 7467600"/>
              <a:gd name="connsiteY81" fmla="*/ 5541548 h 6858000"/>
              <a:gd name="connsiteX82" fmla="*/ 7259646 w 7467600"/>
              <a:gd name="connsiteY82" fmla="*/ 5765985 h 6858000"/>
              <a:gd name="connsiteX83" fmla="*/ 7467600 w 7467600"/>
              <a:gd name="connsiteY83" fmla="*/ 5971257 h 6858000"/>
              <a:gd name="connsiteX84" fmla="*/ 7467600 w 7467600"/>
              <a:gd name="connsiteY84" fmla="*/ 6012219 h 6858000"/>
              <a:gd name="connsiteX85" fmla="*/ 7240170 w 7467600"/>
              <a:gd name="connsiteY85" fmla="*/ 5787985 h 6858000"/>
              <a:gd name="connsiteX86" fmla="*/ 6946849 w 7467600"/>
              <a:gd name="connsiteY86" fmla="*/ 5523271 h 6858000"/>
              <a:gd name="connsiteX87" fmla="*/ 6946972 w 7467600"/>
              <a:gd name="connsiteY87" fmla="*/ 5526491 h 6858000"/>
              <a:gd name="connsiteX88" fmla="*/ 7105827 w 7467600"/>
              <a:gd name="connsiteY88" fmla="*/ 5718700 h 6858000"/>
              <a:gd name="connsiteX89" fmla="*/ 7356878 w 7467600"/>
              <a:gd name="connsiteY89" fmla="*/ 5981332 h 6858000"/>
              <a:gd name="connsiteX90" fmla="*/ 7467600 w 7467600"/>
              <a:gd name="connsiteY90" fmla="*/ 6117703 h 6858000"/>
              <a:gd name="connsiteX91" fmla="*/ 7467600 w 7467600"/>
              <a:gd name="connsiteY91" fmla="*/ 6163634 h 6858000"/>
              <a:gd name="connsiteX92" fmla="*/ 7403637 w 7467600"/>
              <a:gd name="connsiteY92" fmla="*/ 6083957 h 6858000"/>
              <a:gd name="connsiteX93" fmla="*/ 7254615 w 7467600"/>
              <a:gd name="connsiteY93" fmla="*/ 5911918 h 6858000"/>
              <a:gd name="connsiteX94" fmla="*/ 7312589 w 7467600"/>
              <a:gd name="connsiteY94" fmla="*/ 5982309 h 6858000"/>
              <a:gd name="connsiteX95" fmla="*/ 7448321 w 7467600"/>
              <a:gd name="connsiteY95" fmla="*/ 6190991 h 6858000"/>
              <a:gd name="connsiteX96" fmla="*/ 7467600 w 7467600"/>
              <a:gd name="connsiteY96" fmla="*/ 6221686 h 6858000"/>
              <a:gd name="connsiteX97" fmla="*/ 7467600 w 7467600"/>
              <a:gd name="connsiteY97" fmla="*/ 6334256 h 6858000"/>
              <a:gd name="connsiteX98" fmla="*/ 7454976 w 7467600"/>
              <a:gd name="connsiteY98" fmla="*/ 6318297 h 6858000"/>
              <a:gd name="connsiteX99" fmla="*/ 7042773 w 7467600"/>
              <a:gd name="connsiteY99" fmla="*/ 5734011 h 6858000"/>
              <a:gd name="connsiteX100" fmla="*/ 6844835 w 7467600"/>
              <a:gd name="connsiteY100" fmla="*/ 5424988 h 6858000"/>
              <a:gd name="connsiteX101" fmla="*/ 1456157 w 7467600"/>
              <a:gd name="connsiteY101" fmla="*/ 5371404 h 6858000"/>
              <a:gd name="connsiteX102" fmla="*/ 1244432 w 7467600"/>
              <a:gd name="connsiteY102" fmla="*/ 5385601 h 6858000"/>
              <a:gd name="connsiteX103" fmla="*/ 973990 w 7467600"/>
              <a:gd name="connsiteY103" fmla="*/ 5424940 h 6858000"/>
              <a:gd name="connsiteX104" fmla="*/ 1103809 w 7467600"/>
              <a:gd name="connsiteY104" fmla="*/ 5433720 h 6858000"/>
              <a:gd name="connsiteX105" fmla="*/ 1123454 w 7467600"/>
              <a:gd name="connsiteY105" fmla="*/ 5435727 h 6858000"/>
              <a:gd name="connsiteX106" fmla="*/ 1737017 w 7467600"/>
              <a:gd name="connsiteY106" fmla="*/ 5452183 h 6858000"/>
              <a:gd name="connsiteX107" fmla="*/ 1824397 w 7467600"/>
              <a:gd name="connsiteY107" fmla="*/ 5447757 h 6858000"/>
              <a:gd name="connsiteX108" fmla="*/ 2070059 w 7467600"/>
              <a:gd name="connsiteY108" fmla="*/ 5441660 h 6858000"/>
              <a:gd name="connsiteX109" fmla="*/ 1456157 w 7467600"/>
              <a:gd name="connsiteY109" fmla="*/ 5371404 h 6858000"/>
              <a:gd name="connsiteX110" fmla="*/ 4988186 w 7467600"/>
              <a:gd name="connsiteY110" fmla="*/ 5216467 h 6858000"/>
              <a:gd name="connsiteX111" fmla="*/ 4777334 w 7467600"/>
              <a:gd name="connsiteY111" fmla="*/ 5406072 h 6858000"/>
              <a:gd name="connsiteX112" fmla="*/ 4718341 w 7467600"/>
              <a:gd name="connsiteY112" fmla="*/ 5468043 h 6858000"/>
              <a:gd name="connsiteX113" fmla="*/ 4604655 w 7467600"/>
              <a:gd name="connsiteY113" fmla="*/ 5583434 h 6858000"/>
              <a:gd name="connsiteX114" fmla="*/ 4565074 w 7467600"/>
              <a:gd name="connsiteY114" fmla="*/ 5618550 h 6858000"/>
              <a:gd name="connsiteX115" fmla="*/ 4988186 w 7467600"/>
              <a:gd name="connsiteY115" fmla="*/ 5216467 h 6858000"/>
              <a:gd name="connsiteX116" fmla="*/ 4978032 w 7467600"/>
              <a:gd name="connsiteY116" fmla="*/ 5183809 h 6858000"/>
              <a:gd name="connsiteX117" fmla="*/ 4463413 w 7467600"/>
              <a:gd name="connsiteY117" fmla="*/ 5615162 h 6858000"/>
              <a:gd name="connsiteX118" fmla="*/ 4358134 w 7467600"/>
              <a:gd name="connsiteY118" fmla="*/ 5742791 h 6858000"/>
              <a:gd name="connsiteX119" fmla="*/ 4376219 w 7467600"/>
              <a:gd name="connsiteY119" fmla="*/ 5729027 h 6858000"/>
              <a:gd name="connsiteX120" fmla="*/ 4582340 w 7467600"/>
              <a:gd name="connsiteY120" fmla="*/ 5561037 h 6858000"/>
              <a:gd name="connsiteX121" fmla="*/ 4694684 w 7467600"/>
              <a:gd name="connsiteY121" fmla="*/ 5447098 h 6858000"/>
              <a:gd name="connsiteX122" fmla="*/ 4754123 w 7467600"/>
              <a:gd name="connsiteY122" fmla="*/ 5384643 h 6858000"/>
              <a:gd name="connsiteX123" fmla="*/ 4978032 w 7467600"/>
              <a:gd name="connsiteY123" fmla="*/ 5183809 h 6858000"/>
              <a:gd name="connsiteX124" fmla="*/ 1903353 w 7467600"/>
              <a:gd name="connsiteY124" fmla="*/ 5044827 h 6858000"/>
              <a:gd name="connsiteX125" fmla="*/ 1936931 w 7467600"/>
              <a:gd name="connsiteY125" fmla="*/ 5093954 h 6858000"/>
              <a:gd name="connsiteX126" fmla="*/ 2195868 w 7467600"/>
              <a:gd name="connsiteY126" fmla="*/ 5396574 h 6858000"/>
              <a:gd name="connsiteX127" fmla="*/ 2088852 w 7467600"/>
              <a:gd name="connsiteY127" fmla="*/ 5166123 h 6858000"/>
              <a:gd name="connsiteX128" fmla="*/ 1958241 w 7467600"/>
              <a:gd name="connsiteY128" fmla="*/ 5067955 h 6858000"/>
              <a:gd name="connsiteX129" fmla="*/ 1903353 w 7467600"/>
              <a:gd name="connsiteY129" fmla="*/ 5044827 h 6858000"/>
              <a:gd name="connsiteX130" fmla="*/ 1979378 w 7467600"/>
              <a:gd name="connsiteY130" fmla="*/ 4769504 h 6858000"/>
              <a:gd name="connsiteX131" fmla="*/ 2882120 w 7467600"/>
              <a:gd name="connsiteY131" fmla="*/ 5064547 h 6858000"/>
              <a:gd name="connsiteX132" fmla="*/ 2793103 w 7467600"/>
              <a:gd name="connsiteY132" fmla="*/ 5039699 h 6858000"/>
              <a:gd name="connsiteX133" fmla="*/ 2770041 w 7467600"/>
              <a:gd name="connsiteY133" fmla="*/ 5033634 h 6858000"/>
              <a:gd name="connsiteX134" fmla="*/ 1979378 w 7467600"/>
              <a:gd name="connsiteY134" fmla="*/ 4769504 h 6858000"/>
              <a:gd name="connsiteX135" fmla="*/ 1927410 w 7467600"/>
              <a:gd name="connsiteY135" fmla="*/ 4716164 h 6858000"/>
              <a:gd name="connsiteX136" fmla="*/ 1959587 w 7467600"/>
              <a:gd name="connsiteY136" fmla="*/ 4728849 h 6858000"/>
              <a:gd name="connsiteX137" fmla="*/ 2777707 w 7467600"/>
              <a:gd name="connsiteY137" fmla="*/ 5003991 h 6858000"/>
              <a:gd name="connsiteX138" fmla="*/ 2800768 w 7467600"/>
              <a:gd name="connsiteY138" fmla="*/ 5010056 h 6858000"/>
              <a:gd name="connsiteX139" fmla="*/ 2879408 w 7467600"/>
              <a:gd name="connsiteY139" fmla="*/ 5031590 h 6858000"/>
              <a:gd name="connsiteX140" fmla="*/ 2862295 w 7467600"/>
              <a:gd name="connsiteY140" fmla="*/ 5022958 h 6858000"/>
              <a:gd name="connsiteX141" fmla="*/ 2813343 w 7467600"/>
              <a:gd name="connsiteY141" fmla="*/ 4998369 h 6858000"/>
              <a:gd name="connsiteX142" fmla="*/ 2646245 w 7467600"/>
              <a:gd name="connsiteY142" fmla="*/ 4930999 h 6858000"/>
              <a:gd name="connsiteX143" fmla="*/ 1999243 w 7467600"/>
              <a:gd name="connsiteY143" fmla="*/ 4730524 h 6858000"/>
              <a:gd name="connsiteX144" fmla="*/ 1979527 w 7467600"/>
              <a:gd name="connsiteY144" fmla="*/ 4726651 h 6858000"/>
              <a:gd name="connsiteX145" fmla="*/ 1927410 w 7467600"/>
              <a:gd name="connsiteY145" fmla="*/ 4716164 h 6858000"/>
              <a:gd name="connsiteX146" fmla="*/ 1997014 w 7467600"/>
              <a:gd name="connsiteY146" fmla="*/ 4698007 h 6858000"/>
              <a:gd name="connsiteX147" fmla="*/ 2005458 w 7467600"/>
              <a:gd name="connsiteY147" fmla="*/ 4699540 h 6858000"/>
              <a:gd name="connsiteX148" fmla="*/ 2657186 w 7467600"/>
              <a:gd name="connsiteY148" fmla="*/ 4901687 h 6858000"/>
              <a:gd name="connsiteX149" fmla="*/ 2826662 w 7467600"/>
              <a:gd name="connsiteY149" fmla="*/ 4970362 h 6858000"/>
              <a:gd name="connsiteX150" fmla="*/ 2876100 w 7467600"/>
              <a:gd name="connsiteY150" fmla="*/ 4995397 h 6858000"/>
              <a:gd name="connsiteX151" fmla="*/ 3042600 w 7467600"/>
              <a:gd name="connsiteY151" fmla="*/ 5059532 h 6858000"/>
              <a:gd name="connsiteX152" fmla="*/ 1997014 w 7467600"/>
              <a:gd name="connsiteY152" fmla="*/ 4698007 h 6858000"/>
              <a:gd name="connsiteX153" fmla="*/ 2305292 w 7467600"/>
              <a:gd name="connsiteY153" fmla="*/ 4219492 h 6858000"/>
              <a:gd name="connsiteX154" fmla="*/ 3360922 w 7467600"/>
              <a:gd name="connsiteY154" fmla="*/ 4529373 h 6858000"/>
              <a:gd name="connsiteX155" fmla="*/ 3492420 w 7467600"/>
              <a:gd name="connsiteY155" fmla="*/ 4510145 h 6858000"/>
              <a:gd name="connsiteX156" fmla="*/ 3364086 w 7467600"/>
              <a:gd name="connsiteY156" fmla="*/ 4480340 h 6858000"/>
              <a:gd name="connsiteX157" fmla="*/ 3225818 w 7467600"/>
              <a:gd name="connsiteY157" fmla="*/ 4411822 h 6858000"/>
              <a:gd name="connsiteX158" fmla="*/ 3129696 w 7467600"/>
              <a:gd name="connsiteY158" fmla="*/ 4360704 h 6858000"/>
              <a:gd name="connsiteX159" fmla="*/ 2814545 w 7467600"/>
              <a:gd name="connsiteY159" fmla="*/ 4282955 h 6858000"/>
              <a:gd name="connsiteX160" fmla="*/ 2305292 w 7467600"/>
              <a:gd name="connsiteY160" fmla="*/ 4219492 h 6858000"/>
              <a:gd name="connsiteX161" fmla="*/ 2626982 w 7467600"/>
              <a:gd name="connsiteY161" fmla="*/ 4206450 h 6858000"/>
              <a:gd name="connsiteX162" fmla="*/ 2490617 w 7467600"/>
              <a:gd name="connsiteY162" fmla="*/ 4206951 h 6858000"/>
              <a:gd name="connsiteX163" fmla="*/ 2819869 w 7467600"/>
              <a:gd name="connsiteY163" fmla="*/ 4252936 h 6858000"/>
              <a:gd name="connsiteX164" fmla="*/ 3143018 w 7467600"/>
              <a:gd name="connsiteY164" fmla="*/ 4332698 h 6858000"/>
              <a:gd name="connsiteX165" fmla="*/ 3241520 w 7467600"/>
              <a:gd name="connsiteY165" fmla="*/ 4385112 h 6858000"/>
              <a:gd name="connsiteX166" fmla="*/ 3374575 w 7467600"/>
              <a:gd name="connsiteY166" fmla="*/ 4451517 h 6858000"/>
              <a:gd name="connsiteX167" fmla="*/ 3505221 w 7467600"/>
              <a:gd name="connsiteY167" fmla="*/ 4480757 h 6858000"/>
              <a:gd name="connsiteX168" fmla="*/ 2626982 w 7467600"/>
              <a:gd name="connsiteY168" fmla="*/ 4206450 h 6858000"/>
              <a:gd name="connsiteX169" fmla="*/ 1310106 w 7467600"/>
              <a:gd name="connsiteY169" fmla="*/ 3943217 h 6858000"/>
              <a:gd name="connsiteX170" fmla="*/ 854994 w 7467600"/>
              <a:gd name="connsiteY170" fmla="*/ 4399136 h 6858000"/>
              <a:gd name="connsiteX171" fmla="*/ 742462 w 7467600"/>
              <a:gd name="connsiteY171" fmla="*/ 4594648 h 6858000"/>
              <a:gd name="connsiteX172" fmla="*/ 820602 w 7467600"/>
              <a:gd name="connsiteY172" fmla="*/ 4485915 h 6858000"/>
              <a:gd name="connsiteX173" fmla="*/ 878295 w 7467600"/>
              <a:gd name="connsiteY173" fmla="*/ 4403594 h 6858000"/>
              <a:gd name="connsiteX174" fmla="*/ 1240607 w 7467600"/>
              <a:gd name="connsiteY174" fmla="*/ 4010401 h 6858000"/>
              <a:gd name="connsiteX175" fmla="*/ 1310106 w 7467600"/>
              <a:gd name="connsiteY175" fmla="*/ 3943217 h 6858000"/>
              <a:gd name="connsiteX176" fmla="*/ 1423113 w 7467600"/>
              <a:gd name="connsiteY176" fmla="*/ 3874565 h 6858000"/>
              <a:gd name="connsiteX177" fmla="*/ 1260565 w 7467600"/>
              <a:gd name="connsiteY177" fmla="*/ 4031982 h 6858000"/>
              <a:gd name="connsiteX178" fmla="*/ 901900 w 7467600"/>
              <a:gd name="connsiteY178" fmla="*/ 4421236 h 6858000"/>
              <a:gd name="connsiteX179" fmla="*/ 845044 w 7467600"/>
              <a:gd name="connsiteY179" fmla="*/ 4502436 h 6858000"/>
              <a:gd name="connsiteX180" fmla="*/ 685926 w 7467600"/>
              <a:gd name="connsiteY180" fmla="*/ 4703069 h 6858000"/>
              <a:gd name="connsiteX181" fmla="*/ 684248 w 7467600"/>
              <a:gd name="connsiteY181" fmla="*/ 4706721 h 6858000"/>
              <a:gd name="connsiteX182" fmla="*/ 1423113 w 7467600"/>
              <a:gd name="connsiteY182" fmla="*/ 3874565 h 6858000"/>
              <a:gd name="connsiteX183" fmla="*/ 3316479 w 7467600"/>
              <a:gd name="connsiteY183" fmla="*/ 3872136 h 6858000"/>
              <a:gd name="connsiteX184" fmla="*/ 3546806 w 7467600"/>
              <a:gd name="connsiteY184" fmla="*/ 4356139 h 6858000"/>
              <a:gd name="connsiteX185" fmla="*/ 3364433 w 7467600"/>
              <a:gd name="connsiteY185" fmla="*/ 3953121 h 6858000"/>
              <a:gd name="connsiteX186" fmla="*/ 3316479 w 7467600"/>
              <a:gd name="connsiteY186" fmla="*/ 3872136 h 6858000"/>
              <a:gd name="connsiteX187" fmla="*/ 3291335 w 7467600"/>
              <a:gd name="connsiteY187" fmla="*/ 3767420 h 6858000"/>
              <a:gd name="connsiteX188" fmla="*/ 3390805 w 7467600"/>
              <a:gd name="connsiteY188" fmla="*/ 3937163 h 6858000"/>
              <a:gd name="connsiteX189" fmla="*/ 3579062 w 7467600"/>
              <a:gd name="connsiteY189" fmla="*/ 4359040 h 6858000"/>
              <a:gd name="connsiteX190" fmla="*/ 3467355 w 7467600"/>
              <a:gd name="connsiteY190" fmla="*/ 3988130 h 6858000"/>
              <a:gd name="connsiteX191" fmla="*/ 3310753 w 7467600"/>
              <a:gd name="connsiteY191" fmla="*/ 3787140 h 6858000"/>
              <a:gd name="connsiteX192" fmla="*/ 3291335 w 7467600"/>
              <a:gd name="connsiteY192" fmla="*/ 3767420 h 6858000"/>
              <a:gd name="connsiteX193" fmla="*/ 1635889 w 7467600"/>
              <a:gd name="connsiteY193" fmla="*/ 3709494 h 6858000"/>
              <a:gd name="connsiteX194" fmla="*/ 1634800 w 7467600"/>
              <a:gd name="connsiteY194" fmla="*/ 3731111 h 6858000"/>
              <a:gd name="connsiteX195" fmla="*/ 1635889 w 7467600"/>
              <a:gd name="connsiteY195" fmla="*/ 3709494 h 6858000"/>
              <a:gd name="connsiteX196" fmla="*/ 1510397 w 7467600"/>
              <a:gd name="connsiteY196" fmla="*/ 3684705 h 6858000"/>
              <a:gd name="connsiteX197" fmla="*/ 1146550 w 7467600"/>
              <a:gd name="connsiteY197" fmla="*/ 3802012 h 6858000"/>
              <a:gd name="connsiteX198" fmla="*/ 698834 w 7467600"/>
              <a:gd name="connsiteY198" fmla="*/ 3952272 h 6858000"/>
              <a:gd name="connsiteX199" fmla="*/ 34256 w 7467600"/>
              <a:gd name="connsiteY199" fmla="*/ 4347603 h 6858000"/>
              <a:gd name="connsiteX200" fmla="*/ 527241 w 7467600"/>
              <a:gd name="connsiteY200" fmla="*/ 4065078 h 6858000"/>
              <a:gd name="connsiteX201" fmla="*/ 1510397 w 7467600"/>
              <a:gd name="connsiteY201" fmla="*/ 3684705 h 6858000"/>
              <a:gd name="connsiteX202" fmla="*/ 1313114 w 7467600"/>
              <a:gd name="connsiteY202" fmla="*/ 3655216 h 6858000"/>
              <a:gd name="connsiteX203" fmla="*/ 1109304 w 7467600"/>
              <a:gd name="connsiteY203" fmla="*/ 3669030 h 6858000"/>
              <a:gd name="connsiteX204" fmla="*/ 8129 w 7467600"/>
              <a:gd name="connsiteY204" fmla="*/ 4330519 h 6858000"/>
              <a:gd name="connsiteX205" fmla="*/ 687572 w 7467600"/>
              <a:gd name="connsiteY205" fmla="*/ 3925629 h 6858000"/>
              <a:gd name="connsiteX206" fmla="*/ 1138365 w 7467600"/>
              <a:gd name="connsiteY206" fmla="*/ 3774515 h 6858000"/>
              <a:gd name="connsiteX207" fmla="*/ 1505579 w 7467600"/>
              <a:gd name="connsiteY207" fmla="*/ 3655526 h 6858000"/>
              <a:gd name="connsiteX208" fmla="*/ 1313114 w 7467600"/>
              <a:gd name="connsiteY208" fmla="*/ 3655216 h 6858000"/>
              <a:gd name="connsiteX209" fmla="*/ 3655073 w 7467600"/>
              <a:gd name="connsiteY209" fmla="*/ 3650884 h 6858000"/>
              <a:gd name="connsiteX210" fmla="*/ 3989938 w 7467600"/>
              <a:gd name="connsiteY210" fmla="*/ 3991685 h 6858000"/>
              <a:gd name="connsiteX211" fmla="*/ 4393907 w 7467600"/>
              <a:gd name="connsiteY211" fmla="*/ 4261258 h 6858000"/>
              <a:gd name="connsiteX212" fmla="*/ 4648051 w 7467600"/>
              <a:gd name="connsiteY212" fmla="*/ 4374051 h 6858000"/>
              <a:gd name="connsiteX213" fmla="*/ 4383389 w 7467600"/>
              <a:gd name="connsiteY213" fmla="*/ 4184369 h 6858000"/>
              <a:gd name="connsiteX214" fmla="*/ 4165508 w 7467600"/>
              <a:gd name="connsiteY214" fmla="*/ 4035196 h 6858000"/>
              <a:gd name="connsiteX215" fmla="*/ 4068162 w 7467600"/>
              <a:gd name="connsiteY215" fmla="*/ 3953394 h 6858000"/>
              <a:gd name="connsiteX216" fmla="*/ 3981416 w 7467600"/>
              <a:gd name="connsiteY216" fmla="*/ 3880482 h 6858000"/>
              <a:gd name="connsiteX217" fmla="*/ 3800147 w 7467600"/>
              <a:gd name="connsiteY217" fmla="*/ 3749872 h 6858000"/>
              <a:gd name="connsiteX218" fmla="*/ 3655073 w 7467600"/>
              <a:gd name="connsiteY218" fmla="*/ 3650884 h 6858000"/>
              <a:gd name="connsiteX219" fmla="*/ 3670252 w 7467600"/>
              <a:gd name="connsiteY219" fmla="*/ 3622798 h 6858000"/>
              <a:gd name="connsiteX220" fmla="*/ 3817258 w 7467600"/>
              <a:gd name="connsiteY220" fmla="*/ 3723577 h 6858000"/>
              <a:gd name="connsiteX221" fmla="*/ 4000461 w 7467600"/>
              <a:gd name="connsiteY221" fmla="*/ 3855966 h 6858000"/>
              <a:gd name="connsiteX222" fmla="*/ 4088180 w 7467600"/>
              <a:gd name="connsiteY222" fmla="*/ 3929774 h 6858000"/>
              <a:gd name="connsiteX223" fmla="*/ 4184555 w 7467600"/>
              <a:gd name="connsiteY223" fmla="*/ 4010683 h 6858000"/>
              <a:gd name="connsiteX224" fmla="*/ 4399563 w 7467600"/>
              <a:gd name="connsiteY224" fmla="*/ 4158106 h 6858000"/>
              <a:gd name="connsiteX225" fmla="*/ 4684469 w 7467600"/>
              <a:gd name="connsiteY225" fmla="*/ 4364680 h 6858000"/>
              <a:gd name="connsiteX226" fmla="*/ 4690271 w 7467600"/>
              <a:gd name="connsiteY226" fmla="*/ 4370034 h 6858000"/>
              <a:gd name="connsiteX227" fmla="*/ 4136093 w 7467600"/>
              <a:gd name="connsiteY227" fmla="*/ 3858466 h 6858000"/>
              <a:gd name="connsiteX228" fmla="*/ 3670252 w 7467600"/>
              <a:gd name="connsiteY228" fmla="*/ 3622798 h 6858000"/>
              <a:gd name="connsiteX229" fmla="*/ 4440129 w 7467600"/>
              <a:gd name="connsiteY229" fmla="*/ 3448571 h 6858000"/>
              <a:gd name="connsiteX230" fmla="*/ 4856525 w 7467600"/>
              <a:gd name="connsiteY230" fmla="*/ 3915351 h 6858000"/>
              <a:gd name="connsiteX231" fmla="*/ 5059055 w 7467600"/>
              <a:gd name="connsiteY231" fmla="*/ 4108918 h 6858000"/>
              <a:gd name="connsiteX232" fmla="*/ 5290070 w 7467600"/>
              <a:gd name="connsiteY232" fmla="*/ 4263619 h 6858000"/>
              <a:gd name="connsiteX233" fmla="*/ 4834991 w 7467600"/>
              <a:gd name="connsiteY233" fmla="*/ 3830985 h 6858000"/>
              <a:gd name="connsiteX234" fmla="*/ 4440129 w 7467600"/>
              <a:gd name="connsiteY234" fmla="*/ 3448571 h 6858000"/>
              <a:gd name="connsiteX235" fmla="*/ 4441737 w 7467600"/>
              <a:gd name="connsiteY235" fmla="*/ 3399734 h 6858000"/>
              <a:gd name="connsiteX236" fmla="*/ 4431236 w 7467600"/>
              <a:gd name="connsiteY236" fmla="*/ 3400954 h 6858000"/>
              <a:gd name="connsiteX237" fmla="*/ 4557150 w 7467600"/>
              <a:gd name="connsiteY237" fmla="*/ 3510023 h 6858000"/>
              <a:gd name="connsiteX238" fmla="*/ 4856936 w 7467600"/>
              <a:gd name="connsiteY238" fmla="*/ 3809146 h 6858000"/>
              <a:gd name="connsiteX239" fmla="*/ 5111996 w 7467600"/>
              <a:gd name="connsiteY239" fmla="*/ 4065759 h 6858000"/>
              <a:gd name="connsiteX240" fmla="*/ 5388878 w 7467600"/>
              <a:gd name="connsiteY240" fmla="*/ 4300185 h 6858000"/>
              <a:gd name="connsiteX241" fmla="*/ 5425556 w 7467600"/>
              <a:gd name="connsiteY241" fmla="*/ 4308967 h 6858000"/>
              <a:gd name="connsiteX242" fmla="*/ 4943646 w 7467600"/>
              <a:gd name="connsiteY242" fmla="*/ 3822916 h 6858000"/>
              <a:gd name="connsiteX243" fmla="*/ 4594837 w 7467600"/>
              <a:gd name="connsiteY243" fmla="*/ 3532274 h 6858000"/>
              <a:gd name="connsiteX244" fmla="*/ 4441737 w 7467600"/>
              <a:gd name="connsiteY244" fmla="*/ 3399734 h 6858000"/>
              <a:gd name="connsiteX245" fmla="*/ 5425834 w 7467600"/>
              <a:gd name="connsiteY245" fmla="*/ 3162785 h 6858000"/>
              <a:gd name="connsiteX246" fmla="*/ 5401644 w 7467600"/>
              <a:gd name="connsiteY246" fmla="*/ 3617847 h 6858000"/>
              <a:gd name="connsiteX247" fmla="*/ 5467256 w 7467600"/>
              <a:gd name="connsiteY247" fmla="*/ 4175494 h 6858000"/>
              <a:gd name="connsiteX248" fmla="*/ 5448069 w 7467600"/>
              <a:gd name="connsiteY248" fmla="*/ 3567554 h 6858000"/>
              <a:gd name="connsiteX249" fmla="*/ 5425834 w 7467600"/>
              <a:gd name="connsiteY249" fmla="*/ 3162785 h 6858000"/>
              <a:gd name="connsiteX250" fmla="*/ 1318687 w 7467600"/>
              <a:gd name="connsiteY250" fmla="*/ 3113840 h 6858000"/>
              <a:gd name="connsiteX251" fmla="*/ 1066793 w 7467600"/>
              <a:gd name="connsiteY251" fmla="*/ 3212171 h 6858000"/>
              <a:gd name="connsiteX252" fmla="*/ 993319 w 7467600"/>
              <a:gd name="connsiteY252" fmla="*/ 3247648 h 6858000"/>
              <a:gd name="connsiteX253" fmla="*/ 853081 w 7467600"/>
              <a:gd name="connsiteY253" fmla="*/ 3312410 h 6858000"/>
              <a:gd name="connsiteX254" fmla="*/ 805957 w 7467600"/>
              <a:gd name="connsiteY254" fmla="*/ 3330443 h 6858000"/>
              <a:gd name="connsiteX255" fmla="*/ 1318687 w 7467600"/>
              <a:gd name="connsiteY255" fmla="*/ 3113840 h 6858000"/>
              <a:gd name="connsiteX256" fmla="*/ 5453702 w 7467600"/>
              <a:gd name="connsiteY256" fmla="*/ 3090882 h 6858000"/>
              <a:gd name="connsiteX257" fmla="*/ 5480135 w 7467600"/>
              <a:gd name="connsiteY257" fmla="*/ 3565802 h 6858000"/>
              <a:gd name="connsiteX258" fmla="*/ 5499023 w 7467600"/>
              <a:gd name="connsiteY258" fmla="*/ 4166310 h 6858000"/>
              <a:gd name="connsiteX259" fmla="*/ 5547022 w 7467600"/>
              <a:gd name="connsiteY259" fmla="*/ 3607838 h 6858000"/>
              <a:gd name="connsiteX260" fmla="*/ 5515964 w 7467600"/>
              <a:gd name="connsiteY260" fmla="*/ 3378541 h 6858000"/>
              <a:gd name="connsiteX261" fmla="*/ 5453702 w 7467600"/>
              <a:gd name="connsiteY261" fmla="*/ 3090882 h 6858000"/>
              <a:gd name="connsiteX262" fmla="*/ 1238695 w 7467600"/>
              <a:gd name="connsiteY262" fmla="*/ 3076820 h 6858000"/>
              <a:gd name="connsiteX263" fmla="*/ 716371 w 7467600"/>
              <a:gd name="connsiteY263" fmla="*/ 3293249 h 6858000"/>
              <a:gd name="connsiteX264" fmla="*/ 579522 w 7467600"/>
              <a:gd name="connsiteY264" fmla="*/ 3371759 h 6858000"/>
              <a:gd name="connsiteX265" fmla="*/ 600288 w 7467600"/>
              <a:gd name="connsiteY265" fmla="*/ 3365555 h 6858000"/>
              <a:gd name="connsiteX266" fmla="*/ 840692 w 7467600"/>
              <a:gd name="connsiteY266" fmla="*/ 3284921 h 6858000"/>
              <a:gd name="connsiteX267" fmla="*/ 979248 w 7467600"/>
              <a:gd name="connsiteY267" fmla="*/ 3221003 h 6858000"/>
              <a:gd name="connsiteX268" fmla="*/ 1053282 w 7467600"/>
              <a:gd name="connsiteY268" fmla="*/ 3185247 h 6858000"/>
              <a:gd name="connsiteX269" fmla="*/ 1320603 w 7467600"/>
              <a:gd name="connsiteY269" fmla="*/ 3081281 h 6858000"/>
              <a:gd name="connsiteX270" fmla="*/ 1238695 w 7467600"/>
              <a:gd name="connsiteY270" fmla="*/ 3076820 h 6858000"/>
              <a:gd name="connsiteX271" fmla="*/ 5425627 w 7467600"/>
              <a:gd name="connsiteY271" fmla="*/ 2954192 h 6858000"/>
              <a:gd name="connsiteX272" fmla="*/ 5470770 w 7467600"/>
              <a:gd name="connsiteY272" fmla="*/ 3005435 h 6858000"/>
              <a:gd name="connsiteX273" fmla="*/ 5519779 w 7467600"/>
              <a:gd name="connsiteY273" fmla="*/ 4359223 h 6858000"/>
              <a:gd name="connsiteX274" fmla="*/ 5520293 w 7467600"/>
              <a:gd name="connsiteY274" fmla="*/ 4360602 h 6858000"/>
              <a:gd name="connsiteX275" fmla="*/ 5767221 w 7467600"/>
              <a:gd name="connsiteY275" fmla="*/ 4665564 h 6858000"/>
              <a:gd name="connsiteX276" fmla="*/ 6937169 w 7467600"/>
              <a:gd name="connsiteY276" fmla="*/ 4815941 h 6858000"/>
              <a:gd name="connsiteX277" fmla="*/ 6953922 w 7467600"/>
              <a:gd name="connsiteY277" fmla="*/ 4890068 h 6858000"/>
              <a:gd name="connsiteX278" fmla="*/ 6071359 w 7467600"/>
              <a:gd name="connsiteY278" fmla="*/ 4770770 h 6858000"/>
              <a:gd name="connsiteX279" fmla="*/ 6038839 w 7467600"/>
              <a:gd name="connsiteY279" fmla="*/ 4764474 h 6858000"/>
              <a:gd name="connsiteX280" fmla="*/ 6038706 w 7467600"/>
              <a:gd name="connsiteY280" fmla="*/ 4763847 h 6858000"/>
              <a:gd name="connsiteX281" fmla="*/ 6037784 w 7467600"/>
              <a:gd name="connsiteY281" fmla="*/ 4764270 h 6858000"/>
              <a:gd name="connsiteX282" fmla="*/ 6038839 w 7467600"/>
              <a:gd name="connsiteY282" fmla="*/ 4764474 h 6858000"/>
              <a:gd name="connsiteX283" fmla="*/ 6040338 w 7467600"/>
              <a:gd name="connsiteY283" fmla="*/ 4771418 h 6858000"/>
              <a:gd name="connsiteX284" fmla="*/ 6024488 w 7467600"/>
              <a:gd name="connsiteY284" fmla="*/ 4809903 h 6858000"/>
              <a:gd name="connsiteX285" fmla="*/ 5599771 w 7467600"/>
              <a:gd name="connsiteY285" fmla="*/ 5509652 h 6858000"/>
              <a:gd name="connsiteX286" fmla="*/ 5548843 w 7467600"/>
              <a:gd name="connsiteY286" fmla="*/ 5563845 h 6858000"/>
              <a:gd name="connsiteX287" fmla="*/ 5940952 w 7467600"/>
              <a:gd name="connsiteY287" fmla="*/ 6250028 h 6858000"/>
              <a:gd name="connsiteX288" fmla="*/ 6043441 w 7467600"/>
              <a:gd name="connsiteY288" fmla="*/ 6665847 h 6858000"/>
              <a:gd name="connsiteX289" fmla="*/ 6093432 w 7467600"/>
              <a:gd name="connsiteY289" fmla="*/ 6858000 h 6858000"/>
              <a:gd name="connsiteX290" fmla="*/ 6034344 w 7467600"/>
              <a:gd name="connsiteY290" fmla="*/ 6858000 h 6858000"/>
              <a:gd name="connsiteX291" fmla="*/ 6026679 w 7467600"/>
              <a:gd name="connsiteY291" fmla="*/ 6836959 h 6858000"/>
              <a:gd name="connsiteX292" fmla="*/ 5800441 w 7467600"/>
              <a:gd name="connsiteY292" fmla="*/ 6335286 h 6858000"/>
              <a:gd name="connsiteX293" fmla="*/ 5526562 w 7467600"/>
              <a:gd name="connsiteY293" fmla="*/ 5705388 h 6858000"/>
              <a:gd name="connsiteX294" fmla="*/ 5519640 w 7467600"/>
              <a:gd name="connsiteY294" fmla="*/ 5683774 h 6858000"/>
              <a:gd name="connsiteX295" fmla="*/ 5844559 w 7467600"/>
              <a:gd name="connsiteY295" fmla="*/ 6553349 h 6858000"/>
              <a:gd name="connsiteX296" fmla="*/ 5975994 w 7467600"/>
              <a:gd name="connsiteY296" fmla="*/ 6858000 h 6858000"/>
              <a:gd name="connsiteX297" fmla="*/ 5898547 w 7467600"/>
              <a:gd name="connsiteY297" fmla="*/ 6858000 h 6858000"/>
              <a:gd name="connsiteX298" fmla="*/ 5682041 w 7467600"/>
              <a:gd name="connsiteY298" fmla="*/ 6355860 h 6858000"/>
              <a:gd name="connsiteX299" fmla="*/ 5461758 w 7467600"/>
              <a:gd name="connsiteY299" fmla="*/ 5820220 h 6858000"/>
              <a:gd name="connsiteX300" fmla="*/ 5237282 w 7467600"/>
              <a:gd name="connsiteY300" fmla="*/ 6579086 h 6858000"/>
              <a:gd name="connsiteX301" fmla="*/ 5115009 w 7467600"/>
              <a:gd name="connsiteY301" fmla="*/ 6858000 h 6858000"/>
              <a:gd name="connsiteX302" fmla="*/ 5028074 w 7467600"/>
              <a:gd name="connsiteY302" fmla="*/ 6858000 h 6858000"/>
              <a:gd name="connsiteX303" fmla="*/ 5079508 w 7467600"/>
              <a:gd name="connsiteY303" fmla="*/ 6749074 h 6858000"/>
              <a:gd name="connsiteX304" fmla="*/ 5371846 w 7467600"/>
              <a:gd name="connsiteY304" fmla="*/ 5924413 h 6858000"/>
              <a:gd name="connsiteX305" fmla="*/ 5270512 w 7467600"/>
              <a:gd name="connsiteY305" fmla="*/ 6138975 h 6858000"/>
              <a:gd name="connsiteX306" fmla="*/ 5062409 w 7467600"/>
              <a:gd name="connsiteY306" fmla="*/ 6653544 h 6858000"/>
              <a:gd name="connsiteX307" fmla="*/ 5036628 w 7467600"/>
              <a:gd name="connsiteY307" fmla="*/ 6754247 h 6858000"/>
              <a:gd name="connsiteX308" fmla="*/ 5009112 w 7467600"/>
              <a:gd name="connsiteY308" fmla="*/ 6858000 h 6858000"/>
              <a:gd name="connsiteX309" fmla="*/ 4976679 w 7467600"/>
              <a:gd name="connsiteY309" fmla="*/ 6858000 h 6858000"/>
              <a:gd name="connsiteX310" fmla="*/ 5006537 w 7467600"/>
              <a:gd name="connsiteY310" fmla="*/ 6747068 h 6858000"/>
              <a:gd name="connsiteX311" fmla="*/ 5032723 w 7467600"/>
              <a:gd name="connsiteY311" fmla="*/ 6644957 h 6858000"/>
              <a:gd name="connsiteX312" fmla="*/ 5242949 w 7467600"/>
              <a:gd name="connsiteY312" fmla="*/ 6125175 h 6858000"/>
              <a:gd name="connsiteX313" fmla="*/ 5286321 w 7467600"/>
              <a:gd name="connsiteY313" fmla="*/ 6033555 h 6858000"/>
              <a:gd name="connsiteX314" fmla="*/ 5008210 w 7467600"/>
              <a:gd name="connsiteY314" fmla="*/ 6649194 h 6858000"/>
              <a:gd name="connsiteX315" fmla="*/ 4986321 w 7467600"/>
              <a:gd name="connsiteY315" fmla="*/ 6765687 h 6858000"/>
              <a:gd name="connsiteX316" fmla="*/ 4973474 w 7467600"/>
              <a:gd name="connsiteY316" fmla="*/ 6858000 h 6858000"/>
              <a:gd name="connsiteX317" fmla="*/ 4907178 w 7467600"/>
              <a:gd name="connsiteY317" fmla="*/ 6858000 h 6858000"/>
              <a:gd name="connsiteX318" fmla="*/ 4910810 w 7467600"/>
              <a:gd name="connsiteY318" fmla="*/ 6829660 h 6858000"/>
              <a:gd name="connsiteX319" fmla="*/ 4987461 w 7467600"/>
              <a:gd name="connsiteY319" fmla="*/ 6432994 h 6858000"/>
              <a:gd name="connsiteX320" fmla="*/ 5179262 w 7467600"/>
              <a:gd name="connsiteY320" fmla="*/ 6035044 h 6858000"/>
              <a:gd name="connsiteX321" fmla="*/ 4689678 w 7467600"/>
              <a:gd name="connsiteY321" fmla="*/ 6440241 h 6858000"/>
              <a:gd name="connsiteX322" fmla="*/ 4477543 w 7467600"/>
              <a:gd name="connsiteY322" fmla="*/ 6674836 h 6858000"/>
              <a:gd name="connsiteX323" fmla="*/ 4329957 w 7467600"/>
              <a:gd name="connsiteY323" fmla="*/ 6858000 h 6858000"/>
              <a:gd name="connsiteX324" fmla="*/ 4218595 w 7467600"/>
              <a:gd name="connsiteY324" fmla="*/ 6858000 h 6858000"/>
              <a:gd name="connsiteX325" fmla="*/ 4368888 w 7467600"/>
              <a:gd name="connsiteY325" fmla="*/ 6668412 h 6858000"/>
              <a:gd name="connsiteX326" fmla="*/ 4563091 w 7467600"/>
              <a:gd name="connsiteY326" fmla="*/ 6442508 h 6858000"/>
              <a:gd name="connsiteX327" fmla="*/ 5387324 w 7467600"/>
              <a:gd name="connsiteY327" fmla="*/ 5705830 h 6858000"/>
              <a:gd name="connsiteX328" fmla="*/ 5073620 w 7467600"/>
              <a:gd name="connsiteY328" fmla="*/ 5955437 h 6858000"/>
              <a:gd name="connsiteX329" fmla="*/ 4689789 w 7467600"/>
              <a:gd name="connsiteY329" fmla="*/ 6268382 h 6858000"/>
              <a:gd name="connsiteX330" fmla="*/ 4418722 w 7467600"/>
              <a:gd name="connsiteY330" fmla="*/ 6570886 h 6858000"/>
              <a:gd name="connsiteX331" fmla="*/ 4214944 w 7467600"/>
              <a:gd name="connsiteY331" fmla="*/ 6858000 h 6858000"/>
              <a:gd name="connsiteX332" fmla="*/ 4177898 w 7467600"/>
              <a:gd name="connsiteY332" fmla="*/ 6858000 h 6858000"/>
              <a:gd name="connsiteX333" fmla="*/ 4391597 w 7467600"/>
              <a:gd name="connsiteY333" fmla="*/ 6556370 h 6858000"/>
              <a:gd name="connsiteX334" fmla="*/ 4668889 w 7467600"/>
              <a:gd name="connsiteY334" fmla="*/ 6246399 h 6858000"/>
              <a:gd name="connsiteX335" fmla="*/ 5055427 w 7467600"/>
              <a:gd name="connsiteY335" fmla="*/ 5931476 h 6858000"/>
              <a:gd name="connsiteX336" fmla="*/ 5371814 w 7467600"/>
              <a:gd name="connsiteY336" fmla="*/ 5678975 h 6858000"/>
              <a:gd name="connsiteX337" fmla="*/ 4987918 w 7467600"/>
              <a:gd name="connsiteY337" fmla="*/ 5838701 h 6858000"/>
              <a:gd name="connsiteX338" fmla="*/ 4317146 w 7467600"/>
              <a:gd name="connsiteY338" fmla="*/ 6587716 h 6858000"/>
              <a:gd name="connsiteX339" fmla="*/ 4171627 w 7467600"/>
              <a:gd name="connsiteY339" fmla="*/ 6858000 h 6858000"/>
              <a:gd name="connsiteX340" fmla="*/ 4081585 w 7467600"/>
              <a:gd name="connsiteY340" fmla="*/ 6858000 h 6858000"/>
              <a:gd name="connsiteX341" fmla="*/ 4238603 w 7467600"/>
              <a:gd name="connsiteY341" fmla="*/ 6559341 h 6858000"/>
              <a:gd name="connsiteX342" fmla="*/ 4778333 w 7467600"/>
              <a:gd name="connsiteY342" fmla="*/ 5873626 h 6858000"/>
              <a:gd name="connsiteX343" fmla="*/ 5414185 w 7467600"/>
              <a:gd name="connsiteY343" fmla="*/ 5573882 h 6858000"/>
              <a:gd name="connsiteX344" fmla="*/ 5959648 w 7467600"/>
              <a:gd name="connsiteY344" fmla="*/ 4760797 h 6858000"/>
              <a:gd name="connsiteX345" fmla="*/ 5355019 w 7467600"/>
              <a:gd name="connsiteY345" fmla="*/ 4734672 h 6858000"/>
              <a:gd name="connsiteX346" fmla="*/ 5083565 w 7467600"/>
              <a:gd name="connsiteY346" fmla="*/ 5179121 h 6858000"/>
              <a:gd name="connsiteX347" fmla="*/ 4713577 w 7467600"/>
              <a:gd name="connsiteY347" fmla="*/ 5616803 h 6858000"/>
              <a:gd name="connsiteX348" fmla="*/ 3989559 w 7467600"/>
              <a:gd name="connsiteY348" fmla="*/ 6145945 h 6858000"/>
              <a:gd name="connsiteX349" fmla="*/ 3939824 w 7467600"/>
              <a:gd name="connsiteY349" fmla="*/ 6066900 h 6858000"/>
              <a:gd name="connsiteX350" fmla="*/ 4584537 w 7467600"/>
              <a:gd name="connsiteY350" fmla="*/ 5324826 h 6858000"/>
              <a:gd name="connsiteX351" fmla="*/ 5037105 w 7467600"/>
              <a:gd name="connsiteY351" fmla="*/ 5088765 h 6858000"/>
              <a:gd name="connsiteX352" fmla="*/ 5039930 w 7467600"/>
              <a:gd name="connsiteY352" fmla="*/ 5089585 h 6858000"/>
              <a:gd name="connsiteX353" fmla="*/ 5263764 w 7467600"/>
              <a:gd name="connsiteY353" fmla="*/ 4735525 h 6858000"/>
              <a:gd name="connsiteX354" fmla="*/ 4086300 w 7467600"/>
              <a:gd name="connsiteY354" fmla="*/ 4884599 h 6858000"/>
              <a:gd name="connsiteX355" fmla="*/ 4085485 w 7467600"/>
              <a:gd name="connsiteY355" fmla="*/ 4899070 h 6858000"/>
              <a:gd name="connsiteX356" fmla="*/ 3871915 w 7467600"/>
              <a:gd name="connsiteY356" fmla="*/ 5253645 h 6858000"/>
              <a:gd name="connsiteX357" fmla="*/ 3799374 w 7467600"/>
              <a:gd name="connsiteY357" fmla="*/ 5466127 h 6858000"/>
              <a:gd name="connsiteX358" fmla="*/ 3498850 w 7467600"/>
              <a:gd name="connsiteY358" fmla="*/ 6661888 h 6858000"/>
              <a:gd name="connsiteX359" fmla="*/ 3399216 w 7467600"/>
              <a:gd name="connsiteY359" fmla="*/ 6858000 h 6858000"/>
              <a:gd name="connsiteX360" fmla="*/ 3303688 w 7467600"/>
              <a:gd name="connsiteY360" fmla="*/ 6858000 h 6858000"/>
              <a:gd name="connsiteX361" fmla="*/ 3391774 w 7467600"/>
              <a:gd name="connsiteY361" fmla="*/ 6697181 h 6858000"/>
              <a:gd name="connsiteX362" fmla="*/ 3735540 w 7467600"/>
              <a:gd name="connsiteY362" fmla="*/ 5546923 h 6858000"/>
              <a:gd name="connsiteX363" fmla="*/ 3729438 w 7467600"/>
              <a:gd name="connsiteY363" fmla="*/ 5569058 h 6858000"/>
              <a:gd name="connsiteX364" fmla="*/ 3707782 w 7467600"/>
              <a:gd name="connsiteY364" fmla="*/ 5644908 h 6858000"/>
              <a:gd name="connsiteX365" fmla="*/ 3583827 w 7467600"/>
              <a:gd name="connsiteY365" fmla="*/ 6039215 h 6858000"/>
              <a:gd name="connsiteX366" fmla="*/ 3547861 w 7467600"/>
              <a:gd name="connsiteY366" fmla="*/ 6129609 h 6858000"/>
              <a:gd name="connsiteX367" fmla="*/ 3490905 w 7467600"/>
              <a:gd name="connsiteY367" fmla="*/ 6277660 h 6858000"/>
              <a:gd name="connsiteX368" fmla="*/ 3455859 w 7467600"/>
              <a:gd name="connsiteY368" fmla="*/ 6391301 h 6858000"/>
              <a:gd name="connsiteX369" fmla="*/ 3429112 w 7467600"/>
              <a:gd name="connsiteY369" fmla="*/ 6479469 h 6858000"/>
              <a:gd name="connsiteX370" fmla="*/ 3304862 w 7467600"/>
              <a:gd name="connsiteY370" fmla="*/ 6796476 h 6858000"/>
              <a:gd name="connsiteX371" fmla="*/ 3276071 w 7467600"/>
              <a:gd name="connsiteY371" fmla="*/ 6858000 h 6858000"/>
              <a:gd name="connsiteX372" fmla="*/ 3240805 w 7467600"/>
              <a:gd name="connsiteY372" fmla="*/ 6858000 h 6858000"/>
              <a:gd name="connsiteX373" fmla="*/ 3275917 w 7467600"/>
              <a:gd name="connsiteY373" fmla="*/ 6783192 h 6858000"/>
              <a:gd name="connsiteX374" fmla="*/ 3399358 w 7467600"/>
              <a:gd name="connsiteY374" fmla="*/ 6469011 h 6858000"/>
              <a:gd name="connsiteX375" fmla="*/ 3425650 w 7467600"/>
              <a:gd name="connsiteY375" fmla="*/ 6381333 h 6858000"/>
              <a:gd name="connsiteX376" fmla="*/ 3460661 w 7467600"/>
              <a:gd name="connsiteY376" fmla="*/ 6266763 h 6858000"/>
              <a:gd name="connsiteX377" fmla="*/ 3518021 w 7467600"/>
              <a:gd name="connsiteY377" fmla="*/ 6117298 h 6858000"/>
              <a:gd name="connsiteX378" fmla="*/ 3554035 w 7467600"/>
              <a:gd name="connsiteY378" fmla="*/ 6027832 h 6858000"/>
              <a:gd name="connsiteX379" fmla="*/ 3677174 w 7467600"/>
              <a:gd name="connsiteY379" fmla="*/ 5636351 h 6858000"/>
              <a:gd name="connsiteX380" fmla="*/ 3698819 w 7467600"/>
              <a:gd name="connsiteY380" fmla="*/ 5560503 h 6858000"/>
              <a:gd name="connsiteX381" fmla="*/ 3702094 w 7467600"/>
              <a:gd name="connsiteY381" fmla="*/ 5549194 h 6858000"/>
              <a:gd name="connsiteX382" fmla="*/ 3398355 w 7467600"/>
              <a:gd name="connsiteY382" fmla="*/ 6094603 h 6858000"/>
              <a:gd name="connsiteX383" fmla="*/ 3193941 w 7467600"/>
              <a:gd name="connsiteY383" fmla="*/ 6798775 h 6858000"/>
              <a:gd name="connsiteX384" fmla="*/ 3184140 w 7467600"/>
              <a:gd name="connsiteY384" fmla="*/ 6858000 h 6858000"/>
              <a:gd name="connsiteX385" fmla="*/ 3099978 w 7467600"/>
              <a:gd name="connsiteY385" fmla="*/ 6858000 h 6858000"/>
              <a:gd name="connsiteX386" fmla="*/ 3101556 w 7467600"/>
              <a:gd name="connsiteY386" fmla="*/ 6843337 h 6858000"/>
              <a:gd name="connsiteX387" fmla="*/ 3370162 w 7467600"/>
              <a:gd name="connsiteY387" fmla="*/ 5785550 h 6858000"/>
              <a:gd name="connsiteX388" fmla="*/ 3746477 w 7467600"/>
              <a:gd name="connsiteY388" fmla="*/ 5377889 h 6858000"/>
              <a:gd name="connsiteX389" fmla="*/ 3863399 w 7467600"/>
              <a:gd name="connsiteY389" fmla="*/ 5087257 h 6858000"/>
              <a:gd name="connsiteX390" fmla="*/ 3968712 w 7467600"/>
              <a:gd name="connsiteY390" fmla="*/ 4913989 h 6858000"/>
              <a:gd name="connsiteX391" fmla="*/ 2792390 w 7467600"/>
              <a:gd name="connsiteY391" fmla="*/ 5382974 h 6858000"/>
              <a:gd name="connsiteX392" fmla="*/ 2714982 w 7467600"/>
              <a:gd name="connsiteY392" fmla="*/ 5427051 h 6858000"/>
              <a:gd name="connsiteX393" fmla="*/ 2813361 w 7467600"/>
              <a:gd name="connsiteY393" fmla="*/ 6023912 h 6858000"/>
              <a:gd name="connsiteX394" fmla="*/ 2688430 w 7467600"/>
              <a:gd name="connsiteY394" fmla="*/ 6801564 h 6858000"/>
              <a:gd name="connsiteX395" fmla="*/ 2629626 w 7467600"/>
              <a:gd name="connsiteY395" fmla="*/ 6763394 h 6858000"/>
              <a:gd name="connsiteX396" fmla="*/ 2565328 w 7467600"/>
              <a:gd name="connsiteY396" fmla="*/ 5516399 h 6858000"/>
              <a:gd name="connsiteX397" fmla="*/ 1922999 w 7467600"/>
              <a:gd name="connsiteY397" fmla="*/ 5980343 h 6858000"/>
              <a:gd name="connsiteX398" fmla="*/ 1950261 w 7467600"/>
              <a:gd name="connsiteY398" fmla="*/ 6405858 h 6858000"/>
              <a:gd name="connsiteX399" fmla="*/ 2365554 w 7467600"/>
              <a:gd name="connsiteY399" fmla="*/ 6759107 h 6858000"/>
              <a:gd name="connsiteX400" fmla="*/ 2424142 w 7467600"/>
              <a:gd name="connsiteY400" fmla="*/ 6858000 h 6858000"/>
              <a:gd name="connsiteX401" fmla="*/ 2395994 w 7467600"/>
              <a:gd name="connsiteY401" fmla="*/ 6858000 h 6858000"/>
              <a:gd name="connsiteX402" fmla="*/ 2392863 w 7467600"/>
              <a:gd name="connsiteY402" fmla="*/ 6852964 h 6858000"/>
              <a:gd name="connsiteX403" fmla="*/ 2017589 w 7467600"/>
              <a:gd name="connsiteY403" fmla="*/ 6493982 h 6858000"/>
              <a:gd name="connsiteX404" fmla="*/ 2147336 w 7467600"/>
              <a:gd name="connsiteY404" fmla="*/ 6594052 h 6858000"/>
              <a:gd name="connsiteX405" fmla="*/ 2207047 w 7467600"/>
              <a:gd name="connsiteY405" fmla="*/ 6654540 h 6858000"/>
              <a:gd name="connsiteX406" fmla="*/ 2299106 w 7467600"/>
              <a:gd name="connsiteY406" fmla="*/ 6778931 h 6858000"/>
              <a:gd name="connsiteX407" fmla="*/ 2314430 w 7467600"/>
              <a:gd name="connsiteY407" fmla="*/ 6801144 h 6858000"/>
              <a:gd name="connsiteX408" fmla="*/ 2352406 w 7467600"/>
              <a:gd name="connsiteY408" fmla="*/ 6858000 h 6858000"/>
              <a:gd name="connsiteX409" fmla="*/ 2314492 w 7467600"/>
              <a:gd name="connsiteY409" fmla="*/ 6858000 h 6858000"/>
              <a:gd name="connsiteX410" fmla="*/ 2288095 w 7467600"/>
              <a:gd name="connsiteY410" fmla="*/ 6818030 h 6858000"/>
              <a:gd name="connsiteX411" fmla="*/ 2272768 w 7467600"/>
              <a:gd name="connsiteY411" fmla="*/ 6795822 h 6858000"/>
              <a:gd name="connsiteX412" fmla="*/ 2182715 w 7467600"/>
              <a:gd name="connsiteY412" fmla="*/ 6675071 h 6858000"/>
              <a:gd name="connsiteX413" fmla="*/ 2032061 w 7467600"/>
              <a:gd name="connsiteY413" fmla="*/ 6541380 h 6858000"/>
              <a:gd name="connsiteX414" fmla="*/ 2257220 w 7467600"/>
              <a:gd name="connsiteY414" fmla="*/ 6826257 h 6858000"/>
              <a:gd name="connsiteX415" fmla="*/ 2281324 w 7467600"/>
              <a:gd name="connsiteY415" fmla="*/ 6858000 h 6858000"/>
              <a:gd name="connsiteX416" fmla="*/ 2242860 w 7467600"/>
              <a:gd name="connsiteY416" fmla="*/ 6858000 h 6858000"/>
              <a:gd name="connsiteX417" fmla="*/ 2232818 w 7467600"/>
              <a:gd name="connsiteY417" fmla="*/ 6844926 h 6858000"/>
              <a:gd name="connsiteX418" fmla="*/ 1990172 w 7467600"/>
              <a:gd name="connsiteY418" fmla="*/ 6542121 h 6858000"/>
              <a:gd name="connsiteX419" fmla="*/ 2124090 w 7467600"/>
              <a:gd name="connsiteY419" fmla="*/ 6761017 h 6858000"/>
              <a:gd name="connsiteX420" fmla="*/ 2200380 w 7467600"/>
              <a:gd name="connsiteY420" fmla="*/ 6858000 h 6858000"/>
              <a:gd name="connsiteX421" fmla="*/ 2147507 w 7467600"/>
              <a:gd name="connsiteY421" fmla="*/ 6858000 h 6858000"/>
              <a:gd name="connsiteX422" fmla="*/ 2070668 w 7467600"/>
              <a:gd name="connsiteY422" fmla="*/ 6761520 h 6858000"/>
              <a:gd name="connsiteX423" fmla="*/ 1975142 w 7467600"/>
              <a:gd name="connsiteY423" fmla="*/ 6585570 h 6858000"/>
              <a:gd name="connsiteX424" fmla="*/ 2050035 w 7467600"/>
              <a:gd name="connsiteY424" fmla="*/ 6813345 h 6858000"/>
              <a:gd name="connsiteX425" fmla="*/ 2063025 w 7467600"/>
              <a:gd name="connsiteY425" fmla="*/ 6858000 h 6858000"/>
              <a:gd name="connsiteX426" fmla="*/ 2021675 w 7467600"/>
              <a:gd name="connsiteY426" fmla="*/ 6858000 h 6858000"/>
              <a:gd name="connsiteX427" fmla="*/ 2019308 w 7467600"/>
              <a:gd name="connsiteY427" fmla="*/ 6847118 h 6858000"/>
              <a:gd name="connsiteX428" fmla="*/ 1938835 w 7467600"/>
              <a:gd name="connsiteY428" fmla="*/ 6551160 h 6858000"/>
              <a:gd name="connsiteX429" fmla="*/ 1953230 w 7467600"/>
              <a:gd name="connsiteY429" fmla="*/ 6759699 h 6858000"/>
              <a:gd name="connsiteX430" fmla="*/ 1956763 w 7467600"/>
              <a:gd name="connsiteY430" fmla="*/ 6778191 h 6858000"/>
              <a:gd name="connsiteX431" fmla="*/ 1967925 w 7467600"/>
              <a:gd name="connsiteY431" fmla="*/ 6858000 h 6858000"/>
              <a:gd name="connsiteX432" fmla="*/ 1936622 w 7467600"/>
              <a:gd name="connsiteY432" fmla="*/ 6858000 h 6858000"/>
              <a:gd name="connsiteX433" fmla="*/ 1926261 w 7467600"/>
              <a:gd name="connsiteY433" fmla="*/ 6784064 h 6858000"/>
              <a:gd name="connsiteX434" fmla="*/ 1922724 w 7467600"/>
              <a:gd name="connsiteY434" fmla="*/ 6765577 h 6858000"/>
              <a:gd name="connsiteX435" fmla="*/ 1904650 w 7467600"/>
              <a:gd name="connsiteY435" fmla="*/ 6639616 h 6858000"/>
              <a:gd name="connsiteX436" fmla="*/ 1885273 w 7467600"/>
              <a:gd name="connsiteY436" fmla="*/ 6858000 h 6858000"/>
              <a:gd name="connsiteX437" fmla="*/ 1854363 w 7467600"/>
              <a:gd name="connsiteY437" fmla="*/ 6858000 h 6858000"/>
              <a:gd name="connsiteX438" fmla="*/ 1880391 w 7467600"/>
              <a:gd name="connsiteY438" fmla="*/ 6603796 h 6858000"/>
              <a:gd name="connsiteX439" fmla="*/ 1818273 w 7467600"/>
              <a:gd name="connsiteY439" fmla="*/ 6715729 h 6858000"/>
              <a:gd name="connsiteX440" fmla="*/ 1794691 w 7467600"/>
              <a:gd name="connsiteY440" fmla="*/ 6843239 h 6858000"/>
              <a:gd name="connsiteX441" fmla="*/ 1794914 w 7467600"/>
              <a:gd name="connsiteY441" fmla="*/ 6858000 h 6858000"/>
              <a:gd name="connsiteX442" fmla="*/ 1746128 w 7467600"/>
              <a:gd name="connsiteY442" fmla="*/ 6858000 h 6858000"/>
              <a:gd name="connsiteX443" fmla="*/ 1753934 w 7467600"/>
              <a:gd name="connsiteY443" fmla="*/ 6724796 h 6858000"/>
              <a:gd name="connsiteX444" fmla="*/ 1792053 w 7467600"/>
              <a:gd name="connsiteY444" fmla="*/ 6572396 h 6858000"/>
              <a:gd name="connsiteX445" fmla="*/ 1862248 w 7467600"/>
              <a:gd name="connsiteY445" fmla="*/ 6266397 h 6858000"/>
              <a:gd name="connsiteX446" fmla="*/ 1862250 w 7467600"/>
              <a:gd name="connsiteY446" fmla="*/ 6033531 h 6858000"/>
              <a:gd name="connsiteX447" fmla="*/ 1211999 w 7467600"/>
              <a:gd name="connsiteY447" fmla="*/ 6683610 h 6858000"/>
              <a:gd name="connsiteX448" fmla="*/ 1213266 w 7467600"/>
              <a:gd name="connsiteY448" fmla="*/ 6691947 h 6858000"/>
              <a:gd name="connsiteX449" fmla="*/ 1203370 w 7467600"/>
              <a:gd name="connsiteY449" fmla="*/ 6850676 h 6858000"/>
              <a:gd name="connsiteX450" fmla="*/ 1203671 w 7467600"/>
              <a:gd name="connsiteY450" fmla="*/ 6858000 h 6858000"/>
              <a:gd name="connsiteX451" fmla="*/ 1143180 w 7467600"/>
              <a:gd name="connsiteY451" fmla="*/ 6858000 h 6858000"/>
              <a:gd name="connsiteX452" fmla="*/ 1142176 w 7467600"/>
              <a:gd name="connsiteY452" fmla="*/ 6766045 h 6858000"/>
              <a:gd name="connsiteX453" fmla="*/ 1067484 w 7467600"/>
              <a:gd name="connsiteY453" fmla="*/ 6858000 h 6858000"/>
              <a:gd name="connsiteX454" fmla="*/ 953928 w 7467600"/>
              <a:gd name="connsiteY454" fmla="*/ 6858000 h 6858000"/>
              <a:gd name="connsiteX455" fmla="*/ 959715 w 7467600"/>
              <a:gd name="connsiteY455" fmla="*/ 6850185 h 6858000"/>
              <a:gd name="connsiteX456" fmla="*/ 1483788 w 7467600"/>
              <a:gd name="connsiteY456" fmla="*/ 6259174 h 6858000"/>
              <a:gd name="connsiteX457" fmla="*/ 1100671 w 7467600"/>
              <a:gd name="connsiteY457" fmla="*/ 6252137 h 6858000"/>
              <a:gd name="connsiteX458" fmla="*/ 1090144 w 7467600"/>
              <a:gd name="connsiteY458" fmla="*/ 6256748 h 6858000"/>
              <a:gd name="connsiteX459" fmla="*/ 1095872 w 7467600"/>
              <a:gd name="connsiteY459" fmla="*/ 6271892 h 6858000"/>
              <a:gd name="connsiteX460" fmla="*/ 262785 w 7467600"/>
              <a:gd name="connsiteY460" fmla="*/ 6845450 h 6858000"/>
              <a:gd name="connsiteX461" fmla="*/ 209968 w 7467600"/>
              <a:gd name="connsiteY461" fmla="*/ 6770713 h 6858000"/>
              <a:gd name="connsiteX462" fmla="*/ 873460 w 7467600"/>
              <a:gd name="connsiteY462" fmla="*/ 6253768 h 6858000"/>
              <a:gd name="connsiteX463" fmla="*/ 192686 w 7467600"/>
              <a:gd name="connsiteY463" fmla="*/ 5849257 h 6858000"/>
              <a:gd name="connsiteX464" fmla="*/ 4696 w 7467600"/>
              <a:gd name="connsiteY464" fmla="*/ 5697668 h 6858000"/>
              <a:gd name="connsiteX465" fmla="*/ 0 w 7467600"/>
              <a:gd name="connsiteY465" fmla="*/ 5689984 h 6858000"/>
              <a:gd name="connsiteX466" fmla="*/ 0 w 7467600"/>
              <a:gd name="connsiteY466" fmla="*/ 5513472 h 6858000"/>
              <a:gd name="connsiteX467" fmla="*/ 174101 w 7467600"/>
              <a:gd name="connsiteY467" fmla="*/ 5620277 h 6858000"/>
              <a:gd name="connsiteX468" fmla="*/ 891800 w 7467600"/>
              <a:gd name="connsiteY468" fmla="*/ 6036935 h 6858000"/>
              <a:gd name="connsiteX469" fmla="*/ 1072219 w 7467600"/>
              <a:gd name="connsiteY469" fmla="*/ 6169443 h 6858000"/>
              <a:gd name="connsiteX470" fmla="*/ 1074117 w 7467600"/>
              <a:gd name="connsiteY470" fmla="*/ 6170301 h 6858000"/>
              <a:gd name="connsiteX471" fmla="*/ 1083114 w 7467600"/>
              <a:gd name="connsiteY471" fmla="*/ 6174131 h 6858000"/>
              <a:gd name="connsiteX472" fmla="*/ 1543010 w 7467600"/>
              <a:gd name="connsiteY472" fmla="*/ 6191140 h 6858000"/>
              <a:gd name="connsiteX473" fmla="*/ 1551080 w 7467600"/>
              <a:gd name="connsiteY473" fmla="*/ 6195006 h 6858000"/>
              <a:gd name="connsiteX474" fmla="*/ 2345443 w 7467600"/>
              <a:gd name="connsiteY474" fmla="*/ 5549882 h 6858000"/>
              <a:gd name="connsiteX475" fmla="*/ 1721499 w 7467600"/>
              <a:gd name="connsiteY475" fmla="*/ 5599969 h 6858000"/>
              <a:gd name="connsiteX476" fmla="*/ 767716 w 7467600"/>
              <a:gd name="connsiteY476" fmla="*/ 5472768 h 6858000"/>
              <a:gd name="connsiteX477" fmla="*/ 722147 w 7467600"/>
              <a:gd name="connsiteY477" fmla="*/ 5393091 h 6858000"/>
              <a:gd name="connsiteX478" fmla="*/ 1485552 w 7467600"/>
              <a:gd name="connsiteY478" fmla="*/ 5313202 h 6858000"/>
              <a:gd name="connsiteX479" fmla="*/ 2143004 w 7467600"/>
              <a:gd name="connsiteY479" fmla="*/ 5402420 h 6858000"/>
              <a:gd name="connsiteX480" fmla="*/ 1933391 w 7467600"/>
              <a:gd name="connsiteY480" fmla="*/ 5156971 h 6858000"/>
              <a:gd name="connsiteX481" fmla="*/ 1827118 w 7467600"/>
              <a:gd name="connsiteY481" fmla="*/ 4968410 h 6858000"/>
              <a:gd name="connsiteX482" fmla="*/ 1837349 w 7467600"/>
              <a:gd name="connsiteY482" fmla="*/ 4956357 h 6858000"/>
              <a:gd name="connsiteX483" fmla="*/ 2162835 w 7467600"/>
              <a:gd name="connsiteY483" fmla="*/ 5187853 h 6858000"/>
              <a:gd name="connsiteX484" fmla="*/ 2257167 w 7467600"/>
              <a:gd name="connsiteY484" fmla="*/ 5462123 h 6858000"/>
              <a:gd name="connsiteX485" fmla="*/ 2261598 w 7467600"/>
              <a:gd name="connsiteY485" fmla="*/ 5467998 h 6858000"/>
              <a:gd name="connsiteX486" fmla="*/ 2437177 w 7467600"/>
              <a:gd name="connsiteY486" fmla="*/ 5479608 h 6858000"/>
              <a:gd name="connsiteX487" fmla="*/ 2445247 w 7467600"/>
              <a:gd name="connsiteY487" fmla="*/ 5483476 h 6858000"/>
              <a:gd name="connsiteX488" fmla="*/ 2743626 w 7467600"/>
              <a:gd name="connsiteY488" fmla="*/ 5304819 h 6858000"/>
              <a:gd name="connsiteX489" fmla="*/ 3048102 w 7467600"/>
              <a:gd name="connsiteY489" fmla="*/ 5150595 h 6858000"/>
              <a:gd name="connsiteX490" fmla="*/ 1799414 w 7467600"/>
              <a:gd name="connsiteY490" fmla="*/ 4694732 h 6858000"/>
              <a:gd name="connsiteX491" fmla="*/ 1771735 w 7467600"/>
              <a:gd name="connsiteY491" fmla="*/ 4619929 h 6858000"/>
              <a:gd name="connsiteX492" fmla="*/ 3104273 w 7467600"/>
              <a:gd name="connsiteY492" fmla="*/ 5076159 h 6858000"/>
              <a:gd name="connsiteX493" fmla="*/ 3113245 w 7467600"/>
              <a:gd name="connsiteY493" fmla="*/ 5090705 h 6858000"/>
              <a:gd name="connsiteX494" fmla="*/ 3126294 w 7467600"/>
              <a:gd name="connsiteY494" fmla="*/ 5114400 h 6858000"/>
              <a:gd name="connsiteX495" fmla="*/ 3937433 w 7467600"/>
              <a:gd name="connsiteY495" fmla="*/ 4830473 h 6858000"/>
              <a:gd name="connsiteX496" fmla="*/ 3590475 w 7467600"/>
              <a:gd name="connsiteY496" fmla="*/ 4597974 h 6858000"/>
              <a:gd name="connsiteX497" fmla="*/ 3100264 w 7467600"/>
              <a:gd name="connsiteY497" fmla="*/ 4579845 h 6858000"/>
              <a:gd name="connsiteX498" fmla="*/ 2183576 w 7467600"/>
              <a:gd name="connsiteY498" fmla="*/ 4227150 h 6858000"/>
              <a:gd name="connsiteX499" fmla="*/ 2151029 w 7467600"/>
              <a:gd name="connsiteY499" fmla="*/ 4146947 h 6858000"/>
              <a:gd name="connsiteX500" fmla="*/ 3563434 w 7467600"/>
              <a:gd name="connsiteY500" fmla="*/ 4469115 h 6858000"/>
              <a:gd name="connsiteX501" fmla="*/ 3177952 w 7467600"/>
              <a:gd name="connsiteY501" fmla="*/ 3657386 h 6858000"/>
              <a:gd name="connsiteX502" fmla="*/ 3189263 w 7467600"/>
              <a:gd name="connsiteY502" fmla="*/ 3625726 h 6858000"/>
              <a:gd name="connsiteX503" fmla="*/ 3560912 w 7467600"/>
              <a:gd name="connsiteY503" fmla="*/ 4079863 h 6858000"/>
              <a:gd name="connsiteX504" fmla="*/ 3626636 w 7467600"/>
              <a:gd name="connsiteY504" fmla="*/ 4512230 h 6858000"/>
              <a:gd name="connsiteX505" fmla="*/ 3653088 w 7467600"/>
              <a:gd name="connsiteY505" fmla="*/ 4521417 h 6858000"/>
              <a:gd name="connsiteX506" fmla="*/ 3988128 w 7467600"/>
              <a:gd name="connsiteY506" fmla="*/ 4817267 h 6858000"/>
              <a:gd name="connsiteX507" fmla="*/ 4830582 w 7467600"/>
              <a:gd name="connsiteY507" fmla="*/ 4676000 h 6858000"/>
              <a:gd name="connsiteX508" fmla="*/ 4830100 w 7467600"/>
              <a:gd name="connsiteY508" fmla="*/ 4675554 h 6858000"/>
              <a:gd name="connsiteX509" fmla="*/ 4036318 w 7467600"/>
              <a:gd name="connsiteY509" fmla="*/ 4147013 h 6858000"/>
              <a:gd name="connsiteX510" fmla="*/ 3432098 w 7467600"/>
              <a:gd name="connsiteY510" fmla="*/ 3537312 h 6858000"/>
              <a:gd name="connsiteX511" fmla="*/ 3446761 w 7467600"/>
              <a:gd name="connsiteY511" fmla="*/ 3461278 h 6858000"/>
              <a:gd name="connsiteX512" fmla="*/ 4419733 w 7467600"/>
              <a:gd name="connsiteY512" fmla="*/ 3963555 h 6858000"/>
              <a:gd name="connsiteX513" fmla="*/ 4781371 w 7467600"/>
              <a:gd name="connsiteY513" fmla="*/ 4458604 h 6858000"/>
              <a:gd name="connsiteX514" fmla="*/ 4780440 w 7467600"/>
              <a:gd name="connsiteY514" fmla="*/ 4470290 h 6858000"/>
              <a:gd name="connsiteX515" fmla="*/ 4898954 w 7467600"/>
              <a:gd name="connsiteY515" fmla="*/ 4662092 h 6858000"/>
              <a:gd name="connsiteX516" fmla="*/ 4900699 w 7467600"/>
              <a:gd name="connsiteY516" fmla="*/ 4670867 h 6858000"/>
              <a:gd name="connsiteX517" fmla="*/ 5714511 w 7467600"/>
              <a:gd name="connsiteY517" fmla="*/ 4663483 h 6858000"/>
              <a:gd name="connsiteX518" fmla="*/ 5464793 w 7467600"/>
              <a:gd name="connsiteY518" fmla="*/ 4393556 h 6858000"/>
              <a:gd name="connsiteX519" fmla="*/ 5461897 w 7467600"/>
              <a:gd name="connsiteY519" fmla="*/ 4390879 h 6858000"/>
              <a:gd name="connsiteX520" fmla="*/ 4294126 w 7467600"/>
              <a:gd name="connsiteY520" fmla="*/ 3303048 h 6858000"/>
              <a:gd name="connsiteX521" fmla="*/ 4305321 w 7467600"/>
              <a:gd name="connsiteY521" fmla="*/ 3256953 h 6858000"/>
              <a:gd name="connsiteX522" fmla="*/ 4949299 w 7467600"/>
              <a:gd name="connsiteY522" fmla="*/ 3766336 h 6858000"/>
              <a:gd name="connsiteX523" fmla="*/ 5291452 w 7467600"/>
              <a:gd name="connsiteY523" fmla="*/ 4076801 h 6858000"/>
              <a:gd name="connsiteX524" fmla="*/ 5434998 w 7467600"/>
              <a:gd name="connsiteY524" fmla="*/ 4254100 h 6858000"/>
              <a:gd name="connsiteX525" fmla="*/ 5351015 w 7467600"/>
              <a:gd name="connsiteY525" fmla="*/ 3760989 h 6858000"/>
              <a:gd name="connsiteX526" fmla="*/ 5413780 w 7467600"/>
              <a:gd name="connsiteY526" fmla="*/ 2966265 h 6858000"/>
              <a:gd name="connsiteX527" fmla="*/ 5425627 w 7467600"/>
              <a:gd name="connsiteY527" fmla="*/ 2954192 h 6858000"/>
              <a:gd name="connsiteX528" fmla="*/ 6604735 w 7467600"/>
              <a:gd name="connsiteY528" fmla="*/ 2041381 h 6858000"/>
              <a:gd name="connsiteX529" fmla="*/ 7204487 w 7467600"/>
              <a:gd name="connsiteY529" fmla="*/ 2742112 h 6858000"/>
              <a:gd name="connsiteX530" fmla="*/ 7131592 w 7467600"/>
              <a:gd name="connsiteY530" fmla="*/ 2672096 h 6858000"/>
              <a:gd name="connsiteX531" fmla="*/ 6996344 w 7467600"/>
              <a:gd name="connsiteY531" fmla="*/ 2518310 h 6858000"/>
              <a:gd name="connsiteX532" fmla="*/ 6735495 w 7467600"/>
              <a:gd name="connsiteY532" fmla="*/ 2196890 h 6858000"/>
              <a:gd name="connsiteX533" fmla="*/ 6721901 w 7467600"/>
              <a:gd name="connsiteY533" fmla="*/ 2179274 h 6858000"/>
              <a:gd name="connsiteX534" fmla="*/ 6604735 w 7467600"/>
              <a:gd name="connsiteY534" fmla="*/ 2041381 h 6858000"/>
              <a:gd name="connsiteX535" fmla="*/ 6591670 w 7467600"/>
              <a:gd name="connsiteY535" fmla="*/ 1988277 h 6858000"/>
              <a:gd name="connsiteX536" fmla="*/ 6747349 w 7467600"/>
              <a:gd name="connsiteY536" fmla="*/ 2160069 h 6858000"/>
              <a:gd name="connsiteX537" fmla="*/ 6760943 w 7467600"/>
              <a:gd name="connsiteY537" fmla="*/ 2177686 h 6858000"/>
              <a:gd name="connsiteX538" fmla="*/ 7021065 w 7467600"/>
              <a:gd name="connsiteY538" fmla="*/ 2498102 h 6858000"/>
              <a:gd name="connsiteX539" fmla="*/ 7155223 w 7467600"/>
              <a:gd name="connsiteY539" fmla="*/ 2650386 h 6858000"/>
              <a:gd name="connsiteX540" fmla="*/ 7203167 w 7467600"/>
              <a:gd name="connsiteY540" fmla="*/ 2697288 h 6858000"/>
              <a:gd name="connsiteX541" fmla="*/ 6937703 w 7467600"/>
              <a:gd name="connsiteY541" fmla="*/ 2321981 h 6858000"/>
              <a:gd name="connsiteX542" fmla="*/ 6591670 w 7467600"/>
              <a:gd name="connsiteY542" fmla="*/ 1988277 h 6858000"/>
              <a:gd name="connsiteX543" fmla="*/ 5798671 w 7467600"/>
              <a:gd name="connsiteY543" fmla="*/ 1981601 h 6858000"/>
              <a:gd name="connsiteX544" fmla="*/ 5754709 w 7467600"/>
              <a:gd name="connsiteY544" fmla="*/ 2071454 h 6858000"/>
              <a:gd name="connsiteX545" fmla="*/ 5763044 w 7467600"/>
              <a:gd name="connsiteY545" fmla="*/ 2842206 h 6858000"/>
              <a:gd name="connsiteX546" fmla="*/ 5764974 w 7467600"/>
              <a:gd name="connsiteY546" fmla="*/ 2799609 h 6858000"/>
              <a:gd name="connsiteX547" fmla="*/ 5767665 w 7467600"/>
              <a:gd name="connsiteY547" fmla="*/ 2666409 h 6858000"/>
              <a:gd name="connsiteX548" fmla="*/ 5763055 w 7467600"/>
              <a:gd name="connsiteY548" fmla="*/ 2579705 h 6858000"/>
              <a:gd name="connsiteX549" fmla="*/ 5758079 w 7467600"/>
              <a:gd name="connsiteY549" fmla="*/ 2492508 h 6858000"/>
              <a:gd name="connsiteX550" fmla="*/ 5779325 w 7467600"/>
              <a:gd name="connsiteY550" fmla="*/ 2197069 h 6858000"/>
              <a:gd name="connsiteX551" fmla="*/ 5798671 w 7467600"/>
              <a:gd name="connsiteY551" fmla="*/ 1981601 h 6858000"/>
              <a:gd name="connsiteX552" fmla="*/ 5829202 w 7467600"/>
              <a:gd name="connsiteY552" fmla="*/ 1971679 h 6858000"/>
              <a:gd name="connsiteX553" fmla="*/ 5809558 w 7467600"/>
              <a:gd name="connsiteY553" fmla="*/ 2198043 h 6858000"/>
              <a:gd name="connsiteX554" fmla="*/ 5788653 w 7467600"/>
              <a:gd name="connsiteY554" fmla="*/ 2489430 h 6858000"/>
              <a:gd name="connsiteX555" fmla="*/ 5793439 w 7467600"/>
              <a:gd name="connsiteY555" fmla="*/ 2575235 h 6858000"/>
              <a:gd name="connsiteX556" fmla="*/ 5796837 w 7467600"/>
              <a:gd name="connsiteY556" fmla="*/ 2637633 h 6858000"/>
              <a:gd name="connsiteX557" fmla="*/ 5818614 w 7467600"/>
              <a:gd name="connsiteY557" fmla="*/ 2473055 h 6858000"/>
              <a:gd name="connsiteX558" fmla="*/ 5829202 w 7467600"/>
              <a:gd name="connsiteY558" fmla="*/ 1971679 h 6858000"/>
              <a:gd name="connsiteX559" fmla="*/ 5911389 w 7467600"/>
              <a:gd name="connsiteY559" fmla="*/ 1898371 h 6858000"/>
              <a:gd name="connsiteX560" fmla="*/ 6237627 w 7467600"/>
              <a:gd name="connsiteY560" fmla="*/ 2231921 h 6858000"/>
              <a:gd name="connsiteX561" fmla="*/ 5911389 w 7467600"/>
              <a:gd name="connsiteY561" fmla="*/ 1898371 h 6858000"/>
              <a:gd name="connsiteX562" fmla="*/ 6944437 w 7467600"/>
              <a:gd name="connsiteY562" fmla="*/ 1575402 h 6858000"/>
              <a:gd name="connsiteX563" fmla="*/ 6304730 w 7467600"/>
              <a:gd name="connsiteY563" fmla="*/ 1766654 h 6858000"/>
              <a:gd name="connsiteX564" fmla="*/ 6944437 w 7467600"/>
              <a:gd name="connsiteY564" fmla="*/ 1575402 h 6858000"/>
              <a:gd name="connsiteX565" fmla="*/ 7019523 w 7467600"/>
              <a:gd name="connsiteY565" fmla="*/ 1519450 h 6858000"/>
              <a:gd name="connsiteX566" fmla="*/ 6298091 w 7467600"/>
              <a:gd name="connsiteY566" fmla="*/ 1737122 h 6858000"/>
              <a:gd name="connsiteX567" fmla="*/ 7019523 w 7467600"/>
              <a:gd name="connsiteY567" fmla="*/ 1519450 h 6858000"/>
              <a:gd name="connsiteX568" fmla="*/ 2399523 w 7467600"/>
              <a:gd name="connsiteY568" fmla="*/ 1428234 h 6858000"/>
              <a:gd name="connsiteX569" fmla="*/ 2224982 w 7467600"/>
              <a:gd name="connsiteY569" fmla="*/ 1826201 h 6858000"/>
              <a:gd name="connsiteX570" fmla="*/ 2096099 w 7467600"/>
              <a:gd name="connsiteY570" fmla="*/ 2345900 h 6858000"/>
              <a:gd name="connsiteX571" fmla="*/ 2283317 w 7467600"/>
              <a:gd name="connsiteY571" fmla="*/ 1796925 h 6858000"/>
              <a:gd name="connsiteX572" fmla="*/ 2399523 w 7467600"/>
              <a:gd name="connsiteY572" fmla="*/ 1428234 h 6858000"/>
              <a:gd name="connsiteX573" fmla="*/ 2448558 w 7467600"/>
              <a:gd name="connsiteY573" fmla="*/ 1373435 h 6858000"/>
              <a:gd name="connsiteX574" fmla="*/ 2312521 w 7467600"/>
              <a:gd name="connsiteY574" fmla="*/ 1806140 h 6858000"/>
              <a:gd name="connsiteX575" fmla="*/ 2127533 w 7467600"/>
              <a:gd name="connsiteY575" fmla="*/ 2348380 h 6858000"/>
              <a:gd name="connsiteX576" fmla="*/ 2358080 w 7467600"/>
              <a:gd name="connsiteY576" fmla="*/ 1866134 h 6858000"/>
              <a:gd name="connsiteX577" fmla="*/ 2407436 w 7467600"/>
              <a:gd name="connsiteY577" fmla="*/ 1651070 h 6858000"/>
              <a:gd name="connsiteX578" fmla="*/ 2448558 w 7467600"/>
              <a:gd name="connsiteY578" fmla="*/ 1373435 h 6858000"/>
              <a:gd name="connsiteX579" fmla="*/ 278707 w 7467600"/>
              <a:gd name="connsiteY579" fmla="*/ 1352270 h 6858000"/>
              <a:gd name="connsiteX580" fmla="*/ 321570 w 7467600"/>
              <a:gd name="connsiteY580" fmla="*/ 1861610 h 6858000"/>
              <a:gd name="connsiteX581" fmla="*/ 294281 w 7467600"/>
              <a:gd name="connsiteY581" fmla="*/ 1440658 h 6858000"/>
              <a:gd name="connsiteX582" fmla="*/ 278707 w 7467600"/>
              <a:gd name="connsiteY582" fmla="*/ 1352270 h 6858000"/>
              <a:gd name="connsiteX583" fmla="*/ 1423821 w 7467600"/>
              <a:gd name="connsiteY583" fmla="*/ 1351958 h 6858000"/>
              <a:gd name="connsiteX584" fmla="*/ 1638521 w 7467600"/>
              <a:gd name="connsiteY584" fmla="*/ 1908470 h 6858000"/>
              <a:gd name="connsiteX585" fmla="*/ 1754199 w 7467600"/>
              <a:gd name="connsiteY585" fmla="*/ 2149284 h 6858000"/>
              <a:gd name="connsiteX586" fmla="*/ 1908359 w 7467600"/>
              <a:gd name="connsiteY586" fmla="*/ 2364988 h 6858000"/>
              <a:gd name="connsiteX587" fmla="*/ 1647661 w 7467600"/>
              <a:gd name="connsiteY587" fmla="*/ 1825945 h 6858000"/>
              <a:gd name="connsiteX588" fmla="*/ 1423821 w 7467600"/>
              <a:gd name="connsiteY588" fmla="*/ 1351958 h 6858000"/>
              <a:gd name="connsiteX589" fmla="*/ 1431890 w 7467600"/>
              <a:gd name="connsiteY589" fmla="*/ 1306475 h 6858000"/>
              <a:gd name="connsiteX590" fmla="*/ 1507597 w 7467600"/>
              <a:gd name="connsiteY590" fmla="*/ 1446132 h 6858000"/>
              <a:gd name="connsiteX591" fmla="*/ 1674586 w 7467600"/>
              <a:gd name="connsiteY591" fmla="*/ 1813832 h 6858000"/>
              <a:gd name="connsiteX592" fmla="*/ 1815950 w 7467600"/>
              <a:gd name="connsiteY592" fmla="*/ 2128564 h 6858000"/>
              <a:gd name="connsiteX593" fmla="*/ 1984242 w 7467600"/>
              <a:gd name="connsiteY593" fmla="*/ 2430829 h 6858000"/>
              <a:gd name="connsiteX594" fmla="*/ 2014023 w 7467600"/>
              <a:gd name="connsiteY594" fmla="*/ 2450995 h 6858000"/>
              <a:gd name="connsiteX595" fmla="*/ 1747337 w 7467600"/>
              <a:gd name="connsiteY595" fmla="*/ 1855264 h 6858000"/>
              <a:gd name="connsiteX596" fmla="*/ 1533749 w 7467600"/>
              <a:gd name="connsiteY596" fmla="*/ 1478656 h 6858000"/>
              <a:gd name="connsiteX597" fmla="*/ 1431890 w 7467600"/>
              <a:gd name="connsiteY597" fmla="*/ 1306475 h 6858000"/>
              <a:gd name="connsiteX598" fmla="*/ 5052692 w 7467600"/>
              <a:gd name="connsiteY598" fmla="*/ 1292994 h 6858000"/>
              <a:gd name="connsiteX599" fmla="*/ 5200661 w 7467600"/>
              <a:gd name="connsiteY599" fmla="*/ 1635186 h 6858000"/>
              <a:gd name="connsiteX600" fmla="*/ 5297138 w 7467600"/>
              <a:gd name="connsiteY600" fmla="*/ 1906351 h 6858000"/>
              <a:gd name="connsiteX601" fmla="*/ 5052692 w 7467600"/>
              <a:gd name="connsiteY601" fmla="*/ 1292994 h 6858000"/>
              <a:gd name="connsiteX602" fmla="*/ 5009948 w 7467600"/>
              <a:gd name="connsiteY602" fmla="*/ 1273619 h 6858000"/>
              <a:gd name="connsiteX603" fmla="*/ 5121777 w 7467600"/>
              <a:gd name="connsiteY603" fmla="*/ 1654213 h 6858000"/>
              <a:gd name="connsiteX604" fmla="*/ 5293545 w 7467600"/>
              <a:gd name="connsiteY604" fmla="*/ 2072247 h 6858000"/>
              <a:gd name="connsiteX605" fmla="*/ 5294042 w 7467600"/>
              <a:gd name="connsiteY605" fmla="*/ 2065019 h 6858000"/>
              <a:gd name="connsiteX606" fmla="*/ 5171936 w 7467600"/>
              <a:gd name="connsiteY606" fmla="*/ 1647613 h 6858000"/>
              <a:gd name="connsiteX607" fmla="*/ 5009948 w 7467600"/>
              <a:gd name="connsiteY607" fmla="*/ 1273619 h 6858000"/>
              <a:gd name="connsiteX608" fmla="*/ 655236 w 7467600"/>
              <a:gd name="connsiteY608" fmla="*/ 1268632 h 6858000"/>
              <a:gd name="connsiteX609" fmla="*/ 839521 w 7467600"/>
              <a:gd name="connsiteY609" fmla="*/ 1685315 h 6858000"/>
              <a:gd name="connsiteX610" fmla="*/ 1109416 w 7467600"/>
              <a:gd name="connsiteY610" fmla="*/ 2061663 h 6858000"/>
              <a:gd name="connsiteX611" fmla="*/ 1298300 w 7467600"/>
              <a:gd name="connsiteY611" fmla="*/ 2247742 h 6858000"/>
              <a:gd name="connsiteX612" fmla="*/ 1125871 w 7467600"/>
              <a:gd name="connsiteY612" fmla="*/ 1989513 h 6858000"/>
              <a:gd name="connsiteX613" fmla="*/ 981574 w 7467600"/>
              <a:gd name="connsiteY613" fmla="*/ 1783157 h 6858000"/>
              <a:gd name="connsiteX614" fmla="*/ 922198 w 7467600"/>
              <a:gd name="connsiteY614" fmla="*/ 1677437 h 6858000"/>
              <a:gd name="connsiteX615" fmla="*/ 869293 w 7467600"/>
              <a:gd name="connsiteY615" fmla="*/ 1583214 h 6858000"/>
              <a:gd name="connsiteX616" fmla="*/ 751431 w 7467600"/>
              <a:gd name="connsiteY616" fmla="*/ 1405731 h 6858000"/>
              <a:gd name="connsiteX617" fmla="*/ 655236 w 7467600"/>
              <a:gd name="connsiteY617" fmla="*/ 1268632 h 6858000"/>
              <a:gd name="connsiteX618" fmla="*/ 6516292 w 7467600"/>
              <a:gd name="connsiteY618" fmla="*/ 1263064 h 6858000"/>
              <a:gd name="connsiteX619" fmla="*/ 5736320 w 7467600"/>
              <a:gd name="connsiteY619" fmla="*/ 1501803 h 6858000"/>
              <a:gd name="connsiteX620" fmla="*/ 6516292 w 7467600"/>
              <a:gd name="connsiteY620" fmla="*/ 1263064 h 6858000"/>
              <a:gd name="connsiteX621" fmla="*/ 291466 w 7467600"/>
              <a:gd name="connsiteY621" fmla="*/ 1250369 h 6858000"/>
              <a:gd name="connsiteX622" fmla="*/ 323180 w 7467600"/>
              <a:gd name="connsiteY622" fmla="*/ 1435283 h 6858000"/>
              <a:gd name="connsiteX623" fmla="*/ 349381 w 7467600"/>
              <a:gd name="connsiteY623" fmla="*/ 1875041 h 6858000"/>
              <a:gd name="connsiteX624" fmla="*/ 374363 w 7467600"/>
              <a:gd name="connsiteY624" fmla="*/ 1506494 h 6858000"/>
              <a:gd name="connsiteX625" fmla="*/ 302168 w 7467600"/>
              <a:gd name="connsiteY625" fmla="*/ 1274495 h 6858000"/>
              <a:gd name="connsiteX626" fmla="*/ 291466 w 7467600"/>
              <a:gd name="connsiteY626" fmla="*/ 1250369 h 6858000"/>
              <a:gd name="connsiteX627" fmla="*/ 678222 w 7467600"/>
              <a:gd name="connsiteY627" fmla="*/ 1248670 h 6858000"/>
              <a:gd name="connsiteX628" fmla="*/ 775536 w 7467600"/>
              <a:gd name="connsiteY628" fmla="*/ 1388015 h 6858000"/>
              <a:gd name="connsiteX629" fmla="*/ 894529 w 7467600"/>
              <a:gd name="connsiteY629" fmla="*/ 1567739 h 6858000"/>
              <a:gd name="connsiteX630" fmla="*/ 948000 w 7467600"/>
              <a:gd name="connsiteY630" fmla="*/ 1663088 h 6858000"/>
              <a:gd name="connsiteX631" fmla="*/ 1006812 w 7467600"/>
              <a:gd name="connsiteY631" fmla="*/ 1767683 h 6858000"/>
              <a:gd name="connsiteX632" fmla="*/ 1149133 w 7467600"/>
              <a:gd name="connsiteY632" fmla="*/ 1971513 h 6858000"/>
              <a:gd name="connsiteX633" fmla="*/ 1333952 w 7467600"/>
              <a:gd name="connsiteY633" fmla="*/ 2251620 h 6858000"/>
              <a:gd name="connsiteX634" fmla="*/ 1337329 w 7467600"/>
              <a:gd name="connsiteY634" fmla="*/ 2258350 h 6858000"/>
              <a:gd name="connsiteX635" fmla="*/ 1014726 w 7467600"/>
              <a:gd name="connsiteY635" fmla="*/ 1615556 h 6858000"/>
              <a:gd name="connsiteX636" fmla="*/ 678222 w 7467600"/>
              <a:gd name="connsiteY636" fmla="*/ 1248670 h 6858000"/>
              <a:gd name="connsiteX637" fmla="*/ 6691602 w 7467600"/>
              <a:gd name="connsiteY637" fmla="*/ 1140573 h 6858000"/>
              <a:gd name="connsiteX638" fmla="*/ 6571100 w 7467600"/>
              <a:gd name="connsiteY638" fmla="*/ 1183662 h 6858000"/>
              <a:gd name="connsiteX639" fmla="*/ 6241687 w 7467600"/>
              <a:gd name="connsiteY639" fmla="*/ 1257600 h 6858000"/>
              <a:gd name="connsiteX640" fmla="*/ 5693009 w 7467600"/>
              <a:gd name="connsiteY640" fmla="*/ 1478256 h 6858000"/>
              <a:gd name="connsiteX641" fmla="*/ 6548420 w 7467600"/>
              <a:gd name="connsiteY641" fmla="*/ 1214599 h 6858000"/>
              <a:gd name="connsiteX642" fmla="*/ 6605473 w 7467600"/>
              <a:gd name="connsiteY642" fmla="*/ 1184686 h 6858000"/>
              <a:gd name="connsiteX643" fmla="*/ 6691602 w 7467600"/>
              <a:gd name="connsiteY643" fmla="*/ 1140573 h 6858000"/>
              <a:gd name="connsiteX644" fmla="*/ 4002475 w 7467600"/>
              <a:gd name="connsiteY644" fmla="*/ 1037802 h 6858000"/>
              <a:gd name="connsiteX645" fmla="*/ 4000324 w 7467600"/>
              <a:gd name="connsiteY645" fmla="*/ 1039362 h 6858000"/>
              <a:gd name="connsiteX646" fmla="*/ 4002862 w 7467600"/>
              <a:gd name="connsiteY646" fmla="*/ 1042866 h 6858000"/>
              <a:gd name="connsiteX647" fmla="*/ 4002475 w 7467600"/>
              <a:gd name="connsiteY647" fmla="*/ 1037802 h 6858000"/>
              <a:gd name="connsiteX648" fmla="*/ 506322 w 7467600"/>
              <a:gd name="connsiteY648" fmla="*/ 1020997 h 6858000"/>
              <a:gd name="connsiteX649" fmla="*/ 533068 w 7467600"/>
              <a:gd name="connsiteY649" fmla="*/ 1029409 h 6858000"/>
              <a:gd name="connsiteX650" fmla="*/ 1232525 w 7467600"/>
              <a:gd name="connsiteY650" fmla="*/ 1804675 h 6858000"/>
              <a:gd name="connsiteX651" fmla="*/ 1388858 w 7467600"/>
              <a:gd name="connsiteY651" fmla="*/ 2368011 h 6858000"/>
              <a:gd name="connsiteX652" fmla="*/ 1384098 w 7467600"/>
              <a:gd name="connsiteY652" fmla="*/ 2378125 h 6858000"/>
              <a:gd name="connsiteX653" fmla="*/ 1425393 w 7467600"/>
              <a:gd name="connsiteY653" fmla="*/ 2589124 h 6858000"/>
              <a:gd name="connsiteX654" fmla="*/ 1424001 w 7467600"/>
              <a:gd name="connsiteY654" fmla="*/ 2597541 h 6858000"/>
              <a:gd name="connsiteX655" fmla="*/ 2152729 w 7467600"/>
              <a:gd name="connsiteY655" fmla="*/ 2864487 h 6858000"/>
              <a:gd name="connsiteX656" fmla="*/ 2020609 w 7467600"/>
              <a:gd name="connsiteY656" fmla="*/ 2539671 h 6858000"/>
              <a:gd name="connsiteX657" fmla="*/ 2018920 w 7467600"/>
              <a:gd name="connsiteY657" fmla="*/ 2536309 h 6858000"/>
              <a:gd name="connsiteX658" fmla="*/ 1342441 w 7467600"/>
              <a:gd name="connsiteY658" fmla="*/ 1173017 h 6858000"/>
              <a:gd name="connsiteX659" fmla="*/ 1367925 w 7467600"/>
              <a:gd name="connsiteY659" fmla="*/ 1135648 h 6858000"/>
              <a:gd name="connsiteX660" fmla="*/ 1771401 w 7467600"/>
              <a:gd name="connsiteY660" fmla="*/ 1806673 h 6858000"/>
              <a:gd name="connsiteX661" fmla="*/ 1972385 w 7467600"/>
              <a:gd name="connsiteY661" fmla="*/ 2198735 h 6858000"/>
              <a:gd name="connsiteX662" fmla="*/ 2040892 w 7467600"/>
              <a:gd name="connsiteY662" fmla="*/ 2405205 h 6858000"/>
              <a:gd name="connsiteX663" fmla="*/ 2131689 w 7467600"/>
              <a:gd name="connsiteY663" fmla="*/ 1936926 h 6858000"/>
              <a:gd name="connsiteX664" fmla="*/ 2454820 w 7467600"/>
              <a:gd name="connsiteY664" fmla="*/ 1248808 h 6858000"/>
              <a:gd name="connsiteX665" fmla="*/ 2492512 w 7467600"/>
              <a:gd name="connsiteY665" fmla="*/ 1302920 h 6858000"/>
              <a:gd name="connsiteX666" fmla="*/ 2081216 w 7467600"/>
              <a:gd name="connsiteY666" fmla="*/ 2527513 h 6858000"/>
              <a:gd name="connsiteX667" fmla="*/ 2081211 w 7467600"/>
              <a:gd name="connsiteY667" fmla="*/ 2528916 h 6858000"/>
              <a:gd name="connsiteX668" fmla="*/ 2199067 w 7467600"/>
              <a:gd name="connsiteY668" fmla="*/ 2884061 h 6858000"/>
              <a:gd name="connsiteX669" fmla="*/ 3192586 w 7467600"/>
              <a:gd name="connsiteY669" fmla="*/ 3411496 h 6858000"/>
              <a:gd name="connsiteX670" fmla="*/ 3182620 w 7467600"/>
              <a:gd name="connsiteY670" fmla="*/ 3483279 h 6858000"/>
              <a:gd name="connsiteX671" fmla="*/ 2435119 w 7467600"/>
              <a:gd name="connsiteY671" fmla="*/ 3080173 h 6858000"/>
              <a:gd name="connsiteX672" fmla="*/ 2410152 w 7467600"/>
              <a:gd name="connsiteY672" fmla="*/ 3063751 h 6858000"/>
              <a:gd name="connsiteX673" fmla="*/ 2408099 w 7467600"/>
              <a:gd name="connsiteY673" fmla="*/ 3064403 h 6858000"/>
              <a:gd name="connsiteX674" fmla="*/ 2407218 w 7467600"/>
              <a:gd name="connsiteY674" fmla="*/ 3070324 h 6858000"/>
              <a:gd name="connsiteX675" fmla="*/ 2380138 w 7467600"/>
              <a:gd name="connsiteY675" fmla="*/ 3099341 h 6858000"/>
              <a:gd name="connsiteX676" fmla="*/ 1765923 w 7467600"/>
              <a:gd name="connsiteY676" fmla="*/ 3581043 h 6858000"/>
              <a:gd name="connsiteX677" fmla="*/ 1702258 w 7467600"/>
              <a:gd name="connsiteY677" fmla="*/ 3612286 h 6858000"/>
              <a:gd name="connsiteX678" fmla="*/ 1538370 w 7467600"/>
              <a:gd name="connsiteY678" fmla="*/ 3811804 h 6858000"/>
              <a:gd name="connsiteX679" fmla="*/ 542867 w 7467600"/>
              <a:gd name="connsiteY679" fmla="*/ 4944092 h 6858000"/>
              <a:gd name="connsiteX680" fmla="*/ 515800 w 7467600"/>
              <a:gd name="connsiteY680" fmla="*/ 4862180 h 6858000"/>
              <a:gd name="connsiteX681" fmla="*/ 909145 w 7467600"/>
              <a:gd name="connsiteY681" fmla="*/ 4199225 h 6858000"/>
              <a:gd name="connsiteX682" fmla="*/ 1214067 w 7467600"/>
              <a:gd name="connsiteY682" fmla="*/ 3908561 h 6858000"/>
              <a:gd name="connsiteX683" fmla="*/ 640967 w 7467600"/>
              <a:gd name="connsiteY683" fmla="*/ 4105601 h 6858000"/>
              <a:gd name="connsiteX684" fmla="*/ 112563 w 7467600"/>
              <a:gd name="connsiteY684" fmla="*/ 4396952 h 6858000"/>
              <a:gd name="connsiteX685" fmla="*/ 0 w 7467600"/>
              <a:gd name="connsiteY685" fmla="*/ 4466006 h 6858000"/>
              <a:gd name="connsiteX686" fmla="*/ 0 w 7467600"/>
              <a:gd name="connsiteY686" fmla="*/ 4233763 h 6858000"/>
              <a:gd name="connsiteX687" fmla="*/ 36881 w 7467600"/>
              <a:gd name="connsiteY687" fmla="*/ 4200118 h 6858000"/>
              <a:gd name="connsiteX688" fmla="*/ 910534 w 7467600"/>
              <a:gd name="connsiteY688" fmla="*/ 3629753 h 6858000"/>
              <a:gd name="connsiteX689" fmla="*/ 1578717 w 7467600"/>
              <a:gd name="connsiteY689" fmla="*/ 3575982 h 6858000"/>
              <a:gd name="connsiteX690" fmla="*/ 2338780 w 7467600"/>
              <a:gd name="connsiteY690" fmla="*/ 3033725 h 6858000"/>
              <a:gd name="connsiteX691" fmla="*/ 1807991 w 7467600"/>
              <a:gd name="connsiteY691" fmla="*/ 2807184 h 6858000"/>
              <a:gd name="connsiteX692" fmla="*/ 1416358 w 7467600"/>
              <a:gd name="connsiteY692" fmla="*/ 3112571 h 6858000"/>
              <a:gd name="connsiteX693" fmla="*/ 939066 w 7467600"/>
              <a:gd name="connsiteY693" fmla="*/ 3378798 h 6858000"/>
              <a:gd name="connsiteX694" fmla="*/ 115099 w 7467600"/>
              <a:gd name="connsiteY694" fmla="*/ 3607650 h 6858000"/>
              <a:gd name="connsiteX695" fmla="*/ 97284 w 7467600"/>
              <a:gd name="connsiteY695" fmla="*/ 3520393 h 6858000"/>
              <a:gd name="connsiteX696" fmla="*/ 922050 w 7467600"/>
              <a:gd name="connsiteY696" fmla="*/ 3074867 h 6858000"/>
              <a:gd name="connsiteX697" fmla="*/ 1405265 w 7467600"/>
              <a:gd name="connsiteY697" fmla="*/ 3016319 h 6858000"/>
              <a:gd name="connsiteX698" fmla="*/ 1407512 w 7467600"/>
              <a:gd name="connsiteY698" fmla="*/ 3018001 h 6858000"/>
              <a:gd name="connsiteX699" fmla="*/ 1726266 w 7467600"/>
              <a:gd name="connsiteY699" fmla="*/ 2777274 h 6858000"/>
              <a:gd name="connsiteX700" fmla="*/ 625390 w 7467600"/>
              <a:gd name="connsiteY700" fmla="*/ 2514541 h 6858000"/>
              <a:gd name="connsiteX701" fmla="*/ 619799 w 7467600"/>
              <a:gd name="connsiteY701" fmla="*/ 2527180 h 6858000"/>
              <a:gd name="connsiteX702" fmla="*/ 310030 w 7467600"/>
              <a:gd name="connsiteY702" fmla="*/ 2771818 h 6858000"/>
              <a:gd name="connsiteX703" fmla="*/ 173877 w 7467600"/>
              <a:gd name="connsiteY703" fmla="*/ 2937056 h 6858000"/>
              <a:gd name="connsiteX704" fmla="*/ 77889 w 7467600"/>
              <a:gd name="connsiteY704" fmla="*/ 3138440 h 6858000"/>
              <a:gd name="connsiteX705" fmla="*/ 0 w 7467600"/>
              <a:gd name="connsiteY705" fmla="*/ 3271395 h 6858000"/>
              <a:gd name="connsiteX706" fmla="*/ 0 w 7467600"/>
              <a:gd name="connsiteY706" fmla="*/ 3153002 h 6858000"/>
              <a:gd name="connsiteX707" fmla="*/ 2386 w 7467600"/>
              <a:gd name="connsiteY707" fmla="*/ 3149203 h 6858000"/>
              <a:gd name="connsiteX708" fmla="*/ 89753 w 7467600"/>
              <a:gd name="connsiteY708" fmla="*/ 2987702 h 6858000"/>
              <a:gd name="connsiteX709" fmla="*/ 76869 w 7467600"/>
              <a:gd name="connsiteY709" fmla="*/ 3005404 h 6858000"/>
              <a:gd name="connsiteX710" fmla="*/ 32049 w 7467600"/>
              <a:gd name="connsiteY710" fmla="*/ 3065814 h 6858000"/>
              <a:gd name="connsiteX711" fmla="*/ 0 w 7467600"/>
              <a:gd name="connsiteY711" fmla="*/ 3108744 h 6858000"/>
              <a:gd name="connsiteX712" fmla="*/ 0 w 7467600"/>
              <a:gd name="connsiteY712" fmla="*/ 3058059 h 6858000"/>
              <a:gd name="connsiteX713" fmla="*/ 7610 w 7467600"/>
              <a:gd name="connsiteY713" fmla="*/ 3047889 h 6858000"/>
              <a:gd name="connsiteX714" fmla="*/ 52419 w 7467600"/>
              <a:gd name="connsiteY714" fmla="*/ 2987479 h 6858000"/>
              <a:gd name="connsiteX715" fmla="*/ 59142 w 7467600"/>
              <a:gd name="connsiteY715" fmla="*/ 2978488 h 6858000"/>
              <a:gd name="connsiteX716" fmla="*/ 0 w 7467600"/>
              <a:gd name="connsiteY716" fmla="*/ 3015334 h 6858000"/>
              <a:gd name="connsiteX717" fmla="*/ 0 w 7467600"/>
              <a:gd name="connsiteY717" fmla="*/ 2914286 h 6858000"/>
              <a:gd name="connsiteX718" fmla="*/ 36383 w 7467600"/>
              <a:gd name="connsiteY718" fmla="*/ 2901128 h 6858000"/>
              <a:gd name="connsiteX719" fmla="*/ 156329 w 7467600"/>
              <a:gd name="connsiteY719" fmla="*/ 2840533 h 6858000"/>
              <a:gd name="connsiteX720" fmla="*/ 358355 w 7467600"/>
              <a:gd name="connsiteY720" fmla="*/ 2620471 h 6858000"/>
              <a:gd name="connsiteX721" fmla="*/ 510577 w 7467600"/>
              <a:gd name="connsiteY721" fmla="*/ 2501244 h 6858000"/>
              <a:gd name="connsiteX722" fmla="*/ 211967 w 7467600"/>
              <a:gd name="connsiteY722" fmla="*/ 2479171 h 6858000"/>
              <a:gd name="connsiteX723" fmla="*/ 0 w 7467600"/>
              <a:gd name="connsiteY723" fmla="*/ 2476398 h 6858000"/>
              <a:gd name="connsiteX724" fmla="*/ 0 w 7467600"/>
              <a:gd name="connsiteY724" fmla="*/ 2389189 h 6858000"/>
              <a:gd name="connsiteX725" fmla="*/ 103062 w 7467600"/>
              <a:gd name="connsiteY725" fmla="*/ 2389518 h 6858000"/>
              <a:gd name="connsiteX726" fmla="*/ 510734 w 7467600"/>
              <a:gd name="connsiteY726" fmla="*/ 2416201 h 6858000"/>
              <a:gd name="connsiteX727" fmla="*/ 279257 w 7467600"/>
              <a:gd name="connsiteY727" fmla="*/ 2092102 h 6858000"/>
              <a:gd name="connsiteX728" fmla="*/ 65265 w 7467600"/>
              <a:gd name="connsiteY728" fmla="*/ 2006049 h 6858000"/>
              <a:gd name="connsiteX729" fmla="*/ 0 w 7467600"/>
              <a:gd name="connsiteY729" fmla="*/ 1982532 h 6858000"/>
              <a:gd name="connsiteX730" fmla="*/ 0 w 7467600"/>
              <a:gd name="connsiteY730" fmla="*/ 1912789 h 6858000"/>
              <a:gd name="connsiteX731" fmla="*/ 97460 w 7467600"/>
              <a:gd name="connsiteY731" fmla="*/ 1953725 h 6858000"/>
              <a:gd name="connsiteX732" fmla="*/ 221272 w 7467600"/>
              <a:gd name="connsiteY732" fmla="*/ 1980766 h 6858000"/>
              <a:gd name="connsiteX733" fmla="*/ 116765 w 7467600"/>
              <a:gd name="connsiteY733" fmla="*/ 1911033 h 6858000"/>
              <a:gd name="connsiteX734" fmla="*/ 16405 w 7467600"/>
              <a:gd name="connsiteY734" fmla="*/ 1803412 h 6858000"/>
              <a:gd name="connsiteX735" fmla="*/ 0 w 7467600"/>
              <a:gd name="connsiteY735" fmla="*/ 1784777 h 6858000"/>
              <a:gd name="connsiteX736" fmla="*/ 0 w 7467600"/>
              <a:gd name="connsiteY736" fmla="*/ 1740082 h 6858000"/>
              <a:gd name="connsiteX737" fmla="*/ 39394 w 7467600"/>
              <a:gd name="connsiteY737" fmla="*/ 1784856 h 6858000"/>
              <a:gd name="connsiteX738" fmla="*/ 135813 w 7467600"/>
              <a:gd name="connsiteY738" fmla="*/ 1888838 h 6858000"/>
              <a:gd name="connsiteX739" fmla="*/ 242575 w 7467600"/>
              <a:gd name="connsiteY739" fmla="*/ 1958841 h 6858000"/>
              <a:gd name="connsiteX740" fmla="*/ 82197 w 7467600"/>
              <a:gd name="connsiteY740" fmla="*/ 1754826 h 6858000"/>
              <a:gd name="connsiteX741" fmla="*/ 0 w 7467600"/>
              <a:gd name="connsiteY741" fmla="*/ 1679650 h 6858000"/>
              <a:gd name="connsiteX742" fmla="*/ 0 w 7467600"/>
              <a:gd name="connsiteY742" fmla="*/ 1602463 h 6858000"/>
              <a:gd name="connsiteX743" fmla="*/ 84689 w 7467600"/>
              <a:gd name="connsiteY743" fmla="*/ 1677442 h 6858000"/>
              <a:gd name="connsiteX744" fmla="*/ 298437 w 7467600"/>
              <a:gd name="connsiteY744" fmla="*/ 1968019 h 6858000"/>
              <a:gd name="connsiteX745" fmla="*/ 227269 w 7467600"/>
              <a:gd name="connsiteY745" fmla="*/ 1114064 h 6858000"/>
              <a:gd name="connsiteX746" fmla="*/ 248003 w 7467600"/>
              <a:gd name="connsiteY746" fmla="*/ 1089613 h 6858000"/>
              <a:gd name="connsiteX747" fmla="*/ 427020 w 7467600"/>
              <a:gd name="connsiteY747" fmla="*/ 1619803 h 6858000"/>
              <a:gd name="connsiteX748" fmla="*/ 340345 w 7467600"/>
              <a:gd name="connsiteY748" fmla="*/ 2027739 h 6858000"/>
              <a:gd name="connsiteX749" fmla="*/ 360865 w 7467600"/>
              <a:gd name="connsiteY749" fmla="*/ 2044827 h 6858000"/>
              <a:gd name="connsiteX750" fmla="*/ 560414 w 7467600"/>
              <a:gd name="connsiteY750" fmla="*/ 2421457 h 6858000"/>
              <a:gd name="connsiteX751" fmla="*/ 1359703 w 7467600"/>
              <a:gd name="connsiteY751" fmla="*/ 2578554 h 6858000"/>
              <a:gd name="connsiteX752" fmla="*/ 1359422 w 7467600"/>
              <a:gd name="connsiteY752" fmla="*/ 2577994 h 6858000"/>
              <a:gd name="connsiteX753" fmla="*/ 828701 w 7467600"/>
              <a:gd name="connsiteY753" fmla="*/ 1839520 h 6858000"/>
              <a:gd name="connsiteX754" fmla="*/ 494427 w 7467600"/>
              <a:gd name="connsiteY754" fmla="*/ 1092333 h 6858000"/>
              <a:gd name="connsiteX755" fmla="*/ 506322 w 7467600"/>
              <a:gd name="connsiteY755" fmla="*/ 1020997 h 6858000"/>
              <a:gd name="connsiteX756" fmla="*/ 4570198 w 7467600"/>
              <a:gd name="connsiteY756" fmla="*/ 978081 h 6858000"/>
              <a:gd name="connsiteX757" fmla="*/ 4523691 w 7467600"/>
              <a:gd name="connsiteY757" fmla="*/ 1127776 h 6858000"/>
              <a:gd name="connsiteX758" fmla="*/ 4509875 w 7467600"/>
              <a:gd name="connsiteY758" fmla="*/ 1167552 h 6858000"/>
              <a:gd name="connsiteX759" fmla="*/ 4478168 w 7467600"/>
              <a:gd name="connsiteY759" fmla="*/ 1260735 h 6858000"/>
              <a:gd name="connsiteX760" fmla="*/ 4409309 w 7467600"/>
              <a:gd name="connsiteY760" fmla="*/ 1666996 h 6858000"/>
              <a:gd name="connsiteX761" fmla="*/ 4370031 w 7467600"/>
              <a:gd name="connsiteY761" fmla="*/ 1955666 h 6858000"/>
              <a:gd name="connsiteX762" fmla="*/ 4570198 w 7467600"/>
              <a:gd name="connsiteY762" fmla="*/ 978081 h 6858000"/>
              <a:gd name="connsiteX763" fmla="*/ 4557898 w 7467600"/>
              <a:gd name="connsiteY763" fmla="*/ 900011 h 6858000"/>
              <a:gd name="connsiteX764" fmla="*/ 4344840 w 7467600"/>
              <a:gd name="connsiteY764" fmla="*/ 1922038 h 6858000"/>
              <a:gd name="connsiteX765" fmla="*/ 4378710 w 7467600"/>
              <a:gd name="connsiteY765" fmla="*/ 1665516 h 6858000"/>
              <a:gd name="connsiteX766" fmla="*/ 4448798 w 7467600"/>
              <a:gd name="connsiteY766" fmla="*/ 1253024 h 6858000"/>
              <a:gd name="connsiteX767" fmla="*/ 4480315 w 7467600"/>
              <a:gd name="connsiteY767" fmla="*/ 1158454 h 6858000"/>
              <a:gd name="connsiteX768" fmla="*/ 4494133 w 7467600"/>
              <a:gd name="connsiteY768" fmla="*/ 1118676 h 6858000"/>
              <a:gd name="connsiteX769" fmla="*/ 4557898 w 7467600"/>
              <a:gd name="connsiteY769" fmla="*/ 900011 h 6858000"/>
              <a:gd name="connsiteX770" fmla="*/ 5870151 w 7467600"/>
              <a:gd name="connsiteY770" fmla="*/ 898890 h 6858000"/>
              <a:gd name="connsiteX771" fmla="*/ 5861335 w 7467600"/>
              <a:gd name="connsiteY771" fmla="*/ 899177 h 6858000"/>
              <a:gd name="connsiteX772" fmla="*/ 5843702 w 7467600"/>
              <a:gd name="connsiteY772" fmla="*/ 899748 h 6858000"/>
              <a:gd name="connsiteX773" fmla="*/ 5651107 w 7467600"/>
              <a:gd name="connsiteY773" fmla="*/ 920306 h 6858000"/>
              <a:gd name="connsiteX774" fmla="*/ 5459407 w 7467600"/>
              <a:gd name="connsiteY774" fmla="*/ 940975 h 6858000"/>
              <a:gd name="connsiteX775" fmla="*/ 5374846 w 7467600"/>
              <a:gd name="connsiteY775" fmla="*/ 941988 h 6858000"/>
              <a:gd name="connsiteX776" fmla="*/ 5256105 w 7467600"/>
              <a:gd name="connsiteY776" fmla="*/ 945632 h 6858000"/>
              <a:gd name="connsiteX777" fmla="*/ 5107071 w 7467600"/>
              <a:gd name="connsiteY777" fmla="*/ 969720 h 6858000"/>
              <a:gd name="connsiteX778" fmla="*/ 4998681 w 7467600"/>
              <a:gd name="connsiteY778" fmla="*/ 988771 h 6858000"/>
              <a:gd name="connsiteX779" fmla="*/ 5870151 w 7467600"/>
              <a:gd name="connsiteY779" fmla="*/ 898890 h 6858000"/>
              <a:gd name="connsiteX780" fmla="*/ 5504425 w 7467600"/>
              <a:gd name="connsiteY780" fmla="*/ 848067 h 6858000"/>
              <a:gd name="connsiteX781" fmla="*/ 4968849 w 7467600"/>
              <a:gd name="connsiteY781" fmla="*/ 962318 h 6858000"/>
              <a:gd name="connsiteX782" fmla="*/ 5104039 w 7467600"/>
              <a:gd name="connsiteY782" fmla="*/ 940634 h 6858000"/>
              <a:gd name="connsiteX783" fmla="*/ 5256311 w 7467600"/>
              <a:gd name="connsiteY783" fmla="*/ 916490 h 6858000"/>
              <a:gd name="connsiteX784" fmla="*/ 5377381 w 7467600"/>
              <a:gd name="connsiteY784" fmla="*/ 912671 h 6858000"/>
              <a:gd name="connsiteX785" fmla="*/ 5460148 w 7467600"/>
              <a:gd name="connsiteY785" fmla="*/ 911442 h 6858000"/>
              <a:gd name="connsiteX786" fmla="*/ 5648971 w 7467600"/>
              <a:gd name="connsiteY786" fmla="*/ 891331 h 6858000"/>
              <a:gd name="connsiteX787" fmla="*/ 5844807 w 7467600"/>
              <a:gd name="connsiteY787" fmla="*/ 870718 h 6858000"/>
              <a:gd name="connsiteX788" fmla="*/ 5862975 w 7467600"/>
              <a:gd name="connsiteY788" fmla="*/ 869756 h 6858000"/>
              <a:gd name="connsiteX789" fmla="*/ 5920887 w 7467600"/>
              <a:gd name="connsiteY789" fmla="*/ 865929 h 6858000"/>
              <a:gd name="connsiteX790" fmla="*/ 5504425 w 7467600"/>
              <a:gd name="connsiteY790" fmla="*/ 848067 h 6858000"/>
              <a:gd name="connsiteX791" fmla="*/ 3607114 w 7467600"/>
              <a:gd name="connsiteY791" fmla="*/ 467441 h 6858000"/>
              <a:gd name="connsiteX792" fmla="*/ 3296242 w 7467600"/>
              <a:gd name="connsiteY792" fmla="*/ 807991 h 6858000"/>
              <a:gd name="connsiteX793" fmla="*/ 3174674 w 7467600"/>
              <a:gd name="connsiteY793" fmla="*/ 919759 h 6858000"/>
              <a:gd name="connsiteX794" fmla="*/ 3042978 w 7467600"/>
              <a:gd name="connsiteY794" fmla="*/ 1054894 h 6858000"/>
              <a:gd name="connsiteX795" fmla="*/ 2968914 w 7467600"/>
              <a:gd name="connsiteY795" fmla="*/ 1133756 h 6858000"/>
              <a:gd name="connsiteX796" fmla="*/ 3103823 w 7467600"/>
              <a:gd name="connsiteY796" fmla="*/ 1026814 h 6858000"/>
              <a:gd name="connsiteX797" fmla="*/ 3607114 w 7467600"/>
              <a:gd name="connsiteY797" fmla="*/ 467441 h 6858000"/>
              <a:gd name="connsiteX798" fmla="*/ 3744487 w 7467600"/>
              <a:gd name="connsiteY798" fmla="*/ 383136 h 6858000"/>
              <a:gd name="connsiteX799" fmla="*/ 3970213 w 7467600"/>
              <a:gd name="connsiteY799" fmla="*/ 995559 h 6858000"/>
              <a:gd name="connsiteX800" fmla="*/ 3744487 w 7467600"/>
              <a:gd name="connsiteY800" fmla="*/ 383136 h 6858000"/>
              <a:gd name="connsiteX801" fmla="*/ 3624562 w 7467600"/>
              <a:gd name="connsiteY801" fmla="*/ 367041 h 6858000"/>
              <a:gd name="connsiteX802" fmla="*/ 3489712 w 7467600"/>
              <a:gd name="connsiteY802" fmla="*/ 485386 h 6858000"/>
              <a:gd name="connsiteX803" fmla="*/ 3182994 w 7467600"/>
              <a:gd name="connsiteY803" fmla="*/ 828265 h 6858000"/>
              <a:gd name="connsiteX804" fmla="*/ 2892114 w 7467600"/>
              <a:gd name="connsiteY804" fmla="*/ 1172635 h 6858000"/>
              <a:gd name="connsiteX805" fmla="*/ 3021459 w 7467600"/>
              <a:gd name="connsiteY805" fmla="*/ 1035385 h 6858000"/>
              <a:gd name="connsiteX806" fmla="*/ 3153873 w 7467600"/>
              <a:gd name="connsiteY806" fmla="*/ 898971 h 6858000"/>
              <a:gd name="connsiteX807" fmla="*/ 3276511 w 7467600"/>
              <a:gd name="connsiteY807" fmla="*/ 786423 h 6858000"/>
              <a:gd name="connsiteX808" fmla="*/ 3584154 w 7467600"/>
              <a:gd name="connsiteY808" fmla="*/ 448218 h 6858000"/>
              <a:gd name="connsiteX809" fmla="*/ 3624562 w 7467600"/>
              <a:gd name="connsiteY809" fmla="*/ 367041 h 6858000"/>
              <a:gd name="connsiteX810" fmla="*/ 3766672 w 7467600"/>
              <a:gd name="connsiteY810" fmla="*/ 359429 h 6858000"/>
              <a:gd name="connsiteX811" fmla="*/ 3996338 w 7467600"/>
              <a:gd name="connsiteY811" fmla="*/ 968237 h 6858000"/>
              <a:gd name="connsiteX812" fmla="*/ 3766672 w 7467600"/>
              <a:gd name="connsiteY812" fmla="*/ 359429 h 6858000"/>
              <a:gd name="connsiteX813" fmla="*/ 5805386 w 7467600"/>
              <a:gd name="connsiteY813" fmla="*/ 239240 h 6858000"/>
              <a:gd name="connsiteX814" fmla="*/ 5736947 w 7467600"/>
              <a:gd name="connsiteY814" fmla="*/ 261367 h 6858000"/>
              <a:gd name="connsiteX815" fmla="*/ 5427012 w 7467600"/>
              <a:gd name="connsiteY815" fmla="*/ 311272 h 6858000"/>
              <a:gd name="connsiteX816" fmla="*/ 5147818 w 7467600"/>
              <a:gd name="connsiteY816" fmla="*/ 322112 h 6858000"/>
              <a:gd name="connsiteX817" fmla="*/ 5060854 w 7467600"/>
              <a:gd name="connsiteY817" fmla="*/ 311882 h 6858000"/>
              <a:gd name="connsiteX818" fmla="*/ 4945989 w 7467600"/>
              <a:gd name="connsiteY818" fmla="*/ 300516 h 6858000"/>
              <a:gd name="connsiteX819" fmla="*/ 5410479 w 7467600"/>
              <a:gd name="connsiteY819" fmla="*/ 348434 h 6858000"/>
              <a:gd name="connsiteX820" fmla="*/ 5805386 w 7467600"/>
              <a:gd name="connsiteY820" fmla="*/ 239240 h 6858000"/>
              <a:gd name="connsiteX821" fmla="*/ 5905192 w 7467600"/>
              <a:gd name="connsiteY821" fmla="*/ 163079 h 6858000"/>
              <a:gd name="connsiteX822" fmla="*/ 5865655 w 7467600"/>
              <a:gd name="connsiteY822" fmla="*/ 171901 h 6858000"/>
              <a:gd name="connsiteX823" fmla="*/ 5259740 w 7467600"/>
              <a:gd name="connsiteY823" fmla="*/ 257013 h 6858000"/>
              <a:gd name="connsiteX824" fmla="*/ 5208466 w 7467600"/>
              <a:gd name="connsiteY824" fmla="*/ 257550 h 6858000"/>
              <a:gd name="connsiteX825" fmla="*/ 4980204 w 7467600"/>
              <a:gd name="connsiteY825" fmla="*/ 271903 h 6858000"/>
              <a:gd name="connsiteX826" fmla="*/ 5068068 w 7467600"/>
              <a:gd name="connsiteY826" fmla="*/ 282244 h 6858000"/>
              <a:gd name="connsiteX827" fmla="*/ 5153231 w 7467600"/>
              <a:gd name="connsiteY827" fmla="*/ 292240 h 6858000"/>
              <a:gd name="connsiteX828" fmla="*/ 5426491 w 7467600"/>
              <a:gd name="connsiteY828" fmla="*/ 281128 h 6858000"/>
              <a:gd name="connsiteX829" fmla="*/ 5731212 w 7467600"/>
              <a:gd name="connsiteY829" fmla="*/ 231951 h 6858000"/>
              <a:gd name="connsiteX830" fmla="*/ 5905192 w 7467600"/>
              <a:gd name="connsiteY830" fmla="*/ 163079 h 6858000"/>
              <a:gd name="connsiteX831" fmla="*/ 5944437 w 7467600"/>
              <a:gd name="connsiteY831" fmla="*/ 113829 h 6858000"/>
              <a:gd name="connsiteX832" fmla="*/ 5825032 w 7467600"/>
              <a:gd name="connsiteY832" fmla="*/ 146405 h 6858000"/>
              <a:gd name="connsiteX833" fmla="*/ 4955599 w 7467600"/>
              <a:gd name="connsiteY833" fmla="*/ 247008 h 6858000"/>
              <a:gd name="connsiteX834" fmla="*/ 5210104 w 7467600"/>
              <a:gd name="connsiteY834" fmla="*/ 228123 h 6858000"/>
              <a:gd name="connsiteX835" fmla="*/ 5261015 w 7467600"/>
              <a:gd name="connsiteY835" fmla="*/ 227087 h 6858000"/>
              <a:gd name="connsiteX836" fmla="*/ 5861181 w 7467600"/>
              <a:gd name="connsiteY836" fmla="*/ 143093 h 6858000"/>
              <a:gd name="connsiteX837" fmla="*/ 5961252 w 7467600"/>
              <a:gd name="connsiteY837" fmla="*/ 114820 h 6858000"/>
              <a:gd name="connsiteX838" fmla="*/ 5944437 w 7467600"/>
              <a:gd name="connsiteY838" fmla="*/ 113829 h 6858000"/>
              <a:gd name="connsiteX839" fmla="*/ 3882765 w 7467600"/>
              <a:gd name="connsiteY839" fmla="*/ 0 h 6858000"/>
              <a:gd name="connsiteX840" fmla="*/ 3995099 w 7467600"/>
              <a:gd name="connsiteY840" fmla="*/ 0 h 6858000"/>
              <a:gd name="connsiteX841" fmla="*/ 4163818 w 7467600"/>
              <a:gd name="connsiteY841" fmla="*/ 234104 h 6858000"/>
              <a:gd name="connsiteX842" fmla="*/ 4172099 w 7467600"/>
              <a:gd name="connsiteY842" fmla="*/ 234207 h 6858000"/>
              <a:gd name="connsiteX843" fmla="*/ 4784282 w 7467600"/>
              <a:gd name="connsiteY843" fmla="*/ 276561 h 6858000"/>
              <a:gd name="connsiteX844" fmla="*/ 4801687 w 7467600"/>
              <a:gd name="connsiteY844" fmla="*/ 267764 h 6858000"/>
              <a:gd name="connsiteX845" fmla="*/ 6082788 w 7467600"/>
              <a:gd name="connsiteY845" fmla="*/ 64119 h 6858000"/>
              <a:gd name="connsiteX846" fmla="*/ 6099442 w 7467600"/>
              <a:gd name="connsiteY846" fmla="*/ 82568 h 6858000"/>
              <a:gd name="connsiteX847" fmla="*/ 4804137 w 7467600"/>
              <a:gd name="connsiteY847" fmla="*/ 320931 h 6858000"/>
              <a:gd name="connsiteX848" fmla="*/ 4227047 w 7467600"/>
              <a:gd name="connsiteY848" fmla="*/ 313415 h 6858000"/>
              <a:gd name="connsiteX849" fmla="*/ 4346041 w 7467600"/>
              <a:gd name="connsiteY849" fmla="*/ 456086 h 6858000"/>
              <a:gd name="connsiteX850" fmla="*/ 4870967 w 7467600"/>
              <a:gd name="connsiteY850" fmla="*/ 963061 h 6858000"/>
              <a:gd name="connsiteX851" fmla="*/ 4889647 w 7467600"/>
              <a:gd name="connsiteY851" fmla="*/ 957147 h 6858000"/>
              <a:gd name="connsiteX852" fmla="*/ 5422504 w 7467600"/>
              <a:gd name="connsiteY852" fmla="*/ 805191 h 6858000"/>
              <a:gd name="connsiteX853" fmla="*/ 6087656 w 7467600"/>
              <a:gd name="connsiteY853" fmla="*/ 826703 h 6858000"/>
              <a:gd name="connsiteX854" fmla="*/ 6058717 w 7467600"/>
              <a:gd name="connsiteY854" fmla="*/ 865992 h 6858000"/>
              <a:gd name="connsiteX855" fmla="*/ 4974153 w 7467600"/>
              <a:gd name="connsiteY855" fmla="*/ 1045456 h 6858000"/>
              <a:gd name="connsiteX856" fmla="*/ 5627835 w 7467600"/>
              <a:gd name="connsiteY856" fmla="*/ 1472077 h 6858000"/>
              <a:gd name="connsiteX857" fmla="*/ 5629817 w 7467600"/>
              <a:gd name="connsiteY857" fmla="*/ 1471412 h 6858000"/>
              <a:gd name="connsiteX858" fmla="*/ 5634124 w 7467600"/>
              <a:gd name="connsiteY858" fmla="*/ 1470572 h 6858000"/>
              <a:gd name="connsiteX859" fmla="*/ 5755832 w 7467600"/>
              <a:gd name="connsiteY859" fmla="*/ 1383886 h 6858000"/>
              <a:gd name="connsiteX860" fmla="*/ 6014186 w 7467600"/>
              <a:gd name="connsiteY860" fmla="*/ 1279799 h 6858000"/>
              <a:gd name="connsiteX861" fmla="*/ 6901619 w 7467600"/>
              <a:gd name="connsiteY861" fmla="*/ 1047874 h 6858000"/>
              <a:gd name="connsiteX862" fmla="*/ 6931566 w 7467600"/>
              <a:gd name="connsiteY862" fmla="*/ 1062034 h 6858000"/>
              <a:gd name="connsiteX863" fmla="*/ 5790982 w 7467600"/>
              <a:gd name="connsiteY863" fmla="*/ 1561380 h 6858000"/>
              <a:gd name="connsiteX864" fmla="*/ 6188971 w 7467600"/>
              <a:gd name="connsiteY864" fmla="*/ 1755168 h 6858000"/>
              <a:gd name="connsiteX865" fmla="*/ 6202446 w 7467600"/>
              <a:gd name="connsiteY865" fmla="*/ 1752268 h 6858000"/>
              <a:gd name="connsiteX866" fmla="*/ 7179560 w 7467600"/>
              <a:gd name="connsiteY866" fmla="*/ 1467551 h 6858000"/>
              <a:gd name="connsiteX867" fmla="*/ 7158730 w 7467600"/>
              <a:gd name="connsiteY867" fmla="*/ 1507835 h 6858000"/>
              <a:gd name="connsiteX868" fmla="*/ 6326959 w 7467600"/>
              <a:gd name="connsiteY868" fmla="*/ 1817686 h 6858000"/>
              <a:gd name="connsiteX869" fmla="*/ 6537433 w 7467600"/>
              <a:gd name="connsiteY869" fmla="*/ 1907790 h 6858000"/>
              <a:gd name="connsiteX870" fmla="*/ 6550221 w 7467600"/>
              <a:gd name="connsiteY870" fmla="*/ 1910729 h 6858000"/>
              <a:gd name="connsiteX871" fmla="*/ 6964438 w 7467600"/>
              <a:gd name="connsiteY871" fmla="*/ 2209505 h 6858000"/>
              <a:gd name="connsiteX872" fmla="*/ 7367862 w 7467600"/>
              <a:gd name="connsiteY872" fmla="*/ 2806833 h 6858000"/>
              <a:gd name="connsiteX873" fmla="*/ 7364329 w 7467600"/>
              <a:gd name="connsiteY873" fmla="*/ 2826907 h 6858000"/>
              <a:gd name="connsiteX874" fmla="*/ 7290545 w 7467600"/>
              <a:gd name="connsiteY874" fmla="*/ 2850663 h 6858000"/>
              <a:gd name="connsiteX875" fmla="*/ 6472036 w 7467600"/>
              <a:gd name="connsiteY875" fmla="*/ 1959003 h 6858000"/>
              <a:gd name="connsiteX876" fmla="*/ 5792897 w 7467600"/>
              <a:gd name="connsiteY876" fmla="*/ 1647747 h 6858000"/>
              <a:gd name="connsiteX877" fmla="*/ 5842751 w 7467600"/>
              <a:gd name="connsiteY877" fmla="*/ 1816112 h 6858000"/>
              <a:gd name="connsiteX878" fmla="*/ 5847424 w 7467600"/>
              <a:gd name="connsiteY878" fmla="*/ 1815776 h 6858000"/>
              <a:gd name="connsiteX879" fmla="*/ 6399821 w 7467600"/>
              <a:gd name="connsiteY879" fmla="*/ 2344799 h 6858000"/>
              <a:gd name="connsiteX880" fmla="*/ 6323232 w 7467600"/>
              <a:gd name="connsiteY880" fmla="*/ 2389634 h 6858000"/>
              <a:gd name="connsiteX881" fmla="*/ 5942958 w 7467600"/>
              <a:gd name="connsiteY881" fmla="*/ 2077708 h 6858000"/>
              <a:gd name="connsiteX882" fmla="*/ 5921559 w 7467600"/>
              <a:gd name="connsiteY882" fmla="*/ 2378596 h 6858000"/>
              <a:gd name="connsiteX883" fmla="*/ 5817651 w 7467600"/>
              <a:gd name="connsiteY883" fmla="*/ 3023919 h 6858000"/>
              <a:gd name="connsiteX884" fmla="*/ 5729634 w 7467600"/>
              <a:gd name="connsiteY884" fmla="*/ 3051849 h 6858000"/>
              <a:gd name="connsiteX885" fmla="*/ 5611018 w 7467600"/>
              <a:gd name="connsiteY885" fmla="*/ 2316769 h 6858000"/>
              <a:gd name="connsiteX886" fmla="*/ 5687608 w 7467600"/>
              <a:gd name="connsiteY886" fmla="*/ 2039972 h 6858000"/>
              <a:gd name="connsiteX887" fmla="*/ 5657554 w 7467600"/>
              <a:gd name="connsiteY887" fmla="*/ 1576445 h 6858000"/>
              <a:gd name="connsiteX888" fmla="*/ 5150475 w 7467600"/>
              <a:gd name="connsiteY888" fmla="*/ 1274012 h 6858000"/>
              <a:gd name="connsiteX889" fmla="*/ 5349142 w 7467600"/>
              <a:gd name="connsiteY889" fmla="*/ 2204405 h 6858000"/>
              <a:gd name="connsiteX890" fmla="*/ 5262214 w 7467600"/>
              <a:gd name="connsiteY890" fmla="*/ 2233836 h 6858000"/>
              <a:gd name="connsiteX891" fmla="*/ 4981539 w 7467600"/>
              <a:gd name="connsiteY891" fmla="*/ 1542201 h 6858000"/>
              <a:gd name="connsiteX892" fmla="*/ 4958461 w 7467600"/>
              <a:gd name="connsiteY892" fmla="*/ 1136957 h 6858000"/>
              <a:gd name="connsiteX893" fmla="*/ 4655015 w 7467600"/>
              <a:gd name="connsiteY893" fmla="*/ 891426 h 6858000"/>
              <a:gd name="connsiteX894" fmla="*/ 4348002 w 7467600"/>
              <a:gd name="connsiteY894" fmla="*/ 2205895 h 6858000"/>
              <a:gd name="connsiteX895" fmla="*/ 4262250 w 7467600"/>
              <a:gd name="connsiteY895" fmla="*/ 2219972 h 6858000"/>
              <a:gd name="connsiteX896" fmla="*/ 4550611 w 7467600"/>
              <a:gd name="connsiteY896" fmla="*/ 817540 h 6858000"/>
              <a:gd name="connsiteX897" fmla="*/ 4564418 w 7467600"/>
              <a:gd name="connsiteY897" fmla="*/ 808293 h 6858000"/>
              <a:gd name="connsiteX898" fmla="*/ 4266388 w 7467600"/>
              <a:gd name="connsiteY898" fmla="*/ 500083 h 6858000"/>
              <a:gd name="connsiteX899" fmla="*/ 4032842 w 7467600"/>
              <a:gd name="connsiteY899" fmla="*/ 211809 h 6858000"/>
              <a:gd name="connsiteX900" fmla="*/ 3882765 w 7467600"/>
              <a:gd name="connsiteY900" fmla="*/ 0 h 6858000"/>
              <a:gd name="connsiteX901" fmla="*/ 3721337 w 7467600"/>
              <a:gd name="connsiteY901" fmla="*/ 0 h 6858000"/>
              <a:gd name="connsiteX902" fmla="*/ 3797544 w 7467600"/>
              <a:gd name="connsiteY902" fmla="*/ 0 h 6858000"/>
              <a:gd name="connsiteX903" fmla="*/ 3775734 w 7467600"/>
              <a:gd name="connsiteY903" fmla="*/ 95131 h 6858000"/>
              <a:gd name="connsiteX904" fmla="*/ 3724807 w 7467600"/>
              <a:gd name="connsiteY904" fmla="*/ 272257 h 6858000"/>
              <a:gd name="connsiteX905" fmla="*/ 3726844 w 7467600"/>
              <a:gd name="connsiteY905" fmla="*/ 282988 h 6858000"/>
              <a:gd name="connsiteX906" fmla="*/ 3742664 w 7467600"/>
              <a:gd name="connsiteY906" fmla="*/ 279918 h 6858000"/>
              <a:gd name="connsiteX907" fmla="*/ 4103910 w 7467600"/>
              <a:gd name="connsiteY907" fmla="*/ 1161917 h 6858000"/>
              <a:gd name="connsiteX908" fmla="*/ 4020269 w 7467600"/>
              <a:gd name="connsiteY908" fmla="*/ 1200406 h 6858000"/>
              <a:gd name="connsiteX909" fmla="*/ 3674882 w 7467600"/>
              <a:gd name="connsiteY909" fmla="*/ 488524 h 6858000"/>
              <a:gd name="connsiteX910" fmla="*/ 3132682 w 7467600"/>
              <a:gd name="connsiteY910" fmla="*/ 1072284 h 6858000"/>
              <a:gd name="connsiteX911" fmla="*/ 2716346 w 7467600"/>
              <a:gd name="connsiteY911" fmla="*/ 1276376 h 6858000"/>
              <a:gd name="connsiteX912" fmla="*/ 2716772 w 7467600"/>
              <a:gd name="connsiteY912" fmla="*/ 1255462 h 6858000"/>
              <a:gd name="connsiteX913" fmla="*/ 3471096 w 7467600"/>
              <a:gd name="connsiteY913" fmla="*/ 437072 h 6858000"/>
              <a:gd name="connsiteX914" fmla="*/ 3639057 w 7467600"/>
              <a:gd name="connsiteY914" fmla="*/ 286334 h 6858000"/>
              <a:gd name="connsiteX915" fmla="*/ 3640309 w 7467600"/>
              <a:gd name="connsiteY915" fmla="*/ 284664 h 6858000"/>
              <a:gd name="connsiteX916" fmla="*/ 3646022 w 7467600"/>
              <a:gd name="connsiteY916" fmla="*/ 276711 h 6858000"/>
              <a:gd name="connsiteX917" fmla="*/ 3707943 w 7467600"/>
              <a:gd name="connsiteY917" fmla="*/ 65958 h 6858000"/>
              <a:gd name="connsiteX918" fmla="*/ 3721337 w 7467600"/>
              <a:gd name="connsiteY918" fmla="*/ 0 h 6858000"/>
              <a:gd name="connsiteX919" fmla="*/ 2867960 w 7467600"/>
              <a:gd name="connsiteY919" fmla="*/ 0 h 6858000"/>
              <a:gd name="connsiteX920" fmla="*/ 2926351 w 7467600"/>
              <a:gd name="connsiteY920" fmla="*/ 0 h 6858000"/>
              <a:gd name="connsiteX921" fmla="*/ 2902823 w 7467600"/>
              <a:gd name="connsiteY921" fmla="*/ 262929 h 6858000"/>
              <a:gd name="connsiteX922" fmla="*/ 2940663 w 7467600"/>
              <a:gd name="connsiteY922" fmla="*/ 140884 h 6858000"/>
              <a:gd name="connsiteX923" fmla="*/ 2947039 w 7467600"/>
              <a:gd name="connsiteY923" fmla="*/ 122524 h 6858000"/>
              <a:gd name="connsiteX924" fmla="*/ 2984316 w 7467600"/>
              <a:gd name="connsiteY924" fmla="*/ 0 h 6858000"/>
              <a:gd name="connsiteX925" fmla="*/ 3016114 w 7467600"/>
              <a:gd name="connsiteY925" fmla="*/ 0 h 6858000"/>
              <a:gd name="connsiteX926" fmla="*/ 2979949 w 7467600"/>
              <a:gd name="connsiteY926" fmla="*/ 119274 h 6858000"/>
              <a:gd name="connsiteX927" fmla="*/ 3023879 w 7467600"/>
              <a:gd name="connsiteY927" fmla="*/ 0 h 6858000"/>
              <a:gd name="connsiteX928" fmla="*/ 3105400 w 7467600"/>
              <a:gd name="connsiteY928" fmla="*/ 0 h 6858000"/>
              <a:gd name="connsiteX929" fmla="*/ 3094669 w 7467600"/>
              <a:gd name="connsiteY929" fmla="*/ 30308 h 6858000"/>
              <a:gd name="connsiteX930" fmla="*/ 2901945 w 7467600"/>
              <a:gd name="connsiteY930" fmla="*/ 466538 h 6858000"/>
              <a:gd name="connsiteX931" fmla="*/ 2815209 w 7467600"/>
              <a:gd name="connsiteY931" fmla="*/ 497361 h 6858000"/>
              <a:gd name="connsiteX932" fmla="*/ 2844845 w 7467600"/>
              <a:gd name="connsiteY932" fmla="*/ 127638 h 6858000"/>
              <a:gd name="connsiteX933" fmla="*/ 2867960 w 7467600"/>
              <a:gd name="connsiteY933" fmla="*/ 0 h 6858000"/>
              <a:gd name="connsiteX934" fmla="*/ 1057230 w 7467600"/>
              <a:gd name="connsiteY934" fmla="*/ 0 h 6858000"/>
              <a:gd name="connsiteX935" fmla="*/ 1111003 w 7467600"/>
              <a:gd name="connsiteY935" fmla="*/ 0 h 6858000"/>
              <a:gd name="connsiteX936" fmla="*/ 1125553 w 7467600"/>
              <a:gd name="connsiteY936" fmla="*/ 52588 h 6858000"/>
              <a:gd name="connsiteX937" fmla="*/ 1304276 w 7467600"/>
              <a:gd name="connsiteY937" fmla="*/ 476275 h 6858000"/>
              <a:gd name="connsiteX938" fmla="*/ 1492066 w 7467600"/>
              <a:gd name="connsiteY938" fmla="*/ 886333 h 6858000"/>
              <a:gd name="connsiteX939" fmla="*/ 1423698 w 7467600"/>
              <a:gd name="connsiteY939" fmla="*/ 710817 h 6858000"/>
              <a:gd name="connsiteX940" fmla="*/ 1357609 w 7467600"/>
              <a:gd name="connsiteY940" fmla="*/ 532892 h 6858000"/>
              <a:gd name="connsiteX941" fmla="*/ 1309550 w 7467600"/>
              <a:gd name="connsiteY941" fmla="*/ 374031 h 6858000"/>
              <a:gd name="connsiteX942" fmla="*/ 1193673 w 7467600"/>
              <a:gd name="connsiteY942" fmla="*/ 49533 h 6858000"/>
              <a:gd name="connsiteX943" fmla="*/ 1164391 w 7467600"/>
              <a:gd name="connsiteY943" fmla="*/ 0 h 6858000"/>
              <a:gd name="connsiteX944" fmla="*/ 1200666 w 7467600"/>
              <a:gd name="connsiteY944" fmla="*/ 0 h 6858000"/>
              <a:gd name="connsiteX945" fmla="*/ 1223408 w 7467600"/>
              <a:gd name="connsiteY945" fmla="*/ 38996 h 6858000"/>
              <a:gd name="connsiteX946" fmla="*/ 1339635 w 7467600"/>
              <a:gd name="connsiteY946" fmla="*/ 365517 h 6858000"/>
              <a:gd name="connsiteX947" fmla="*/ 1387469 w 7467600"/>
              <a:gd name="connsiteY947" fmla="*/ 523079 h 6858000"/>
              <a:gd name="connsiteX948" fmla="*/ 1452685 w 7467600"/>
              <a:gd name="connsiteY948" fmla="*/ 699806 h 6858000"/>
              <a:gd name="connsiteX949" fmla="*/ 1492092 w 7467600"/>
              <a:gd name="connsiteY949" fmla="*/ 800424 h 6858000"/>
              <a:gd name="connsiteX950" fmla="*/ 1455302 w 7467600"/>
              <a:gd name="connsiteY950" fmla="*/ 632913 h 6858000"/>
              <a:gd name="connsiteX951" fmla="*/ 1222336 w 7467600"/>
              <a:gd name="connsiteY951" fmla="*/ 9480 h 6858000"/>
              <a:gd name="connsiteX952" fmla="*/ 1214634 w 7467600"/>
              <a:gd name="connsiteY952" fmla="*/ 0 h 6858000"/>
              <a:gd name="connsiteX953" fmla="*/ 1289827 w 7467600"/>
              <a:gd name="connsiteY953" fmla="*/ 0 h 6858000"/>
              <a:gd name="connsiteX954" fmla="*/ 1321076 w 7467600"/>
              <a:gd name="connsiteY954" fmla="*/ 59722 h 6858000"/>
              <a:gd name="connsiteX955" fmla="*/ 1512579 w 7467600"/>
              <a:gd name="connsiteY955" fmla="*/ 626441 h 6858000"/>
              <a:gd name="connsiteX956" fmla="*/ 1506076 w 7467600"/>
              <a:gd name="connsiteY956" fmla="*/ 1089289 h 6858000"/>
              <a:gd name="connsiteX957" fmla="*/ 1486346 w 7467600"/>
              <a:gd name="connsiteY957" fmla="*/ 1079919 h 6858000"/>
              <a:gd name="connsiteX958" fmla="*/ 1070511 w 7467600"/>
              <a:gd name="connsiteY958" fmla="*/ 48609 h 6858000"/>
              <a:gd name="connsiteX959" fmla="*/ 1057230 w 7467600"/>
              <a:gd name="connsiteY959" fmla="*/ 0 h 6858000"/>
              <a:gd name="connsiteX960" fmla="*/ 43151 w 7467600"/>
              <a:gd name="connsiteY960" fmla="*/ 0 h 6858000"/>
              <a:gd name="connsiteX961" fmla="*/ 95283 w 7467600"/>
              <a:gd name="connsiteY961" fmla="*/ 0 h 6858000"/>
              <a:gd name="connsiteX962" fmla="*/ 300708 w 7467600"/>
              <a:gd name="connsiteY962" fmla="*/ 154571 h 6858000"/>
              <a:gd name="connsiteX963" fmla="*/ 530414 w 7467600"/>
              <a:gd name="connsiteY963" fmla="*/ 354673 h 6858000"/>
              <a:gd name="connsiteX964" fmla="*/ 333785 w 7467600"/>
              <a:gd name="connsiteY964" fmla="*/ 161564 h 6858000"/>
              <a:gd name="connsiteX965" fmla="*/ 147005 w 7467600"/>
              <a:gd name="connsiteY965" fmla="*/ 0 h 6858000"/>
              <a:gd name="connsiteX966" fmla="*/ 272509 w 7467600"/>
              <a:gd name="connsiteY966" fmla="*/ 0 h 6858000"/>
              <a:gd name="connsiteX967" fmla="*/ 326276 w 7467600"/>
              <a:gd name="connsiteY967" fmla="*/ 45847 h 6858000"/>
              <a:gd name="connsiteX968" fmla="*/ 823759 w 7467600"/>
              <a:gd name="connsiteY968" fmla="*/ 574145 h 6858000"/>
              <a:gd name="connsiteX969" fmla="*/ 811254 w 7467600"/>
              <a:gd name="connsiteY969" fmla="*/ 665546 h 6858000"/>
              <a:gd name="connsiteX970" fmla="*/ 154042 w 7467600"/>
              <a:gd name="connsiteY970" fmla="*/ 261522 h 6858000"/>
              <a:gd name="connsiteX971" fmla="*/ 13550 w 7467600"/>
              <a:gd name="connsiteY971" fmla="*/ 158423 h 6858000"/>
              <a:gd name="connsiteX972" fmla="*/ 0 w 7467600"/>
              <a:gd name="connsiteY972" fmla="*/ 146618 h 6858000"/>
              <a:gd name="connsiteX973" fmla="*/ 0 w 7467600"/>
              <a:gd name="connsiteY973" fmla="*/ 59161 h 6858000"/>
              <a:gd name="connsiteX974" fmla="*/ 45427 w 7467600"/>
              <a:gd name="connsiteY974" fmla="*/ 101078 h 6858000"/>
              <a:gd name="connsiteX975" fmla="*/ 630103 w 7467600"/>
              <a:gd name="connsiteY975" fmla="*/ 485885 h 6858000"/>
              <a:gd name="connsiteX976" fmla="*/ 532040 w 7467600"/>
              <a:gd name="connsiteY976" fmla="*/ 399359 h 6858000"/>
              <a:gd name="connsiteX977" fmla="*/ 517618 w 7467600"/>
              <a:gd name="connsiteY977" fmla="*/ 385726 h 6858000"/>
              <a:gd name="connsiteX978" fmla="*/ 285074 w 7467600"/>
              <a:gd name="connsiteY978" fmla="*/ 182755 h 6858000"/>
              <a:gd name="connsiteX979" fmla="*/ 43151 w 7467600"/>
              <a:gd name="connsiteY979"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6844835 w 7467600"/>
              <a:gd name="connsiteY74" fmla="*/ 5424988 h 6858000"/>
              <a:gd name="connsiteX75" fmla="*/ 6879594 w 7467600"/>
              <a:gd name="connsiteY75" fmla="*/ 5424547 h 6858000"/>
              <a:gd name="connsiteX76" fmla="*/ 7379510 w 7467600"/>
              <a:gd name="connsiteY76" fmla="*/ 5755454 h 6858000"/>
              <a:gd name="connsiteX77" fmla="*/ 7467600 w 7467600"/>
              <a:gd name="connsiteY77" fmla="*/ 5845526 h 6858000"/>
              <a:gd name="connsiteX78" fmla="*/ 7467600 w 7467600"/>
              <a:gd name="connsiteY78" fmla="*/ 5925131 h 6858000"/>
              <a:gd name="connsiteX79" fmla="*/ 7271900 w 7467600"/>
              <a:gd name="connsiteY79" fmla="*/ 5734551 h 6858000"/>
              <a:gd name="connsiteX80" fmla="*/ 7015907 w 7467600"/>
              <a:gd name="connsiteY80" fmla="*/ 5541548 h 6858000"/>
              <a:gd name="connsiteX81" fmla="*/ 7259646 w 7467600"/>
              <a:gd name="connsiteY81" fmla="*/ 5765985 h 6858000"/>
              <a:gd name="connsiteX82" fmla="*/ 7467600 w 7467600"/>
              <a:gd name="connsiteY82" fmla="*/ 5971257 h 6858000"/>
              <a:gd name="connsiteX83" fmla="*/ 7467600 w 7467600"/>
              <a:gd name="connsiteY83" fmla="*/ 6012219 h 6858000"/>
              <a:gd name="connsiteX84" fmla="*/ 7240170 w 7467600"/>
              <a:gd name="connsiteY84" fmla="*/ 5787985 h 6858000"/>
              <a:gd name="connsiteX85" fmla="*/ 6946849 w 7467600"/>
              <a:gd name="connsiteY85" fmla="*/ 5523271 h 6858000"/>
              <a:gd name="connsiteX86" fmla="*/ 6946972 w 7467600"/>
              <a:gd name="connsiteY86" fmla="*/ 5526491 h 6858000"/>
              <a:gd name="connsiteX87" fmla="*/ 7105827 w 7467600"/>
              <a:gd name="connsiteY87" fmla="*/ 5718700 h 6858000"/>
              <a:gd name="connsiteX88" fmla="*/ 7356878 w 7467600"/>
              <a:gd name="connsiteY88" fmla="*/ 5981332 h 6858000"/>
              <a:gd name="connsiteX89" fmla="*/ 7467600 w 7467600"/>
              <a:gd name="connsiteY89" fmla="*/ 6117703 h 6858000"/>
              <a:gd name="connsiteX90" fmla="*/ 7467600 w 7467600"/>
              <a:gd name="connsiteY90" fmla="*/ 6163634 h 6858000"/>
              <a:gd name="connsiteX91" fmla="*/ 7403637 w 7467600"/>
              <a:gd name="connsiteY91" fmla="*/ 6083957 h 6858000"/>
              <a:gd name="connsiteX92" fmla="*/ 7254615 w 7467600"/>
              <a:gd name="connsiteY92" fmla="*/ 5911918 h 6858000"/>
              <a:gd name="connsiteX93" fmla="*/ 7312589 w 7467600"/>
              <a:gd name="connsiteY93" fmla="*/ 5982309 h 6858000"/>
              <a:gd name="connsiteX94" fmla="*/ 7448321 w 7467600"/>
              <a:gd name="connsiteY94" fmla="*/ 6190991 h 6858000"/>
              <a:gd name="connsiteX95" fmla="*/ 7467600 w 7467600"/>
              <a:gd name="connsiteY95" fmla="*/ 6221686 h 6858000"/>
              <a:gd name="connsiteX96" fmla="*/ 7467600 w 7467600"/>
              <a:gd name="connsiteY96" fmla="*/ 6334256 h 6858000"/>
              <a:gd name="connsiteX97" fmla="*/ 7454976 w 7467600"/>
              <a:gd name="connsiteY97" fmla="*/ 6318297 h 6858000"/>
              <a:gd name="connsiteX98" fmla="*/ 7042773 w 7467600"/>
              <a:gd name="connsiteY98" fmla="*/ 5734011 h 6858000"/>
              <a:gd name="connsiteX99" fmla="*/ 6844835 w 7467600"/>
              <a:gd name="connsiteY99" fmla="*/ 5424988 h 6858000"/>
              <a:gd name="connsiteX100" fmla="*/ 1456157 w 7467600"/>
              <a:gd name="connsiteY100" fmla="*/ 5371404 h 6858000"/>
              <a:gd name="connsiteX101" fmla="*/ 1244432 w 7467600"/>
              <a:gd name="connsiteY101" fmla="*/ 5385601 h 6858000"/>
              <a:gd name="connsiteX102" fmla="*/ 973990 w 7467600"/>
              <a:gd name="connsiteY102" fmla="*/ 5424940 h 6858000"/>
              <a:gd name="connsiteX103" fmla="*/ 1103809 w 7467600"/>
              <a:gd name="connsiteY103" fmla="*/ 5433720 h 6858000"/>
              <a:gd name="connsiteX104" fmla="*/ 1123454 w 7467600"/>
              <a:gd name="connsiteY104" fmla="*/ 5435727 h 6858000"/>
              <a:gd name="connsiteX105" fmla="*/ 1737017 w 7467600"/>
              <a:gd name="connsiteY105" fmla="*/ 5452183 h 6858000"/>
              <a:gd name="connsiteX106" fmla="*/ 1824397 w 7467600"/>
              <a:gd name="connsiteY106" fmla="*/ 5447757 h 6858000"/>
              <a:gd name="connsiteX107" fmla="*/ 2070059 w 7467600"/>
              <a:gd name="connsiteY107" fmla="*/ 5441660 h 6858000"/>
              <a:gd name="connsiteX108" fmla="*/ 1456157 w 7467600"/>
              <a:gd name="connsiteY108" fmla="*/ 5371404 h 6858000"/>
              <a:gd name="connsiteX109" fmla="*/ 4988186 w 7467600"/>
              <a:gd name="connsiteY109" fmla="*/ 5216467 h 6858000"/>
              <a:gd name="connsiteX110" fmla="*/ 4777334 w 7467600"/>
              <a:gd name="connsiteY110" fmla="*/ 5406072 h 6858000"/>
              <a:gd name="connsiteX111" fmla="*/ 4718341 w 7467600"/>
              <a:gd name="connsiteY111" fmla="*/ 5468043 h 6858000"/>
              <a:gd name="connsiteX112" fmla="*/ 4604655 w 7467600"/>
              <a:gd name="connsiteY112" fmla="*/ 5583434 h 6858000"/>
              <a:gd name="connsiteX113" fmla="*/ 4565074 w 7467600"/>
              <a:gd name="connsiteY113" fmla="*/ 5618550 h 6858000"/>
              <a:gd name="connsiteX114" fmla="*/ 4988186 w 7467600"/>
              <a:gd name="connsiteY114" fmla="*/ 5216467 h 6858000"/>
              <a:gd name="connsiteX115" fmla="*/ 4978032 w 7467600"/>
              <a:gd name="connsiteY115" fmla="*/ 5183809 h 6858000"/>
              <a:gd name="connsiteX116" fmla="*/ 4463413 w 7467600"/>
              <a:gd name="connsiteY116" fmla="*/ 5615162 h 6858000"/>
              <a:gd name="connsiteX117" fmla="*/ 4358134 w 7467600"/>
              <a:gd name="connsiteY117" fmla="*/ 5742791 h 6858000"/>
              <a:gd name="connsiteX118" fmla="*/ 4376219 w 7467600"/>
              <a:gd name="connsiteY118" fmla="*/ 5729027 h 6858000"/>
              <a:gd name="connsiteX119" fmla="*/ 4582340 w 7467600"/>
              <a:gd name="connsiteY119" fmla="*/ 5561037 h 6858000"/>
              <a:gd name="connsiteX120" fmla="*/ 4694684 w 7467600"/>
              <a:gd name="connsiteY120" fmla="*/ 5447098 h 6858000"/>
              <a:gd name="connsiteX121" fmla="*/ 4754123 w 7467600"/>
              <a:gd name="connsiteY121" fmla="*/ 5384643 h 6858000"/>
              <a:gd name="connsiteX122" fmla="*/ 4978032 w 7467600"/>
              <a:gd name="connsiteY122" fmla="*/ 5183809 h 6858000"/>
              <a:gd name="connsiteX123" fmla="*/ 1903353 w 7467600"/>
              <a:gd name="connsiteY123" fmla="*/ 5044827 h 6858000"/>
              <a:gd name="connsiteX124" fmla="*/ 1936931 w 7467600"/>
              <a:gd name="connsiteY124" fmla="*/ 5093954 h 6858000"/>
              <a:gd name="connsiteX125" fmla="*/ 2195868 w 7467600"/>
              <a:gd name="connsiteY125" fmla="*/ 5396574 h 6858000"/>
              <a:gd name="connsiteX126" fmla="*/ 2088852 w 7467600"/>
              <a:gd name="connsiteY126" fmla="*/ 5166123 h 6858000"/>
              <a:gd name="connsiteX127" fmla="*/ 1958241 w 7467600"/>
              <a:gd name="connsiteY127" fmla="*/ 5067955 h 6858000"/>
              <a:gd name="connsiteX128" fmla="*/ 1903353 w 7467600"/>
              <a:gd name="connsiteY128" fmla="*/ 5044827 h 6858000"/>
              <a:gd name="connsiteX129" fmla="*/ 1979378 w 7467600"/>
              <a:gd name="connsiteY129" fmla="*/ 4769504 h 6858000"/>
              <a:gd name="connsiteX130" fmla="*/ 2882120 w 7467600"/>
              <a:gd name="connsiteY130" fmla="*/ 5064547 h 6858000"/>
              <a:gd name="connsiteX131" fmla="*/ 2793103 w 7467600"/>
              <a:gd name="connsiteY131" fmla="*/ 5039699 h 6858000"/>
              <a:gd name="connsiteX132" fmla="*/ 2770041 w 7467600"/>
              <a:gd name="connsiteY132" fmla="*/ 5033634 h 6858000"/>
              <a:gd name="connsiteX133" fmla="*/ 1979378 w 7467600"/>
              <a:gd name="connsiteY133" fmla="*/ 4769504 h 6858000"/>
              <a:gd name="connsiteX134" fmla="*/ 1927410 w 7467600"/>
              <a:gd name="connsiteY134" fmla="*/ 4716164 h 6858000"/>
              <a:gd name="connsiteX135" fmla="*/ 1959587 w 7467600"/>
              <a:gd name="connsiteY135" fmla="*/ 4728849 h 6858000"/>
              <a:gd name="connsiteX136" fmla="*/ 2777707 w 7467600"/>
              <a:gd name="connsiteY136" fmla="*/ 5003991 h 6858000"/>
              <a:gd name="connsiteX137" fmla="*/ 2800768 w 7467600"/>
              <a:gd name="connsiteY137" fmla="*/ 5010056 h 6858000"/>
              <a:gd name="connsiteX138" fmla="*/ 2879408 w 7467600"/>
              <a:gd name="connsiteY138" fmla="*/ 5031590 h 6858000"/>
              <a:gd name="connsiteX139" fmla="*/ 2862295 w 7467600"/>
              <a:gd name="connsiteY139" fmla="*/ 5022958 h 6858000"/>
              <a:gd name="connsiteX140" fmla="*/ 2813343 w 7467600"/>
              <a:gd name="connsiteY140" fmla="*/ 4998369 h 6858000"/>
              <a:gd name="connsiteX141" fmla="*/ 2646245 w 7467600"/>
              <a:gd name="connsiteY141" fmla="*/ 4930999 h 6858000"/>
              <a:gd name="connsiteX142" fmla="*/ 1999243 w 7467600"/>
              <a:gd name="connsiteY142" fmla="*/ 4730524 h 6858000"/>
              <a:gd name="connsiteX143" fmla="*/ 1979527 w 7467600"/>
              <a:gd name="connsiteY143" fmla="*/ 4726651 h 6858000"/>
              <a:gd name="connsiteX144" fmla="*/ 1927410 w 7467600"/>
              <a:gd name="connsiteY144" fmla="*/ 4716164 h 6858000"/>
              <a:gd name="connsiteX145" fmla="*/ 1997014 w 7467600"/>
              <a:gd name="connsiteY145" fmla="*/ 4698007 h 6858000"/>
              <a:gd name="connsiteX146" fmla="*/ 2005458 w 7467600"/>
              <a:gd name="connsiteY146" fmla="*/ 4699540 h 6858000"/>
              <a:gd name="connsiteX147" fmla="*/ 2657186 w 7467600"/>
              <a:gd name="connsiteY147" fmla="*/ 4901687 h 6858000"/>
              <a:gd name="connsiteX148" fmla="*/ 2826662 w 7467600"/>
              <a:gd name="connsiteY148" fmla="*/ 4970362 h 6858000"/>
              <a:gd name="connsiteX149" fmla="*/ 2876100 w 7467600"/>
              <a:gd name="connsiteY149" fmla="*/ 4995397 h 6858000"/>
              <a:gd name="connsiteX150" fmla="*/ 3042600 w 7467600"/>
              <a:gd name="connsiteY150" fmla="*/ 5059532 h 6858000"/>
              <a:gd name="connsiteX151" fmla="*/ 1997014 w 7467600"/>
              <a:gd name="connsiteY151" fmla="*/ 4698007 h 6858000"/>
              <a:gd name="connsiteX152" fmla="*/ 2305292 w 7467600"/>
              <a:gd name="connsiteY152" fmla="*/ 4219492 h 6858000"/>
              <a:gd name="connsiteX153" fmla="*/ 3360922 w 7467600"/>
              <a:gd name="connsiteY153" fmla="*/ 4529373 h 6858000"/>
              <a:gd name="connsiteX154" fmla="*/ 3492420 w 7467600"/>
              <a:gd name="connsiteY154" fmla="*/ 4510145 h 6858000"/>
              <a:gd name="connsiteX155" fmla="*/ 3364086 w 7467600"/>
              <a:gd name="connsiteY155" fmla="*/ 4480340 h 6858000"/>
              <a:gd name="connsiteX156" fmla="*/ 3225818 w 7467600"/>
              <a:gd name="connsiteY156" fmla="*/ 4411822 h 6858000"/>
              <a:gd name="connsiteX157" fmla="*/ 3129696 w 7467600"/>
              <a:gd name="connsiteY157" fmla="*/ 4360704 h 6858000"/>
              <a:gd name="connsiteX158" fmla="*/ 2814545 w 7467600"/>
              <a:gd name="connsiteY158" fmla="*/ 4282955 h 6858000"/>
              <a:gd name="connsiteX159" fmla="*/ 2305292 w 7467600"/>
              <a:gd name="connsiteY159" fmla="*/ 4219492 h 6858000"/>
              <a:gd name="connsiteX160" fmla="*/ 2626982 w 7467600"/>
              <a:gd name="connsiteY160" fmla="*/ 4206450 h 6858000"/>
              <a:gd name="connsiteX161" fmla="*/ 2490617 w 7467600"/>
              <a:gd name="connsiteY161" fmla="*/ 4206951 h 6858000"/>
              <a:gd name="connsiteX162" fmla="*/ 2819869 w 7467600"/>
              <a:gd name="connsiteY162" fmla="*/ 4252936 h 6858000"/>
              <a:gd name="connsiteX163" fmla="*/ 3143018 w 7467600"/>
              <a:gd name="connsiteY163" fmla="*/ 4332698 h 6858000"/>
              <a:gd name="connsiteX164" fmla="*/ 3241520 w 7467600"/>
              <a:gd name="connsiteY164" fmla="*/ 4385112 h 6858000"/>
              <a:gd name="connsiteX165" fmla="*/ 3374575 w 7467600"/>
              <a:gd name="connsiteY165" fmla="*/ 4451517 h 6858000"/>
              <a:gd name="connsiteX166" fmla="*/ 3505221 w 7467600"/>
              <a:gd name="connsiteY166" fmla="*/ 4480757 h 6858000"/>
              <a:gd name="connsiteX167" fmla="*/ 2626982 w 7467600"/>
              <a:gd name="connsiteY167" fmla="*/ 4206450 h 6858000"/>
              <a:gd name="connsiteX168" fmla="*/ 1310106 w 7467600"/>
              <a:gd name="connsiteY168" fmla="*/ 3943217 h 6858000"/>
              <a:gd name="connsiteX169" fmla="*/ 854994 w 7467600"/>
              <a:gd name="connsiteY169" fmla="*/ 4399136 h 6858000"/>
              <a:gd name="connsiteX170" fmla="*/ 742462 w 7467600"/>
              <a:gd name="connsiteY170" fmla="*/ 4594648 h 6858000"/>
              <a:gd name="connsiteX171" fmla="*/ 820602 w 7467600"/>
              <a:gd name="connsiteY171" fmla="*/ 4485915 h 6858000"/>
              <a:gd name="connsiteX172" fmla="*/ 878295 w 7467600"/>
              <a:gd name="connsiteY172" fmla="*/ 4403594 h 6858000"/>
              <a:gd name="connsiteX173" fmla="*/ 1240607 w 7467600"/>
              <a:gd name="connsiteY173" fmla="*/ 4010401 h 6858000"/>
              <a:gd name="connsiteX174" fmla="*/ 1310106 w 7467600"/>
              <a:gd name="connsiteY174" fmla="*/ 3943217 h 6858000"/>
              <a:gd name="connsiteX175" fmla="*/ 1423113 w 7467600"/>
              <a:gd name="connsiteY175" fmla="*/ 3874565 h 6858000"/>
              <a:gd name="connsiteX176" fmla="*/ 1260565 w 7467600"/>
              <a:gd name="connsiteY176" fmla="*/ 4031982 h 6858000"/>
              <a:gd name="connsiteX177" fmla="*/ 901900 w 7467600"/>
              <a:gd name="connsiteY177" fmla="*/ 4421236 h 6858000"/>
              <a:gd name="connsiteX178" fmla="*/ 845044 w 7467600"/>
              <a:gd name="connsiteY178" fmla="*/ 4502436 h 6858000"/>
              <a:gd name="connsiteX179" fmla="*/ 685926 w 7467600"/>
              <a:gd name="connsiteY179" fmla="*/ 4703069 h 6858000"/>
              <a:gd name="connsiteX180" fmla="*/ 684248 w 7467600"/>
              <a:gd name="connsiteY180" fmla="*/ 4706721 h 6858000"/>
              <a:gd name="connsiteX181" fmla="*/ 1423113 w 7467600"/>
              <a:gd name="connsiteY181" fmla="*/ 3874565 h 6858000"/>
              <a:gd name="connsiteX182" fmla="*/ 3316479 w 7467600"/>
              <a:gd name="connsiteY182" fmla="*/ 3872136 h 6858000"/>
              <a:gd name="connsiteX183" fmla="*/ 3546806 w 7467600"/>
              <a:gd name="connsiteY183" fmla="*/ 4356139 h 6858000"/>
              <a:gd name="connsiteX184" fmla="*/ 3364433 w 7467600"/>
              <a:gd name="connsiteY184" fmla="*/ 3953121 h 6858000"/>
              <a:gd name="connsiteX185" fmla="*/ 3316479 w 7467600"/>
              <a:gd name="connsiteY185" fmla="*/ 3872136 h 6858000"/>
              <a:gd name="connsiteX186" fmla="*/ 3291335 w 7467600"/>
              <a:gd name="connsiteY186" fmla="*/ 3767420 h 6858000"/>
              <a:gd name="connsiteX187" fmla="*/ 3390805 w 7467600"/>
              <a:gd name="connsiteY187" fmla="*/ 3937163 h 6858000"/>
              <a:gd name="connsiteX188" fmla="*/ 3579062 w 7467600"/>
              <a:gd name="connsiteY188" fmla="*/ 4359040 h 6858000"/>
              <a:gd name="connsiteX189" fmla="*/ 3467355 w 7467600"/>
              <a:gd name="connsiteY189" fmla="*/ 3988130 h 6858000"/>
              <a:gd name="connsiteX190" fmla="*/ 3310753 w 7467600"/>
              <a:gd name="connsiteY190" fmla="*/ 3787140 h 6858000"/>
              <a:gd name="connsiteX191" fmla="*/ 3291335 w 7467600"/>
              <a:gd name="connsiteY191" fmla="*/ 3767420 h 6858000"/>
              <a:gd name="connsiteX192" fmla="*/ 1635889 w 7467600"/>
              <a:gd name="connsiteY192" fmla="*/ 3709494 h 6858000"/>
              <a:gd name="connsiteX193" fmla="*/ 1634800 w 7467600"/>
              <a:gd name="connsiteY193" fmla="*/ 3731111 h 6858000"/>
              <a:gd name="connsiteX194" fmla="*/ 1635889 w 7467600"/>
              <a:gd name="connsiteY194" fmla="*/ 3709494 h 6858000"/>
              <a:gd name="connsiteX195" fmla="*/ 1510397 w 7467600"/>
              <a:gd name="connsiteY195" fmla="*/ 3684705 h 6858000"/>
              <a:gd name="connsiteX196" fmla="*/ 1146550 w 7467600"/>
              <a:gd name="connsiteY196" fmla="*/ 3802012 h 6858000"/>
              <a:gd name="connsiteX197" fmla="*/ 698834 w 7467600"/>
              <a:gd name="connsiteY197" fmla="*/ 3952272 h 6858000"/>
              <a:gd name="connsiteX198" fmla="*/ 34256 w 7467600"/>
              <a:gd name="connsiteY198" fmla="*/ 4347603 h 6858000"/>
              <a:gd name="connsiteX199" fmla="*/ 527241 w 7467600"/>
              <a:gd name="connsiteY199" fmla="*/ 4065078 h 6858000"/>
              <a:gd name="connsiteX200" fmla="*/ 1510397 w 7467600"/>
              <a:gd name="connsiteY200" fmla="*/ 3684705 h 6858000"/>
              <a:gd name="connsiteX201" fmla="*/ 1313114 w 7467600"/>
              <a:gd name="connsiteY201" fmla="*/ 3655216 h 6858000"/>
              <a:gd name="connsiteX202" fmla="*/ 1109304 w 7467600"/>
              <a:gd name="connsiteY202" fmla="*/ 3669030 h 6858000"/>
              <a:gd name="connsiteX203" fmla="*/ 8129 w 7467600"/>
              <a:gd name="connsiteY203" fmla="*/ 4330519 h 6858000"/>
              <a:gd name="connsiteX204" fmla="*/ 687572 w 7467600"/>
              <a:gd name="connsiteY204" fmla="*/ 3925629 h 6858000"/>
              <a:gd name="connsiteX205" fmla="*/ 1138365 w 7467600"/>
              <a:gd name="connsiteY205" fmla="*/ 3774515 h 6858000"/>
              <a:gd name="connsiteX206" fmla="*/ 1505579 w 7467600"/>
              <a:gd name="connsiteY206" fmla="*/ 3655526 h 6858000"/>
              <a:gd name="connsiteX207" fmla="*/ 1313114 w 7467600"/>
              <a:gd name="connsiteY207" fmla="*/ 3655216 h 6858000"/>
              <a:gd name="connsiteX208" fmla="*/ 3655073 w 7467600"/>
              <a:gd name="connsiteY208" fmla="*/ 3650884 h 6858000"/>
              <a:gd name="connsiteX209" fmla="*/ 3989938 w 7467600"/>
              <a:gd name="connsiteY209" fmla="*/ 3991685 h 6858000"/>
              <a:gd name="connsiteX210" fmla="*/ 4393907 w 7467600"/>
              <a:gd name="connsiteY210" fmla="*/ 4261258 h 6858000"/>
              <a:gd name="connsiteX211" fmla="*/ 4648051 w 7467600"/>
              <a:gd name="connsiteY211" fmla="*/ 4374051 h 6858000"/>
              <a:gd name="connsiteX212" fmla="*/ 4383389 w 7467600"/>
              <a:gd name="connsiteY212" fmla="*/ 4184369 h 6858000"/>
              <a:gd name="connsiteX213" fmla="*/ 4165508 w 7467600"/>
              <a:gd name="connsiteY213" fmla="*/ 4035196 h 6858000"/>
              <a:gd name="connsiteX214" fmla="*/ 4068162 w 7467600"/>
              <a:gd name="connsiteY214" fmla="*/ 3953394 h 6858000"/>
              <a:gd name="connsiteX215" fmla="*/ 3981416 w 7467600"/>
              <a:gd name="connsiteY215" fmla="*/ 3880482 h 6858000"/>
              <a:gd name="connsiteX216" fmla="*/ 3800147 w 7467600"/>
              <a:gd name="connsiteY216" fmla="*/ 3749872 h 6858000"/>
              <a:gd name="connsiteX217" fmla="*/ 3655073 w 7467600"/>
              <a:gd name="connsiteY217" fmla="*/ 3650884 h 6858000"/>
              <a:gd name="connsiteX218" fmla="*/ 3670252 w 7467600"/>
              <a:gd name="connsiteY218" fmla="*/ 3622798 h 6858000"/>
              <a:gd name="connsiteX219" fmla="*/ 3817258 w 7467600"/>
              <a:gd name="connsiteY219" fmla="*/ 3723577 h 6858000"/>
              <a:gd name="connsiteX220" fmla="*/ 4000461 w 7467600"/>
              <a:gd name="connsiteY220" fmla="*/ 3855966 h 6858000"/>
              <a:gd name="connsiteX221" fmla="*/ 4088180 w 7467600"/>
              <a:gd name="connsiteY221" fmla="*/ 3929774 h 6858000"/>
              <a:gd name="connsiteX222" fmla="*/ 4184555 w 7467600"/>
              <a:gd name="connsiteY222" fmla="*/ 4010683 h 6858000"/>
              <a:gd name="connsiteX223" fmla="*/ 4399563 w 7467600"/>
              <a:gd name="connsiteY223" fmla="*/ 4158106 h 6858000"/>
              <a:gd name="connsiteX224" fmla="*/ 4684469 w 7467600"/>
              <a:gd name="connsiteY224" fmla="*/ 4364680 h 6858000"/>
              <a:gd name="connsiteX225" fmla="*/ 4690271 w 7467600"/>
              <a:gd name="connsiteY225" fmla="*/ 4370034 h 6858000"/>
              <a:gd name="connsiteX226" fmla="*/ 4136093 w 7467600"/>
              <a:gd name="connsiteY226" fmla="*/ 3858466 h 6858000"/>
              <a:gd name="connsiteX227" fmla="*/ 3670252 w 7467600"/>
              <a:gd name="connsiteY227" fmla="*/ 3622798 h 6858000"/>
              <a:gd name="connsiteX228" fmla="*/ 4440129 w 7467600"/>
              <a:gd name="connsiteY228" fmla="*/ 3448571 h 6858000"/>
              <a:gd name="connsiteX229" fmla="*/ 4856525 w 7467600"/>
              <a:gd name="connsiteY229" fmla="*/ 3915351 h 6858000"/>
              <a:gd name="connsiteX230" fmla="*/ 5059055 w 7467600"/>
              <a:gd name="connsiteY230" fmla="*/ 4108918 h 6858000"/>
              <a:gd name="connsiteX231" fmla="*/ 5290070 w 7467600"/>
              <a:gd name="connsiteY231" fmla="*/ 4263619 h 6858000"/>
              <a:gd name="connsiteX232" fmla="*/ 4834991 w 7467600"/>
              <a:gd name="connsiteY232" fmla="*/ 3830985 h 6858000"/>
              <a:gd name="connsiteX233" fmla="*/ 4440129 w 7467600"/>
              <a:gd name="connsiteY233" fmla="*/ 3448571 h 6858000"/>
              <a:gd name="connsiteX234" fmla="*/ 4441737 w 7467600"/>
              <a:gd name="connsiteY234" fmla="*/ 3399734 h 6858000"/>
              <a:gd name="connsiteX235" fmla="*/ 4431236 w 7467600"/>
              <a:gd name="connsiteY235" fmla="*/ 3400954 h 6858000"/>
              <a:gd name="connsiteX236" fmla="*/ 4557150 w 7467600"/>
              <a:gd name="connsiteY236" fmla="*/ 3510023 h 6858000"/>
              <a:gd name="connsiteX237" fmla="*/ 4856936 w 7467600"/>
              <a:gd name="connsiteY237" fmla="*/ 3809146 h 6858000"/>
              <a:gd name="connsiteX238" fmla="*/ 5111996 w 7467600"/>
              <a:gd name="connsiteY238" fmla="*/ 4065759 h 6858000"/>
              <a:gd name="connsiteX239" fmla="*/ 5388878 w 7467600"/>
              <a:gd name="connsiteY239" fmla="*/ 4300185 h 6858000"/>
              <a:gd name="connsiteX240" fmla="*/ 5425556 w 7467600"/>
              <a:gd name="connsiteY240" fmla="*/ 4308967 h 6858000"/>
              <a:gd name="connsiteX241" fmla="*/ 4943646 w 7467600"/>
              <a:gd name="connsiteY241" fmla="*/ 3822916 h 6858000"/>
              <a:gd name="connsiteX242" fmla="*/ 4594837 w 7467600"/>
              <a:gd name="connsiteY242" fmla="*/ 3532274 h 6858000"/>
              <a:gd name="connsiteX243" fmla="*/ 4441737 w 7467600"/>
              <a:gd name="connsiteY243" fmla="*/ 3399734 h 6858000"/>
              <a:gd name="connsiteX244" fmla="*/ 5425834 w 7467600"/>
              <a:gd name="connsiteY244" fmla="*/ 3162785 h 6858000"/>
              <a:gd name="connsiteX245" fmla="*/ 5401644 w 7467600"/>
              <a:gd name="connsiteY245" fmla="*/ 3617847 h 6858000"/>
              <a:gd name="connsiteX246" fmla="*/ 5467256 w 7467600"/>
              <a:gd name="connsiteY246" fmla="*/ 4175494 h 6858000"/>
              <a:gd name="connsiteX247" fmla="*/ 5448069 w 7467600"/>
              <a:gd name="connsiteY247" fmla="*/ 3567554 h 6858000"/>
              <a:gd name="connsiteX248" fmla="*/ 5425834 w 7467600"/>
              <a:gd name="connsiteY248" fmla="*/ 3162785 h 6858000"/>
              <a:gd name="connsiteX249" fmla="*/ 1318687 w 7467600"/>
              <a:gd name="connsiteY249" fmla="*/ 3113840 h 6858000"/>
              <a:gd name="connsiteX250" fmla="*/ 1066793 w 7467600"/>
              <a:gd name="connsiteY250" fmla="*/ 3212171 h 6858000"/>
              <a:gd name="connsiteX251" fmla="*/ 993319 w 7467600"/>
              <a:gd name="connsiteY251" fmla="*/ 3247648 h 6858000"/>
              <a:gd name="connsiteX252" fmla="*/ 853081 w 7467600"/>
              <a:gd name="connsiteY252" fmla="*/ 3312410 h 6858000"/>
              <a:gd name="connsiteX253" fmla="*/ 805957 w 7467600"/>
              <a:gd name="connsiteY253" fmla="*/ 3330443 h 6858000"/>
              <a:gd name="connsiteX254" fmla="*/ 1318687 w 7467600"/>
              <a:gd name="connsiteY254" fmla="*/ 3113840 h 6858000"/>
              <a:gd name="connsiteX255" fmla="*/ 5453702 w 7467600"/>
              <a:gd name="connsiteY255" fmla="*/ 3090882 h 6858000"/>
              <a:gd name="connsiteX256" fmla="*/ 5480135 w 7467600"/>
              <a:gd name="connsiteY256" fmla="*/ 3565802 h 6858000"/>
              <a:gd name="connsiteX257" fmla="*/ 5499023 w 7467600"/>
              <a:gd name="connsiteY257" fmla="*/ 4166310 h 6858000"/>
              <a:gd name="connsiteX258" fmla="*/ 5547022 w 7467600"/>
              <a:gd name="connsiteY258" fmla="*/ 3607838 h 6858000"/>
              <a:gd name="connsiteX259" fmla="*/ 5515964 w 7467600"/>
              <a:gd name="connsiteY259" fmla="*/ 3378541 h 6858000"/>
              <a:gd name="connsiteX260" fmla="*/ 5453702 w 7467600"/>
              <a:gd name="connsiteY260" fmla="*/ 3090882 h 6858000"/>
              <a:gd name="connsiteX261" fmla="*/ 1238695 w 7467600"/>
              <a:gd name="connsiteY261" fmla="*/ 3076820 h 6858000"/>
              <a:gd name="connsiteX262" fmla="*/ 716371 w 7467600"/>
              <a:gd name="connsiteY262" fmla="*/ 3293249 h 6858000"/>
              <a:gd name="connsiteX263" fmla="*/ 579522 w 7467600"/>
              <a:gd name="connsiteY263" fmla="*/ 3371759 h 6858000"/>
              <a:gd name="connsiteX264" fmla="*/ 600288 w 7467600"/>
              <a:gd name="connsiteY264" fmla="*/ 3365555 h 6858000"/>
              <a:gd name="connsiteX265" fmla="*/ 840692 w 7467600"/>
              <a:gd name="connsiteY265" fmla="*/ 3284921 h 6858000"/>
              <a:gd name="connsiteX266" fmla="*/ 979248 w 7467600"/>
              <a:gd name="connsiteY266" fmla="*/ 3221003 h 6858000"/>
              <a:gd name="connsiteX267" fmla="*/ 1053282 w 7467600"/>
              <a:gd name="connsiteY267" fmla="*/ 3185247 h 6858000"/>
              <a:gd name="connsiteX268" fmla="*/ 1320603 w 7467600"/>
              <a:gd name="connsiteY268" fmla="*/ 3081281 h 6858000"/>
              <a:gd name="connsiteX269" fmla="*/ 1238695 w 7467600"/>
              <a:gd name="connsiteY269" fmla="*/ 3076820 h 6858000"/>
              <a:gd name="connsiteX270" fmla="*/ 5425627 w 7467600"/>
              <a:gd name="connsiteY270" fmla="*/ 2954192 h 6858000"/>
              <a:gd name="connsiteX271" fmla="*/ 5470770 w 7467600"/>
              <a:gd name="connsiteY271" fmla="*/ 3005435 h 6858000"/>
              <a:gd name="connsiteX272" fmla="*/ 5519779 w 7467600"/>
              <a:gd name="connsiteY272" fmla="*/ 4359223 h 6858000"/>
              <a:gd name="connsiteX273" fmla="*/ 5520293 w 7467600"/>
              <a:gd name="connsiteY273" fmla="*/ 4360602 h 6858000"/>
              <a:gd name="connsiteX274" fmla="*/ 5767221 w 7467600"/>
              <a:gd name="connsiteY274" fmla="*/ 4665564 h 6858000"/>
              <a:gd name="connsiteX275" fmla="*/ 6937169 w 7467600"/>
              <a:gd name="connsiteY275" fmla="*/ 4815941 h 6858000"/>
              <a:gd name="connsiteX276" fmla="*/ 6953922 w 7467600"/>
              <a:gd name="connsiteY276" fmla="*/ 4890068 h 6858000"/>
              <a:gd name="connsiteX277" fmla="*/ 6071359 w 7467600"/>
              <a:gd name="connsiteY277" fmla="*/ 4770770 h 6858000"/>
              <a:gd name="connsiteX278" fmla="*/ 6038839 w 7467600"/>
              <a:gd name="connsiteY278" fmla="*/ 4764474 h 6858000"/>
              <a:gd name="connsiteX279" fmla="*/ 6038706 w 7467600"/>
              <a:gd name="connsiteY279" fmla="*/ 4763847 h 6858000"/>
              <a:gd name="connsiteX280" fmla="*/ 6037784 w 7467600"/>
              <a:gd name="connsiteY280" fmla="*/ 4764270 h 6858000"/>
              <a:gd name="connsiteX281" fmla="*/ 6038839 w 7467600"/>
              <a:gd name="connsiteY281" fmla="*/ 4764474 h 6858000"/>
              <a:gd name="connsiteX282" fmla="*/ 6040338 w 7467600"/>
              <a:gd name="connsiteY282" fmla="*/ 4771418 h 6858000"/>
              <a:gd name="connsiteX283" fmla="*/ 6024488 w 7467600"/>
              <a:gd name="connsiteY283" fmla="*/ 4809903 h 6858000"/>
              <a:gd name="connsiteX284" fmla="*/ 5599771 w 7467600"/>
              <a:gd name="connsiteY284" fmla="*/ 5509652 h 6858000"/>
              <a:gd name="connsiteX285" fmla="*/ 5548843 w 7467600"/>
              <a:gd name="connsiteY285" fmla="*/ 5563845 h 6858000"/>
              <a:gd name="connsiteX286" fmla="*/ 5940952 w 7467600"/>
              <a:gd name="connsiteY286" fmla="*/ 6250028 h 6858000"/>
              <a:gd name="connsiteX287" fmla="*/ 6043441 w 7467600"/>
              <a:gd name="connsiteY287" fmla="*/ 6665847 h 6858000"/>
              <a:gd name="connsiteX288" fmla="*/ 6093432 w 7467600"/>
              <a:gd name="connsiteY288" fmla="*/ 6858000 h 6858000"/>
              <a:gd name="connsiteX289" fmla="*/ 6034344 w 7467600"/>
              <a:gd name="connsiteY289" fmla="*/ 6858000 h 6858000"/>
              <a:gd name="connsiteX290" fmla="*/ 6026679 w 7467600"/>
              <a:gd name="connsiteY290" fmla="*/ 6836959 h 6858000"/>
              <a:gd name="connsiteX291" fmla="*/ 5800441 w 7467600"/>
              <a:gd name="connsiteY291" fmla="*/ 6335286 h 6858000"/>
              <a:gd name="connsiteX292" fmla="*/ 5526562 w 7467600"/>
              <a:gd name="connsiteY292" fmla="*/ 5705388 h 6858000"/>
              <a:gd name="connsiteX293" fmla="*/ 5519640 w 7467600"/>
              <a:gd name="connsiteY293" fmla="*/ 5683774 h 6858000"/>
              <a:gd name="connsiteX294" fmla="*/ 5844559 w 7467600"/>
              <a:gd name="connsiteY294" fmla="*/ 6553349 h 6858000"/>
              <a:gd name="connsiteX295" fmla="*/ 5975994 w 7467600"/>
              <a:gd name="connsiteY295" fmla="*/ 6858000 h 6858000"/>
              <a:gd name="connsiteX296" fmla="*/ 5898547 w 7467600"/>
              <a:gd name="connsiteY296" fmla="*/ 6858000 h 6858000"/>
              <a:gd name="connsiteX297" fmla="*/ 5682041 w 7467600"/>
              <a:gd name="connsiteY297" fmla="*/ 6355860 h 6858000"/>
              <a:gd name="connsiteX298" fmla="*/ 5461758 w 7467600"/>
              <a:gd name="connsiteY298" fmla="*/ 5820220 h 6858000"/>
              <a:gd name="connsiteX299" fmla="*/ 5237282 w 7467600"/>
              <a:gd name="connsiteY299" fmla="*/ 6579086 h 6858000"/>
              <a:gd name="connsiteX300" fmla="*/ 5115009 w 7467600"/>
              <a:gd name="connsiteY300" fmla="*/ 6858000 h 6858000"/>
              <a:gd name="connsiteX301" fmla="*/ 5028074 w 7467600"/>
              <a:gd name="connsiteY301" fmla="*/ 6858000 h 6858000"/>
              <a:gd name="connsiteX302" fmla="*/ 5079508 w 7467600"/>
              <a:gd name="connsiteY302" fmla="*/ 6749074 h 6858000"/>
              <a:gd name="connsiteX303" fmla="*/ 5371846 w 7467600"/>
              <a:gd name="connsiteY303" fmla="*/ 5924413 h 6858000"/>
              <a:gd name="connsiteX304" fmla="*/ 5270512 w 7467600"/>
              <a:gd name="connsiteY304" fmla="*/ 6138975 h 6858000"/>
              <a:gd name="connsiteX305" fmla="*/ 5062409 w 7467600"/>
              <a:gd name="connsiteY305" fmla="*/ 6653544 h 6858000"/>
              <a:gd name="connsiteX306" fmla="*/ 5036628 w 7467600"/>
              <a:gd name="connsiteY306" fmla="*/ 6754247 h 6858000"/>
              <a:gd name="connsiteX307" fmla="*/ 5009112 w 7467600"/>
              <a:gd name="connsiteY307" fmla="*/ 6858000 h 6858000"/>
              <a:gd name="connsiteX308" fmla="*/ 4976679 w 7467600"/>
              <a:gd name="connsiteY308" fmla="*/ 6858000 h 6858000"/>
              <a:gd name="connsiteX309" fmla="*/ 5006537 w 7467600"/>
              <a:gd name="connsiteY309" fmla="*/ 6747068 h 6858000"/>
              <a:gd name="connsiteX310" fmla="*/ 5032723 w 7467600"/>
              <a:gd name="connsiteY310" fmla="*/ 6644957 h 6858000"/>
              <a:gd name="connsiteX311" fmla="*/ 5242949 w 7467600"/>
              <a:gd name="connsiteY311" fmla="*/ 6125175 h 6858000"/>
              <a:gd name="connsiteX312" fmla="*/ 5286321 w 7467600"/>
              <a:gd name="connsiteY312" fmla="*/ 6033555 h 6858000"/>
              <a:gd name="connsiteX313" fmla="*/ 5008210 w 7467600"/>
              <a:gd name="connsiteY313" fmla="*/ 6649194 h 6858000"/>
              <a:gd name="connsiteX314" fmla="*/ 4986321 w 7467600"/>
              <a:gd name="connsiteY314" fmla="*/ 6765687 h 6858000"/>
              <a:gd name="connsiteX315" fmla="*/ 4973474 w 7467600"/>
              <a:gd name="connsiteY315" fmla="*/ 6858000 h 6858000"/>
              <a:gd name="connsiteX316" fmla="*/ 4907178 w 7467600"/>
              <a:gd name="connsiteY316" fmla="*/ 6858000 h 6858000"/>
              <a:gd name="connsiteX317" fmla="*/ 4910810 w 7467600"/>
              <a:gd name="connsiteY317" fmla="*/ 6829660 h 6858000"/>
              <a:gd name="connsiteX318" fmla="*/ 4987461 w 7467600"/>
              <a:gd name="connsiteY318" fmla="*/ 6432994 h 6858000"/>
              <a:gd name="connsiteX319" fmla="*/ 5179262 w 7467600"/>
              <a:gd name="connsiteY319" fmla="*/ 6035044 h 6858000"/>
              <a:gd name="connsiteX320" fmla="*/ 4689678 w 7467600"/>
              <a:gd name="connsiteY320" fmla="*/ 6440241 h 6858000"/>
              <a:gd name="connsiteX321" fmla="*/ 4477543 w 7467600"/>
              <a:gd name="connsiteY321" fmla="*/ 6674836 h 6858000"/>
              <a:gd name="connsiteX322" fmla="*/ 4329957 w 7467600"/>
              <a:gd name="connsiteY322" fmla="*/ 6858000 h 6858000"/>
              <a:gd name="connsiteX323" fmla="*/ 4218595 w 7467600"/>
              <a:gd name="connsiteY323" fmla="*/ 6858000 h 6858000"/>
              <a:gd name="connsiteX324" fmla="*/ 4368888 w 7467600"/>
              <a:gd name="connsiteY324" fmla="*/ 6668412 h 6858000"/>
              <a:gd name="connsiteX325" fmla="*/ 4563091 w 7467600"/>
              <a:gd name="connsiteY325" fmla="*/ 6442508 h 6858000"/>
              <a:gd name="connsiteX326" fmla="*/ 5387324 w 7467600"/>
              <a:gd name="connsiteY326" fmla="*/ 5705830 h 6858000"/>
              <a:gd name="connsiteX327" fmla="*/ 5073620 w 7467600"/>
              <a:gd name="connsiteY327" fmla="*/ 5955437 h 6858000"/>
              <a:gd name="connsiteX328" fmla="*/ 4689789 w 7467600"/>
              <a:gd name="connsiteY328" fmla="*/ 6268382 h 6858000"/>
              <a:gd name="connsiteX329" fmla="*/ 4418722 w 7467600"/>
              <a:gd name="connsiteY329" fmla="*/ 6570886 h 6858000"/>
              <a:gd name="connsiteX330" fmla="*/ 4214944 w 7467600"/>
              <a:gd name="connsiteY330" fmla="*/ 6858000 h 6858000"/>
              <a:gd name="connsiteX331" fmla="*/ 4177898 w 7467600"/>
              <a:gd name="connsiteY331" fmla="*/ 6858000 h 6858000"/>
              <a:gd name="connsiteX332" fmla="*/ 4391597 w 7467600"/>
              <a:gd name="connsiteY332" fmla="*/ 6556370 h 6858000"/>
              <a:gd name="connsiteX333" fmla="*/ 4668889 w 7467600"/>
              <a:gd name="connsiteY333" fmla="*/ 6246399 h 6858000"/>
              <a:gd name="connsiteX334" fmla="*/ 5055427 w 7467600"/>
              <a:gd name="connsiteY334" fmla="*/ 5931476 h 6858000"/>
              <a:gd name="connsiteX335" fmla="*/ 5371814 w 7467600"/>
              <a:gd name="connsiteY335" fmla="*/ 5678975 h 6858000"/>
              <a:gd name="connsiteX336" fmla="*/ 4987918 w 7467600"/>
              <a:gd name="connsiteY336" fmla="*/ 5838701 h 6858000"/>
              <a:gd name="connsiteX337" fmla="*/ 4317146 w 7467600"/>
              <a:gd name="connsiteY337" fmla="*/ 6587716 h 6858000"/>
              <a:gd name="connsiteX338" fmla="*/ 4171627 w 7467600"/>
              <a:gd name="connsiteY338" fmla="*/ 6858000 h 6858000"/>
              <a:gd name="connsiteX339" fmla="*/ 4081585 w 7467600"/>
              <a:gd name="connsiteY339" fmla="*/ 6858000 h 6858000"/>
              <a:gd name="connsiteX340" fmla="*/ 4238603 w 7467600"/>
              <a:gd name="connsiteY340" fmla="*/ 6559341 h 6858000"/>
              <a:gd name="connsiteX341" fmla="*/ 4778333 w 7467600"/>
              <a:gd name="connsiteY341" fmla="*/ 5873626 h 6858000"/>
              <a:gd name="connsiteX342" fmla="*/ 5414185 w 7467600"/>
              <a:gd name="connsiteY342" fmla="*/ 5573882 h 6858000"/>
              <a:gd name="connsiteX343" fmla="*/ 5959648 w 7467600"/>
              <a:gd name="connsiteY343" fmla="*/ 4760797 h 6858000"/>
              <a:gd name="connsiteX344" fmla="*/ 5355019 w 7467600"/>
              <a:gd name="connsiteY344" fmla="*/ 4734672 h 6858000"/>
              <a:gd name="connsiteX345" fmla="*/ 5083565 w 7467600"/>
              <a:gd name="connsiteY345" fmla="*/ 5179121 h 6858000"/>
              <a:gd name="connsiteX346" fmla="*/ 4713577 w 7467600"/>
              <a:gd name="connsiteY346" fmla="*/ 5616803 h 6858000"/>
              <a:gd name="connsiteX347" fmla="*/ 3989559 w 7467600"/>
              <a:gd name="connsiteY347" fmla="*/ 6145945 h 6858000"/>
              <a:gd name="connsiteX348" fmla="*/ 3939824 w 7467600"/>
              <a:gd name="connsiteY348" fmla="*/ 6066900 h 6858000"/>
              <a:gd name="connsiteX349" fmla="*/ 4584537 w 7467600"/>
              <a:gd name="connsiteY349" fmla="*/ 5324826 h 6858000"/>
              <a:gd name="connsiteX350" fmla="*/ 5037105 w 7467600"/>
              <a:gd name="connsiteY350" fmla="*/ 5088765 h 6858000"/>
              <a:gd name="connsiteX351" fmla="*/ 5039930 w 7467600"/>
              <a:gd name="connsiteY351" fmla="*/ 5089585 h 6858000"/>
              <a:gd name="connsiteX352" fmla="*/ 5263764 w 7467600"/>
              <a:gd name="connsiteY352" fmla="*/ 4735525 h 6858000"/>
              <a:gd name="connsiteX353" fmla="*/ 4086300 w 7467600"/>
              <a:gd name="connsiteY353" fmla="*/ 4884599 h 6858000"/>
              <a:gd name="connsiteX354" fmla="*/ 4085485 w 7467600"/>
              <a:gd name="connsiteY354" fmla="*/ 4899070 h 6858000"/>
              <a:gd name="connsiteX355" fmla="*/ 3871915 w 7467600"/>
              <a:gd name="connsiteY355" fmla="*/ 5253645 h 6858000"/>
              <a:gd name="connsiteX356" fmla="*/ 3799374 w 7467600"/>
              <a:gd name="connsiteY356" fmla="*/ 5466127 h 6858000"/>
              <a:gd name="connsiteX357" fmla="*/ 3498850 w 7467600"/>
              <a:gd name="connsiteY357" fmla="*/ 6661888 h 6858000"/>
              <a:gd name="connsiteX358" fmla="*/ 3399216 w 7467600"/>
              <a:gd name="connsiteY358" fmla="*/ 6858000 h 6858000"/>
              <a:gd name="connsiteX359" fmla="*/ 3303688 w 7467600"/>
              <a:gd name="connsiteY359" fmla="*/ 6858000 h 6858000"/>
              <a:gd name="connsiteX360" fmla="*/ 3391774 w 7467600"/>
              <a:gd name="connsiteY360" fmla="*/ 6697181 h 6858000"/>
              <a:gd name="connsiteX361" fmla="*/ 3735540 w 7467600"/>
              <a:gd name="connsiteY361" fmla="*/ 5546923 h 6858000"/>
              <a:gd name="connsiteX362" fmla="*/ 3729438 w 7467600"/>
              <a:gd name="connsiteY362" fmla="*/ 5569058 h 6858000"/>
              <a:gd name="connsiteX363" fmla="*/ 3707782 w 7467600"/>
              <a:gd name="connsiteY363" fmla="*/ 5644908 h 6858000"/>
              <a:gd name="connsiteX364" fmla="*/ 3583827 w 7467600"/>
              <a:gd name="connsiteY364" fmla="*/ 6039215 h 6858000"/>
              <a:gd name="connsiteX365" fmla="*/ 3547861 w 7467600"/>
              <a:gd name="connsiteY365" fmla="*/ 6129609 h 6858000"/>
              <a:gd name="connsiteX366" fmla="*/ 3490905 w 7467600"/>
              <a:gd name="connsiteY366" fmla="*/ 6277660 h 6858000"/>
              <a:gd name="connsiteX367" fmla="*/ 3455859 w 7467600"/>
              <a:gd name="connsiteY367" fmla="*/ 6391301 h 6858000"/>
              <a:gd name="connsiteX368" fmla="*/ 3429112 w 7467600"/>
              <a:gd name="connsiteY368" fmla="*/ 6479469 h 6858000"/>
              <a:gd name="connsiteX369" fmla="*/ 3304862 w 7467600"/>
              <a:gd name="connsiteY369" fmla="*/ 6796476 h 6858000"/>
              <a:gd name="connsiteX370" fmla="*/ 3276071 w 7467600"/>
              <a:gd name="connsiteY370" fmla="*/ 6858000 h 6858000"/>
              <a:gd name="connsiteX371" fmla="*/ 3240805 w 7467600"/>
              <a:gd name="connsiteY371" fmla="*/ 6858000 h 6858000"/>
              <a:gd name="connsiteX372" fmla="*/ 3275917 w 7467600"/>
              <a:gd name="connsiteY372" fmla="*/ 6783192 h 6858000"/>
              <a:gd name="connsiteX373" fmla="*/ 3399358 w 7467600"/>
              <a:gd name="connsiteY373" fmla="*/ 6469011 h 6858000"/>
              <a:gd name="connsiteX374" fmla="*/ 3425650 w 7467600"/>
              <a:gd name="connsiteY374" fmla="*/ 6381333 h 6858000"/>
              <a:gd name="connsiteX375" fmla="*/ 3460661 w 7467600"/>
              <a:gd name="connsiteY375" fmla="*/ 6266763 h 6858000"/>
              <a:gd name="connsiteX376" fmla="*/ 3518021 w 7467600"/>
              <a:gd name="connsiteY376" fmla="*/ 6117298 h 6858000"/>
              <a:gd name="connsiteX377" fmla="*/ 3554035 w 7467600"/>
              <a:gd name="connsiteY377" fmla="*/ 6027832 h 6858000"/>
              <a:gd name="connsiteX378" fmla="*/ 3677174 w 7467600"/>
              <a:gd name="connsiteY378" fmla="*/ 5636351 h 6858000"/>
              <a:gd name="connsiteX379" fmla="*/ 3698819 w 7467600"/>
              <a:gd name="connsiteY379" fmla="*/ 5560503 h 6858000"/>
              <a:gd name="connsiteX380" fmla="*/ 3702094 w 7467600"/>
              <a:gd name="connsiteY380" fmla="*/ 5549194 h 6858000"/>
              <a:gd name="connsiteX381" fmla="*/ 3398355 w 7467600"/>
              <a:gd name="connsiteY381" fmla="*/ 6094603 h 6858000"/>
              <a:gd name="connsiteX382" fmla="*/ 3193941 w 7467600"/>
              <a:gd name="connsiteY382" fmla="*/ 6798775 h 6858000"/>
              <a:gd name="connsiteX383" fmla="*/ 3184140 w 7467600"/>
              <a:gd name="connsiteY383" fmla="*/ 6858000 h 6858000"/>
              <a:gd name="connsiteX384" fmla="*/ 3099978 w 7467600"/>
              <a:gd name="connsiteY384" fmla="*/ 6858000 h 6858000"/>
              <a:gd name="connsiteX385" fmla="*/ 3101556 w 7467600"/>
              <a:gd name="connsiteY385" fmla="*/ 6843337 h 6858000"/>
              <a:gd name="connsiteX386" fmla="*/ 3370162 w 7467600"/>
              <a:gd name="connsiteY386" fmla="*/ 5785550 h 6858000"/>
              <a:gd name="connsiteX387" fmla="*/ 3746477 w 7467600"/>
              <a:gd name="connsiteY387" fmla="*/ 5377889 h 6858000"/>
              <a:gd name="connsiteX388" fmla="*/ 3863399 w 7467600"/>
              <a:gd name="connsiteY388" fmla="*/ 5087257 h 6858000"/>
              <a:gd name="connsiteX389" fmla="*/ 3968712 w 7467600"/>
              <a:gd name="connsiteY389" fmla="*/ 4913989 h 6858000"/>
              <a:gd name="connsiteX390" fmla="*/ 2792390 w 7467600"/>
              <a:gd name="connsiteY390" fmla="*/ 5382974 h 6858000"/>
              <a:gd name="connsiteX391" fmla="*/ 2714982 w 7467600"/>
              <a:gd name="connsiteY391" fmla="*/ 5427051 h 6858000"/>
              <a:gd name="connsiteX392" fmla="*/ 2813361 w 7467600"/>
              <a:gd name="connsiteY392" fmla="*/ 6023912 h 6858000"/>
              <a:gd name="connsiteX393" fmla="*/ 2688430 w 7467600"/>
              <a:gd name="connsiteY393" fmla="*/ 6801564 h 6858000"/>
              <a:gd name="connsiteX394" fmla="*/ 2629626 w 7467600"/>
              <a:gd name="connsiteY394" fmla="*/ 6763394 h 6858000"/>
              <a:gd name="connsiteX395" fmla="*/ 2565328 w 7467600"/>
              <a:gd name="connsiteY395" fmla="*/ 5516399 h 6858000"/>
              <a:gd name="connsiteX396" fmla="*/ 1922999 w 7467600"/>
              <a:gd name="connsiteY396" fmla="*/ 5980343 h 6858000"/>
              <a:gd name="connsiteX397" fmla="*/ 1950261 w 7467600"/>
              <a:gd name="connsiteY397" fmla="*/ 6405858 h 6858000"/>
              <a:gd name="connsiteX398" fmla="*/ 2365554 w 7467600"/>
              <a:gd name="connsiteY398" fmla="*/ 6759107 h 6858000"/>
              <a:gd name="connsiteX399" fmla="*/ 2424142 w 7467600"/>
              <a:gd name="connsiteY399" fmla="*/ 6858000 h 6858000"/>
              <a:gd name="connsiteX400" fmla="*/ 2395994 w 7467600"/>
              <a:gd name="connsiteY400" fmla="*/ 6858000 h 6858000"/>
              <a:gd name="connsiteX401" fmla="*/ 2392863 w 7467600"/>
              <a:gd name="connsiteY401" fmla="*/ 6852964 h 6858000"/>
              <a:gd name="connsiteX402" fmla="*/ 2017589 w 7467600"/>
              <a:gd name="connsiteY402" fmla="*/ 6493982 h 6858000"/>
              <a:gd name="connsiteX403" fmla="*/ 2147336 w 7467600"/>
              <a:gd name="connsiteY403" fmla="*/ 6594052 h 6858000"/>
              <a:gd name="connsiteX404" fmla="*/ 2207047 w 7467600"/>
              <a:gd name="connsiteY404" fmla="*/ 6654540 h 6858000"/>
              <a:gd name="connsiteX405" fmla="*/ 2299106 w 7467600"/>
              <a:gd name="connsiteY405" fmla="*/ 6778931 h 6858000"/>
              <a:gd name="connsiteX406" fmla="*/ 2314430 w 7467600"/>
              <a:gd name="connsiteY406" fmla="*/ 6801144 h 6858000"/>
              <a:gd name="connsiteX407" fmla="*/ 2352406 w 7467600"/>
              <a:gd name="connsiteY407" fmla="*/ 6858000 h 6858000"/>
              <a:gd name="connsiteX408" fmla="*/ 2314492 w 7467600"/>
              <a:gd name="connsiteY408" fmla="*/ 6858000 h 6858000"/>
              <a:gd name="connsiteX409" fmla="*/ 2288095 w 7467600"/>
              <a:gd name="connsiteY409" fmla="*/ 6818030 h 6858000"/>
              <a:gd name="connsiteX410" fmla="*/ 2272768 w 7467600"/>
              <a:gd name="connsiteY410" fmla="*/ 6795822 h 6858000"/>
              <a:gd name="connsiteX411" fmla="*/ 2182715 w 7467600"/>
              <a:gd name="connsiteY411" fmla="*/ 6675071 h 6858000"/>
              <a:gd name="connsiteX412" fmla="*/ 2032061 w 7467600"/>
              <a:gd name="connsiteY412" fmla="*/ 6541380 h 6858000"/>
              <a:gd name="connsiteX413" fmla="*/ 2257220 w 7467600"/>
              <a:gd name="connsiteY413" fmla="*/ 6826257 h 6858000"/>
              <a:gd name="connsiteX414" fmla="*/ 2281324 w 7467600"/>
              <a:gd name="connsiteY414" fmla="*/ 6858000 h 6858000"/>
              <a:gd name="connsiteX415" fmla="*/ 2242860 w 7467600"/>
              <a:gd name="connsiteY415" fmla="*/ 6858000 h 6858000"/>
              <a:gd name="connsiteX416" fmla="*/ 2232818 w 7467600"/>
              <a:gd name="connsiteY416" fmla="*/ 6844926 h 6858000"/>
              <a:gd name="connsiteX417" fmla="*/ 1990172 w 7467600"/>
              <a:gd name="connsiteY417" fmla="*/ 6542121 h 6858000"/>
              <a:gd name="connsiteX418" fmla="*/ 2124090 w 7467600"/>
              <a:gd name="connsiteY418" fmla="*/ 6761017 h 6858000"/>
              <a:gd name="connsiteX419" fmla="*/ 2200380 w 7467600"/>
              <a:gd name="connsiteY419" fmla="*/ 6858000 h 6858000"/>
              <a:gd name="connsiteX420" fmla="*/ 2147507 w 7467600"/>
              <a:gd name="connsiteY420" fmla="*/ 6858000 h 6858000"/>
              <a:gd name="connsiteX421" fmla="*/ 2070668 w 7467600"/>
              <a:gd name="connsiteY421" fmla="*/ 6761520 h 6858000"/>
              <a:gd name="connsiteX422" fmla="*/ 1975142 w 7467600"/>
              <a:gd name="connsiteY422" fmla="*/ 6585570 h 6858000"/>
              <a:gd name="connsiteX423" fmla="*/ 2050035 w 7467600"/>
              <a:gd name="connsiteY423" fmla="*/ 6813345 h 6858000"/>
              <a:gd name="connsiteX424" fmla="*/ 2063025 w 7467600"/>
              <a:gd name="connsiteY424" fmla="*/ 6858000 h 6858000"/>
              <a:gd name="connsiteX425" fmla="*/ 2021675 w 7467600"/>
              <a:gd name="connsiteY425" fmla="*/ 6858000 h 6858000"/>
              <a:gd name="connsiteX426" fmla="*/ 2019308 w 7467600"/>
              <a:gd name="connsiteY426" fmla="*/ 6847118 h 6858000"/>
              <a:gd name="connsiteX427" fmla="*/ 1938835 w 7467600"/>
              <a:gd name="connsiteY427" fmla="*/ 6551160 h 6858000"/>
              <a:gd name="connsiteX428" fmla="*/ 1953230 w 7467600"/>
              <a:gd name="connsiteY428" fmla="*/ 6759699 h 6858000"/>
              <a:gd name="connsiteX429" fmla="*/ 1956763 w 7467600"/>
              <a:gd name="connsiteY429" fmla="*/ 6778191 h 6858000"/>
              <a:gd name="connsiteX430" fmla="*/ 1967925 w 7467600"/>
              <a:gd name="connsiteY430" fmla="*/ 6858000 h 6858000"/>
              <a:gd name="connsiteX431" fmla="*/ 1936622 w 7467600"/>
              <a:gd name="connsiteY431" fmla="*/ 6858000 h 6858000"/>
              <a:gd name="connsiteX432" fmla="*/ 1926261 w 7467600"/>
              <a:gd name="connsiteY432" fmla="*/ 6784064 h 6858000"/>
              <a:gd name="connsiteX433" fmla="*/ 1922724 w 7467600"/>
              <a:gd name="connsiteY433" fmla="*/ 6765577 h 6858000"/>
              <a:gd name="connsiteX434" fmla="*/ 1904650 w 7467600"/>
              <a:gd name="connsiteY434" fmla="*/ 6639616 h 6858000"/>
              <a:gd name="connsiteX435" fmla="*/ 1885273 w 7467600"/>
              <a:gd name="connsiteY435" fmla="*/ 6858000 h 6858000"/>
              <a:gd name="connsiteX436" fmla="*/ 1854363 w 7467600"/>
              <a:gd name="connsiteY436" fmla="*/ 6858000 h 6858000"/>
              <a:gd name="connsiteX437" fmla="*/ 1880391 w 7467600"/>
              <a:gd name="connsiteY437" fmla="*/ 6603796 h 6858000"/>
              <a:gd name="connsiteX438" fmla="*/ 1818273 w 7467600"/>
              <a:gd name="connsiteY438" fmla="*/ 6715729 h 6858000"/>
              <a:gd name="connsiteX439" fmla="*/ 1794691 w 7467600"/>
              <a:gd name="connsiteY439" fmla="*/ 6843239 h 6858000"/>
              <a:gd name="connsiteX440" fmla="*/ 1794914 w 7467600"/>
              <a:gd name="connsiteY440" fmla="*/ 6858000 h 6858000"/>
              <a:gd name="connsiteX441" fmla="*/ 1746128 w 7467600"/>
              <a:gd name="connsiteY441" fmla="*/ 6858000 h 6858000"/>
              <a:gd name="connsiteX442" fmla="*/ 1753934 w 7467600"/>
              <a:gd name="connsiteY442" fmla="*/ 6724796 h 6858000"/>
              <a:gd name="connsiteX443" fmla="*/ 1792053 w 7467600"/>
              <a:gd name="connsiteY443" fmla="*/ 6572396 h 6858000"/>
              <a:gd name="connsiteX444" fmla="*/ 1862248 w 7467600"/>
              <a:gd name="connsiteY444" fmla="*/ 6266397 h 6858000"/>
              <a:gd name="connsiteX445" fmla="*/ 1862250 w 7467600"/>
              <a:gd name="connsiteY445" fmla="*/ 6033531 h 6858000"/>
              <a:gd name="connsiteX446" fmla="*/ 1211999 w 7467600"/>
              <a:gd name="connsiteY446" fmla="*/ 6683610 h 6858000"/>
              <a:gd name="connsiteX447" fmla="*/ 1213266 w 7467600"/>
              <a:gd name="connsiteY447" fmla="*/ 6691947 h 6858000"/>
              <a:gd name="connsiteX448" fmla="*/ 1203370 w 7467600"/>
              <a:gd name="connsiteY448" fmla="*/ 6850676 h 6858000"/>
              <a:gd name="connsiteX449" fmla="*/ 1203671 w 7467600"/>
              <a:gd name="connsiteY449" fmla="*/ 6858000 h 6858000"/>
              <a:gd name="connsiteX450" fmla="*/ 1143180 w 7467600"/>
              <a:gd name="connsiteY450" fmla="*/ 6858000 h 6858000"/>
              <a:gd name="connsiteX451" fmla="*/ 1142176 w 7467600"/>
              <a:gd name="connsiteY451" fmla="*/ 6766045 h 6858000"/>
              <a:gd name="connsiteX452" fmla="*/ 1067484 w 7467600"/>
              <a:gd name="connsiteY452" fmla="*/ 6858000 h 6858000"/>
              <a:gd name="connsiteX453" fmla="*/ 953928 w 7467600"/>
              <a:gd name="connsiteY453" fmla="*/ 6858000 h 6858000"/>
              <a:gd name="connsiteX454" fmla="*/ 959715 w 7467600"/>
              <a:gd name="connsiteY454" fmla="*/ 6850185 h 6858000"/>
              <a:gd name="connsiteX455" fmla="*/ 1483788 w 7467600"/>
              <a:gd name="connsiteY455" fmla="*/ 6259174 h 6858000"/>
              <a:gd name="connsiteX456" fmla="*/ 1100671 w 7467600"/>
              <a:gd name="connsiteY456" fmla="*/ 6252137 h 6858000"/>
              <a:gd name="connsiteX457" fmla="*/ 1090144 w 7467600"/>
              <a:gd name="connsiteY457" fmla="*/ 6256748 h 6858000"/>
              <a:gd name="connsiteX458" fmla="*/ 1095872 w 7467600"/>
              <a:gd name="connsiteY458" fmla="*/ 6271892 h 6858000"/>
              <a:gd name="connsiteX459" fmla="*/ 262785 w 7467600"/>
              <a:gd name="connsiteY459" fmla="*/ 6845450 h 6858000"/>
              <a:gd name="connsiteX460" fmla="*/ 209968 w 7467600"/>
              <a:gd name="connsiteY460" fmla="*/ 6770713 h 6858000"/>
              <a:gd name="connsiteX461" fmla="*/ 873460 w 7467600"/>
              <a:gd name="connsiteY461" fmla="*/ 6253768 h 6858000"/>
              <a:gd name="connsiteX462" fmla="*/ 192686 w 7467600"/>
              <a:gd name="connsiteY462" fmla="*/ 5849257 h 6858000"/>
              <a:gd name="connsiteX463" fmla="*/ 4696 w 7467600"/>
              <a:gd name="connsiteY463" fmla="*/ 5697668 h 6858000"/>
              <a:gd name="connsiteX464" fmla="*/ 0 w 7467600"/>
              <a:gd name="connsiteY464" fmla="*/ 5689984 h 6858000"/>
              <a:gd name="connsiteX465" fmla="*/ 0 w 7467600"/>
              <a:gd name="connsiteY465" fmla="*/ 5513472 h 6858000"/>
              <a:gd name="connsiteX466" fmla="*/ 174101 w 7467600"/>
              <a:gd name="connsiteY466" fmla="*/ 5620277 h 6858000"/>
              <a:gd name="connsiteX467" fmla="*/ 891800 w 7467600"/>
              <a:gd name="connsiteY467" fmla="*/ 6036935 h 6858000"/>
              <a:gd name="connsiteX468" fmla="*/ 1072219 w 7467600"/>
              <a:gd name="connsiteY468" fmla="*/ 6169443 h 6858000"/>
              <a:gd name="connsiteX469" fmla="*/ 1074117 w 7467600"/>
              <a:gd name="connsiteY469" fmla="*/ 6170301 h 6858000"/>
              <a:gd name="connsiteX470" fmla="*/ 1083114 w 7467600"/>
              <a:gd name="connsiteY470" fmla="*/ 6174131 h 6858000"/>
              <a:gd name="connsiteX471" fmla="*/ 1543010 w 7467600"/>
              <a:gd name="connsiteY471" fmla="*/ 6191140 h 6858000"/>
              <a:gd name="connsiteX472" fmla="*/ 1551080 w 7467600"/>
              <a:gd name="connsiteY472" fmla="*/ 6195006 h 6858000"/>
              <a:gd name="connsiteX473" fmla="*/ 2345443 w 7467600"/>
              <a:gd name="connsiteY473" fmla="*/ 5549882 h 6858000"/>
              <a:gd name="connsiteX474" fmla="*/ 1721499 w 7467600"/>
              <a:gd name="connsiteY474" fmla="*/ 5599969 h 6858000"/>
              <a:gd name="connsiteX475" fmla="*/ 767716 w 7467600"/>
              <a:gd name="connsiteY475" fmla="*/ 5472768 h 6858000"/>
              <a:gd name="connsiteX476" fmla="*/ 722147 w 7467600"/>
              <a:gd name="connsiteY476" fmla="*/ 5393091 h 6858000"/>
              <a:gd name="connsiteX477" fmla="*/ 1485552 w 7467600"/>
              <a:gd name="connsiteY477" fmla="*/ 5313202 h 6858000"/>
              <a:gd name="connsiteX478" fmla="*/ 2143004 w 7467600"/>
              <a:gd name="connsiteY478" fmla="*/ 5402420 h 6858000"/>
              <a:gd name="connsiteX479" fmla="*/ 1933391 w 7467600"/>
              <a:gd name="connsiteY479" fmla="*/ 5156971 h 6858000"/>
              <a:gd name="connsiteX480" fmla="*/ 1827118 w 7467600"/>
              <a:gd name="connsiteY480" fmla="*/ 4968410 h 6858000"/>
              <a:gd name="connsiteX481" fmla="*/ 1837349 w 7467600"/>
              <a:gd name="connsiteY481" fmla="*/ 4956357 h 6858000"/>
              <a:gd name="connsiteX482" fmla="*/ 2162835 w 7467600"/>
              <a:gd name="connsiteY482" fmla="*/ 5187853 h 6858000"/>
              <a:gd name="connsiteX483" fmla="*/ 2257167 w 7467600"/>
              <a:gd name="connsiteY483" fmla="*/ 5462123 h 6858000"/>
              <a:gd name="connsiteX484" fmla="*/ 2261598 w 7467600"/>
              <a:gd name="connsiteY484" fmla="*/ 5467998 h 6858000"/>
              <a:gd name="connsiteX485" fmla="*/ 2437177 w 7467600"/>
              <a:gd name="connsiteY485" fmla="*/ 5479608 h 6858000"/>
              <a:gd name="connsiteX486" fmla="*/ 2445247 w 7467600"/>
              <a:gd name="connsiteY486" fmla="*/ 5483476 h 6858000"/>
              <a:gd name="connsiteX487" fmla="*/ 2743626 w 7467600"/>
              <a:gd name="connsiteY487" fmla="*/ 5304819 h 6858000"/>
              <a:gd name="connsiteX488" fmla="*/ 3048102 w 7467600"/>
              <a:gd name="connsiteY488" fmla="*/ 5150595 h 6858000"/>
              <a:gd name="connsiteX489" fmla="*/ 1799414 w 7467600"/>
              <a:gd name="connsiteY489" fmla="*/ 4694732 h 6858000"/>
              <a:gd name="connsiteX490" fmla="*/ 1771735 w 7467600"/>
              <a:gd name="connsiteY490" fmla="*/ 4619929 h 6858000"/>
              <a:gd name="connsiteX491" fmla="*/ 3104273 w 7467600"/>
              <a:gd name="connsiteY491" fmla="*/ 5076159 h 6858000"/>
              <a:gd name="connsiteX492" fmla="*/ 3113245 w 7467600"/>
              <a:gd name="connsiteY492" fmla="*/ 5090705 h 6858000"/>
              <a:gd name="connsiteX493" fmla="*/ 3126294 w 7467600"/>
              <a:gd name="connsiteY493" fmla="*/ 5114400 h 6858000"/>
              <a:gd name="connsiteX494" fmla="*/ 3937433 w 7467600"/>
              <a:gd name="connsiteY494" fmla="*/ 4830473 h 6858000"/>
              <a:gd name="connsiteX495" fmla="*/ 3590475 w 7467600"/>
              <a:gd name="connsiteY495" fmla="*/ 4597974 h 6858000"/>
              <a:gd name="connsiteX496" fmla="*/ 3100264 w 7467600"/>
              <a:gd name="connsiteY496" fmla="*/ 4579845 h 6858000"/>
              <a:gd name="connsiteX497" fmla="*/ 2183576 w 7467600"/>
              <a:gd name="connsiteY497" fmla="*/ 4227150 h 6858000"/>
              <a:gd name="connsiteX498" fmla="*/ 2151029 w 7467600"/>
              <a:gd name="connsiteY498" fmla="*/ 4146947 h 6858000"/>
              <a:gd name="connsiteX499" fmla="*/ 3563434 w 7467600"/>
              <a:gd name="connsiteY499" fmla="*/ 4469115 h 6858000"/>
              <a:gd name="connsiteX500" fmla="*/ 3177952 w 7467600"/>
              <a:gd name="connsiteY500" fmla="*/ 3657386 h 6858000"/>
              <a:gd name="connsiteX501" fmla="*/ 3189263 w 7467600"/>
              <a:gd name="connsiteY501" fmla="*/ 3625726 h 6858000"/>
              <a:gd name="connsiteX502" fmla="*/ 3560912 w 7467600"/>
              <a:gd name="connsiteY502" fmla="*/ 4079863 h 6858000"/>
              <a:gd name="connsiteX503" fmla="*/ 3626636 w 7467600"/>
              <a:gd name="connsiteY503" fmla="*/ 4512230 h 6858000"/>
              <a:gd name="connsiteX504" fmla="*/ 3653088 w 7467600"/>
              <a:gd name="connsiteY504" fmla="*/ 4521417 h 6858000"/>
              <a:gd name="connsiteX505" fmla="*/ 3988128 w 7467600"/>
              <a:gd name="connsiteY505" fmla="*/ 4817267 h 6858000"/>
              <a:gd name="connsiteX506" fmla="*/ 4830582 w 7467600"/>
              <a:gd name="connsiteY506" fmla="*/ 4676000 h 6858000"/>
              <a:gd name="connsiteX507" fmla="*/ 4830100 w 7467600"/>
              <a:gd name="connsiteY507" fmla="*/ 4675554 h 6858000"/>
              <a:gd name="connsiteX508" fmla="*/ 4036318 w 7467600"/>
              <a:gd name="connsiteY508" fmla="*/ 4147013 h 6858000"/>
              <a:gd name="connsiteX509" fmla="*/ 3432098 w 7467600"/>
              <a:gd name="connsiteY509" fmla="*/ 3537312 h 6858000"/>
              <a:gd name="connsiteX510" fmla="*/ 3446761 w 7467600"/>
              <a:gd name="connsiteY510" fmla="*/ 3461278 h 6858000"/>
              <a:gd name="connsiteX511" fmla="*/ 4419733 w 7467600"/>
              <a:gd name="connsiteY511" fmla="*/ 3963555 h 6858000"/>
              <a:gd name="connsiteX512" fmla="*/ 4781371 w 7467600"/>
              <a:gd name="connsiteY512" fmla="*/ 4458604 h 6858000"/>
              <a:gd name="connsiteX513" fmla="*/ 4780440 w 7467600"/>
              <a:gd name="connsiteY513" fmla="*/ 4470290 h 6858000"/>
              <a:gd name="connsiteX514" fmla="*/ 4898954 w 7467600"/>
              <a:gd name="connsiteY514" fmla="*/ 4662092 h 6858000"/>
              <a:gd name="connsiteX515" fmla="*/ 4900699 w 7467600"/>
              <a:gd name="connsiteY515" fmla="*/ 4670867 h 6858000"/>
              <a:gd name="connsiteX516" fmla="*/ 5714511 w 7467600"/>
              <a:gd name="connsiteY516" fmla="*/ 4663483 h 6858000"/>
              <a:gd name="connsiteX517" fmla="*/ 5464793 w 7467600"/>
              <a:gd name="connsiteY517" fmla="*/ 4393556 h 6858000"/>
              <a:gd name="connsiteX518" fmla="*/ 5461897 w 7467600"/>
              <a:gd name="connsiteY518" fmla="*/ 4390879 h 6858000"/>
              <a:gd name="connsiteX519" fmla="*/ 4294126 w 7467600"/>
              <a:gd name="connsiteY519" fmla="*/ 3303048 h 6858000"/>
              <a:gd name="connsiteX520" fmla="*/ 4305321 w 7467600"/>
              <a:gd name="connsiteY520" fmla="*/ 3256953 h 6858000"/>
              <a:gd name="connsiteX521" fmla="*/ 4949299 w 7467600"/>
              <a:gd name="connsiteY521" fmla="*/ 3766336 h 6858000"/>
              <a:gd name="connsiteX522" fmla="*/ 5291452 w 7467600"/>
              <a:gd name="connsiteY522" fmla="*/ 4076801 h 6858000"/>
              <a:gd name="connsiteX523" fmla="*/ 5434998 w 7467600"/>
              <a:gd name="connsiteY523" fmla="*/ 4254100 h 6858000"/>
              <a:gd name="connsiteX524" fmla="*/ 5351015 w 7467600"/>
              <a:gd name="connsiteY524" fmla="*/ 3760989 h 6858000"/>
              <a:gd name="connsiteX525" fmla="*/ 5413780 w 7467600"/>
              <a:gd name="connsiteY525" fmla="*/ 2966265 h 6858000"/>
              <a:gd name="connsiteX526" fmla="*/ 5425627 w 7467600"/>
              <a:gd name="connsiteY526" fmla="*/ 2954192 h 6858000"/>
              <a:gd name="connsiteX527" fmla="*/ 6604735 w 7467600"/>
              <a:gd name="connsiteY527" fmla="*/ 2041381 h 6858000"/>
              <a:gd name="connsiteX528" fmla="*/ 7204487 w 7467600"/>
              <a:gd name="connsiteY528" fmla="*/ 2742112 h 6858000"/>
              <a:gd name="connsiteX529" fmla="*/ 7131592 w 7467600"/>
              <a:gd name="connsiteY529" fmla="*/ 2672096 h 6858000"/>
              <a:gd name="connsiteX530" fmla="*/ 6996344 w 7467600"/>
              <a:gd name="connsiteY530" fmla="*/ 2518310 h 6858000"/>
              <a:gd name="connsiteX531" fmla="*/ 6735495 w 7467600"/>
              <a:gd name="connsiteY531" fmla="*/ 2196890 h 6858000"/>
              <a:gd name="connsiteX532" fmla="*/ 6721901 w 7467600"/>
              <a:gd name="connsiteY532" fmla="*/ 2179274 h 6858000"/>
              <a:gd name="connsiteX533" fmla="*/ 6604735 w 7467600"/>
              <a:gd name="connsiteY533" fmla="*/ 2041381 h 6858000"/>
              <a:gd name="connsiteX534" fmla="*/ 6591670 w 7467600"/>
              <a:gd name="connsiteY534" fmla="*/ 1988277 h 6858000"/>
              <a:gd name="connsiteX535" fmla="*/ 6747349 w 7467600"/>
              <a:gd name="connsiteY535" fmla="*/ 2160069 h 6858000"/>
              <a:gd name="connsiteX536" fmla="*/ 6760943 w 7467600"/>
              <a:gd name="connsiteY536" fmla="*/ 2177686 h 6858000"/>
              <a:gd name="connsiteX537" fmla="*/ 7021065 w 7467600"/>
              <a:gd name="connsiteY537" fmla="*/ 2498102 h 6858000"/>
              <a:gd name="connsiteX538" fmla="*/ 7155223 w 7467600"/>
              <a:gd name="connsiteY538" fmla="*/ 2650386 h 6858000"/>
              <a:gd name="connsiteX539" fmla="*/ 7203167 w 7467600"/>
              <a:gd name="connsiteY539" fmla="*/ 2697288 h 6858000"/>
              <a:gd name="connsiteX540" fmla="*/ 6937703 w 7467600"/>
              <a:gd name="connsiteY540" fmla="*/ 2321981 h 6858000"/>
              <a:gd name="connsiteX541" fmla="*/ 6591670 w 7467600"/>
              <a:gd name="connsiteY541" fmla="*/ 1988277 h 6858000"/>
              <a:gd name="connsiteX542" fmla="*/ 5798671 w 7467600"/>
              <a:gd name="connsiteY542" fmla="*/ 1981601 h 6858000"/>
              <a:gd name="connsiteX543" fmla="*/ 5754709 w 7467600"/>
              <a:gd name="connsiteY543" fmla="*/ 2071454 h 6858000"/>
              <a:gd name="connsiteX544" fmla="*/ 5763044 w 7467600"/>
              <a:gd name="connsiteY544" fmla="*/ 2842206 h 6858000"/>
              <a:gd name="connsiteX545" fmla="*/ 5764974 w 7467600"/>
              <a:gd name="connsiteY545" fmla="*/ 2799609 h 6858000"/>
              <a:gd name="connsiteX546" fmla="*/ 5767665 w 7467600"/>
              <a:gd name="connsiteY546" fmla="*/ 2666409 h 6858000"/>
              <a:gd name="connsiteX547" fmla="*/ 5763055 w 7467600"/>
              <a:gd name="connsiteY547" fmla="*/ 2579705 h 6858000"/>
              <a:gd name="connsiteX548" fmla="*/ 5758079 w 7467600"/>
              <a:gd name="connsiteY548" fmla="*/ 2492508 h 6858000"/>
              <a:gd name="connsiteX549" fmla="*/ 5779325 w 7467600"/>
              <a:gd name="connsiteY549" fmla="*/ 2197069 h 6858000"/>
              <a:gd name="connsiteX550" fmla="*/ 5798671 w 7467600"/>
              <a:gd name="connsiteY550" fmla="*/ 1981601 h 6858000"/>
              <a:gd name="connsiteX551" fmla="*/ 5829202 w 7467600"/>
              <a:gd name="connsiteY551" fmla="*/ 1971679 h 6858000"/>
              <a:gd name="connsiteX552" fmla="*/ 5809558 w 7467600"/>
              <a:gd name="connsiteY552" fmla="*/ 2198043 h 6858000"/>
              <a:gd name="connsiteX553" fmla="*/ 5788653 w 7467600"/>
              <a:gd name="connsiteY553" fmla="*/ 2489430 h 6858000"/>
              <a:gd name="connsiteX554" fmla="*/ 5793439 w 7467600"/>
              <a:gd name="connsiteY554" fmla="*/ 2575235 h 6858000"/>
              <a:gd name="connsiteX555" fmla="*/ 5796837 w 7467600"/>
              <a:gd name="connsiteY555" fmla="*/ 2637633 h 6858000"/>
              <a:gd name="connsiteX556" fmla="*/ 5818614 w 7467600"/>
              <a:gd name="connsiteY556" fmla="*/ 2473055 h 6858000"/>
              <a:gd name="connsiteX557" fmla="*/ 5829202 w 7467600"/>
              <a:gd name="connsiteY557" fmla="*/ 1971679 h 6858000"/>
              <a:gd name="connsiteX558" fmla="*/ 5911389 w 7467600"/>
              <a:gd name="connsiteY558" fmla="*/ 1898371 h 6858000"/>
              <a:gd name="connsiteX559" fmla="*/ 6237627 w 7467600"/>
              <a:gd name="connsiteY559" fmla="*/ 2231921 h 6858000"/>
              <a:gd name="connsiteX560" fmla="*/ 5911389 w 7467600"/>
              <a:gd name="connsiteY560" fmla="*/ 1898371 h 6858000"/>
              <a:gd name="connsiteX561" fmla="*/ 6944437 w 7467600"/>
              <a:gd name="connsiteY561" fmla="*/ 1575402 h 6858000"/>
              <a:gd name="connsiteX562" fmla="*/ 6304730 w 7467600"/>
              <a:gd name="connsiteY562" fmla="*/ 1766654 h 6858000"/>
              <a:gd name="connsiteX563" fmla="*/ 6944437 w 7467600"/>
              <a:gd name="connsiteY563" fmla="*/ 1575402 h 6858000"/>
              <a:gd name="connsiteX564" fmla="*/ 7019523 w 7467600"/>
              <a:gd name="connsiteY564" fmla="*/ 1519450 h 6858000"/>
              <a:gd name="connsiteX565" fmla="*/ 6298091 w 7467600"/>
              <a:gd name="connsiteY565" fmla="*/ 1737122 h 6858000"/>
              <a:gd name="connsiteX566" fmla="*/ 7019523 w 7467600"/>
              <a:gd name="connsiteY566" fmla="*/ 1519450 h 6858000"/>
              <a:gd name="connsiteX567" fmla="*/ 2399523 w 7467600"/>
              <a:gd name="connsiteY567" fmla="*/ 1428234 h 6858000"/>
              <a:gd name="connsiteX568" fmla="*/ 2224982 w 7467600"/>
              <a:gd name="connsiteY568" fmla="*/ 1826201 h 6858000"/>
              <a:gd name="connsiteX569" fmla="*/ 2096099 w 7467600"/>
              <a:gd name="connsiteY569" fmla="*/ 2345900 h 6858000"/>
              <a:gd name="connsiteX570" fmla="*/ 2283317 w 7467600"/>
              <a:gd name="connsiteY570" fmla="*/ 1796925 h 6858000"/>
              <a:gd name="connsiteX571" fmla="*/ 2399523 w 7467600"/>
              <a:gd name="connsiteY571" fmla="*/ 1428234 h 6858000"/>
              <a:gd name="connsiteX572" fmla="*/ 2448558 w 7467600"/>
              <a:gd name="connsiteY572" fmla="*/ 1373435 h 6858000"/>
              <a:gd name="connsiteX573" fmla="*/ 2312521 w 7467600"/>
              <a:gd name="connsiteY573" fmla="*/ 1806140 h 6858000"/>
              <a:gd name="connsiteX574" fmla="*/ 2127533 w 7467600"/>
              <a:gd name="connsiteY574" fmla="*/ 2348380 h 6858000"/>
              <a:gd name="connsiteX575" fmla="*/ 2358080 w 7467600"/>
              <a:gd name="connsiteY575" fmla="*/ 1866134 h 6858000"/>
              <a:gd name="connsiteX576" fmla="*/ 2407436 w 7467600"/>
              <a:gd name="connsiteY576" fmla="*/ 1651070 h 6858000"/>
              <a:gd name="connsiteX577" fmla="*/ 2448558 w 7467600"/>
              <a:gd name="connsiteY577" fmla="*/ 1373435 h 6858000"/>
              <a:gd name="connsiteX578" fmla="*/ 278707 w 7467600"/>
              <a:gd name="connsiteY578" fmla="*/ 1352270 h 6858000"/>
              <a:gd name="connsiteX579" fmla="*/ 321570 w 7467600"/>
              <a:gd name="connsiteY579" fmla="*/ 1861610 h 6858000"/>
              <a:gd name="connsiteX580" fmla="*/ 294281 w 7467600"/>
              <a:gd name="connsiteY580" fmla="*/ 1440658 h 6858000"/>
              <a:gd name="connsiteX581" fmla="*/ 278707 w 7467600"/>
              <a:gd name="connsiteY581" fmla="*/ 1352270 h 6858000"/>
              <a:gd name="connsiteX582" fmla="*/ 1423821 w 7467600"/>
              <a:gd name="connsiteY582" fmla="*/ 1351958 h 6858000"/>
              <a:gd name="connsiteX583" fmla="*/ 1638521 w 7467600"/>
              <a:gd name="connsiteY583" fmla="*/ 1908470 h 6858000"/>
              <a:gd name="connsiteX584" fmla="*/ 1754199 w 7467600"/>
              <a:gd name="connsiteY584" fmla="*/ 2149284 h 6858000"/>
              <a:gd name="connsiteX585" fmla="*/ 1908359 w 7467600"/>
              <a:gd name="connsiteY585" fmla="*/ 2364988 h 6858000"/>
              <a:gd name="connsiteX586" fmla="*/ 1647661 w 7467600"/>
              <a:gd name="connsiteY586" fmla="*/ 1825945 h 6858000"/>
              <a:gd name="connsiteX587" fmla="*/ 1423821 w 7467600"/>
              <a:gd name="connsiteY587" fmla="*/ 1351958 h 6858000"/>
              <a:gd name="connsiteX588" fmla="*/ 1431890 w 7467600"/>
              <a:gd name="connsiteY588" fmla="*/ 1306475 h 6858000"/>
              <a:gd name="connsiteX589" fmla="*/ 1507597 w 7467600"/>
              <a:gd name="connsiteY589" fmla="*/ 1446132 h 6858000"/>
              <a:gd name="connsiteX590" fmla="*/ 1674586 w 7467600"/>
              <a:gd name="connsiteY590" fmla="*/ 1813832 h 6858000"/>
              <a:gd name="connsiteX591" fmla="*/ 1815950 w 7467600"/>
              <a:gd name="connsiteY591" fmla="*/ 2128564 h 6858000"/>
              <a:gd name="connsiteX592" fmla="*/ 1984242 w 7467600"/>
              <a:gd name="connsiteY592" fmla="*/ 2430829 h 6858000"/>
              <a:gd name="connsiteX593" fmla="*/ 2014023 w 7467600"/>
              <a:gd name="connsiteY593" fmla="*/ 2450995 h 6858000"/>
              <a:gd name="connsiteX594" fmla="*/ 1747337 w 7467600"/>
              <a:gd name="connsiteY594" fmla="*/ 1855264 h 6858000"/>
              <a:gd name="connsiteX595" fmla="*/ 1533749 w 7467600"/>
              <a:gd name="connsiteY595" fmla="*/ 1478656 h 6858000"/>
              <a:gd name="connsiteX596" fmla="*/ 1431890 w 7467600"/>
              <a:gd name="connsiteY596" fmla="*/ 1306475 h 6858000"/>
              <a:gd name="connsiteX597" fmla="*/ 5052692 w 7467600"/>
              <a:gd name="connsiteY597" fmla="*/ 1292994 h 6858000"/>
              <a:gd name="connsiteX598" fmla="*/ 5200661 w 7467600"/>
              <a:gd name="connsiteY598" fmla="*/ 1635186 h 6858000"/>
              <a:gd name="connsiteX599" fmla="*/ 5297138 w 7467600"/>
              <a:gd name="connsiteY599" fmla="*/ 1906351 h 6858000"/>
              <a:gd name="connsiteX600" fmla="*/ 5052692 w 7467600"/>
              <a:gd name="connsiteY600" fmla="*/ 1292994 h 6858000"/>
              <a:gd name="connsiteX601" fmla="*/ 5009948 w 7467600"/>
              <a:gd name="connsiteY601" fmla="*/ 1273619 h 6858000"/>
              <a:gd name="connsiteX602" fmla="*/ 5121777 w 7467600"/>
              <a:gd name="connsiteY602" fmla="*/ 1654213 h 6858000"/>
              <a:gd name="connsiteX603" fmla="*/ 5293545 w 7467600"/>
              <a:gd name="connsiteY603" fmla="*/ 2072247 h 6858000"/>
              <a:gd name="connsiteX604" fmla="*/ 5294042 w 7467600"/>
              <a:gd name="connsiteY604" fmla="*/ 2065019 h 6858000"/>
              <a:gd name="connsiteX605" fmla="*/ 5171936 w 7467600"/>
              <a:gd name="connsiteY605" fmla="*/ 1647613 h 6858000"/>
              <a:gd name="connsiteX606" fmla="*/ 5009948 w 7467600"/>
              <a:gd name="connsiteY606" fmla="*/ 1273619 h 6858000"/>
              <a:gd name="connsiteX607" fmla="*/ 655236 w 7467600"/>
              <a:gd name="connsiteY607" fmla="*/ 1268632 h 6858000"/>
              <a:gd name="connsiteX608" fmla="*/ 839521 w 7467600"/>
              <a:gd name="connsiteY608" fmla="*/ 1685315 h 6858000"/>
              <a:gd name="connsiteX609" fmla="*/ 1109416 w 7467600"/>
              <a:gd name="connsiteY609" fmla="*/ 2061663 h 6858000"/>
              <a:gd name="connsiteX610" fmla="*/ 1298300 w 7467600"/>
              <a:gd name="connsiteY610" fmla="*/ 2247742 h 6858000"/>
              <a:gd name="connsiteX611" fmla="*/ 1125871 w 7467600"/>
              <a:gd name="connsiteY611" fmla="*/ 1989513 h 6858000"/>
              <a:gd name="connsiteX612" fmla="*/ 981574 w 7467600"/>
              <a:gd name="connsiteY612" fmla="*/ 1783157 h 6858000"/>
              <a:gd name="connsiteX613" fmla="*/ 922198 w 7467600"/>
              <a:gd name="connsiteY613" fmla="*/ 1677437 h 6858000"/>
              <a:gd name="connsiteX614" fmla="*/ 869293 w 7467600"/>
              <a:gd name="connsiteY614" fmla="*/ 1583214 h 6858000"/>
              <a:gd name="connsiteX615" fmla="*/ 751431 w 7467600"/>
              <a:gd name="connsiteY615" fmla="*/ 1405731 h 6858000"/>
              <a:gd name="connsiteX616" fmla="*/ 655236 w 7467600"/>
              <a:gd name="connsiteY616" fmla="*/ 1268632 h 6858000"/>
              <a:gd name="connsiteX617" fmla="*/ 6516292 w 7467600"/>
              <a:gd name="connsiteY617" fmla="*/ 1263064 h 6858000"/>
              <a:gd name="connsiteX618" fmla="*/ 5736320 w 7467600"/>
              <a:gd name="connsiteY618" fmla="*/ 1501803 h 6858000"/>
              <a:gd name="connsiteX619" fmla="*/ 6516292 w 7467600"/>
              <a:gd name="connsiteY619" fmla="*/ 1263064 h 6858000"/>
              <a:gd name="connsiteX620" fmla="*/ 291466 w 7467600"/>
              <a:gd name="connsiteY620" fmla="*/ 1250369 h 6858000"/>
              <a:gd name="connsiteX621" fmla="*/ 323180 w 7467600"/>
              <a:gd name="connsiteY621" fmla="*/ 1435283 h 6858000"/>
              <a:gd name="connsiteX622" fmla="*/ 349381 w 7467600"/>
              <a:gd name="connsiteY622" fmla="*/ 1875041 h 6858000"/>
              <a:gd name="connsiteX623" fmla="*/ 374363 w 7467600"/>
              <a:gd name="connsiteY623" fmla="*/ 1506494 h 6858000"/>
              <a:gd name="connsiteX624" fmla="*/ 302168 w 7467600"/>
              <a:gd name="connsiteY624" fmla="*/ 1274495 h 6858000"/>
              <a:gd name="connsiteX625" fmla="*/ 291466 w 7467600"/>
              <a:gd name="connsiteY625" fmla="*/ 1250369 h 6858000"/>
              <a:gd name="connsiteX626" fmla="*/ 678222 w 7467600"/>
              <a:gd name="connsiteY626" fmla="*/ 1248670 h 6858000"/>
              <a:gd name="connsiteX627" fmla="*/ 775536 w 7467600"/>
              <a:gd name="connsiteY627" fmla="*/ 1388015 h 6858000"/>
              <a:gd name="connsiteX628" fmla="*/ 894529 w 7467600"/>
              <a:gd name="connsiteY628" fmla="*/ 1567739 h 6858000"/>
              <a:gd name="connsiteX629" fmla="*/ 948000 w 7467600"/>
              <a:gd name="connsiteY629" fmla="*/ 1663088 h 6858000"/>
              <a:gd name="connsiteX630" fmla="*/ 1006812 w 7467600"/>
              <a:gd name="connsiteY630" fmla="*/ 1767683 h 6858000"/>
              <a:gd name="connsiteX631" fmla="*/ 1149133 w 7467600"/>
              <a:gd name="connsiteY631" fmla="*/ 1971513 h 6858000"/>
              <a:gd name="connsiteX632" fmla="*/ 1333952 w 7467600"/>
              <a:gd name="connsiteY632" fmla="*/ 2251620 h 6858000"/>
              <a:gd name="connsiteX633" fmla="*/ 1337329 w 7467600"/>
              <a:gd name="connsiteY633" fmla="*/ 2258350 h 6858000"/>
              <a:gd name="connsiteX634" fmla="*/ 1014726 w 7467600"/>
              <a:gd name="connsiteY634" fmla="*/ 1615556 h 6858000"/>
              <a:gd name="connsiteX635" fmla="*/ 678222 w 7467600"/>
              <a:gd name="connsiteY635" fmla="*/ 1248670 h 6858000"/>
              <a:gd name="connsiteX636" fmla="*/ 6691602 w 7467600"/>
              <a:gd name="connsiteY636" fmla="*/ 1140573 h 6858000"/>
              <a:gd name="connsiteX637" fmla="*/ 6571100 w 7467600"/>
              <a:gd name="connsiteY637" fmla="*/ 1183662 h 6858000"/>
              <a:gd name="connsiteX638" fmla="*/ 6241687 w 7467600"/>
              <a:gd name="connsiteY638" fmla="*/ 1257600 h 6858000"/>
              <a:gd name="connsiteX639" fmla="*/ 5693009 w 7467600"/>
              <a:gd name="connsiteY639" fmla="*/ 1478256 h 6858000"/>
              <a:gd name="connsiteX640" fmla="*/ 6548420 w 7467600"/>
              <a:gd name="connsiteY640" fmla="*/ 1214599 h 6858000"/>
              <a:gd name="connsiteX641" fmla="*/ 6605473 w 7467600"/>
              <a:gd name="connsiteY641" fmla="*/ 1184686 h 6858000"/>
              <a:gd name="connsiteX642" fmla="*/ 6691602 w 7467600"/>
              <a:gd name="connsiteY642" fmla="*/ 1140573 h 6858000"/>
              <a:gd name="connsiteX643" fmla="*/ 4002475 w 7467600"/>
              <a:gd name="connsiteY643" fmla="*/ 1037802 h 6858000"/>
              <a:gd name="connsiteX644" fmla="*/ 4000324 w 7467600"/>
              <a:gd name="connsiteY644" fmla="*/ 1039362 h 6858000"/>
              <a:gd name="connsiteX645" fmla="*/ 4002862 w 7467600"/>
              <a:gd name="connsiteY645" fmla="*/ 1042866 h 6858000"/>
              <a:gd name="connsiteX646" fmla="*/ 4002475 w 7467600"/>
              <a:gd name="connsiteY646" fmla="*/ 1037802 h 6858000"/>
              <a:gd name="connsiteX647" fmla="*/ 506322 w 7467600"/>
              <a:gd name="connsiteY647" fmla="*/ 1020997 h 6858000"/>
              <a:gd name="connsiteX648" fmla="*/ 533068 w 7467600"/>
              <a:gd name="connsiteY648" fmla="*/ 1029409 h 6858000"/>
              <a:gd name="connsiteX649" fmla="*/ 1232525 w 7467600"/>
              <a:gd name="connsiteY649" fmla="*/ 1804675 h 6858000"/>
              <a:gd name="connsiteX650" fmla="*/ 1388858 w 7467600"/>
              <a:gd name="connsiteY650" fmla="*/ 2368011 h 6858000"/>
              <a:gd name="connsiteX651" fmla="*/ 1384098 w 7467600"/>
              <a:gd name="connsiteY651" fmla="*/ 2378125 h 6858000"/>
              <a:gd name="connsiteX652" fmla="*/ 1425393 w 7467600"/>
              <a:gd name="connsiteY652" fmla="*/ 2589124 h 6858000"/>
              <a:gd name="connsiteX653" fmla="*/ 1424001 w 7467600"/>
              <a:gd name="connsiteY653" fmla="*/ 2597541 h 6858000"/>
              <a:gd name="connsiteX654" fmla="*/ 2152729 w 7467600"/>
              <a:gd name="connsiteY654" fmla="*/ 2864487 h 6858000"/>
              <a:gd name="connsiteX655" fmla="*/ 2020609 w 7467600"/>
              <a:gd name="connsiteY655" fmla="*/ 2539671 h 6858000"/>
              <a:gd name="connsiteX656" fmla="*/ 2018920 w 7467600"/>
              <a:gd name="connsiteY656" fmla="*/ 2536309 h 6858000"/>
              <a:gd name="connsiteX657" fmla="*/ 1342441 w 7467600"/>
              <a:gd name="connsiteY657" fmla="*/ 1173017 h 6858000"/>
              <a:gd name="connsiteX658" fmla="*/ 1367925 w 7467600"/>
              <a:gd name="connsiteY658" fmla="*/ 1135648 h 6858000"/>
              <a:gd name="connsiteX659" fmla="*/ 1771401 w 7467600"/>
              <a:gd name="connsiteY659" fmla="*/ 1806673 h 6858000"/>
              <a:gd name="connsiteX660" fmla="*/ 1972385 w 7467600"/>
              <a:gd name="connsiteY660" fmla="*/ 2198735 h 6858000"/>
              <a:gd name="connsiteX661" fmla="*/ 2040892 w 7467600"/>
              <a:gd name="connsiteY661" fmla="*/ 2405205 h 6858000"/>
              <a:gd name="connsiteX662" fmla="*/ 2131689 w 7467600"/>
              <a:gd name="connsiteY662" fmla="*/ 1936926 h 6858000"/>
              <a:gd name="connsiteX663" fmla="*/ 2454820 w 7467600"/>
              <a:gd name="connsiteY663" fmla="*/ 1248808 h 6858000"/>
              <a:gd name="connsiteX664" fmla="*/ 2492512 w 7467600"/>
              <a:gd name="connsiteY664" fmla="*/ 1302920 h 6858000"/>
              <a:gd name="connsiteX665" fmla="*/ 2081216 w 7467600"/>
              <a:gd name="connsiteY665" fmla="*/ 2527513 h 6858000"/>
              <a:gd name="connsiteX666" fmla="*/ 2081211 w 7467600"/>
              <a:gd name="connsiteY666" fmla="*/ 2528916 h 6858000"/>
              <a:gd name="connsiteX667" fmla="*/ 2199067 w 7467600"/>
              <a:gd name="connsiteY667" fmla="*/ 2884061 h 6858000"/>
              <a:gd name="connsiteX668" fmla="*/ 3192586 w 7467600"/>
              <a:gd name="connsiteY668" fmla="*/ 3411496 h 6858000"/>
              <a:gd name="connsiteX669" fmla="*/ 3182620 w 7467600"/>
              <a:gd name="connsiteY669" fmla="*/ 3483279 h 6858000"/>
              <a:gd name="connsiteX670" fmla="*/ 2435119 w 7467600"/>
              <a:gd name="connsiteY670" fmla="*/ 3080173 h 6858000"/>
              <a:gd name="connsiteX671" fmla="*/ 2410152 w 7467600"/>
              <a:gd name="connsiteY671" fmla="*/ 3063751 h 6858000"/>
              <a:gd name="connsiteX672" fmla="*/ 2408099 w 7467600"/>
              <a:gd name="connsiteY672" fmla="*/ 3064403 h 6858000"/>
              <a:gd name="connsiteX673" fmla="*/ 2407218 w 7467600"/>
              <a:gd name="connsiteY673" fmla="*/ 3070324 h 6858000"/>
              <a:gd name="connsiteX674" fmla="*/ 2380138 w 7467600"/>
              <a:gd name="connsiteY674" fmla="*/ 3099341 h 6858000"/>
              <a:gd name="connsiteX675" fmla="*/ 1765923 w 7467600"/>
              <a:gd name="connsiteY675" fmla="*/ 3581043 h 6858000"/>
              <a:gd name="connsiteX676" fmla="*/ 1702258 w 7467600"/>
              <a:gd name="connsiteY676" fmla="*/ 3612286 h 6858000"/>
              <a:gd name="connsiteX677" fmla="*/ 1538370 w 7467600"/>
              <a:gd name="connsiteY677" fmla="*/ 3811804 h 6858000"/>
              <a:gd name="connsiteX678" fmla="*/ 542867 w 7467600"/>
              <a:gd name="connsiteY678" fmla="*/ 4944092 h 6858000"/>
              <a:gd name="connsiteX679" fmla="*/ 515800 w 7467600"/>
              <a:gd name="connsiteY679" fmla="*/ 4862180 h 6858000"/>
              <a:gd name="connsiteX680" fmla="*/ 909145 w 7467600"/>
              <a:gd name="connsiteY680" fmla="*/ 4199225 h 6858000"/>
              <a:gd name="connsiteX681" fmla="*/ 1214067 w 7467600"/>
              <a:gd name="connsiteY681" fmla="*/ 3908561 h 6858000"/>
              <a:gd name="connsiteX682" fmla="*/ 640967 w 7467600"/>
              <a:gd name="connsiteY682" fmla="*/ 4105601 h 6858000"/>
              <a:gd name="connsiteX683" fmla="*/ 112563 w 7467600"/>
              <a:gd name="connsiteY683" fmla="*/ 4396952 h 6858000"/>
              <a:gd name="connsiteX684" fmla="*/ 0 w 7467600"/>
              <a:gd name="connsiteY684" fmla="*/ 4466006 h 6858000"/>
              <a:gd name="connsiteX685" fmla="*/ 0 w 7467600"/>
              <a:gd name="connsiteY685" fmla="*/ 4233763 h 6858000"/>
              <a:gd name="connsiteX686" fmla="*/ 36881 w 7467600"/>
              <a:gd name="connsiteY686" fmla="*/ 4200118 h 6858000"/>
              <a:gd name="connsiteX687" fmla="*/ 910534 w 7467600"/>
              <a:gd name="connsiteY687" fmla="*/ 3629753 h 6858000"/>
              <a:gd name="connsiteX688" fmla="*/ 1578717 w 7467600"/>
              <a:gd name="connsiteY688" fmla="*/ 3575982 h 6858000"/>
              <a:gd name="connsiteX689" fmla="*/ 2338780 w 7467600"/>
              <a:gd name="connsiteY689" fmla="*/ 3033725 h 6858000"/>
              <a:gd name="connsiteX690" fmla="*/ 1807991 w 7467600"/>
              <a:gd name="connsiteY690" fmla="*/ 2807184 h 6858000"/>
              <a:gd name="connsiteX691" fmla="*/ 1416358 w 7467600"/>
              <a:gd name="connsiteY691" fmla="*/ 3112571 h 6858000"/>
              <a:gd name="connsiteX692" fmla="*/ 939066 w 7467600"/>
              <a:gd name="connsiteY692" fmla="*/ 3378798 h 6858000"/>
              <a:gd name="connsiteX693" fmla="*/ 115099 w 7467600"/>
              <a:gd name="connsiteY693" fmla="*/ 3607650 h 6858000"/>
              <a:gd name="connsiteX694" fmla="*/ 97284 w 7467600"/>
              <a:gd name="connsiteY694" fmla="*/ 3520393 h 6858000"/>
              <a:gd name="connsiteX695" fmla="*/ 922050 w 7467600"/>
              <a:gd name="connsiteY695" fmla="*/ 3074867 h 6858000"/>
              <a:gd name="connsiteX696" fmla="*/ 1405265 w 7467600"/>
              <a:gd name="connsiteY696" fmla="*/ 3016319 h 6858000"/>
              <a:gd name="connsiteX697" fmla="*/ 1407512 w 7467600"/>
              <a:gd name="connsiteY697" fmla="*/ 3018001 h 6858000"/>
              <a:gd name="connsiteX698" fmla="*/ 1726266 w 7467600"/>
              <a:gd name="connsiteY698" fmla="*/ 2777274 h 6858000"/>
              <a:gd name="connsiteX699" fmla="*/ 625390 w 7467600"/>
              <a:gd name="connsiteY699" fmla="*/ 2514541 h 6858000"/>
              <a:gd name="connsiteX700" fmla="*/ 619799 w 7467600"/>
              <a:gd name="connsiteY700" fmla="*/ 2527180 h 6858000"/>
              <a:gd name="connsiteX701" fmla="*/ 310030 w 7467600"/>
              <a:gd name="connsiteY701" fmla="*/ 2771818 h 6858000"/>
              <a:gd name="connsiteX702" fmla="*/ 173877 w 7467600"/>
              <a:gd name="connsiteY702" fmla="*/ 2937056 h 6858000"/>
              <a:gd name="connsiteX703" fmla="*/ 77889 w 7467600"/>
              <a:gd name="connsiteY703" fmla="*/ 3138440 h 6858000"/>
              <a:gd name="connsiteX704" fmla="*/ 0 w 7467600"/>
              <a:gd name="connsiteY704" fmla="*/ 3271395 h 6858000"/>
              <a:gd name="connsiteX705" fmla="*/ 0 w 7467600"/>
              <a:gd name="connsiteY705" fmla="*/ 3153002 h 6858000"/>
              <a:gd name="connsiteX706" fmla="*/ 2386 w 7467600"/>
              <a:gd name="connsiteY706" fmla="*/ 3149203 h 6858000"/>
              <a:gd name="connsiteX707" fmla="*/ 89753 w 7467600"/>
              <a:gd name="connsiteY707" fmla="*/ 2987702 h 6858000"/>
              <a:gd name="connsiteX708" fmla="*/ 76869 w 7467600"/>
              <a:gd name="connsiteY708" fmla="*/ 3005404 h 6858000"/>
              <a:gd name="connsiteX709" fmla="*/ 32049 w 7467600"/>
              <a:gd name="connsiteY709" fmla="*/ 3065814 h 6858000"/>
              <a:gd name="connsiteX710" fmla="*/ 0 w 7467600"/>
              <a:gd name="connsiteY710" fmla="*/ 3108744 h 6858000"/>
              <a:gd name="connsiteX711" fmla="*/ 0 w 7467600"/>
              <a:gd name="connsiteY711" fmla="*/ 3058059 h 6858000"/>
              <a:gd name="connsiteX712" fmla="*/ 7610 w 7467600"/>
              <a:gd name="connsiteY712" fmla="*/ 3047889 h 6858000"/>
              <a:gd name="connsiteX713" fmla="*/ 52419 w 7467600"/>
              <a:gd name="connsiteY713" fmla="*/ 2987479 h 6858000"/>
              <a:gd name="connsiteX714" fmla="*/ 59142 w 7467600"/>
              <a:gd name="connsiteY714" fmla="*/ 2978488 h 6858000"/>
              <a:gd name="connsiteX715" fmla="*/ 0 w 7467600"/>
              <a:gd name="connsiteY715" fmla="*/ 3015334 h 6858000"/>
              <a:gd name="connsiteX716" fmla="*/ 0 w 7467600"/>
              <a:gd name="connsiteY716" fmla="*/ 2914286 h 6858000"/>
              <a:gd name="connsiteX717" fmla="*/ 36383 w 7467600"/>
              <a:gd name="connsiteY717" fmla="*/ 2901128 h 6858000"/>
              <a:gd name="connsiteX718" fmla="*/ 156329 w 7467600"/>
              <a:gd name="connsiteY718" fmla="*/ 2840533 h 6858000"/>
              <a:gd name="connsiteX719" fmla="*/ 358355 w 7467600"/>
              <a:gd name="connsiteY719" fmla="*/ 2620471 h 6858000"/>
              <a:gd name="connsiteX720" fmla="*/ 510577 w 7467600"/>
              <a:gd name="connsiteY720" fmla="*/ 2501244 h 6858000"/>
              <a:gd name="connsiteX721" fmla="*/ 211967 w 7467600"/>
              <a:gd name="connsiteY721" fmla="*/ 2479171 h 6858000"/>
              <a:gd name="connsiteX722" fmla="*/ 0 w 7467600"/>
              <a:gd name="connsiteY722" fmla="*/ 2476398 h 6858000"/>
              <a:gd name="connsiteX723" fmla="*/ 0 w 7467600"/>
              <a:gd name="connsiteY723" fmla="*/ 2389189 h 6858000"/>
              <a:gd name="connsiteX724" fmla="*/ 103062 w 7467600"/>
              <a:gd name="connsiteY724" fmla="*/ 2389518 h 6858000"/>
              <a:gd name="connsiteX725" fmla="*/ 510734 w 7467600"/>
              <a:gd name="connsiteY725" fmla="*/ 2416201 h 6858000"/>
              <a:gd name="connsiteX726" fmla="*/ 279257 w 7467600"/>
              <a:gd name="connsiteY726" fmla="*/ 2092102 h 6858000"/>
              <a:gd name="connsiteX727" fmla="*/ 65265 w 7467600"/>
              <a:gd name="connsiteY727" fmla="*/ 2006049 h 6858000"/>
              <a:gd name="connsiteX728" fmla="*/ 0 w 7467600"/>
              <a:gd name="connsiteY728" fmla="*/ 1982532 h 6858000"/>
              <a:gd name="connsiteX729" fmla="*/ 0 w 7467600"/>
              <a:gd name="connsiteY729" fmla="*/ 1912789 h 6858000"/>
              <a:gd name="connsiteX730" fmla="*/ 97460 w 7467600"/>
              <a:gd name="connsiteY730" fmla="*/ 1953725 h 6858000"/>
              <a:gd name="connsiteX731" fmla="*/ 221272 w 7467600"/>
              <a:gd name="connsiteY731" fmla="*/ 1980766 h 6858000"/>
              <a:gd name="connsiteX732" fmla="*/ 116765 w 7467600"/>
              <a:gd name="connsiteY732" fmla="*/ 1911033 h 6858000"/>
              <a:gd name="connsiteX733" fmla="*/ 16405 w 7467600"/>
              <a:gd name="connsiteY733" fmla="*/ 1803412 h 6858000"/>
              <a:gd name="connsiteX734" fmla="*/ 0 w 7467600"/>
              <a:gd name="connsiteY734" fmla="*/ 1784777 h 6858000"/>
              <a:gd name="connsiteX735" fmla="*/ 0 w 7467600"/>
              <a:gd name="connsiteY735" fmla="*/ 1740082 h 6858000"/>
              <a:gd name="connsiteX736" fmla="*/ 39394 w 7467600"/>
              <a:gd name="connsiteY736" fmla="*/ 1784856 h 6858000"/>
              <a:gd name="connsiteX737" fmla="*/ 135813 w 7467600"/>
              <a:gd name="connsiteY737" fmla="*/ 1888838 h 6858000"/>
              <a:gd name="connsiteX738" fmla="*/ 242575 w 7467600"/>
              <a:gd name="connsiteY738" fmla="*/ 1958841 h 6858000"/>
              <a:gd name="connsiteX739" fmla="*/ 82197 w 7467600"/>
              <a:gd name="connsiteY739" fmla="*/ 1754826 h 6858000"/>
              <a:gd name="connsiteX740" fmla="*/ 0 w 7467600"/>
              <a:gd name="connsiteY740" fmla="*/ 1679650 h 6858000"/>
              <a:gd name="connsiteX741" fmla="*/ 0 w 7467600"/>
              <a:gd name="connsiteY741" fmla="*/ 1602463 h 6858000"/>
              <a:gd name="connsiteX742" fmla="*/ 84689 w 7467600"/>
              <a:gd name="connsiteY742" fmla="*/ 1677442 h 6858000"/>
              <a:gd name="connsiteX743" fmla="*/ 298437 w 7467600"/>
              <a:gd name="connsiteY743" fmla="*/ 1968019 h 6858000"/>
              <a:gd name="connsiteX744" fmla="*/ 227269 w 7467600"/>
              <a:gd name="connsiteY744" fmla="*/ 1114064 h 6858000"/>
              <a:gd name="connsiteX745" fmla="*/ 248003 w 7467600"/>
              <a:gd name="connsiteY745" fmla="*/ 1089613 h 6858000"/>
              <a:gd name="connsiteX746" fmla="*/ 427020 w 7467600"/>
              <a:gd name="connsiteY746" fmla="*/ 1619803 h 6858000"/>
              <a:gd name="connsiteX747" fmla="*/ 340345 w 7467600"/>
              <a:gd name="connsiteY747" fmla="*/ 2027739 h 6858000"/>
              <a:gd name="connsiteX748" fmla="*/ 360865 w 7467600"/>
              <a:gd name="connsiteY748" fmla="*/ 2044827 h 6858000"/>
              <a:gd name="connsiteX749" fmla="*/ 560414 w 7467600"/>
              <a:gd name="connsiteY749" fmla="*/ 2421457 h 6858000"/>
              <a:gd name="connsiteX750" fmla="*/ 1359703 w 7467600"/>
              <a:gd name="connsiteY750" fmla="*/ 2578554 h 6858000"/>
              <a:gd name="connsiteX751" fmla="*/ 1359422 w 7467600"/>
              <a:gd name="connsiteY751" fmla="*/ 2577994 h 6858000"/>
              <a:gd name="connsiteX752" fmla="*/ 828701 w 7467600"/>
              <a:gd name="connsiteY752" fmla="*/ 1839520 h 6858000"/>
              <a:gd name="connsiteX753" fmla="*/ 494427 w 7467600"/>
              <a:gd name="connsiteY753" fmla="*/ 1092333 h 6858000"/>
              <a:gd name="connsiteX754" fmla="*/ 506322 w 7467600"/>
              <a:gd name="connsiteY754" fmla="*/ 1020997 h 6858000"/>
              <a:gd name="connsiteX755" fmla="*/ 4570198 w 7467600"/>
              <a:gd name="connsiteY755" fmla="*/ 978081 h 6858000"/>
              <a:gd name="connsiteX756" fmla="*/ 4523691 w 7467600"/>
              <a:gd name="connsiteY756" fmla="*/ 1127776 h 6858000"/>
              <a:gd name="connsiteX757" fmla="*/ 4509875 w 7467600"/>
              <a:gd name="connsiteY757" fmla="*/ 1167552 h 6858000"/>
              <a:gd name="connsiteX758" fmla="*/ 4478168 w 7467600"/>
              <a:gd name="connsiteY758" fmla="*/ 1260735 h 6858000"/>
              <a:gd name="connsiteX759" fmla="*/ 4409309 w 7467600"/>
              <a:gd name="connsiteY759" fmla="*/ 1666996 h 6858000"/>
              <a:gd name="connsiteX760" fmla="*/ 4370031 w 7467600"/>
              <a:gd name="connsiteY760" fmla="*/ 1955666 h 6858000"/>
              <a:gd name="connsiteX761" fmla="*/ 4570198 w 7467600"/>
              <a:gd name="connsiteY761" fmla="*/ 978081 h 6858000"/>
              <a:gd name="connsiteX762" fmla="*/ 4557898 w 7467600"/>
              <a:gd name="connsiteY762" fmla="*/ 900011 h 6858000"/>
              <a:gd name="connsiteX763" fmla="*/ 4344840 w 7467600"/>
              <a:gd name="connsiteY763" fmla="*/ 1922038 h 6858000"/>
              <a:gd name="connsiteX764" fmla="*/ 4378710 w 7467600"/>
              <a:gd name="connsiteY764" fmla="*/ 1665516 h 6858000"/>
              <a:gd name="connsiteX765" fmla="*/ 4448798 w 7467600"/>
              <a:gd name="connsiteY765" fmla="*/ 1253024 h 6858000"/>
              <a:gd name="connsiteX766" fmla="*/ 4480315 w 7467600"/>
              <a:gd name="connsiteY766" fmla="*/ 1158454 h 6858000"/>
              <a:gd name="connsiteX767" fmla="*/ 4494133 w 7467600"/>
              <a:gd name="connsiteY767" fmla="*/ 1118676 h 6858000"/>
              <a:gd name="connsiteX768" fmla="*/ 4557898 w 7467600"/>
              <a:gd name="connsiteY768" fmla="*/ 900011 h 6858000"/>
              <a:gd name="connsiteX769" fmla="*/ 5870151 w 7467600"/>
              <a:gd name="connsiteY769" fmla="*/ 898890 h 6858000"/>
              <a:gd name="connsiteX770" fmla="*/ 5861335 w 7467600"/>
              <a:gd name="connsiteY770" fmla="*/ 899177 h 6858000"/>
              <a:gd name="connsiteX771" fmla="*/ 5843702 w 7467600"/>
              <a:gd name="connsiteY771" fmla="*/ 899748 h 6858000"/>
              <a:gd name="connsiteX772" fmla="*/ 5651107 w 7467600"/>
              <a:gd name="connsiteY772" fmla="*/ 920306 h 6858000"/>
              <a:gd name="connsiteX773" fmla="*/ 5459407 w 7467600"/>
              <a:gd name="connsiteY773" fmla="*/ 940975 h 6858000"/>
              <a:gd name="connsiteX774" fmla="*/ 5374846 w 7467600"/>
              <a:gd name="connsiteY774" fmla="*/ 941988 h 6858000"/>
              <a:gd name="connsiteX775" fmla="*/ 5256105 w 7467600"/>
              <a:gd name="connsiteY775" fmla="*/ 945632 h 6858000"/>
              <a:gd name="connsiteX776" fmla="*/ 5107071 w 7467600"/>
              <a:gd name="connsiteY776" fmla="*/ 969720 h 6858000"/>
              <a:gd name="connsiteX777" fmla="*/ 4998681 w 7467600"/>
              <a:gd name="connsiteY777" fmla="*/ 988771 h 6858000"/>
              <a:gd name="connsiteX778" fmla="*/ 5870151 w 7467600"/>
              <a:gd name="connsiteY778" fmla="*/ 898890 h 6858000"/>
              <a:gd name="connsiteX779" fmla="*/ 5504425 w 7467600"/>
              <a:gd name="connsiteY779" fmla="*/ 848067 h 6858000"/>
              <a:gd name="connsiteX780" fmla="*/ 4968849 w 7467600"/>
              <a:gd name="connsiteY780" fmla="*/ 962318 h 6858000"/>
              <a:gd name="connsiteX781" fmla="*/ 5104039 w 7467600"/>
              <a:gd name="connsiteY781" fmla="*/ 940634 h 6858000"/>
              <a:gd name="connsiteX782" fmla="*/ 5256311 w 7467600"/>
              <a:gd name="connsiteY782" fmla="*/ 916490 h 6858000"/>
              <a:gd name="connsiteX783" fmla="*/ 5377381 w 7467600"/>
              <a:gd name="connsiteY783" fmla="*/ 912671 h 6858000"/>
              <a:gd name="connsiteX784" fmla="*/ 5460148 w 7467600"/>
              <a:gd name="connsiteY784" fmla="*/ 911442 h 6858000"/>
              <a:gd name="connsiteX785" fmla="*/ 5648971 w 7467600"/>
              <a:gd name="connsiteY785" fmla="*/ 891331 h 6858000"/>
              <a:gd name="connsiteX786" fmla="*/ 5844807 w 7467600"/>
              <a:gd name="connsiteY786" fmla="*/ 870718 h 6858000"/>
              <a:gd name="connsiteX787" fmla="*/ 5862975 w 7467600"/>
              <a:gd name="connsiteY787" fmla="*/ 869756 h 6858000"/>
              <a:gd name="connsiteX788" fmla="*/ 5920887 w 7467600"/>
              <a:gd name="connsiteY788" fmla="*/ 865929 h 6858000"/>
              <a:gd name="connsiteX789" fmla="*/ 5504425 w 7467600"/>
              <a:gd name="connsiteY789" fmla="*/ 848067 h 6858000"/>
              <a:gd name="connsiteX790" fmla="*/ 3607114 w 7467600"/>
              <a:gd name="connsiteY790" fmla="*/ 467441 h 6858000"/>
              <a:gd name="connsiteX791" fmla="*/ 3296242 w 7467600"/>
              <a:gd name="connsiteY791" fmla="*/ 807991 h 6858000"/>
              <a:gd name="connsiteX792" fmla="*/ 3174674 w 7467600"/>
              <a:gd name="connsiteY792" fmla="*/ 919759 h 6858000"/>
              <a:gd name="connsiteX793" fmla="*/ 3042978 w 7467600"/>
              <a:gd name="connsiteY793" fmla="*/ 1054894 h 6858000"/>
              <a:gd name="connsiteX794" fmla="*/ 2968914 w 7467600"/>
              <a:gd name="connsiteY794" fmla="*/ 1133756 h 6858000"/>
              <a:gd name="connsiteX795" fmla="*/ 3103823 w 7467600"/>
              <a:gd name="connsiteY795" fmla="*/ 1026814 h 6858000"/>
              <a:gd name="connsiteX796" fmla="*/ 3607114 w 7467600"/>
              <a:gd name="connsiteY796" fmla="*/ 467441 h 6858000"/>
              <a:gd name="connsiteX797" fmla="*/ 3744487 w 7467600"/>
              <a:gd name="connsiteY797" fmla="*/ 383136 h 6858000"/>
              <a:gd name="connsiteX798" fmla="*/ 3970213 w 7467600"/>
              <a:gd name="connsiteY798" fmla="*/ 995559 h 6858000"/>
              <a:gd name="connsiteX799" fmla="*/ 3744487 w 7467600"/>
              <a:gd name="connsiteY799" fmla="*/ 383136 h 6858000"/>
              <a:gd name="connsiteX800" fmla="*/ 3624562 w 7467600"/>
              <a:gd name="connsiteY800" fmla="*/ 367041 h 6858000"/>
              <a:gd name="connsiteX801" fmla="*/ 3489712 w 7467600"/>
              <a:gd name="connsiteY801" fmla="*/ 485386 h 6858000"/>
              <a:gd name="connsiteX802" fmla="*/ 3182994 w 7467600"/>
              <a:gd name="connsiteY802" fmla="*/ 828265 h 6858000"/>
              <a:gd name="connsiteX803" fmla="*/ 2892114 w 7467600"/>
              <a:gd name="connsiteY803" fmla="*/ 1172635 h 6858000"/>
              <a:gd name="connsiteX804" fmla="*/ 3021459 w 7467600"/>
              <a:gd name="connsiteY804" fmla="*/ 1035385 h 6858000"/>
              <a:gd name="connsiteX805" fmla="*/ 3153873 w 7467600"/>
              <a:gd name="connsiteY805" fmla="*/ 898971 h 6858000"/>
              <a:gd name="connsiteX806" fmla="*/ 3276511 w 7467600"/>
              <a:gd name="connsiteY806" fmla="*/ 786423 h 6858000"/>
              <a:gd name="connsiteX807" fmla="*/ 3584154 w 7467600"/>
              <a:gd name="connsiteY807" fmla="*/ 448218 h 6858000"/>
              <a:gd name="connsiteX808" fmla="*/ 3624562 w 7467600"/>
              <a:gd name="connsiteY808" fmla="*/ 367041 h 6858000"/>
              <a:gd name="connsiteX809" fmla="*/ 3766672 w 7467600"/>
              <a:gd name="connsiteY809" fmla="*/ 359429 h 6858000"/>
              <a:gd name="connsiteX810" fmla="*/ 3996338 w 7467600"/>
              <a:gd name="connsiteY810" fmla="*/ 968237 h 6858000"/>
              <a:gd name="connsiteX811" fmla="*/ 3766672 w 7467600"/>
              <a:gd name="connsiteY811" fmla="*/ 359429 h 6858000"/>
              <a:gd name="connsiteX812" fmla="*/ 5805386 w 7467600"/>
              <a:gd name="connsiteY812" fmla="*/ 239240 h 6858000"/>
              <a:gd name="connsiteX813" fmla="*/ 5736947 w 7467600"/>
              <a:gd name="connsiteY813" fmla="*/ 261367 h 6858000"/>
              <a:gd name="connsiteX814" fmla="*/ 5427012 w 7467600"/>
              <a:gd name="connsiteY814" fmla="*/ 311272 h 6858000"/>
              <a:gd name="connsiteX815" fmla="*/ 5147818 w 7467600"/>
              <a:gd name="connsiteY815" fmla="*/ 322112 h 6858000"/>
              <a:gd name="connsiteX816" fmla="*/ 5060854 w 7467600"/>
              <a:gd name="connsiteY816" fmla="*/ 311882 h 6858000"/>
              <a:gd name="connsiteX817" fmla="*/ 4945989 w 7467600"/>
              <a:gd name="connsiteY817" fmla="*/ 300516 h 6858000"/>
              <a:gd name="connsiteX818" fmla="*/ 5410479 w 7467600"/>
              <a:gd name="connsiteY818" fmla="*/ 348434 h 6858000"/>
              <a:gd name="connsiteX819" fmla="*/ 5805386 w 7467600"/>
              <a:gd name="connsiteY819" fmla="*/ 239240 h 6858000"/>
              <a:gd name="connsiteX820" fmla="*/ 5905192 w 7467600"/>
              <a:gd name="connsiteY820" fmla="*/ 163079 h 6858000"/>
              <a:gd name="connsiteX821" fmla="*/ 5865655 w 7467600"/>
              <a:gd name="connsiteY821" fmla="*/ 171901 h 6858000"/>
              <a:gd name="connsiteX822" fmla="*/ 5259740 w 7467600"/>
              <a:gd name="connsiteY822" fmla="*/ 257013 h 6858000"/>
              <a:gd name="connsiteX823" fmla="*/ 5208466 w 7467600"/>
              <a:gd name="connsiteY823" fmla="*/ 257550 h 6858000"/>
              <a:gd name="connsiteX824" fmla="*/ 4980204 w 7467600"/>
              <a:gd name="connsiteY824" fmla="*/ 271903 h 6858000"/>
              <a:gd name="connsiteX825" fmla="*/ 5068068 w 7467600"/>
              <a:gd name="connsiteY825" fmla="*/ 282244 h 6858000"/>
              <a:gd name="connsiteX826" fmla="*/ 5153231 w 7467600"/>
              <a:gd name="connsiteY826" fmla="*/ 292240 h 6858000"/>
              <a:gd name="connsiteX827" fmla="*/ 5426491 w 7467600"/>
              <a:gd name="connsiteY827" fmla="*/ 281128 h 6858000"/>
              <a:gd name="connsiteX828" fmla="*/ 5731212 w 7467600"/>
              <a:gd name="connsiteY828" fmla="*/ 231951 h 6858000"/>
              <a:gd name="connsiteX829" fmla="*/ 5905192 w 7467600"/>
              <a:gd name="connsiteY829" fmla="*/ 163079 h 6858000"/>
              <a:gd name="connsiteX830" fmla="*/ 5944437 w 7467600"/>
              <a:gd name="connsiteY830" fmla="*/ 113829 h 6858000"/>
              <a:gd name="connsiteX831" fmla="*/ 5825032 w 7467600"/>
              <a:gd name="connsiteY831" fmla="*/ 146405 h 6858000"/>
              <a:gd name="connsiteX832" fmla="*/ 4955599 w 7467600"/>
              <a:gd name="connsiteY832" fmla="*/ 247008 h 6858000"/>
              <a:gd name="connsiteX833" fmla="*/ 5210104 w 7467600"/>
              <a:gd name="connsiteY833" fmla="*/ 228123 h 6858000"/>
              <a:gd name="connsiteX834" fmla="*/ 5261015 w 7467600"/>
              <a:gd name="connsiteY834" fmla="*/ 227087 h 6858000"/>
              <a:gd name="connsiteX835" fmla="*/ 5861181 w 7467600"/>
              <a:gd name="connsiteY835" fmla="*/ 143093 h 6858000"/>
              <a:gd name="connsiteX836" fmla="*/ 5961252 w 7467600"/>
              <a:gd name="connsiteY836" fmla="*/ 114820 h 6858000"/>
              <a:gd name="connsiteX837" fmla="*/ 5944437 w 7467600"/>
              <a:gd name="connsiteY837" fmla="*/ 113829 h 6858000"/>
              <a:gd name="connsiteX838" fmla="*/ 3882765 w 7467600"/>
              <a:gd name="connsiteY838" fmla="*/ 0 h 6858000"/>
              <a:gd name="connsiteX839" fmla="*/ 3995099 w 7467600"/>
              <a:gd name="connsiteY839" fmla="*/ 0 h 6858000"/>
              <a:gd name="connsiteX840" fmla="*/ 4163818 w 7467600"/>
              <a:gd name="connsiteY840" fmla="*/ 234104 h 6858000"/>
              <a:gd name="connsiteX841" fmla="*/ 4172099 w 7467600"/>
              <a:gd name="connsiteY841" fmla="*/ 234207 h 6858000"/>
              <a:gd name="connsiteX842" fmla="*/ 4784282 w 7467600"/>
              <a:gd name="connsiteY842" fmla="*/ 276561 h 6858000"/>
              <a:gd name="connsiteX843" fmla="*/ 4801687 w 7467600"/>
              <a:gd name="connsiteY843" fmla="*/ 267764 h 6858000"/>
              <a:gd name="connsiteX844" fmla="*/ 6082788 w 7467600"/>
              <a:gd name="connsiteY844" fmla="*/ 64119 h 6858000"/>
              <a:gd name="connsiteX845" fmla="*/ 6099442 w 7467600"/>
              <a:gd name="connsiteY845" fmla="*/ 82568 h 6858000"/>
              <a:gd name="connsiteX846" fmla="*/ 4804137 w 7467600"/>
              <a:gd name="connsiteY846" fmla="*/ 320931 h 6858000"/>
              <a:gd name="connsiteX847" fmla="*/ 4227047 w 7467600"/>
              <a:gd name="connsiteY847" fmla="*/ 313415 h 6858000"/>
              <a:gd name="connsiteX848" fmla="*/ 4346041 w 7467600"/>
              <a:gd name="connsiteY848" fmla="*/ 456086 h 6858000"/>
              <a:gd name="connsiteX849" fmla="*/ 4870967 w 7467600"/>
              <a:gd name="connsiteY849" fmla="*/ 963061 h 6858000"/>
              <a:gd name="connsiteX850" fmla="*/ 4889647 w 7467600"/>
              <a:gd name="connsiteY850" fmla="*/ 957147 h 6858000"/>
              <a:gd name="connsiteX851" fmla="*/ 5422504 w 7467600"/>
              <a:gd name="connsiteY851" fmla="*/ 805191 h 6858000"/>
              <a:gd name="connsiteX852" fmla="*/ 6087656 w 7467600"/>
              <a:gd name="connsiteY852" fmla="*/ 826703 h 6858000"/>
              <a:gd name="connsiteX853" fmla="*/ 6058717 w 7467600"/>
              <a:gd name="connsiteY853" fmla="*/ 865992 h 6858000"/>
              <a:gd name="connsiteX854" fmla="*/ 4974153 w 7467600"/>
              <a:gd name="connsiteY854" fmla="*/ 1045456 h 6858000"/>
              <a:gd name="connsiteX855" fmla="*/ 5627835 w 7467600"/>
              <a:gd name="connsiteY855" fmla="*/ 1472077 h 6858000"/>
              <a:gd name="connsiteX856" fmla="*/ 5629817 w 7467600"/>
              <a:gd name="connsiteY856" fmla="*/ 1471412 h 6858000"/>
              <a:gd name="connsiteX857" fmla="*/ 5634124 w 7467600"/>
              <a:gd name="connsiteY857" fmla="*/ 1470572 h 6858000"/>
              <a:gd name="connsiteX858" fmla="*/ 5755832 w 7467600"/>
              <a:gd name="connsiteY858" fmla="*/ 1383886 h 6858000"/>
              <a:gd name="connsiteX859" fmla="*/ 6014186 w 7467600"/>
              <a:gd name="connsiteY859" fmla="*/ 1279799 h 6858000"/>
              <a:gd name="connsiteX860" fmla="*/ 6901619 w 7467600"/>
              <a:gd name="connsiteY860" fmla="*/ 1047874 h 6858000"/>
              <a:gd name="connsiteX861" fmla="*/ 6931566 w 7467600"/>
              <a:gd name="connsiteY861" fmla="*/ 1062034 h 6858000"/>
              <a:gd name="connsiteX862" fmla="*/ 5790982 w 7467600"/>
              <a:gd name="connsiteY862" fmla="*/ 1561380 h 6858000"/>
              <a:gd name="connsiteX863" fmla="*/ 6188971 w 7467600"/>
              <a:gd name="connsiteY863" fmla="*/ 1755168 h 6858000"/>
              <a:gd name="connsiteX864" fmla="*/ 6202446 w 7467600"/>
              <a:gd name="connsiteY864" fmla="*/ 1752268 h 6858000"/>
              <a:gd name="connsiteX865" fmla="*/ 7179560 w 7467600"/>
              <a:gd name="connsiteY865" fmla="*/ 1467551 h 6858000"/>
              <a:gd name="connsiteX866" fmla="*/ 7158730 w 7467600"/>
              <a:gd name="connsiteY866" fmla="*/ 1507835 h 6858000"/>
              <a:gd name="connsiteX867" fmla="*/ 6326959 w 7467600"/>
              <a:gd name="connsiteY867" fmla="*/ 1817686 h 6858000"/>
              <a:gd name="connsiteX868" fmla="*/ 6537433 w 7467600"/>
              <a:gd name="connsiteY868" fmla="*/ 1907790 h 6858000"/>
              <a:gd name="connsiteX869" fmla="*/ 6550221 w 7467600"/>
              <a:gd name="connsiteY869" fmla="*/ 1910729 h 6858000"/>
              <a:gd name="connsiteX870" fmla="*/ 6964438 w 7467600"/>
              <a:gd name="connsiteY870" fmla="*/ 2209505 h 6858000"/>
              <a:gd name="connsiteX871" fmla="*/ 7367862 w 7467600"/>
              <a:gd name="connsiteY871" fmla="*/ 2806833 h 6858000"/>
              <a:gd name="connsiteX872" fmla="*/ 7364329 w 7467600"/>
              <a:gd name="connsiteY872" fmla="*/ 2826907 h 6858000"/>
              <a:gd name="connsiteX873" fmla="*/ 7290545 w 7467600"/>
              <a:gd name="connsiteY873" fmla="*/ 2850663 h 6858000"/>
              <a:gd name="connsiteX874" fmla="*/ 6472036 w 7467600"/>
              <a:gd name="connsiteY874" fmla="*/ 1959003 h 6858000"/>
              <a:gd name="connsiteX875" fmla="*/ 5792897 w 7467600"/>
              <a:gd name="connsiteY875" fmla="*/ 1647747 h 6858000"/>
              <a:gd name="connsiteX876" fmla="*/ 5842751 w 7467600"/>
              <a:gd name="connsiteY876" fmla="*/ 1816112 h 6858000"/>
              <a:gd name="connsiteX877" fmla="*/ 5847424 w 7467600"/>
              <a:gd name="connsiteY877" fmla="*/ 1815776 h 6858000"/>
              <a:gd name="connsiteX878" fmla="*/ 6399821 w 7467600"/>
              <a:gd name="connsiteY878" fmla="*/ 2344799 h 6858000"/>
              <a:gd name="connsiteX879" fmla="*/ 6323232 w 7467600"/>
              <a:gd name="connsiteY879" fmla="*/ 2389634 h 6858000"/>
              <a:gd name="connsiteX880" fmla="*/ 5942958 w 7467600"/>
              <a:gd name="connsiteY880" fmla="*/ 2077708 h 6858000"/>
              <a:gd name="connsiteX881" fmla="*/ 5921559 w 7467600"/>
              <a:gd name="connsiteY881" fmla="*/ 2378596 h 6858000"/>
              <a:gd name="connsiteX882" fmla="*/ 5817651 w 7467600"/>
              <a:gd name="connsiteY882" fmla="*/ 3023919 h 6858000"/>
              <a:gd name="connsiteX883" fmla="*/ 5729634 w 7467600"/>
              <a:gd name="connsiteY883" fmla="*/ 3051849 h 6858000"/>
              <a:gd name="connsiteX884" fmla="*/ 5611018 w 7467600"/>
              <a:gd name="connsiteY884" fmla="*/ 2316769 h 6858000"/>
              <a:gd name="connsiteX885" fmla="*/ 5687608 w 7467600"/>
              <a:gd name="connsiteY885" fmla="*/ 2039972 h 6858000"/>
              <a:gd name="connsiteX886" fmla="*/ 5657554 w 7467600"/>
              <a:gd name="connsiteY886" fmla="*/ 1576445 h 6858000"/>
              <a:gd name="connsiteX887" fmla="*/ 5150475 w 7467600"/>
              <a:gd name="connsiteY887" fmla="*/ 1274012 h 6858000"/>
              <a:gd name="connsiteX888" fmla="*/ 5349142 w 7467600"/>
              <a:gd name="connsiteY888" fmla="*/ 2204405 h 6858000"/>
              <a:gd name="connsiteX889" fmla="*/ 5262214 w 7467600"/>
              <a:gd name="connsiteY889" fmla="*/ 2233836 h 6858000"/>
              <a:gd name="connsiteX890" fmla="*/ 4981539 w 7467600"/>
              <a:gd name="connsiteY890" fmla="*/ 1542201 h 6858000"/>
              <a:gd name="connsiteX891" fmla="*/ 4958461 w 7467600"/>
              <a:gd name="connsiteY891" fmla="*/ 1136957 h 6858000"/>
              <a:gd name="connsiteX892" fmla="*/ 4655015 w 7467600"/>
              <a:gd name="connsiteY892" fmla="*/ 891426 h 6858000"/>
              <a:gd name="connsiteX893" fmla="*/ 4348002 w 7467600"/>
              <a:gd name="connsiteY893" fmla="*/ 2205895 h 6858000"/>
              <a:gd name="connsiteX894" fmla="*/ 4262250 w 7467600"/>
              <a:gd name="connsiteY894" fmla="*/ 2219972 h 6858000"/>
              <a:gd name="connsiteX895" fmla="*/ 4550611 w 7467600"/>
              <a:gd name="connsiteY895" fmla="*/ 817540 h 6858000"/>
              <a:gd name="connsiteX896" fmla="*/ 4564418 w 7467600"/>
              <a:gd name="connsiteY896" fmla="*/ 808293 h 6858000"/>
              <a:gd name="connsiteX897" fmla="*/ 4266388 w 7467600"/>
              <a:gd name="connsiteY897" fmla="*/ 500083 h 6858000"/>
              <a:gd name="connsiteX898" fmla="*/ 4032842 w 7467600"/>
              <a:gd name="connsiteY898" fmla="*/ 211809 h 6858000"/>
              <a:gd name="connsiteX899" fmla="*/ 3882765 w 7467600"/>
              <a:gd name="connsiteY899" fmla="*/ 0 h 6858000"/>
              <a:gd name="connsiteX900" fmla="*/ 3721337 w 7467600"/>
              <a:gd name="connsiteY900" fmla="*/ 0 h 6858000"/>
              <a:gd name="connsiteX901" fmla="*/ 3797544 w 7467600"/>
              <a:gd name="connsiteY901" fmla="*/ 0 h 6858000"/>
              <a:gd name="connsiteX902" fmla="*/ 3775734 w 7467600"/>
              <a:gd name="connsiteY902" fmla="*/ 95131 h 6858000"/>
              <a:gd name="connsiteX903" fmla="*/ 3724807 w 7467600"/>
              <a:gd name="connsiteY903" fmla="*/ 272257 h 6858000"/>
              <a:gd name="connsiteX904" fmla="*/ 3726844 w 7467600"/>
              <a:gd name="connsiteY904" fmla="*/ 282988 h 6858000"/>
              <a:gd name="connsiteX905" fmla="*/ 3742664 w 7467600"/>
              <a:gd name="connsiteY905" fmla="*/ 279918 h 6858000"/>
              <a:gd name="connsiteX906" fmla="*/ 4103910 w 7467600"/>
              <a:gd name="connsiteY906" fmla="*/ 1161917 h 6858000"/>
              <a:gd name="connsiteX907" fmla="*/ 4020269 w 7467600"/>
              <a:gd name="connsiteY907" fmla="*/ 1200406 h 6858000"/>
              <a:gd name="connsiteX908" fmla="*/ 3674882 w 7467600"/>
              <a:gd name="connsiteY908" fmla="*/ 488524 h 6858000"/>
              <a:gd name="connsiteX909" fmla="*/ 3132682 w 7467600"/>
              <a:gd name="connsiteY909" fmla="*/ 1072284 h 6858000"/>
              <a:gd name="connsiteX910" fmla="*/ 2716346 w 7467600"/>
              <a:gd name="connsiteY910" fmla="*/ 1276376 h 6858000"/>
              <a:gd name="connsiteX911" fmla="*/ 2716772 w 7467600"/>
              <a:gd name="connsiteY911" fmla="*/ 1255462 h 6858000"/>
              <a:gd name="connsiteX912" fmla="*/ 3471096 w 7467600"/>
              <a:gd name="connsiteY912" fmla="*/ 437072 h 6858000"/>
              <a:gd name="connsiteX913" fmla="*/ 3639057 w 7467600"/>
              <a:gd name="connsiteY913" fmla="*/ 286334 h 6858000"/>
              <a:gd name="connsiteX914" fmla="*/ 3640309 w 7467600"/>
              <a:gd name="connsiteY914" fmla="*/ 284664 h 6858000"/>
              <a:gd name="connsiteX915" fmla="*/ 3646022 w 7467600"/>
              <a:gd name="connsiteY915" fmla="*/ 276711 h 6858000"/>
              <a:gd name="connsiteX916" fmla="*/ 3707943 w 7467600"/>
              <a:gd name="connsiteY916" fmla="*/ 65958 h 6858000"/>
              <a:gd name="connsiteX917" fmla="*/ 3721337 w 7467600"/>
              <a:gd name="connsiteY917" fmla="*/ 0 h 6858000"/>
              <a:gd name="connsiteX918" fmla="*/ 2867960 w 7467600"/>
              <a:gd name="connsiteY918" fmla="*/ 0 h 6858000"/>
              <a:gd name="connsiteX919" fmla="*/ 2926351 w 7467600"/>
              <a:gd name="connsiteY919" fmla="*/ 0 h 6858000"/>
              <a:gd name="connsiteX920" fmla="*/ 2902823 w 7467600"/>
              <a:gd name="connsiteY920" fmla="*/ 262929 h 6858000"/>
              <a:gd name="connsiteX921" fmla="*/ 2940663 w 7467600"/>
              <a:gd name="connsiteY921" fmla="*/ 140884 h 6858000"/>
              <a:gd name="connsiteX922" fmla="*/ 2947039 w 7467600"/>
              <a:gd name="connsiteY922" fmla="*/ 122524 h 6858000"/>
              <a:gd name="connsiteX923" fmla="*/ 2984316 w 7467600"/>
              <a:gd name="connsiteY923" fmla="*/ 0 h 6858000"/>
              <a:gd name="connsiteX924" fmla="*/ 3016114 w 7467600"/>
              <a:gd name="connsiteY924" fmla="*/ 0 h 6858000"/>
              <a:gd name="connsiteX925" fmla="*/ 2979949 w 7467600"/>
              <a:gd name="connsiteY925" fmla="*/ 119274 h 6858000"/>
              <a:gd name="connsiteX926" fmla="*/ 3023879 w 7467600"/>
              <a:gd name="connsiteY926" fmla="*/ 0 h 6858000"/>
              <a:gd name="connsiteX927" fmla="*/ 3105400 w 7467600"/>
              <a:gd name="connsiteY927" fmla="*/ 0 h 6858000"/>
              <a:gd name="connsiteX928" fmla="*/ 3094669 w 7467600"/>
              <a:gd name="connsiteY928" fmla="*/ 30308 h 6858000"/>
              <a:gd name="connsiteX929" fmla="*/ 2901945 w 7467600"/>
              <a:gd name="connsiteY929" fmla="*/ 466538 h 6858000"/>
              <a:gd name="connsiteX930" fmla="*/ 2815209 w 7467600"/>
              <a:gd name="connsiteY930" fmla="*/ 497361 h 6858000"/>
              <a:gd name="connsiteX931" fmla="*/ 2844845 w 7467600"/>
              <a:gd name="connsiteY931" fmla="*/ 127638 h 6858000"/>
              <a:gd name="connsiteX932" fmla="*/ 2867960 w 7467600"/>
              <a:gd name="connsiteY932" fmla="*/ 0 h 6858000"/>
              <a:gd name="connsiteX933" fmla="*/ 1057230 w 7467600"/>
              <a:gd name="connsiteY933" fmla="*/ 0 h 6858000"/>
              <a:gd name="connsiteX934" fmla="*/ 1111003 w 7467600"/>
              <a:gd name="connsiteY934" fmla="*/ 0 h 6858000"/>
              <a:gd name="connsiteX935" fmla="*/ 1125553 w 7467600"/>
              <a:gd name="connsiteY935" fmla="*/ 52588 h 6858000"/>
              <a:gd name="connsiteX936" fmla="*/ 1304276 w 7467600"/>
              <a:gd name="connsiteY936" fmla="*/ 476275 h 6858000"/>
              <a:gd name="connsiteX937" fmla="*/ 1492066 w 7467600"/>
              <a:gd name="connsiteY937" fmla="*/ 886333 h 6858000"/>
              <a:gd name="connsiteX938" fmla="*/ 1423698 w 7467600"/>
              <a:gd name="connsiteY938" fmla="*/ 710817 h 6858000"/>
              <a:gd name="connsiteX939" fmla="*/ 1357609 w 7467600"/>
              <a:gd name="connsiteY939" fmla="*/ 532892 h 6858000"/>
              <a:gd name="connsiteX940" fmla="*/ 1309550 w 7467600"/>
              <a:gd name="connsiteY940" fmla="*/ 374031 h 6858000"/>
              <a:gd name="connsiteX941" fmla="*/ 1193673 w 7467600"/>
              <a:gd name="connsiteY941" fmla="*/ 49533 h 6858000"/>
              <a:gd name="connsiteX942" fmla="*/ 1164391 w 7467600"/>
              <a:gd name="connsiteY942" fmla="*/ 0 h 6858000"/>
              <a:gd name="connsiteX943" fmla="*/ 1200666 w 7467600"/>
              <a:gd name="connsiteY943" fmla="*/ 0 h 6858000"/>
              <a:gd name="connsiteX944" fmla="*/ 1223408 w 7467600"/>
              <a:gd name="connsiteY944" fmla="*/ 38996 h 6858000"/>
              <a:gd name="connsiteX945" fmla="*/ 1339635 w 7467600"/>
              <a:gd name="connsiteY945" fmla="*/ 365517 h 6858000"/>
              <a:gd name="connsiteX946" fmla="*/ 1387469 w 7467600"/>
              <a:gd name="connsiteY946" fmla="*/ 523079 h 6858000"/>
              <a:gd name="connsiteX947" fmla="*/ 1452685 w 7467600"/>
              <a:gd name="connsiteY947" fmla="*/ 699806 h 6858000"/>
              <a:gd name="connsiteX948" fmla="*/ 1492092 w 7467600"/>
              <a:gd name="connsiteY948" fmla="*/ 800424 h 6858000"/>
              <a:gd name="connsiteX949" fmla="*/ 1455302 w 7467600"/>
              <a:gd name="connsiteY949" fmla="*/ 632913 h 6858000"/>
              <a:gd name="connsiteX950" fmla="*/ 1222336 w 7467600"/>
              <a:gd name="connsiteY950" fmla="*/ 9480 h 6858000"/>
              <a:gd name="connsiteX951" fmla="*/ 1214634 w 7467600"/>
              <a:gd name="connsiteY951" fmla="*/ 0 h 6858000"/>
              <a:gd name="connsiteX952" fmla="*/ 1289827 w 7467600"/>
              <a:gd name="connsiteY952" fmla="*/ 0 h 6858000"/>
              <a:gd name="connsiteX953" fmla="*/ 1321076 w 7467600"/>
              <a:gd name="connsiteY953" fmla="*/ 59722 h 6858000"/>
              <a:gd name="connsiteX954" fmla="*/ 1512579 w 7467600"/>
              <a:gd name="connsiteY954" fmla="*/ 626441 h 6858000"/>
              <a:gd name="connsiteX955" fmla="*/ 1506076 w 7467600"/>
              <a:gd name="connsiteY955" fmla="*/ 1089289 h 6858000"/>
              <a:gd name="connsiteX956" fmla="*/ 1486346 w 7467600"/>
              <a:gd name="connsiteY956" fmla="*/ 1079919 h 6858000"/>
              <a:gd name="connsiteX957" fmla="*/ 1070511 w 7467600"/>
              <a:gd name="connsiteY957" fmla="*/ 48609 h 6858000"/>
              <a:gd name="connsiteX958" fmla="*/ 1057230 w 7467600"/>
              <a:gd name="connsiteY958" fmla="*/ 0 h 6858000"/>
              <a:gd name="connsiteX959" fmla="*/ 43151 w 7467600"/>
              <a:gd name="connsiteY959" fmla="*/ 0 h 6858000"/>
              <a:gd name="connsiteX960" fmla="*/ 95283 w 7467600"/>
              <a:gd name="connsiteY960" fmla="*/ 0 h 6858000"/>
              <a:gd name="connsiteX961" fmla="*/ 300708 w 7467600"/>
              <a:gd name="connsiteY961" fmla="*/ 154571 h 6858000"/>
              <a:gd name="connsiteX962" fmla="*/ 530414 w 7467600"/>
              <a:gd name="connsiteY962" fmla="*/ 354673 h 6858000"/>
              <a:gd name="connsiteX963" fmla="*/ 333785 w 7467600"/>
              <a:gd name="connsiteY963" fmla="*/ 161564 h 6858000"/>
              <a:gd name="connsiteX964" fmla="*/ 147005 w 7467600"/>
              <a:gd name="connsiteY964" fmla="*/ 0 h 6858000"/>
              <a:gd name="connsiteX965" fmla="*/ 272509 w 7467600"/>
              <a:gd name="connsiteY965" fmla="*/ 0 h 6858000"/>
              <a:gd name="connsiteX966" fmla="*/ 326276 w 7467600"/>
              <a:gd name="connsiteY966" fmla="*/ 45847 h 6858000"/>
              <a:gd name="connsiteX967" fmla="*/ 823759 w 7467600"/>
              <a:gd name="connsiteY967" fmla="*/ 574145 h 6858000"/>
              <a:gd name="connsiteX968" fmla="*/ 811254 w 7467600"/>
              <a:gd name="connsiteY968" fmla="*/ 665546 h 6858000"/>
              <a:gd name="connsiteX969" fmla="*/ 154042 w 7467600"/>
              <a:gd name="connsiteY969" fmla="*/ 261522 h 6858000"/>
              <a:gd name="connsiteX970" fmla="*/ 13550 w 7467600"/>
              <a:gd name="connsiteY970" fmla="*/ 158423 h 6858000"/>
              <a:gd name="connsiteX971" fmla="*/ 0 w 7467600"/>
              <a:gd name="connsiteY971" fmla="*/ 146618 h 6858000"/>
              <a:gd name="connsiteX972" fmla="*/ 0 w 7467600"/>
              <a:gd name="connsiteY972" fmla="*/ 59161 h 6858000"/>
              <a:gd name="connsiteX973" fmla="*/ 45427 w 7467600"/>
              <a:gd name="connsiteY973" fmla="*/ 101078 h 6858000"/>
              <a:gd name="connsiteX974" fmla="*/ 630103 w 7467600"/>
              <a:gd name="connsiteY974" fmla="*/ 485885 h 6858000"/>
              <a:gd name="connsiteX975" fmla="*/ 532040 w 7467600"/>
              <a:gd name="connsiteY975" fmla="*/ 399359 h 6858000"/>
              <a:gd name="connsiteX976" fmla="*/ 517618 w 7467600"/>
              <a:gd name="connsiteY976" fmla="*/ 385726 h 6858000"/>
              <a:gd name="connsiteX977" fmla="*/ 285074 w 7467600"/>
              <a:gd name="connsiteY977" fmla="*/ 182755 h 6858000"/>
              <a:gd name="connsiteX978" fmla="*/ 43151 w 7467600"/>
              <a:gd name="connsiteY978"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6844835 w 7467600"/>
              <a:gd name="connsiteY74" fmla="*/ 5424988 h 6858000"/>
              <a:gd name="connsiteX75" fmla="*/ 6879594 w 7467600"/>
              <a:gd name="connsiteY75" fmla="*/ 5424547 h 6858000"/>
              <a:gd name="connsiteX76" fmla="*/ 7379510 w 7467600"/>
              <a:gd name="connsiteY76" fmla="*/ 5755454 h 6858000"/>
              <a:gd name="connsiteX77" fmla="*/ 7467600 w 7467600"/>
              <a:gd name="connsiteY77" fmla="*/ 5845526 h 6858000"/>
              <a:gd name="connsiteX78" fmla="*/ 7467600 w 7467600"/>
              <a:gd name="connsiteY78" fmla="*/ 5925131 h 6858000"/>
              <a:gd name="connsiteX79" fmla="*/ 7271900 w 7467600"/>
              <a:gd name="connsiteY79" fmla="*/ 5734551 h 6858000"/>
              <a:gd name="connsiteX80" fmla="*/ 7015907 w 7467600"/>
              <a:gd name="connsiteY80" fmla="*/ 5541548 h 6858000"/>
              <a:gd name="connsiteX81" fmla="*/ 7259646 w 7467600"/>
              <a:gd name="connsiteY81" fmla="*/ 5765985 h 6858000"/>
              <a:gd name="connsiteX82" fmla="*/ 7467600 w 7467600"/>
              <a:gd name="connsiteY82" fmla="*/ 5971257 h 6858000"/>
              <a:gd name="connsiteX83" fmla="*/ 7467600 w 7467600"/>
              <a:gd name="connsiteY83" fmla="*/ 6012219 h 6858000"/>
              <a:gd name="connsiteX84" fmla="*/ 6946849 w 7467600"/>
              <a:gd name="connsiteY84" fmla="*/ 5523271 h 6858000"/>
              <a:gd name="connsiteX85" fmla="*/ 6946972 w 7467600"/>
              <a:gd name="connsiteY85" fmla="*/ 5526491 h 6858000"/>
              <a:gd name="connsiteX86" fmla="*/ 7105827 w 7467600"/>
              <a:gd name="connsiteY86" fmla="*/ 5718700 h 6858000"/>
              <a:gd name="connsiteX87" fmla="*/ 7356878 w 7467600"/>
              <a:gd name="connsiteY87" fmla="*/ 5981332 h 6858000"/>
              <a:gd name="connsiteX88" fmla="*/ 7467600 w 7467600"/>
              <a:gd name="connsiteY88" fmla="*/ 6117703 h 6858000"/>
              <a:gd name="connsiteX89" fmla="*/ 7467600 w 7467600"/>
              <a:gd name="connsiteY89" fmla="*/ 6163634 h 6858000"/>
              <a:gd name="connsiteX90" fmla="*/ 7403637 w 7467600"/>
              <a:gd name="connsiteY90" fmla="*/ 6083957 h 6858000"/>
              <a:gd name="connsiteX91" fmla="*/ 7254615 w 7467600"/>
              <a:gd name="connsiteY91" fmla="*/ 5911918 h 6858000"/>
              <a:gd name="connsiteX92" fmla="*/ 7312589 w 7467600"/>
              <a:gd name="connsiteY92" fmla="*/ 5982309 h 6858000"/>
              <a:gd name="connsiteX93" fmla="*/ 7448321 w 7467600"/>
              <a:gd name="connsiteY93" fmla="*/ 6190991 h 6858000"/>
              <a:gd name="connsiteX94" fmla="*/ 7467600 w 7467600"/>
              <a:gd name="connsiteY94" fmla="*/ 6221686 h 6858000"/>
              <a:gd name="connsiteX95" fmla="*/ 7467600 w 7467600"/>
              <a:gd name="connsiteY95" fmla="*/ 6334256 h 6858000"/>
              <a:gd name="connsiteX96" fmla="*/ 7454976 w 7467600"/>
              <a:gd name="connsiteY96" fmla="*/ 6318297 h 6858000"/>
              <a:gd name="connsiteX97" fmla="*/ 7042773 w 7467600"/>
              <a:gd name="connsiteY97" fmla="*/ 5734011 h 6858000"/>
              <a:gd name="connsiteX98" fmla="*/ 6844835 w 7467600"/>
              <a:gd name="connsiteY98" fmla="*/ 5424988 h 6858000"/>
              <a:gd name="connsiteX99" fmla="*/ 1456157 w 7467600"/>
              <a:gd name="connsiteY99" fmla="*/ 5371404 h 6858000"/>
              <a:gd name="connsiteX100" fmla="*/ 1244432 w 7467600"/>
              <a:gd name="connsiteY100" fmla="*/ 5385601 h 6858000"/>
              <a:gd name="connsiteX101" fmla="*/ 973990 w 7467600"/>
              <a:gd name="connsiteY101" fmla="*/ 5424940 h 6858000"/>
              <a:gd name="connsiteX102" fmla="*/ 1103809 w 7467600"/>
              <a:gd name="connsiteY102" fmla="*/ 5433720 h 6858000"/>
              <a:gd name="connsiteX103" fmla="*/ 1123454 w 7467600"/>
              <a:gd name="connsiteY103" fmla="*/ 5435727 h 6858000"/>
              <a:gd name="connsiteX104" fmla="*/ 1737017 w 7467600"/>
              <a:gd name="connsiteY104" fmla="*/ 5452183 h 6858000"/>
              <a:gd name="connsiteX105" fmla="*/ 1824397 w 7467600"/>
              <a:gd name="connsiteY105" fmla="*/ 5447757 h 6858000"/>
              <a:gd name="connsiteX106" fmla="*/ 2070059 w 7467600"/>
              <a:gd name="connsiteY106" fmla="*/ 5441660 h 6858000"/>
              <a:gd name="connsiteX107" fmla="*/ 1456157 w 7467600"/>
              <a:gd name="connsiteY107" fmla="*/ 5371404 h 6858000"/>
              <a:gd name="connsiteX108" fmla="*/ 4988186 w 7467600"/>
              <a:gd name="connsiteY108" fmla="*/ 5216467 h 6858000"/>
              <a:gd name="connsiteX109" fmla="*/ 4777334 w 7467600"/>
              <a:gd name="connsiteY109" fmla="*/ 5406072 h 6858000"/>
              <a:gd name="connsiteX110" fmla="*/ 4718341 w 7467600"/>
              <a:gd name="connsiteY110" fmla="*/ 5468043 h 6858000"/>
              <a:gd name="connsiteX111" fmla="*/ 4604655 w 7467600"/>
              <a:gd name="connsiteY111" fmla="*/ 5583434 h 6858000"/>
              <a:gd name="connsiteX112" fmla="*/ 4565074 w 7467600"/>
              <a:gd name="connsiteY112" fmla="*/ 5618550 h 6858000"/>
              <a:gd name="connsiteX113" fmla="*/ 4988186 w 7467600"/>
              <a:gd name="connsiteY113" fmla="*/ 5216467 h 6858000"/>
              <a:gd name="connsiteX114" fmla="*/ 4978032 w 7467600"/>
              <a:gd name="connsiteY114" fmla="*/ 5183809 h 6858000"/>
              <a:gd name="connsiteX115" fmla="*/ 4463413 w 7467600"/>
              <a:gd name="connsiteY115" fmla="*/ 5615162 h 6858000"/>
              <a:gd name="connsiteX116" fmla="*/ 4358134 w 7467600"/>
              <a:gd name="connsiteY116" fmla="*/ 5742791 h 6858000"/>
              <a:gd name="connsiteX117" fmla="*/ 4376219 w 7467600"/>
              <a:gd name="connsiteY117" fmla="*/ 5729027 h 6858000"/>
              <a:gd name="connsiteX118" fmla="*/ 4582340 w 7467600"/>
              <a:gd name="connsiteY118" fmla="*/ 5561037 h 6858000"/>
              <a:gd name="connsiteX119" fmla="*/ 4694684 w 7467600"/>
              <a:gd name="connsiteY119" fmla="*/ 5447098 h 6858000"/>
              <a:gd name="connsiteX120" fmla="*/ 4754123 w 7467600"/>
              <a:gd name="connsiteY120" fmla="*/ 5384643 h 6858000"/>
              <a:gd name="connsiteX121" fmla="*/ 4978032 w 7467600"/>
              <a:gd name="connsiteY121" fmla="*/ 5183809 h 6858000"/>
              <a:gd name="connsiteX122" fmla="*/ 1903353 w 7467600"/>
              <a:gd name="connsiteY122" fmla="*/ 5044827 h 6858000"/>
              <a:gd name="connsiteX123" fmla="*/ 1936931 w 7467600"/>
              <a:gd name="connsiteY123" fmla="*/ 5093954 h 6858000"/>
              <a:gd name="connsiteX124" fmla="*/ 2195868 w 7467600"/>
              <a:gd name="connsiteY124" fmla="*/ 5396574 h 6858000"/>
              <a:gd name="connsiteX125" fmla="*/ 2088852 w 7467600"/>
              <a:gd name="connsiteY125" fmla="*/ 5166123 h 6858000"/>
              <a:gd name="connsiteX126" fmla="*/ 1958241 w 7467600"/>
              <a:gd name="connsiteY126" fmla="*/ 5067955 h 6858000"/>
              <a:gd name="connsiteX127" fmla="*/ 1903353 w 7467600"/>
              <a:gd name="connsiteY127" fmla="*/ 5044827 h 6858000"/>
              <a:gd name="connsiteX128" fmla="*/ 1979378 w 7467600"/>
              <a:gd name="connsiteY128" fmla="*/ 4769504 h 6858000"/>
              <a:gd name="connsiteX129" fmla="*/ 2882120 w 7467600"/>
              <a:gd name="connsiteY129" fmla="*/ 5064547 h 6858000"/>
              <a:gd name="connsiteX130" fmla="*/ 2793103 w 7467600"/>
              <a:gd name="connsiteY130" fmla="*/ 5039699 h 6858000"/>
              <a:gd name="connsiteX131" fmla="*/ 2770041 w 7467600"/>
              <a:gd name="connsiteY131" fmla="*/ 5033634 h 6858000"/>
              <a:gd name="connsiteX132" fmla="*/ 1979378 w 7467600"/>
              <a:gd name="connsiteY132" fmla="*/ 4769504 h 6858000"/>
              <a:gd name="connsiteX133" fmla="*/ 1927410 w 7467600"/>
              <a:gd name="connsiteY133" fmla="*/ 4716164 h 6858000"/>
              <a:gd name="connsiteX134" fmla="*/ 1959587 w 7467600"/>
              <a:gd name="connsiteY134" fmla="*/ 4728849 h 6858000"/>
              <a:gd name="connsiteX135" fmla="*/ 2777707 w 7467600"/>
              <a:gd name="connsiteY135" fmla="*/ 5003991 h 6858000"/>
              <a:gd name="connsiteX136" fmla="*/ 2800768 w 7467600"/>
              <a:gd name="connsiteY136" fmla="*/ 5010056 h 6858000"/>
              <a:gd name="connsiteX137" fmla="*/ 2879408 w 7467600"/>
              <a:gd name="connsiteY137" fmla="*/ 5031590 h 6858000"/>
              <a:gd name="connsiteX138" fmla="*/ 2862295 w 7467600"/>
              <a:gd name="connsiteY138" fmla="*/ 5022958 h 6858000"/>
              <a:gd name="connsiteX139" fmla="*/ 2813343 w 7467600"/>
              <a:gd name="connsiteY139" fmla="*/ 4998369 h 6858000"/>
              <a:gd name="connsiteX140" fmla="*/ 2646245 w 7467600"/>
              <a:gd name="connsiteY140" fmla="*/ 4930999 h 6858000"/>
              <a:gd name="connsiteX141" fmla="*/ 1999243 w 7467600"/>
              <a:gd name="connsiteY141" fmla="*/ 4730524 h 6858000"/>
              <a:gd name="connsiteX142" fmla="*/ 1979527 w 7467600"/>
              <a:gd name="connsiteY142" fmla="*/ 4726651 h 6858000"/>
              <a:gd name="connsiteX143" fmla="*/ 1927410 w 7467600"/>
              <a:gd name="connsiteY143" fmla="*/ 4716164 h 6858000"/>
              <a:gd name="connsiteX144" fmla="*/ 1997014 w 7467600"/>
              <a:gd name="connsiteY144" fmla="*/ 4698007 h 6858000"/>
              <a:gd name="connsiteX145" fmla="*/ 2005458 w 7467600"/>
              <a:gd name="connsiteY145" fmla="*/ 4699540 h 6858000"/>
              <a:gd name="connsiteX146" fmla="*/ 2657186 w 7467600"/>
              <a:gd name="connsiteY146" fmla="*/ 4901687 h 6858000"/>
              <a:gd name="connsiteX147" fmla="*/ 2826662 w 7467600"/>
              <a:gd name="connsiteY147" fmla="*/ 4970362 h 6858000"/>
              <a:gd name="connsiteX148" fmla="*/ 2876100 w 7467600"/>
              <a:gd name="connsiteY148" fmla="*/ 4995397 h 6858000"/>
              <a:gd name="connsiteX149" fmla="*/ 3042600 w 7467600"/>
              <a:gd name="connsiteY149" fmla="*/ 5059532 h 6858000"/>
              <a:gd name="connsiteX150" fmla="*/ 1997014 w 7467600"/>
              <a:gd name="connsiteY150" fmla="*/ 4698007 h 6858000"/>
              <a:gd name="connsiteX151" fmla="*/ 2305292 w 7467600"/>
              <a:gd name="connsiteY151" fmla="*/ 4219492 h 6858000"/>
              <a:gd name="connsiteX152" fmla="*/ 3360922 w 7467600"/>
              <a:gd name="connsiteY152" fmla="*/ 4529373 h 6858000"/>
              <a:gd name="connsiteX153" fmla="*/ 3492420 w 7467600"/>
              <a:gd name="connsiteY153" fmla="*/ 4510145 h 6858000"/>
              <a:gd name="connsiteX154" fmla="*/ 3364086 w 7467600"/>
              <a:gd name="connsiteY154" fmla="*/ 4480340 h 6858000"/>
              <a:gd name="connsiteX155" fmla="*/ 3225818 w 7467600"/>
              <a:gd name="connsiteY155" fmla="*/ 4411822 h 6858000"/>
              <a:gd name="connsiteX156" fmla="*/ 3129696 w 7467600"/>
              <a:gd name="connsiteY156" fmla="*/ 4360704 h 6858000"/>
              <a:gd name="connsiteX157" fmla="*/ 2814545 w 7467600"/>
              <a:gd name="connsiteY157" fmla="*/ 4282955 h 6858000"/>
              <a:gd name="connsiteX158" fmla="*/ 2305292 w 7467600"/>
              <a:gd name="connsiteY158" fmla="*/ 4219492 h 6858000"/>
              <a:gd name="connsiteX159" fmla="*/ 2626982 w 7467600"/>
              <a:gd name="connsiteY159" fmla="*/ 4206450 h 6858000"/>
              <a:gd name="connsiteX160" fmla="*/ 2490617 w 7467600"/>
              <a:gd name="connsiteY160" fmla="*/ 4206951 h 6858000"/>
              <a:gd name="connsiteX161" fmla="*/ 2819869 w 7467600"/>
              <a:gd name="connsiteY161" fmla="*/ 4252936 h 6858000"/>
              <a:gd name="connsiteX162" fmla="*/ 3143018 w 7467600"/>
              <a:gd name="connsiteY162" fmla="*/ 4332698 h 6858000"/>
              <a:gd name="connsiteX163" fmla="*/ 3241520 w 7467600"/>
              <a:gd name="connsiteY163" fmla="*/ 4385112 h 6858000"/>
              <a:gd name="connsiteX164" fmla="*/ 3374575 w 7467600"/>
              <a:gd name="connsiteY164" fmla="*/ 4451517 h 6858000"/>
              <a:gd name="connsiteX165" fmla="*/ 3505221 w 7467600"/>
              <a:gd name="connsiteY165" fmla="*/ 4480757 h 6858000"/>
              <a:gd name="connsiteX166" fmla="*/ 2626982 w 7467600"/>
              <a:gd name="connsiteY166" fmla="*/ 4206450 h 6858000"/>
              <a:gd name="connsiteX167" fmla="*/ 1310106 w 7467600"/>
              <a:gd name="connsiteY167" fmla="*/ 3943217 h 6858000"/>
              <a:gd name="connsiteX168" fmla="*/ 854994 w 7467600"/>
              <a:gd name="connsiteY168" fmla="*/ 4399136 h 6858000"/>
              <a:gd name="connsiteX169" fmla="*/ 742462 w 7467600"/>
              <a:gd name="connsiteY169" fmla="*/ 4594648 h 6858000"/>
              <a:gd name="connsiteX170" fmla="*/ 820602 w 7467600"/>
              <a:gd name="connsiteY170" fmla="*/ 4485915 h 6858000"/>
              <a:gd name="connsiteX171" fmla="*/ 878295 w 7467600"/>
              <a:gd name="connsiteY171" fmla="*/ 4403594 h 6858000"/>
              <a:gd name="connsiteX172" fmla="*/ 1240607 w 7467600"/>
              <a:gd name="connsiteY172" fmla="*/ 4010401 h 6858000"/>
              <a:gd name="connsiteX173" fmla="*/ 1310106 w 7467600"/>
              <a:gd name="connsiteY173" fmla="*/ 3943217 h 6858000"/>
              <a:gd name="connsiteX174" fmla="*/ 1423113 w 7467600"/>
              <a:gd name="connsiteY174" fmla="*/ 3874565 h 6858000"/>
              <a:gd name="connsiteX175" fmla="*/ 1260565 w 7467600"/>
              <a:gd name="connsiteY175" fmla="*/ 4031982 h 6858000"/>
              <a:gd name="connsiteX176" fmla="*/ 901900 w 7467600"/>
              <a:gd name="connsiteY176" fmla="*/ 4421236 h 6858000"/>
              <a:gd name="connsiteX177" fmla="*/ 845044 w 7467600"/>
              <a:gd name="connsiteY177" fmla="*/ 4502436 h 6858000"/>
              <a:gd name="connsiteX178" fmla="*/ 685926 w 7467600"/>
              <a:gd name="connsiteY178" fmla="*/ 4703069 h 6858000"/>
              <a:gd name="connsiteX179" fmla="*/ 684248 w 7467600"/>
              <a:gd name="connsiteY179" fmla="*/ 4706721 h 6858000"/>
              <a:gd name="connsiteX180" fmla="*/ 1423113 w 7467600"/>
              <a:gd name="connsiteY180" fmla="*/ 3874565 h 6858000"/>
              <a:gd name="connsiteX181" fmla="*/ 3316479 w 7467600"/>
              <a:gd name="connsiteY181" fmla="*/ 3872136 h 6858000"/>
              <a:gd name="connsiteX182" fmla="*/ 3546806 w 7467600"/>
              <a:gd name="connsiteY182" fmla="*/ 4356139 h 6858000"/>
              <a:gd name="connsiteX183" fmla="*/ 3364433 w 7467600"/>
              <a:gd name="connsiteY183" fmla="*/ 3953121 h 6858000"/>
              <a:gd name="connsiteX184" fmla="*/ 3316479 w 7467600"/>
              <a:gd name="connsiteY184" fmla="*/ 3872136 h 6858000"/>
              <a:gd name="connsiteX185" fmla="*/ 3291335 w 7467600"/>
              <a:gd name="connsiteY185" fmla="*/ 3767420 h 6858000"/>
              <a:gd name="connsiteX186" fmla="*/ 3390805 w 7467600"/>
              <a:gd name="connsiteY186" fmla="*/ 3937163 h 6858000"/>
              <a:gd name="connsiteX187" fmla="*/ 3579062 w 7467600"/>
              <a:gd name="connsiteY187" fmla="*/ 4359040 h 6858000"/>
              <a:gd name="connsiteX188" fmla="*/ 3467355 w 7467600"/>
              <a:gd name="connsiteY188" fmla="*/ 3988130 h 6858000"/>
              <a:gd name="connsiteX189" fmla="*/ 3310753 w 7467600"/>
              <a:gd name="connsiteY189" fmla="*/ 3787140 h 6858000"/>
              <a:gd name="connsiteX190" fmla="*/ 3291335 w 7467600"/>
              <a:gd name="connsiteY190" fmla="*/ 3767420 h 6858000"/>
              <a:gd name="connsiteX191" fmla="*/ 1635889 w 7467600"/>
              <a:gd name="connsiteY191" fmla="*/ 3709494 h 6858000"/>
              <a:gd name="connsiteX192" fmla="*/ 1634800 w 7467600"/>
              <a:gd name="connsiteY192" fmla="*/ 3731111 h 6858000"/>
              <a:gd name="connsiteX193" fmla="*/ 1635889 w 7467600"/>
              <a:gd name="connsiteY193" fmla="*/ 3709494 h 6858000"/>
              <a:gd name="connsiteX194" fmla="*/ 1510397 w 7467600"/>
              <a:gd name="connsiteY194" fmla="*/ 3684705 h 6858000"/>
              <a:gd name="connsiteX195" fmla="*/ 1146550 w 7467600"/>
              <a:gd name="connsiteY195" fmla="*/ 3802012 h 6858000"/>
              <a:gd name="connsiteX196" fmla="*/ 698834 w 7467600"/>
              <a:gd name="connsiteY196" fmla="*/ 3952272 h 6858000"/>
              <a:gd name="connsiteX197" fmla="*/ 34256 w 7467600"/>
              <a:gd name="connsiteY197" fmla="*/ 4347603 h 6858000"/>
              <a:gd name="connsiteX198" fmla="*/ 527241 w 7467600"/>
              <a:gd name="connsiteY198" fmla="*/ 4065078 h 6858000"/>
              <a:gd name="connsiteX199" fmla="*/ 1510397 w 7467600"/>
              <a:gd name="connsiteY199" fmla="*/ 3684705 h 6858000"/>
              <a:gd name="connsiteX200" fmla="*/ 1313114 w 7467600"/>
              <a:gd name="connsiteY200" fmla="*/ 3655216 h 6858000"/>
              <a:gd name="connsiteX201" fmla="*/ 1109304 w 7467600"/>
              <a:gd name="connsiteY201" fmla="*/ 3669030 h 6858000"/>
              <a:gd name="connsiteX202" fmla="*/ 8129 w 7467600"/>
              <a:gd name="connsiteY202" fmla="*/ 4330519 h 6858000"/>
              <a:gd name="connsiteX203" fmla="*/ 687572 w 7467600"/>
              <a:gd name="connsiteY203" fmla="*/ 3925629 h 6858000"/>
              <a:gd name="connsiteX204" fmla="*/ 1138365 w 7467600"/>
              <a:gd name="connsiteY204" fmla="*/ 3774515 h 6858000"/>
              <a:gd name="connsiteX205" fmla="*/ 1505579 w 7467600"/>
              <a:gd name="connsiteY205" fmla="*/ 3655526 h 6858000"/>
              <a:gd name="connsiteX206" fmla="*/ 1313114 w 7467600"/>
              <a:gd name="connsiteY206" fmla="*/ 3655216 h 6858000"/>
              <a:gd name="connsiteX207" fmla="*/ 3655073 w 7467600"/>
              <a:gd name="connsiteY207" fmla="*/ 3650884 h 6858000"/>
              <a:gd name="connsiteX208" fmla="*/ 3989938 w 7467600"/>
              <a:gd name="connsiteY208" fmla="*/ 3991685 h 6858000"/>
              <a:gd name="connsiteX209" fmla="*/ 4393907 w 7467600"/>
              <a:gd name="connsiteY209" fmla="*/ 4261258 h 6858000"/>
              <a:gd name="connsiteX210" fmla="*/ 4648051 w 7467600"/>
              <a:gd name="connsiteY210" fmla="*/ 4374051 h 6858000"/>
              <a:gd name="connsiteX211" fmla="*/ 4383389 w 7467600"/>
              <a:gd name="connsiteY211" fmla="*/ 4184369 h 6858000"/>
              <a:gd name="connsiteX212" fmla="*/ 4165508 w 7467600"/>
              <a:gd name="connsiteY212" fmla="*/ 4035196 h 6858000"/>
              <a:gd name="connsiteX213" fmla="*/ 4068162 w 7467600"/>
              <a:gd name="connsiteY213" fmla="*/ 3953394 h 6858000"/>
              <a:gd name="connsiteX214" fmla="*/ 3981416 w 7467600"/>
              <a:gd name="connsiteY214" fmla="*/ 3880482 h 6858000"/>
              <a:gd name="connsiteX215" fmla="*/ 3800147 w 7467600"/>
              <a:gd name="connsiteY215" fmla="*/ 3749872 h 6858000"/>
              <a:gd name="connsiteX216" fmla="*/ 3655073 w 7467600"/>
              <a:gd name="connsiteY216" fmla="*/ 3650884 h 6858000"/>
              <a:gd name="connsiteX217" fmla="*/ 3670252 w 7467600"/>
              <a:gd name="connsiteY217" fmla="*/ 3622798 h 6858000"/>
              <a:gd name="connsiteX218" fmla="*/ 3817258 w 7467600"/>
              <a:gd name="connsiteY218" fmla="*/ 3723577 h 6858000"/>
              <a:gd name="connsiteX219" fmla="*/ 4000461 w 7467600"/>
              <a:gd name="connsiteY219" fmla="*/ 3855966 h 6858000"/>
              <a:gd name="connsiteX220" fmla="*/ 4088180 w 7467600"/>
              <a:gd name="connsiteY220" fmla="*/ 3929774 h 6858000"/>
              <a:gd name="connsiteX221" fmla="*/ 4184555 w 7467600"/>
              <a:gd name="connsiteY221" fmla="*/ 4010683 h 6858000"/>
              <a:gd name="connsiteX222" fmla="*/ 4399563 w 7467600"/>
              <a:gd name="connsiteY222" fmla="*/ 4158106 h 6858000"/>
              <a:gd name="connsiteX223" fmla="*/ 4684469 w 7467600"/>
              <a:gd name="connsiteY223" fmla="*/ 4364680 h 6858000"/>
              <a:gd name="connsiteX224" fmla="*/ 4690271 w 7467600"/>
              <a:gd name="connsiteY224" fmla="*/ 4370034 h 6858000"/>
              <a:gd name="connsiteX225" fmla="*/ 4136093 w 7467600"/>
              <a:gd name="connsiteY225" fmla="*/ 3858466 h 6858000"/>
              <a:gd name="connsiteX226" fmla="*/ 3670252 w 7467600"/>
              <a:gd name="connsiteY226" fmla="*/ 3622798 h 6858000"/>
              <a:gd name="connsiteX227" fmla="*/ 4440129 w 7467600"/>
              <a:gd name="connsiteY227" fmla="*/ 3448571 h 6858000"/>
              <a:gd name="connsiteX228" fmla="*/ 4856525 w 7467600"/>
              <a:gd name="connsiteY228" fmla="*/ 3915351 h 6858000"/>
              <a:gd name="connsiteX229" fmla="*/ 5059055 w 7467600"/>
              <a:gd name="connsiteY229" fmla="*/ 4108918 h 6858000"/>
              <a:gd name="connsiteX230" fmla="*/ 5290070 w 7467600"/>
              <a:gd name="connsiteY230" fmla="*/ 4263619 h 6858000"/>
              <a:gd name="connsiteX231" fmla="*/ 4834991 w 7467600"/>
              <a:gd name="connsiteY231" fmla="*/ 3830985 h 6858000"/>
              <a:gd name="connsiteX232" fmla="*/ 4440129 w 7467600"/>
              <a:gd name="connsiteY232" fmla="*/ 3448571 h 6858000"/>
              <a:gd name="connsiteX233" fmla="*/ 4441737 w 7467600"/>
              <a:gd name="connsiteY233" fmla="*/ 3399734 h 6858000"/>
              <a:gd name="connsiteX234" fmla="*/ 4431236 w 7467600"/>
              <a:gd name="connsiteY234" fmla="*/ 3400954 h 6858000"/>
              <a:gd name="connsiteX235" fmla="*/ 4557150 w 7467600"/>
              <a:gd name="connsiteY235" fmla="*/ 3510023 h 6858000"/>
              <a:gd name="connsiteX236" fmla="*/ 4856936 w 7467600"/>
              <a:gd name="connsiteY236" fmla="*/ 3809146 h 6858000"/>
              <a:gd name="connsiteX237" fmla="*/ 5111996 w 7467600"/>
              <a:gd name="connsiteY237" fmla="*/ 4065759 h 6858000"/>
              <a:gd name="connsiteX238" fmla="*/ 5388878 w 7467600"/>
              <a:gd name="connsiteY238" fmla="*/ 4300185 h 6858000"/>
              <a:gd name="connsiteX239" fmla="*/ 5425556 w 7467600"/>
              <a:gd name="connsiteY239" fmla="*/ 4308967 h 6858000"/>
              <a:gd name="connsiteX240" fmla="*/ 4943646 w 7467600"/>
              <a:gd name="connsiteY240" fmla="*/ 3822916 h 6858000"/>
              <a:gd name="connsiteX241" fmla="*/ 4594837 w 7467600"/>
              <a:gd name="connsiteY241" fmla="*/ 3532274 h 6858000"/>
              <a:gd name="connsiteX242" fmla="*/ 4441737 w 7467600"/>
              <a:gd name="connsiteY242" fmla="*/ 3399734 h 6858000"/>
              <a:gd name="connsiteX243" fmla="*/ 5425834 w 7467600"/>
              <a:gd name="connsiteY243" fmla="*/ 3162785 h 6858000"/>
              <a:gd name="connsiteX244" fmla="*/ 5401644 w 7467600"/>
              <a:gd name="connsiteY244" fmla="*/ 3617847 h 6858000"/>
              <a:gd name="connsiteX245" fmla="*/ 5467256 w 7467600"/>
              <a:gd name="connsiteY245" fmla="*/ 4175494 h 6858000"/>
              <a:gd name="connsiteX246" fmla="*/ 5448069 w 7467600"/>
              <a:gd name="connsiteY246" fmla="*/ 3567554 h 6858000"/>
              <a:gd name="connsiteX247" fmla="*/ 5425834 w 7467600"/>
              <a:gd name="connsiteY247" fmla="*/ 3162785 h 6858000"/>
              <a:gd name="connsiteX248" fmla="*/ 1318687 w 7467600"/>
              <a:gd name="connsiteY248" fmla="*/ 3113840 h 6858000"/>
              <a:gd name="connsiteX249" fmla="*/ 1066793 w 7467600"/>
              <a:gd name="connsiteY249" fmla="*/ 3212171 h 6858000"/>
              <a:gd name="connsiteX250" fmla="*/ 993319 w 7467600"/>
              <a:gd name="connsiteY250" fmla="*/ 3247648 h 6858000"/>
              <a:gd name="connsiteX251" fmla="*/ 853081 w 7467600"/>
              <a:gd name="connsiteY251" fmla="*/ 3312410 h 6858000"/>
              <a:gd name="connsiteX252" fmla="*/ 805957 w 7467600"/>
              <a:gd name="connsiteY252" fmla="*/ 3330443 h 6858000"/>
              <a:gd name="connsiteX253" fmla="*/ 1318687 w 7467600"/>
              <a:gd name="connsiteY253" fmla="*/ 3113840 h 6858000"/>
              <a:gd name="connsiteX254" fmla="*/ 5453702 w 7467600"/>
              <a:gd name="connsiteY254" fmla="*/ 3090882 h 6858000"/>
              <a:gd name="connsiteX255" fmla="*/ 5480135 w 7467600"/>
              <a:gd name="connsiteY255" fmla="*/ 3565802 h 6858000"/>
              <a:gd name="connsiteX256" fmla="*/ 5499023 w 7467600"/>
              <a:gd name="connsiteY256" fmla="*/ 4166310 h 6858000"/>
              <a:gd name="connsiteX257" fmla="*/ 5547022 w 7467600"/>
              <a:gd name="connsiteY257" fmla="*/ 3607838 h 6858000"/>
              <a:gd name="connsiteX258" fmla="*/ 5515964 w 7467600"/>
              <a:gd name="connsiteY258" fmla="*/ 3378541 h 6858000"/>
              <a:gd name="connsiteX259" fmla="*/ 5453702 w 7467600"/>
              <a:gd name="connsiteY259" fmla="*/ 3090882 h 6858000"/>
              <a:gd name="connsiteX260" fmla="*/ 1238695 w 7467600"/>
              <a:gd name="connsiteY260" fmla="*/ 3076820 h 6858000"/>
              <a:gd name="connsiteX261" fmla="*/ 716371 w 7467600"/>
              <a:gd name="connsiteY261" fmla="*/ 3293249 h 6858000"/>
              <a:gd name="connsiteX262" fmla="*/ 579522 w 7467600"/>
              <a:gd name="connsiteY262" fmla="*/ 3371759 h 6858000"/>
              <a:gd name="connsiteX263" fmla="*/ 600288 w 7467600"/>
              <a:gd name="connsiteY263" fmla="*/ 3365555 h 6858000"/>
              <a:gd name="connsiteX264" fmla="*/ 840692 w 7467600"/>
              <a:gd name="connsiteY264" fmla="*/ 3284921 h 6858000"/>
              <a:gd name="connsiteX265" fmla="*/ 979248 w 7467600"/>
              <a:gd name="connsiteY265" fmla="*/ 3221003 h 6858000"/>
              <a:gd name="connsiteX266" fmla="*/ 1053282 w 7467600"/>
              <a:gd name="connsiteY266" fmla="*/ 3185247 h 6858000"/>
              <a:gd name="connsiteX267" fmla="*/ 1320603 w 7467600"/>
              <a:gd name="connsiteY267" fmla="*/ 3081281 h 6858000"/>
              <a:gd name="connsiteX268" fmla="*/ 1238695 w 7467600"/>
              <a:gd name="connsiteY268" fmla="*/ 3076820 h 6858000"/>
              <a:gd name="connsiteX269" fmla="*/ 5425627 w 7467600"/>
              <a:gd name="connsiteY269" fmla="*/ 2954192 h 6858000"/>
              <a:gd name="connsiteX270" fmla="*/ 5470770 w 7467600"/>
              <a:gd name="connsiteY270" fmla="*/ 3005435 h 6858000"/>
              <a:gd name="connsiteX271" fmla="*/ 5519779 w 7467600"/>
              <a:gd name="connsiteY271" fmla="*/ 4359223 h 6858000"/>
              <a:gd name="connsiteX272" fmla="*/ 5520293 w 7467600"/>
              <a:gd name="connsiteY272" fmla="*/ 4360602 h 6858000"/>
              <a:gd name="connsiteX273" fmla="*/ 5767221 w 7467600"/>
              <a:gd name="connsiteY273" fmla="*/ 4665564 h 6858000"/>
              <a:gd name="connsiteX274" fmla="*/ 6937169 w 7467600"/>
              <a:gd name="connsiteY274" fmla="*/ 4815941 h 6858000"/>
              <a:gd name="connsiteX275" fmla="*/ 6953922 w 7467600"/>
              <a:gd name="connsiteY275" fmla="*/ 4890068 h 6858000"/>
              <a:gd name="connsiteX276" fmla="*/ 6071359 w 7467600"/>
              <a:gd name="connsiteY276" fmla="*/ 4770770 h 6858000"/>
              <a:gd name="connsiteX277" fmla="*/ 6038839 w 7467600"/>
              <a:gd name="connsiteY277" fmla="*/ 4764474 h 6858000"/>
              <a:gd name="connsiteX278" fmla="*/ 6038706 w 7467600"/>
              <a:gd name="connsiteY278" fmla="*/ 4763847 h 6858000"/>
              <a:gd name="connsiteX279" fmla="*/ 6037784 w 7467600"/>
              <a:gd name="connsiteY279" fmla="*/ 4764270 h 6858000"/>
              <a:gd name="connsiteX280" fmla="*/ 6038839 w 7467600"/>
              <a:gd name="connsiteY280" fmla="*/ 4764474 h 6858000"/>
              <a:gd name="connsiteX281" fmla="*/ 6040338 w 7467600"/>
              <a:gd name="connsiteY281" fmla="*/ 4771418 h 6858000"/>
              <a:gd name="connsiteX282" fmla="*/ 6024488 w 7467600"/>
              <a:gd name="connsiteY282" fmla="*/ 4809903 h 6858000"/>
              <a:gd name="connsiteX283" fmla="*/ 5599771 w 7467600"/>
              <a:gd name="connsiteY283" fmla="*/ 5509652 h 6858000"/>
              <a:gd name="connsiteX284" fmla="*/ 5548843 w 7467600"/>
              <a:gd name="connsiteY284" fmla="*/ 5563845 h 6858000"/>
              <a:gd name="connsiteX285" fmla="*/ 5940952 w 7467600"/>
              <a:gd name="connsiteY285" fmla="*/ 6250028 h 6858000"/>
              <a:gd name="connsiteX286" fmla="*/ 6043441 w 7467600"/>
              <a:gd name="connsiteY286" fmla="*/ 6665847 h 6858000"/>
              <a:gd name="connsiteX287" fmla="*/ 6093432 w 7467600"/>
              <a:gd name="connsiteY287" fmla="*/ 6858000 h 6858000"/>
              <a:gd name="connsiteX288" fmla="*/ 6034344 w 7467600"/>
              <a:gd name="connsiteY288" fmla="*/ 6858000 h 6858000"/>
              <a:gd name="connsiteX289" fmla="*/ 6026679 w 7467600"/>
              <a:gd name="connsiteY289" fmla="*/ 6836959 h 6858000"/>
              <a:gd name="connsiteX290" fmla="*/ 5800441 w 7467600"/>
              <a:gd name="connsiteY290" fmla="*/ 6335286 h 6858000"/>
              <a:gd name="connsiteX291" fmla="*/ 5526562 w 7467600"/>
              <a:gd name="connsiteY291" fmla="*/ 5705388 h 6858000"/>
              <a:gd name="connsiteX292" fmla="*/ 5519640 w 7467600"/>
              <a:gd name="connsiteY292" fmla="*/ 5683774 h 6858000"/>
              <a:gd name="connsiteX293" fmla="*/ 5844559 w 7467600"/>
              <a:gd name="connsiteY293" fmla="*/ 6553349 h 6858000"/>
              <a:gd name="connsiteX294" fmla="*/ 5975994 w 7467600"/>
              <a:gd name="connsiteY294" fmla="*/ 6858000 h 6858000"/>
              <a:gd name="connsiteX295" fmla="*/ 5898547 w 7467600"/>
              <a:gd name="connsiteY295" fmla="*/ 6858000 h 6858000"/>
              <a:gd name="connsiteX296" fmla="*/ 5682041 w 7467600"/>
              <a:gd name="connsiteY296" fmla="*/ 6355860 h 6858000"/>
              <a:gd name="connsiteX297" fmla="*/ 5461758 w 7467600"/>
              <a:gd name="connsiteY297" fmla="*/ 5820220 h 6858000"/>
              <a:gd name="connsiteX298" fmla="*/ 5237282 w 7467600"/>
              <a:gd name="connsiteY298" fmla="*/ 6579086 h 6858000"/>
              <a:gd name="connsiteX299" fmla="*/ 5115009 w 7467600"/>
              <a:gd name="connsiteY299" fmla="*/ 6858000 h 6858000"/>
              <a:gd name="connsiteX300" fmla="*/ 5028074 w 7467600"/>
              <a:gd name="connsiteY300" fmla="*/ 6858000 h 6858000"/>
              <a:gd name="connsiteX301" fmla="*/ 5079508 w 7467600"/>
              <a:gd name="connsiteY301" fmla="*/ 6749074 h 6858000"/>
              <a:gd name="connsiteX302" fmla="*/ 5371846 w 7467600"/>
              <a:gd name="connsiteY302" fmla="*/ 5924413 h 6858000"/>
              <a:gd name="connsiteX303" fmla="*/ 5270512 w 7467600"/>
              <a:gd name="connsiteY303" fmla="*/ 6138975 h 6858000"/>
              <a:gd name="connsiteX304" fmla="*/ 5062409 w 7467600"/>
              <a:gd name="connsiteY304" fmla="*/ 6653544 h 6858000"/>
              <a:gd name="connsiteX305" fmla="*/ 5036628 w 7467600"/>
              <a:gd name="connsiteY305" fmla="*/ 6754247 h 6858000"/>
              <a:gd name="connsiteX306" fmla="*/ 5009112 w 7467600"/>
              <a:gd name="connsiteY306" fmla="*/ 6858000 h 6858000"/>
              <a:gd name="connsiteX307" fmla="*/ 4976679 w 7467600"/>
              <a:gd name="connsiteY307" fmla="*/ 6858000 h 6858000"/>
              <a:gd name="connsiteX308" fmla="*/ 5006537 w 7467600"/>
              <a:gd name="connsiteY308" fmla="*/ 6747068 h 6858000"/>
              <a:gd name="connsiteX309" fmla="*/ 5032723 w 7467600"/>
              <a:gd name="connsiteY309" fmla="*/ 6644957 h 6858000"/>
              <a:gd name="connsiteX310" fmla="*/ 5242949 w 7467600"/>
              <a:gd name="connsiteY310" fmla="*/ 6125175 h 6858000"/>
              <a:gd name="connsiteX311" fmla="*/ 5286321 w 7467600"/>
              <a:gd name="connsiteY311" fmla="*/ 6033555 h 6858000"/>
              <a:gd name="connsiteX312" fmla="*/ 5008210 w 7467600"/>
              <a:gd name="connsiteY312" fmla="*/ 6649194 h 6858000"/>
              <a:gd name="connsiteX313" fmla="*/ 4986321 w 7467600"/>
              <a:gd name="connsiteY313" fmla="*/ 6765687 h 6858000"/>
              <a:gd name="connsiteX314" fmla="*/ 4973474 w 7467600"/>
              <a:gd name="connsiteY314" fmla="*/ 6858000 h 6858000"/>
              <a:gd name="connsiteX315" fmla="*/ 4907178 w 7467600"/>
              <a:gd name="connsiteY315" fmla="*/ 6858000 h 6858000"/>
              <a:gd name="connsiteX316" fmla="*/ 4910810 w 7467600"/>
              <a:gd name="connsiteY316" fmla="*/ 6829660 h 6858000"/>
              <a:gd name="connsiteX317" fmla="*/ 4987461 w 7467600"/>
              <a:gd name="connsiteY317" fmla="*/ 6432994 h 6858000"/>
              <a:gd name="connsiteX318" fmla="*/ 5179262 w 7467600"/>
              <a:gd name="connsiteY318" fmla="*/ 6035044 h 6858000"/>
              <a:gd name="connsiteX319" fmla="*/ 4689678 w 7467600"/>
              <a:gd name="connsiteY319" fmla="*/ 6440241 h 6858000"/>
              <a:gd name="connsiteX320" fmla="*/ 4477543 w 7467600"/>
              <a:gd name="connsiteY320" fmla="*/ 6674836 h 6858000"/>
              <a:gd name="connsiteX321" fmla="*/ 4329957 w 7467600"/>
              <a:gd name="connsiteY321" fmla="*/ 6858000 h 6858000"/>
              <a:gd name="connsiteX322" fmla="*/ 4218595 w 7467600"/>
              <a:gd name="connsiteY322" fmla="*/ 6858000 h 6858000"/>
              <a:gd name="connsiteX323" fmla="*/ 4368888 w 7467600"/>
              <a:gd name="connsiteY323" fmla="*/ 6668412 h 6858000"/>
              <a:gd name="connsiteX324" fmla="*/ 4563091 w 7467600"/>
              <a:gd name="connsiteY324" fmla="*/ 6442508 h 6858000"/>
              <a:gd name="connsiteX325" fmla="*/ 5387324 w 7467600"/>
              <a:gd name="connsiteY325" fmla="*/ 5705830 h 6858000"/>
              <a:gd name="connsiteX326" fmla="*/ 5073620 w 7467600"/>
              <a:gd name="connsiteY326" fmla="*/ 5955437 h 6858000"/>
              <a:gd name="connsiteX327" fmla="*/ 4689789 w 7467600"/>
              <a:gd name="connsiteY327" fmla="*/ 6268382 h 6858000"/>
              <a:gd name="connsiteX328" fmla="*/ 4418722 w 7467600"/>
              <a:gd name="connsiteY328" fmla="*/ 6570886 h 6858000"/>
              <a:gd name="connsiteX329" fmla="*/ 4214944 w 7467600"/>
              <a:gd name="connsiteY329" fmla="*/ 6858000 h 6858000"/>
              <a:gd name="connsiteX330" fmla="*/ 4177898 w 7467600"/>
              <a:gd name="connsiteY330" fmla="*/ 6858000 h 6858000"/>
              <a:gd name="connsiteX331" fmla="*/ 4391597 w 7467600"/>
              <a:gd name="connsiteY331" fmla="*/ 6556370 h 6858000"/>
              <a:gd name="connsiteX332" fmla="*/ 4668889 w 7467600"/>
              <a:gd name="connsiteY332" fmla="*/ 6246399 h 6858000"/>
              <a:gd name="connsiteX333" fmla="*/ 5055427 w 7467600"/>
              <a:gd name="connsiteY333" fmla="*/ 5931476 h 6858000"/>
              <a:gd name="connsiteX334" fmla="*/ 5371814 w 7467600"/>
              <a:gd name="connsiteY334" fmla="*/ 5678975 h 6858000"/>
              <a:gd name="connsiteX335" fmla="*/ 4987918 w 7467600"/>
              <a:gd name="connsiteY335" fmla="*/ 5838701 h 6858000"/>
              <a:gd name="connsiteX336" fmla="*/ 4317146 w 7467600"/>
              <a:gd name="connsiteY336" fmla="*/ 6587716 h 6858000"/>
              <a:gd name="connsiteX337" fmla="*/ 4171627 w 7467600"/>
              <a:gd name="connsiteY337" fmla="*/ 6858000 h 6858000"/>
              <a:gd name="connsiteX338" fmla="*/ 4081585 w 7467600"/>
              <a:gd name="connsiteY338" fmla="*/ 6858000 h 6858000"/>
              <a:gd name="connsiteX339" fmla="*/ 4238603 w 7467600"/>
              <a:gd name="connsiteY339" fmla="*/ 6559341 h 6858000"/>
              <a:gd name="connsiteX340" fmla="*/ 4778333 w 7467600"/>
              <a:gd name="connsiteY340" fmla="*/ 5873626 h 6858000"/>
              <a:gd name="connsiteX341" fmla="*/ 5414185 w 7467600"/>
              <a:gd name="connsiteY341" fmla="*/ 5573882 h 6858000"/>
              <a:gd name="connsiteX342" fmla="*/ 5959648 w 7467600"/>
              <a:gd name="connsiteY342" fmla="*/ 4760797 h 6858000"/>
              <a:gd name="connsiteX343" fmla="*/ 5355019 w 7467600"/>
              <a:gd name="connsiteY343" fmla="*/ 4734672 h 6858000"/>
              <a:gd name="connsiteX344" fmla="*/ 5083565 w 7467600"/>
              <a:gd name="connsiteY344" fmla="*/ 5179121 h 6858000"/>
              <a:gd name="connsiteX345" fmla="*/ 4713577 w 7467600"/>
              <a:gd name="connsiteY345" fmla="*/ 5616803 h 6858000"/>
              <a:gd name="connsiteX346" fmla="*/ 3989559 w 7467600"/>
              <a:gd name="connsiteY346" fmla="*/ 6145945 h 6858000"/>
              <a:gd name="connsiteX347" fmla="*/ 3939824 w 7467600"/>
              <a:gd name="connsiteY347" fmla="*/ 6066900 h 6858000"/>
              <a:gd name="connsiteX348" fmla="*/ 4584537 w 7467600"/>
              <a:gd name="connsiteY348" fmla="*/ 5324826 h 6858000"/>
              <a:gd name="connsiteX349" fmla="*/ 5037105 w 7467600"/>
              <a:gd name="connsiteY349" fmla="*/ 5088765 h 6858000"/>
              <a:gd name="connsiteX350" fmla="*/ 5039930 w 7467600"/>
              <a:gd name="connsiteY350" fmla="*/ 5089585 h 6858000"/>
              <a:gd name="connsiteX351" fmla="*/ 5263764 w 7467600"/>
              <a:gd name="connsiteY351" fmla="*/ 4735525 h 6858000"/>
              <a:gd name="connsiteX352" fmla="*/ 4086300 w 7467600"/>
              <a:gd name="connsiteY352" fmla="*/ 4884599 h 6858000"/>
              <a:gd name="connsiteX353" fmla="*/ 4085485 w 7467600"/>
              <a:gd name="connsiteY353" fmla="*/ 4899070 h 6858000"/>
              <a:gd name="connsiteX354" fmla="*/ 3871915 w 7467600"/>
              <a:gd name="connsiteY354" fmla="*/ 5253645 h 6858000"/>
              <a:gd name="connsiteX355" fmla="*/ 3799374 w 7467600"/>
              <a:gd name="connsiteY355" fmla="*/ 5466127 h 6858000"/>
              <a:gd name="connsiteX356" fmla="*/ 3498850 w 7467600"/>
              <a:gd name="connsiteY356" fmla="*/ 6661888 h 6858000"/>
              <a:gd name="connsiteX357" fmla="*/ 3399216 w 7467600"/>
              <a:gd name="connsiteY357" fmla="*/ 6858000 h 6858000"/>
              <a:gd name="connsiteX358" fmla="*/ 3303688 w 7467600"/>
              <a:gd name="connsiteY358" fmla="*/ 6858000 h 6858000"/>
              <a:gd name="connsiteX359" fmla="*/ 3391774 w 7467600"/>
              <a:gd name="connsiteY359" fmla="*/ 6697181 h 6858000"/>
              <a:gd name="connsiteX360" fmla="*/ 3735540 w 7467600"/>
              <a:gd name="connsiteY360" fmla="*/ 5546923 h 6858000"/>
              <a:gd name="connsiteX361" fmla="*/ 3729438 w 7467600"/>
              <a:gd name="connsiteY361" fmla="*/ 5569058 h 6858000"/>
              <a:gd name="connsiteX362" fmla="*/ 3707782 w 7467600"/>
              <a:gd name="connsiteY362" fmla="*/ 5644908 h 6858000"/>
              <a:gd name="connsiteX363" fmla="*/ 3583827 w 7467600"/>
              <a:gd name="connsiteY363" fmla="*/ 6039215 h 6858000"/>
              <a:gd name="connsiteX364" fmla="*/ 3547861 w 7467600"/>
              <a:gd name="connsiteY364" fmla="*/ 6129609 h 6858000"/>
              <a:gd name="connsiteX365" fmla="*/ 3490905 w 7467600"/>
              <a:gd name="connsiteY365" fmla="*/ 6277660 h 6858000"/>
              <a:gd name="connsiteX366" fmla="*/ 3455859 w 7467600"/>
              <a:gd name="connsiteY366" fmla="*/ 6391301 h 6858000"/>
              <a:gd name="connsiteX367" fmla="*/ 3429112 w 7467600"/>
              <a:gd name="connsiteY367" fmla="*/ 6479469 h 6858000"/>
              <a:gd name="connsiteX368" fmla="*/ 3304862 w 7467600"/>
              <a:gd name="connsiteY368" fmla="*/ 6796476 h 6858000"/>
              <a:gd name="connsiteX369" fmla="*/ 3276071 w 7467600"/>
              <a:gd name="connsiteY369" fmla="*/ 6858000 h 6858000"/>
              <a:gd name="connsiteX370" fmla="*/ 3240805 w 7467600"/>
              <a:gd name="connsiteY370" fmla="*/ 6858000 h 6858000"/>
              <a:gd name="connsiteX371" fmla="*/ 3275917 w 7467600"/>
              <a:gd name="connsiteY371" fmla="*/ 6783192 h 6858000"/>
              <a:gd name="connsiteX372" fmla="*/ 3399358 w 7467600"/>
              <a:gd name="connsiteY372" fmla="*/ 6469011 h 6858000"/>
              <a:gd name="connsiteX373" fmla="*/ 3425650 w 7467600"/>
              <a:gd name="connsiteY373" fmla="*/ 6381333 h 6858000"/>
              <a:gd name="connsiteX374" fmla="*/ 3460661 w 7467600"/>
              <a:gd name="connsiteY374" fmla="*/ 6266763 h 6858000"/>
              <a:gd name="connsiteX375" fmla="*/ 3518021 w 7467600"/>
              <a:gd name="connsiteY375" fmla="*/ 6117298 h 6858000"/>
              <a:gd name="connsiteX376" fmla="*/ 3554035 w 7467600"/>
              <a:gd name="connsiteY376" fmla="*/ 6027832 h 6858000"/>
              <a:gd name="connsiteX377" fmla="*/ 3677174 w 7467600"/>
              <a:gd name="connsiteY377" fmla="*/ 5636351 h 6858000"/>
              <a:gd name="connsiteX378" fmla="*/ 3698819 w 7467600"/>
              <a:gd name="connsiteY378" fmla="*/ 5560503 h 6858000"/>
              <a:gd name="connsiteX379" fmla="*/ 3702094 w 7467600"/>
              <a:gd name="connsiteY379" fmla="*/ 5549194 h 6858000"/>
              <a:gd name="connsiteX380" fmla="*/ 3398355 w 7467600"/>
              <a:gd name="connsiteY380" fmla="*/ 6094603 h 6858000"/>
              <a:gd name="connsiteX381" fmla="*/ 3193941 w 7467600"/>
              <a:gd name="connsiteY381" fmla="*/ 6798775 h 6858000"/>
              <a:gd name="connsiteX382" fmla="*/ 3184140 w 7467600"/>
              <a:gd name="connsiteY382" fmla="*/ 6858000 h 6858000"/>
              <a:gd name="connsiteX383" fmla="*/ 3099978 w 7467600"/>
              <a:gd name="connsiteY383" fmla="*/ 6858000 h 6858000"/>
              <a:gd name="connsiteX384" fmla="*/ 3101556 w 7467600"/>
              <a:gd name="connsiteY384" fmla="*/ 6843337 h 6858000"/>
              <a:gd name="connsiteX385" fmla="*/ 3370162 w 7467600"/>
              <a:gd name="connsiteY385" fmla="*/ 5785550 h 6858000"/>
              <a:gd name="connsiteX386" fmla="*/ 3746477 w 7467600"/>
              <a:gd name="connsiteY386" fmla="*/ 5377889 h 6858000"/>
              <a:gd name="connsiteX387" fmla="*/ 3863399 w 7467600"/>
              <a:gd name="connsiteY387" fmla="*/ 5087257 h 6858000"/>
              <a:gd name="connsiteX388" fmla="*/ 3968712 w 7467600"/>
              <a:gd name="connsiteY388" fmla="*/ 4913989 h 6858000"/>
              <a:gd name="connsiteX389" fmla="*/ 2792390 w 7467600"/>
              <a:gd name="connsiteY389" fmla="*/ 5382974 h 6858000"/>
              <a:gd name="connsiteX390" fmla="*/ 2714982 w 7467600"/>
              <a:gd name="connsiteY390" fmla="*/ 5427051 h 6858000"/>
              <a:gd name="connsiteX391" fmla="*/ 2813361 w 7467600"/>
              <a:gd name="connsiteY391" fmla="*/ 6023912 h 6858000"/>
              <a:gd name="connsiteX392" fmla="*/ 2688430 w 7467600"/>
              <a:gd name="connsiteY392" fmla="*/ 6801564 h 6858000"/>
              <a:gd name="connsiteX393" fmla="*/ 2629626 w 7467600"/>
              <a:gd name="connsiteY393" fmla="*/ 6763394 h 6858000"/>
              <a:gd name="connsiteX394" fmla="*/ 2565328 w 7467600"/>
              <a:gd name="connsiteY394" fmla="*/ 5516399 h 6858000"/>
              <a:gd name="connsiteX395" fmla="*/ 1922999 w 7467600"/>
              <a:gd name="connsiteY395" fmla="*/ 5980343 h 6858000"/>
              <a:gd name="connsiteX396" fmla="*/ 1950261 w 7467600"/>
              <a:gd name="connsiteY396" fmla="*/ 6405858 h 6858000"/>
              <a:gd name="connsiteX397" fmla="*/ 2365554 w 7467600"/>
              <a:gd name="connsiteY397" fmla="*/ 6759107 h 6858000"/>
              <a:gd name="connsiteX398" fmla="*/ 2424142 w 7467600"/>
              <a:gd name="connsiteY398" fmla="*/ 6858000 h 6858000"/>
              <a:gd name="connsiteX399" fmla="*/ 2395994 w 7467600"/>
              <a:gd name="connsiteY399" fmla="*/ 6858000 h 6858000"/>
              <a:gd name="connsiteX400" fmla="*/ 2392863 w 7467600"/>
              <a:gd name="connsiteY400" fmla="*/ 6852964 h 6858000"/>
              <a:gd name="connsiteX401" fmla="*/ 2017589 w 7467600"/>
              <a:gd name="connsiteY401" fmla="*/ 6493982 h 6858000"/>
              <a:gd name="connsiteX402" fmla="*/ 2147336 w 7467600"/>
              <a:gd name="connsiteY402" fmla="*/ 6594052 h 6858000"/>
              <a:gd name="connsiteX403" fmla="*/ 2207047 w 7467600"/>
              <a:gd name="connsiteY403" fmla="*/ 6654540 h 6858000"/>
              <a:gd name="connsiteX404" fmla="*/ 2299106 w 7467600"/>
              <a:gd name="connsiteY404" fmla="*/ 6778931 h 6858000"/>
              <a:gd name="connsiteX405" fmla="*/ 2314430 w 7467600"/>
              <a:gd name="connsiteY405" fmla="*/ 6801144 h 6858000"/>
              <a:gd name="connsiteX406" fmla="*/ 2352406 w 7467600"/>
              <a:gd name="connsiteY406" fmla="*/ 6858000 h 6858000"/>
              <a:gd name="connsiteX407" fmla="*/ 2314492 w 7467600"/>
              <a:gd name="connsiteY407" fmla="*/ 6858000 h 6858000"/>
              <a:gd name="connsiteX408" fmla="*/ 2288095 w 7467600"/>
              <a:gd name="connsiteY408" fmla="*/ 6818030 h 6858000"/>
              <a:gd name="connsiteX409" fmla="*/ 2272768 w 7467600"/>
              <a:gd name="connsiteY409" fmla="*/ 6795822 h 6858000"/>
              <a:gd name="connsiteX410" fmla="*/ 2182715 w 7467600"/>
              <a:gd name="connsiteY410" fmla="*/ 6675071 h 6858000"/>
              <a:gd name="connsiteX411" fmla="*/ 2032061 w 7467600"/>
              <a:gd name="connsiteY411" fmla="*/ 6541380 h 6858000"/>
              <a:gd name="connsiteX412" fmla="*/ 2257220 w 7467600"/>
              <a:gd name="connsiteY412" fmla="*/ 6826257 h 6858000"/>
              <a:gd name="connsiteX413" fmla="*/ 2281324 w 7467600"/>
              <a:gd name="connsiteY413" fmla="*/ 6858000 h 6858000"/>
              <a:gd name="connsiteX414" fmla="*/ 2242860 w 7467600"/>
              <a:gd name="connsiteY414" fmla="*/ 6858000 h 6858000"/>
              <a:gd name="connsiteX415" fmla="*/ 2232818 w 7467600"/>
              <a:gd name="connsiteY415" fmla="*/ 6844926 h 6858000"/>
              <a:gd name="connsiteX416" fmla="*/ 1990172 w 7467600"/>
              <a:gd name="connsiteY416" fmla="*/ 6542121 h 6858000"/>
              <a:gd name="connsiteX417" fmla="*/ 2124090 w 7467600"/>
              <a:gd name="connsiteY417" fmla="*/ 6761017 h 6858000"/>
              <a:gd name="connsiteX418" fmla="*/ 2200380 w 7467600"/>
              <a:gd name="connsiteY418" fmla="*/ 6858000 h 6858000"/>
              <a:gd name="connsiteX419" fmla="*/ 2147507 w 7467600"/>
              <a:gd name="connsiteY419" fmla="*/ 6858000 h 6858000"/>
              <a:gd name="connsiteX420" fmla="*/ 2070668 w 7467600"/>
              <a:gd name="connsiteY420" fmla="*/ 6761520 h 6858000"/>
              <a:gd name="connsiteX421" fmla="*/ 1975142 w 7467600"/>
              <a:gd name="connsiteY421" fmla="*/ 6585570 h 6858000"/>
              <a:gd name="connsiteX422" fmla="*/ 2050035 w 7467600"/>
              <a:gd name="connsiteY422" fmla="*/ 6813345 h 6858000"/>
              <a:gd name="connsiteX423" fmla="*/ 2063025 w 7467600"/>
              <a:gd name="connsiteY423" fmla="*/ 6858000 h 6858000"/>
              <a:gd name="connsiteX424" fmla="*/ 2021675 w 7467600"/>
              <a:gd name="connsiteY424" fmla="*/ 6858000 h 6858000"/>
              <a:gd name="connsiteX425" fmla="*/ 2019308 w 7467600"/>
              <a:gd name="connsiteY425" fmla="*/ 6847118 h 6858000"/>
              <a:gd name="connsiteX426" fmla="*/ 1938835 w 7467600"/>
              <a:gd name="connsiteY426" fmla="*/ 6551160 h 6858000"/>
              <a:gd name="connsiteX427" fmla="*/ 1953230 w 7467600"/>
              <a:gd name="connsiteY427" fmla="*/ 6759699 h 6858000"/>
              <a:gd name="connsiteX428" fmla="*/ 1956763 w 7467600"/>
              <a:gd name="connsiteY428" fmla="*/ 6778191 h 6858000"/>
              <a:gd name="connsiteX429" fmla="*/ 1967925 w 7467600"/>
              <a:gd name="connsiteY429" fmla="*/ 6858000 h 6858000"/>
              <a:gd name="connsiteX430" fmla="*/ 1936622 w 7467600"/>
              <a:gd name="connsiteY430" fmla="*/ 6858000 h 6858000"/>
              <a:gd name="connsiteX431" fmla="*/ 1926261 w 7467600"/>
              <a:gd name="connsiteY431" fmla="*/ 6784064 h 6858000"/>
              <a:gd name="connsiteX432" fmla="*/ 1922724 w 7467600"/>
              <a:gd name="connsiteY432" fmla="*/ 6765577 h 6858000"/>
              <a:gd name="connsiteX433" fmla="*/ 1904650 w 7467600"/>
              <a:gd name="connsiteY433" fmla="*/ 6639616 h 6858000"/>
              <a:gd name="connsiteX434" fmla="*/ 1885273 w 7467600"/>
              <a:gd name="connsiteY434" fmla="*/ 6858000 h 6858000"/>
              <a:gd name="connsiteX435" fmla="*/ 1854363 w 7467600"/>
              <a:gd name="connsiteY435" fmla="*/ 6858000 h 6858000"/>
              <a:gd name="connsiteX436" fmla="*/ 1880391 w 7467600"/>
              <a:gd name="connsiteY436" fmla="*/ 6603796 h 6858000"/>
              <a:gd name="connsiteX437" fmla="*/ 1818273 w 7467600"/>
              <a:gd name="connsiteY437" fmla="*/ 6715729 h 6858000"/>
              <a:gd name="connsiteX438" fmla="*/ 1794691 w 7467600"/>
              <a:gd name="connsiteY438" fmla="*/ 6843239 h 6858000"/>
              <a:gd name="connsiteX439" fmla="*/ 1794914 w 7467600"/>
              <a:gd name="connsiteY439" fmla="*/ 6858000 h 6858000"/>
              <a:gd name="connsiteX440" fmla="*/ 1746128 w 7467600"/>
              <a:gd name="connsiteY440" fmla="*/ 6858000 h 6858000"/>
              <a:gd name="connsiteX441" fmla="*/ 1753934 w 7467600"/>
              <a:gd name="connsiteY441" fmla="*/ 6724796 h 6858000"/>
              <a:gd name="connsiteX442" fmla="*/ 1792053 w 7467600"/>
              <a:gd name="connsiteY442" fmla="*/ 6572396 h 6858000"/>
              <a:gd name="connsiteX443" fmla="*/ 1862248 w 7467600"/>
              <a:gd name="connsiteY443" fmla="*/ 6266397 h 6858000"/>
              <a:gd name="connsiteX444" fmla="*/ 1862250 w 7467600"/>
              <a:gd name="connsiteY444" fmla="*/ 6033531 h 6858000"/>
              <a:gd name="connsiteX445" fmla="*/ 1211999 w 7467600"/>
              <a:gd name="connsiteY445" fmla="*/ 6683610 h 6858000"/>
              <a:gd name="connsiteX446" fmla="*/ 1213266 w 7467600"/>
              <a:gd name="connsiteY446" fmla="*/ 6691947 h 6858000"/>
              <a:gd name="connsiteX447" fmla="*/ 1203370 w 7467600"/>
              <a:gd name="connsiteY447" fmla="*/ 6850676 h 6858000"/>
              <a:gd name="connsiteX448" fmla="*/ 1203671 w 7467600"/>
              <a:gd name="connsiteY448" fmla="*/ 6858000 h 6858000"/>
              <a:gd name="connsiteX449" fmla="*/ 1143180 w 7467600"/>
              <a:gd name="connsiteY449" fmla="*/ 6858000 h 6858000"/>
              <a:gd name="connsiteX450" fmla="*/ 1142176 w 7467600"/>
              <a:gd name="connsiteY450" fmla="*/ 6766045 h 6858000"/>
              <a:gd name="connsiteX451" fmla="*/ 1067484 w 7467600"/>
              <a:gd name="connsiteY451" fmla="*/ 6858000 h 6858000"/>
              <a:gd name="connsiteX452" fmla="*/ 953928 w 7467600"/>
              <a:gd name="connsiteY452" fmla="*/ 6858000 h 6858000"/>
              <a:gd name="connsiteX453" fmla="*/ 959715 w 7467600"/>
              <a:gd name="connsiteY453" fmla="*/ 6850185 h 6858000"/>
              <a:gd name="connsiteX454" fmla="*/ 1483788 w 7467600"/>
              <a:gd name="connsiteY454" fmla="*/ 6259174 h 6858000"/>
              <a:gd name="connsiteX455" fmla="*/ 1100671 w 7467600"/>
              <a:gd name="connsiteY455" fmla="*/ 6252137 h 6858000"/>
              <a:gd name="connsiteX456" fmla="*/ 1090144 w 7467600"/>
              <a:gd name="connsiteY456" fmla="*/ 6256748 h 6858000"/>
              <a:gd name="connsiteX457" fmla="*/ 1095872 w 7467600"/>
              <a:gd name="connsiteY457" fmla="*/ 6271892 h 6858000"/>
              <a:gd name="connsiteX458" fmla="*/ 262785 w 7467600"/>
              <a:gd name="connsiteY458" fmla="*/ 6845450 h 6858000"/>
              <a:gd name="connsiteX459" fmla="*/ 209968 w 7467600"/>
              <a:gd name="connsiteY459" fmla="*/ 6770713 h 6858000"/>
              <a:gd name="connsiteX460" fmla="*/ 873460 w 7467600"/>
              <a:gd name="connsiteY460" fmla="*/ 6253768 h 6858000"/>
              <a:gd name="connsiteX461" fmla="*/ 192686 w 7467600"/>
              <a:gd name="connsiteY461" fmla="*/ 5849257 h 6858000"/>
              <a:gd name="connsiteX462" fmla="*/ 4696 w 7467600"/>
              <a:gd name="connsiteY462" fmla="*/ 5697668 h 6858000"/>
              <a:gd name="connsiteX463" fmla="*/ 0 w 7467600"/>
              <a:gd name="connsiteY463" fmla="*/ 5689984 h 6858000"/>
              <a:gd name="connsiteX464" fmla="*/ 0 w 7467600"/>
              <a:gd name="connsiteY464" fmla="*/ 5513472 h 6858000"/>
              <a:gd name="connsiteX465" fmla="*/ 174101 w 7467600"/>
              <a:gd name="connsiteY465" fmla="*/ 5620277 h 6858000"/>
              <a:gd name="connsiteX466" fmla="*/ 891800 w 7467600"/>
              <a:gd name="connsiteY466" fmla="*/ 6036935 h 6858000"/>
              <a:gd name="connsiteX467" fmla="*/ 1072219 w 7467600"/>
              <a:gd name="connsiteY467" fmla="*/ 6169443 h 6858000"/>
              <a:gd name="connsiteX468" fmla="*/ 1074117 w 7467600"/>
              <a:gd name="connsiteY468" fmla="*/ 6170301 h 6858000"/>
              <a:gd name="connsiteX469" fmla="*/ 1083114 w 7467600"/>
              <a:gd name="connsiteY469" fmla="*/ 6174131 h 6858000"/>
              <a:gd name="connsiteX470" fmla="*/ 1543010 w 7467600"/>
              <a:gd name="connsiteY470" fmla="*/ 6191140 h 6858000"/>
              <a:gd name="connsiteX471" fmla="*/ 1551080 w 7467600"/>
              <a:gd name="connsiteY471" fmla="*/ 6195006 h 6858000"/>
              <a:gd name="connsiteX472" fmla="*/ 2345443 w 7467600"/>
              <a:gd name="connsiteY472" fmla="*/ 5549882 h 6858000"/>
              <a:gd name="connsiteX473" fmla="*/ 1721499 w 7467600"/>
              <a:gd name="connsiteY473" fmla="*/ 5599969 h 6858000"/>
              <a:gd name="connsiteX474" fmla="*/ 767716 w 7467600"/>
              <a:gd name="connsiteY474" fmla="*/ 5472768 h 6858000"/>
              <a:gd name="connsiteX475" fmla="*/ 722147 w 7467600"/>
              <a:gd name="connsiteY475" fmla="*/ 5393091 h 6858000"/>
              <a:gd name="connsiteX476" fmla="*/ 1485552 w 7467600"/>
              <a:gd name="connsiteY476" fmla="*/ 5313202 h 6858000"/>
              <a:gd name="connsiteX477" fmla="*/ 2143004 w 7467600"/>
              <a:gd name="connsiteY477" fmla="*/ 5402420 h 6858000"/>
              <a:gd name="connsiteX478" fmla="*/ 1933391 w 7467600"/>
              <a:gd name="connsiteY478" fmla="*/ 5156971 h 6858000"/>
              <a:gd name="connsiteX479" fmla="*/ 1827118 w 7467600"/>
              <a:gd name="connsiteY479" fmla="*/ 4968410 h 6858000"/>
              <a:gd name="connsiteX480" fmla="*/ 1837349 w 7467600"/>
              <a:gd name="connsiteY480" fmla="*/ 4956357 h 6858000"/>
              <a:gd name="connsiteX481" fmla="*/ 2162835 w 7467600"/>
              <a:gd name="connsiteY481" fmla="*/ 5187853 h 6858000"/>
              <a:gd name="connsiteX482" fmla="*/ 2257167 w 7467600"/>
              <a:gd name="connsiteY482" fmla="*/ 5462123 h 6858000"/>
              <a:gd name="connsiteX483" fmla="*/ 2261598 w 7467600"/>
              <a:gd name="connsiteY483" fmla="*/ 5467998 h 6858000"/>
              <a:gd name="connsiteX484" fmla="*/ 2437177 w 7467600"/>
              <a:gd name="connsiteY484" fmla="*/ 5479608 h 6858000"/>
              <a:gd name="connsiteX485" fmla="*/ 2445247 w 7467600"/>
              <a:gd name="connsiteY485" fmla="*/ 5483476 h 6858000"/>
              <a:gd name="connsiteX486" fmla="*/ 2743626 w 7467600"/>
              <a:gd name="connsiteY486" fmla="*/ 5304819 h 6858000"/>
              <a:gd name="connsiteX487" fmla="*/ 3048102 w 7467600"/>
              <a:gd name="connsiteY487" fmla="*/ 5150595 h 6858000"/>
              <a:gd name="connsiteX488" fmla="*/ 1799414 w 7467600"/>
              <a:gd name="connsiteY488" fmla="*/ 4694732 h 6858000"/>
              <a:gd name="connsiteX489" fmla="*/ 1771735 w 7467600"/>
              <a:gd name="connsiteY489" fmla="*/ 4619929 h 6858000"/>
              <a:gd name="connsiteX490" fmla="*/ 3104273 w 7467600"/>
              <a:gd name="connsiteY490" fmla="*/ 5076159 h 6858000"/>
              <a:gd name="connsiteX491" fmla="*/ 3113245 w 7467600"/>
              <a:gd name="connsiteY491" fmla="*/ 5090705 h 6858000"/>
              <a:gd name="connsiteX492" fmla="*/ 3126294 w 7467600"/>
              <a:gd name="connsiteY492" fmla="*/ 5114400 h 6858000"/>
              <a:gd name="connsiteX493" fmla="*/ 3937433 w 7467600"/>
              <a:gd name="connsiteY493" fmla="*/ 4830473 h 6858000"/>
              <a:gd name="connsiteX494" fmla="*/ 3590475 w 7467600"/>
              <a:gd name="connsiteY494" fmla="*/ 4597974 h 6858000"/>
              <a:gd name="connsiteX495" fmla="*/ 3100264 w 7467600"/>
              <a:gd name="connsiteY495" fmla="*/ 4579845 h 6858000"/>
              <a:gd name="connsiteX496" fmla="*/ 2183576 w 7467600"/>
              <a:gd name="connsiteY496" fmla="*/ 4227150 h 6858000"/>
              <a:gd name="connsiteX497" fmla="*/ 2151029 w 7467600"/>
              <a:gd name="connsiteY497" fmla="*/ 4146947 h 6858000"/>
              <a:gd name="connsiteX498" fmla="*/ 3563434 w 7467600"/>
              <a:gd name="connsiteY498" fmla="*/ 4469115 h 6858000"/>
              <a:gd name="connsiteX499" fmla="*/ 3177952 w 7467600"/>
              <a:gd name="connsiteY499" fmla="*/ 3657386 h 6858000"/>
              <a:gd name="connsiteX500" fmla="*/ 3189263 w 7467600"/>
              <a:gd name="connsiteY500" fmla="*/ 3625726 h 6858000"/>
              <a:gd name="connsiteX501" fmla="*/ 3560912 w 7467600"/>
              <a:gd name="connsiteY501" fmla="*/ 4079863 h 6858000"/>
              <a:gd name="connsiteX502" fmla="*/ 3626636 w 7467600"/>
              <a:gd name="connsiteY502" fmla="*/ 4512230 h 6858000"/>
              <a:gd name="connsiteX503" fmla="*/ 3653088 w 7467600"/>
              <a:gd name="connsiteY503" fmla="*/ 4521417 h 6858000"/>
              <a:gd name="connsiteX504" fmla="*/ 3988128 w 7467600"/>
              <a:gd name="connsiteY504" fmla="*/ 4817267 h 6858000"/>
              <a:gd name="connsiteX505" fmla="*/ 4830582 w 7467600"/>
              <a:gd name="connsiteY505" fmla="*/ 4676000 h 6858000"/>
              <a:gd name="connsiteX506" fmla="*/ 4830100 w 7467600"/>
              <a:gd name="connsiteY506" fmla="*/ 4675554 h 6858000"/>
              <a:gd name="connsiteX507" fmla="*/ 4036318 w 7467600"/>
              <a:gd name="connsiteY507" fmla="*/ 4147013 h 6858000"/>
              <a:gd name="connsiteX508" fmla="*/ 3432098 w 7467600"/>
              <a:gd name="connsiteY508" fmla="*/ 3537312 h 6858000"/>
              <a:gd name="connsiteX509" fmla="*/ 3446761 w 7467600"/>
              <a:gd name="connsiteY509" fmla="*/ 3461278 h 6858000"/>
              <a:gd name="connsiteX510" fmla="*/ 4419733 w 7467600"/>
              <a:gd name="connsiteY510" fmla="*/ 3963555 h 6858000"/>
              <a:gd name="connsiteX511" fmla="*/ 4781371 w 7467600"/>
              <a:gd name="connsiteY511" fmla="*/ 4458604 h 6858000"/>
              <a:gd name="connsiteX512" fmla="*/ 4780440 w 7467600"/>
              <a:gd name="connsiteY512" fmla="*/ 4470290 h 6858000"/>
              <a:gd name="connsiteX513" fmla="*/ 4898954 w 7467600"/>
              <a:gd name="connsiteY513" fmla="*/ 4662092 h 6858000"/>
              <a:gd name="connsiteX514" fmla="*/ 4900699 w 7467600"/>
              <a:gd name="connsiteY514" fmla="*/ 4670867 h 6858000"/>
              <a:gd name="connsiteX515" fmla="*/ 5714511 w 7467600"/>
              <a:gd name="connsiteY515" fmla="*/ 4663483 h 6858000"/>
              <a:gd name="connsiteX516" fmla="*/ 5464793 w 7467600"/>
              <a:gd name="connsiteY516" fmla="*/ 4393556 h 6858000"/>
              <a:gd name="connsiteX517" fmla="*/ 5461897 w 7467600"/>
              <a:gd name="connsiteY517" fmla="*/ 4390879 h 6858000"/>
              <a:gd name="connsiteX518" fmla="*/ 4294126 w 7467600"/>
              <a:gd name="connsiteY518" fmla="*/ 3303048 h 6858000"/>
              <a:gd name="connsiteX519" fmla="*/ 4305321 w 7467600"/>
              <a:gd name="connsiteY519" fmla="*/ 3256953 h 6858000"/>
              <a:gd name="connsiteX520" fmla="*/ 4949299 w 7467600"/>
              <a:gd name="connsiteY520" fmla="*/ 3766336 h 6858000"/>
              <a:gd name="connsiteX521" fmla="*/ 5291452 w 7467600"/>
              <a:gd name="connsiteY521" fmla="*/ 4076801 h 6858000"/>
              <a:gd name="connsiteX522" fmla="*/ 5434998 w 7467600"/>
              <a:gd name="connsiteY522" fmla="*/ 4254100 h 6858000"/>
              <a:gd name="connsiteX523" fmla="*/ 5351015 w 7467600"/>
              <a:gd name="connsiteY523" fmla="*/ 3760989 h 6858000"/>
              <a:gd name="connsiteX524" fmla="*/ 5413780 w 7467600"/>
              <a:gd name="connsiteY524" fmla="*/ 2966265 h 6858000"/>
              <a:gd name="connsiteX525" fmla="*/ 5425627 w 7467600"/>
              <a:gd name="connsiteY525" fmla="*/ 2954192 h 6858000"/>
              <a:gd name="connsiteX526" fmla="*/ 6604735 w 7467600"/>
              <a:gd name="connsiteY526" fmla="*/ 2041381 h 6858000"/>
              <a:gd name="connsiteX527" fmla="*/ 7204487 w 7467600"/>
              <a:gd name="connsiteY527" fmla="*/ 2742112 h 6858000"/>
              <a:gd name="connsiteX528" fmla="*/ 7131592 w 7467600"/>
              <a:gd name="connsiteY528" fmla="*/ 2672096 h 6858000"/>
              <a:gd name="connsiteX529" fmla="*/ 6996344 w 7467600"/>
              <a:gd name="connsiteY529" fmla="*/ 2518310 h 6858000"/>
              <a:gd name="connsiteX530" fmla="*/ 6735495 w 7467600"/>
              <a:gd name="connsiteY530" fmla="*/ 2196890 h 6858000"/>
              <a:gd name="connsiteX531" fmla="*/ 6721901 w 7467600"/>
              <a:gd name="connsiteY531" fmla="*/ 2179274 h 6858000"/>
              <a:gd name="connsiteX532" fmla="*/ 6604735 w 7467600"/>
              <a:gd name="connsiteY532" fmla="*/ 2041381 h 6858000"/>
              <a:gd name="connsiteX533" fmla="*/ 6591670 w 7467600"/>
              <a:gd name="connsiteY533" fmla="*/ 1988277 h 6858000"/>
              <a:gd name="connsiteX534" fmla="*/ 6747349 w 7467600"/>
              <a:gd name="connsiteY534" fmla="*/ 2160069 h 6858000"/>
              <a:gd name="connsiteX535" fmla="*/ 6760943 w 7467600"/>
              <a:gd name="connsiteY535" fmla="*/ 2177686 h 6858000"/>
              <a:gd name="connsiteX536" fmla="*/ 7021065 w 7467600"/>
              <a:gd name="connsiteY536" fmla="*/ 2498102 h 6858000"/>
              <a:gd name="connsiteX537" fmla="*/ 7155223 w 7467600"/>
              <a:gd name="connsiteY537" fmla="*/ 2650386 h 6858000"/>
              <a:gd name="connsiteX538" fmla="*/ 7203167 w 7467600"/>
              <a:gd name="connsiteY538" fmla="*/ 2697288 h 6858000"/>
              <a:gd name="connsiteX539" fmla="*/ 6937703 w 7467600"/>
              <a:gd name="connsiteY539" fmla="*/ 2321981 h 6858000"/>
              <a:gd name="connsiteX540" fmla="*/ 6591670 w 7467600"/>
              <a:gd name="connsiteY540" fmla="*/ 1988277 h 6858000"/>
              <a:gd name="connsiteX541" fmla="*/ 5798671 w 7467600"/>
              <a:gd name="connsiteY541" fmla="*/ 1981601 h 6858000"/>
              <a:gd name="connsiteX542" fmla="*/ 5754709 w 7467600"/>
              <a:gd name="connsiteY542" fmla="*/ 2071454 h 6858000"/>
              <a:gd name="connsiteX543" fmla="*/ 5763044 w 7467600"/>
              <a:gd name="connsiteY543" fmla="*/ 2842206 h 6858000"/>
              <a:gd name="connsiteX544" fmla="*/ 5764974 w 7467600"/>
              <a:gd name="connsiteY544" fmla="*/ 2799609 h 6858000"/>
              <a:gd name="connsiteX545" fmla="*/ 5767665 w 7467600"/>
              <a:gd name="connsiteY545" fmla="*/ 2666409 h 6858000"/>
              <a:gd name="connsiteX546" fmla="*/ 5763055 w 7467600"/>
              <a:gd name="connsiteY546" fmla="*/ 2579705 h 6858000"/>
              <a:gd name="connsiteX547" fmla="*/ 5758079 w 7467600"/>
              <a:gd name="connsiteY547" fmla="*/ 2492508 h 6858000"/>
              <a:gd name="connsiteX548" fmla="*/ 5779325 w 7467600"/>
              <a:gd name="connsiteY548" fmla="*/ 2197069 h 6858000"/>
              <a:gd name="connsiteX549" fmla="*/ 5798671 w 7467600"/>
              <a:gd name="connsiteY549" fmla="*/ 1981601 h 6858000"/>
              <a:gd name="connsiteX550" fmla="*/ 5829202 w 7467600"/>
              <a:gd name="connsiteY550" fmla="*/ 1971679 h 6858000"/>
              <a:gd name="connsiteX551" fmla="*/ 5809558 w 7467600"/>
              <a:gd name="connsiteY551" fmla="*/ 2198043 h 6858000"/>
              <a:gd name="connsiteX552" fmla="*/ 5788653 w 7467600"/>
              <a:gd name="connsiteY552" fmla="*/ 2489430 h 6858000"/>
              <a:gd name="connsiteX553" fmla="*/ 5793439 w 7467600"/>
              <a:gd name="connsiteY553" fmla="*/ 2575235 h 6858000"/>
              <a:gd name="connsiteX554" fmla="*/ 5796837 w 7467600"/>
              <a:gd name="connsiteY554" fmla="*/ 2637633 h 6858000"/>
              <a:gd name="connsiteX555" fmla="*/ 5818614 w 7467600"/>
              <a:gd name="connsiteY555" fmla="*/ 2473055 h 6858000"/>
              <a:gd name="connsiteX556" fmla="*/ 5829202 w 7467600"/>
              <a:gd name="connsiteY556" fmla="*/ 1971679 h 6858000"/>
              <a:gd name="connsiteX557" fmla="*/ 5911389 w 7467600"/>
              <a:gd name="connsiteY557" fmla="*/ 1898371 h 6858000"/>
              <a:gd name="connsiteX558" fmla="*/ 6237627 w 7467600"/>
              <a:gd name="connsiteY558" fmla="*/ 2231921 h 6858000"/>
              <a:gd name="connsiteX559" fmla="*/ 5911389 w 7467600"/>
              <a:gd name="connsiteY559" fmla="*/ 1898371 h 6858000"/>
              <a:gd name="connsiteX560" fmla="*/ 6944437 w 7467600"/>
              <a:gd name="connsiteY560" fmla="*/ 1575402 h 6858000"/>
              <a:gd name="connsiteX561" fmla="*/ 6304730 w 7467600"/>
              <a:gd name="connsiteY561" fmla="*/ 1766654 h 6858000"/>
              <a:gd name="connsiteX562" fmla="*/ 6944437 w 7467600"/>
              <a:gd name="connsiteY562" fmla="*/ 1575402 h 6858000"/>
              <a:gd name="connsiteX563" fmla="*/ 7019523 w 7467600"/>
              <a:gd name="connsiteY563" fmla="*/ 1519450 h 6858000"/>
              <a:gd name="connsiteX564" fmla="*/ 6298091 w 7467600"/>
              <a:gd name="connsiteY564" fmla="*/ 1737122 h 6858000"/>
              <a:gd name="connsiteX565" fmla="*/ 7019523 w 7467600"/>
              <a:gd name="connsiteY565" fmla="*/ 1519450 h 6858000"/>
              <a:gd name="connsiteX566" fmla="*/ 2399523 w 7467600"/>
              <a:gd name="connsiteY566" fmla="*/ 1428234 h 6858000"/>
              <a:gd name="connsiteX567" fmla="*/ 2224982 w 7467600"/>
              <a:gd name="connsiteY567" fmla="*/ 1826201 h 6858000"/>
              <a:gd name="connsiteX568" fmla="*/ 2096099 w 7467600"/>
              <a:gd name="connsiteY568" fmla="*/ 2345900 h 6858000"/>
              <a:gd name="connsiteX569" fmla="*/ 2283317 w 7467600"/>
              <a:gd name="connsiteY569" fmla="*/ 1796925 h 6858000"/>
              <a:gd name="connsiteX570" fmla="*/ 2399523 w 7467600"/>
              <a:gd name="connsiteY570" fmla="*/ 1428234 h 6858000"/>
              <a:gd name="connsiteX571" fmla="*/ 2448558 w 7467600"/>
              <a:gd name="connsiteY571" fmla="*/ 1373435 h 6858000"/>
              <a:gd name="connsiteX572" fmla="*/ 2312521 w 7467600"/>
              <a:gd name="connsiteY572" fmla="*/ 1806140 h 6858000"/>
              <a:gd name="connsiteX573" fmla="*/ 2127533 w 7467600"/>
              <a:gd name="connsiteY573" fmla="*/ 2348380 h 6858000"/>
              <a:gd name="connsiteX574" fmla="*/ 2358080 w 7467600"/>
              <a:gd name="connsiteY574" fmla="*/ 1866134 h 6858000"/>
              <a:gd name="connsiteX575" fmla="*/ 2407436 w 7467600"/>
              <a:gd name="connsiteY575" fmla="*/ 1651070 h 6858000"/>
              <a:gd name="connsiteX576" fmla="*/ 2448558 w 7467600"/>
              <a:gd name="connsiteY576" fmla="*/ 1373435 h 6858000"/>
              <a:gd name="connsiteX577" fmla="*/ 278707 w 7467600"/>
              <a:gd name="connsiteY577" fmla="*/ 1352270 h 6858000"/>
              <a:gd name="connsiteX578" fmla="*/ 321570 w 7467600"/>
              <a:gd name="connsiteY578" fmla="*/ 1861610 h 6858000"/>
              <a:gd name="connsiteX579" fmla="*/ 294281 w 7467600"/>
              <a:gd name="connsiteY579" fmla="*/ 1440658 h 6858000"/>
              <a:gd name="connsiteX580" fmla="*/ 278707 w 7467600"/>
              <a:gd name="connsiteY580" fmla="*/ 1352270 h 6858000"/>
              <a:gd name="connsiteX581" fmla="*/ 1423821 w 7467600"/>
              <a:gd name="connsiteY581" fmla="*/ 1351958 h 6858000"/>
              <a:gd name="connsiteX582" fmla="*/ 1638521 w 7467600"/>
              <a:gd name="connsiteY582" fmla="*/ 1908470 h 6858000"/>
              <a:gd name="connsiteX583" fmla="*/ 1754199 w 7467600"/>
              <a:gd name="connsiteY583" fmla="*/ 2149284 h 6858000"/>
              <a:gd name="connsiteX584" fmla="*/ 1908359 w 7467600"/>
              <a:gd name="connsiteY584" fmla="*/ 2364988 h 6858000"/>
              <a:gd name="connsiteX585" fmla="*/ 1647661 w 7467600"/>
              <a:gd name="connsiteY585" fmla="*/ 1825945 h 6858000"/>
              <a:gd name="connsiteX586" fmla="*/ 1423821 w 7467600"/>
              <a:gd name="connsiteY586" fmla="*/ 1351958 h 6858000"/>
              <a:gd name="connsiteX587" fmla="*/ 1431890 w 7467600"/>
              <a:gd name="connsiteY587" fmla="*/ 1306475 h 6858000"/>
              <a:gd name="connsiteX588" fmla="*/ 1507597 w 7467600"/>
              <a:gd name="connsiteY588" fmla="*/ 1446132 h 6858000"/>
              <a:gd name="connsiteX589" fmla="*/ 1674586 w 7467600"/>
              <a:gd name="connsiteY589" fmla="*/ 1813832 h 6858000"/>
              <a:gd name="connsiteX590" fmla="*/ 1815950 w 7467600"/>
              <a:gd name="connsiteY590" fmla="*/ 2128564 h 6858000"/>
              <a:gd name="connsiteX591" fmla="*/ 1984242 w 7467600"/>
              <a:gd name="connsiteY591" fmla="*/ 2430829 h 6858000"/>
              <a:gd name="connsiteX592" fmla="*/ 2014023 w 7467600"/>
              <a:gd name="connsiteY592" fmla="*/ 2450995 h 6858000"/>
              <a:gd name="connsiteX593" fmla="*/ 1747337 w 7467600"/>
              <a:gd name="connsiteY593" fmla="*/ 1855264 h 6858000"/>
              <a:gd name="connsiteX594" fmla="*/ 1533749 w 7467600"/>
              <a:gd name="connsiteY594" fmla="*/ 1478656 h 6858000"/>
              <a:gd name="connsiteX595" fmla="*/ 1431890 w 7467600"/>
              <a:gd name="connsiteY595" fmla="*/ 1306475 h 6858000"/>
              <a:gd name="connsiteX596" fmla="*/ 5052692 w 7467600"/>
              <a:gd name="connsiteY596" fmla="*/ 1292994 h 6858000"/>
              <a:gd name="connsiteX597" fmla="*/ 5200661 w 7467600"/>
              <a:gd name="connsiteY597" fmla="*/ 1635186 h 6858000"/>
              <a:gd name="connsiteX598" fmla="*/ 5297138 w 7467600"/>
              <a:gd name="connsiteY598" fmla="*/ 1906351 h 6858000"/>
              <a:gd name="connsiteX599" fmla="*/ 5052692 w 7467600"/>
              <a:gd name="connsiteY599" fmla="*/ 1292994 h 6858000"/>
              <a:gd name="connsiteX600" fmla="*/ 5009948 w 7467600"/>
              <a:gd name="connsiteY600" fmla="*/ 1273619 h 6858000"/>
              <a:gd name="connsiteX601" fmla="*/ 5121777 w 7467600"/>
              <a:gd name="connsiteY601" fmla="*/ 1654213 h 6858000"/>
              <a:gd name="connsiteX602" fmla="*/ 5293545 w 7467600"/>
              <a:gd name="connsiteY602" fmla="*/ 2072247 h 6858000"/>
              <a:gd name="connsiteX603" fmla="*/ 5294042 w 7467600"/>
              <a:gd name="connsiteY603" fmla="*/ 2065019 h 6858000"/>
              <a:gd name="connsiteX604" fmla="*/ 5171936 w 7467600"/>
              <a:gd name="connsiteY604" fmla="*/ 1647613 h 6858000"/>
              <a:gd name="connsiteX605" fmla="*/ 5009948 w 7467600"/>
              <a:gd name="connsiteY605" fmla="*/ 1273619 h 6858000"/>
              <a:gd name="connsiteX606" fmla="*/ 655236 w 7467600"/>
              <a:gd name="connsiteY606" fmla="*/ 1268632 h 6858000"/>
              <a:gd name="connsiteX607" fmla="*/ 839521 w 7467600"/>
              <a:gd name="connsiteY607" fmla="*/ 1685315 h 6858000"/>
              <a:gd name="connsiteX608" fmla="*/ 1109416 w 7467600"/>
              <a:gd name="connsiteY608" fmla="*/ 2061663 h 6858000"/>
              <a:gd name="connsiteX609" fmla="*/ 1298300 w 7467600"/>
              <a:gd name="connsiteY609" fmla="*/ 2247742 h 6858000"/>
              <a:gd name="connsiteX610" fmla="*/ 1125871 w 7467600"/>
              <a:gd name="connsiteY610" fmla="*/ 1989513 h 6858000"/>
              <a:gd name="connsiteX611" fmla="*/ 981574 w 7467600"/>
              <a:gd name="connsiteY611" fmla="*/ 1783157 h 6858000"/>
              <a:gd name="connsiteX612" fmla="*/ 922198 w 7467600"/>
              <a:gd name="connsiteY612" fmla="*/ 1677437 h 6858000"/>
              <a:gd name="connsiteX613" fmla="*/ 869293 w 7467600"/>
              <a:gd name="connsiteY613" fmla="*/ 1583214 h 6858000"/>
              <a:gd name="connsiteX614" fmla="*/ 751431 w 7467600"/>
              <a:gd name="connsiteY614" fmla="*/ 1405731 h 6858000"/>
              <a:gd name="connsiteX615" fmla="*/ 655236 w 7467600"/>
              <a:gd name="connsiteY615" fmla="*/ 1268632 h 6858000"/>
              <a:gd name="connsiteX616" fmla="*/ 6516292 w 7467600"/>
              <a:gd name="connsiteY616" fmla="*/ 1263064 h 6858000"/>
              <a:gd name="connsiteX617" fmla="*/ 5736320 w 7467600"/>
              <a:gd name="connsiteY617" fmla="*/ 1501803 h 6858000"/>
              <a:gd name="connsiteX618" fmla="*/ 6516292 w 7467600"/>
              <a:gd name="connsiteY618" fmla="*/ 1263064 h 6858000"/>
              <a:gd name="connsiteX619" fmla="*/ 291466 w 7467600"/>
              <a:gd name="connsiteY619" fmla="*/ 1250369 h 6858000"/>
              <a:gd name="connsiteX620" fmla="*/ 323180 w 7467600"/>
              <a:gd name="connsiteY620" fmla="*/ 1435283 h 6858000"/>
              <a:gd name="connsiteX621" fmla="*/ 349381 w 7467600"/>
              <a:gd name="connsiteY621" fmla="*/ 1875041 h 6858000"/>
              <a:gd name="connsiteX622" fmla="*/ 374363 w 7467600"/>
              <a:gd name="connsiteY622" fmla="*/ 1506494 h 6858000"/>
              <a:gd name="connsiteX623" fmla="*/ 302168 w 7467600"/>
              <a:gd name="connsiteY623" fmla="*/ 1274495 h 6858000"/>
              <a:gd name="connsiteX624" fmla="*/ 291466 w 7467600"/>
              <a:gd name="connsiteY624" fmla="*/ 1250369 h 6858000"/>
              <a:gd name="connsiteX625" fmla="*/ 678222 w 7467600"/>
              <a:gd name="connsiteY625" fmla="*/ 1248670 h 6858000"/>
              <a:gd name="connsiteX626" fmla="*/ 775536 w 7467600"/>
              <a:gd name="connsiteY626" fmla="*/ 1388015 h 6858000"/>
              <a:gd name="connsiteX627" fmla="*/ 894529 w 7467600"/>
              <a:gd name="connsiteY627" fmla="*/ 1567739 h 6858000"/>
              <a:gd name="connsiteX628" fmla="*/ 948000 w 7467600"/>
              <a:gd name="connsiteY628" fmla="*/ 1663088 h 6858000"/>
              <a:gd name="connsiteX629" fmla="*/ 1006812 w 7467600"/>
              <a:gd name="connsiteY629" fmla="*/ 1767683 h 6858000"/>
              <a:gd name="connsiteX630" fmla="*/ 1149133 w 7467600"/>
              <a:gd name="connsiteY630" fmla="*/ 1971513 h 6858000"/>
              <a:gd name="connsiteX631" fmla="*/ 1333952 w 7467600"/>
              <a:gd name="connsiteY631" fmla="*/ 2251620 h 6858000"/>
              <a:gd name="connsiteX632" fmla="*/ 1337329 w 7467600"/>
              <a:gd name="connsiteY632" fmla="*/ 2258350 h 6858000"/>
              <a:gd name="connsiteX633" fmla="*/ 1014726 w 7467600"/>
              <a:gd name="connsiteY633" fmla="*/ 1615556 h 6858000"/>
              <a:gd name="connsiteX634" fmla="*/ 678222 w 7467600"/>
              <a:gd name="connsiteY634" fmla="*/ 1248670 h 6858000"/>
              <a:gd name="connsiteX635" fmla="*/ 6691602 w 7467600"/>
              <a:gd name="connsiteY635" fmla="*/ 1140573 h 6858000"/>
              <a:gd name="connsiteX636" fmla="*/ 6571100 w 7467600"/>
              <a:gd name="connsiteY636" fmla="*/ 1183662 h 6858000"/>
              <a:gd name="connsiteX637" fmla="*/ 6241687 w 7467600"/>
              <a:gd name="connsiteY637" fmla="*/ 1257600 h 6858000"/>
              <a:gd name="connsiteX638" fmla="*/ 5693009 w 7467600"/>
              <a:gd name="connsiteY638" fmla="*/ 1478256 h 6858000"/>
              <a:gd name="connsiteX639" fmla="*/ 6548420 w 7467600"/>
              <a:gd name="connsiteY639" fmla="*/ 1214599 h 6858000"/>
              <a:gd name="connsiteX640" fmla="*/ 6605473 w 7467600"/>
              <a:gd name="connsiteY640" fmla="*/ 1184686 h 6858000"/>
              <a:gd name="connsiteX641" fmla="*/ 6691602 w 7467600"/>
              <a:gd name="connsiteY641" fmla="*/ 1140573 h 6858000"/>
              <a:gd name="connsiteX642" fmla="*/ 4002475 w 7467600"/>
              <a:gd name="connsiteY642" fmla="*/ 1037802 h 6858000"/>
              <a:gd name="connsiteX643" fmla="*/ 4000324 w 7467600"/>
              <a:gd name="connsiteY643" fmla="*/ 1039362 h 6858000"/>
              <a:gd name="connsiteX644" fmla="*/ 4002862 w 7467600"/>
              <a:gd name="connsiteY644" fmla="*/ 1042866 h 6858000"/>
              <a:gd name="connsiteX645" fmla="*/ 4002475 w 7467600"/>
              <a:gd name="connsiteY645" fmla="*/ 1037802 h 6858000"/>
              <a:gd name="connsiteX646" fmla="*/ 506322 w 7467600"/>
              <a:gd name="connsiteY646" fmla="*/ 1020997 h 6858000"/>
              <a:gd name="connsiteX647" fmla="*/ 533068 w 7467600"/>
              <a:gd name="connsiteY647" fmla="*/ 1029409 h 6858000"/>
              <a:gd name="connsiteX648" fmla="*/ 1232525 w 7467600"/>
              <a:gd name="connsiteY648" fmla="*/ 1804675 h 6858000"/>
              <a:gd name="connsiteX649" fmla="*/ 1388858 w 7467600"/>
              <a:gd name="connsiteY649" fmla="*/ 2368011 h 6858000"/>
              <a:gd name="connsiteX650" fmla="*/ 1384098 w 7467600"/>
              <a:gd name="connsiteY650" fmla="*/ 2378125 h 6858000"/>
              <a:gd name="connsiteX651" fmla="*/ 1425393 w 7467600"/>
              <a:gd name="connsiteY651" fmla="*/ 2589124 h 6858000"/>
              <a:gd name="connsiteX652" fmla="*/ 1424001 w 7467600"/>
              <a:gd name="connsiteY652" fmla="*/ 2597541 h 6858000"/>
              <a:gd name="connsiteX653" fmla="*/ 2152729 w 7467600"/>
              <a:gd name="connsiteY653" fmla="*/ 2864487 h 6858000"/>
              <a:gd name="connsiteX654" fmla="*/ 2020609 w 7467600"/>
              <a:gd name="connsiteY654" fmla="*/ 2539671 h 6858000"/>
              <a:gd name="connsiteX655" fmla="*/ 2018920 w 7467600"/>
              <a:gd name="connsiteY655" fmla="*/ 2536309 h 6858000"/>
              <a:gd name="connsiteX656" fmla="*/ 1342441 w 7467600"/>
              <a:gd name="connsiteY656" fmla="*/ 1173017 h 6858000"/>
              <a:gd name="connsiteX657" fmla="*/ 1367925 w 7467600"/>
              <a:gd name="connsiteY657" fmla="*/ 1135648 h 6858000"/>
              <a:gd name="connsiteX658" fmla="*/ 1771401 w 7467600"/>
              <a:gd name="connsiteY658" fmla="*/ 1806673 h 6858000"/>
              <a:gd name="connsiteX659" fmla="*/ 1972385 w 7467600"/>
              <a:gd name="connsiteY659" fmla="*/ 2198735 h 6858000"/>
              <a:gd name="connsiteX660" fmla="*/ 2040892 w 7467600"/>
              <a:gd name="connsiteY660" fmla="*/ 2405205 h 6858000"/>
              <a:gd name="connsiteX661" fmla="*/ 2131689 w 7467600"/>
              <a:gd name="connsiteY661" fmla="*/ 1936926 h 6858000"/>
              <a:gd name="connsiteX662" fmla="*/ 2454820 w 7467600"/>
              <a:gd name="connsiteY662" fmla="*/ 1248808 h 6858000"/>
              <a:gd name="connsiteX663" fmla="*/ 2492512 w 7467600"/>
              <a:gd name="connsiteY663" fmla="*/ 1302920 h 6858000"/>
              <a:gd name="connsiteX664" fmla="*/ 2081216 w 7467600"/>
              <a:gd name="connsiteY664" fmla="*/ 2527513 h 6858000"/>
              <a:gd name="connsiteX665" fmla="*/ 2081211 w 7467600"/>
              <a:gd name="connsiteY665" fmla="*/ 2528916 h 6858000"/>
              <a:gd name="connsiteX666" fmla="*/ 2199067 w 7467600"/>
              <a:gd name="connsiteY666" fmla="*/ 2884061 h 6858000"/>
              <a:gd name="connsiteX667" fmla="*/ 3192586 w 7467600"/>
              <a:gd name="connsiteY667" fmla="*/ 3411496 h 6858000"/>
              <a:gd name="connsiteX668" fmla="*/ 3182620 w 7467600"/>
              <a:gd name="connsiteY668" fmla="*/ 3483279 h 6858000"/>
              <a:gd name="connsiteX669" fmla="*/ 2435119 w 7467600"/>
              <a:gd name="connsiteY669" fmla="*/ 3080173 h 6858000"/>
              <a:gd name="connsiteX670" fmla="*/ 2410152 w 7467600"/>
              <a:gd name="connsiteY670" fmla="*/ 3063751 h 6858000"/>
              <a:gd name="connsiteX671" fmla="*/ 2408099 w 7467600"/>
              <a:gd name="connsiteY671" fmla="*/ 3064403 h 6858000"/>
              <a:gd name="connsiteX672" fmla="*/ 2407218 w 7467600"/>
              <a:gd name="connsiteY672" fmla="*/ 3070324 h 6858000"/>
              <a:gd name="connsiteX673" fmla="*/ 2380138 w 7467600"/>
              <a:gd name="connsiteY673" fmla="*/ 3099341 h 6858000"/>
              <a:gd name="connsiteX674" fmla="*/ 1765923 w 7467600"/>
              <a:gd name="connsiteY674" fmla="*/ 3581043 h 6858000"/>
              <a:gd name="connsiteX675" fmla="*/ 1702258 w 7467600"/>
              <a:gd name="connsiteY675" fmla="*/ 3612286 h 6858000"/>
              <a:gd name="connsiteX676" fmla="*/ 1538370 w 7467600"/>
              <a:gd name="connsiteY676" fmla="*/ 3811804 h 6858000"/>
              <a:gd name="connsiteX677" fmla="*/ 542867 w 7467600"/>
              <a:gd name="connsiteY677" fmla="*/ 4944092 h 6858000"/>
              <a:gd name="connsiteX678" fmla="*/ 515800 w 7467600"/>
              <a:gd name="connsiteY678" fmla="*/ 4862180 h 6858000"/>
              <a:gd name="connsiteX679" fmla="*/ 909145 w 7467600"/>
              <a:gd name="connsiteY679" fmla="*/ 4199225 h 6858000"/>
              <a:gd name="connsiteX680" fmla="*/ 1214067 w 7467600"/>
              <a:gd name="connsiteY680" fmla="*/ 3908561 h 6858000"/>
              <a:gd name="connsiteX681" fmla="*/ 640967 w 7467600"/>
              <a:gd name="connsiteY681" fmla="*/ 4105601 h 6858000"/>
              <a:gd name="connsiteX682" fmla="*/ 112563 w 7467600"/>
              <a:gd name="connsiteY682" fmla="*/ 4396952 h 6858000"/>
              <a:gd name="connsiteX683" fmla="*/ 0 w 7467600"/>
              <a:gd name="connsiteY683" fmla="*/ 4466006 h 6858000"/>
              <a:gd name="connsiteX684" fmla="*/ 0 w 7467600"/>
              <a:gd name="connsiteY684" fmla="*/ 4233763 h 6858000"/>
              <a:gd name="connsiteX685" fmla="*/ 36881 w 7467600"/>
              <a:gd name="connsiteY685" fmla="*/ 4200118 h 6858000"/>
              <a:gd name="connsiteX686" fmla="*/ 910534 w 7467600"/>
              <a:gd name="connsiteY686" fmla="*/ 3629753 h 6858000"/>
              <a:gd name="connsiteX687" fmla="*/ 1578717 w 7467600"/>
              <a:gd name="connsiteY687" fmla="*/ 3575982 h 6858000"/>
              <a:gd name="connsiteX688" fmla="*/ 2338780 w 7467600"/>
              <a:gd name="connsiteY688" fmla="*/ 3033725 h 6858000"/>
              <a:gd name="connsiteX689" fmla="*/ 1807991 w 7467600"/>
              <a:gd name="connsiteY689" fmla="*/ 2807184 h 6858000"/>
              <a:gd name="connsiteX690" fmla="*/ 1416358 w 7467600"/>
              <a:gd name="connsiteY690" fmla="*/ 3112571 h 6858000"/>
              <a:gd name="connsiteX691" fmla="*/ 939066 w 7467600"/>
              <a:gd name="connsiteY691" fmla="*/ 3378798 h 6858000"/>
              <a:gd name="connsiteX692" fmla="*/ 115099 w 7467600"/>
              <a:gd name="connsiteY692" fmla="*/ 3607650 h 6858000"/>
              <a:gd name="connsiteX693" fmla="*/ 97284 w 7467600"/>
              <a:gd name="connsiteY693" fmla="*/ 3520393 h 6858000"/>
              <a:gd name="connsiteX694" fmla="*/ 922050 w 7467600"/>
              <a:gd name="connsiteY694" fmla="*/ 3074867 h 6858000"/>
              <a:gd name="connsiteX695" fmla="*/ 1405265 w 7467600"/>
              <a:gd name="connsiteY695" fmla="*/ 3016319 h 6858000"/>
              <a:gd name="connsiteX696" fmla="*/ 1407512 w 7467600"/>
              <a:gd name="connsiteY696" fmla="*/ 3018001 h 6858000"/>
              <a:gd name="connsiteX697" fmla="*/ 1726266 w 7467600"/>
              <a:gd name="connsiteY697" fmla="*/ 2777274 h 6858000"/>
              <a:gd name="connsiteX698" fmla="*/ 625390 w 7467600"/>
              <a:gd name="connsiteY698" fmla="*/ 2514541 h 6858000"/>
              <a:gd name="connsiteX699" fmla="*/ 619799 w 7467600"/>
              <a:gd name="connsiteY699" fmla="*/ 2527180 h 6858000"/>
              <a:gd name="connsiteX700" fmla="*/ 310030 w 7467600"/>
              <a:gd name="connsiteY700" fmla="*/ 2771818 h 6858000"/>
              <a:gd name="connsiteX701" fmla="*/ 173877 w 7467600"/>
              <a:gd name="connsiteY701" fmla="*/ 2937056 h 6858000"/>
              <a:gd name="connsiteX702" fmla="*/ 77889 w 7467600"/>
              <a:gd name="connsiteY702" fmla="*/ 3138440 h 6858000"/>
              <a:gd name="connsiteX703" fmla="*/ 0 w 7467600"/>
              <a:gd name="connsiteY703" fmla="*/ 3271395 h 6858000"/>
              <a:gd name="connsiteX704" fmla="*/ 0 w 7467600"/>
              <a:gd name="connsiteY704" fmla="*/ 3153002 h 6858000"/>
              <a:gd name="connsiteX705" fmla="*/ 2386 w 7467600"/>
              <a:gd name="connsiteY705" fmla="*/ 3149203 h 6858000"/>
              <a:gd name="connsiteX706" fmla="*/ 89753 w 7467600"/>
              <a:gd name="connsiteY706" fmla="*/ 2987702 h 6858000"/>
              <a:gd name="connsiteX707" fmla="*/ 76869 w 7467600"/>
              <a:gd name="connsiteY707" fmla="*/ 3005404 h 6858000"/>
              <a:gd name="connsiteX708" fmla="*/ 32049 w 7467600"/>
              <a:gd name="connsiteY708" fmla="*/ 3065814 h 6858000"/>
              <a:gd name="connsiteX709" fmla="*/ 0 w 7467600"/>
              <a:gd name="connsiteY709" fmla="*/ 3108744 h 6858000"/>
              <a:gd name="connsiteX710" fmla="*/ 0 w 7467600"/>
              <a:gd name="connsiteY710" fmla="*/ 3058059 h 6858000"/>
              <a:gd name="connsiteX711" fmla="*/ 7610 w 7467600"/>
              <a:gd name="connsiteY711" fmla="*/ 3047889 h 6858000"/>
              <a:gd name="connsiteX712" fmla="*/ 52419 w 7467600"/>
              <a:gd name="connsiteY712" fmla="*/ 2987479 h 6858000"/>
              <a:gd name="connsiteX713" fmla="*/ 59142 w 7467600"/>
              <a:gd name="connsiteY713" fmla="*/ 2978488 h 6858000"/>
              <a:gd name="connsiteX714" fmla="*/ 0 w 7467600"/>
              <a:gd name="connsiteY714" fmla="*/ 3015334 h 6858000"/>
              <a:gd name="connsiteX715" fmla="*/ 0 w 7467600"/>
              <a:gd name="connsiteY715" fmla="*/ 2914286 h 6858000"/>
              <a:gd name="connsiteX716" fmla="*/ 36383 w 7467600"/>
              <a:gd name="connsiteY716" fmla="*/ 2901128 h 6858000"/>
              <a:gd name="connsiteX717" fmla="*/ 156329 w 7467600"/>
              <a:gd name="connsiteY717" fmla="*/ 2840533 h 6858000"/>
              <a:gd name="connsiteX718" fmla="*/ 358355 w 7467600"/>
              <a:gd name="connsiteY718" fmla="*/ 2620471 h 6858000"/>
              <a:gd name="connsiteX719" fmla="*/ 510577 w 7467600"/>
              <a:gd name="connsiteY719" fmla="*/ 2501244 h 6858000"/>
              <a:gd name="connsiteX720" fmla="*/ 211967 w 7467600"/>
              <a:gd name="connsiteY720" fmla="*/ 2479171 h 6858000"/>
              <a:gd name="connsiteX721" fmla="*/ 0 w 7467600"/>
              <a:gd name="connsiteY721" fmla="*/ 2476398 h 6858000"/>
              <a:gd name="connsiteX722" fmla="*/ 0 w 7467600"/>
              <a:gd name="connsiteY722" fmla="*/ 2389189 h 6858000"/>
              <a:gd name="connsiteX723" fmla="*/ 103062 w 7467600"/>
              <a:gd name="connsiteY723" fmla="*/ 2389518 h 6858000"/>
              <a:gd name="connsiteX724" fmla="*/ 510734 w 7467600"/>
              <a:gd name="connsiteY724" fmla="*/ 2416201 h 6858000"/>
              <a:gd name="connsiteX725" fmla="*/ 279257 w 7467600"/>
              <a:gd name="connsiteY725" fmla="*/ 2092102 h 6858000"/>
              <a:gd name="connsiteX726" fmla="*/ 65265 w 7467600"/>
              <a:gd name="connsiteY726" fmla="*/ 2006049 h 6858000"/>
              <a:gd name="connsiteX727" fmla="*/ 0 w 7467600"/>
              <a:gd name="connsiteY727" fmla="*/ 1982532 h 6858000"/>
              <a:gd name="connsiteX728" fmla="*/ 0 w 7467600"/>
              <a:gd name="connsiteY728" fmla="*/ 1912789 h 6858000"/>
              <a:gd name="connsiteX729" fmla="*/ 97460 w 7467600"/>
              <a:gd name="connsiteY729" fmla="*/ 1953725 h 6858000"/>
              <a:gd name="connsiteX730" fmla="*/ 221272 w 7467600"/>
              <a:gd name="connsiteY730" fmla="*/ 1980766 h 6858000"/>
              <a:gd name="connsiteX731" fmla="*/ 116765 w 7467600"/>
              <a:gd name="connsiteY731" fmla="*/ 1911033 h 6858000"/>
              <a:gd name="connsiteX732" fmla="*/ 16405 w 7467600"/>
              <a:gd name="connsiteY732" fmla="*/ 1803412 h 6858000"/>
              <a:gd name="connsiteX733" fmla="*/ 0 w 7467600"/>
              <a:gd name="connsiteY733" fmla="*/ 1784777 h 6858000"/>
              <a:gd name="connsiteX734" fmla="*/ 0 w 7467600"/>
              <a:gd name="connsiteY734" fmla="*/ 1740082 h 6858000"/>
              <a:gd name="connsiteX735" fmla="*/ 39394 w 7467600"/>
              <a:gd name="connsiteY735" fmla="*/ 1784856 h 6858000"/>
              <a:gd name="connsiteX736" fmla="*/ 135813 w 7467600"/>
              <a:gd name="connsiteY736" fmla="*/ 1888838 h 6858000"/>
              <a:gd name="connsiteX737" fmla="*/ 242575 w 7467600"/>
              <a:gd name="connsiteY737" fmla="*/ 1958841 h 6858000"/>
              <a:gd name="connsiteX738" fmla="*/ 82197 w 7467600"/>
              <a:gd name="connsiteY738" fmla="*/ 1754826 h 6858000"/>
              <a:gd name="connsiteX739" fmla="*/ 0 w 7467600"/>
              <a:gd name="connsiteY739" fmla="*/ 1679650 h 6858000"/>
              <a:gd name="connsiteX740" fmla="*/ 0 w 7467600"/>
              <a:gd name="connsiteY740" fmla="*/ 1602463 h 6858000"/>
              <a:gd name="connsiteX741" fmla="*/ 84689 w 7467600"/>
              <a:gd name="connsiteY741" fmla="*/ 1677442 h 6858000"/>
              <a:gd name="connsiteX742" fmla="*/ 298437 w 7467600"/>
              <a:gd name="connsiteY742" fmla="*/ 1968019 h 6858000"/>
              <a:gd name="connsiteX743" fmla="*/ 227269 w 7467600"/>
              <a:gd name="connsiteY743" fmla="*/ 1114064 h 6858000"/>
              <a:gd name="connsiteX744" fmla="*/ 248003 w 7467600"/>
              <a:gd name="connsiteY744" fmla="*/ 1089613 h 6858000"/>
              <a:gd name="connsiteX745" fmla="*/ 427020 w 7467600"/>
              <a:gd name="connsiteY745" fmla="*/ 1619803 h 6858000"/>
              <a:gd name="connsiteX746" fmla="*/ 340345 w 7467600"/>
              <a:gd name="connsiteY746" fmla="*/ 2027739 h 6858000"/>
              <a:gd name="connsiteX747" fmla="*/ 360865 w 7467600"/>
              <a:gd name="connsiteY747" fmla="*/ 2044827 h 6858000"/>
              <a:gd name="connsiteX748" fmla="*/ 560414 w 7467600"/>
              <a:gd name="connsiteY748" fmla="*/ 2421457 h 6858000"/>
              <a:gd name="connsiteX749" fmla="*/ 1359703 w 7467600"/>
              <a:gd name="connsiteY749" fmla="*/ 2578554 h 6858000"/>
              <a:gd name="connsiteX750" fmla="*/ 1359422 w 7467600"/>
              <a:gd name="connsiteY750" fmla="*/ 2577994 h 6858000"/>
              <a:gd name="connsiteX751" fmla="*/ 828701 w 7467600"/>
              <a:gd name="connsiteY751" fmla="*/ 1839520 h 6858000"/>
              <a:gd name="connsiteX752" fmla="*/ 494427 w 7467600"/>
              <a:gd name="connsiteY752" fmla="*/ 1092333 h 6858000"/>
              <a:gd name="connsiteX753" fmla="*/ 506322 w 7467600"/>
              <a:gd name="connsiteY753" fmla="*/ 1020997 h 6858000"/>
              <a:gd name="connsiteX754" fmla="*/ 4570198 w 7467600"/>
              <a:gd name="connsiteY754" fmla="*/ 978081 h 6858000"/>
              <a:gd name="connsiteX755" fmla="*/ 4523691 w 7467600"/>
              <a:gd name="connsiteY755" fmla="*/ 1127776 h 6858000"/>
              <a:gd name="connsiteX756" fmla="*/ 4509875 w 7467600"/>
              <a:gd name="connsiteY756" fmla="*/ 1167552 h 6858000"/>
              <a:gd name="connsiteX757" fmla="*/ 4478168 w 7467600"/>
              <a:gd name="connsiteY757" fmla="*/ 1260735 h 6858000"/>
              <a:gd name="connsiteX758" fmla="*/ 4409309 w 7467600"/>
              <a:gd name="connsiteY758" fmla="*/ 1666996 h 6858000"/>
              <a:gd name="connsiteX759" fmla="*/ 4370031 w 7467600"/>
              <a:gd name="connsiteY759" fmla="*/ 1955666 h 6858000"/>
              <a:gd name="connsiteX760" fmla="*/ 4570198 w 7467600"/>
              <a:gd name="connsiteY760" fmla="*/ 978081 h 6858000"/>
              <a:gd name="connsiteX761" fmla="*/ 4557898 w 7467600"/>
              <a:gd name="connsiteY761" fmla="*/ 900011 h 6858000"/>
              <a:gd name="connsiteX762" fmla="*/ 4344840 w 7467600"/>
              <a:gd name="connsiteY762" fmla="*/ 1922038 h 6858000"/>
              <a:gd name="connsiteX763" fmla="*/ 4378710 w 7467600"/>
              <a:gd name="connsiteY763" fmla="*/ 1665516 h 6858000"/>
              <a:gd name="connsiteX764" fmla="*/ 4448798 w 7467600"/>
              <a:gd name="connsiteY764" fmla="*/ 1253024 h 6858000"/>
              <a:gd name="connsiteX765" fmla="*/ 4480315 w 7467600"/>
              <a:gd name="connsiteY765" fmla="*/ 1158454 h 6858000"/>
              <a:gd name="connsiteX766" fmla="*/ 4494133 w 7467600"/>
              <a:gd name="connsiteY766" fmla="*/ 1118676 h 6858000"/>
              <a:gd name="connsiteX767" fmla="*/ 4557898 w 7467600"/>
              <a:gd name="connsiteY767" fmla="*/ 900011 h 6858000"/>
              <a:gd name="connsiteX768" fmla="*/ 5870151 w 7467600"/>
              <a:gd name="connsiteY768" fmla="*/ 898890 h 6858000"/>
              <a:gd name="connsiteX769" fmla="*/ 5861335 w 7467600"/>
              <a:gd name="connsiteY769" fmla="*/ 899177 h 6858000"/>
              <a:gd name="connsiteX770" fmla="*/ 5843702 w 7467600"/>
              <a:gd name="connsiteY770" fmla="*/ 899748 h 6858000"/>
              <a:gd name="connsiteX771" fmla="*/ 5651107 w 7467600"/>
              <a:gd name="connsiteY771" fmla="*/ 920306 h 6858000"/>
              <a:gd name="connsiteX772" fmla="*/ 5459407 w 7467600"/>
              <a:gd name="connsiteY772" fmla="*/ 940975 h 6858000"/>
              <a:gd name="connsiteX773" fmla="*/ 5374846 w 7467600"/>
              <a:gd name="connsiteY773" fmla="*/ 941988 h 6858000"/>
              <a:gd name="connsiteX774" fmla="*/ 5256105 w 7467600"/>
              <a:gd name="connsiteY774" fmla="*/ 945632 h 6858000"/>
              <a:gd name="connsiteX775" fmla="*/ 5107071 w 7467600"/>
              <a:gd name="connsiteY775" fmla="*/ 969720 h 6858000"/>
              <a:gd name="connsiteX776" fmla="*/ 4998681 w 7467600"/>
              <a:gd name="connsiteY776" fmla="*/ 988771 h 6858000"/>
              <a:gd name="connsiteX777" fmla="*/ 5870151 w 7467600"/>
              <a:gd name="connsiteY777" fmla="*/ 898890 h 6858000"/>
              <a:gd name="connsiteX778" fmla="*/ 5504425 w 7467600"/>
              <a:gd name="connsiteY778" fmla="*/ 848067 h 6858000"/>
              <a:gd name="connsiteX779" fmla="*/ 4968849 w 7467600"/>
              <a:gd name="connsiteY779" fmla="*/ 962318 h 6858000"/>
              <a:gd name="connsiteX780" fmla="*/ 5104039 w 7467600"/>
              <a:gd name="connsiteY780" fmla="*/ 940634 h 6858000"/>
              <a:gd name="connsiteX781" fmla="*/ 5256311 w 7467600"/>
              <a:gd name="connsiteY781" fmla="*/ 916490 h 6858000"/>
              <a:gd name="connsiteX782" fmla="*/ 5377381 w 7467600"/>
              <a:gd name="connsiteY782" fmla="*/ 912671 h 6858000"/>
              <a:gd name="connsiteX783" fmla="*/ 5460148 w 7467600"/>
              <a:gd name="connsiteY783" fmla="*/ 911442 h 6858000"/>
              <a:gd name="connsiteX784" fmla="*/ 5648971 w 7467600"/>
              <a:gd name="connsiteY784" fmla="*/ 891331 h 6858000"/>
              <a:gd name="connsiteX785" fmla="*/ 5844807 w 7467600"/>
              <a:gd name="connsiteY785" fmla="*/ 870718 h 6858000"/>
              <a:gd name="connsiteX786" fmla="*/ 5862975 w 7467600"/>
              <a:gd name="connsiteY786" fmla="*/ 869756 h 6858000"/>
              <a:gd name="connsiteX787" fmla="*/ 5920887 w 7467600"/>
              <a:gd name="connsiteY787" fmla="*/ 865929 h 6858000"/>
              <a:gd name="connsiteX788" fmla="*/ 5504425 w 7467600"/>
              <a:gd name="connsiteY788" fmla="*/ 848067 h 6858000"/>
              <a:gd name="connsiteX789" fmla="*/ 3607114 w 7467600"/>
              <a:gd name="connsiteY789" fmla="*/ 467441 h 6858000"/>
              <a:gd name="connsiteX790" fmla="*/ 3296242 w 7467600"/>
              <a:gd name="connsiteY790" fmla="*/ 807991 h 6858000"/>
              <a:gd name="connsiteX791" fmla="*/ 3174674 w 7467600"/>
              <a:gd name="connsiteY791" fmla="*/ 919759 h 6858000"/>
              <a:gd name="connsiteX792" fmla="*/ 3042978 w 7467600"/>
              <a:gd name="connsiteY792" fmla="*/ 1054894 h 6858000"/>
              <a:gd name="connsiteX793" fmla="*/ 2968914 w 7467600"/>
              <a:gd name="connsiteY793" fmla="*/ 1133756 h 6858000"/>
              <a:gd name="connsiteX794" fmla="*/ 3103823 w 7467600"/>
              <a:gd name="connsiteY794" fmla="*/ 1026814 h 6858000"/>
              <a:gd name="connsiteX795" fmla="*/ 3607114 w 7467600"/>
              <a:gd name="connsiteY795" fmla="*/ 467441 h 6858000"/>
              <a:gd name="connsiteX796" fmla="*/ 3744487 w 7467600"/>
              <a:gd name="connsiteY796" fmla="*/ 383136 h 6858000"/>
              <a:gd name="connsiteX797" fmla="*/ 3970213 w 7467600"/>
              <a:gd name="connsiteY797" fmla="*/ 995559 h 6858000"/>
              <a:gd name="connsiteX798" fmla="*/ 3744487 w 7467600"/>
              <a:gd name="connsiteY798" fmla="*/ 383136 h 6858000"/>
              <a:gd name="connsiteX799" fmla="*/ 3624562 w 7467600"/>
              <a:gd name="connsiteY799" fmla="*/ 367041 h 6858000"/>
              <a:gd name="connsiteX800" fmla="*/ 3489712 w 7467600"/>
              <a:gd name="connsiteY800" fmla="*/ 485386 h 6858000"/>
              <a:gd name="connsiteX801" fmla="*/ 3182994 w 7467600"/>
              <a:gd name="connsiteY801" fmla="*/ 828265 h 6858000"/>
              <a:gd name="connsiteX802" fmla="*/ 2892114 w 7467600"/>
              <a:gd name="connsiteY802" fmla="*/ 1172635 h 6858000"/>
              <a:gd name="connsiteX803" fmla="*/ 3021459 w 7467600"/>
              <a:gd name="connsiteY803" fmla="*/ 1035385 h 6858000"/>
              <a:gd name="connsiteX804" fmla="*/ 3153873 w 7467600"/>
              <a:gd name="connsiteY804" fmla="*/ 898971 h 6858000"/>
              <a:gd name="connsiteX805" fmla="*/ 3276511 w 7467600"/>
              <a:gd name="connsiteY805" fmla="*/ 786423 h 6858000"/>
              <a:gd name="connsiteX806" fmla="*/ 3584154 w 7467600"/>
              <a:gd name="connsiteY806" fmla="*/ 448218 h 6858000"/>
              <a:gd name="connsiteX807" fmla="*/ 3624562 w 7467600"/>
              <a:gd name="connsiteY807" fmla="*/ 367041 h 6858000"/>
              <a:gd name="connsiteX808" fmla="*/ 3766672 w 7467600"/>
              <a:gd name="connsiteY808" fmla="*/ 359429 h 6858000"/>
              <a:gd name="connsiteX809" fmla="*/ 3996338 w 7467600"/>
              <a:gd name="connsiteY809" fmla="*/ 968237 h 6858000"/>
              <a:gd name="connsiteX810" fmla="*/ 3766672 w 7467600"/>
              <a:gd name="connsiteY810" fmla="*/ 359429 h 6858000"/>
              <a:gd name="connsiteX811" fmla="*/ 5805386 w 7467600"/>
              <a:gd name="connsiteY811" fmla="*/ 239240 h 6858000"/>
              <a:gd name="connsiteX812" fmla="*/ 5736947 w 7467600"/>
              <a:gd name="connsiteY812" fmla="*/ 261367 h 6858000"/>
              <a:gd name="connsiteX813" fmla="*/ 5427012 w 7467600"/>
              <a:gd name="connsiteY813" fmla="*/ 311272 h 6858000"/>
              <a:gd name="connsiteX814" fmla="*/ 5147818 w 7467600"/>
              <a:gd name="connsiteY814" fmla="*/ 322112 h 6858000"/>
              <a:gd name="connsiteX815" fmla="*/ 5060854 w 7467600"/>
              <a:gd name="connsiteY815" fmla="*/ 311882 h 6858000"/>
              <a:gd name="connsiteX816" fmla="*/ 4945989 w 7467600"/>
              <a:gd name="connsiteY816" fmla="*/ 300516 h 6858000"/>
              <a:gd name="connsiteX817" fmla="*/ 5410479 w 7467600"/>
              <a:gd name="connsiteY817" fmla="*/ 348434 h 6858000"/>
              <a:gd name="connsiteX818" fmla="*/ 5805386 w 7467600"/>
              <a:gd name="connsiteY818" fmla="*/ 239240 h 6858000"/>
              <a:gd name="connsiteX819" fmla="*/ 5905192 w 7467600"/>
              <a:gd name="connsiteY819" fmla="*/ 163079 h 6858000"/>
              <a:gd name="connsiteX820" fmla="*/ 5865655 w 7467600"/>
              <a:gd name="connsiteY820" fmla="*/ 171901 h 6858000"/>
              <a:gd name="connsiteX821" fmla="*/ 5259740 w 7467600"/>
              <a:gd name="connsiteY821" fmla="*/ 257013 h 6858000"/>
              <a:gd name="connsiteX822" fmla="*/ 5208466 w 7467600"/>
              <a:gd name="connsiteY822" fmla="*/ 257550 h 6858000"/>
              <a:gd name="connsiteX823" fmla="*/ 4980204 w 7467600"/>
              <a:gd name="connsiteY823" fmla="*/ 271903 h 6858000"/>
              <a:gd name="connsiteX824" fmla="*/ 5068068 w 7467600"/>
              <a:gd name="connsiteY824" fmla="*/ 282244 h 6858000"/>
              <a:gd name="connsiteX825" fmla="*/ 5153231 w 7467600"/>
              <a:gd name="connsiteY825" fmla="*/ 292240 h 6858000"/>
              <a:gd name="connsiteX826" fmla="*/ 5426491 w 7467600"/>
              <a:gd name="connsiteY826" fmla="*/ 281128 h 6858000"/>
              <a:gd name="connsiteX827" fmla="*/ 5731212 w 7467600"/>
              <a:gd name="connsiteY827" fmla="*/ 231951 h 6858000"/>
              <a:gd name="connsiteX828" fmla="*/ 5905192 w 7467600"/>
              <a:gd name="connsiteY828" fmla="*/ 163079 h 6858000"/>
              <a:gd name="connsiteX829" fmla="*/ 5944437 w 7467600"/>
              <a:gd name="connsiteY829" fmla="*/ 113829 h 6858000"/>
              <a:gd name="connsiteX830" fmla="*/ 5825032 w 7467600"/>
              <a:gd name="connsiteY830" fmla="*/ 146405 h 6858000"/>
              <a:gd name="connsiteX831" fmla="*/ 4955599 w 7467600"/>
              <a:gd name="connsiteY831" fmla="*/ 247008 h 6858000"/>
              <a:gd name="connsiteX832" fmla="*/ 5210104 w 7467600"/>
              <a:gd name="connsiteY832" fmla="*/ 228123 h 6858000"/>
              <a:gd name="connsiteX833" fmla="*/ 5261015 w 7467600"/>
              <a:gd name="connsiteY833" fmla="*/ 227087 h 6858000"/>
              <a:gd name="connsiteX834" fmla="*/ 5861181 w 7467600"/>
              <a:gd name="connsiteY834" fmla="*/ 143093 h 6858000"/>
              <a:gd name="connsiteX835" fmla="*/ 5961252 w 7467600"/>
              <a:gd name="connsiteY835" fmla="*/ 114820 h 6858000"/>
              <a:gd name="connsiteX836" fmla="*/ 5944437 w 7467600"/>
              <a:gd name="connsiteY836" fmla="*/ 113829 h 6858000"/>
              <a:gd name="connsiteX837" fmla="*/ 3882765 w 7467600"/>
              <a:gd name="connsiteY837" fmla="*/ 0 h 6858000"/>
              <a:gd name="connsiteX838" fmla="*/ 3995099 w 7467600"/>
              <a:gd name="connsiteY838" fmla="*/ 0 h 6858000"/>
              <a:gd name="connsiteX839" fmla="*/ 4163818 w 7467600"/>
              <a:gd name="connsiteY839" fmla="*/ 234104 h 6858000"/>
              <a:gd name="connsiteX840" fmla="*/ 4172099 w 7467600"/>
              <a:gd name="connsiteY840" fmla="*/ 234207 h 6858000"/>
              <a:gd name="connsiteX841" fmla="*/ 4784282 w 7467600"/>
              <a:gd name="connsiteY841" fmla="*/ 276561 h 6858000"/>
              <a:gd name="connsiteX842" fmla="*/ 4801687 w 7467600"/>
              <a:gd name="connsiteY842" fmla="*/ 267764 h 6858000"/>
              <a:gd name="connsiteX843" fmla="*/ 6082788 w 7467600"/>
              <a:gd name="connsiteY843" fmla="*/ 64119 h 6858000"/>
              <a:gd name="connsiteX844" fmla="*/ 6099442 w 7467600"/>
              <a:gd name="connsiteY844" fmla="*/ 82568 h 6858000"/>
              <a:gd name="connsiteX845" fmla="*/ 4804137 w 7467600"/>
              <a:gd name="connsiteY845" fmla="*/ 320931 h 6858000"/>
              <a:gd name="connsiteX846" fmla="*/ 4227047 w 7467600"/>
              <a:gd name="connsiteY846" fmla="*/ 313415 h 6858000"/>
              <a:gd name="connsiteX847" fmla="*/ 4346041 w 7467600"/>
              <a:gd name="connsiteY847" fmla="*/ 456086 h 6858000"/>
              <a:gd name="connsiteX848" fmla="*/ 4870967 w 7467600"/>
              <a:gd name="connsiteY848" fmla="*/ 963061 h 6858000"/>
              <a:gd name="connsiteX849" fmla="*/ 4889647 w 7467600"/>
              <a:gd name="connsiteY849" fmla="*/ 957147 h 6858000"/>
              <a:gd name="connsiteX850" fmla="*/ 5422504 w 7467600"/>
              <a:gd name="connsiteY850" fmla="*/ 805191 h 6858000"/>
              <a:gd name="connsiteX851" fmla="*/ 6087656 w 7467600"/>
              <a:gd name="connsiteY851" fmla="*/ 826703 h 6858000"/>
              <a:gd name="connsiteX852" fmla="*/ 6058717 w 7467600"/>
              <a:gd name="connsiteY852" fmla="*/ 865992 h 6858000"/>
              <a:gd name="connsiteX853" fmla="*/ 4974153 w 7467600"/>
              <a:gd name="connsiteY853" fmla="*/ 1045456 h 6858000"/>
              <a:gd name="connsiteX854" fmla="*/ 5627835 w 7467600"/>
              <a:gd name="connsiteY854" fmla="*/ 1472077 h 6858000"/>
              <a:gd name="connsiteX855" fmla="*/ 5629817 w 7467600"/>
              <a:gd name="connsiteY855" fmla="*/ 1471412 h 6858000"/>
              <a:gd name="connsiteX856" fmla="*/ 5634124 w 7467600"/>
              <a:gd name="connsiteY856" fmla="*/ 1470572 h 6858000"/>
              <a:gd name="connsiteX857" fmla="*/ 5755832 w 7467600"/>
              <a:gd name="connsiteY857" fmla="*/ 1383886 h 6858000"/>
              <a:gd name="connsiteX858" fmla="*/ 6014186 w 7467600"/>
              <a:gd name="connsiteY858" fmla="*/ 1279799 h 6858000"/>
              <a:gd name="connsiteX859" fmla="*/ 6901619 w 7467600"/>
              <a:gd name="connsiteY859" fmla="*/ 1047874 h 6858000"/>
              <a:gd name="connsiteX860" fmla="*/ 6931566 w 7467600"/>
              <a:gd name="connsiteY860" fmla="*/ 1062034 h 6858000"/>
              <a:gd name="connsiteX861" fmla="*/ 5790982 w 7467600"/>
              <a:gd name="connsiteY861" fmla="*/ 1561380 h 6858000"/>
              <a:gd name="connsiteX862" fmla="*/ 6188971 w 7467600"/>
              <a:gd name="connsiteY862" fmla="*/ 1755168 h 6858000"/>
              <a:gd name="connsiteX863" fmla="*/ 6202446 w 7467600"/>
              <a:gd name="connsiteY863" fmla="*/ 1752268 h 6858000"/>
              <a:gd name="connsiteX864" fmla="*/ 7179560 w 7467600"/>
              <a:gd name="connsiteY864" fmla="*/ 1467551 h 6858000"/>
              <a:gd name="connsiteX865" fmla="*/ 7158730 w 7467600"/>
              <a:gd name="connsiteY865" fmla="*/ 1507835 h 6858000"/>
              <a:gd name="connsiteX866" fmla="*/ 6326959 w 7467600"/>
              <a:gd name="connsiteY866" fmla="*/ 1817686 h 6858000"/>
              <a:gd name="connsiteX867" fmla="*/ 6537433 w 7467600"/>
              <a:gd name="connsiteY867" fmla="*/ 1907790 h 6858000"/>
              <a:gd name="connsiteX868" fmla="*/ 6550221 w 7467600"/>
              <a:gd name="connsiteY868" fmla="*/ 1910729 h 6858000"/>
              <a:gd name="connsiteX869" fmla="*/ 6964438 w 7467600"/>
              <a:gd name="connsiteY869" fmla="*/ 2209505 h 6858000"/>
              <a:gd name="connsiteX870" fmla="*/ 7367862 w 7467600"/>
              <a:gd name="connsiteY870" fmla="*/ 2806833 h 6858000"/>
              <a:gd name="connsiteX871" fmla="*/ 7364329 w 7467600"/>
              <a:gd name="connsiteY871" fmla="*/ 2826907 h 6858000"/>
              <a:gd name="connsiteX872" fmla="*/ 7290545 w 7467600"/>
              <a:gd name="connsiteY872" fmla="*/ 2850663 h 6858000"/>
              <a:gd name="connsiteX873" fmla="*/ 6472036 w 7467600"/>
              <a:gd name="connsiteY873" fmla="*/ 1959003 h 6858000"/>
              <a:gd name="connsiteX874" fmla="*/ 5792897 w 7467600"/>
              <a:gd name="connsiteY874" fmla="*/ 1647747 h 6858000"/>
              <a:gd name="connsiteX875" fmla="*/ 5842751 w 7467600"/>
              <a:gd name="connsiteY875" fmla="*/ 1816112 h 6858000"/>
              <a:gd name="connsiteX876" fmla="*/ 5847424 w 7467600"/>
              <a:gd name="connsiteY876" fmla="*/ 1815776 h 6858000"/>
              <a:gd name="connsiteX877" fmla="*/ 6399821 w 7467600"/>
              <a:gd name="connsiteY877" fmla="*/ 2344799 h 6858000"/>
              <a:gd name="connsiteX878" fmla="*/ 6323232 w 7467600"/>
              <a:gd name="connsiteY878" fmla="*/ 2389634 h 6858000"/>
              <a:gd name="connsiteX879" fmla="*/ 5942958 w 7467600"/>
              <a:gd name="connsiteY879" fmla="*/ 2077708 h 6858000"/>
              <a:gd name="connsiteX880" fmla="*/ 5921559 w 7467600"/>
              <a:gd name="connsiteY880" fmla="*/ 2378596 h 6858000"/>
              <a:gd name="connsiteX881" fmla="*/ 5817651 w 7467600"/>
              <a:gd name="connsiteY881" fmla="*/ 3023919 h 6858000"/>
              <a:gd name="connsiteX882" fmla="*/ 5729634 w 7467600"/>
              <a:gd name="connsiteY882" fmla="*/ 3051849 h 6858000"/>
              <a:gd name="connsiteX883" fmla="*/ 5611018 w 7467600"/>
              <a:gd name="connsiteY883" fmla="*/ 2316769 h 6858000"/>
              <a:gd name="connsiteX884" fmla="*/ 5687608 w 7467600"/>
              <a:gd name="connsiteY884" fmla="*/ 2039972 h 6858000"/>
              <a:gd name="connsiteX885" fmla="*/ 5657554 w 7467600"/>
              <a:gd name="connsiteY885" fmla="*/ 1576445 h 6858000"/>
              <a:gd name="connsiteX886" fmla="*/ 5150475 w 7467600"/>
              <a:gd name="connsiteY886" fmla="*/ 1274012 h 6858000"/>
              <a:gd name="connsiteX887" fmla="*/ 5349142 w 7467600"/>
              <a:gd name="connsiteY887" fmla="*/ 2204405 h 6858000"/>
              <a:gd name="connsiteX888" fmla="*/ 5262214 w 7467600"/>
              <a:gd name="connsiteY888" fmla="*/ 2233836 h 6858000"/>
              <a:gd name="connsiteX889" fmla="*/ 4981539 w 7467600"/>
              <a:gd name="connsiteY889" fmla="*/ 1542201 h 6858000"/>
              <a:gd name="connsiteX890" fmla="*/ 4958461 w 7467600"/>
              <a:gd name="connsiteY890" fmla="*/ 1136957 h 6858000"/>
              <a:gd name="connsiteX891" fmla="*/ 4655015 w 7467600"/>
              <a:gd name="connsiteY891" fmla="*/ 891426 h 6858000"/>
              <a:gd name="connsiteX892" fmla="*/ 4348002 w 7467600"/>
              <a:gd name="connsiteY892" fmla="*/ 2205895 h 6858000"/>
              <a:gd name="connsiteX893" fmla="*/ 4262250 w 7467600"/>
              <a:gd name="connsiteY893" fmla="*/ 2219972 h 6858000"/>
              <a:gd name="connsiteX894" fmla="*/ 4550611 w 7467600"/>
              <a:gd name="connsiteY894" fmla="*/ 817540 h 6858000"/>
              <a:gd name="connsiteX895" fmla="*/ 4564418 w 7467600"/>
              <a:gd name="connsiteY895" fmla="*/ 808293 h 6858000"/>
              <a:gd name="connsiteX896" fmla="*/ 4266388 w 7467600"/>
              <a:gd name="connsiteY896" fmla="*/ 500083 h 6858000"/>
              <a:gd name="connsiteX897" fmla="*/ 4032842 w 7467600"/>
              <a:gd name="connsiteY897" fmla="*/ 211809 h 6858000"/>
              <a:gd name="connsiteX898" fmla="*/ 3882765 w 7467600"/>
              <a:gd name="connsiteY898" fmla="*/ 0 h 6858000"/>
              <a:gd name="connsiteX899" fmla="*/ 3721337 w 7467600"/>
              <a:gd name="connsiteY899" fmla="*/ 0 h 6858000"/>
              <a:gd name="connsiteX900" fmla="*/ 3797544 w 7467600"/>
              <a:gd name="connsiteY900" fmla="*/ 0 h 6858000"/>
              <a:gd name="connsiteX901" fmla="*/ 3775734 w 7467600"/>
              <a:gd name="connsiteY901" fmla="*/ 95131 h 6858000"/>
              <a:gd name="connsiteX902" fmla="*/ 3724807 w 7467600"/>
              <a:gd name="connsiteY902" fmla="*/ 272257 h 6858000"/>
              <a:gd name="connsiteX903" fmla="*/ 3726844 w 7467600"/>
              <a:gd name="connsiteY903" fmla="*/ 282988 h 6858000"/>
              <a:gd name="connsiteX904" fmla="*/ 3742664 w 7467600"/>
              <a:gd name="connsiteY904" fmla="*/ 279918 h 6858000"/>
              <a:gd name="connsiteX905" fmla="*/ 4103910 w 7467600"/>
              <a:gd name="connsiteY905" fmla="*/ 1161917 h 6858000"/>
              <a:gd name="connsiteX906" fmla="*/ 4020269 w 7467600"/>
              <a:gd name="connsiteY906" fmla="*/ 1200406 h 6858000"/>
              <a:gd name="connsiteX907" fmla="*/ 3674882 w 7467600"/>
              <a:gd name="connsiteY907" fmla="*/ 488524 h 6858000"/>
              <a:gd name="connsiteX908" fmla="*/ 3132682 w 7467600"/>
              <a:gd name="connsiteY908" fmla="*/ 1072284 h 6858000"/>
              <a:gd name="connsiteX909" fmla="*/ 2716346 w 7467600"/>
              <a:gd name="connsiteY909" fmla="*/ 1276376 h 6858000"/>
              <a:gd name="connsiteX910" fmla="*/ 2716772 w 7467600"/>
              <a:gd name="connsiteY910" fmla="*/ 1255462 h 6858000"/>
              <a:gd name="connsiteX911" fmla="*/ 3471096 w 7467600"/>
              <a:gd name="connsiteY911" fmla="*/ 437072 h 6858000"/>
              <a:gd name="connsiteX912" fmla="*/ 3639057 w 7467600"/>
              <a:gd name="connsiteY912" fmla="*/ 286334 h 6858000"/>
              <a:gd name="connsiteX913" fmla="*/ 3640309 w 7467600"/>
              <a:gd name="connsiteY913" fmla="*/ 284664 h 6858000"/>
              <a:gd name="connsiteX914" fmla="*/ 3646022 w 7467600"/>
              <a:gd name="connsiteY914" fmla="*/ 276711 h 6858000"/>
              <a:gd name="connsiteX915" fmla="*/ 3707943 w 7467600"/>
              <a:gd name="connsiteY915" fmla="*/ 65958 h 6858000"/>
              <a:gd name="connsiteX916" fmla="*/ 3721337 w 7467600"/>
              <a:gd name="connsiteY916" fmla="*/ 0 h 6858000"/>
              <a:gd name="connsiteX917" fmla="*/ 2867960 w 7467600"/>
              <a:gd name="connsiteY917" fmla="*/ 0 h 6858000"/>
              <a:gd name="connsiteX918" fmla="*/ 2926351 w 7467600"/>
              <a:gd name="connsiteY918" fmla="*/ 0 h 6858000"/>
              <a:gd name="connsiteX919" fmla="*/ 2902823 w 7467600"/>
              <a:gd name="connsiteY919" fmla="*/ 262929 h 6858000"/>
              <a:gd name="connsiteX920" fmla="*/ 2940663 w 7467600"/>
              <a:gd name="connsiteY920" fmla="*/ 140884 h 6858000"/>
              <a:gd name="connsiteX921" fmla="*/ 2947039 w 7467600"/>
              <a:gd name="connsiteY921" fmla="*/ 122524 h 6858000"/>
              <a:gd name="connsiteX922" fmla="*/ 2984316 w 7467600"/>
              <a:gd name="connsiteY922" fmla="*/ 0 h 6858000"/>
              <a:gd name="connsiteX923" fmla="*/ 3016114 w 7467600"/>
              <a:gd name="connsiteY923" fmla="*/ 0 h 6858000"/>
              <a:gd name="connsiteX924" fmla="*/ 2979949 w 7467600"/>
              <a:gd name="connsiteY924" fmla="*/ 119274 h 6858000"/>
              <a:gd name="connsiteX925" fmla="*/ 3023879 w 7467600"/>
              <a:gd name="connsiteY925" fmla="*/ 0 h 6858000"/>
              <a:gd name="connsiteX926" fmla="*/ 3105400 w 7467600"/>
              <a:gd name="connsiteY926" fmla="*/ 0 h 6858000"/>
              <a:gd name="connsiteX927" fmla="*/ 3094669 w 7467600"/>
              <a:gd name="connsiteY927" fmla="*/ 30308 h 6858000"/>
              <a:gd name="connsiteX928" fmla="*/ 2901945 w 7467600"/>
              <a:gd name="connsiteY928" fmla="*/ 466538 h 6858000"/>
              <a:gd name="connsiteX929" fmla="*/ 2815209 w 7467600"/>
              <a:gd name="connsiteY929" fmla="*/ 497361 h 6858000"/>
              <a:gd name="connsiteX930" fmla="*/ 2844845 w 7467600"/>
              <a:gd name="connsiteY930" fmla="*/ 127638 h 6858000"/>
              <a:gd name="connsiteX931" fmla="*/ 2867960 w 7467600"/>
              <a:gd name="connsiteY931" fmla="*/ 0 h 6858000"/>
              <a:gd name="connsiteX932" fmla="*/ 1057230 w 7467600"/>
              <a:gd name="connsiteY932" fmla="*/ 0 h 6858000"/>
              <a:gd name="connsiteX933" fmla="*/ 1111003 w 7467600"/>
              <a:gd name="connsiteY933" fmla="*/ 0 h 6858000"/>
              <a:gd name="connsiteX934" fmla="*/ 1125553 w 7467600"/>
              <a:gd name="connsiteY934" fmla="*/ 52588 h 6858000"/>
              <a:gd name="connsiteX935" fmla="*/ 1304276 w 7467600"/>
              <a:gd name="connsiteY935" fmla="*/ 476275 h 6858000"/>
              <a:gd name="connsiteX936" fmla="*/ 1492066 w 7467600"/>
              <a:gd name="connsiteY936" fmla="*/ 886333 h 6858000"/>
              <a:gd name="connsiteX937" fmla="*/ 1423698 w 7467600"/>
              <a:gd name="connsiteY937" fmla="*/ 710817 h 6858000"/>
              <a:gd name="connsiteX938" fmla="*/ 1357609 w 7467600"/>
              <a:gd name="connsiteY938" fmla="*/ 532892 h 6858000"/>
              <a:gd name="connsiteX939" fmla="*/ 1309550 w 7467600"/>
              <a:gd name="connsiteY939" fmla="*/ 374031 h 6858000"/>
              <a:gd name="connsiteX940" fmla="*/ 1193673 w 7467600"/>
              <a:gd name="connsiteY940" fmla="*/ 49533 h 6858000"/>
              <a:gd name="connsiteX941" fmla="*/ 1164391 w 7467600"/>
              <a:gd name="connsiteY941" fmla="*/ 0 h 6858000"/>
              <a:gd name="connsiteX942" fmla="*/ 1200666 w 7467600"/>
              <a:gd name="connsiteY942" fmla="*/ 0 h 6858000"/>
              <a:gd name="connsiteX943" fmla="*/ 1223408 w 7467600"/>
              <a:gd name="connsiteY943" fmla="*/ 38996 h 6858000"/>
              <a:gd name="connsiteX944" fmla="*/ 1339635 w 7467600"/>
              <a:gd name="connsiteY944" fmla="*/ 365517 h 6858000"/>
              <a:gd name="connsiteX945" fmla="*/ 1387469 w 7467600"/>
              <a:gd name="connsiteY945" fmla="*/ 523079 h 6858000"/>
              <a:gd name="connsiteX946" fmla="*/ 1452685 w 7467600"/>
              <a:gd name="connsiteY946" fmla="*/ 699806 h 6858000"/>
              <a:gd name="connsiteX947" fmla="*/ 1492092 w 7467600"/>
              <a:gd name="connsiteY947" fmla="*/ 800424 h 6858000"/>
              <a:gd name="connsiteX948" fmla="*/ 1455302 w 7467600"/>
              <a:gd name="connsiteY948" fmla="*/ 632913 h 6858000"/>
              <a:gd name="connsiteX949" fmla="*/ 1222336 w 7467600"/>
              <a:gd name="connsiteY949" fmla="*/ 9480 h 6858000"/>
              <a:gd name="connsiteX950" fmla="*/ 1214634 w 7467600"/>
              <a:gd name="connsiteY950" fmla="*/ 0 h 6858000"/>
              <a:gd name="connsiteX951" fmla="*/ 1289827 w 7467600"/>
              <a:gd name="connsiteY951" fmla="*/ 0 h 6858000"/>
              <a:gd name="connsiteX952" fmla="*/ 1321076 w 7467600"/>
              <a:gd name="connsiteY952" fmla="*/ 59722 h 6858000"/>
              <a:gd name="connsiteX953" fmla="*/ 1512579 w 7467600"/>
              <a:gd name="connsiteY953" fmla="*/ 626441 h 6858000"/>
              <a:gd name="connsiteX954" fmla="*/ 1506076 w 7467600"/>
              <a:gd name="connsiteY954" fmla="*/ 1089289 h 6858000"/>
              <a:gd name="connsiteX955" fmla="*/ 1486346 w 7467600"/>
              <a:gd name="connsiteY955" fmla="*/ 1079919 h 6858000"/>
              <a:gd name="connsiteX956" fmla="*/ 1070511 w 7467600"/>
              <a:gd name="connsiteY956" fmla="*/ 48609 h 6858000"/>
              <a:gd name="connsiteX957" fmla="*/ 1057230 w 7467600"/>
              <a:gd name="connsiteY957" fmla="*/ 0 h 6858000"/>
              <a:gd name="connsiteX958" fmla="*/ 43151 w 7467600"/>
              <a:gd name="connsiteY958" fmla="*/ 0 h 6858000"/>
              <a:gd name="connsiteX959" fmla="*/ 95283 w 7467600"/>
              <a:gd name="connsiteY959" fmla="*/ 0 h 6858000"/>
              <a:gd name="connsiteX960" fmla="*/ 300708 w 7467600"/>
              <a:gd name="connsiteY960" fmla="*/ 154571 h 6858000"/>
              <a:gd name="connsiteX961" fmla="*/ 530414 w 7467600"/>
              <a:gd name="connsiteY961" fmla="*/ 354673 h 6858000"/>
              <a:gd name="connsiteX962" fmla="*/ 333785 w 7467600"/>
              <a:gd name="connsiteY962" fmla="*/ 161564 h 6858000"/>
              <a:gd name="connsiteX963" fmla="*/ 147005 w 7467600"/>
              <a:gd name="connsiteY963" fmla="*/ 0 h 6858000"/>
              <a:gd name="connsiteX964" fmla="*/ 272509 w 7467600"/>
              <a:gd name="connsiteY964" fmla="*/ 0 h 6858000"/>
              <a:gd name="connsiteX965" fmla="*/ 326276 w 7467600"/>
              <a:gd name="connsiteY965" fmla="*/ 45847 h 6858000"/>
              <a:gd name="connsiteX966" fmla="*/ 823759 w 7467600"/>
              <a:gd name="connsiteY966" fmla="*/ 574145 h 6858000"/>
              <a:gd name="connsiteX967" fmla="*/ 811254 w 7467600"/>
              <a:gd name="connsiteY967" fmla="*/ 665546 h 6858000"/>
              <a:gd name="connsiteX968" fmla="*/ 154042 w 7467600"/>
              <a:gd name="connsiteY968" fmla="*/ 261522 h 6858000"/>
              <a:gd name="connsiteX969" fmla="*/ 13550 w 7467600"/>
              <a:gd name="connsiteY969" fmla="*/ 158423 h 6858000"/>
              <a:gd name="connsiteX970" fmla="*/ 0 w 7467600"/>
              <a:gd name="connsiteY970" fmla="*/ 146618 h 6858000"/>
              <a:gd name="connsiteX971" fmla="*/ 0 w 7467600"/>
              <a:gd name="connsiteY971" fmla="*/ 59161 h 6858000"/>
              <a:gd name="connsiteX972" fmla="*/ 45427 w 7467600"/>
              <a:gd name="connsiteY972" fmla="*/ 101078 h 6858000"/>
              <a:gd name="connsiteX973" fmla="*/ 630103 w 7467600"/>
              <a:gd name="connsiteY973" fmla="*/ 485885 h 6858000"/>
              <a:gd name="connsiteX974" fmla="*/ 532040 w 7467600"/>
              <a:gd name="connsiteY974" fmla="*/ 399359 h 6858000"/>
              <a:gd name="connsiteX975" fmla="*/ 517618 w 7467600"/>
              <a:gd name="connsiteY975" fmla="*/ 385726 h 6858000"/>
              <a:gd name="connsiteX976" fmla="*/ 285074 w 7467600"/>
              <a:gd name="connsiteY976" fmla="*/ 182755 h 6858000"/>
              <a:gd name="connsiteX977" fmla="*/ 43151 w 7467600"/>
              <a:gd name="connsiteY977"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6844835 w 7467600"/>
              <a:gd name="connsiteY74" fmla="*/ 5424988 h 6858000"/>
              <a:gd name="connsiteX75" fmla="*/ 6879594 w 7467600"/>
              <a:gd name="connsiteY75" fmla="*/ 5424547 h 6858000"/>
              <a:gd name="connsiteX76" fmla="*/ 7379510 w 7467600"/>
              <a:gd name="connsiteY76" fmla="*/ 5755454 h 6858000"/>
              <a:gd name="connsiteX77" fmla="*/ 7467600 w 7467600"/>
              <a:gd name="connsiteY77" fmla="*/ 5845526 h 6858000"/>
              <a:gd name="connsiteX78" fmla="*/ 7467600 w 7467600"/>
              <a:gd name="connsiteY78" fmla="*/ 5925131 h 6858000"/>
              <a:gd name="connsiteX79" fmla="*/ 7271900 w 7467600"/>
              <a:gd name="connsiteY79" fmla="*/ 5734551 h 6858000"/>
              <a:gd name="connsiteX80" fmla="*/ 7015907 w 7467600"/>
              <a:gd name="connsiteY80" fmla="*/ 5541548 h 6858000"/>
              <a:gd name="connsiteX81" fmla="*/ 7259646 w 7467600"/>
              <a:gd name="connsiteY81" fmla="*/ 5765985 h 6858000"/>
              <a:gd name="connsiteX82" fmla="*/ 7467600 w 7467600"/>
              <a:gd name="connsiteY82" fmla="*/ 6012219 h 6858000"/>
              <a:gd name="connsiteX83" fmla="*/ 6946849 w 7467600"/>
              <a:gd name="connsiteY83" fmla="*/ 5523271 h 6858000"/>
              <a:gd name="connsiteX84" fmla="*/ 6946972 w 7467600"/>
              <a:gd name="connsiteY84" fmla="*/ 5526491 h 6858000"/>
              <a:gd name="connsiteX85" fmla="*/ 7105827 w 7467600"/>
              <a:gd name="connsiteY85" fmla="*/ 5718700 h 6858000"/>
              <a:gd name="connsiteX86" fmla="*/ 7356878 w 7467600"/>
              <a:gd name="connsiteY86" fmla="*/ 5981332 h 6858000"/>
              <a:gd name="connsiteX87" fmla="*/ 7467600 w 7467600"/>
              <a:gd name="connsiteY87" fmla="*/ 6117703 h 6858000"/>
              <a:gd name="connsiteX88" fmla="*/ 7467600 w 7467600"/>
              <a:gd name="connsiteY88" fmla="*/ 6163634 h 6858000"/>
              <a:gd name="connsiteX89" fmla="*/ 7403637 w 7467600"/>
              <a:gd name="connsiteY89" fmla="*/ 6083957 h 6858000"/>
              <a:gd name="connsiteX90" fmla="*/ 7254615 w 7467600"/>
              <a:gd name="connsiteY90" fmla="*/ 5911918 h 6858000"/>
              <a:gd name="connsiteX91" fmla="*/ 7312589 w 7467600"/>
              <a:gd name="connsiteY91" fmla="*/ 5982309 h 6858000"/>
              <a:gd name="connsiteX92" fmla="*/ 7448321 w 7467600"/>
              <a:gd name="connsiteY92" fmla="*/ 6190991 h 6858000"/>
              <a:gd name="connsiteX93" fmla="*/ 7467600 w 7467600"/>
              <a:gd name="connsiteY93" fmla="*/ 6221686 h 6858000"/>
              <a:gd name="connsiteX94" fmla="*/ 7467600 w 7467600"/>
              <a:gd name="connsiteY94" fmla="*/ 6334256 h 6858000"/>
              <a:gd name="connsiteX95" fmla="*/ 7454976 w 7467600"/>
              <a:gd name="connsiteY95" fmla="*/ 6318297 h 6858000"/>
              <a:gd name="connsiteX96" fmla="*/ 7042773 w 7467600"/>
              <a:gd name="connsiteY96" fmla="*/ 5734011 h 6858000"/>
              <a:gd name="connsiteX97" fmla="*/ 6844835 w 7467600"/>
              <a:gd name="connsiteY97" fmla="*/ 5424988 h 6858000"/>
              <a:gd name="connsiteX98" fmla="*/ 1456157 w 7467600"/>
              <a:gd name="connsiteY98" fmla="*/ 5371404 h 6858000"/>
              <a:gd name="connsiteX99" fmla="*/ 1244432 w 7467600"/>
              <a:gd name="connsiteY99" fmla="*/ 5385601 h 6858000"/>
              <a:gd name="connsiteX100" fmla="*/ 973990 w 7467600"/>
              <a:gd name="connsiteY100" fmla="*/ 5424940 h 6858000"/>
              <a:gd name="connsiteX101" fmla="*/ 1103809 w 7467600"/>
              <a:gd name="connsiteY101" fmla="*/ 5433720 h 6858000"/>
              <a:gd name="connsiteX102" fmla="*/ 1123454 w 7467600"/>
              <a:gd name="connsiteY102" fmla="*/ 5435727 h 6858000"/>
              <a:gd name="connsiteX103" fmla="*/ 1737017 w 7467600"/>
              <a:gd name="connsiteY103" fmla="*/ 5452183 h 6858000"/>
              <a:gd name="connsiteX104" fmla="*/ 1824397 w 7467600"/>
              <a:gd name="connsiteY104" fmla="*/ 5447757 h 6858000"/>
              <a:gd name="connsiteX105" fmla="*/ 2070059 w 7467600"/>
              <a:gd name="connsiteY105" fmla="*/ 5441660 h 6858000"/>
              <a:gd name="connsiteX106" fmla="*/ 1456157 w 7467600"/>
              <a:gd name="connsiteY106" fmla="*/ 5371404 h 6858000"/>
              <a:gd name="connsiteX107" fmla="*/ 4988186 w 7467600"/>
              <a:gd name="connsiteY107" fmla="*/ 5216467 h 6858000"/>
              <a:gd name="connsiteX108" fmla="*/ 4777334 w 7467600"/>
              <a:gd name="connsiteY108" fmla="*/ 5406072 h 6858000"/>
              <a:gd name="connsiteX109" fmla="*/ 4718341 w 7467600"/>
              <a:gd name="connsiteY109" fmla="*/ 5468043 h 6858000"/>
              <a:gd name="connsiteX110" fmla="*/ 4604655 w 7467600"/>
              <a:gd name="connsiteY110" fmla="*/ 5583434 h 6858000"/>
              <a:gd name="connsiteX111" fmla="*/ 4565074 w 7467600"/>
              <a:gd name="connsiteY111" fmla="*/ 5618550 h 6858000"/>
              <a:gd name="connsiteX112" fmla="*/ 4988186 w 7467600"/>
              <a:gd name="connsiteY112" fmla="*/ 5216467 h 6858000"/>
              <a:gd name="connsiteX113" fmla="*/ 4978032 w 7467600"/>
              <a:gd name="connsiteY113" fmla="*/ 5183809 h 6858000"/>
              <a:gd name="connsiteX114" fmla="*/ 4463413 w 7467600"/>
              <a:gd name="connsiteY114" fmla="*/ 5615162 h 6858000"/>
              <a:gd name="connsiteX115" fmla="*/ 4358134 w 7467600"/>
              <a:gd name="connsiteY115" fmla="*/ 5742791 h 6858000"/>
              <a:gd name="connsiteX116" fmla="*/ 4376219 w 7467600"/>
              <a:gd name="connsiteY116" fmla="*/ 5729027 h 6858000"/>
              <a:gd name="connsiteX117" fmla="*/ 4582340 w 7467600"/>
              <a:gd name="connsiteY117" fmla="*/ 5561037 h 6858000"/>
              <a:gd name="connsiteX118" fmla="*/ 4694684 w 7467600"/>
              <a:gd name="connsiteY118" fmla="*/ 5447098 h 6858000"/>
              <a:gd name="connsiteX119" fmla="*/ 4754123 w 7467600"/>
              <a:gd name="connsiteY119" fmla="*/ 5384643 h 6858000"/>
              <a:gd name="connsiteX120" fmla="*/ 4978032 w 7467600"/>
              <a:gd name="connsiteY120" fmla="*/ 5183809 h 6858000"/>
              <a:gd name="connsiteX121" fmla="*/ 1903353 w 7467600"/>
              <a:gd name="connsiteY121" fmla="*/ 5044827 h 6858000"/>
              <a:gd name="connsiteX122" fmla="*/ 1936931 w 7467600"/>
              <a:gd name="connsiteY122" fmla="*/ 5093954 h 6858000"/>
              <a:gd name="connsiteX123" fmla="*/ 2195868 w 7467600"/>
              <a:gd name="connsiteY123" fmla="*/ 5396574 h 6858000"/>
              <a:gd name="connsiteX124" fmla="*/ 2088852 w 7467600"/>
              <a:gd name="connsiteY124" fmla="*/ 5166123 h 6858000"/>
              <a:gd name="connsiteX125" fmla="*/ 1958241 w 7467600"/>
              <a:gd name="connsiteY125" fmla="*/ 5067955 h 6858000"/>
              <a:gd name="connsiteX126" fmla="*/ 1903353 w 7467600"/>
              <a:gd name="connsiteY126" fmla="*/ 5044827 h 6858000"/>
              <a:gd name="connsiteX127" fmla="*/ 1979378 w 7467600"/>
              <a:gd name="connsiteY127" fmla="*/ 4769504 h 6858000"/>
              <a:gd name="connsiteX128" fmla="*/ 2882120 w 7467600"/>
              <a:gd name="connsiteY128" fmla="*/ 5064547 h 6858000"/>
              <a:gd name="connsiteX129" fmla="*/ 2793103 w 7467600"/>
              <a:gd name="connsiteY129" fmla="*/ 5039699 h 6858000"/>
              <a:gd name="connsiteX130" fmla="*/ 2770041 w 7467600"/>
              <a:gd name="connsiteY130" fmla="*/ 5033634 h 6858000"/>
              <a:gd name="connsiteX131" fmla="*/ 1979378 w 7467600"/>
              <a:gd name="connsiteY131" fmla="*/ 4769504 h 6858000"/>
              <a:gd name="connsiteX132" fmla="*/ 1927410 w 7467600"/>
              <a:gd name="connsiteY132" fmla="*/ 4716164 h 6858000"/>
              <a:gd name="connsiteX133" fmla="*/ 1959587 w 7467600"/>
              <a:gd name="connsiteY133" fmla="*/ 4728849 h 6858000"/>
              <a:gd name="connsiteX134" fmla="*/ 2777707 w 7467600"/>
              <a:gd name="connsiteY134" fmla="*/ 5003991 h 6858000"/>
              <a:gd name="connsiteX135" fmla="*/ 2800768 w 7467600"/>
              <a:gd name="connsiteY135" fmla="*/ 5010056 h 6858000"/>
              <a:gd name="connsiteX136" fmla="*/ 2879408 w 7467600"/>
              <a:gd name="connsiteY136" fmla="*/ 5031590 h 6858000"/>
              <a:gd name="connsiteX137" fmla="*/ 2862295 w 7467600"/>
              <a:gd name="connsiteY137" fmla="*/ 5022958 h 6858000"/>
              <a:gd name="connsiteX138" fmla="*/ 2813343 w 7467600"/>
              <a:gd name="connsiteY138" fmla="*/ 4998369 h 6858000"/>
              <a:gd name="connsiteX139" fmla="*/ 2646245 w 7467600"/>
              <a:gd name="connsiteY139" fmla="*/ 4930999 h 6858000"/>
              <a:gd name="connsiteX140" fmla="*/ 1999243 w 7467600"/>
              <a:gd name="connsiteY140" fmla="*/ 4730524 h 6858000"/>
              <a:gd name="connsiteX141" fmla="*/ 1979527 w 7467600"/>
              <a:gd name="connsiteY141" fmla="*/ 4726651 h 6858000"/>
              <a:gd name="connsiteX142" fmla="*/ 1927410 w 7467600"/>
              <a:gd name="connsiteY142" fmla="*/ 4716164 h 6858000"/>
              <a:gd name="connsiteX143" fmla="*/ 1997014 w 7467600"/>
              <a:gd name="connsiteY143" fmla="*/ 4698007 h 6858000"/>
              <a:gd name="connsiteX144" fmla="*/ 2005458 w 7467600"/>
              <a:gd name="connsiteY144" fmla="*/ 4699540 h 6858000"/>
              <a:gd name="connsiteX145" fmla="*/ 2657186 w 7467600"/>
              <a:gd name="connsiteY145" fmla="*/ 4901687 h 6858000"/>
              <a:gd name="connsiteX146" fmla="*/ 2826662 w 7467600"/>
              <a:gd name="connsiteY146" fmla="*/ 4970362 h 6858000"/>
              <a:gd name="connsiteX147" fmla="*/ 2876100 w 7467600"/>
              <a:gd name="connsiteY147" fmla="*/ 4995397 h 6858000"/>
              <a:gd name="connsiteX148" fmla="*/ 3042600 w 7467600"/>
              <a:gd name="connsiteY148" fmla="*/ 5059532 h 6858000"/>
              <a:gd name="connsiteX149" fmla="*/ 1997014 w 7467600"/>
              <a:gd name="connsiteY149" fmla="*/ 4698007 h 6858000"/>
              <a:gd name="connsiteX150" fmla="*/ 2305292 w 7467600"/>
              <a:gd name="connsiteY150" fmla="*/ 4219492 h 6858000"/>
              <a:gd name="connsiteX151" fmla="*/ 3360922 w 7467600"/>
              <a:gd name="connsiteY151" fmla="*/ 4529373 h 6858000"/>
              <a:gd name="connsiteX152" fmla="*/ 3492420 w 7467600"/>
              <a:gd name="connsiteY152" fmla="*/ 4510145 h 6858000"/>
              <a:gd name="connsiteX153" fmla="*/ 3364086 w 7467600"/>
              <a:gd name="connsiteY153" fmla="*/ 4480340 h 6858000"/>
              <a:gd name="connsiteX154" fmla="*/ 3225818 w 7467600"/>
              <a:gd name="connsiteY154" fmla="*/ 4411822 h 6858000"/>
              <a:gd name="connsiteX155" fmla="*/ 3129696 w 7467600"/>
              <a:gd name="connsiteY155" fmla="*/ 4360704 h 6858000"/>
              <a:gd name="connsiteX156" fmla="*/ 2814545 w 7467600"/>
              <a:gd name="connsiteY156" fmla="*/ 4282955 h 6858000"/>
              <a:gd name="connsiteX157" fmla="*/ 2305292 w 7467600"/>
              <a:gd name="connsiteY157" fmla="*/ 4219492 h 6858000"/>
              <a:gd name="connsiteX158" fmla="*/ 2626982 w 7467600"/>
              <a:gd name="connsiteY158" fmla="*/ 4206450 h 6858000"/>
              <a:gd name="connsiteX159" fmla="*/ 2490617 w 7467600"/>
              <a:gd name="connsiteY159" fmla="*/ 4206951 h 6858000"/>
              <a:gd name="connsiteX160" fmla="*/ 2819869 w 7467600"/>
              <a:gd name="connsiteY160" fmla="*/ 4252936 h 6858000"/>
              <a:gd name="connsiteX161" fmla="*/ 3143018 w 7467600"/>
              <a:gd name="connsiteY161" fmla="*/ 4332698 h 6858000"/>
              <a:gd name="connsiteX162" fmla="*/ 3241520 w 7467600"/>
              <a:gd name="connsiteY162" fmla="*/ 4385112 h 6858000"/>
              <a:gd name="connsiteX163" fmla="*/ 3374575 w 7467600"/>
              <a:gd name="connsiteY163" fmla="*/ 4451517 h 6858000"/>
              <a:gd name="connsiteX164" fmla="*/ 3505221 w 7467600"/>
              <a:gd name="connsiteY164" fmla="*/ 4480757 h 6858000"/>
              <a:gd name="connsiteX165" fmla="*/ 2626982 w 7467600"/>
              <a:gd name="connsiteY165" fmla="*/ 4206450 h 6858000"/>
              <a:gd name="connsiteX166" fmla="*/ 1310106 w 7467600"/>
              <a:gd name="connsiteY166" fmla="*/ 3943217 h 6858000"/>
              <a:gd name="connsiteX167" fmla="*/ 854994 w 7467600"/>
              <a:gd name="connsiteY167" fmla="*/ 4399136 h 6858000"/>
              <a:gd name="connsiteX168" fmla="*/ 742462 w 7467600"/>
              <a:gd name="connsiteY168" fmla="*/ 4594648 h 6858000"/>
              <a:gd name="connsiteX169" fmla="*/ 820602 w 7467600"/>
              <a:gd name="connsiteY169" fmla="*/ 4485915 h 6858000"/>
              <a:gd name="connsiteX170" fmla="*/ 878295 w 7467600"/>
              <a:gd name="connsiteY170" fmla="*/ 4403594 h 6858000"/>
              <a:gd name="connsiteX171" fmla="*/ 1240607 w 7467600"/>
              <a:gd name="connsiteY171" fmla="*/ 4010401 h 6858000"/>
              <a:gd name="connsiteX172" fmla="*/ 1310106 w 7467600"/>
              <a:gd name="connsiteY172" fmla="*/ 3943217 h 6858000"/>
              <a:gd name="connsiteX173" fmla="*/ 1423113 w 7467600"/>
              <a:gd name="connsiteY173" fmla="*/ 3874565 h 6858000"/>
              <a:gd name="connsiteX174" fmla="*/ 1260565 w 7467600"/>
              <a:gd name="connsiteY174" fmla="*/ 4031982 h 6858000"/>
              <a:gd name="connsiteX175" fmla="*/ 901900 w 7467600"/>
              <a:gd name="connsiteY175" fmla="*/ 4421236 h 6858000"/>
              <a:gd name="connsiteX176" fmla="*/ 845044 w 7467600"/>
              <a:gd name="connsiteY176" fmla="*/ 4502436 h 6858000"/>
              <a:gd name="connsiteX177" fmla="*/ 685926 w 7467600"/>
              <a:gd name="connsiteY177" fmla="*/ 4703069 h 6858000"/>
              <a:gd name="connsiteX178" fmla="*/ 684248 w 7467600"/>
              <a:gd name="connsiteY178" fmla="*/ 4706721 h 6858000"/>
              <a:gd name="connsiteX179" fmla="*/ 1423113 w 7467600"/>
              <a:gd name="connsiteY179" fmla="*/ 3874565 h 6858000"/>
              <a:gd name="connsiteX180" fmla="*/ 3316479 w 7467600"/>
              <a:gd name="connsiteY180" fmla="*/ 3872136 h 6858000"/>
              <a:gd name="connsiteX181" fmla="*/ 3546806 w 7467600"/>
              <a:gd name="connsiteY181" fmla="*/ 4356139 h 6858000"/>
              <a:gd name="connsiteX182" fmla="*/ 3364433 w 7467600"/>
              <a:gd name="connsiteY182" fmla="*/ 3953121 h 6858000"/>
              <a:gd name="connsiteX183" fmla="*/ 3316479 w 7467600"/>
              <a:gd name="connsiteY183" fmla="*/ 3872136 h 6858000"/>
              <a:gd name="connsiteX184" fmla="*/ 3291335 w 7467600"/>
              <a:gd name="connsiteY184" fmla="*/ 3767420 h 6858000"/>
              <a:gd name="connsiteX185" fmla="*/ 3390805 w 7467600"/>
              <a:gd name="connsiteY185" fmla="*/ 3937163 h 6858000"/>
              <a:gd name="connsiteX186" fmla="*/ 3579062 w 7467600"/>
              <a:gd name="connsiteY186" fmla="*/ 4359040 h 6858000"/>
              <a:gd name="connsiteX187" fmla="*/ 3467355 w 7467600"/>
              <a:gd name="connsiteY187" fmla="*/ 3988130 h 6858000"/>
              <a:gd name="connsiteX188" fmla="*/ 3310753 w 7467600"/>
              <a:gd name="connsiteY188" fmla="*/ 3787140 h 6858000"/>
              <a:gd name="connsiteX189" fmla="*/ 3291335 w 7467600"/>
              <a:gd name="connsiteY189" fmla="*/ 3767420 h 6858000"/>
              <a:gd name="connsiteX190" fmla="*/ 1635889 w 7467600"/>
              <a:gd name="connsiteY190" fmla="*/ 3709494 h 6858000"/>
              <a:gd name="connsiteX191" fmla="*/ 1634800 w 7467600"/>
              <a:gd name="connsiteY191" fmla="*/ 3731111 h 6858000"/>
              <a:gd name="connsiteX192" fmla="*/ 1635889 w 7467600"/>
              <a:gd name="connsiteY192" fmla="*/ 3709494 h 6858000"/>
              <a:gd name="connsiteX193" fmla="*/ 1510397 w 7467600"/>
              <a:gd name="connsiteY193" fmla="*/ 3684705 h 6858000"/>
              <a:gd name="connsiteX194" fmla="*/ 1146550 w 7467600"/>
              <a:gd name="connsiteY194" fmla="*/ 3802012 h 6858000"/>
              <a:gd name="connsiteX195" fmla="*/ 698834 w 7467600"/>
              <a:gd name="connsiteY195" fmla="*/ 3952272 h 6858000"/>
              <a:gd name="connsiteX196" fmla="*/ 34256 w 7467600"/>
              <a:gd name="connsiteY196" fmla="*/ 4347603 h 6858000"/>
              <a:gd name="connsiteX197" fmla="*/ 527241 w 7467600"/>
              <a:gd name="connsiteY197" fmla="*/ 4065078 h 6858000"/>
              <a:gd name="connsiteX198" fmla="*/ 1510397 w 7467600"/>
              <a:gd name="connsiteY198" fmla="*/ 3684705 h 6858000"/>
              <a:gd name="connsiteX199" fmla="*/ 1313114 w 7467600"/>
              <a:gd name="connsiteY199" fmla="*/ 3655216 h 6858000"/>
              <a:gd name="connsiteX200" fmla="*/ 1109304 w 7467600"/>
              <a:gd name="connsiteY200" fmla="*/ 3669030 h 6858000"/>
              <a:gd name="connsiteX201" fmla="*/ 8129 w 7467600"/>
              <a:gd name="connsiteY201" fmla="*/ 4330519 h 6858000"/>
              <a:gd name="connsiteX202" fmla="*/ 687572 w 7467600"/>
              <a:gd name="connsiteY202" fmla="*/ 3925629 h 6858000"/>
              <a:gd name="connsiteX203" fmla="*/ 1138365 w 7467600"/>
              <a:gd name="connsiteY203" fmla="*/ 3774515 h 6858000"/>
              <a:gd name="connsiteX204" fmla="*/ 1505579 w 7467600"/>
              <a:gd name="connsiteY204" fmla="*/ 3655526 h 6858000"/>
              <a:gd name="connsiteX205" fmla="*/ 1313114 w 7467600"/>
              <a:gd name="connsiteY205" fmla="*/ 3655216 h 6858000"/>
              <a:gd name="connsiteX206" fmla="*/ 3655073 w 7467600"/>
              <a:gd name="connsiteY206" fmla="*/ 3650884 h 6858000"/>
              <a:gd name="connsiteX207" fmla="*/ 3989938 w 7467600"/>
              <a:gd name="connsiteY207" fmla="*/ 3991685 h 6858000"/>
              <a:gd name="connsiteX208" fmla="*/ 4393907 w 7467600"/>
              <a:gd name="connsiteY208" fmla="*/ 4261258 h 6858000"/>
              <a:gd name="connsiteX209" fmla="*/ 4648051 w 7467600"/>
              <a:gd name="connsiteY209" fmla="*/ 4374051 h 6858000"/>
              <a:gd name="connsiteX210" fmla="*/ 4383389 w 7467600"/>
              <a:gd name="connsiteY210" fmla="*/ 4184369 h 6858000"/>
              <a:gd name="connsiteX211" fmla="*/ 4165508 w 7467600"/>
              <a:gd name="connsiteY211" fmla="*/ 4035196 h 6858000"/>
              <a:gd name="connsiteX212" fmla="*/ 4068162 w 7467600"/>
              <a:gd name="connsiteY212" fmla="*/ 3953394 h 6858000"/>
              <a:gd name="connsiteX213" fmla="*/ 3981416 w 7467600"/>
              <a:gd name="connsiteY213" fmla="*/ 3880482 h 6858000"/>
              <a:gd name="connsiteX214" fmla="*/ 3800147 w 7467600"/>
              <a:gd name="connsiteY214" fmla="*/ 3749872 h 6858000"/>
              <a:gd name="connsiteX215" fmla="*/ 3655073 w 7467600"/>
              <a:gd name="connsiteY215" fmla="*/ 3650884 h 6858000"/>
              <a:gd name="connsiteX216" fmla="*/ 3670252 w 7467600"/>
              <a:gd name="connsiteY216" fmla="*/ 3622798 h 6858000"/>
              <a:gd name="connsiteX217" fmla="*/ 3817258 w 7467600"/>
              <a:gd name="connsiteY217" fmla="*/ 3723577 h 6858000"/>
              <a:gd name="connsiteX218" fmla="*/ 4000461 w 7467600"/>
              <a:gd name="connsiteY218" fmla="*/ 3855966 h 6858000"/>
              <a:gd name="connsiteX219" fmla="*/ 4088180 w 7467600"/>
              <a:gd name="connsiteY219" fmla="*/ 3929774 h 6858000"/>
              <a:gd name="connsiteX220" fmla="*/ 4184555 w 7467600"/>
              <a:gd name="connsiteY220" fmla="*/ 4010683 h 6858000"/>
              <a:gd name="connsiteX221" fmla="*/ 4399563 w 7467600"/>
              <a:gd name="connsiteY221" fmla="*/ 4158106 h 6858000"/>
              <a:gd name="connsiteX222" fmla="*/ 4684469 w 7467600"/>
              <a:gd name="connsiteY222" fmla="*/ 4364680 h 6858000"/>
              <a:gd name="connsiteX223" fmla="*/ 4690271 w 7467600"/>
              <a:gd name="connsiteY223" fmla="*/ 4370034 h 6858000"/>
              <a:gd name="connsiteX224" fmla="*/ 4136093 w 7467600"/>
              <a:gd name="connsiteY224" fmla="*/ 3858466 h 6858000"/>
              <a:gd name="connsiteX225" fmla="*/ 3670252 w 7467600"/>
              <a:gd name="connsiteY225" fmla="*/ 3622798 h 6858000"/>
              <a:gd name="connsiteX226" fmla="*/ 4440129 w 7467600"/>
              <a:gd name="connsiteY226" fmla="*/ 3448571 h 6858000"/>
              <a:gd name="connsiteX227" fmla="*/ 4856525 w 7467600"/>
              <a:gd name="connsiteY227" fmla="*/ 3915351 h 6858000"/>
              <a:gd name="connsiteX228" fmla="*/ 5059055 w 7467600"/>
              <a:gd name="connsiteY228" fmla="*/ 4108918 h 6858000"/>
              <a:gd name="connsiteX229" fmla="*/ 5290070 w 7467600"/>
              <a:gd name="connsiteY229" fmla="*/ 4263619 h 6858000"/>
              <a:gd name="connsiteX230" fmla="*/ 4834991 w 7467600"/>
              <a:gd name="connsiteY230" fmla="*/ 3830985 h 6858000"/>
              <a:gd name="connsiteX231" fmla="*/ 4440129 w 7467600"/>
              <a:gd name="connsiteY231" fmla="*/ 3448571 h 6858000"/>
              <a:gd name="connsiteX232" fmla="*/ 4441737 w 7467600"/>
              <a:gd name="connsiteY232" fmla="*/ 3399734 h 6858000"/>
              <a:gd name="connsiteX233" fmla="*/ 4431236 w 7467600"/>
              <a:gd name="connsiteY233" fmla="*/ 3400954 h 6858000"/>
              <a:gd name="connsiteX234" fmla="*/ 4557150 w 7467600"/>
              <a:gd name="connsiteY234" fmla="*/ 3510023 h 6858000"/>
              <a:gd name="connsiteX235" fmla="*/ 4856936 w 7467600"/>
              <a:gd name="connsiteY235" fmla="*/ 3809146 h 6858000"/>
              <a:gd name="connsiteX236" fmla="*/ 5111996 w 7467600"/>
              <a:gd name="connsiteY236" fmla="*/ 4065759 h 6858000"/>
              <a:gd name="connsiteX237" fmla="*/ 5388878 w 7467600"/>
              <a:gd name="connsiteY237" fmla="*/ 4300185 h 6858000"/>
              <a:gd name="connsiteX238" fmla="*/ 5425556 w 7467600"/>
              <a:gd name="connsiteY238" fmla="*/ 4308967 h 6858000"/>
              <a:gd name="connsiteX239" fmla="*/ 4943646 w 7467600"/>
              <a:gd name="connsiteY239" fmla="*/ 3822916 h 6858000"/>
              <a:gd name="connsiteX240" fmla="*/ 4594837 w 7467600"/>
              <a:gd name="connsiteY240" fmla="*/ 3532274 h 6858000"/>
              <a:gd name="connsiteX241" fmla="*/ 4441737 w 7467600"/>
              <a:gd name="connsiteY241" fmla="*/ 3399734 h 6858000"/>
              <a:gd name="connsiteX242" fmla="*/ 5425834 w 7467600"/>
              <a:gd name="connsiteY242" fmla="*/ 3162785 h 6858000"/>
              <a:gd name="connsiteX243" fmla="*/ 5401644 w 7467600"/>
              <a:gd name="connsiteY243" fmla="*/ 3617847 h 6858000"/>
              <a:gd name="connsiteX244" fmla="*/ 5467256 w 7467600"/>
              <a:gd name="connsiteY244" fmla="*/ 4175494 h 6858000"/>
              <a:gd name="connsiteX245" fmla="*/ 5448069 w 7467600"/>
              <a:gd name="connsiteY245" fmla="*/ 3567554 h 6858000"/>
              <a:gd name="connsiteX246" fmla="*/ 5425834 w 7467600"/>
              <a:gd name="connsiteY246" fmla="*/ 3162785 h 6858000"/>
              <a:gd name="connsiteX247" fmla="*/ 1318687 w 7467600"/>
              <a:gd name="connsiteY247" fmla="*/ 3113840 h 6858000"/>
              <a:gd name="connsiteX248" fmla="*/ 1066793 w 7467600"/>
              <a:gd name="connsiteY248" fmla="*/ 3212171 h 6858000"/>
              <a:gd name="connsiteX249" fmla="*/ 993319 w 7467600"/>
              <a:gd name="connsiteY249" fmla="*/ 3247648 h 6858000"/>
              <a:gd name="connsiteX250" fmla="*/ 853081 w 7467600"/>
              <a:gd name="connsiteY250" fmla="*/ 3312410 h 6858000"/>
              <a:gd name="connsiteX251" fmla="*/ 805957 w 7467600"/>
              <a:gd name="connsiteY251" fmla="*/ 3330443 h 6858000"/>
              <a:gd name="connsiteX252" fmla="*/ 1318687 w 7467600"/>
              <a:gd name="connsiteY252" fmla="*/ 3113840 h 6858000"/>
              <a:gd name="connsiteX253" fmla="*/ 5453702 w 7467600"/>
              <a:gd name="connsiteY253" fmla="*/ 3090882 h 6858000"/>
              <a:gd name="connsiteX254" fmla="*/ 5480135 w 7467600"/>
              <a:gd name="connsiteY254" fmla="*/ 3565802 h 6858000"/>
              <a:gd name="connsiteX255" fmla="*/ 5499023 w 7467600"/>
              <a:gd name="connsiteY255" fmla="*/ 4166310 h 6858000"/>
              <a:gd name="connsiteX256" fmla="*/ 5547022 w 7467600"/>
              <a:gd name="connsiteY256" fmla="*/ 3607838 h 6858000"/>
              <a:gd name="connsiteX257" fmla="*/ 5515964 w 7467600"/>
              <a:gd name="connsiteY257" fmla="*/ 3378541 h 6858000"/>
              <a:gd name="connsiteX258" fmla="*/ 5453702 w 7467600"/>
              <a:gd name="connsiteY258" fmla="*/ 3090882 h 6858000"/>
              <a:gd name="connsiteX259" fmla="*/ 1238695 w 7467600"/>
              <a:gd name="connsiteY259" fmla="*/ 3076820 h 6858000"/>
              <a:gd name="connsiteX260" fmla="*/ 716371 w 7467600"/>
              <a:gd name="connsiteY260" fmla="*/ 3293249 h 6858000"/>
              <a:gd name="connsiteX261" fmla="*/ 579522 w 7467600"/>
              <a:gd name="connsiteY261" fmla="*/ 3371759 h 6858000"/>
              <a:gd name="connsiteX262" fmla="*/ 600288 w 7467600"/>
              <a:gd name="connsiteY262" fmla="*/ 3365555 h 6858000"/>
              <a:gd name="connsiteX263" fmla="*/ 840692 w 7467600"/>
              <a:gd name="connsiteY263" fmla="*/ 3284921 h 6858000"/>
              <a:gd name="connsiteX264" fmla="*/ 979248 w 7467600"/>
              <a:gd name="connsiteY264" fmla="*/ 3221003 h 6858000"/>
              <a:gd name="connsiteX265" fmla="*/ 1053282 w 7467600"/>
              <a:gd name="connsiteY265" fmla="*/ 3185247 h 6858000"/>
              <a:gd name="connsiteX266" fmla="*/ 1320603 w 7467600"/>
              <a:gd name="connsiteY266" fmla="*/ 3081281 h 6858000"/>
              <a:gd name="connsiteX267" fmla="*/ 1238695 w 7467600"/>
              <a:gd name="connsiteY267" fmla="*/ 3076820 h 6858000"/>
              <a:gd name="connsiteX268" fmla="*/ 5425627 w 7467600"/>
              <a:gd name="connsiteY268" fmla="*/ 2954192 h 6858000"/>
              <a:gd name="connsiteX269" fmla="*/ 5470770 w 7467600"/>
              <a:gd name="connsiteY269" fmla="*/ 3005435 h 6858000"/>
              <a:gd name="connsiteX270" fmla="*/ 5519779 w 7467600"/>
              <a:gd name="connsiteY270" fmla="*/ 4359223 h 6858000"/>
              <a:gd name="connsiteX271" fmla="*/ 5520293 w 7467600"/>
              <a:gd name="connsiteY271" fmla="*/ 4360602 h 6858000"/>
              <a:gd name="connsiteX272" fmla="*/ 5767221 w 7467600"/>
              <a:gd name="connsiteY272" fmla="*/ 4665564 h 6858000"/>
              <a:gd name="connsiteX273" fmla="*/ 6937169 w 7467600"/>
              <a:gd name="connsiteY273" fmla="*/ 4815941 h 6858000"/>
              <a:gd name="connsiteX274" fmla="*/ 6953922 w 7467600"/>
              <a:gd name="connsiteY274" fmla="*/ 4890068 h 6858000"/>
              <a:gd name="connsiteX275" fmla="*/ 6071359 w 7467600"/>
              <a:gd name="connsiteY275" fmla="*/ 4770770 h 6858000"/>
              <a:gd name="connsiteX276" fmla="*/ 6038839 w 7467600"/>
              <a:gd name="connsiteY276" fmla="*/ 4764474 h 6858000"/>
              <a:gd name="connsiteX277" fmla="*/ 6038706 w 7467600"/>
              <a:gd name="connsiteY277" fmla="*/ 4763847 h 6858000"/>
              <a:gd name="connsiteX278" fmla="*/ 6037784 w 7467600"/>
              <a:gd name="connsiteY278" fmla="*/ 4764270 h 6858000"/>
              <a:gd name="connsiteX279" fmla="*/ 6038839 w 7467600"/>
              <a:gd name="connsiteY279" fmla="*/ 4764474 h 6858000"/>
              <a:gd name="connsiteX280" fmla="*/ 6040338 w 7467600"/>
              <a:gd name="connsiteY280" fmla="*/ 4771418 h 6858000"/>
              <a:gd name="connsiteX281" fmla="*/ 6024488 w 7467600"/>
              <a:gd name="connsiteY281" fmla="*/ 4809903 h 6858000"/>
              <a:gd name="connsiteX282" fmla="*/ 5599771 w 7467600"/>
              <a:gd name="connsiteY282" fmla="*/ 5509652 h 6858000"/>
              <a:gd name="connsiteX283" fmla="*/ 5548843 w 7467600"/>
              <a:gd name="connsiteY283" fmla="*/ 5563845 h 6858000"/>
              <a:gd name="connsiteX284" fmla="*/ 5940952 w 7467600"/>
              <a:gd name="connsiteY284" fmla="*/ 6250028 h 6858000"/>
              <a:gd name="connsiteX285" fmla="*/ 6043441 w 7467600"/>
              <a:gd name="connsiteY285" fmla="*/ 6665847 h 6858000"/>
              <a:gd name="connsiteX286" fmla="*/ 6093432 w 7467600"/>
              <a:gd name="connsiteY286" fmla="*/ 6858000 h 6858000"/>
              <a:gd name="connsiteX287" fmla="*/ 6034344 w 7467600"/>
              <a:gd name="connsiteY287" fmla="*/ 6858000 h 6858000"/>
              <a:gd name="connsiteX288" fmla="*/ 6026679 w 7467600"/>
              <a:gd name="connsiteY288" fmla="*/ 6836959 h 6858000"/>
              <a:gd name="connsiteX289" fmla="*/ 5800441 w 7467600"/>
              <a:gd name="connsiteY289" fmla="*/ 6335286 h 6858000"/>
              <a:gd name="connsiteX290" fmla="*/ 5526562 w 7467600"/>
              <a:gd name="connsiteY290" fmla="*/ 5705388 h 6858000"/>
              <a:gd name="connsiteX291" fmla="*/ 5519640 w 7467600"/>
              <a:gd name="connsiteY291" fmla="*/ 5683774 h 6858000"/>
              <a:gd name="connsiteX292" fmla="*/ 5844559 w 7467600"/>
              <a:gd name="connsiteY292" fmla="*/ 6553349 h 6858000"/>
              <a:gd name="connsiteX293" fmla="*/ 5975994 w 7467600"/>
              <a:gd name="connsiteY293" fmla="*/ 6858000 h 6858000"/>
              <a:gd name="connsiteX294" fmla="*/ 5898547 w 7467600"/>
              <a:gd name="connsiteY294" fmla="*/ 6858000 h 6858000"/>
              <a:gd name="connsiteX295" fmla="*/ 5682041 w 7467600"/>
              <a:gd name="connsiteY295" fmla="*/ 6355860 h 6858000"/>
              <a:gd name="connsiteX296" fmla="*/ 5461758 w 7467600"/>
              <a:gd name="connsiteY296" fmla="*/ 5820220 h 6858000"/>
              <a:gd name="connsiteX297" fmla="*/ 5237282 w 7467600"/>
              <a:gd name="connsiteY297" fmla="*/ 6579086 h 6858000"/>
              <a:gd name="connsiteX298" fmla="*/ 5115009 w 7467600"/>
              <a:gd name="connsiteY298" fmla="*/ 6858000 h 6858000"/>
              <a:gd name="connsiteX299" fmla="*/ 5028074 w 7467600"/>
              <a:gd name="connsiteY299" fmla="*/ 6858000 h 6858000"/>
              <a:gd name="connsiteX300" fmla="*/ 5079508 w 7467600"/>
              <a:gd name="connsiteY300" fmla="*/ 6749074 h 6858000"/>
              <a:gd name="connsiteX301" fmla="*/ 5371846 w 7467600"/>
              <a:gd name="connsiteY301" fmla="*/ 5924413 h 6858000"/>
              <a:gd name="connsiteX302" fmla="*/ 5270512 w 7467600"/>
              <a:gd name="connsiteY302" fmla="*/ 6138975 h 6858000"/>
              <a:gd name="connsiteX303" fmla="*/ 5062409 w 7467600"/>
              <a:gd name="connsiteY303" fmla="*/ 6653544 h 6858000"/>
              <a:gd name="connsiteX304" fmla="*/ 5036628 w 7467600"/>
              <a:gd name="connsiteY304" fmla="*/ 6754247 h 6858000"/>
              <a:gd name="connsiteX305" fmla="*/ 5009112 w 7467600"/>
              <a:gd name="connsiteY305" fmla="*/ 6858000 h 6858000"/>
              <a:gd name="connsiteX306" fmla="*/ 4976679 w 7467600"/>
              <a:gd name="connsiteY306" fmla="*/ 6858000 h 6858000"/>
              <a:gd name="connsiteX307" fmla="*/ 5006537 w 7467600"/>
              <a:gd name="connsiteY307" fmla="*/ 6747068 h 6858000"/>
              <a:gd name="connsiteX308" fmla="*/ 5032723 w 7467600"/>
              <a:gd name="connsiteY308" fmla="*/ 6644957 h 6858000"/>
              <a:gd name="connsiteX309" fmla="*/ 5242949 w 7467600"/>
              <a:gd name="connsiteY309" fmla="*/ 6125175 h 6858000"/>
              <a:gd name="connsiteX310" fmla="*/ 5286321 w 7467600"/>
              <a:gd name="connsiteY310" fmla="*/ 6033555 h 6858000"/>
              <a:gd name="connsiteX311" fmla="*/ 5008210 w 7467600"/>
              <a:gd name="connsiteY311" fmla="*/ 6649194 h 6858000"/>
              <a:gd name="connsiteX312" fmla="*/ 4986321 w 7467600"/>
              <a:gd name="connsiteY312" fmla="*/ 6765687 h 6858000"/>
              <a:gd name="connsiteX313" fmla="*/ 4973474 w 7467600"/>
              <a:gd name="connsiteY313" fmla="*/ 6858000 h 6858000"/>
              <a:gd name="connsiteX314" fmla="*/ 4907178 w 7467600"/>
              <a:gd name="connsiteY314" fmla="*/ 6858000 h 6858000"/>
              <a:gd name="connsiteX315" fmla="*/ 4910810 w 7467600"/>
              <a:gd name="connsiteY315" fmla="*/ 6829660 h 6858000"/>
              <a:gd name="connsiteX316" fmla="*/ 4987461 w 7467600"/>
              <a:gd name="connsiteY316" fmla="*/ 6432994 h 6858000"/>
              <a:gd name="connsiteX317" fmla="*/ 5179262 w 7467600"/>
              <a:gd name="connsiteY317" fmla="*/ 6035044 h 6858000"/>
              <a:gd name="connsiteX318" fmla="*/ 4689678 w 7467600"/>
              <a:gd name="connsiteY318" fmla="*/ 6440241 h 6858000"/>
              <a:gd name="connsiteX319" fmla="*/ 4477543 w 7467600"/>
              <a:gd name="connsiteY319" fmla="*/ 6674836 h 6858000"/>
              <a:gd name="connsiteX320" fmla="*/ 4329957 w 7467600"/>
              <a:gd name="connsiteY320" fmla="*/ 6858000 h 6858000"/>
              <a:gd name="connsiteX321" fmla="*/ 4218595 w 7467600"/>
              <a:gd name="connsiteY321" fmla="*/ 6858000 h 6858000"/>
              <a:gd name="connsiteX322" fmla="*/ 4368888 w 7467600"/>
              <a:gd name="connsiteY322" fmla="*/ 6668412 h 6858000"/>
              <a:gd name="connsiteX323" fmla="*/ 4563091 w 7467600"/>
              <a:gd name="connsiteY323" fmla="*/ 6442508 h 6858000"/>
              <a:gd name="connsiteX324" fmla="*/ 5387324 w 7467600"/>
              <a:gd name="connsiteY324" fmla="*/ 5705830 h 6858000"/>
              <a:gd name="connsiteX325" fmla="*/ 5073620 w 7467600"/>
              <a:gd name="connsiteY325" fmla="*/ 5955437 h 6858000"/>
              <a:gd name="connsiteX326" fmla="*/ 4689789 w 7467600"/>
              <a:gd name="connsiteY326" fmla="*/ 6268382 h 6858000"/>
              <a:gd name="connsiteX327" fmla="*/ 4418722 w 7467600"/>
              <a:gd name="connsiteY327" fmla="*/ 6570886 h 6858000"/>
              <a:gd name="connsiteX328" fmla="*/ 4214944 w 7467600"/>
              <a:gd name="connsiteY328" fmla="*/ 6858000 h 6858000"/>
              <a:gd name="connsiteX329" fmla="*/ 4177898 w 7467600"/>
              <a:gd name="connsiteY329" fmla="*/ 6858000 h 6858000"/>
              <a:gd name="connsiteX330" fmla="*/ 4391597 w 7467600"/>
              <a:gd name="connsiteY330" fmla="*/ 6556370 h 6858000"/>
              <a:gd name="connsiteX331" fmla="*/ 4668889 w 7467600"/>
              <a:gd name="connsiteY331" fmla="*/ 6246399 h 6858000"/>
              <a:gd name="connsiteX332" fmla="*/ 5055427 w 7467600"/>
              <a:gd name="connsiteY332" fmla="*/ 5931476 h 6858000"/>
              <a:gd name="connsiteX333" fmla="*/ 5371814 w 7467600"/>
              <a:gd name="connsiteY333" fmla="*/ 5678975 h 6858000"/>
              <a:gd name="connsiteX334" fmla="*/ 4987918 w 7467600"/>
              <a:gd name="connsiteY334" fmla="*/ 5838701 h 6858000"/>
              <a:gd name="connsiteX335" fmla="*/ 4317146 w 7467600"/>
              <a:gd name="connsiteY335" fmla="*/ 6587716 h 6858000"/>
              <a:gd name="connsiteX336" fmla="*/ 4171627 w 7467600"/>
              <a:gd name="connsiteY336" fmla="*/ 6858000 h 6858000"/>
              <a:gd name="connsiteX337" fmla="*/ 4081585 w 7467600"/>
              <a:gd name="connsiteY337" fmla="*/ 6858000 h 6858000"/>
              <a:gd name="connsiteX338" fmla="*/ 4238603 w 7467600"/>
              <a:gd name="connsiteY338" fmla="*/ 6559341 h 6858000"/>
              <a:gd name="connsiteX339" fmla="*/ 4778333 w 7467600"/>
              <a:gd name="connsiteY339" fmla="*/ 5873626 h 6858000"/>
              <a:gd name="connsiteX340" fmla="*/ 5414185 w 7467600"/>
              <a:gd name="connsiteY340" fmla="*/ 5573882 h 6858000"/>
              <a:gd name="connsiteX341" fmla="*/ 5959648 w 7467600"/>
              <a:gd name="connsiteY341" fmla="*/ 4760797 h 6858000"/>
              <a:gd name="connsiteX342" fmla="*/ 5355019 w 7467600"/>
              <a:gd name="connsiteY342" fmla="*/ 4734672 h 6858000"/>
              <a:gd name="connsiteX343" fmla="*/ 5083565 w 7467600"/>
              <a:gd name="connsiteY343" fmla="*/ 5179121 h 6858000"/>
              <a:gd name="connsiteX344" fmla="*/ 4713577 w 7467600"/>
              <a:gd name="connsiteY344" fmla="*/ 5616803 h 6858000"/>
              <a:gd name="connsiteX345" fmla="*/ 3989559 w 7467600"/>
              <a:gd name="connsiteY345" fmla="*/ 6145945 h 6858000"/>
              <a:gd name="connsiteX346" fmla="*/ 3939824 w 7467600"/>
              <a:gd name="connsiteY346" fmla="*/ 6066900 h 6858000"/>
              <a:gd name="connsiteX347" fmla="*/ 4584537 w 7467600"/>
              <a:gd name="connsiteY347" fmla="*/ 5324826 h 6858000"/>
              <a:gd name="connsiteX348" fmla="*/ 5037105 w 7467600"/>
              <a:gd name="connsiteY348" fmla="*/ 5088765 h 6858000"/>
              <a:gd name="connsiteX349" fmla="*/ 5039930 w 7467600"/>
              <a:gd name="connsiteY349" fmla="*/ 5089585 h 6858000"/>
              <a:gd name="connsiteX350" fmla="*/ 5263764 w 7467600"/>
              <a:gd name="connsiteY350" fmla="*/ 4735525 h 6858000"/>
              <a:gd name="connsiteX351" fmla="*/ 4086300 w 7467600"/>
              <a:gd name="connsiteY351" fmla="*/ 4884599 h 6858000"/>
              <a:gd name="connsiteX352" fmla="*/ 4085485 w 7467600"/>
              <a:gd name="connsiteY352" fmla="*/ 4899070 h 6858000"/>
              <a:gd name="connsiteX353" fmla="*/ 3871915 w 7467600"/>
              <a:gd name="connsiteY353" fmla="*/ 5253645 h 6858000"/>
              <a:gd name="connsiteX354" fmla="*/ 3799374 w 7467600"/>
              <a:gd name="connsiteY354" fmla="*/ 5466127 h 6858000"/>
              <a:gd name="connsiteX355" fmla="*/ 3498850 w 7467600"/>
              <a:gd name="connsiteY355" fmla="*/ 6661888 h 6858000"/>
              <a:gd name="connsiteX356" fmla="*/ 3399216 w 7467600"/>
              <a:gd name="connsiteY356" fmla="*/ 6858000 h 6858000"/>
              <a:gd name="connsiteX357" fmla="*/ 3303688 w 7467600"/>
              <a:gd name="connsiteY357" fmla="*/ 6858000 h 6858000"/>
              <a:gd name="connsiteX358" fmla="*/ 3391774 w 7467600"/>
              <a:gd name="connsiteY358" fmla="*/ 6697181 h 6858000"/>
              <a:gd name="connsiteX359" fmla="*/ 3735540 w 7467600"/>
              <a:gd name="connsiteY359" fmla="*/ 5546923 h 6858000"/>
              <a:gd name="connsiteX360" fmla="*/ 3729438 w 7467600"/>
              <a:gd name="connsiteY360" fmla="*/ 5569058 h 6858000"/>
              <a:gd name="connsiteX361" fmla="*/ 3707782 w 7467600"/>
              <a:gd name="connsiteY361" fmla="*/ 5644908 h 6858000"/>
              <a:gd name="connsiteX362" fmla="*/ 3583827 w 7467600"/>
              <a:gd name="connsiteY362" fmla="*/ 6039215 h 6858000"/>
              <a:gd name="connsiteX363" fmla="*/ 3547861 w 7467600"/>
              <a:gd name="connsiteY363" fmla="*/ 6129609 h 6858000"/>
              <a:gd name="connsiteX364" fmla="*/ 3490905 w 7467600"/>
              <a:gd name="connsiteY364" fmla="*/ 6277660 h 6858000"/>
              <a:gd name="connsiteX365" fmla="*/ 3455859 w 7467600"/>
              <a:gd name="connsiteY365" fmla="*/ 6391301 h 6858000"/>
              <a:gd name="connsiteX366" fmla="*/ 3429112 w 7467600"/>
              <a:gd name="connsiteY366" fmla="*/ 6479469 h 6858000"/>
              <a:gd name="connsiteX367" fmla="*/ 3304862 w 7467600"/>
              <a:gd name="connsiteY367" fmla="*/ 6796476 h 6858000"/>
              <a:gd name="connsiteX368" fmla="*/ 3276071 w 7467600"/>
              <a:gd name="connsiteY368" fmla="*/ 6858000 h 6858000"/>
              <a:gd name="connsiteX369" fmla="*/ 3240805 w 7467600"/>
              <a:gd name="connsiteY369" fmla="*/ 6858000 h 6858000"/>
              <a:gd name="connsiteX370" fmla="*/ 3275917 w 7467600"/>
              <a:gd name="connsiteY370" fmla="*/ 6783192 h 6858000"/>
              <a:gd name="connsiteX371" fmla="*/ 3399358 w 7467600"/>
              <a:gd name="connsiteY371" fmla="*/ 6469011 h 6858000"/>
              <a:gd name="connsiteX372" fmla="*/ 3425650 w 7467600"/>
              <a:gd name="connsiteY372" fmla="*/ 6381333 h 6858000"/>
              <a:gd name="connsiteX373" fmla="*/ 3460661 w 7467600"/>
              <a:gd name="connsiteY373" fmla="*/ 6266763 h 6858000"/>
              <a:gd name="connsiteX374" fmla="*/ 3518021 w 7467600"/>
              <a:gd name="connsiteY374" fmla="*/ 6117298 h 6858000"/>
              <a:gd name="connsiteX375" fmla="*/ 3554035 w 7467600"/>
              <a:gd name="connsiteY375" fmla="*/ 6027832 h 6858000"/>
              <a:gd name="connsiteX376" fmla="*/ 3677174 w 7467600"/>
              <a:gd name="connsiteY376" fmla="*/ 5636351 h 6858000"/>
              <a:gd name="connsiteX377" fmla="*/ 3698819 w 7467600"/>
              <a:gd name="connsiteY377" fmla="*/ 5560503 h 6858000"/>
              <a:gd name="connsiteX378" fmla="*/ 3702094 w 7467600"/>
              <a:gd name="connsiteY378" fmla="*/ 5549194 h 6858000"/>
              <a:gd name="connsiteX379" fmla="*/ 3398355 w 7467600"/>
              <a:gd name="connsiteY379" fmla="*/ 6094603 h 6858000"/>
              <a:gd name="connsiteX380" fmla="*/ 3193941 w 7467600"/>
              <a:gd name="connsiteY380" fmla="*/ 6798775 h 6858000"/>
              <a:gd name="connsiteX381" fmla="*/ 3184140 w 7467600"/>
              <a:gd name="connsiteY381" fmla="*/ 6858000 h 6858000"/>
              <a:gd name="connsiteX382" fmla="*/ 3099978 w 7467600"/>
              <a:gd name="connsiteY382" fmla="*/ 6858000 h 6858000"/>
              <a:gd name="connsiteX383" fmla="*/ 3101556 w 7467600"/>
              <a:gd name="connsiteY383" fmla="*/ 6843337 h 6858000"/>
              <a:gd name="connsiteX384" fmla="*/ 3370162 w 7467600"/>
              <a:gd name="connsiteY384" fmla="*/ 5785550 h 6858000"/>
              <a:gd name="connsiteX385" fmla="*/ 3746477 w 7467600"/>
              <a:gd name="connsiteY385" fmla="*/ 5377889 h 6858000"/>
              <a:gd name="connsiteX386" fmla="*/ 3863399 w 7467600"/>
              <a:gd name="connsiteY386" fmla="*/ 5087257 h 6858000"/>
              <a:gd name="connsiteX387" fmla="*/ 3968712 w 7467600"/>
              <a:gd name="connsiteY387" fmla="*/ 4913989 h 6858000"/>
              <a:gd name="connsiteX388" fmla="*/ 2792390 w 7467600"/>
              <a:gd name="connsiteY388" fmla="*/ 5382974 h 6858000"/>
              <a:gd name="connsiteX389" fmla="*/ 2714982 w 7467600"/>
              <a:gd name="connsiteY389" fmla="*/ 5427051 h 6858000"/>
              <a:gd name="connsiteX390" fmla="*/ 2813361 w 7467600"/>
              <a:gd name="connsiteY390" fmla="*/ 6023912 h 6858000"/>
              <a:gd name="connsiteX391" fmla="*/ 2688430 w 7467600"/>
              <a:gd name="connsiteY391" fmla="*/ 6801564 h 6858000"/>
              <a:gd name="connsiteX392" fmla="*/ 2629626 w 7467600"/>
              <a:gd name="connsiteY392" fmla="*/ 6763394 h 6858000"/>
              <a:gd name="connsiteX393" fmla="*/ 2565328 w 7467600"/>
              <a:gd name="connsiteY393" fmla="*/ 5516399 h 6858000"/>
              <a:gd name="connsiteX394" fmla="*/ 1922999 w 7467600"/>
              <a:gd name="connsiteY394" fmla="*/ 5980343 h 6858000"/>
              <a:gd name="connsiteX395" fmla="*/ 1950261 w 7467600"/>
              <a:gd name="connsiteY395" fmla="*/ 6405858 h 6858000"/>
              <a:gd name="connsiteX396" fmla="*/ 2365554 w 7467600"/>
              <a:gd name="connsiteY396" fmla="*/ 6759107 h 6858000"/>
              <a:gd name="connsiteX397" fmla="*/ 2424142 w 7467600"/>
              <a:gd name="connsiteY397" fmla="*/ 6858000 h 6858000"/>
              <a:gd name="connsiteX398" fmla="*/ 2395994 w 7467600"/>
              <a:gd name="connsiteY398" fmla="*/ 6858000 h 6858000"/>
              <a:gd name="connsiteX399" fmla="*/ 2392863 w 7467600"/>
              <a:gd name="connsiteY399" fmla="*/ 6852964 h 6858000"/>
              <a:gd name="connsiteX400" fmla="*/ 2017589 w 7467600"/>
              <a:gd name="connsiteY400" fmla="*/ 6493982 h 6858000"/>
              <a:gd name="connsiteX401" fmla="*/ 2147336 w 7467600"/>
              <a:gd name="connsiteY401" fmla="*/ 6594052 h 6858000"/>
              <a:gd name="connsiteX402" fmla="*/ 2207047 w 7467600"/>
              <a:gd name="connsiteY402" fmla="*/ 6654540 h 6858000"/>
              <a:gd name="connsiteX403" fmla="*/ 2299106 w 7467600"/>
              <a:gd name="connsiteY403" fmla="*/ 6778931 h 6858000"/>
              <a:gd name="connsiteX404" fmla="*/ 2314430 w 7467600"/>
              <a:gd name="connsiteY404" fmla="*/ 6801144 h 6858000"/>
              <a:gd name="connsiteX405" fmla="*/ 2352406 w 7467600"/>
              <a:gd name="connsiteY405" fmla="*/ 6858000 h 6858000"/>
              <a:gd name="connsiteX406" fmla="*/ 2314492 w 7467600"/>
              <a:gd name="connsiteY406" fmla="*/ 6858000 h 6858000"/>
              <a:gd name="connsiteX407" fmla="*/ 2288095 w 7467600"/>
              <a:gd name="connsiteY407" fmla="*/ 6818030 h 6858000"/>
              <a:gd name="connsiteX408" fmla="*/ 2272768 w 7467600"/>
              <a:gd name="connsiteY408" fmla="*/ 6795822 h 6858000"/>
              <a:gd name="connsiteX409" fmla="*/ 2182715 w 7467600"/>
              <a:gd name="connsiteY409" fmla="*/ 6675071 h 6858000"/>
              <a:gd name="connsiteX410" fmla="*/ 2032061 w 7467600"/>
              <a:gd name="connsiteY410" fmla="*/ 6541380 h 6858000"/>
              <a:gd name="connsiteX411" fmla="*/ 2257220 w 7467600"/>
              <a:gd name="connsiteY411" fmla="*/ 6826257 h 6858000"/>
              <a:gd name="connsiteX412" fmla="*/ 2281324 w 7467600"/>
              <a:gd name="connsiteY412" fmla="*/ 6858000 h 6858000"/>
              <a:gd name="connsiteX413" fmla="*/ 2242860 w 7467600"/>
              <a:gd name="connsiteY413" fmla="*/ 6858000 h 6858000"/>
              <a:gd name="connsiteX414" fmla="*/ 2232818 w 7467600"/>
              <a:gd name="connsiteY414" fmla="*/ 6844926 h 6858000"/>
              <a:gd name="connsiteX415" fmla="*/ 1990172 w 7467600"/>
              <a:gd name="connsiteY415" fmla="*/ 6542121 h 6858000"/>
              <a:gd name="connsiteX416" fmla="*/ 2124090 w 7467600"/>
              <a:gd name="connsiteY416" fmla="*/ 6761017 h 6858000"/>
              <a:gd name="connsiteX417" fmla="*/ 2200380 w 7467600"/>
              <a:gd name="connsiteY417" fmla="*/ 6858000 h 6858000"/>
              <a:gd name="connsiteX418" fmla="*/ 2147507 w 7467600"/>
              <a:gd name="connsiteY418" fmla="*/ 6858000 h 6858000"/>
              <a:gd name="connsiteX419" fmla="*/ 2070668 w 7467600"/>
              <a:gd name="connsiteY419" fmla="*/ 6761520 h 6858000"/>
              <a:gd name="connsiteX420" fmla="*/ 1975142 w 7467600"/>
              <a:gd name="connsiteY420" fmla="*/ 6585570 h 6858000"/>
              <a:gd name="connsiteX421" fmla="*/ 2050035 w 7467600"/>
              <a:gd name="connsiteY421" fmla="*/ 6813345 h 6858000"/>
              <a:gd name="connsiteX422" fmla="*/ 2063025 w 7467600"/>
              <a:gd name="connsiteY422" fmla="*/ 6858000 h 6858000"/>
              <a:gd name="connsiteX423" fmla="*/ 2021675 w 7467600"/>
              <a:gd name="connsiteY423" fmla="*/ 6858000 h 6858000"/>
              <a:gd name="connsiteX424" fmla="*/ 2019308 w 7467600"/>
              <a:gd name="connsiteY424" fmla="*/ 6847118 h 6858000"/>
              <a:gd name="connsiteX425" fmla="*/ 1938835 w 7467600"/>
              <a:gd name="connsiteY425" fmla="*/ 6551160 h 6858000"/>
              <a:gd name="connsiteX426" fmla="*/ 1953230 w 7467600"/>
              <a:gd name="connsiteY426" fmla="*/ 6759699 h 6858000"/>
              <a:gd name="connsiteX427" fmla="*/ 1956763 w 7467600"/>
              <a:gd name="connsiteY427" fmla="*/ 6778191 h 6858000"/>
              <a:gd name="connsiteX428" fmla="*/ 1967925 w 7467600"/>
              <a:gd name="connsiteY428" fmla="*/ 6858000 h 6858000"/>
              <a:gd name="connsiteX429" fmla="*/ 1936622 w 7467600"/>
              <a:gd name="connsiteY429" fmla="*/ 6858000 h 6858000"/>
              <a:gd name="connsiteX430" fmla="*/ 1926261 w 7467600"/>
              <a:gd name="connsiteY430" fmla="*/ 6784064 h 6858000"/>
              <a:gd name="connsiteX431" fmla="*/ 1922724 w 7467600"/>
              <a:gd name="connsiteY431" fmla="*/ 6765577 h 6858000"/>
              <a:gd name="connsiteX432" fmla="*/ 1904650 w 7467600"/>
              <a:gd name="connsiteY432" fmla="*/ 6639616 h 6858000"/>
              <a:gd name="connsiteX433" fmla="*/ 1885273 w 7467600"/>
              <a:gd name="connsiteY433" fmla="*/ 6858000 h 6858000"/>
              <a:gd name="connsiteX434" fmla="*/ 1854363 w 7467600"/>
              <a:gd name="connsiteY434" fmla="*/ 6858000 h 6858000"/>
              <a:gd name="connsiteX435" fmla="*/ 1880391 w 7467600"/>
              <a:gd name="connsiteY435" fmla="*/ 6603796 h 6858000"/>
              <a:gd name="connsiteX436" fmla="*/ 1818273 w 7467600"/>
              <a:gd name="connsiteY436" fmla="*/ 6715729 h 6858000"/>
              <a:gd name="connsiteX437" fmla="*/ 1794691 w 7467600"/>
              <a:gd name="connsiteY437" fmla="*/ 6843239 h 6858000"/>
              <a:gd name="connsiteX438" fmla="*/ 1794914 w 7467600"/>
              <a:gd name="connsiteY438" fmla="*/ 6858000 h 6858000"/>
              <a:gd name="connsiteX439" fmla="*/ 1746128 w 7467600"/>
              <a:gd name="connsiteY439" fmla="*/ 6858000 h 6858000"/>
              <a:gd name="connsiteX440" fmla="*/ 1753934 w 7467600"/>
              <a:gd name="connsiteY440" fmla="*/ 6724796 h 6858000"/>
              <a:gd name="connsiteX441" fmla="*/ 1792053 w 7467600"/>
              <a:gd name="connsiteY441" fmla="*/ 6572396 h 6858000"/>
              <a:gd name="connsiteX442" fmla="*/ 1862248 w 7467600"/>
              <a:gd name="connsiteY442" fmla="*/ 6266397 h 6858000"/>
              <a:gd name="connsiteX443" fmla="*/ 1862250 w 7467600"/>
              <a:gd name="connsiteY443" fmla="*/ 6033531 h 6858000"/>
              <a:gd name="connsiteX444" fmla="*/ 1211999 w 7467600"/>
              <a:gd name="connsiteY444" fmla="*/ 6683610 h 6858000"/>
              <a:gd name="connsiteX445" fmla="*/ 1213266 w 7467600"/>
              <a:gd name="connsiteY445" fmla="*/ 6691947 h 6858000"/>
              <a:gd name="connsiteX446" fmla="*/ 1203370 w 7467600"/>
              <a:gd name="connsiteY446" fmla="*/ 6850676 h 6858000"/>
              <a:gd name="connsiteX447" fmla="*/ 1203671 w 7467600"/>
              <a:gd name="connsiteY447" fmla="*/ 6858000 h 6858000"/>
              <a:gd name="connsiteX448" fmla="*/ 1143180 w 7467600"/>
              <a:gd name="connsiteY448" fmla="*/ 6858000 h 6858000"/>
              <a:gd name="connsiteX449" fmla="*/ 1142176 w 7467600"/>
              <a:gd name="connsiteY449" fmla="*/ 6766045 h 6858000"/>
              <a:gd name="connsiteX450" fmla="*/ 1067484 w 7467600"/>
              <a:gd name="connsiteY450" fmla="*/ 6858000 h 6858000"/>
              <a:gd name="connsiteX451" fmla="*/ 953928 w 7467600"/>
              <a:gd name="connsiteY451" fmla="*/ 6858000 h 6858000"/>
              <a:gd name="connsiteX452" fmla="*/ 959715 w 7467600"/>
              <a:gd name="connsiteY452" fmla="*/ 6850185 h 6858000"/>
              <a:gd name="connsiteX453" fmla="*/ 1483788 w 7467600"/>
              <a:gd name="connsiteY453" fmla="*/ 6259174 h 6858000"/>
              <a:gd name="connsiteX454" fmla="*/ 1100671 w 7467600"/>
              <a:gd name="connsiteY454" fmla="*/ 6252137 h 6858000"/>
              <a:gd name="connsiteX455" fmla="*/ 1090144 w 7467600"/>
              <a:gd name="connsiteY455" fmla="*/ 6256748 h 6858000"/>
              <a:gd name="connsiteX456" fmla="*/ 1095872 w 7467600"/>
              <a:gd name="connsiteY456" fmla="*/ 6271892 h 6858000"/>
              <a:gd name="connsiteX457" fmla="*/ 262785 w 7467600"/>
              <a:gd name="connsiteY457" fmla="*/ 6845450 h 6858000"/>
              <a:gd name="connsiteX458" fmla="*/ 209968 w 7467600"/>
              <a:gd name="connsiteY458" fmla="*/ 6770713 h 6858000"/>
              <a:gd name="connsiteX459" fmla="*/ 873460 w 7467600"/>
              <a:gd name="connsiteY459" fmla="*/ 6253768 h 6858000"/>
              <a:gd name="connsiteX460" fmla="*/ 192686 w 7467600"/>
              <a:gd name="connsiteY460" fmla="*/ 5849257 h 6858000"/>
              <a:gd name="connsiteX461" fmla="*/ 4696 w 7467600"/>
              <a:gd name="connsiteY461" fmla="*/ 5697668 h 6858000"/>
              <a:gd name="connsiteX462" fmla="*/ 0 w 7467600"/>
              <a:gd name="connsiteY462" fmla="*/ 5689984 h 6858000"/>
              <a:gd name="connsiteX463" fmla="*/ 0 w 7467600"/>
              <a:gd name="connsiteY463" fmla="*/ 5513472 h 6858000"/>
              <a:gd name="connsiteX464" fmla="*/ 174101 w 7467600"/>
              <a:gd name="connsiteY464" fmla="*/ 5620277 h 6858000"/>
              <a:gd name="connsiteX465" fmla="*/ 891800 w 7467600"/>
              <a:gd name="connsiteY465" fmla="*/ 6036935 h 6858000"/>
              <a:gd name="connsiteX466" fmla="*/ 1072219 w 7467600"/>
              <a:gd name="connsiteY466" fmla="*/ 6169443 h 6858000"/>
              <a:gd name="connsiteX467" fmla="*/ 1074117 w 7467600"/>
              <a:gd name="connsiteY467" fmla="*/ 6170301 h 6858000"/>
              <a:gd name="connsiteX468" fmla="*/ 1083114 w 7467600"/>
              <a:gd name="connsiteY468" fmla="*/ 6174131 h 6858000"/>
              <a:gd name="connsiteX469" fmla="*/ 1543010 w 7467600"/>
              <a:gd name="connsiteY469" fmla="*/ 6191140 h 6858000"/>
              <a:gd name="connsiteX470" fmla="*/ 1551080 w 7467600"/>
              <a:gd name="connsiteY470" fmla="*/ 6195006 h 6858000"/>
              <a:gd name="connsiteX471" fmla="*/ 2345443 w 7467600"/>
              <a:gd name="connsiteY471" fmla="*/ 5549882 h 6858000"/>
              <a:gd name="connsiteX472" fmla="*/ 1721499 w 7467600"/>
              <a:gd name="connsiteY472" fmla="*/ 5599969 h 6858000"/>
              <a:gd name="connsiteX473" fmla="*/ 767716 w 7467600"/>
              <a:gd name="connsiteY473" fmla="*/ 5472768 h 6858000"/>
              <a:gd name="connsiteX474" fmla="*/ 722147 w 7467600"/>
              <a:gd name="connsiteY474" fmla="*/ 5393091 h 6858000"/>
              <a:gd name="connsiteX475" fmla="*/ 1485552 w 7467600"/>
              <a:gd name="connsiteY475" fmla="*/ 5313202 h 6858000"/>
              <a:gd name="connsiteX476" fmla="*/ 2143004 w 7467600"/>
              <a:gd name="connsiteY476" fmla="*/ 5402420 h 6858000"/>
              <a:gd name="connsiteX477" fmla="*/ 1933391 w 7467600"/>
              <a:gd name="connsiteY477" fmla="*/ 5156971 h 6858000"/>
              <a:gd name="connsiteX478" fmla="*/ 1827118 w 7467600"/>
              <a:gd name="connsiteY478" fmla="*/ 4968410 h 6858000"/>
              <a:gd name="connsiteX479" fmla="*/ 1837349 w 7467600"/>
              <a:gd name="connsiteY479" fmla="*/ 4956357 h 6858000"/>
              <a:gd name="connsiteX480" fmla="*/ 2162835 w 7467600"/>
              <a:gd name="connsiteY480" fmla="*/ 5187853 h 6858000"/>
              <a:gd name="connsiteX481" fmla="*/ 2257167 w 7467600"/>
              <a:gd name="connsiteY481" fmla="*/ 5462123 h 6858000"/>
              <a:gd name="connsiteX482" fmla="*/ 2261598 w 7467600"/>
              <a:gd name="connsiteY482" fmla="*/ 5467998 h 6858000"/>
              <a:gd name="connsiteX483" fmla="*/ 2437177 w 7467600"/>
              <a:gd name="connsiteY483" fmla="*/ 5479608 h 6858000"/>
              <a:gd name="connsiteX484" fmla="*/ 2445247 w 7467600"/>
              <a:gd name="connsiteY484" fmla="*/ 5483476 h 6858000"/>
              <a:gd name="connsiteX485" fmla="*/ 2743626 w 7467600"/>
              <a:gd name="connsiteY485" fmla="*/ 5304819 h 6858000"/>
              <a:gd name="connsiteX486" fmla="*/ 3048102 w 7467600"/>
              <a:gd name="connsiteY486" fmla="*/ 5150595 h 6858000"/>
              <a:gd name="connsiteX487" fmla="*/ 1799414 w 7467600"/>
              <a:gd name="connsiteY487" fmla="*/ 4694732 h 6858000"/>
              <a:gd name="connsiteX488" fmla="*/ 1771735 w 7467600"/>
              <a:gd name="connsiteY488" fmla="*/ 4619929 h 6858000"/>
              <a:gd name="connsiteX489" fmla="*/ 3104273 w 7467600"/>
              <a:gd name="connsiteY489" fmla="*/ 5076159 h 6858000"/>
              <a:gd name="connsiteX490" fmla="*/ 3113245 w 7467600"/>
              <a:gd name="connsiteY490" fmla="*/ 5090705 h 6858000"/>
              <a:gd name="connsiteX491" fmla="*/ 3126294 w 7467600"/>
              <a:gd name="connsiteY491" fmla="*/ 5114400 h 6858000"/>
              <a:gd name="connsiteX492" fmla="*/ 3937433 w 7467600"/>
              <a:gd name="connsiteY492" fmla="*/ 4830473 h 6858000"/>
              <a:gd name="connsiteX493" fmla="*/ 3590475 w 7467600"/>
              <a:gd name="connsiteY493" fmla="*/ 4597974 h 6858000"/>
              <a:gd name="connsiteX494" fmla="*/ 3100264 w 7467600"/>
              <a:gd name="connsiteY494" fmla="*/ 4579845 h 6858000"/>
              <a:gd name="connsiteX495" fmla="*/ 2183576 w 7467600"/>
              <a:gd name="connsiteY495" fmla="*/ 4227150 h 6858000"/>
              <a:gd name="connsiteX496" fmla="*/ 2151029 w 7467600"/>
              <a:gd name="connsiteY496" fmla="*/ 4146947 h 6858000"/>
              <a:gd name="connsiteX497" fmla="*/ 3563434 w 7467600"/>
              <a:gd name="connsiteY497" fmla="*/ 4469115 h 6858000"/>
              <a:gd name="connsiteX498" fmla="*/ 3177952 w 7467600"/>
              <a:gd name="connsiteY498" fmla="*/ 3657386 h 6858000"/>
              <a:gd name="connsiteX499" fmla="*/ 3189263 w 7467600"/>
              <a:gd name="connsiteY499" fmla="*/ 3625726 h 6858000"/>
              <a:gd name="connsiteX500" fmla="*/ 3560912 w 7467600"/>
              <a:gd name="connsiteY500" fmla="*/ 4079863 h 6858000"/>
              <a:gd name="connsiteX501" fmla="*/ 3626636 w 7467600"/>
              <a:gd name="connsiteY501" fmla="*/ 4512230 h 6858000"/>
              <a:gd name="connsiteX502" fmla="*/ 3653088 w 7467600"/>
              <a:gd name="connsiteY502" fmla="*/ 4521417 h 6858000"/>
              <a:gd name="connsiteX503" fmla="*/ 3988128 w 7467600"/>
              <a:gd name="connsiteY503" fmla="*/ 4817267 h 6858000"/>
              <a:gd name="connsiteX504" fmla="*/ 4830582 w 7467600"/>
              <a:gd name="connsiteY504" fmla="*/ 4676000 h 6858000"/>
              <a:gd name="connsiteX505" fmla="*/ 4830100 w 7467600"/>
              <a:gd name="connsiteY505" fmla="*/ 4675554 h 6858000"/>
              <a:gd name="connsiteX506" fmla="*/ 4036318 w 7467600"/>
              <a:gd name="connsiteY506" fmla="*/ 4147013 h 6858000"/>
              <a:gd name="connsiteX507" fmla="*/ 3432098 w 7467600"/>
              <a:gd name="connsiteY507" fmla="*/ 3537312 h 6858000"/>
              <a:gd name="connsiteX508" fmla="*/ 3446761 w 7467600"/>
              <a:gd name="connsiteY508" fmla="*/ 3461278 h 6858000"/>
              <a:gd name="connsiteX509" fmla="*/ 4419733 w 7467600"/>
              <a:gd name="connsiteY509" fmla="*/ 3963555 h 6858000"/>
              <a:gd name="connsiteX510" fmla="*/ 4781371 w 7467600"/>
              <a:gd name="connsiteY510" fmla="*/ 4458604 h 6858000"/>
              <a:gd name="connsiteX511" fmla="*/ 4780440 w 7467600"/>
              <a:gd name="connsiteY511" fmla="*/ 4470290 h 6858000"/>
              <a:gd name="connsiteX512" fmla="*/ 4898954 w 7467600"/>
              <a:gd name="connsiteY512" fmla="*/ 4662092 h 6858000"/>
              <a:gd name="connsiteX513" fmla="*/ 4900699 w 7467600"/>
              <a:gd name="connsiteY513" fmla="*/ 4670867 h 6858000"/>
              <a:gd name="connsiteX514" fmla="*/ 5714511 w 7467600"/>
              <a:gd name="connsiteY514" fmla="*/ 4663483 h 6858000"/>
              <a:gd name="connsiteX515" fmla="*/ 5464793 w 7467600"/>
              <a:gd name="connsiteY515" fmla="*/ 4393556 h 6858000"/>
              <a:gd name="connsiteX516" fmla="*/ 5461897 w 7467600"/>
              <a:gd name="connsiteY516" fmla="*/ 4390879 h 6858000"/>
              <a:gd name="connsiteX517" fmla="*/ 4294126 w 7467600"/>
              <a:gd name="connsiteY517" fmla="*/ 3303048 h 6858000"/>
              <a:gd name="connsiteX518" fmla="*/ 4305321 w 7467600"/>
              <a:gd name="connsiteY518" fmla="*/ 3256953 h 6858000"/>
              <a:gd name="connsiteX519" fmla="*/ 4949299 w 7467600"/>
              <a:gd name="connsiteY519" fmla="*/ 3766336 h 6858000"/>
              <a:gd name="connsiteX520" fmla="*/ 5291452 w 7467600"/>
              <a:gd name="connsiteY520" fmla="*/ 4076801 h 6858000"/>
              <a:gd name="connsiteX521" fmla="*/ 5434998 w 7467600"/>
              <a:gd name="connsiteY521" fmla="*/ 4254100 h 6858000"/>
              <a:gd name="connsiteX522" fmla="*/ 5351015 w 7467600"/>
              <a:gd name="connsiteY522" fmla="*/ 3760989 h 6858000"/>
              <a:gd name="connsiteX523" fmla="*/ 5413780 w 7467600"/>
              <a:gd name="connsiteY523" fmla="*/ 2966265 h 6858000"/>
              <a:gd name="connsiteX524" fmla="*/ 5425627 w 7467600"/>
              <a:gd name="connsiteY524" fmla="*/ 2954192 h 6858000"/>
              <a:gd name="connsiteX525" fmla="*/ 6604735 w 7467600"/>
              <a:gd name="connsiteY525" fmla="*/ 2041381 h 6858000"/>
              <a:gd name="connsiteX526" fmla="*/ 7204487 w 7467600"/>
              <a:gd name="connsiteY526" fmla="*/ 2742112 h 6858000"/>
              <a:gd name="connsiteX527" fmla="*/ 7131592 w 7467600"/>
              <a:gd name="connsiteY527" fmla="*/ 2672096 h 6858000"/>
              <a:gd name="connsiteX528" fmla="*/ 6996344 w 7467600"/>
              <a:gd name="connsiteY528" fmla="*/ 2518310 h 6858000"/>
              <a:gd name="connsiteX529" fmla="*/ 6735495 w 7467600"/>
              <a:gd name="connsiteY529" fmla="*/ 2196890 h 6858000"/>
              <a:gd name="connsiteX530" fmla="*/ 6721901 w 7467600"/>
              <a:gd name="connsiteY530" fmla="*/ 2179274 h 6858000"/>
              <a:gd name="connsiteX531" fmla="*/ 6604735 w 7467600"/>
              <a:gd name="connsiteY531" fmla="*/ 2041381 h 6858000"/>
              <a:gd name="connsiteX532" fmla="*/ 6591670 w 7467600"/>
              <a:gd name="connsiteY532" fmla="*/ 1988277 h 6858000"/>
              <a:gd name="connsiteX533" fmla="*/ 6747349 w 7467600"/>
              <a:gd name="connsiteY533" fmla="*/ 2160069 h 6858000"/>
              <a:gd name="connsiteX534" fmla="*/ 6760943 w 7467600"/>
              <a:gd name="connsiteY534" fmla="*/ 2177686 h 6858000"/>
              <a:gd name="connsiteX535" fmla="*/ 7021065 w 7467600"/>
              <a:gd name="connsiteY535" fmla="*/ 2498102 h 6858000"/>
              <a:gd name="connsiteX536" fmla="*/ 7155223 w 7467600"/>
              <a:gd name="connsiteY536" fmla="*/ 2650386 h 6858000"/>
              <a:gd name="connsiteX537" fmla="*/ 7203167 w 7467600"/>
              <a:gd name="connsiteY537" fmla="*/ 2697288 h 6858000"/>
              <a:gd name="connsiteX538" fmla="*/ 6937703 w 7467600"/>
              <a:gd name="connsiteY538" fmla="*/ 2321981 h 6858000"/>
              <a:gd name="connsiteX539" fmla="*/ 6591670 w 7467600"/>
              <a:gd name="connsiteY539" fmla="*/ 1988277 h 6858000"/>
              <a:gd name="connsiteX540" fmla="*/ 5798671 w 7467600"/>
              <a:gd name="connsiteY540" fmla="*/ 1981601 h 6858000"/>
              <a:gd name="connsiteX541" fmla="*/ 5754709 w 7467600"/>
              <a:gd name="connsiteY541" fmla="*/ 2071454 h 6858000"/>
              <a:gd name="connsiteX542" fmla="*/ 5763044 w 7467600"/>
              <a:gd name="connsiteY542" fmla="*/ 2842206 h 6858000"/>
              <a:gd name="connsiteX543" fmla="*/ 5764974 w 7467600"/>
              <a:gd name="connsiteY543" fmla="*/ 2799609 h 6858000"/>
              <a:gd name="connsiteX544" fmla="*/ 5767665 w 7467600"/>
              <a:gd name="connsiteY544" fmla="*/ 2666409 h 6858000"/>
              <a:gd name="connsiteX545" fmla="*/ 5763055 w 7467600"/>
              <a:gd name="connsiteY545" fmla="*/ 2579705 h 6858000"/>
              <a:gd name="connsiteX546" fmla="*/ 5758079 w 7467600"/>
              <a:gd name="connsiteY546" fmla="*/ 2492508 h 6858000"/>
              <a:gd name="connsiteX547" fmla="*/ 5779325 w 7467600"/>
              <a:gd name="connsiteY547" fmla="*/ 2197069 h 6858000"/>
              <a:gd name="connsiteX548" fmla="*/ 5798671 w 7467600"/>
              <a:gd name="connsiteY548" fmla="*/ 1981601 h 6858000"/>
              <a:gd name="connsiteX549" fmla="*/ 5829202 w 7467600"/>
              <a:gd name="connsiteY549" fmla="*/ 1971679 h 6858000"/>
              <a:gd name="connsiteX550" fmla="*/ 5809558 w 7467600"/>
              <a:gd name="connsiteY550" fmla="*/ 2198043 h 6858000"/>
              <a:gd name="connsiteX551" fmla="*/ 5788653 w 7467600"/>
              <a:gd name="connsiteY551" fmla="*/ 2489430 h 6858000"/>
              <a:gd name="connsiteX552" fmla="*/ 5793439 w 7467600"/>
              <a:gd name="connsiteY552" fmla="*/ 2575235 h 6858000"/>
              <a:gd name="connsiteX553" fmla="*/ 5796837 w 7467600"/>
              <a:gd name="connsiteY553" fmla="*/ 2637633 h 6858000"/>
              <a:gd name="connsiteX554" fmla="*/ 5818614 w 7467600"/>
              <a:gd name="connsiteY554" fmla="*/ 2473055 h 6858000"/>
              <a:gd name="connsiteX555" fmla="*/ 5829202 w 7467600"/>
              <a:gd name="connsiteY555" fmla="*/ 1971679 h 6858000"/>
              <a:gd name="connsiteX556" fmla="*/ 5911389 w 7467600"/>
              <a:gd name="connsiteY556" fmla="*/ 1898371 h 6858000"/>
              <a:gd name="connsiteX557" fmla="*/ 6237627 w 7467600"/>
              <a:gd name="connsiteY557" fmla="*/ 2231921 h 6858000"/>
              <a:gd name="connsiteX558" fmla="*/ 5911389 w 7467600"/>
              <a:gd name="connsiteY558" fmla="*/ 1898371 h 6858000"/>
              <a:gd name="connsiteX559" fmla="*/ 6944437 w 7467600"/>
              <a:gd name="connsiteY559" fmla="*/ 1575402 h 6858000"/>
              <a:gd name="connsiteX560" fmla="*/ 6304730 w 7467600"/>
              <a:gd name="connsiteY560" fmla="*/ 1766654 h 6858000"/>
              <a:gd name="connsiteX561" fmla="*/ 6944437 w 7467600"/>
              <a:gd name="connsiteY561" fmla="*/ 1575402 h 6858000"/>
              <a:gd name="connsiteX562" fmla="*/ 7019523 w 7467600"/>
              <a:gd name="connsiteY562" fmla="*/ 1519450 h 6858000"/>
              <a:gd name="connsiteX563" fmla="*/ 6298091 w 7467600"/>
              <a:gd name="connsiteY563" fmla="*/ 1737122 h 6858000"/>
              <a:gd name="connsiteX564" fmla="*/ 7019523 w 7467600"/>
              <a:gd name="connsiteY564" fmla="*/ 1519450 h 6858000"/>
              <a:gd name="connsiteX565" fmla="*/ 2399523 w 7467600"/>
              <a:gd name="connsiteY565" fmla="*/ 1428234 h 6858000"/>
              <a:gd name="connsiteX566" fmla="*/ 2224982 w 7467600"/>
              <a:gd name="connsiteY566" fmla="*/ 1826201 h 6858000"/>
              <a:gd name="connsiteX567" fmla="*/ 2096099 w 7467600"/>
              <a:gd name="connsiteY567" fmla="*/ 2345900 h 6858000"/>
              <a:gd name="connsiteX568" fmla="*/ 2283317 w 7467600"/>
              <a:gd name="connsiteY568" fmla="*/ 1796925 h 6858000"/>
              <a:gd name="connsiteX569" fmla="*/ 2399523 w 7467600"/>
              <a:gd name="connsiteY569" fmla="*/ 1428234 h 6858000"/>
              <a:gd name="connsiteX570" fmla="*/ 2448558 w 7467600"/>
              <a:gd name="connsiteY570" fmla="*/ 1373435 h 6858000"/>
              <a:gd name="connsiteX571" fmla="*/ 2312521 w 7467600"/>
              <a:gd name="connsiteY571" fmla="*/ 1806140 h 6858000"/>
              <a:gd name="connsiteX572" fmla="*/ 2127533 w 7467600"/>
              <a:gd name="connsiteY572" fmla="*/ 2348380 h 6858000"/>
              <a:gd name="connsiteX573" fmla="*/ 2358080 w 7467600"/>
              <a:gd name="connsiteY573" fmla="*/ 1866134 h 6858000"/>
              <a:gd name="connsiteX574" fmla="*/ 2407436 w 7467600"/>
              <a:gd name="connsiteY574" fmla="*/ 1651070 h 6858000"/>
              <a:gd name="connsiteX575" fmla="*/ 2448558 w 7467600"/>
              <a:gd name="connsiteY575" fmla="*/ 1373435 h 6858000"/>
              <a:gd name="connsiteX576" fmla="*/ 278707 w 7467600"/>
              <a:gd name="connsiteY576" fmla="*/ 1352270 h 6858000"/>
              <a:gd name="connsiteX577" fmla="*/ 321570 w 7467600"/>
              <a:gd name="connsiteY577" fmla="*/ 1861610 h 6858000"/>
              <a:gd name="connsiteX578" fmla="*/ 294281 w 7467600"/>
              <a:gd name="connsiteY578" fmla="*/ 1440658 h 6858000"/>
              <a:gd name="connsiteX579" fmla="*/ 278707 w 7467600"/>
              <a:gd name="connsiteY579" fmla="*/ 1352270 h 6858000"/>
              <a:gd name="connsiteX580" fmla="*/ 1423821 w 7467600"/>
              <a:gd name="connsiteY580" fmla="*/ 1351958 h 6858000"/>
              <a:gd name="connsiteX581" fmla="*/ 1638521 w 7467600"/>
              <a:gd name="connsiteY581" fmla="*/ 1908470 h 6858000"/>
              <a:gd name="connsiteX582" fmla="*/ 1754199 w 7467600"/>
              <a:gd name="connsiteY582" fmla="*/ 2149284 h 6858000"/>
              <a:gd name="connsiteX583" fmla="*/ 1908359 w 7467600"/>
              <a:gd name="connsiteY583" fmla="*/ 2364988 h 6858000"/>
              <a:gd name="connsiteX584" fmla="*/ 1647661 w 7467600"/>
              <a:gd name="connsiteY584" fmla="*/ 1825945 h 6858000"/>
              <a:gd name="connsiteX585" fmla="*/ 1423821 w 7467600"/>
              <a:gd name="connsiteY585" fmla="*/ 1351958 h 6858000"/>
              <a:gd name="connsiteX586" fmla="*/ 1431890 w 7467600"/>
              <a:gd name="connsiteY586" fmla="*/ 1306475 h 6858000"/>
              <a:gd name="connsiteX587" fmla="*/ 1507597 w 7467600"/>
              <a:gd name="connsiteY587" fmla="*/ 1446132 h 6858000"/>
              <a:gd name="connsiteX588" fmla="*/ 1674586 w 7467600"/>
              <a:gd name="connsiteY588" fmla="*/ 1813832 h 6858000"/>
              <a:gd name="connsiteX589" fmla="*/ 1815950 w 7467600"/>
              <a:gd name="connsiteY589" fmla="*/ 2128564 h 6858000"/>
              <a:gd name="connsiteX590" fmla="*/ 1984242 w 7467600"/>
              <a:gd name="connsiteY590" fmla="*/ 2430829 h 6858000"/>
              <a:gd name="connsiteX591" fmla="*/ 2014023 w 7467600"/>
              <a:gd name="connsiteY591" fmla="*/ 2450995 h 6858000"/>
              <a:gd name="connsiteX592" fmla="*/ 1747337 w 7467600"/>
              <a:gd name="connsiteY592" fmla="*/ 1855264 h 6858000"/>
              <a:gd name="connsiteX593" fmla="*/ 1533749 w 7467600"/>
              <a:gd name="connsiteY593" fmla="*/ 1478656 h 6858000"/>
              <a:gd name="connsiteX594" fmla="*/ 1431890 w 7467600"/>
              <a:gd name="connsiteY594" fmla="*/ 1306475 h 6858000"/>
              <a:gd name="connsiteX595" fmla="*/ 5052692 w 7467600"/>
              <a:gd name="connsiteY595" fmla="*/ 1292994 h 6858000"/>
              <a:gd name="connsiteX596" fmla="*/ 5200661 w 7467600"/>
              <a:gd name="connsiteY596" fmla="*/ 1635186 h 6858000"/>
              <a:gd name="connsiteX597" fmla="*/ 5297138 w 7467600"/>
              <a:gd name="connsiteY597" fmla="*/ 1906351 h 6858000"/>
              <a:gd name="connsiteX598" fmla="*/ 5052692 w 7467600"/>
              <a:gd name="connsiteY598" fmla="*/ 1292994 h 6858000"/>
              <a:gd name="connsiteX599" fmla="*/ 5009948 w 7467600"/>
              <a:gd name="connsiteY599" fmla="*/ 1273619 h 6858000"/>
              <a:gd name="connsiteX600" fmla="*/ 5121777 w 7467600"/>
              <a:gd name="connsiteY600" fmla="*/ 1654213 h 6858000"/>
              <a:gd name="connsiteX601" fmla="*/ 5293545 w 7467600"/>
              <a:gd name="connsiteY601" fmla="*/ 2072247 h 6858000"/>
              <a:gd name="connsiteX602" fmla="*/ 5294042 w 7467600"/>
              <a:gd name="connsiteY602" fmla="*/ 2065019 h 6858000"/>
              <a:gd name="connsiteX603" fmla="*/ 5171936 w 7467600"/>
              <a:gd name="connsiteY603" fmla="*/ 1647613 h 6858000"/>
              <a:gd name="connsiteX604" fmla="*/ 5009948 w 7467600"/>
              <a:gd name="connsiteY604" fmla="*/ 1273619 h 6858000"/>
              <a:gd name="connsiteX605" fmla="*/ 655236 w 7467600"/>
              <a:gd name="connsiteY605" fmla="*/ 1268632 h 6858000"/>
              <a:gd name="connsiteX606" fmla="*/ 839521 w 7467600"/>
              <a:gd name="connsiteY606" fmla="*/ 1685315 h 6858000"/>
              <a:gd name="connsiteX607" fmla="*/ 1109416 w 7467600"/>
              <a:gd name="connsiteY607" fmla="*/ 2061663 h 6858000"/>
              <a:gd name="connsiteX608" fmla="*/ 1298300 w 7467600"/>
              <a:gd name="connsiteY608" fmla="*/ 2247742 h 6858000"/>
              <a:gd name="connsiteX609" fmla="*/ 1125871 w 7467600"/>
              <a:gd name="connsiteY609" fmla="*/ 1989513 h 6858000"/>
              <a:gd name="connsiteX610" fmla="*/ 981574 w 7467600"/>
              <a:gd name="connsiteY610" fmla="*/ 1783157 h 6858000"/>
              <a:gd name="connsiteX611" fmla="*/ 922198 w 7467600"/>
              <a:gd name="connsiteY611" fmla="*/ 1677437 h 6858000"/>
              <a:gd name="connsiteX612" fmla="*/ 869293 w 7467600"/>
              <a:gd name="connsiteY612" fmla="*/ 1583214 h 6858000"/>
              <a:gd name="connsiteX613" fmla="*/ 751431 w 7467600"/>
              <a:gd name="connsiteY613" fmla="*/ 1405731 h 6858000"/>
              <a:gd name="connsiteX614" fmla="*/ 655236 w 7467600"/>
              <a:gd name="connsiteY614" fmla="*/ 1268632 h 6858000"/>
              <a:gd name="connsiteX615" fmla="*/ 6516292 w 7467600"/>
              <a:gd name="connsiteY615" fmla="*/ 1263064 h 6858000"/>
              <a:gd name="connsiteX616" fmla="*/ 5736320 w 7467600"/>
              <a:gd name="connsiteY616" fmla="*/ 1501803 h 6858000"/>
              <a:gd name="connsiteX617" fmla="*/ 6516292 w 7467600"/>
              <a:gd name="connsiteY617" fmla="*/ 1263064 h 6858000"/>
              <a:gd name="connsiteX618" fmla="*/ 291466 w 7467600"/>
              <a:gd name="connsiteY618" fmla="*/ 1250369 h 6858000"/>
              <a:gd name="connsiteX619" fmla="*/ 323180 w 7467600"/>
              <a:gd name="connsiteY619" fmla="*/ 1435283 h 6858000"/>
              <a:gd name="connsiteX620" fmla="*/ 349381 w 7467600"/>
              <a:gd name="connsiteY620" fmla="*/ 1875041 h 6858000"/>
              <a:gd name="connsiteX621" fmla="*/ 374363 w 7467600"/>
              <a:gd name="connsiteY621" fmla="*/ 1506494 h 6858000"/>
              <a:gd name="connsiteX622" fmla="*/ 302168 w 7467600"/>
              <a:gd name="connsiteY622" fmla="*/ 1274495 h 6858000"/>
              <a:gd name="connsiteX623" fmla="*/ 291466 w 7467600"/>
              <a:gd name="connsiteY623" fmla="*/ 1250369 h 6858000"/>
              <a:gd name="connsiteX624" fmla="*/ 678222 w 7467600"/>
              <a:gd name="connsiteY624" fmla="*/ 1248670 h 6858000"/>
              <a:gd name="connsiteX625" fmla="*/ 775536 w 7467600"/>
              <a:gd name="connsiteY625" fmla="*/ 1388015 h 6858000"/>
              <a:gd name="connsiteX626" fmla="*/ 894529 w 7467600"/>
              <a:gd name="connsiteY626" fmla="*/ 1567739 h 6858000"/>
              <a:gd name="connsiteX627" fmla="*/ 948000 w 7467600"/>
              <a:gd name="connsiteY627" fmla="*/ 1663088 h 6858000"/>
              <a:gd name="connsiteX628" fmla="*/ 1006812 w 7467600"/>
              <a:gd name="connsiteY628" fmla="*/ 1767683 h 6858000"/>
              <a:gd name="connsiteX629" fmla="*/ 1149133 w 7467600"/>
              <a:gd name="connsiteY629" fmla="*/ 1971513 h 6858000"/>
              <a:gd name="connsiteX630" fmla="*/ 1333952 w 7467600"/>
              <a:gd name="connsiteY630" fmla="*/ 2251620 h 6858000"/>
              <a:gd name="connsiteX631" fmla="*/ 1337329 w 7467600"/>
              <a:gd name="connsiteY631" fmla="*/ 2258350 h 6858000"/>
              <a:gd name="connsiteX632" fmla="*/ 1014726 w 7467600"/>
              <a:gd name="connsiteY632" fmla="*/ 1615556 h 6858000"/>
              <a:gd name="connsiteX633" fmla="*/ 678222 w 7467600"/>
              <a:gd name="connsiteY633" fmla="*/ 1248670 h 6858000"/>
              <a:gd name="connsiteX634" fmla="*/ 6691602 w 7467600"/>
              <a:gd name="connsiteY634" fmla="*/ 1140573 h 6858000"/>
              <a:gd name="connsiteX635" fmla="*/ 6571100 w 7467600"/>
              <a:gd name="connsiteY635" fmla="*/ 1183662 h 6858000"/>
              <a:gd name="connsiteX636" fmla="*/ 6241687 w 7467600"/>
              <a:gd name="connsiteY636" fmla="*/ 1257600 h 6858000"/>
              <a:gd name="connsiteX637" fmla="*/ 5693009 w 7467600"/>
              <a:gd name="connsiteY637" fmla="*/ 1478256 h 6858000"/>
              <a:gd name="connsiteX638" fmla="*/ 6548420 w 7467600"/>
              <a:gd name="connsiteY638" fmla="*/ 1214599 h 6858000"/>
              <a:gd name="connsiteX639" fmla="*/ 6605473 w 7467600"/>
              <a:gd name="connsiteY639" fmla="*/ 1184686 h 6858000"/>
              <a:gd name="connsiteX640" fmla="*/ 6691602 w 7467600"/>
              <a:gd name="connsiteY640" fmla="*/ 1140573 h 6858000"/>
              <a:gd name="connsiteX641" fmla="*/ 4002475 w 7467600"/>
              <a:gd name="connsiteY641" fmla="*/ 1037802 h 6858000"/>
              <a:gd name="connsiteX642" fmla="*/ 4000324 w 7467600"/>
              <a:gd name="connsiteY642" fmla="*/ 1039362 h 6858000"/>
              <a:gd name="connsiteX643" fmla="*/ 4002862 w 7467600"/>
              <a:gd name="connsiteY643" fmla="*/ 1042866 h 6858000"/>
              <a:gd name="connsiteX644" fmla="*/ 4002475 w 7467600"/>
              <a:gd name="connsiteY644" fmla="*/ 1037802 h 6858000"/>
              <a:gd name="connsiteX645" fmla="*/ 506322 w 7467600"/>
              <a:gd name="connsiteY645" fmla="*/ 1020997 h 6858000"/>
              <a:gd name="connsiteX646" fmla="*/ 533068 w 7467600"/>
              <a:gd name="connsiteY646" fmla="*/ 1029409 h 6858000"/>
              <a:gd name="connsiteX647" fmla="*/ 1232525 w 7467600"/>
              <a:gd name="connsiteY647" fmla="*/ 1804675 h 6858000"/>
              <a:gd name="connsiteX648" fmla="*/ 1388858 w 7467600"/>
              <a:gd name="connsiteY648" fmla="*/ 2368011 h 6858000"/>
              <a:gd name="connsiteX649" fmla="*/ 1384098 w 7467600"/>
              <a:gd name="connsiteY649" fmla="*/ 2378125 h 6858000"/>
              <a:gd name="connsiteX650" fmla="*/ 1425393 w 7467600"/>
              <a:gd name="connsiteY650" fmla="*/ 2589124 h 6858000"/>
              <a:gd name="connsiteX651" fmla="*/ 1424001 w 7467600"/>
              <a:gd name="connsiteY651" fmla="*/ 2597541 h 6858000"/>
              <a:gd name="connsiteX652" fmla="*/ 2152729 w 7467600"/>
              <a:gd name="connsiteY652" fmla="*/ 2864487 h 6858000"/>
              <a:gd name="connsiteX653" fmla="*/ 2020609 w 7467600"/>
              <a:gd name="connsiteY653" fmla="*/ 2539671 h 6858000"/>
              <a:gd name="connsiteX654" fmla="*/ 2018920 w 7467600"/>
              <a:gd name="connsiteY654" fmla="*/ 2536309 h 6858000"/>
              <a:gd name="connsiteX655" fmla="*/ 1342441 w 7467600"/>
              <a:gd name="connsiteY655" fmla="*/ 1173017 h 6858000"/>
              <a:gd name="connsiteX656" fmla="*/ 1367925 w 7467600"/>
              <a:gd name="connsiteY656" fmla="*/ 1135648 h 6858000"/>
              <a:gd name="connsiteX657" fmla="*/ 1771401 w 7467600"/>
              <a:gd name="connsiteY657" fmla="*/ 1806673 h 6858000"/>
              <a:gd name="connsiteX658" fmla="*/ 1972385 w 7467600"/>
              <a:gd name="connsiteY658" fmla="*/ 2198735 h 6858000"/>
              <a:gd name="connsiteX659" fmla="*/ 2040892 w 7467600"/>
              <a:gd name="connsiteY659" fmla="*/ 2405205 h 6858000"/>
              <a:gd name="connsiteX660" fmla="*/ 2131689 w 7467600"/>
              <a:gd name="connsiteY660" fmla="*/ 1936926 h 6858000"/>
              <a:gd name="connsiteX661" fmla="*/ 2454820 w 7467600"/>
              <a:gd name="connsiteY661" fmla="*/ 1248808 h 6858000"/>
              <a:gd name="connsiteX662" fmla="*/ 2492512 w 7467600"/>
              <a:gd name="connsiteY662" fmla="*/ 1302920 h 6858000"/>
              <a:gd name="connsiteX663" fmla="*/ 2081216 w 7467600"/>
              <a:gd name="connsiteY663" fmla="*/ 2527513 h 6858000"/>
              <a:gd name="connsiteX664" fmla="*/ 2081211 w 7467600"/>
              <a:gd name="connsiteY664" fmla="*/ 2528916 h 6858000"/>
              <a:gd name="connsiteX665" fmla="*/ 2199067 w 7467600"/>
              <a:gd name="connsiteY665" fmla="*/ 2884061 h 6858000"/>
              <a:gd name="connsiteX666" fmla="*/ 3192586 w 7467600"/>
              <a:gd name="connsiteY666" fmla="*/ 3411496 h 6858000"/>
              <a:gd name="connsiteX667" fmla="*/ 3182620 w 7467600"/>
              <a:gd name="connsiteY667" fmla="*/ 3483279 h 6858000"/>
              <a:gd name="connsiteX668" fmla="*/ 2435119 w 7467600"/>
              <a:gd name="connsiteY668" fmla="*/ 3080173 h 6858000"/>
              <a:gd name="connsiteX669" fmla="*/ 2410152 w 7467600"/>
              <a:gd name="connsiteY669" fmla="*/ 3063751 h 6858000"/>
              <a:gd name="connsiteX670" fmla="*/ 2408099 w 7467600"/>
              <a:gd name="connsiteY670" fmla="*/ 3064403 h 6858000"/>
              <a:gd name="connsiteX671" fmla="*/ 2407218 w 7467600"/>
              <a:gd name="connsiteY671" fmla="*/ 3070324 h 6858000"/>
              <a:gd name="connsiteX672" fmla="*/ 2380138 w 7467600"/>
              <a:gd name="connsiteY672" fmla="*/ 3099341 h 6858000"/>
              <a:gd name="connsiteX673" fmla="*/ 1765923 w 7467600"/>
              <a:gd name="connsiteY673" fmla="*/ 3581043 h 6858000"/>
              <a:gd name="connsiteX674" fmla="*/ 1702258 w 7467600"/>
              <a:gd name="connsiteY674" fmla="*/ 3612286 h 6858000"/>
              <a:gd name="connsiteX675" fmla="*/ 1538370 w 7467600"/>
              <a:gd name="connsiteY675" fmla="*/ 3811804 h 6858000"/>
              <a:gd name="connsiteX676" fmla="*/ 542867 w 7467600"/>
              <a:gd name="connsiteY676" fmla="*/ 4944092 h 6858000"/>
              <a:gd name="connsiteX677" fmla="*/ 515800 w 7467600"/>
              <a:gd name="connsiteY677" fmla="*/ 4862180 h 6858000"/>
              <a:gd name="connsiteX678" fmla="*/ 909145 w 7467600"/>
              <a:gd name="connsiteY678" fmla="*/ 4199225 h 6858000"/>
              <a:gd name="connsiteX679" fmla="*/ 1214067 w 7467600"/>
              <a:gd name="connsiteY679" fmla="*/ 3908561 h 6858000"/>
              <a:gd name="connsiteX680" fmla="*/ 640967 w 7467600"/>
              <a:gd name="connsiteY680" fmla="*/ 4105601 h 6858000"/>
              <a:gd name="connsiteX681" fmla="*/ 112563 w 7467600"/>
              <a:gd name="connsiteY681" fmla="*/ 4396952 h 6858000"/>
              <a:gd name="connsiteX682" fmla="*/ 0 w 7467600"/>
              <a:gd name="connsiteY682" fmla="*/ 4466006 h 6858000"/>
              <a:gd name="connsiteX683" fmla="*/ 0 w 7467600"/>
              <a:gd name="connsiteY683" fmla="*/ 4233763 h 6858000"/>
              <a:gd name="connsiteX684" fmla="*/ 36881 w 7467600"/>
              <a:gd name="connsiteY684" fmla="*/ 4200118 h 6858000"/>
              <a:gd name="connsiteX685" fmla="*/ 910534 w 7467600"/>
              <a:gd name="connsiteY685" fmla="*/ 3629753 h 6858000"/>
              <a:gd name="connsiteX686" fmla="*/ 1578717 w 7467600"/>
              <a:gd name="connsiteY686" fmla="*/ 3575982 h 6858000"/>
              <a:gd name="connsiteX687" fmla="*/ 2338780 w 7467600"/>
              <a:gd name="connsiteY687" fmla="*/ 3033725 h 6858000"/>
              <a:gd name="connsiteX688" fmla="*/ 1807991 w 7467600"/>
              <a:gd name="connsiteY688" fmla="*/ 2807184 h 6858000"/>
              <a:gd name="connsiteX689" fmla="*/ 1416358 w 7467600"/>
              <a:gd name="connsiteY689" fmla="*/ 3112571 h 6858000"/>
              <a:gd name="connsiteX690" fmla="*/ 939066 w 7467600"/>
              <a:gd name="connsiteY690" fmla="*/ 3378798 h 6858000"/>
              <a:gd name="connsiteX691" fmla="*/ 115099 w 7467600"/>
              <a:gd name="connsiteY691" fmla="*/ 3607650 h 6858000"/>
              <a:gd name="connsiteX692" fmla="*/ 97284 w 7467600"/>
              <a:gd name="connsiteY692" fmla="*/ 3520393 h 6858000"/>
              <a:gd name="connsiteX693" fmla="*/ 922050 w 7467600"/>
              <a:gd name="connsiteY693" fmla="*/ 3074867 h 6858000"/>
              <a:gd name="connsiteX694" fmla="*/ 1405265 w 7467600"/>
              <a:gd name="connsiteY694" fmla="*/ 3016319 h 6858000"/>
              <a:gd name="connsiteX695" fmla="*/ 1407512 w 7467600"/>
              <a:gd name="connsiteY695" fmla="*/ 3018001 h 6858000"/>
              <a:gd name="connsiteX696" fmla="*/ 1726266 w 7467600"/>
              <a:gd name="connsiteY696" fmla="*/ 2777274 h 6858000"/>
              <a:gd name="connsiteX697" fmla="*/ 625390 w 7467600"/>
              <a:gd name="connsiteY697" fmla="*/ 2514541 h 6858000"/>
              <a:gd name="connsiteX698" fmla="*/ 619799 w 7467600"/>
              <a:gd name="connsiteY698" fmla="*/ 2527180 h 6858000"/>
              <a:gd name="connsiteX699" fmla="*/ 310030 w 7467600"/>
              <a:gd name="connsiteY699" fmla="*/ 2771818 h 6858000"/>
              <a:gd name="connsiteX700" fmla="*/ 173877 w 7467600"/>
              <a:gd name="connsiteY700" fmla="*/ 2937056 h 6858000"/>
              <a:gd name="connsiteX701" fmla="*/ 77889 w 7467600"/>
              <a:gd name="connsiteY701" fmla="*/ 3138440 h 6858000"/>
              <a:gd name="connsiteX702" fmla="*/ 0 w 7467600"/>
              <a:gd name="connsiteY702" fmla="*/ 3271395 h 6858000"/>
              <a:gd name="connsiteX703" fmla="*/ 0 w 7467600"/>
              <a:gd name="connsiteY703" fmla="*/ 3153002 h 6858000"/>
              <a:gd name="connsiteX704" fmla="*/ 2386 w 7467600"/>
              <a:gd name="connsiteY704" fmla="*/ 3149203 h 6858000"/>
              <a:gd name="connsiteX705" fmla="*/ 89753 w 7467600"/>
              <a:gd name="connsiteY705" fmla="*/ 2987702 h 6858000"/>
              <a:gd name="connsiteX706" fmla="*/ 76869 w 7467600"/>
              <a:gd name="connsiteY706" fmla="*/ 3005404 h 6858000"/>
              <a:gd name="connsiteX707" fmla="*/ 32049 w 7467600"/>
              <a:gd name="connsiteY707" fmla="*/ 3065814 h 6858000"/>
              <a:gd name="connsiteX708" fmla="*/ 0 w 7467600"/>
              <a:gd name="connsiteY708" fmla="*/ 3108744 h 6858000"/>
              <a:gd name="connsiteX709" fmla="*/ 0 w 7467600"/>
              <a:gd name="connsiteY709" fmla="*/ 3058059 h 6858000"/>
              <a:gd name="connsiteX710" fmla="*/ 7610 w 7467600"/>
              <a:gd name="connsiteY710" fmla="*/ 3047889 h 6858000"/>
              <a:gd name="connsiteX711" fmla="*/ 52419 w 7467600"/>
              <a:gd name="connsiteY711" fmla="*/ 2987479 h 6858000"/>
              <a:gd name="connsiteX712" fmla="*/ 59142 w 7467600"/>
              <a:gd name="connsiteY712" fmla="*/ 2978488 h 6858000"/>
              <a:gd name="connsiteX713" fmla="*/ 0 w 7467600"/>
              <a:gd name="connsiteY713" fmla="*/ 3015334 h 6858000"/>
              <a:gd name="connsiteX714" fmla="*/ 0 w 7467600"/>
              <a:gd name="connsiteY714" fmla="*/ 2914286 h 6858000"/>
              <a:gd name="connsiteX715" fmla="*/ 36383 w 7467600"/>
              <a:gd name="connsiteY715" fmla="*/ 2901128 h 6858000"/>
              <a:gd name="connsiteX716" fmla="*/ 156329 w 7467600"/>
              <a:gd name="connsiteY716" fmla="*/ 2840533 h 6858000"/>
              <a:gd name="connsiteX717" fmla="*/ 358355 w 7467600"/>
              <a:gd name="connsiteY717" fmla="*/ 2620471 h 6858000"/>
              <a:gd name="connsiteX718" fmla="*/ 510577 w 7467600"/>
              <a:gd name="connsiteY718" fmla="*/ 2501244 h 6858000"/>
              <a:gd name="connsiteX719" fmla="*/ 211967 w 7467600"/>
              <a:gd name="connsiteY719" fmla="*/ 2479171 h 6858000"/>
              <a:gd name="connsiteX720" fmla="*/ 0 w 7467600"/>
              <a:gd name="connsiteY720" fmla="*/ 2476398 h 6858000"/>
              <a:gd name="connsiteX721" fmla="*/ 0 w 7467600"/>
              <a:gd name="connsiteY721" fmla="*/ 2389189 h 6858000"/>
              <a:gd name="connsiteX722" fmla="*/ 103062 w 7467600"/>
              <a:gd name="connsiteY722" fmla="*/ 2389518 h 6858000"/>
              <a:gd name="connsiteX723" fmla="*/ 510734 w 7467600"/>
              <a:gd name="connsiteY723" fmla="*/ 2416201 h 6858000"/>
              <a:gd name="connsiteX724" fmla="*/ 279257 w 7467600"/>
              <a:gd name="connsiteY724" fmla="*/ 2092102 h 6858000"/>
              <a:gd name="connsiteX725" fmla="*/ 65265 w 7467600"/>
              <a:gd name="connsiteY725" fmla="*/ 2006049 h 6858000"/>
              <a:gd name="connsiteX726" fmla="*/ 0 w 7467600"/>
              <a:gd name="connsiteY726" fmla="*/ 1982532 h 6858000"/>
              <a:gd name="connsiteX727" fmla="*/ 0 w 7467600"/>
              <a:gd name="connsiteY727" fmla="*/ 1912789 h 6858000"/>
              <a:gd name="connsiteX728" fmla="*/ 97460 w 7467600"/>
              <a:gd name="connsiteY728" fmla="*/ 1953725 h 6858000"/>
              <a:gd name="connsiteX729" fmla="*/ 221272 w 7467600"/>
              <a:gd name="connsiteY729" fmla="*/ 1980766 h 6858000"/>
              <a:gd name="connsiteX730" fmla="*/ 116765 w 7467600"/>
              <a:gd name="connsiteY730" fmla="*/ 1911033 h 6858000"/>
              <a:gd name="connsiteX731" fmla="*/ 16405 w 7467600"/>
              <a:gd name="connsiteY731" fmla="*/ 1803412 h 6858000"/>
              <a:gd name="connsiteX732" fmla="*/ 0 w 7467600"/>
              <a:gd name="connsiteY732" fmla="*/ 1784777 h 6858000"/>
              <a:gd name="connsiteX733" fmla="*/ 0 w 7467600"/>
              <a:gd name="connsiteY733" fmla="*/ 1740082 h 6858000"/>
              <a:gd name="connsiteX734" fmla="*/ 39394 w 7467600"/>
              <a:gd name="connsiteY734" fmla="*/ 1784856 h 6858000"/>
              <a:gd name="connsiteX735" fmla="*/ 135813 w 7467600"/>
              <a:gd name="connsiteY735" fmla="*/ 1888838 h 6858000"/>
              <a:gd name="connsiteX736" fmla="*/ 242575 w 7467600"/>
              <a:gd name="connsiteY736" fmla="*/ 1958841 h 6858000"/>
              <a:gd name="connsiteX737" fmla="*/ 82197 w 7467600"/>
              <a:gd name="connsiteY737" fmla="*/ 1754826 h 6858000"/>
              <a:gd name="connsiteX738" fmla="*/ 0 w 7467600"/>
              <a:gd name="connsiteY738" fmla="*/ 1679650 h 6858000"/>
              <a:gd name="connsiteX739" fmla="*/ 0 w 7467600"/>
              <a:gd name="connsiteY739" fmla="*/ 1602463 h 6858000"/>
              <a:gd name="connsiteX740" fmla="*/ 84689 w 7467600"/>
              <a:gd name="connsiteY740" fmla="*/ 1677442 h 6858000"/>
              <a:gd name="connsiteX741" fmla="*/ 298437 w 7467600"/>
              <a:gd name="connsiteY741" fmla="*/ 1968019 h 6858000"/>
              <a:gd name="connsiteX742" fmla="*/ 227269 w 7467600"/>
              <a:gd name="connsiteY742" fmla="*/ 1114064 h 6858000"/>
              <a:gd name="connsiteX743" fmla="*/ 248003 w 7467600"/>
              <a:gd name="connsiteY743" fmla="*/ 1089613 h 6858000"/>
              <a:gd name="connsiteX744" fmla="*/ 427020 w 7467600"/>
              <a:gd name="connsiteY744" fmla="*/ 1619803 h 6858000"/>
              <a:gd name="connsiteX745" fmla="*/ 340345 w 7467600"/>
              <a:gd name="connsiteY745" fmla="*/ 2027739 h 6858000"/>
              <a:gd name="connsiteX746" fmla="*/ 360865 w 7467600"/>
              <a:gd name="connsiteY746" fmla="*/ 2044827 h 6858000"/>
              <a:gd name="connsiteX747" fmla="*/ 560414 w 7467600"/>
              <a:gd name="connsiteY747" fmla="*/ 2421457 h 6858000"/>
              <a:gd name="connsiteX748" fmla="*/ 1359703 w 7467600"/>
              <a:gd name="connsiteY748" fmla="*/ 2578554 h 6858000"/>
              <a:gd name="connsiteX749" fmla="*/ 1359422 w 7467600"/>
              <a:gd name="connsiteY749" fmla="*/ 2577994 h 6858000"/>
              <a:gd name="connsiteX750" fmla="*/ 828701 w 7467600"/>
              <a:gd name="connsiteY750" fmla="*/ 1839520 h 6858000"/>
              <a:gd name="connsiteX751" fmla="*/ 494427 w 7467600"/>
              <a:gd name="connsiteY751" fmla="*/ 1092333 h 6858000"/>
              <a:gd name="connsiteX752" fmla="*/ 506322 w 7467600"/>
              <a:gd name="connsiteY752" fmla="*/ 1020997 h 6858000"/>
              <a:gd name="connsiteX753" fmla="*/ 4570198 w 7467600"/>
              <a:gd name="connsiteY753" fmla="*/ 978081 h 6858000"/>
              <a:gd name="connsiteX754" fmla="*/ 4523691 w 7467600"/>
              <a:gd name="connsiteY754" fmla="*/ 1127776 h 6858000"/>
              <a:gd name="connsiteX755" fmla="*/ 4509875 w 7467600"/>
              <a:gd name="connsiteY755" fmla="*/ 1167552 h 6858000"/>
              <a:gd name="connsiteX756" fmla="*/ 4478168 w 7467600"/>
              <a:gd name="connsiteY756" fmla="*/ 1260735 h 6858000"/>
              <a:gd name="connsiteX757" fmla="*/ 4409309 w 7467600"/>
              <a:gd name="connsiteY757" fmla="*/ 1666996 h 6858000"/>
              <a:gd name="connsiteX758" fmla="*/ 4370031 w 7467600"/>
              <a:gd name="connsiteY758" fmla="*/ 1955666 h 6858000"/>
              <a:gd name="connsiteX759" fmla="*/ 4570198 w 7467600"/>
              <a:gd name="connsiteY759" fmla="*/ 978081 h 6858000"/>
              <a:gd name="connsiteX760" fmla="*/ 4557898 w 7467600"/>
              <a:gd name="connsiteY760" fmla="*/ 900011 h 6858000"/>
              <a:gd name="connsiteX761" fmla="*/ 4344840 w 7467600"/>
              <a:gd name="connsiteY761" fmla="*/ 1922038 h 6858000"/>
              <a:gd name="connsiteX762" fmla="*/ 4378710 w 7467600"/>
              <a:gd name="connsiteY762" fmla="*/ 1665516 h 6858000"/>
              <a:gd name="connsiteX763" fmla="*/ 4448798 w 7467600"/>
              <a:gd name="connsiteY763" fmla="*/ 1253024 h 6858000"/>
              <a:gd name="connsiteX764" fmla="*/ 4480315 w 7467600"/>
              <a:gd name="connsiteY764" fmla="*/ 1158454 h 6858000"/>
              <a:gd name="connsiteX765" fmla="*/ 4494133 w 7467600"/>
              <a:gd name="connsiteY765" fmla="*/ 1118676 h 6858000"/>
              <a:gd name="connsiteX766" fmla="*/ 4557898 w 7467600"/>
              <a:gd name="connsiteY766" fmla="*/ 900011 h 6858000"/>
              <a:gd name="connsiteX767" fmla="*/ 5870151 w 7467600"/>
              <a:gd name="connsiteY767" fmla="*/ 898890 h 6858000"/>
              <a:gd name="connsiteX768" fmla="*/ 5861335 w 7467600"/>
              <a:gd name="connsiteY768" fmla="*/ 899177 h 6858000"/>
              <a:gd name="connsiteX769" fmla="*/ 5843702 w 7467600"/>
              <a:gd name="connsiteY769" fmla="*/ 899748 h 6858000"/>
              <a:gd name="connsiteX770" fmla="*/ 5651107 w 7467600"/>
              <a:gd name="connsiteY770" fmla="*/ 920306 h 6858000"/>
              <a:gd name="connsiteX771" fmla="*/ 5459407 w 7467600"/>
              <a:gd name="connsiteY771" fmla="*/ 940975 h 6858000"/>
              <a:gd name="connsiteX772" fmla="*/ 5374846 w 7467600"/>
              <a:gd name="connsiteY772" fmla="*/ 941988 h 6858000"/>
              <a:gd name="connsiteX773" fmla="*/ 5256105 w 7467600"/>
              <a:gd name="connsiteY773" fmla="*/ 945632 h 6858000"/>
              <a:gd name="connsiteX774" fmla="*/ 5107071 w 7467600"/>
              <a:gd name="connsiteY774" fmla="*/ 969720 h 6858000"/>
              <a:gd name="connsiteX775" fmla="*/ 4998681 w 7467600"/>
              <a:gd name="connsiteY775" fmla="*/ 988771 h 6858000"/>
              <a:gd name="connsiteX776" fmla="*/ 5870151 w 7467600"/>
              <a:gd name="connsiteY776" fmla="*/ 898890 h 6858000"/>
              <a:gd name="connsiteX777" fmla="*/ 5504425 w 7467600"/>
              <a:gd name="connsiteY777" fmla="*/ 848067 h 6858000"/>
              <a:gd name="connsiteX778" fmla="*/ 4968849 w 7467600"/>
              <a:gd name="connsiteY778" fmla="*/ 962318 h 6858000"/>
              <a:gd name="connsiteX779" fmla="*/ 5104039 w 7467600"/>
              <a:gd name="connsiteY779" fmla="*/ 940634 h 6858000"/>
              <a:gd name="connsiteX780" fmla="*/ 5256311 w 7467600"/>
              <a:gd name="connsiteY780" fmla="*/ 916490 h 6858000"/>
              <a:gd name="connsiteX781" fmla="*/ 5377381 w 7467600"/>
              <a:gd name="connsiteY781" fmla="*/ 912671 h 6858000"/>
              <a:gd name="connsiteX782" fmla="*/ 5460148 w 7467600"/>
              <a:gd name="connsiteY782" fmla="*/ 911442 h 6858000"/>
              <a:gd name="connsiteX783" fmla="*/ 5648971 w 7467600"/>
              <a:gd name="connsiteY783" fmla="*/ 891331 h 6858000"/>
              <a:gd name="connsiteX784" fmla="*/ 5844807 w 7467600"/>
              <a:gd name="connsiteY784" fmla="*/ 870718 h 6858000"/>
              <a:gd name="connsiteX785" fmla="*/ 5862975 w 7467600"/>
              <a:gd name="connsiteY785" fmla="*/ 869756 h 6858000"/>
              <a:gd name="connsiteX786" fmla="*/ 5920887 w 7467600"/>
              <a:gd name="connsiteY786" fmla="*/ 865929 h 6858000"/>
              <a:gd name="connsiteX787" fmla="*/ 5504425 w 7467600"/>
              <a:gd name="connsiteY787" fmla="*/ 848067 h 6858000"/>
              <a:gd name="connsiteX788" fmla="*/ 3607114 w 7467600"/>
              <a:gd name="connsiteY788" fmla="*/ 467441 h 6858000"/>
              <a:gd name="connsiteX789" fmla="*/ 3296242 w 7467600"/>
              <a:gd name="connsiteY789" fmla="*/ 807991 h 6858000"/>
              <a:gd name="connsiteX790" fmla="*/ 3174674 w 7467600"/>
              <a:gd name="connsiteY790" fmla="*/ 919759 h 6858000"/>
              <a:gd name="connsiteX791" fmla="*/ 3042978 w 7467600"/>
              <a:gd name="connsiteY791" fmla="*/ 1054894 h 6858000"/>
              <a:gd name="connsiteX792" fmla="*/ 2968914 w 7467600"/>
              <a:gd name="connsiteY792" fmla="*/ 1133756 h 6858000"/>
              <a:gd name="connsiteX793" fmla="*/ 3103823 w 7467600"/>
              <a:gd name="connsiteY793" fmla="*/ 1026814 h 6858000"/>
              <a:gd name="connsiteX794" fmla="*/ 3607114 w 7467600"/>
              <a:gd name="connsiteY794" fmla="*/ 467441 h 6858000"/>
              <a:gd name="connsiteX795" fmla="*/ 3744487 w 7467600"/>
              <a:gd name="connsiteY795" fmla="*/ 383136 h 6858000"/>
              <a:gd name="connsiteX796" fmla="*/ 3970213 w 7467600"/>
              <a:gd name="connsiteY796" fmla="*/ 995559 h 6858000"/>
              <a:gd name="connsiteX797" fmla="*/ 3744487 w 7467600"/>
              <a:gd name="connsiteY797" fmla="*/ 383136 h 6858000"/>
              <a:gd name="connsiteX798" fmla="*/ 3624562 w 7467600"/>
              <a:gd name="connsiteY798" fmla="*/ 367041 h 6858000"/>
              <a:gd name="connsiteX799" fmla="*/ 3489712 w 7467600"/>
              <a:gd name="connsiteY799" fmla="*/ 485386 h 6858000"/>
              <a:gd name="connsiteX800" fmla="*/ 3182994 w 7467600"/>
              <a:gd name="connsiteY800" fmla="*/ 828265 h 6858000"/>
              <a:gd name="connsiteX801" fmla="*/ 2892114 w 7467600"/>
              <a:gd name="connsiteY801" fmla="*/ 1172635 h 6858000"/>
              <a:gd name="connsiteX802" fmla="*/ 3021459 w 7467600"/>
              <a:gd name="connsiteY802" fmla="*/ 1035385 h 6858000"/>
              <a:gd name="connsiteX803" fmla="*/ 3153873 w 7467600"/>
              <a:gd name="connsiteY803" fmla="*/ 898971 h 6858000"/>
              <a:gd name="connsiteX804" fmla="*/ 3276511 w 7467600"/>
              <a:gd name="connsiteY804" fmla="*/ 786423 h 6858000"/>
              <a:gd name="connsiteX805" fmla="*/ 3584154 w 7467600"/>
              <a:gd name="connsiteY805" fmla="*/ 448218 h 6858000"/>
              <a:gd name="connsiteX806" fmla="*/ 3624562 w 7467600"/>
              <a:gd name="connsiteY806" fmla="*/ 367041 h 6858000"/>
              <a:gd name="connsiteX807" fmla="*/ 3766672 w 7467600"/>
              <a:gd name="connsiteY807" fmla="*/ 359429 h 6858000"/>
              <a:gd name="connsiteX808" fmla="*/ 3996338 w 7467600"/>
              <a:gd name="connsiteY808" fmla="*/ 968237 h 6858000"/>
              <a:gd name="connsiteX809" fmla="*/ 3766672 w 7467600"/>
              <a:gd name="connsiteY809" fmla="*/ 359429 h 6858000"/>
              <a:gd name="connsiteX810" fmla="*/ 5805386 w 7467600"/>
              <a:gd name="connsiteY810" fmla="*/ 239240 h 6858000"/>
              <a:gd name="connsiteX811" fmla="*/ 5736947 w 7467600"/>
              <a:gd name="connsiteY811" fmla="*/ 261367 h 6858000"/>
              <a:gd name="connsiteX812" fmla="*/ 5427012 w 7467600"/>
              <a:gd name="connsiteY812" fmla="*/ 311272 h 6858000"/>
              <a:gd name="connsiteX813" fmla="*/ 5147818 w 7467600"/>
              <a:gd name="connsiteY813" fmla="*/ 322112 h 6858000"/>
              <a:gd name="connsiteX814" fmla="*/ 5060854 w 7467600"/>
              <a:gd name="connsiteY814" fmla="*/ 311882 h 6858000"/>
              <a:gd name="connsiteX815" fmla="*/ 4945989 w 7467600"/>
              <a:gd name="connsiteY815" fmla="*/ 300516 h 6858000"/>
              <a:gd name="connsiteX816" fmla="*/ 5410479 w 7467600"/>
              <a:gd name="connsiteY816" fmla="*/ 348434 h 6858000"/>
              <a:gd name="connsiteX817" fmla="*/ 5805386 w 7467600"/>
              <a:gd name="connsiteY817" fmla="*/ 239240 h 6858000"/>
              <a:gd name="connsiteX818" fmla="*/ 5905192 w 7467600"/>
              <a:gd name="connsiteY818" fmla="*/ 163079 h 6858000"/>
              <a:gd name="connsiteX819" fmla="*/ 5865655 w 7467600"/>
              <a:gd name="connsiteY819" fmla="*/ 171901 h 6858000"/>
              <a:gd name="connsiteX820" fmla="*/ 5259740 w 7467600"/>
              <a:gd name="connsiteY820" fmla="*/ 257013 h 6858000"/>
              <a:gd name="connsiteX821" fmla="*/ 5208466 w 7467600"/>
              <a:gd name="connsiteY821" fmla="*/ 257550 h 6858000"/>
              <a:gd name="connsiteX822" fmla="*/ 4980204 w 7467600"/>
              <a:gd name="connsiteY822" fmla="*/ 271903 h 6858000"/>
              <a:gd name="connsiteX823" fmla="*/ 5068068 w 7467600"/>
              <a:gd name="connsiteY823" fmla="*/ 282244 h 6858000"/>
              <a:gd name="connsiteX824" fmla="*/ 5153231 w 7467600"/>
              <a:gd name="connsiteY824" fmla="*/ 292240 h 6858000"/>
              <a:gd name="connsiteX825" fmla="*/ 5426491 w 7467600"/>
              <a:gd name="connsiteY825" fmla="*/ 281128 h 6858000"/>
              <a:gd name="connsiteX826" fmla="*/ 5731212 w 7467600"/>
              <a:gd name="connsiteY826" fmla="*/ 231951 h 6858000"/>
              <a:gd name="connsiteX827" fmla="*/ 5905192 w 7467600"/>
              <a:gd name="connsiteY827" fmla="*/ 163079 h 6858000"/>
              <a:gd name="connsiteX828" fmla="*/ 5944437 w 7467600"/>
              <a:gd name="connsiteY828" fmla="*/ 113829 h 6858000"/>
              <a:gd name="connsiteX829" fmla="*/ 5825032 w 7467600"/>
              <a:gd name="connsiteY829" fmla="*/ 146405 h 6858000"/>
              <a:gd name="connsiteX830" fmla="*/ 4955599 w 7467600"/>
              <a:gd name="connsiteY830" fmla="*/ 247008 h 6858000"/>
              <a:gd name="connsiteX831" fmla="*/ 5210104 w 7467600"/>
              <a:gd name="connsiteY831" fmla="*/ 228123 h 6858000"/>
              <a:gd name="connsiteX832" fmla="*/ 5261015 w 7467600"/>
              <a:gd name="connsiteY832" fmla="*/ 227087 h 6858000"/>
              <a:gd name="connsiteX833" fmla="*/ 5861181 w 7467600"/>
              <a:gd name="connsiteY833" fmla="*/ 143093 h 6858000"/>
              <a:gd name="connsiteX834" fmla="*/ 5961252 w 7467600"/>
              <a:gd name="connsiteY834" fmla="*/ 114820 h 6858000"/>
              <a:gd name="connsiteX835" fmla="*/ 5944437 w 7467600"/>
              <a:gd name="connsiteY835" fmla="*/ 113829 h 6858000"/>
              <a:gd name="connsiteX836" fmla="*/ 3882765 w 7467600"/>
              <a:gd name="connsiteY836" fmla="*/ 0 h 6858000"/>
              <a:gd name="connsiteX837" fmla="*/ 3995099 w 7467600"/>
              <a:gd name="connsiteY837" fmla="*/ 0 h 6858000"/>
              <a:gd name="connsiteX838" fmla="*/ 4163818 w 7467600"/>
              <a:gd name="connsiteY838" fmla="*/ 234104 h 6858000"/>
              <a:gd name="connsiteX839" fmla="*/ 4172099 w 7467600"/>
              <a:gd name="connsiteY839" fmla="*/ 234207 h 6858000"/>
              <a:gd name="connsiteX840" fmla="*/ 4784282 w 7467600"/>
              <a:gd name="connsiteY840" fmla="*/ 276561 h 6858000"/>
              <a:gd name="connsiteX841" fmla="*/ 4801687 w 7467600"/>
              <a:gd name="connsiteY841" fmla="*/ 267764 h 6858000"/>
              <a:gd name="connsiteX842" fmla="*/ 6082788 w 7467600"/>
              <a:gd name="connsiteY842" fmla="*/ 64119 h 6858000"/>
              <a:gd name="connsiteX843" fmla="*/ 6099442 w 7467600"/>
              <a:gd name="connsiteY843" fmla="*/ 82568 h 6858000"/>
              <a:gd name="connsiteX844" fmla="*/ 4804137 w 7467600"/>
              <a:gd name="connsiteY844" fmla="*/ 320931 h 6858000"/>
              <a:gd name="connsiteX845" fmla="*/ 4227047 w 7467600"/>
              <a:gd name="connsiteY845" fmla="*/ 313415 h 6858000"/>
              <a:gd name="connsiteX846" fmla="*/ 4346041 w 7467600"/>
              <a:gd name="connsiteY846" fmla="*/ 456086 h 6858000"/>
              <a:gd name="connsiteX847" fmla="*/ 4870967 w 7467600"/>
              <a:gd name="connsiteY847" fmla="*/ 963061 h 6858000"/>
              <a:gd name="connsiteX848" fmla="*/ 4889647 w 7467600"/>
              <a:gd name="connsiteY848" fmla="*/ 957147 h 6858000"/>
              <a:gd name="connsiteX849" fmla="*/ 5422504 w 7467600"/>
              <a:gd name="connsiteY849" fmla="*/ 805191 h 6858000"/>
              <a:gd name="connsiteX850" fmla="*/ 6087656 w 7467600"/>
              <a:gd name="connsiteY850" fmla="*/ 826703 h 6858000"/>
              <a:gd name="connsiteX851" fmla="*/ 6058717 w 7467600"/>
              <a:gd name="connsiteY851" fmla="*/ 865992 h 6858000"/>
              <a:gd name="connsiteX852" fmla="*/ 4974153 w 7467600"/>
              <a:gd name="connsiteY852" fmla="*/ 1045456 h 6858000"/>
              <a:gd name="connsiteX853" fmla="*/ 5627835 w 7467600"/>
              <a:gd name="connsiteY853" fmla="*/ 1472077 h 6858000"/>
              <a:gd name="connsiteX854" fmla="*/ 5629817 w 7467600"/>
              <a:gd name="connsiteY854" fmla="*/ 1471412 h 6858000"/>
              <a:gd name="connsiteX855" fmla="*/ 5634124 w 7467600"/>
              <a:gd name="connsiteY855" fmla="*/ 1470572 h 6858000"/>
              <a:gd name="connsiteX856" fmla="*/ 5755832 w 7467600"/>
              <a:gd name="connsiteY856" fmla="*/ 1383886 h 6858000"/>
              <a:gd name="connsiteX857" fmla="*/ 6014186 w 7467600"/>
              <a:gd name="connsiteY857" fmla="*/ 1279799 h 6858000"/>
              <a:gd name="connsiteX858" fmla="*/ 6901619 w 7467600"/>
              <a:gd name="connsiteY858" fmla="*/ 1047874 h 6858000"/>
              <a:gd name="connsiteX859" fmla="*/ 6931566 w 7467600"/>
              <a:gd name="connsiteY859" fmla="*/ 1062034 h 6858000"/>
              <a:gd name="connsiteX860" fmla="*/ 5790982 w 7467600"/>
              <a:gd name="connsiteY860" fmla="*/ 1561380 h 6858000"/>
              <a:gd name="connsiteX861" fmla="*/ 6188971 w 7467600"/>
              <a:gd name="connsiteY861" fmla="*/ 1755168 h 6858000"/>
              <a:gd name="connsiteX862" fmla="*/ 6202446 w 7467600"/>
              <a:gd name="connsiteY862" fmla="*/ 1752268 h 6858000"/>
              <a:gd name="connsiteX863" fmla="*/ 7179560 w 7467600"/>
              <a:gd name="connsiteY863" fmla="*/ 1467551 h 6858000"/>
              <a:gd name="connsiteX864" fmla="*/ 7158730 w 7467600"/>
              <a:gd name="connsiteY864" fmla="*/ 1507835 h 6858000"/>
              <a:gd name="connsiteX865" fmla="*/ 6326959 w 7467600"/>
              <a:gd name="connsiteY865" fmla="*/ 1817686 h 6858000"/>
              <a:gd name="connsiteX866" fmla="*/ 6537433 w 7467600"/>
              <a:gd name="connsiteY866" fmla="*/ 1907790 h 6858000"/>
              <a:gd name="connsiteX867" fmla="*/ 6550221 w 7467600"/>
              <a:gd name="connsiteY867" fmla="*/ 1910729 h 6858000"/>
              <a:gd name="connsiteX868" fmla="*/ 6964438 w 7467600"/>
              <a:gd name="connsiteY868" fmla="*/ 2209505 h 6858000"/>
              <a:gd name="connsiteX869" fmla="*/ 7367862 w 7467600"/>
              <a:gd name="connsiteY869" fmla="*/ 2806833 h 6858000"/>
              <a:gd name="connsiteX870" fmla="*/ 7364329 w 7467600"/>
              <a:gd name="connsiteY870" fmla="*/ 2826907 h 6858000"/>
              <a:gd name="connsiteX871" fmla="*/ 7290545 w 7467600"/>
              <a:gd name="connsiteY871" fmla="*/ 2850663 h 6858000"/>
              <a:gd name="connsiteX872" fmla="*/ 6472036 w 7467600"/>
              <a:gd name="connsiteY872" fmla="*/ 1959003 h 6858000"/>
              <a:gd name="connsiteX873" fmla="*/ 5792897 w 7467600"/>
              <a:gd name="connsiteY873" fmla="*/ 1647747 h 6858000"/>
              <a:gd name="connsiteX874" fmla="*/ 5842751 w 7467600"/>
              <a:gd name="connsiteY874" fmla="*/ 1816112 h 6858000"/>
              <a:gd name="connsiteX875" fmla="*/ 5847424 w 7467600"/>
              <a:gd name="connsiteY875" fmla="*/ 1815776 h 6858000"/>
              <a:gd name="connsiteX876" fmla="*/ 6399821 w 7467600"/>
              <a:gd name="connsiteY876" fmla="*/ 2344799 h 6858000"/>
              <a:gd name="connsiteX877" fmla="*/ 6323232 w 7467600"/>
              <a:gd name="connsiteY877" fmla="*/ 2389634 h 6858000"/>
              <a:gd name="connsiteX878" fmla="*/ 5942958 w 7467600"/>
              <a:gd name="connsiteY878" fmla="*/ 2077708 h 6858000"/>
              <a:gd name="connsiteX879" fmla="*/ 5921559 w 7467600"/>
              <a:gd name="connsiteY879" fmla="*/ 2378596 h 6858000"/>
              <a:gd name="connsiteX880" fmla="*/ 5817651 w 7467600"/>
              <a:gd name="connsiteY880" fmla="*/ 3023919 h 6858000"/>
              <a:gd name="connsiteX881" fmla="*/ 5729634 w 7467600"/>
              <a:gd name="connsiteY881" fmla="*/ 3051849 h 6858000"/>
              <a:gd name="connsiteX882" fmla="*/ 5611018 w 7467600"/>
              <a:gd name="connsiteY882" fmla="*/ 2316769 h 6858000"/>
              <a:gd name="connsiteX883" fmla="*/ 5687608 w 7467600"/>
              <a:gd name="connsiteY883" fmla="*/ 2039972 h 6858000"/>
              <a:gd name="connsiteX884" fmla="*/ 5657554 w 7467600"/>
              <a:gd name="connsiteY884" fmla="*/ 1576445 h 6858000"/>
              <a:gd name="connsiteX885" fmla="*/ 5150475 w 7467600"/>
              <a:gd name="connsiteY885" fmla="*/ 1274012 h 6858000"/>
              <a:gd name="connsiteX886" fmla="*/ 5349142 w 7467600"/>
              <a:gd name="connsiteY886" fmla="*/ 2204405 h 6858000"/>
              <a:gd name="connsiteX887" fmla="*/ 5262214 w 7467600"/>
              <a:gd name="connsiteY887" fmla="*/ 2233836 h 6858000"/>
              <a:gd name="connsiteX888" fmla="*/ 4981539 w 7467600"/>
              <a:gd name="connsiteY888" fmla="*/ 1542201 h 6858000"/>
              <a:gd name="connsiteX889" fmla="*/ 4958461 w 7467600"/>
              <a:gd name="connsiteY889" fmla="*/ 1136957 h 6858000"/>
              <a:gd name="connsiteX890" fmla="*/ 4655015 w 7467600"/>
              <a:gd name="connsiteY890" fmla="*/ 891426 h 6858000"/>
              <a:gd name="connsiteX891" fmla="*/ 4348002 w 7467600"/>
              <a:gd name="connsiteY891" fmla="*/ 2205895 h 6858000"/>
              <a:gd name="connsiteX892" fmla="*/ 4262250 w 7467600"/>
              <a:gd name="connsiteY892" fmla="*/ 2219972 h 6858000"/>
              <a:gd name="connsiteX893" fmla="*/ 4550611 w 7467600"/>
              <a:gd name="connsiteY893" fmla="*/ 817540 h 6858000"/>
              <a:gd name="connsiteX894" fmla="*/ 4564418 w 7467600"/>
              <a:gd name="connsiteY894" fmla="*/ 808293 h 6858000"/>
              <a:gd name="connsiteX895" fmla="*/ 4266388 w 7467600"/>
              <a:gd name="connsiteY895" fmla="*/ 500083 h 6858000"/>
              <a:gd name="connsiteX896" fmla="*/ 4032842 w 7467600"/>
              <a:gd name="connsiteY896" fmla="*/ 211809 h 6858000"/>
              <a:gd name="connsiteX897" fmla="*/ 3882765 w 7467600"/>
              <a:gd name="connsiteY897" fmla="*/ 0 h 6858000"/>
              <a:gd name="connsiteX898" fmla="*/ 3721337 w 7467600"/>
              <a:gd name="connsiteY898" fmla="*/ 0 h 6858000"/>
              <a:gd name="connsiteX899" fmla="*/ 3797544 w 7467600"/>
              <a:gd name="connsiteY899" fmla="*/ 0 h 6858000"/>
              <a:gd name="connsiteX900" fmla="*/ 3775734 w 7467600"/>
              <a:gd name="connsiteY900" fmla="*/ 95131 h 6858000"/>
              <a:gd name="connsiteX901" fmla="*/ 3724807 w 7467600"/>
              <a:gd name="connsiteY901" fmla="*/ 272257 h 6858000"/>
              <a:gd name="connsiteX902" fmla="*/ 3726844 w 7467600"/>
              <a:gd name="connsiteY902" fmla="*/ 282988 h 6858000"/>
              <a:gd name="connsiteX903" fmla="*/ 3742664 w 7467600"/>
              <a:gd name="connsiteY903" fmla="*/ 279918 h 6858000"/>
              <a:gd name="connsiteX904" fmla="*/ 4103910 w 7467600"/>
              <a:gd name="connsiteY904" fmla="*/ 1161917 h 6858000"/>
              <a:gd name="connsiteX905" fmla="*/ 4020269 w 7467600"/>
              <a:gd name="connsiteY905" fmla="*/ 1200406 h 6858000"/>
              <a:gd name="connsiteX906" fmla="*/ 3674882 w 7467600"/>
              <a:gd name="connsiteY906" fmla="*/ 488524 h 6858000"/>
              <a:gd name="connsiteX907" fmla="*/ 3132682 w 7467600"/>
              <a:gd name="connsiteY907" fmla="*/ 1072284 h 6858000"/>
              <a:gd name="connsiteX908" fmla="*/ 2716346 w 7467600"/>
              <a:gd name="connsiteY908" fmla="*/ 1276376 h 6858000"/>
              <a:gd name="connsiteX909" fmla="*/ 2716772 w 7467600"/>
              <a:gd name="connsiteY909" fmla="*/ 1255462 h 6858000"/>
              <a:gd name="connsiteX910" fmla="*/ 3471096 w 7467600"/>
              <a:gd name="connsiteY910" fmla="*/ 437072 h 6858000"/>
              <a:gd name="connsiteX911" fmla="*/ 3639057 w 7467600"/>
              <a:gd name="connsiteY911" fmla="*/ 286334 h 6858000"/>
              <a:gd name="connsiteX912" fmla="*/ 3640309 w 7467600"/>
              <a:gd name="connsiteY912" fmla="*/ 284664 h 6858000"/>
              <a:gd name="connsiteX913" fmla="*/ 3646022 w 7467600"/>
              <a:gd name="connsiteY913" fmla="*/ 276711 h 6858000"/>
              <a:gd name="connsiteX914" fmla="*/ 3707943 w 7467600"/>
              <a:gd name="connsiteY914" fmla="*/ 65958 h 6858000"/>
              <a:gd name="connsiteX915" fmla="*/ 3721337 w 7467600"/>
              <a:gd name="connsiteY915" fmla="*/ 0 h 6858000"/>
              <a:gd name="connsiteX916" fmla="*/ 2867960 w 7467600"/>
              <a:gd name="connsiteY916" fmla="*/ 0 h 6858000"/>
              <a:gd name="connsiteX917" fmla="*/ 2926351 w 7467600"/>
              <a:gd name="connsiteY917" fmla="*/ 0 h 6858000"/>
              <a:gd name="connsiteX918" fmla="*/ 2902823 w 7467600"/>
              <a:gd name="connsiteY918" fmla="*/ 262929 h 6858000"/>
              <a:gd name="connsiteX919" fmla="*/ 2940663 w 7467600"/>
              <a:gd name="connsiteY919" fmla="*/ 140884 h 6858000"/>
              <a:gd name="connsiteX920" fmla="*/ 2947039 w 7467600"/>
              <a:gd name="connsiteY920" fmla="*/ 122524 h 6858000"/>
              <a:gd name="connsiteX921" fmla="*/ 2984316 w 7467600"/>
              <a:gd name="connsiteY921" fmla="*/ 0 h 6858000"/>
              <a:gd name="connsiteX922" fmla="*/ 3016114 w 7467600"/>
              <a:gd name="connsiteY922" fmla="*/ 0 h 6858000"/>
              <a:gd name="connsiteX923" fmla="*/ 2979949 w 7467600"/>
              <a:gd name="connsiteY923" fmla="*/ 119274 h 6858000"/>
              <a:gd name="connsiteX924" fmla="*/ 3023879 w 7467600"/>
              <a:gd name="connsiteY924" fmla="*/ 0 h 6858000"/>
              <a:gd name="connsiteX925" fmla="*/ 3105400 w 7467600"/>
              <a:gd name="connsiteY925" fmla="*/ 0 h 6858000"/>
              <a:gd name="connsiteX926" fmla="*/ 3094669 w 7467600"/>
              <a:gd name="connsiteY926" fmla="*/ 30308 h 6858000"/>
              <a:gd name="connsiteX927" fmla="*/ 2901945 w 7467600"/>
              <a:gd name="connsiteY927" fmla="*/ 466538 h 6858000"/>
              <a:gd name="connsiteX928" fmla="*/ 2815209 w 7467600"/>
              <a:gd name="connsiteY928" fmla="*/ 497361 h 6858000"/>
              <a:gd name="connsiteX929" fmla="*/ 2844845 w 7467600"/>
              <a:gd name="connsiteY929" fmla="*/ 127638 h 6858000"/>
              <a:gd name="connsiteX930" fmla="*/ 2867960 w 7467600"/>
              <a:gd name="connsiteY930" fmla="*/ 0 h 6858000"/>
              <a:gd name="connsiteX931" fmla="*/ 1057230 w 7467600"/>
              <a:gd name="connsiteY931" fmla="*/ 0 h 6858000"/>
              <a:gd name="connsiteX932" fmla="*/ 1111003 w 7467600"/>
              <a:gd name="connsiteY932" fmla="*/ 0 h 6858000"/>
              <a:gd name="connsiteX933" fmla="*/ 1125553 w 7467600"/>
              <a:gd name="connsiteY933" fmla="*/ 52588 h 6858000"/>
              <a:gd name="connsiteX934" fmla="*/ 1304276 w 7467600"/>
              <a:gd name="connsiteY934" fmla="*/ 476275 h 6858000"/>
              <a:gd name="connsiteX935" fmla="*/ 1492066 w 7467600"/>
              <a:gd name="connsiteY935" fmla="*/ 886333 h 6858000"/>
              <a:gd name="connsiteX936" fmla="*/ 1423698 w 7467600"/>
              <a:gd name="connsiteY936" fmla="*/ 710817 h 6858000"/>
              <a:gd name="connsiteX937" fmla="*/ 1357609 w 7467600"/>
              <a:gd name="connsiteY937" fmla="*/ 532892 h 6858000"/>
              <a:gd name="connsiteX938" fmla="*/ 1309550 w 7467600"/>
              <a:gd name="connsiteY938" fmla="*/ 374031 h 6858000"/>
              <a:gd name="connsiteX939" fmla="*/ 1193673 w 7467600"/>
              <a:gd name="connsiteY939" fmla="*/ 49533 h 6858000"/>
              <a:gd name="connsiteX940" fmla="*/ 1164391 w 7467600"/>
              <a:gd name="connsiteY940" fmla="*/ 0 h 6858000"/>
              <a:gd name="connsiteX941" fmla="*/ 1200666 w 7467600"/>
              <a:gd name="connsiteY941" fmla="*/ 0 h 6858000"/>
              <a:gd name="connsiteX942" fmla="*/ 1223408 w 7467600"/>
              <a:gd name="connsiteY942" fmla="*/ 38996 h 6858000"/>
              <a:gd name="connsiteX943" fmla="*/ 1339635 w 7467600"/>
              <a:gd name="connsiteY943" fmla="*/ 365517 h 6858000"/>
              <a:gd name="connsiteX944" fmla="*/ 1387469 w 7467600"/>
              <a:gd name="connsiteY944" fmla="*/ 523079 h 6858000"/>
              <a:gd name="connsiteX945" fmla="*/ 1452685 w 7467600"/>
              <a:gd name="connsiteY945" fmla="*/ 699806 h 6858000"/>
              <a:gd name="connsiteX946" fmla="*/ 1492092 w 7467600"/>
              <a:gd name="connsiteY946" fmla="*/ 800424 h 6858000"/>
              <a:gd name="connsiteX947" fmla="*/ 1455302 w 7467600"/>
              <a:gd name="connsiteY947" fmla="*/ 632913 h 6858000"/>
              <a:gd name="connsiteX948" fmla="*/ 1222336 w 7467600"/>
              <a:gd name="connsiteY948" fmla="*/ 9480 h 6858000"/>
              <a:gd name="connsiteX949" fmla="*/ 1214634 w 7467600"/>
              <a:gd name="connsiteY949" fmla="*/ 0 h 6858000"/>
              <a:gd name="connsiteX950" fmla="*/ 1289827 w 7467600"/>
              <a:gd name="connsiteY950" fmla="*/ 0 h 6858000"/>
              <a:gd name="connsiteX951" fmla="*/ 1321076 w 7467600"/>
              <a:gd name="connsiteY951" fmla="*/ 59722 h 6858000"/>
              <a:gd name="connsiteX952" fmla="*/ 1512579 w 7467600"/>
              <a:gd name="connsiteY952" fmla="*/ 626441 h 6858000"/>
              <a:gd name="connsiteX953" fmla="*/ 1506076 w 7467600"/>
              <a:gd name="connsiteY953" fmla="*/ 1089289 h 6858000"/>
              <a:gd name="connsiteX954" fmla="*/ 1486346 w 7467600"/>
              <a:gd name="connsiteY954" fmla="*/ 1079919 h 6858000"/>
              <a:gd name="connsiteX955" fmla="*/ 1070511 w 7467600"/>
              <a:gd name="connsiteY955" fmla="*/ 48609 h 6858000"/>
              <a:gd name="connsiteX956" fmla="*/ 1057230 w 7467600"/>
              <a:gd name="connsiteY956" fmla="*/ 0 h 6858000"/>
              <a:gd name="connsiteX957" fmla="*/ 43151 w 7467600"/>
              <a:gd name="connsiteY957" fmla="*/ 0 h 6858000"/>
              <a:gd name="connsiteX958" fmla="*/ 95283 w 7467600"/>
              <a:gd name="connsiteY958" fmla="*/ 0 h 6858000"/>
              <a:gd name="connsiteX959" fmla="*/ 300708 w 7467600"/>
              <a:gd name="connsiteY959" fmla="*/ 154571 h 6858000"/>
              <a:gd name="connsiteX960" fmla="*/ 530414 w 7467600"/>
              <a:gd name="connsiteY960" fmla="*/ 354673 h 6858000"/>
              <a:gd name="connsiteX961" fmla="*/ 333785 w 7467600"/>
              <a:gd name="connsiteY961" fmla="*/ 161564 h 6858000"/>
              <a:gd name="connsiteX962" fmla="*/ 147005 w 7467600"/>
              <a:gd name="connsiteY962" fmla="*/ 0 h 6858000"/>
              <a:gd name="connsiteX963" fmla="*/ 272509 w 7467600"/>
              <a:gd name="connsiteY963" fmla="*/ 0 h 6858000"/>
              <a:gd name="connsiteX964" fmla="*/ 326276 w 7467600"/>
              <a:gd name="connsiteY964" fmla="*/ 45847 h 6858000"/>
              <a:gd name="connsiteX965" fmla="*/ 823759 w 7467600"/>
              <a:gd name="connsiteY965" fmla="*/ 574145 h 6858000"/>
              <a:gd name="connsiteX966" fmla="*/ 811254 w 7467600"/>
              <a:gd name="connsiteY966" fmla="*/ 665546 h 6858000"/>
              <a:gd name="connsiteX967" fmla="*/ 154042 w 7467600"/>
              <a:gd name="connsiteY967" fmla="*/ 261522 h 6858000"/>
              <a:gd name="connsiteX968" fmla="*/ 13550 w 7467600"/>
              <a:gd name="connsiteY968" fmla="*/ 158423 h 6858000"/>
              <a:gd name="connsiteX969" fmla="*/ 0 w 7467600"/>
              <a:gd name="connsiteY969" fmla="*/ 146618 h 6858000"/>
              <a:gd name="connsiteX970" fmla="*/ 0 w 7467600"/>
              <a:gd name="connsiteY970" fmla="*/ 59161 h 6858000"/>
              <a:gd name="connsiteX971" fmla="*/ 45427 w 7467600"/>
              <a:gd name="connsiteY971" fmla="*/ 101078 h 6858000"/>
              <a:gd name="connsiteX972" fmla="*/ 630103 w 7467600"/>
              <a:gd name="connsiteY972" fmla="*/ 485885 h 6858000"/>
              <a:gd name="connsiteX973" fmla="*/ 532040 w 7467600"/>
              <a:gd name="connsiteY973" fmla="*/ 399359 h 6858000"/>
              <a:gd name="connsiteX974" fmla="*/ 517618 w 7467600"/>
              <a:gd name="connsiteY974" fmla="*/ 385726 h 6858000"/>
              <a:gd name="connsiteX975" fmla="*/ 285074 w 7467600"/>
              <a:gd name="connsiteY975" fmla="*/ 182755 h 6858000"/>
              <a:gd name="connsiteX976" fmla="*/ 43151 w 7467600"/>
              <a:gd name="connsiteY976"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6844835 w 7467600"/>
              <a:gd name="connsiteY74" fmla="*/ 5424988 h 6858000"/>
              <a:gd name="connsiteX75" fmla="*/ 6879594 w 7467600"/>
              <a:gd name="connsiteY75" fmla="*/ 5424547 h 6858000"/>
              <a:gd name="connsiteX76" fmla="*/ 7379510 w 7467600"/>
              <a:gd name="connsiteY76" fmla="*/ 5755454 h 6858000"/>
              <a:gd name="connsiteX77" fmla="*/ 7467600 w 7467600"/>
              <a:gd name="connsiteY77" fmla="*/ 5845526 h 6858000"/>
              <a:gd name="connsiteX78" fmla="*/ 7271900 w 7467600"/>
              <a:gd name="connsiteY78" fmla="*/ 5734551 h 6858000"/>
              <a:gd name="connsiteX79" fmla="*/ 7015907 w 7467600"/>
              <a:gd name="connsiteY79" fmla="*/ 5541548 h 6858000"/>
              <a:gd name="connsiteX80" fmla="*/ 7259646 w 7467600"/>
              <a:gd name="connsiteY80" fmla="*/ 5765985 h 6858000"/>
              <a:gd name="connsiteX81" fmla="*/ 7467600 w 7467600"/>
              <a:gd name="connsiteY81" fmla="*/ 6012219 h 6858000"/>
              <a:gd name="connsiteX82" fmla="*/ 6946849 w 7467600"/>
              <a:gd name="connsiteY82" fmla="*/ 5523271 h 6858000"/>
              <a:gd name="connsiteX83" fmla="*/ 6946972 w 7467600"/>
              <a:gd name="connsiteY83" fmla="*/ 5526491 h 6858000"/>
              <a:gd name="connsiteX84" fmla="*/ 7105827 w 7467600"/>
              <a:gd name="connsiteY84" fmla="*/ 5718700 h 6858000"/>
              <a:gd name="connsiteX85" fmla="*/ 7356878 w 7467600"/>
              <a:gd name="connsiteY85" fmla="*/ 5981332 h 6858000"/>
              <a:gd name="connsiteX86" fmla="*/ 7467600 w 7467600"/>
              <a:gd name="connsiteY86" fmla="*/ 6117703 h 6858000"/>
              <a:gd name="connsiteX87" fmla="*/ 7467600 w 7467600"/>
              <a:gd name="connsiteY87" fmla="*/ 6163634 h 6858000"/>
              <a:gd name="connsiteX88" fmla="*/ 7403637 w 7467600"/>
              <a:gd name="connsiteY88" fmla="*/ 6083957 h 6858000"/>
              <a:gd name="connsiteX89" fmla="*/ 7254615 w 7467600"/>
              <a:gd name="connsiteY89" fmla="*/ 5911918 h 6858000"/>
              <a:gd name="connsiteX90" fmla="*/ 7312589 w 7467600"/>
              <a:gd name="connsiteY90" fmla="*/ 5982309 h 6858000"/>
              <a:gd name="connsiteX91" fmla="*/ 7448321 w 7467600"/>
              <a:gd name="connsiteY91" fmla="*/ 6190991 h 6858000"/>
              <a:gd name="connsiteX92" fmla="*/ 7467600 w 7467600"/>
              <a:gd name="connsiteY92" fmla="*/ 6221686 h 6858000"/>
              <a:gd name="connsiteX93" fmla="*/ 7467600 w 7467600"/>
              <a:gd name="connsiteY93" fmla="*/ 6334256 h 6858000"/>
              <a:gd name="connsiteX94" fmla="*/ 7454976 w 7467600"/>
              <a:gd name="connsiteY94" fmla="*/ 6318297 h 6858000"/>
              <a:gd name="connsiteX95" fmla="*/ 7042773 w 7467600"/>
              <a:gd name="connsiteY95" fmla="*/ 5734011 h 6858000"/>
              <a:gd name="connsiteX96" fmla="*/ 6844835 w 7467600"/>
              <a:gd name="connsiteY96" fmla="*/ 5424988 h 6858000"/>
              <a:gd name="connsiteX97" fmla="*/ 1456157 w 7467600"/>
              <a:gd name="connsiteY97" fmla="*/ 5371404 h 6858000"/>
              <a:gd name="connsiteX98" fmla="*/ 1244432 w 7467600"/>
              <a:gd name="connsiteY98" fmla="*/ 5385601 h 6858000"/>
              <a:gd name="connsiteX99" fmla="*/ 973990 w 7467600"/>
              <a:gd name="connsiteY99" fmla="*/ 5424940 h 6858000"/>
              <a:gd name="connsiteX100" fmla="*/ 1103809 w 7467600"/>
              <a:gd name="connsiteY100" fmla="*/ 5433720 h 6858000"/>
              <a:gd name="connsiteX101" fmla="*/ 1123454 w 7467600"/>
              <a:gd name="connsiteY101" fmla="*/ 5435727 h 6858000"/>
              <a:gd name="connsiteX102" fmla="*/ 1737017 w 7467600"/>
              <a:gd name="connsiteY102" fmla="*/ 5452183 h 6858000"/>
              <a:gd name="connsiteX103" fmla="*/ 1824397 w 7467600"/>
              <a:gd name="connsiteY103" fmla="*/ 5447757 h 6858000"/>
              <a:gd name="connsiteX104" fmla="*/ 2070059 w 7467600"/>
              <a:gd name="connsiteY104" fmla="*/ 5441660 h 6858000"/>
              <a:gd name="connsiteX105" fmla="*/ 1456157 w 7467600"/>
              <a:gd name="connsiteY105" fmla="*/ 5371404 h 6858000"/>
              <a:gd name="connsiteX106" fmla="*/ 4988186 w 7467600"/>
              <a:gd name="connsiteY106" fmla="*/ 5216467 h 6858000"/>
              <a:gd name="connsiteX107" fmla="*/ 4777334 w 7467600"/>
              <a:gd name="connsiteY107" fmla="*/ 5406072 h 6858000"/>
              <a:gd name="connsiteX108" fmla="*/ 4718341 w 7467600"/>
              <a:gd name="connsiteY108" fmla="*/ 5468043 h 6858000"/>
              <a:gd name="connsiteX109" fmla="*/ 4604655 w 7467600"/>
              <a:gd name="connsiteY109" fmla="*/ 5583434 h 6858000"/>
              <a:gd name="connsiteX110" fmla="*/ 4565074 w 7467600"/>
              <a:gd name="connsiteY110" fmla="*/ 5618550 h 6858000"/>
              <a:gd name="connsiteX111" fmla="*/ 4988186 w 7467600"/>
              <a:gd name="connsiteY111" fmla="*/ 5216467 h 6858000"/>
              <a:gd name="connsiteX112" fmla="*/ 4978032 w 7467600"/>
              <a:gd name="connsiteY112" fmla="*/ 5183809 h 6858000"/>
              <a:gd name="connsiteX113" fmla="*/ 4463413 w 7467600"/>
              <a:gd name="connsiteY113" fmla="*/ 5615162 h 6858000"/>
              <a:gd name="connsiteX114" fmla="*/ 4358134 w 7467600"/>
              <a:gd name="connsiteY114" fmla="*/ 5742791 h 6858000"/>
              <a:gd name="connsiteX115" fmla="*/ 4376219 w 7467600"/>
              <a:gd name="connsiteY115" fmla="*/ 5729027 h 6858000"/>
              <a:gd name="connsiteX116" fmla="*/ 4582340 w 7467600"/>
              <a:gd name="connsiteY116" fmla="*/ 5561037 h 6858000"/>
              <a:gd name="connsiteX117" fmla="*/ 4694684 w 7467600"/>
              <a:gd name="connsiteY117" fmla="*/ 5447098 h 6858000"/>
              <a:gd name="connsiteX118" fmla="*/ 4754123 w 7467600"/>
              <a:gd name="connsiteY118" fmla="*/ 5384643 h 6858000"/>
              <a:gd name="connsiteX119" fmla="*/ 4978032 w 7467600"/>
              <a:gd name="connsiteY119" fmla="*/ 5183809 h 6858000"/>
              <a:gd name="connsiteX120" fmla="*/ 1903353 w 7467600"/>
              <a:gd name="connsiteY120" fmla="*/ 5044827 h 6858000"/>
              <a:gd name="connsiteX121" fmla="*/ 1936931 w 7467600"/>
              <a:gd name="connsiteY121" fmla="*/ 5093954 h 6858000"/>
              <a:gd name="connsiteX122" fmla="*/ 2195868 w 7467600"/>
              <a:gd name="connsiteY122" fmla="*/ 5396574 h 6858000"/>
              <a:gd name="connsiteX123" fmla="*/ 2088852 w 7467600"/>
              <a:gd name="connsiteY123" fmla="*/ 5166123 h 6858000"/>
              <a:gd name="connsiteX124" fmla="*/ 1958241 w 7467600"/>
              <a:gd name="connsiteY124" fmla="*/ 5067955 h 6858000"/>
              <a:gd name="connsiteX125" fmla="*/ 1903353 w 7467600"/>
              <a:gd name="connsiteY125" fmla="*/ 5044827 h 6858000"/>
              <a:gd name="connsiteX126" fmla="*/ 1979378 w 7467600"/>
              <a:gd name="connsiteY126" fmla="*/ 4769504 h 6858000"/>
              <a:gd name="connsiteX127" fmla="*/ 2882120 w 7467600"/>
              <a:gd name="connsiteY127" fmla="*/ 5064547 h 6858000"/>
              <a:gd name="connsiteX128" fmla="*/ 2793103 w 7467600"/>
              <a:gd name="connsiteY128" fmla="*/ 5039699 h 6858000"/>
              <a:gd name="connsiteX129" fmla="*/ 2770041 w 7467600"/>
              <a:gd name="connsiteY129" fmla="*/ 5033634 h 6858000"/>
              <a:gd name="connsiteX130" fmla="*/ 1979378 w 7467600"/>
              <a:gd name="connsiteY130" fmla="*/ 4769504 h 6858000"/>
              <a:gd name="connsiteX131" fmla="*/ 1927410 w 7467600"/>
              <a:gd name="connsiteY131" fmla="*/ 4716164 h 6858000"/>
              <a:gd name="connsiteX132" fmla="*/ 1959587 w 7467600"/>
              <a:gd name="connsiteY132" fmla="*/ 4728849 h 6858000"/>
              <a:gd name="connsiteX133" fmla="*/ 2777707 w 7467600"/>
              <a:gd name="connsiteY133" fmla="*/ 5003991 h 6858000"/>
              <a:gd name="connsiteX134" fmla="*/ 2800768 w 7467600"/>
              <a:gd name="connsiteY134" fmla="*/ 5010056 h 6858000"/>
              <a:gd name="connsiteX135" fmla="*/ 2879408 w 7467600"/>
              <a:gd name="connsiteY135" fmla="*/ 5031590 h 6858000"/>
              <a:gd name="connsiteX136" fmla="*/ 2862295 w 7467600"/>
              <a:gd name="connsiteY136" fmla="*/ 5022958 h 6858000"/>
              <a:gd name="connsiteX137" fmla="*/ 2813343 w 7467600"/>
              <a:gd name="connsiteY137" fmla="*/ 4998369 h 6858000"/>
              <a:gd name="connsiteX138" fmla="*/ 2646245 w 7467600"/>
              <a:gd name="connsiteY138" fmla="*/ 4930999 h 6858000"/>
              <a:gd name="connsiteX139" fmla="*/ 1999243 w 7467600"/>
              <a:gd name="connsiteY139" fmla="*/ 4730524 h 6858000"/>
              <a:gd name="connsiteX140" fmla="*/ 1979527 w 7467600"/>
              <a:gd name="connsiteY140" fmla="*/ 4726651 h 6858000"/>
              <a:gd name="connsiteX141" fmla="*/ 1927410 w 7467600"/>
              <a:gd name="connsiteY141" fmla="*/ 4716164 h 6858000"/>
              <a:gd name="connsiteX142" fmla="*/ 1997014 w 7467600"/>
              <a:gd name="connsiteY142" fmla="*/ 4698007 h 6858000"/>
              <a:gd name="connsiteX143" fmla="*/ 2005458 w 7467600"/>
              <a:gd name="connsiteY143" fmla="*/ 4699540 h 6858000"/>
              <a:gd name="connsiteX144" fmla="*/ 2657186 w 7467600"/>
              <a:gd name="connsiteY144" fmla="*/ 4901687 h 6858000"/>
              <a:gd name="connsiteX145" fmla="*/ 2826662 w 7467600"/>
              <a:gd name="connsiteY145" fmla="*/ 4970362 h 6858000"/>
              <a:gd name="connsiteX146" fmla="*/ 2876100 w 7467600"/>
              <a:gd name="connsiteY146" fmla="*/ 4995397 h 6858000"/>
              <a:gd name="connsiteX147" fmla="*/ 3042600 w 7467600"/>
              <a:gd name="connsiteY147" fmla="*/ 5059532 h 6858000"/>
              <a:gd name="connsiteX148" fmla="*/ 1997014 w 7467600"/>
              <a:gd name="connsiteY148" fmla="*/ 4698007 h 6858000"/>
              <a:gd name="connsiteX149" fmla="*/ 2305292 w 7467600"/>
              <a:gd name="connsiteY149" fmla="*/ 4219492 h 6858000"/>
              <a:gd name="connsiteX150" fmla="*/ 3360922 w 7467600"/>
              <a:gd name="connsiteY150" fmla="*/ 4529373 h 6858000"/>
              <a:gd name="connsiteX151" fmla="*/ 3492420 w 7467600"/>
              <a:gd name="connsiteY151" fmla="*/ 4510145 h 6858000"/>
              <a:gd name="connsiteX152" fmla="*/ 3364086 w 7467600"/>
              <a:gd name="connsiteY152" fmla="*/ 4480340 h 6858000"/>
              <a:gd name="connsiteX153" fmla="*/ 3225818 w 7467600"/>
              <a:gd name="connsiteY153" fmla="*/ 4411822 h 6858000"/>
              <a:gd name="connsiteX154" fmla="*/ 3129696 w 7467600"/>
              <a:gd name="connsiteY154" fmla="*/ 4360704 h 6858000"/>
              <a:gd name="connsiteX155" fmla="*/ 2814545 w 7467600"/>
              <a:gd name="connsiteY155" fmla="*/ 4282955 h 6858000"/>
              <a:gd name="connsiteX156" fmla="*/ 2305292 w 7467600"/>
              <a:gd name="connsiteY156" fmla="*/ 4219492 h 6858000"/>
              <a:gd name="connsiteX157" fmla="*/ 2626982 w 7467600"/>
              <a:gd name="connsiteY157" fmla="*/ 4206450 h 6858000"/>
              <a:gd name="connsiteX158" fmla="*/ 2490617 w 7467600"/>
              <a:gd name="connsiteY158" fmla="*/ 4206951 h 6858000"/>
              <a:gd name="connsiteX159" fmla="*/ 2819869 w 7467600"/>
              <a:gd name="connsiteY159" fmla="*/ 4252936 h 6858000"/>
              <a:gd name="connsiteX160" fmla="*/ 3143018 w 7467600"/>
              <a:gd name="connsiteY160" fmla="*/ 4332698 h 6858000"/>
              <a:gd name="connsiteX161" fmla="*/ 3241520 w 7467600"/>
              <a:gd name="connsiteY161" fmla="*/ 4385112 h 6858000"/>
              <a:gd name="connsiteX162" fmla="*/ 3374575 w 7467600"/>
              <a:gd name="connsiteY162" fmla="*/ 4451517 h 6858000"/>
              <a:gd name="connsiteX163" fmla="*/ 3505221 w 7467600"/>
              <a:gd name="connsiteY163" fmla="*/ 4480757 h 6858000"/>
              <a:gd name="connsiteX164" fmla="*/ 2626982 w 7467600"/>
              <a:gd name="connsiteY164" fmla="*/ 4206450 h 6858000"/>
              <a:gd name="connsiteX165" fmla="*/ 1310106 w 7467600"/>
              <a:gd name="connsiteY165" fmla="*/ 3943217 h 6858000"/>
              <a:gd name="connsiteX166" fmla="*/ 854994 w 7467600"/>
              <a:gd name="connsiteY166" fmla="*/ 4399136 h 6858000"/>
              <a:gd name="connsiteX167" fmla="*/ 742462 w 7467600"/>
              <a:gd name="connsiteY167" fmla="*/ 4594648 h 6858000"/>
              <a:gd name="connsiteX168" fmla="*/ 820602 w 7467600"/>
              <a:gd name="connsiteY168" fmla="*/ 4485915 h 6858000"/>
              <a:gd name="connsiteX169" fmla="*/ 878295 w 7467600"/>
              <a:gd name="connsiteY169" fmla="*/ 4403594 h 6858000"/>
              <a:gd name="connsiteX170" fmla="*/ 1240607 w 7467600"/>
              <a:gd name="connsiteY170" fmla="*/ 4010401 h 6858000"/>
              <a:gd name="connsiteX171" fmla="*/ 1310106 w 7467600"/>
              <a:gd name="connsiteY171" fmla="*/ 3943217 h 6858000"/>
              <a:gd name="connsiteX172" fmla="*/ 1423113 w 7467600"/>
              <a:gd name="connsiteY172" fmla="*/ 3874565 h 6858000"/>
              <a:gd name="connsiteX173" fmla="*/ 1260565 w 7467600"/>
              <a:gd name="connsiteY173" fmla="*/ 4031982 h 6858000"/>
              <a:gd name="connsiteX174" fmla="*/ 901900 w 7467600"/>
              <a:gd name="connsiteY174" fmla="*/ 4421236 h 6858000"/>
              <a:gd name="connsiteX175" fmla="*/ 845044 w 7467600"/>
              <a:gd name="connsiteY175" fmla="*/ 4502436 h 6858000"/>
              <a:gd name="connsiteX176" fmla="*/ 685926 w 7467600"/>
              <a:gd name="connsiteY176" fmla="*/ 4703069 h 6858000"/>
              <a:gd name="connsiteX177" fmla="*/ 684248 w 7467600"/>
              <a:gd name="connsiteY177" fmla="*/ 4706721 h 6858000"/>
              <a:gd name="connsiteX178" fmla="*/ 1423113 w 7467600"/>
              <a:gd name="connsiteY178" fmla="*/ 3874565 h 6858000"/>
              <a:gd name="connsiteX179" fmla="*/ 3316479 w 7467600"/>
              <a:gd name="connsiteY179" fmla="*/ 3872136 h 6858000"/>
              <a:gd name="connsiteX180" fmla="*/ 3546806 w 7467600"/>
              <a:gd name="connsiteY180" fmla="*/ 4356139 h 6858000"/>
              <a:gd name="connsiteX181" fmla="*/ 3364433 w 7467600"/>
              <a:gd name="connsiteY181" fmla="*/ 3953121 h 6858000"/>
              <a:gd name="connsiteX182" fmla="*/ 3316479 w 7467600"/>
              <a:gd name="connsiteY182" fmla="*/ 3872136 h 6858000"/>
              <a:gd name="connsiteX183" fmla="*/ 3291335 w 7467600"/>
              <a:gd name="connsiteY183" fmla="*/ 3767420 h 6858000"/>
              <a:gd name="connsiteX184" fmla="*/ 3390805 w 7467600"/>
              <a:gd name="connsiteY184" fmla="*/ 3937163 h 6858000"/>
              <a:gd name="connsiteX185" fmla="*/ 3579062 w 7467600"/>
              <a:gd name="connsiteY185" fmla="*/ 4359040 h 6858000"/>
              <a:gd name="connsiteX186" fmla="*/ 3467355 w 7467600"/>
              <a:gd name="connsiteY186" fmla="*/ 3988130 h 6858000"/>
              <a:gd name="connsiteX187" fmla="*/ 3310753 w 7467600"/>
              <a:gd name="connsiteY187" fmla="*/ 3787140 h 6858000"/>
              <a:gd name="connsiteX188" fmla="*/ 3291335 w 7467600"/>
              <a:gd name="connsiteY188" fmla="*/ 3767420 h 6858000"/>
              <a:gd name="connsiteX189" fmla="*/ 1635889 w 7467600"/>
              <a:gd name="connsiteY189" fmla="*/ 3709494 h 6858000"/>
              <a:gd name="connsiteX190" fmla="*/ 1634800 w 7467600"/>
              <a:gd name="connsiteY190" fmla="*/ 3731111 h 6858000"/>
              <a:gd name="connsiteX191" fmla="*/ 1635889 w 7467600"/>
              <a:gd name="connsiteY191" fmla="*/ 3709494 h 6858000"/>
              <a:gd name="connsiteX192" fmla="*/ 1510397 w 7467600"/>
              <a:gd name="connsiteY192" fmla="*/ 3684705 h 6858000"/>
              <a:gd name="connsiteX193" fmla="*/ 1146550 w 7467600"/>
              <a:gd name="connsiteY193" fmla="*/ 3802012 h 6858000"/>
              <a:gd name="connsiteX194" fmla="*/ 698834 w 7467600"/>
              <a:gd name="connsiteY194" fmla="*/ 3952272 h 6858000"/>
              <a:gd name="connsiteX195" fmla="*/ 34256 w 7467600"/>
              <a:gd name="connsiteY195" fmla="*/ 4347603 h 6858000"/>
              <a:gd name="connsiteX196" fmla="*/ 527241 w 7467600"/>
              <a:gd name="connsiteY196" fmla="*/ 4065078 h 6858000"/>
              <a:gd name="connsiteX197" fmla="*/ 1510397 w 7467600"/>
              <a:gd name="connsiteY197" fmla="*/ 3684705 h 6858000"/>
              <a:gd name="connsiteX198" fmla="*/ 1313114 w 7467600"/>
              <a:gd name="connsiteY198" fmla="*/ 3655216 h 6858000"/>
              <a:gd name="connsiteX199" fmla="*/ 1109304 w 7467600"/>
              <a:gd name="connsiteY199" fmla="*/ 3669030 h 6858000"/>
              <a:gd name="connsiteX200" fmla="*/ 8129 w 7467600"/>
              <a:gd name="connsiteY200" fmla="*/ 4330519 h 6858000"/>
              <a:gd name="connsiteX201" fmla="*/ 687572 w 7467600"/>
              <a:gd name="connsiteY201" fmla="*/ 3925629 h 6858000"/>
              <a:gd name="connsiteX202" fmla="*/ 1138365 w 7467600"/>
              <a:gd name="connsiteY202" fmla="*/ 3774515 h 6858000"/>
              <a:gd name="connsiteX203" fmla="*/ 1505579 w 7467600"/>
              <a:gd name="connsiteY203" fmla="*/ 3655526 h 6858000"/>
              <a:gd name="connsiteX204" fmla="*/ 1313114 w 7467600"/>
              <a:gd name="connsiteY204" fmla="*/ 3655216 h 6858000"/>
              <a:gd name="connsiteX205" fmla="*/ 3655073 w 7467600"/>
              <a:gd name="connsiteY205" fmla="*/ 3650884 h 6858000"/>
              <a:gd name="connsiteX206" fmla="*/ 3989938 w 7467600"/>
              <a:gd name="connsiteY206" fmla="*/ 3991685 h 6858000"/>
              <a:gd name="connsiteX207" fmla="*/ 4393907 w 7467600"/>
              <a:gd name="connsiteY207" fmla="*/ 4261258 h 6858000"/>
              <a:gd name="connsiteX208" fmla="*/ 4648051 w 7467600"/>
              <a:gd name="connsiteY208" fmla="*/ 4374051 h 6858000"/>
              <a:gd name="connsiteX209" fmla="*/ 4383389 w 7467600"/>
              <a:gd name="connsiteY209" fmla="*/ 4184369 h 6858000"/>
              <a:gd name="connsiteX210" fmla="*/ 4165508 w 7467600"/>
              <a:gd name="connsiteY210" fmla="*/ 4035196 h 6858000"/>
              <a:gd name="connsiteX211" fmla="*/ 4068162 w 7467600"/>
              <a:gd name="connsiteY211" fmla="*/ 3953394 h 6858000"/>
              <a:gd name="connsiteX212" fmla="*/ 3981416 w 7467600"/>
              <a:gd name="connsiteY212" fmla="*/ 3880482 h 6858000"/>
              <a:gd name="connsiteX213" fmla="*/ 3800147 w 7467600"/>
              <a:gd name="connsiteY213" fmla="*/ 3749872 h 6858000"/>
              <a:gd name="connsiteX214" fmla="*/ 3655073 w 7467600"/>
              <a:gd name="connsiteY214" fmla="*/ 3650884 h 6858000"/>
              <a:gd name="connsiteX215" fmla="*/ 3670252 w 7467600"/>
              <a:gd name="connsiteY215" fmla="*/ 3622798 h 6858000"/>
              <a:gd name="connsiteX216" fmla="*/ 3817258 w 7467600"/>
              <a:gd name="connsiteY216" fmla="*/ 3723577 h 6858000"/>
              <a:gd name="connsiteX217" fmla="*/ 4000461 w 7467600"/>
              <a:gd name="connsiteY217" fmla="*/ 3855966 h 6858000"/>
              <a:gd name="connsiteX218" fmla="*/ 4088180 w 7467600"/>
              <a:gd name="connsiteY218" fmla="*/ 3929774 h 6858000"/>
              <a:gd name="connsiteX219" fmla="*/ 4184555 w 7467600"/>
              <a:gd name="connsiteY219" fmla="*/ 4010683 h 6858000"/>
              <a:gd name="connsiteX220" fmla="*/ 4399563 w 7467600"/>
              <a:gd name="connsiteY220" fmla="*/ 4158106 h 6858000"/>
              <a:gd name="connsiteX221" fmla="*/ 4684469 w 7467600"/>
              <a:gd name="connsiteY221" fmla="*/ 4364680 h 6858000"/>
              <a:gd name="connsiteX222" fmla="*/ 4690271 w 7467600"/>
              <a:gd name="connsiteY222" fmla="*/ 4370034 h 6858000"/>
              <a:gd name="connsiteX223" fmla="*/ 4136093 w 7467600"/>
              <a:gd name="connsiteY223" fmla="*/ 3858466 h 6858000"/>
              <a:gd name="connsiteX224" fmla="*/ 3670252 w 7467600"/>
              <a:gd name="connsiteY224" fmla="*/ 3622798 h 6858000"/>
              <a:gd name="connsiteX225" fmla="*/ 4440129 w 7467600"/>
              <a:gd name="connsiteY225" fmla="*/ 3448571 h 6858000"/>
              <a:gd name="connsiteX226" fmla="*/ 4856525 w 7467600"/>
              <a:gd name="connsiteY226" fmla="*/ 3915351 h 6858000"/>
              <a:gd name="connsiteX227" fmla="*/ 5059055 w 7467600"/>
              <a:gd name="connsiteY227" fmla="*/ 4108918 h 6858000"/>
              <a:gd name="connsiteX228" fmla="*/ 5290070 w 7467600"/>
              <a:gd name="connsiteY228" fmla="*/ 4263619 h 6858000"/>
              <a:gd name="connsiteX229" fmla="*/ 4834991 w 7467600"/>
              <a:gd name="connsiteY229" fmla="*/ 3830985 h 6858000"/>
              <a:gd name="connsiteX230" fmla="*/ 4440129 w 7467600"/>
              <a:gd name="connsiteY230" fmla="*/ 3448571 h 6858000"/>
              <a:gd name="connsiteX231" fmla="*/ 4441737 w 7467600"/>
              <a:gd name="connsiteY231" fmla="*/ 3399734 h 6858000"/>
              <a:gd name="connsiteX232" fmla="*/ 4431236 w 7467600"/>
              <a:gd name="connsiteY232" fmla="*/ 3400954 h 6858000"/>
              <a:gd name="connsiteX233" fmla="*/ 4557150 w 7467600"/>
              <a:gd name="connsiteY233" fmla="*/ 3510023 h 6858000"/>
              <a:gd name="connsiteX234" fmla="*/ 4856936 w 7467600"/>
              <a:gd name="connsiteY234" fmla="*/ 3809146 h 6858000"/>
              <a:gd name="connsiteX235" fmla="*/ 5111996 w 7467600"/>
              <a:gd name="connsiteY235" fmla="*/ 4065759 h 6858000"/>
              <a:gd name="connsiteX236" fmla="*/ 5388878 w 7467600"/>
              <a:gd name="connsiteY236" fmla="*/ 4300185 h 6858000"/>
              <a:gd name="connsiteX237" fmla="*/ 5425556 w 7467600"/>
              <a:gd name="connsiteY237" fmla="*/ 4308967 h 6858000"/>
              <a:gd name="connsiteX238" fmla="*/ 4943646 w 7467600"/>
              <a:gd name="connsiteY238" fmla="*/ 3822916 h 6858000"/>
              <a:gd name="connsiteX239" fmla="*/ 4594837 w 7467600"/>
              <a:gd name="connsiteY239" fmla="*/ 3532274 h 6858000"/>
              <a:gd name="connsiteX240" fmla="*/ 4441737 w 7467600"/>
              <a:gd name="connsiteY240" fmla="*/ 3399734 h 6858000"/>
              <a:gd name="connsiteX241" fmla="*/ 5425834 w 7467600"/>
              <a:gd name="connsiteY241" fmla="*/ 3162785 h 6858000"/>
              <a:gd name="connsiteX242" fmla="*/ 5401644 w 7467600"/>
              <a:gd name="connsiteY242" fmla="*/ 3617847 h 6858000"/>
              <a:gd name="connsiteX243" fmla="*/ 5467256 w 7467600"/>
              <a:gd name="connsiteY243" fmla="*/ 4175494 h 6858000"/>
              <a:gd name="connsiteX244" fmla="*/ 5448069 w 7467600"/>
              <a:gd name="connsiteY244" fmla="*/ 3567554 h 6858000"/>
              <a:gd name="connsiteX245" fmla="*/ 5425834 w 7467600"/>
              <a:gd name="connsiteY245" fmla="*/ 3162785 h 6858000"/>
              <a:gd name="connsiteX246" fmla="*/ 1318687 w 7467600"/>
              <a:gd name="connsiteY246" fmla="*/ 3113840 h 6858000"/>
              <a:gd name="connsiteX247" fmla="*/ 1066793 w 7467600"/>
              <a:gd name="connsiteY247" fmla="*/ 3212171 h 6858000"/>
              <a:gd name="connsiteX248" fmla="*/ 993319 w 7467600"/>
              <a:gd name="connsiteY248" fmla="*/ 3247648 h 6858000"/>
              <a:gd name="connsiteX249" fmla="*/ 853081 w 7467600"/>
              <a:gd name="connsiteY249" fmla="*/ 3312410 h 6858000"/>
              <a:gd name="connsiteX250" fmla="*/ 805957 w 7467600"/>
              <a:gd name="connsiteY250" fmla="*/ 3330443 h 6858000"/>
              <a:gd name="connsiteX251" fmla="*/ 1318687 w 7467600"/>
              <a:gd name="connsiteY251" fmla="*/ 3113840 h 6858000"/>
              <a:gd name="connsiteX252" fmla="*/ 5453702 w 7467600"/>
              <a:gd name="connsiteY252" fmla="*/ 3090882 h 6858000"/>
              <a:gd name="connsiteX253" fmla="*/ 5480135 w 7467600"/>
              <a:gd name="connsiteY253" fmla="*/ 3565802 h 6858000"/>
              <a:gd name="connsiteX254" fmla="*/ 5499023 w 7467600"/>
              <a:gd name="connsiteY254" fmla="*/ 4166310 h 6858000"/>
              <a:gd name="connsiteX255" fmla="*/ 5547022 w 7467600"/>
              <a:gd name="connsiteY255" fmla="*/ 3607838 h 6858000"/>
              <a:gd name="connsiteX256" fmla="*/ 5515964 w 7467600"/>
              <a:gd name="connsiteY256" fmla="*/ 3378541 h 6858000"/>
              <a:gd name="connsiteX257" fmla="*/ 5453702 w 7467600"/>
              <a:gd name="connsiteY257" fmla="*/ 3090882 h 6858000"/>
              <a:gd name="connsiteX258" fmla="*/ 1238695 w 7467600"/>
              <a:gd name="connsiteY258" fmla="*/ 3076820 h 6858000"/>
              <a:gd name="connsiteX259" fmla="*/ 716371 w 7467600"/>
              <a:gd name="connsiteY259" fmla="*/ 3293249 h 6858000"/>
              <a:gd name="connsiteX260" fmla="*/ 579522 w 7467600"/>
              <a:gd name="connsiteY260" fmla="*/ 3371759 h 6858000"/>
              <a:gd name="connsiteX261" fmla="*/ 600288 w 7467600"/>
              <a:gd name="connsiteY261" fmla="*/ 3365555 h 6858000"/>
              <a:gd name="connsiteX262" fmla="*/ 840692 w 7467600"/>
              <a:gd name="connsiteY262" fmla="*/ 3284921 h 6858000"/>
              <a:gd name="connsiteX263" fmla="*/ 979248 w 7467600"/>
              <a:gd name="connsiteY263" fmla="*/ 3221003 h 6858000"/>
              <a:gd name="connsiteX264" fmla="*/ 1053282 w 7467600"/>
              <a:gd name="connsiteY264" fmla="*/ 3185247 h 6858000"/>
              <a:gd name="connsiteX265" fmla="*/ 1320603 w 7467600"/>
              <a:gd name="connsiteY265" fmla="*/ 3081281 h 6858000"/>
              <a:gd name="connsiteX266" fmla="*/ 1238695 w 7467600"/>
              <a:gd name="connsiteY266" fmla="*/ 3076820 h 6858000"/>
              <a:gd name="connsiteX267" fmla="*/ 5425627 w 7467600"/>
              <a:gd name="connsiteY267" fmla="*/ 2954192 h 6858000"/>
              <a:gd name="connsiteX268" fmla="*/ 5470770 w 7467600"/>
              <a:gd name="connsiteY268" fmla="*/ 3005435 h 6858000"/>
              <a:gd name="connsiteX269" fmla="*/ 5519779 w 7467600"/>
              <a:gd name="connsiteY269" fmla="*/ 4359223 h 6858000"/>
              <a:gd name="connsiteX270" fmla="*/ 5520293 w 7467600"/>
              <a:gd name="connsiteY270" fmla="*/ 4360602 h 6858000"/>
              <a:gd name="connsiteX271" fmla="*/ 5767221 w 7467600"/>
              <a:gd name="connsiteY271" fmla="*/ 4665564 h 6858000"/>
              <a:gd name="connsiteX272" fmla="*/ 6937169 w 7467600"/>
              <a:gd name="connsiteY272" fmla="*/ 4815941 h 6858000"/>
              <a:gd name="connsiteX273" fmla="*/ 6953922 w 7467600"/>
              <a:gd name="connsiteY273" fmla="*/ 4890068 h 6858000"/>
              <a:gd name="connsiteX274" fmla="*/ 6071359 w 7467600"/>
              <a:gd name="connsiteY274" fmla="*/ 4770770 h 6858000"/>
              <a:gd name="connsiteX275" fmla="*/ 6038839 w 7467600"/>
              <a:gd name="connsiteY275" fmla="*/ 4764474 h 6858000"/>
              <a:gd name="connsiteX276" fmla="*/ 6038706 w 7467600"/>
              <a:gd name="connsiteY276" fmla="*/ 4763847 h 6858000"/>
              <a:gd name="connsiteX277" fmla="*/ 6037784 w 7467600"/>
              <a:gd name="connsiteY277" fmla="*/ 4764270 h 6858000"/>
              <a:gd name="connsiteX278" fmla="*/ 6038839 w 7467600"/>
              <a:gd name="connsiteY278" fmla="*/ 4764474 h 6858000"/>
              <a:gd name="connsiteX279" fmla="*/ 6040338 w 7467600"/>
              <a:gd name="connsiteY279" fmla="*/ 4771418 h 6858000"/>
              <a:gd name="connsiteX280" fmla="*/ 6024488 w 7467600"/>
              <a:gd name="connsiteY280" fmla="*/ 4809903 h 6858000"/>
              <a:gd name="connsiteX281" fmla="*/ 5599771 w 7467600"/>
              <a:gd name="connsiteY281" fmla="*/ 5509652 h 6858000"/>
              <a:gd name="connsiteX282" fmla="*/ 5548843 w 7467600"/>
              <a:gd name="connsiteY282" fmla="*/ 5563845 h 6858000"/>
              <a:gd name="connsiteX283" fmla="*/ 5940952 w 7467600"/>
              <a:gd name="connsiteY283" fmla="*/ 6250028 h 6858000"/>
              <a:gd name="connsiteX284" fmla="*/ 6043441 w 7467600"/>
              <a:gd name="connsiteY284" fmla="*/ 6665847 h 6858000"/>
              <a:gd name="connsiteX285" fmla="*/ 6093432 w 7467600"/>
              <a:gd name="connsiteY285" fmla="*/ 6858000 h 6858000"/>
              <a:gd name="connsiteX286" fmla="*/ 6034344 w 7467600"/>
              <a:gd name="connsiteY286" fmla="*/ 6858000 h 6858000"/>
              <a:gd name="connsiteX287" fmla="*/ 6026679 w 7467600"/>
              <a:gd name="connsiteY287" fmla="*/ 6836959 h 6858000"/>
              <a:gd name="connsiteX288" fmla="*/ 5800441 w 7467600"/>
              <a:gd name="connsiteY288" fmla="*/ 6335286 h 6858000"/>
              <a:gd name="connsiteX289" fmla="*/ 5526562 w 7467600"/>
              <a:gd name="connsiteY289" fmla="*/ 5705388 h 6858000"/>
              <a:gd name="connsiteX290" fmla="*/ 5519640 w 7467600"/>
              <a:gd name="connsiteY290" fmla="*/ 5683774 h 6858000"/>
              <a:gd name="connsiteX291" fmla="*/ 5844559 w 7467600"/>
              <a:gd name="connsiteY291" fmla="*/ 6553349 h 6858000"/>
              <a:gd name="connsiteX292" fmla="*/ 5975994 w 7467600"/>
              <a:gd name="connsiteY292" fmla="*/ 6858000 h 6858000"/>
              <a:gd name="connsiteX293" fmla="*/ 5898547 w 7467600"/>
              <a:gd name="connsiteY293" fmla="*/ 6858000 h 6858000"/>
              <a:gd name="connsiteX294" fmla="*/ 5682041 w 7467600"/>
              <a:gd name="connsiteY294" fmla="*/ 6355860 h 6858000"/>
              <a:gd name="connsiteX295" fmla="*/ 5461758 w 7467600"/>
              <a:gd name="connsiteY295" fmla="*/ 5820220 h 6858000"/>
              <a:gd name="connsiteX296" fmla="*/ 5237282 w 7467600"/>
              <a:gd name="connsiteY296" fmla="*/ 6579086 h 6858000"/>
              <a:gd name="connsiteX297" fmla="*/ 5115009 w 7467600"/>
              <a:gd name="connsiteY297" fmla="*/ 6858000 h 6858000"/>
              <a:gd name="connsiteX298" fmla="*/ 5028074 w 7467600"/>
              <a:gd name="connsiteY298" fmla="*/ 6858000 h 6858000"/>
              <a:gd name="connsiteX299" fmla="*/ 5079508 w 7467600"/>
              <a:gd name="connsiteY299" fmla="*/ 6749074 h 6858000"/>
              <a:gd name="connsiteX300" fmla="*/ 5371846 w 7467600"/>
              <a:gd name="connsiteY300" fmla="*/ 5924413 h 6858000"/>
              <a:gd name="connsiteX301" fmla="*/ 5270512 w 7467600"/>
              <a:gd name="connsiteY301" fmla="*/ 6138975 h 6858000"/>
              <a:gd name="connsiteX302" fmla="*/ 5062409 w 7467600"/>
              <a:gd name="connsiteY302" fmla="*/ 6653544 h 6858000"/>
              <a:gd name="connsiteX303" fmla="*/ 5036628 w 7467600"/>
              <a:gd name="connsiteY303" fmla="*/ 6754247 h 6858000"/>
              <a:gd name="connsiteX304" fmla="*/ 5009112 w 7467600"/>
              <a:gd name="connsiteY304" fmla="*/ 6858000 h 6858000"/>
              <a:gd name="connsiteX305" fmla="*/ 4976679 w 7467600"/>
              <a:gd name="connsiteY305" fmla="*/ 6858000 h 6858000"/>
              <a:gd name="connsiteX306" fmla="*/ 5006537 w 7467600"/>
              <a:gd name="connsiteY306" fmla="*/ 6747068 h 6858000"/>
              <a:gd name="connsiteX307" fmla="*/ 5032723 w 7467600"/>
              <a:gd name="connsiteY307" fmla="*/ 6644957 h 6858000"/>
              <a:gd name="connsiteX308" fmla="*/ 5242949 w 7467600"/>
              <a:gd name="connsiteY308" fmla="*/ 6125175 h 6858000"/>
              <a:gd name="connsiteX309" fmla="*/ 5286321 w 7467600"/>
              <a:gd name="connsiteY309" fmla="*/ 6033555 h 6858000"/>
              <a:gd name="connsiteX310" fmla="*/ 5008210 w 7467600"/>
              <a:gd name="connsiteY310" fmla="*/ 6649194 h 6858000"/>
              <a:gd name="connsiteX311" fmla="*/ 4986321 w 7467600"/>
              <a:gd name="connsiteY311" fmla="*/ 6765687 h 6858000"/>
              <a:gd name="connsiteX312" fmla="*/ 4973474 w 7467600"/>
              <a:gd name="connsiteY312" fmla="*/ 6858000 h 6858000"/>
              <a:gd name="connsiteX313" fmla="*/ 4907178 w 7467600"/>
              <a:gd name="connsiteY313" fmla="*/ 6858000 h 6858000"/>
              <a:gd name="connsiteX314" fmla="*/ 4910810 w 7467600"/>
              <a:gd name="connsiteY314" fmla="*/ 6829660 h 6858000"/>
              <a:gd name="connsiteX315" fmla="*/ 4987461 w 7467600"/>
              <a:gd name="connsiteY315" fmla="*/ 6432994 h 6858000"/>
              <a:gd name="connsiteX316" fmla="*/ 5179262 w 7467600"/>
              <a:gd name="connsiteY316" fmla="*/ 6035044 h 6858000"/>
              <a:gd name="connsiteX317" fmla="*/ 4689678 w 7467600"/>
              <a:gd name="connsiteY317" fmla="*/ 6440241 h 6858000"/>
              <a:gd name="connsiteX318" fmla="*/ 4477543 w 7467600"/>
              <a:gd name="connsiteY318" fmla="*/ 6674836 h 6858000"/>
              <a:gd name="connsiteX319" fmla="*/ 4329957 w 7467600"/>
              <a:gd name="connsiteY319" fmla="*/ 6858000 h 6858000"/>
              <a:gd name="connsiteX320" fmla="*/ 4218595 w 7467600"/>
              <a:gd name="connsiteY320" fmla="*/ 6858000 h 6858000"/>
              <a:gd name="connsiteX321" fmla="*/ 4368888 w 7467600"/>
              <a:gd name="connsiteY321" fmla="*/ 6668412 h 6858000"/>
              <a:gd name="connsiteX322" fmla="*/ 4563091 w 7467600"/>
              <a:gd name="connsiteY322" fmla="*/ 6442508 h 6858000"/>
              <a:gd name="connsiteX323" fmla="*/ 5387324 w 7467600"/>
              <a:gd name="connsiteY323" fmla="*/ 5705830 h 6858000"/>
              <a:gd name="connsiteX324" fmla="*/ 5073620 w 7467600"/>
              <a:gd name="connsiteY324" fmla="*/ 5955437 h 6858000"/>
              <a:gd name="connsiteX325" fmla="*/ 4689789 w 7467600"/>
              <a:gd name="connsiteY325" fmla="*/ 6268382 h 6858000"/>
              <a:gd name="connsiteX326" fmla="*/ 4418722 w 7467600"/>
              <a:gd name="connsiteY326" fmla="*/ 6570886 h 6858000"/>
              <a:gd name="connsiteX327" fmla="*/ 4214944 w 7467600"/>
              <a:gd name="connsiteY327" fmla="*/ 6858000 h 6858000"/>
              <a:gd name="connsiteX328" fmla="*/ 4177898 w 7467600"/>
              <a:gd name="connsiteY328" fmla="*/ 6858000 h 6858000"/>
              <a:gd name="connsiteX329" fmla="*/ 4391597 w 7467600"/>
              <a:gd name="connsiteY329" fmla="*/ 6556370 h 6858000"/>
              <a:gd name="connsiteX330" fmla="*/ 4668889 w 7467600"/>
              <a:gd name="connsiteY330" fmla="*/ 6246399 h 6858000"/>
              <a:gd name="connsiteX331" fmla="*/ 5055427 w 7467600"/>
              <a:gd name="connsiteY331" fmla="*/ 5931476 h 6858000"/>
              <a:gd name="connsiteX332" fmla="*/ 5371814 w 7467600"/>
              <a:gd name="connsiteY332" fmla="*/ 5678975 h 6858000"/>
              <a:gd name="connsiteX333" fmla="*/ 4987918 w 7467600"/>
              <a:gd name="connsiteY333" fmla="*/ 5838701 h 6858000"/>
              <a:gd name="connsiteX334" fmla="*/ 4317146 w 7467600"/>
              <a:gd name="connsiteY334" fmla="*/ 6587716 h 6858000"/>
              <a:gd name="connsiteX335" fmla="*/ 4171627 w 7467600"/>
              <a:gd name="connsiteY335" fmla="*/ 6858000 h 6858000"/>
              <a:gd name="connsiteX336" fmla="*/ 4081585 w 7467600"/>
              <a:gd name="connsiteY336" fmla="*/ 6858000 h 6858000"/>
              <a:gd name="connsiteX337" fmla="*/ 4238603 w 7467600"/>
              <a:gd name="connsiteY337" fmla="*/ 6559341 h 6858000"/>
              <a:gd name="connsiteX338" fmla="*/ 4778333 w 7467600"/>
              <a:gd name="connsiteY338" fmla="*/ 5873626 h 6858000"/>
              <a:gd name="connsiteX339" fmla="*/ 5414185 w 7467600"/>
              <a:gd name="connsiteY339" fmla="*/ 5573882 h 6858000"/>
              <a:gd name="connsiteX340" fmla="*/ 5959648 w 7467600"/>
              <a:gd name="connsiteY340" fmla="*/ 4760797 h 6858000"/>
              <a:gd name="connsiteX341" fmla="*/ 5355019 w 7467600"/>
              <a:gd name="connsiteY341" fmla="*/ 4734672 h 6858000"/>
              <a:gd name="connsiteX342" fmla="*/ 5083565 w 7467600"/>
              <a:gd name="connsiteY342" fmla="*/ 5179121 h 6858000"/>
              <a:gd name="connsiteX343" fmla="*/ 4713577 w 7467600"/>
              <a:gd name="connsiteY343" fmla="*/ 5616803 h 6858000"/>
              <a:gd name="connsiteX344" fmla="*/ 3989559 w 7467600"/>
              <a:gd name="connsiteY344" fmla="*/ 6145945 h 6858000"/>
              <a:gd name="connsiteX345" fmla="*/ 3939824 w 7467600"/>
              <a:gd name="connsiteY345" fmla="*/ 6066900 h 6858000"/>
              <a:gd name="connsiteX346" fmla="*/ 4584537 w 7467600"/>
              <a:gd name="connsiteY346" fmla="*/ 5324826 h 6858000"/>
              <a:gd name="connsiteX347" fmla="*/ 5037105 w 7467600"/>
              <a:gd name="connsiteY347" fmla="*/ 5088765 h 6858000"/>
              <a:gd name="connsiteX348" fmla="*/ 5039930 w 7467600"/>
              <a:gd name="connsiteY348" fmla="*/ 5089585 h 6858000"/>
              <a:gd name="connsiteX349" fmla="*/ 5263764 w 7467600"/>
              <a:gd name="connsiteY349" fmla="*/ 4735525 h 6858000"/>
              <a:gd name="connsiteX350" fmla="*/ 4086300 w 7467600"/>
              <a:gd name="connsiteY350" fmla="*/ 4884599 h 6858000"/>
              <a:gd name="connsiteX351" fmla="*/ 4085485 w 7467600"/>
              <a:gd name="connsiteY351" fmla="*/ 4899070 h 6858000"/>
              <a:gd name="connsiteX352" fmla="*/ 3871915 w 7467600"/>
              <a:gd name="connsiteY352" fmla="*/ 5253645 h 6858000"/>
              <a:gd name="connsiteX353" fmla="*/ 3799374 w 7467600"/>
              <a:gd name="connsiteY353" fmla="*/ 5466127 h 6858000"/>
              <a:gd name="connsiteX354" fmla="*/ 3498850 w 7467600"/>
              <a:gd name="connsiteY354" fmla="*/ 6661888 h 6858000"/>
              <a:gd name="connsiteX355" fmla="*/ 3399216 w 7467600"/>
              <a:gd name="connsiteY355" fmla="*/ 6858000 h 6858000"/>
              <a:gd name="connsiteX356" fmla="*/ 3303688 w 7467600"/>
              <a:gd name="connsiteY356" fmla="*/ 6858000 h 6858000"/>
              <a:gd name="connsiteX357" fmla="*/ 3391774 w 7467600"/>
              <a:gd name="connsiteY357" fmla="*/ 6697181 h 6858000"/>
              <a:gd name="connsiteX358" fmla="*/ 3735540 w 7467600"/>
              <a:gd name="connsiteY358" fmla="*/ 5546923 h 6858000"/>
              <a:gd name="connsiteX359" fmla="*/ 3729438 w 7467600"/>
              <a:gd name="connsiteY359" fmla="*/ 5569058 h 6858000"/>
              <a:gd name="connsiteX360" fmla="*/ 3707782 w 7467600"/>
              <a:gd name="connsiteY360" fmla="*/ 5644908 h 6858000"/>
              <a:gd name="connsiteX361" fmla="*/ 3583827 w 7467600"/>
              <a:gd name="connsiteY361" fmla="*/ 6039215 h 6858000"/>
              <a:gd name="connsiteX362" fmla="*/ 3547861 w 7467600"/>
              <a:gd name="connsiteY362" fmla="*/ 6129609 h 6858000"/>
              <a:gd name="connsiteX363" fmla="*/ 3490905 w 7467600"/>
              <a:gd name="connsiteY363" fmla="*/ 6277660 h 6858000"/>
              <a:gd name="connsiteX364" fmla="*/ 3455859 w 7467600"/>
              <a:gd name="connsiteY364" fmla="*/ 6391301 h 6858000"/>
              <a:gd name="connsiteX365" fmla="*/ 3429112 w 7467600"/>
              <a:gd name="connsiteY365" fmla="*/ 6479469 h 6858000"/>
              <a:gd name="connsiteX366" fmla="*/ 3304862 w 7467600"/>
              <a:gd name="connsiteY366" fmla="*/ 6796476 h 6858000"/>
              <a:gd name="connsiteX367" fmla="*/ 3276071 w 7467600"/>
              <a:gd name="connsiteY367" fmla="*/ 6858000 h 6858000"/>
              <a:gd name="connsiteX368" fmla="*/ 3240805 w 7467600"/>
              <a:gd name="connsiteY368" fmla="*/ 6858000 h 6858000"/>
              <a:gd name="connsiteX369" fmla="*/ 3275917 w 7467600"/>
              <a:gd name="connsiteY369" fmla="*/ 6783192 h 6858000"/>
              <a:gd name="connsiteX370" fmla="*/ 3399358 w 7467600"/>
              <a:gd name="connsiteY370" fmla="*/ 6469011 h 6858000"/>
              <a:gd name="connsiteX371" fmla="*/ 3425650 w 7467600"/>
              <a:gd name="connsiteY371" fmla="*/ 6381333 h 6858000"/>
              <a:gd name="connsiteX372" fmla="*/ 3460661 w 7467600"/>
              <a:gd name="connsiteY372" fmla="*/ 6266763 h 6858000"/>
              <a:gd name="connsiteX373" fmla="*/ 3518021 w 7467600"/>
              <a:gd name="connsiteY373" fmla="*/ 6117298 h 6858000"/>
              <a:gd name="connsiteX374" fmla="*/ 3554035 w 7467600"/>
              <a:gd name="connsiteY374" fmla="*/ 6027832 h 6858000"/>
              <a:gd name="connsiteX375" fmla="*/ 3677174 w 7467600"/>
              <a:gd name="connsiteY375" fmla="*/ 5636351 h 6858000"/>
              <a:gd name="connsiteX376" fmla="*/ 3698819 w 7467600"/>
              <a:gd name="connsiteY376" fmla="*/ 5560503 h 6858000"/>
              <a:gd name="connsiteX377" fmla="*/ 3702094 w 7467600"/>
              <a:gd name="connsiteY377" fmla="*/ 5549194 h 6858000"/>
              <a:gd name="connsiteX378" fmla="*/ 3398355 w 7467600"/>
              <a:gd name="connsiteY378" fmla="*/ 6094603 h 6858000"/>
              <a:gd name="connsiteX379" fmla="*/ 3193941 w 7467600"/>
              <a:gd name="connsiteY379" fmla="*/ 6798775 h 6858000"/>
              <a:gd name="connsiteX380" fmla="*/ 3184140 w 7467600"/>
              <a:gd name="connsiteY380" fmla="*/ 6858000 h 6858000"/>
              <a:gd name="connsiteX381" fmla="*/ 3099978 w 7467600"/>
              <a:gd name="connsiteY381" fmla="*/ 6858000 h 6858000"/>
              <a:gd name="connsiteX382" fmla="*/ 3101556 w 7467600"/>
              <a:gd name="connsiteY382" fmla="*/ 6843337 h 6858000"/>
              <a:gd name="connsiteX383" fmla="*/ 3370162 w 7467600"/>
              <a:gd name="connsiteY383" fmla="*/ 5785550 h 6858000"/>
              <a:gd name="connsiteX384" fmla="*/ 3746477 w 7467600"/>
              <a:gd name="connsiteY384" fmla="*/ 5377889 h 6858000"/>
              <a:gd name="connsiteX385" fmla="*/ 3863399 w 7467600"/>
              <a:gd name="connsiteY385" fmla="*/ 5087257 h 6858000"/>
              <a:gd name="connsiteX386" fmla="*/ 3968712 w 7467600"/>
              <a:gd name="connsiteY386" fmla="*/ 4913989 h 6858000"/>
              <a:gd name="connsiteX387" fmla="*/ 2792390 w 7467600"/>
              <a:gd name="connsiteY387" fmla="*/ 5382974 h 6858000"/>
              <a:gd name="connsiteX388" fmla="*/ 2714982 w 7467600"/>
              <a:gd name="connsiteY388" fmla="*/ 5427051 h 6858000"/>
              <a:gd name="connsiteX389" fmla="*/ 2813361 w 7467600"/>
              <a:gd name="connsiteY389" fmla="*/ 6023912 h 6858000"/>
              <a:gd name="connsiteX390" fmla="*/ 2688430 w 7467600"/>
              <a:gd name="connsiteY390" fmla="*/ 6801564 h 6858000"/>
              <a:gd name="connsiteX391" fmla="*/ 2629626 w 7467600"/>
              <a:gd name="connsiteY391" fmla="*/ 6763394 h 6858000"/>
              <a:gd name="connsiteX392" fmla="*/ 2565328 w 7467600"/>
              <a:gd name="connsiteY392" fmla="*/ 5516399 h 6858000"/>
              <a:gd name="connsiteX393" fmla="*/ 1922999 w 7467600"/>
              <a:gd name="connsiteY393" fmla="*/ 5980343 h 6858000"/>
              <a:gd name="connsiteX394" fmla="*/ 1950261 w 7467600"/>
              <a:gd name="connsiteY394" fmla="*/ 6405858 h 6858000"/>
              <a:gd name="connsiteX395" fmla="*/ 2365554 w 7467600"/>
              <a:gd name="connsiteY395" fmla="*/ 6759107 h 6858000"/>
              <a:gd name="connsiteX396" fmla="*/ 2424142 w 7467600"/>
              <a:gd name="connsiteY396" fmla="*/ 6858000 h 6858000"/>
              <a:gd name="connsiteX397" fmla="*/ 2395994 w 7467600"/>
              <a:gd name="connsiteY397" fmla="*/ 6858000 h 6858000"/>
              <a:gd name="connsiteX398" fmla="*/ 2392863 w 7467600"/>
              <a:gd name="connsiteY398" fmla="*/ 6852964 h 6858000"/>
              <a:gd name="connsiteX399" fmla="*/ 2017589 w 7467600"/>
              <a:gd name="connsiteY399" fmla="*/ 6493982 h 6858000"/>
              <a:gd name="connsiteX400" fmla="*/ 2147336 w 7467600"/>
              <a:gd name="connsiteY400" fmla="*/ 6594052 h 6858000"/>
              <a:gd name="connsiteX401" fmla="*/ 2207047 w 7467600"/>
              <a:gd name="connsiteY401" fmla="*/ 6654540 h 6858000"/>
              <a:gd name="connsiteX402" fmla="*/ 2299106 w 7467600"/>
              <a:gd name="connsiteY402" fmla="*/ 6778931 h 6858000"/>
              <a:gd name="connsiteX403" fmla="*/ 2314430 w 7467600"/>
              <a:gd name="connsiteY403" fmla="*/ 6801144 h 6858000"/>
              <a:gd name="connsiteX404" fmla="*/ 2352406 w 7467600"/>
              <a:gd name="connsiteY404" fmla="*/ 6858000 h 6858000"/>
              <a:gd name="connsiteX405" fmla="*/ 2314492 w 7467600"/>
              <a:gd name="connsiteY405" fmla="*/ 6858000 h 6858000"/>
              <a:gd name="connsiteX406" fmla="*/ 2288095 w 7467600"/>
              <a:gd name="connsiteY406" fmla="*/ 6818030 h 6858000"/>
              <a:gd name="connsiteX407" fmla="*/ 2272768 w 7467600"/>
              <a:gd name="connsiteY407" fmla="*/ 6795822 h 6858000"/>
              <a:gd name="connsiteX408" fmla="*/ 2182715 w 7467600"/>
              <a:gd name="connsiteY408" fmla="*/ 6675071 h 6858000"/>
              <a:gd name="connsiteX409" fmla="*/ 2032061 w 7467600"/>
              <a:gd name="connsiteY409" fmla="*/ 6541380 h 6858000"/>
              <a:gd name="connsiteX410" fmla="*/ 2257220 w 7467600"/>
              <a:gd name="connsiteY410" fmla="*/ 6826257 h 6858000"/>
              <a:gd name="connsiteX411" fmla="*/ 2281324 w 7467600"/>
              <a:gd name="connsiteY411" fmla="*/ 6858000 h 6858000"/>
              <a:gd name="connsiteX412" fmla="*/ 2242860 w 7467600"/>
              <a:gd name="connsiteY412" fmla="*/ 6858000 h 6858000"/>
              <a:gd name="connsiteX413" fmla="*/ 2232818 w 7467600"/>
              <a:gd name="connsiteY413" fmla="*/ 6844926 h 6858000"/>
              <a:gd name="connsiteX414" fmla="*/ 1990172 w 7467600"/>
              <a:gd name="connsiteY414" fmla="*/ 6542121 h 6858000"/>
              <a:gd name="connsiteX415" fmla="*/ 2124090 w 7467600"/>
              <a:gd name="connsiteY415" fmla="*/ 6761017 h 6858000"/>
              <a:gd name="connsiteX416" fmla="*/ 2200380 w 7467600"/>
              <a:gd name="connsiteY416" fmla="*/ 6858000 h 6858000"/>
              <a:gd name="connsiteX417" fmla="*/ 2147507 w 7467600"/>
              <a:gd name="connsiteY417" fmla="*/ 6858000 h 6858000"/>
              <a:gd name="connsiteX418" fmla="*/ 2070668 w 7467600"/>
              <a:gd name="connsiteY418" fmla="*/ 6761520 h 6858000"/>
              <a:gd name="connsiteX419" fmla="*/ 1975142 w 7467600"/>
              <a:gd name="connsiteY419" fmla="*/ 6585570 h 6858000"/>
              <a:gd name="connsiteX420" fmla="*/ 2050035 w 7467600"/>
              <a:gd name="connsiteY420" fmla="*/ 6813345 h 6858000"/>
              <a:gd name="connsiteX421" fmla="*/ 2063025 w 7467600"/>
              <a:gd name="connsiteY421" fmla="*/ 6858000 h 6858000"/>
              <a:gd name="connsiteX422" fmla="*/ 2021675 w 7467600"/>
              <a:gd name="connsiteY422" fmla="*/ 6858000 h 6858000"/>
              <a:gd name="connsiteX423" fmla="*/ 2019308 w 7467600"/>
              <a:gd name="connsiteY423" fmla="*/ 6847118 h 6858000"/>
              <a:gd name="connsiteX424" fmla="*/ 1938835 w 7467600"/>
              <a:gd name="connsiteY424" fmla="*/ 6551160 h 6858000"/>
              <a:gd name="connsiteX425" fmla="*/ 1953230 w 7467600"/>
              <a:gd name="connsiteY425" fmla="*/ 6759699 h 6858000"/>
              <a:gd name="connsiteX426" fmla="*/ 1956763 w 7467600"/>
              <a:gd name="connsiteY426" fmla="*/ 6778191 h 6858000"/>
              <a:gd name="connsiteX427" fmla="*/ 1967925 w 7467600"/>
              <a:gd name="connsiteY427" fmla="*/ 6858000 h 6858000"/>
              <a:gd name="connsiteX428" fmla="*/ 1936622 w 7467600"/>
              <a:gd name="connsiteY428" fmla="*/ 6858000 h 6858000"/>
              <a:gd name="connsiteX429" fmla="*/ 1926261 w 7467600"/>
              <a:gd name="connsiteY429" fmla="*/ 6784064 h 6858000"/>
              <a:gd name="connsiteX430" fmla="*/ 1922724 w 7467600"/>
              <a:gd name="connsiteY430" fmla="*/ 6765577 h 6858000"/>
              <a:gd name="connsiteX431" fmla="*/ 1904650 w 7467600"/>
              <a:gd name="connsiteY431" fmla="*/ 6639616 h 6858000"/>
              <a:gd name="connsiteX432" fmla="*/ 1885273 w 7467600"/>
              <a:gd name="connsiteY432" fmla="*/ 6858000 h 6858000"/>
              <a:gd name="connsiteX433" fmla="*/ 1854363 w 7467600"/>
              <a:gd name="connsiteY433" fmla="*/ 6858000 h 6858000"/>
              <a:gd name="connsiteX434" fmla="*/ 1880391 w 7467600"/>
              <a:gd name="connsiteY434" fmla="*/ 6603796 h 6858000"/>
              <a:gd name="connsiteX435" fmla="*/ 1818273 w 7467600"/>
              <a:gd name="connsiteY435" fmla="*/ 6715729 h 6858000"/>
              <a:gd name="connsiteX436" fmla="*/ 1794691 w 7467600"/>
              <a:gd name="connsiteY436" fmla="*/ 6843239 h 6858000"/>
              <a:gd name="connsiteX437" fmla="*/ 1794914 w 7467600"/>
              <a:gd name="connsiteY437" fmla="*/ 6858000 h 6858000"/>
              <a:gd name="connsiteX438" fmla="*/ 1746128 w 7467600"/>
              <a:gd name="connsiteY438" fmla="*/ 6858000 h 6858000"/>
              <a:gd name="connsiteX439" fmla="*/ 1753934 w 7467600"/>
              <a:gd name="connsiteY439" fmla="*/ 6724796 h 6858000"/>
              <a:gd name="connsiteX440" fmla="*/ 1792053 w 7467600"/>
              <a:gd name="connsiteY440" fmla="*/ 6572396 h 6858000"/>
              <a:gd name="connsiteX441" fmla="*/ 1862248 w 7467600"/>
              <a:gd name="connsiteY441" fmla="*/ 6266397 h 6858000"/>
              <a:gd name="connsiteX442" fmla="*/ 1862250 w 7467600"/>
              <a:gd name="connsiteY442" fmla="*/ 6033531 h 6858000"/>
              <a:gd name="connsiteX443" fmla="*/ 1211999 w 7467600"/>
              <a:gd name="connsiteY443" fmla="*/ 6683610 h 6858000"/>
              <a:gd name="connsiteX444" fmla="*/ 1213266 w 7467600"/>
              <a:gd name="connsiteY444" fmla="*/ 6691947 h 6858000"/>
              <a:gd name="connsiteX445" fmla="*/ 1203370 w 7467600"/>
              <a:gd name="connsiteY445" fmla="*/ 6850676 h 6858000"/>
              <a:gd name="connsiteX446" fmla="*/ 1203671 w 7467600"/>
              <a:gd name="connsiteY446" fmla="*/ 6858000 h 6858000"/>
              <a:gd name="connsiteX447" fmla="*/ 1143180 w 7467600"/>
              <a:gd name="connsiteY447" fmla="*/ 6858000 h 6858000"/>
              <a:gd name="connsiteX448" fmla="*/ 1142176 w 7467600"/>
              <a:gd name="connsiteY448" fmla="*/ 6766045 h 6858000"/>
              <a:gd name="connsiteX449" fmla="*/ 1067484 w 7467600"/>
              <a:gd name="connsiteY449" fmla="*/ 6858000 h 6858000"/>
              <a:gd name="connsiteX450" fmla="*/ 953928 w 7467600"/>
              <a:gd name="connsiteY450" fmla="*/ 6858000 h 6858000"/>
              <a:gd name="connsiteX451" fmla="*/ 959715 w 7467600"/>
              <a:gd name="connsiteY451" fmla="*/ 6850185 h 6858000"/>
              <a:gd name="connsiteX452" fmla="*/ 1483788 w 7467600"/>
              <a:gd name="connsiteY452" fmla="*/ 6259174 h 6858000"/>
              <a:gd name="connsiteX453" fmla="*/ 1100671 w 7467600"/>
              <a:gd name="connsiteY453" fmla="*/ 6252137 h 6858000"/>
              <a:gd name="connsiteX454" fmla="*/ 1090144 w 7467600"/>
              <a:gd name="connsiteY454" fmla="*/ 6256748 h 6858000"/>
              <a:gd name="connsiteX455" fmla="*/ 1095872 w 7467600"/>
              <a:gd name="connsiteY455" fmla="*/ 6271892 h 6858000"/>
              <a:gd name="connsiteX456" fmla="*/ 262785 w 7467600"/>
              <a:gd name="connsiteY456" fmla="*/ 6845450 h 6858000"/>
              <a:gd name="connsiteX457" fmla="*/ 209968 w 7467600"/>
              <a:gd name="connsiteY457" fmla="*/ 6770713 h 6858000"/>
              <a:gd name="connsiteX458" fmla="*/ 873460 w 7467600"/>
              <a:gd name="connsiteY458" fmla="*/ 6253768 h 6858000"/>
              <a:gd name="connsiteX459" fmla="*/ 192686 w 7467600"/>
              <a:gd name="connsiteY459" fmla="*/ 5849257 h 6858000"/>
              <a:gd name="connsiteX460" fmla="*/ 4696 w 7467600"/>
              <a:gd name="connsiteY460" fmla="*/ 5697668 h 6858000"/>
              <a:gd name="connsiteX461" fmla="*/ 0 w 7467600"/>
              <a:gd name="connsiteY461" fmla="*/ 5689984 h 6858000"/>
              <a:gd name="connsiteX462" fmla="*/ 0 w 7467600"/>
              <a:gd name="connsiteY462" fmla="*/ 5513472 h 6858000"/>
              <a:gd name="connsiteX463" fmla="*/ 174101 w 7467600"/>
              <a:gd name="connsiteY463" fmla="*/ 5620277 h 6858000"/>
              <a:gd name="connsiteX464" fmla="*/ 891800 w 7467600"/>
              <a:gd name="connsiteY464" fmla="*/ 6036935 h 6858000"/>
              <a:gd name="connsiteX465" fmla="*/ 1072219 w 7467600"/>
              <a:gd name="connsiteY465" fmla="*/ 6169443 h 6858000"/>
              <a:gd name="connsiteX466" fmla="*/ 1074117 w 7467600"/>
              <a:gd name="connsiteY466" fmla="*/ 6170301 h 6858000"/>
              <a:gd name="connsiteX467" fmla="*/ 1083114 w 7467600"/>
              <a:gd name="connsiteY467" fmla="*/ 6174131 h 6858000"/>
              <a:gd name="connsiteX468" fmla="*/ 1543010 w 7467600"/>
              <a:gd name="connsiteY468" fmla="*/ 6191140 h 6858000"/>
              <a:gd name="connsiteX469" fmla="*/ 1551080 w 7467600"/>
              <a:gd name="connsiteY469" fmla="*/ 6195006 h 6858000"/>
              <a:gd name="connsiteX470" fmla="*/ 2345443 w 7467600"/>
              <a:gd name="connsiteY470" fmla="*/ 5549882 h 6858000"/>
              <a:gd name="connsiteX471" fmla="*/ 1721499 w 7467600"/>
              <a:gd name="connsiteY471" fmla="*/ 5599969 h 6858000"/>
              <a:gd name="connsiteX472" fmla="*/ 767716 w 7467600"/>
              <a:gd name="connsiteY472" fmla="*/ 5472768 h 6858000"/>
              <a:gd name="connsiteX473" fmla="*/ 722147 w 7467600"/>
              <a:gd name="connsiteY473" fmla="*/ 5393091 h 6858000"/>
              <a:gd name="connsiteX474" fmla="*/ 1485552 w 7467600"/>
              <a:gd name="connsiteY474" fmla="*/ 5313202 h 6858000"/>
              <a:gd name="connsiteX475" fmla="*/ 2143004 w 7467600"/>
              <a:gd name="connsiteY475" fmla="*/ 5402420 h 6858000"/>
              <a:gd name="connsiteX476" fmla="*/ 1933391 w 7467600"/>
              <a:gd name="connsiteY476" fmla="*/ 5156971 h 6858000"/>
              <a:gd name="connsiteX477" fmla="*/ 1827118 w 7467600"/>
              <a:gd name="connsiteY477" fmla="*/ 4968410 h 6858000"/>
              <a:gd name="connsiteX478" fmla="*/ 1837349 w 7467600"/>
              <a:gd name="connsiteY478" fmla="*/ 4956357 h 6858000"/>
              <a:gd name="connsiteX479" fmla="*/ 2162835 w 7467600"/>
              <a:gd name="connsiteY479" fmla="*/ 5187853 h 6858000"/>
              <a:gd name="connsiteX480" fmla="*/ 2257167 w 7467600"/>
              <a:gd name="connsiteY480" fmla="*/ 5462123 h 6858000"/>
              <a:gd name="connsiteX481" fmla="*/ 2261598 w 7467600"/>
              <a:gd name="connsiteY481" fmla="*/ 5467998 h 6858000"/>
              <a:gd name="connsiteX482" fmla="*/ 2437177 w 7467600"/>
              <a:gd name="connsiteY482" fmla="*/ 5479608 h 6858000"/>
              <a:gd name="connsiteX483" fmla="*/ 2445247 w 7467600"/>
              <a:gd name="connsiteY483" fmla="*/ 5483476 h 6858000"/>
              <a:gd name="connsiteX484" fmla="*/ 2743626 w 7467600"/>
              <a:gd name="connsiteY484" fmla="*/ 5304819 h 6858000"/>
              <a:gd name="connsiteX485" fmla="*/ 3048102 w 7467600"/>
              <a:gd name="connsiteY485" fmla="*/ 5150595 h 6858000"/>
              <a:gd name="connsiteX486" fmla="*/ 1799414 w 7467600"/>
              <a:gd name="connsiteY486" fmla="*/ 4694732 h 6858000"/>
              <a:gd name="connsiteX487" fmla="*/ 1771735 w 7467600"/>
              <a:gd name="connsiteY487" fmla="*/ 4619929 h 6858000"/>
              <a:gd name="connsiteX488" fmla="*/ 3104273 w 7467600"/>
              <a:gd name="connsiteY488" fmla="*/ 5076159 h 6858000"/>
              <a:gd name="connsiteX489" fmla="*/ 3113245 w 7467600"/>
              <a:gd name="connsiteY489" fmla="*/ 5090705 h 6858000"/>
              <a:gd name="connsiteX490" fmla="*/ 3126294 w 7467600"/>
              <a:gd name="connsiteY490" fmla="*/ 5114400 h 6858000"/>
              <a:gd name="connsiteX491" fmla="*/ 3937433 w 7467600"/>
              <a:gd name="connsiteY491" fmla="*/ 4830473 h 6858000"/>
              <a:gd name="connsiteX492" fmla="*/ 3590475 w 7467600"/>
              <a:gd name="connsiteY492" fmla="*/ 4597974 h 6858000"/>
              <a:gd name="connsiteX493" fmla="*/ 3100264 w 7467600"/>
              <a:gd name="connsiteY493" fmla="*/ 4579845 h 6858000"/>
              <a:gd name="connsiteX494" fmla="*/ 2183576 w 7467600"/>
              <a:gd name="connsiteY494" fmla="*/ 4227150 h 6858000"/>
              <a:gd name="connsiteX495" fmla="*/ 2151029 w 7467600"/>
              <a:gd name="connsiteY495" fmla="*/ 4146947 h 6858000"/>
              <a:gd name="connsiteX496" fmla="*/ 3563434 w 7467600"/>
              <a:gd name="connsiteY496" fmla="*/ 4469115 h 6858000"/>
              <a:gd name="connsiteX497" fmla="*/ 3177952 w 7467600"/>
              <a:gd name="connsiteY497" fmla="*/ 3657386 h 6858000"/>
              <a:gd name="connsiteX498" fmla="*/ 3189263 w 7467600"/>
              <a:gd name="connsiteY498" fmla="*/ 3625726 h 6858000"/>
              <a:gd name="connsiteX499" fmla="*/ 3560912 w 7467600"/>
              <a:gd name="connsiteY499" fmla="*/ 4079863 h 6858000"/>
              <a:gd name="connsiteX500" fmla="*/ 3626636 w 7467600"/>
              <a:gd name="connsiteY500" fmla="*/ 4512230 h 6858000"/>
              <a:gd name="connsiteX501" fmla="*/ 3653088 w 7467600"/>
              <a:gd name="connsiteY501" fmla="*/ 4521417 h 6858000"/>
              <a:gd name="connsiteX502" fmla="*/ 3988128 w 7467600"/>
              <a:gd name="connsiteY502" fmla="*/ 4817267 h 6858000"/>
              <a:gd name="connsiteX503" fmla="*/ 4830582 w 7467600"/>
              <a:gd name="connsiteY503" fmla="*/ 4676000 h 6858000"/>
              <a:gd name="connsiteX504" fmla="*/ 4830100 w 7467600"/>
              <a:gd name="connsiteY504" fmla="*/ 4675554 h 6858000"/>
              <a:gd name="connsiteX505" fmla="*/ 4036318 w 7467600"/>
              <a:gd name="connsiteY505" fmla="*/ 4147013 h 6858000"/>
              <a:gd name="connsiteX506" fmla="*/ 3432098 w 7467600"/>
              <a:gd name="connsiteY506" fmla="*/ 3537312 h 6858000"/>
              <a:gd name="connsiteX507" fmla="*/ 3446761 w 7467600"/>
              <a:gd name="connsiteY507" fmla="*/ 3461278 h 6858000"/>
              <a:gd name="connsiteX508" fmla="*/ 4419733 w 7467600"/>
              <a:gd name="connsiteY508" fmla="*/ 3963555 h 6858000"/>
              <a:gd name="connsiteX509" fmla="*/ 4781371 w 7467600"/>
              <a:gd name="connsiteY509" fmla="*/ 4458604 h 6858000"/>
              <a:gd name="connsiteX510" fmla="*/ 4780440 w 7467600"/>
              <a:gd name="connsiteY510" fmla="*/ 4470290 h 6858000"/>
              <a:gd name="connsiteX511" fmla="*/ 4898954 w 7467600"/>
              <a:gd name="connsiteY511" fmla="*/ 4662092 h 6858000"/>
              <a:gd name="connsiteX512" fmla="*/ 4900699 w 7467600"/>
              <a:gd name="connsiteY512" fmla="*/ 4670867 h 6858000"/>
              <a:gd name="connsiteX513" fmla="*/ 5714511 w 7467600"/>
              <a:gd name="connsiteY513" fmla="*/ 4663483 h 6858000"/>
              <a:gd name="connsiteX514" fmla="*/ 5464793 w 7467600"/>
              <a:gd name="connsiteY514" fmla="*/ 4393556 h 6858000"/>
              <a:gd name="connsiteX515" fmla="*/ 5461897 w 7467600"/>
              <a:gd name="connsiteY515" fmla="*/ 4390879 h 6858000"/>
              <a:gd name="connsiteX516" fmla="*/ 4294126 w 7467600"/>
              <a:gd name="connsiteY516" fmla="*/ 3303048 h 6858000"/>
              <a:gd name="connsiteX517" fmla="*/ 4305321 w 7467600"/>
              <a:gd name="connsiteY517" fmla="*/ 3256953 h 6858000"/>
              <a:gd name="connsiteX518" fmla="*/ 4949299 w 7467600"/>
              <a:gd name="connsiteY518" fmla="*/ 3766336 h 6858000"/>
              <a:gd name="connsiteX519" fmla="*/ 5291452 w 7467600"/>
              <a:gd name="connsiteY519" fmla="*/ 4076801 h 6858000"/>
              <a:gd name="connsiteX520" fmla="*/ 5434998 w 7467600"/>
              <a:gd name="connsiteY520" fmla="*/ 4254100 h 6858000"/>
              <a:gd name="connsiteX521" fmla="*/ 5351015 w 7467600"/>
              <a:gd name="connsiteY521" fmla="*/ 3760989 h 6858000"/>
              <a:gd name="connsiteX522" fmla="*/ 5413780 w 7467600"/>
              <a:gd name="connsiteY522" fmla="*/ 2966265 h 6858000"/>
              <a:gd name="connsiteX523" fmla="*/ 5425627 w 7467600"/>
              <a:gd name="connsiteY523" fmla="*/ 2954192 h 6858000"/>
              <a:gd name="connsiteX524" fmla="*/ 6604735 w 7467600"/>
              <a:gd name="connsiteY524" fmla="*/ 2041381 h 6858000"/>
              <a:gd name="connsiteX525" fmla="*/ 7204487 w 7467600"/>
              <a:gd name="connsiteY525" fmla="*/ 2742112 h 6858000"/>
              <a:gd name="connsiteX526" fmla="*/ 7131592 w 7467600"/>
              <a:gd name="connsiteY526" fmla="*/ 2672096 h 6858000"/>
              <a:gd name="connsiteX527" fmla="*/ 6996344 w 7467600"/>
              <a:gd name="connsiteY527" fmla="*/ 2518310 h 6858000"/>
              <a:gd name="connsiteX528" fmla="*/ 6735495 w 7467600"/>
              <a:gd name="connsiteY528" fmla="*/ 2196890 h 6858000"/>
              <a:gd name="connsiteX529" fmla="*/ 6721901 w 7467600"/>
              <a:gd name="connsiteY529" fmla="*/ 2179274 h 6858000"/>
              <a:gd name="connsiteX530" fmla="*/ 6604735 w 7467600"/>
              <a:gd name="connsiteY530" fmla="*/ 2041381 h 6858000"/>
              <a:gd name="connsiteX531" fmla="*/ 6591670 w 7467600"/>
              <a:gd name="connsiteY531" fmla="*/ 1988277 h 6858000"/>
              <a:gd name="connsiteX532" fmla="*/ 6747349 w 7467600"/>
              <a:gd name="connsiteY532" fmla="*/ 2160069 h 6858000"/>
              <a:gd name="connsiteX533" fmla="*/ 6760943 w 7467600"/>
              <a:gd name="connsiteY533" fmla="*/ 2177686 h 6858000"/>
              <a:gd name="connsiteX534" fmla="*/ 7021065 w 7467600"/>
              <a:gd name="connsiteY534" fmla="*/ 2498102 h 6858000"/>
              <a:gd name="connsiteX535" fmla="*/ 7155223 w 7467600"/>
              <a:gd name="connsiteY535" fmla="*/ 2650386 h 6858000"/>
              <a:gd name="connsiteX536" fmla="*/ 7203167 w 7467600"/>
              <a:gd name="connsiteY536" fmla="*/ 2697288 h 6858000"/>
              <a:gd name="connsiteX537" fmla="*/ 6937703 w 7467600"/>
              <a:gd name="connsiteY537" fmla="*/ 2321981 h 6858000"/>
              <a:gd name="connsiteX538" fmla="*/ 6591670 w 7467600"/>
              <a:gd name="connsiteY538" fmla="*/ 1988277 h 6858000"/>
              <a:gd name="connsiteX539" fmla="*/ 5798671 w 7467600"/>
              <a:gd name="connsiteY539" fmla="*/ 1981601 h 6858000"/>
              <a:gd name="connsiteX540" fmla="*/ 5754709 w 7467600"/>
              <a:gd name="connsiteY540" fmla="*/ 2071454 h 6858000"/>
              <a:gd name="connsiteX541" fmla="*/ 5763044 w 7467600"/>
              <a:gd name="connsiteY541" fmla="*/ 2842206 h 6858000"/>
              <a:gd name="connsiteX542" fmla="*/ 5764974 w 7467600"/>
              <a:gd name="connsiteY542" fmla="*/ 2799609 h 6858000"/>
              <a:gd name="connsiteX543" fmla="*/ 5767665 w 7467600"/>
              <a:gd name="connsiteY543" fmla="*/ 2666409 h 6858000"/>
              <a:gd name="connsiteX544" fmla="*/ 5763055 w 7467600"/>
              <a:gd name="connsiteY544" fmla="*/ 2579705 h 6858000"/>
              <a:gd name="connsiteX545" fmla="*/ 5758079 w 7467600"/>
              <a:gd name="connsiteY545" fmla="*/ 2492508 h 6858000"/>
              <a:gd name="connsiteX546" fmla="*/ 5779325 w 7467600"/>
              <a:gd name="connsiteY546" fmla="*/ 2197069 h 6858000"/>
              <a:gd name="connsiteX547" fmla="*/ 5798671 w 7467600"/>
              <a:gd name="connsiteY547" fmla="*/ 1981601 h 6858000"/>
              <a:gd name="connsiteX548" fmla="*/ 5829202 w 7467600"/>
              <a:gd name="connsiteY548" fmla="*/ 1971679 h 6858000"/>
              <a:gd name="connsiteX549" fmla="*/ 5809558 w 7467600"/>
              <a:gd name="connsiteY549" fmla="*/ 2198043 h 6858000"/>
              <a:gd name="connsiteX550" fmla="*/ 5788653 w 7467600"/>
              <a:gd name="connsiteY550" fmla="*/ 2489430 h 6858000"/>
              <a:gd name="connsiteX551" fmla="*/ 5793439 w 7467600"/>
              <a:gd name="connsiteY551" fmla="*/ 2575235 h 6858000"/>
              <a:gd name="connsiteX552" fmla="*/ 5796837 w 7467600"/>
              <a:gd name="connsiteY552" fmla="*/ 2637633 h 6858000"/>
              <a:gd name="connsiteX553" fmla="*/ 5818614 w 7467600"/>
              <a:gd name="connsiteY553" fmla="*/ 2473055 h 6858000"/>
              <a:gd name="connsiteX554" fmla="*/ 5829202 w 7467600"/>
              <a:gd name="connsiteY554" fmla="*/ 1971679 h 6858000"/>
              <a:gd name="connsiteX555" fmla="*/ 5911389 w 7467600"/>
              <a:gd name="connsiteY555" fmla="*/ 1898371 h 6858000"/>
              <a:gd name="connsiteX556" fmla="*/ 6237627 w 7467600"/>
              <a:gd name="connsiteY556" fmla="*/ 2231921 h 6858000"/>
              <a:gd name="connsiteX557" fmla="*/ 5911389 w 7467600"/>
              <a:gd name="connsiteY557" fmla="*/ 1898371 h 6858000"/>
              <a:gd name="connsiteX558" fmla="*/ 6944437 w 7467600"/>
              <a:gd name="connsiteY558" fmla="*/ 1575402 h 6858000"/>
              <a:gd name="connsiteX559" fmla="*/ 6304730 w 7467600"/>
              <a:gd name="connsiteY559" fmla="*/ 1766654 h 6858000"/>
              <a:gd name="connsiteX560" fmla="*/ 6944437 w 7467600"/>
              <a:gd name="connsiteY560" fmla="*/ 1575402 h 6858000"/>
              <a:gd name="connsiteX561" fmla="*/ 7019523 w 7467600"/>
              <a:gd name="connsiteY561" fmla="*/ 1519450 h 6858000"/>
              <a:gd name="connsiteX562" fmla="*/ 6298091 w 7467600"/>
              <a:gd name="connsiteY562" fmla="*/ 1737122 h 6858000"/>
              <a:gd name="connsiteX563" fmla="*/ 7019523 w 7467600"/>
              <a:gd name="connsiteY563" fmla="*/ 1519450 h 6858000"/>
              <a:gd name="connsiteX564" fmla="*/ 2399523 w 7467600"/>
              <a:gd name="connsiteY564" fmla="*/ 1428234 h 6858000"/>
              <a:gd name="connsiteX565" fmla="*/ 2224982 w 7467600"/>
              <a:gd name="connsiteY565" fmla="*/ 1826201 h 6858000"/>
              <a:gd name="connsiteX566" fmla="*/ 2096099 w 7467600"/>
              <a:gd name="connsiteY566" fmla="*/ 2345900 h 6858000"/>
              <a:gd name="connsiteX567" fmla="*/ 2283317 w 7467600"/>
              <a:gd name="connsiteY567" fmla="*/ 1796925 h 6858000"/>
              <a:gd name="connsiteX568" fmla="*/ 2399523 w 7467600"/>
              <a:gd name="connsiteY568" fmla="*/ 1428234 h 6858000"/>
              <a:gd name="connsiteX569" fmla="*/ 2448558 w 7467600"/>
              <a:gd name="connsiteY569" fmla="*/ 1373435 h 6858000"/>
              <a:gd name="connsiteX570" fmla="*/ 2312521 w 7467600"/>
              <a:gd name="connsiteY570" fmla="*/ 1806140 h 6858000"/>
              <a:gd name="connsiteX571" fmla="*/ 2127533 w 7467600"/>
              <a:gd name="connsiteY571" fmla="*/ 2348380 h 6858000"/>
              <a:gd name="connsiteX572" fmla="*/ 2358080 w 7467600"/>
              <a:gd name="connsiteY572" fmla="*/ 1866134 h 6858000"/>
              <a:gd name="connsiteX573" fmla="*/ 2407436 w 7467600"/>
              <a:gd name="connsiteY573" fmla="*/ 1651070 h 6858000"/>
              <a:gd name="connsiteX574" fmla="*/ 2448558 w 7467600"/>
              <a:gd name="connsiteY574" fmla="*/ 1373435 h 6858000"/>
              <a:gd name="connsiteX575" fmla="*/ 278707 w 7467600"/>
              <a:gd name="connsiteY575" fmla="*/ 1352270 h 6858000"/>
              <a:gd name="connsiteX576" fmla="*/ 321570 w 7467600"/>
              <a:gd name="connsiteY576" fmla="*/ 1861610 h 6858000"/>
              <a:gd name="connsiteX577" fmla="*/ 294281 w 7467600"/>
              <a:gd name="connsiteY577" fmla="*/ 1440658 h 6858000"/>
              <a:gd name="connsiteX578" fmla="*/ 278707 w 7467600"/>
              <a:gd name="connsiteY578" fmla="*/ 1352270 h 6858000"/>
              <a:gd name="connsiteX579" fmla="*/ 1423821 w 7467600"/>
              <a:gd name="connsiteY579" fmla="*/ 1351958 h 6858000"/>
              <a:gd name="connsiteX580" fmla="*/ 1638521 w 7467600"/>
              <a:gd name="connsiteY580" fmla="*/ 1908470 h 6858000"/>
              <a:gd name="connsiteX581" fmla="*/ 1754199 w 7467600"/>
              <a:gd name="connsiteY581" fmla="*/ 2149284 h 6858000"/>
              <a:gd name="connsiteX582" fmla="*/ 1908359 w 7467600"/>
              <a:gd name="connsiteY582" fmla="*/ 2364988 h 6858000"/>
              <a:gd name="connsiteX583" fmla="*/ 1647661 w 7467600"/>
              <a:gd name="connsiteY583" fmla="*/ 1825945 h 6858000"/>
              <a:gd name="connsiteX584" fmla="*/ 1423821 w 7467600"/>
              <a:gd name="connsiteY584" fmla="*/ 1351958 h 6858000"/>
              <a:gd name="connsiteX585" fmla="*/ 1431890 w 7467600"/>
              <a:gd name="connsiteY585" fmla="*/ 1306475 h 6858000"/>
              <a:gd name="connsiteX586" fmla="*/ 1507597 w 7467600"/>
              <a:gd name="connsiteY586" fmla="*/ 1446132 h 6858000"/>
              <a:gd name="connsiteX587" fmla="*/ 1674586 w 7467600"/>
              <a:gd name="connsiteY587" fmla="*/ 1813832 h 6858000"/>
              <a:gd name="connsiteX588" fmla="*/ 1815950 w 7467600"/>
              <a:gd name="connsiteY588" fmla="*/ 2128564 h 6858000"/>
              <a:gd name="connsiteX589" fmla="*/ 1984242 w 7467600"/>
              <a:gd name="connsiteY589" fmla="*/ 2430829 h 6858000"/>
              <a:gd name="connsiteX590" fmla="*/ 2014023 w 7467600"/>
              <a:gd name="connsiteY590" fmla="*/ 2450995 h 6858000"/>
              <a:gd name="connsiteX591" fmla="*/ 1747337 w 7467600"/>
              <a:gd name="connsiteY591" fmla="*/ 1855264 h 6858000"/>
              <a:gd name="connsiteX592" fmla="*/ 1533749 w 7467600"/>
              <a:gd name="connsiteY592" fmla="*/ 1478656 h 6858000"/>
              <a:gd name="connsiteX593" fmla="*/ 1431890 w 7467600"/>
              <a:gd name="connsiteY593" fmla="*/ 1306475 h 6858000"/>
              <a:gd name="connsiteX594" fmla="*/ 5052692 w 7467600"/>
              <a:gd name="connsiteY594" fmla="*/ 1292994 h 6858000"/>
              <a:gd name="connsiteX595" fmla="*/ 5200661 w 7467600"/>
              <a:gd name="connsiteY595" fmla="*/ 1635186 h 6858000"/>
              <a:gd name="connsiteX596" fmla="*/ 5297138 w 7467600"/>
              <a:gd name="connsiteY596" fmla="*/ 1906351 h 6858000"/>
              <a:gd name="connsiteX597" fmla="*/ 5052692 w 7467600"/>
              <a:gd name="connsiteY597" fmla="*/ 1292994 h 6858000"/>
              <a:gd name="connsiteX598" fmla="*/ 5009948 w 7467600"/>
              <a:gd name="connsiteY598" fmla="*/ 1273619 h 6858000"/>
              <a:gd name="connsiteX599" fmla="*/ 5121777 w 7467600"/>
              <a:gd name="connsiteY599" fmla="*/ 1654213 h 6858000"/>
              <a:gd name="connsiteX600" fmla="*/ 5293545 w 7467600"/>
              <a:gd name="connsiteY600" fmla="*/ 2072247 h 6858000"/>
              <a:gd name="connsiteX601" fmla="*/ 5294042 w 7467600"/>
              <a:gd name="connsiteY601" fmla="*/ 2065019 h 6858000"/>
              <a:gd name="connsiteX602" fmla="*/ 5171936 w 7467600"/>
              <a:gd name="connsiteY602" fmla="*/ 1647613 h 6858000"/>
              <a:gd name="connsiteX603" fmla="*/ 5009948 w 7467600"/>
              <a:gd name="connsiteY603" fmla="*/ 1273619 h 6858000"/>
              <a:gd name="connsiteX604" fmla="*/ 655236 w 7467600"/>
              <a:gd name="connsiteY604" fmla="*/ 1268632 h 6858000"/>
              <a:gd name="connsiteX605" fmla="*/ 839521 w 7467600"/>
              <a:gd name="connsiteY605" fmla="*/ 1685315 h 6858000"/>
              <a:gd name="connsiteX606" fmla="*/ 1109416 w 7467600"/>
              <a:gd name="connsiteY606" fmla="*/ 2061663 h 6858000"/>
              <a:gd name="connsiteX607" fmla="*/ 1298300 w 7467600"/>
              <a:gd name="connsiteY607" fmla="*/ 2247742 h 6858000"/>
              <a:gd name="connsiteX608" fmla="*/ 1125871 w 7467600"/>
              <a:gd name="connsiteY608" fmla="*/ 1989513 h 6858000"/>
              <a:gd name="connsiteX609" fmla="*/ 981574 w 7467600"/>
              <a:gd name="connsiteY609" fmla="*/ 1783157 h 6858000"/>
              <a:gd name="connsiteX610" fmla="*/ 922198 w 7467600"/>
              <a:gd name="connsiteY610" fmla="*/ 1677437 h 6858000"/>
              <a:gd name="connsiteX611" fmla="*/ 869293 w 7467600"/>
              <a:gd name="connsiteY611" fmla="*/ 1583214 h 6858000"/>
              <a:gd name="connsiteX612" fmla="*/ 751431 w 7467600"/>
              <a:gd name="connsiteY612" fmla="*/ 1405731 h 6858000"/>
              <a:gd name="connsiteX613" fmla="*/ 655236 w 7467600"/>
              <a:gd name="connsiteY613" fmla="*/ 1268632 h 6858000"/>
              <a:gd name="connsiteX614" fmla="*/ 6516292 w 7467600"/>
              <a:gd name="connsiteY614" fmla="*/ 1263064 h 6858000"/>
              <a:gd name="connsiteX615" fmla="*/ 5736320 w 7467600"/>
              <a:gd name="connsiteY615" fmla="*/ 1501803 h 6858000"/>
              <a:gd name="connsiteX616" fmla="*/ 6516292 w 7467600"/>
              <a:gd name="connsiteY616" fmla="*/ 1263064 h 6858000"/>
              <a:gd name="connsiteX617" fmla="*/ 291466 w 7467600"/>
              <a:gd name="connsiteY617" fmla="*/ 1250369 h 6858000"/>
              <a:gd name="connsiteX618" fmla="*/ 323180 w 7467600"/>
              <a:gd name="connsiteY618" fmla="*/ 1435283 h 6858000"/>
              <a:gd name="connsiteX619" fmla="*/ 349381 w 7467600"/>
              <a:gd name="connsiteY619" fmla="*/ 1875041 h 6858000"/>
              <a:gd name="connsiteX620" fmla="*/ 374363 w 7467600"/>
              <a:gd name="connsiteY620" fmla="*/ 1506494 h 6858000"/>
              <a:gd name="connsiteX621" fmla="*/ 302168 w 7467600"/>
              <a:gd name="connsiteY621" fmla="*/ 1274495 h 6858000"/>
              <a:gd name="connsiteX622" fmla="*/ 291466 w 7467600"/>
              <a:gd name="connsiteY622" fmla="*/ 1250369 h 6858000"/>
              <a:gd name="connsiteX623" fmla="*/ 678222 w 7467600"/>
              <a:gd name="connsiteY623" fmla="*/ 1248670 h 6858000"/>
              <a:gd name="connsiteX624" fmla="*/ 775536 w 7467600"/>
              <a:gd name="connsiteY624" fmla="*/ 1388015 h 6858000"/>
              <a:gd name="connsiteX625" fmla="*/ 894529 w 7467600"/>
              <a:gd name="connsiteY625" fmla="*/ 1567739 h 6858000"/>
              <a:gd name="connsiteX626" fmla="*/ 948000 w 7467600"/>
              <a:gd name="connsiteY626" fmla="*/ 1663088 h 6858000"/>
              <a:gd name="connsiteX627" fmla="*/ 1006812 w 7467600"/>
              <a:gd name="connsiteY627" fmla="*/ 1767683 h 6858000"/>
              <a:gd name="connsiteX628" fmla="*/ 1149133 w 7467600"/>
              <a:gd name="connsiteY628" fmla="*/ 1971513 h 6858000"/>
              <a:gd name="connsiteX629" fmla="*/ 1333952 w 7467600"/>
              <a:gd name="connsiteY629" fmla="*/ 2251620 h 6858000"/>
              <a:gd name="connsiteX630" fmla="*/ 1337329 w 7467600"/>
              <a:gd name="connsiteY630" fmla="*/ 2258350 h 6858000"/>
              <a:gd name="connsiteX631" fmla="*/ 1014726 w 7467600"/>
              <a:gd name="connsiteY631" fmla="*/ 1615556 h 6858000"/>
              <a:gd name="connsiteX632" fmla="*/ 678222 w 7467600"/>
              <a:gd name="connsiteY632" fmla="*/ 1248670 h 6858000"/>
              <a:gd name="connsiteX633" fmla="*/ 6691602 w 7467600"/>
              <a:gd name="connsiteY633" fmla="*/ 1140573 h 6858000"/>
              <a:gd name="connsiteX634" fmla="*/ 6571100 w 7467600"/>
              <a:gd name="connsiteY634" fmla="*/ 1183662 h 6858000"/>
              <a:gd name="connsiteX635" fmla="*/ 6241687 w 7467600"/>
              <a:gd name="connsiteY635" fmla="*/ 1257600 h 6858000"/>
              <a:gd name="connsiteX636" fmla="*/ 5693009 w 7467600"/>
              <a:gd name="connsiteY636" fmla="*/ 1478256 h 6858000"/>
              <a:gd name="connsiteX637" fmla="*/ 6548420 w 7467600"/>
              <a:gd name="connsiteY637" fmla="*/ 1214599 h 6858000"/>
              <a:gd name="connsiteX638" fmla="*/ 6605473 w 7467600"/>
              <a:gd name="connsiteY638" fmla="*/ 1184686 h 6858000"/>
              <a:gd name="connsiteX639" fmla="*/ 6691602 w 7467600"/>
              <a:gd name="connsiteY639" fmla="*/ 1140573 h 6858000"/>
              <a:gd name="connsiteX640" fmla="*/ 4002475 w 7467600"/>
              <a:gd name="connsiteY640" fmla="*/ 1037802 h 6858000"/>
              <a:gd name="connsiteX641" fmla="*/ 4000324 w 7467600"/>
              <a:gd name="connsiteY641" fmla="*/ 1039362 h 6858000"/>
              <a:gd name="connsiteX642" fmla="*/ 4002862 w 7467600"/>
              <a:gd name="connsiteY642" fmla="*/ 1042866 h 6858000"/>
              <a:gd name="connsiteX643" fmla="*/ 4002475 w 7467600"/>
              <a:gd name="connsiteY643" fmla="*/ 1037802 h 6858000"/>
              <a:gd name="connsiteX644" fmla="*/ 506322 w 7467600"/>
              <a:gd name="connsiteY644" fmla="*/ 1020997 h 6858000"/>
              <a:gd name="connsiteX645" fmla="*/ 533068 w 7467600"/>
              <a:gd name="connsiteY645" fmla="*/ 1029409 h 6858000"/>
              <a:gd name="connsiteX646" fmla="*/ 1232525 w 7467600"/>
              <a:gd name="connsiteY646" fmla="*/ 1804675 h 6858000"/>
              <a:gd name="connsiteX647" fmla="*/ 1388858 w 7467600"/>
              <a:gd name="connsiteY647" fmla="*/ 2368011 h 6858000"/>
              <a:gd name="connsiteX648" fmla="*/ 1384098 w 7467600"/>
              <a:gd name="connsiteY648" fmla="*/ 2378125 h 6858000"/>
              <a:gd name="connsiteX649" fmla="*/ 1425393 w 7467600"/>
              <a:gd name="connsiteY649" fmla="*/ 2589124 h 6858000"/>
              <a:gd name="connsiteX650" fmla="*/ 1424001 w 7467600"/>
              <a:gd name="connsiteY650" fmla="*/ 2597541 h 6858000"/>
              <a:gd name="connsiteX651" fmla="*/ 2152729 w 7467600"/>
              <a:gd name="connsiteY651" fmla="*/ 2864487 h 6858000"/>
              <a:gd name="connsiteX652" fmla="*/ 2020609 w 7467600"/>
              <a:gd name="connsiteY652" fmla="*/ 2539671 h 6858000"/>
              <a:gd name="connsiteX653" fmla="*/ 2018920 w 7467600"/>
              <a:gd name="connsiteY653" fmla="*/ 2536309 h 6858000"/>
              <a:gd name="connsiteX654" fmla="*/ 1342441 w 7467600"/>
              <a:gd name="connsiteY654" fmla="*/ 1173017 h 6858000"/>
              <a:gd name="connsiteX655" fmla="*/ 1367925 w 7467600"/>
              <a:gd name="connsiteY655" fmla="*/ 1135648 h 6858000"/>
              <a:gd name="connsiteX656" fmla="*/ 1771401 w 7467600"/>
              <a:gd name="connsiteY656" fmla="*/ 1806673 h 6858000"/>
              <a:gd name="connsiteX657" fmla="*/ 1972385 w 7467600"/>
              <a:gd name="connsiteY657" fmla="*/ 2198735 h 6858000"/>
              <a:gd name="connsiteX658" fmla="*/ 2040892 w 7467600"/>
              <a:gd name="connsiteY658" fmla="*/ 2405205 h 6858000"/>
              <a:gd name="connsiteX659" fmla="*/ 2131689 w 7467600"/>
              <a:gd name="connsiteY659" fmla="*/ 1936926 h 6858000"/>
              <a:gd name="connsiteX660" fmla="*/ 2454820 w 7467600"/>
              <a:gd name="connsiteY660" fmla="*/ 1248808 h 6858000"/>
              <a:gd name="connsiteX661" fmla="*/ 2492512 w 7467600"/>
              <a:gd name="connsiteY661" fmla="*/ 1302920 h 6858000"/>
              <a:gd name="connsiteX662" fmla="*/ 2081216 w 7467600"/>
              <a:gd name="connsiteY662" fmla="*/ 2527513 h 6858000"/>
              <a:gd name="connsiteX663" fmla="*/ 2081211 w 7467600"/>
              <a:gd name="connsiteY663" fmla="*/ 2528916 h 6858000"/>
              <a:gd name="connsiteX664" fmla="*/ 2199067 w 7467600"/>
              <a:gd name="connsiteY664" fmla="*/ 2884061 h 6858000"/>
              <a:gd name="connsiteX665" fmla="*/ 3192586 w 7467600"/>
              <a:gd name="connsiteY665" fmla="*/ 3411496 h 6858000"/>
              <a:gd name="connsiteX666" fmla="*/ 3182620 w 7467600"/>
              <a:gd name="connsiteY666" fmla="*/ 3483279 h 6858000"/>
              <a:gd name="connsiteX667" fmla="*/ 2435119 w 7467600"/>
              <a:gd name="connsiteY667" fmla="*/ 3080173 h 6858000"/>
              <a:gd name="connsiteX668" fmla="*/ 2410152 w 7467600"/>
              <a:gd name="connsiteY668" fmla="*/ 3063751 h 6858000"/>
              <a:gd name="connsiteX669" fmla="*/ 2408099 w 7467600"/>
              <a:gd name="connsiteY669" fmla="*/ 3064403 h 6858000"/>
              <a:gd name="connsiteX670" fmla="*/ 2407218 w 7467600"/>
              <a:gd name="connsiteY670" fmla="*/ 3070324 h 6858000"/>
              <a:gd name="connsiteX671" fmla="*/ 2380138 w 7467600"/>
              <a:gd name="connsiteY671" fmla="*/ 3099341 h 6858000"/>
              <a:gd name="connsiteX672" fmla="*/ 1765923 w 7467600"/>
              <a:gd name="connsiteY672" fmla="*/ 3581043 h 6858000"/>
              <a:gd name="connsiteX673" fmla="*/ 1702258 w 7467600"/>
              <a:gd name="connsiteY673" fmla="*/ 3612286 h 6858000"/>
              <a:gd name="connsiteX674" fmla="*/ 1538370 w 7467600"/>
              <a:gd name="connsiteY674" fmla="*/ 3811804 h 6858000"/>
              <a:gd name="connsiteX675" fmla="*/ 542867 w 7467600"/>
              <a:gd name="connsiteY675" fmla="*/ 4944092 h 6858000"/>
              <a:gd name="connsiteX676" fmla="*/ 515800 w 7467600"/>
              <a:gd name="connsiteY676" fmla="*/ 4862180 h 6858000"/>
              <a:gd name="connsiteX677" fmla="*/ 909145 w 7467600"/>
              <a:gd name="connsiteY677" fmla="*/ 4199225 h 6858000"/>
              <a:gd name="connsiteX678" fmla="*/ 1214067 w 7467600"/>
              <a:gd name="connsiteY678" fmla="*/ 3908561 h 6858000"/>
              <a:gd name="connsiteX679" fmla="*/ 640967 w 7467600"/>
              <a:gd name="connsiteY679" fmla="*/ 4105601 h 6858000"/>
              <a:gd name="connsiteX680" fmla="*/ 112563 w 7467600"/>
              <a:gd name="connsiteY680" fmla="*/ 4396952 h 6858000"/>
              <a:gd name="connsiteX681" fmla="*/ 0 w 7467600"/>
              <a:gd name="connsiteY681" fmla="*/ 4466006 h 6858000"/>
              <a:gd name="connsiteX682" fmla="*/ 0 w 7467600"/>
              <a:gd name="connsiteY682" fmla="*/ 4233763 h 6858000"/>
              <a:gd name="connsiteX683" fmla="*/ 36881 w 7467600"/>
              <a:gd name="connsiteY683" fmla="*/ 4200118 h 6858000"/>
              <a:gd name="connsiteX684" fmla="*/ 910534 w 7467600"/>
              <a:gd name="connsiteY684" fmla="*/ 3629753 h 6858000"/>
              <a:gd name="connsiteX685" fmla="*/ 1578717 w 7467600"/>
              <a:gd name="connsiteY685" fmla="*/ 3575982 h 6858000"/>
              <a:gd name="connsiteX686" fmla="*/ 2338780 w 7467600"/>
              <a:gd name="connsiteY686" fmla="*/ 3033725 h 6858000"/>
              <a:gd name="connsiteX687" fmla="*/ 1807991 w 7467600"/>
              <a:gd name="connsiteY687" fmla="*/ 2807184 h 6858000"/>
              <a:gd name="connsiteX688" fmla="*/ 1416358 w 7467600"/>
              <a:gd name="connsiteY688" fmla="*/ 3112571 h 6858000"/>
              <a:gd name="connsiteX689" fmla="*/ 939066 w 7467600"/>
              <a:gd name="connsiteY689" fmla="*/ 3378798 h 6858000"/>
              <a:gd name="connsiteX690" fmla="*/ 115099 w 7467600"/>
              <a:gd name="connsiteY690" fmla="*/ 3607650 h 6858000"/>
              <a:gd name="connsiteX691" fmla="*/ 97284 w 7467600"/>
              <a:gd name="connsiteY691" fmla="*/ 3520393 h 6858000"/>
              <a:gd name="connsiteX692" fmla="*/ 922050 w 7467600"/>
              <a:gd name="connsiteY692" fmla="*/ 3074867 h 6858000"/>
              <a:gd name="connsiteX693" fmla="*/ 1405265 w 7467600"/>
              <a:gd name="connsiteY693" fmla="*/ 3016319 h 6858000"/>
              <a:gd name="connsiteX694" fmla="*/ 1407512 w 7467600"/>
              <a:gd name="connsiteY694" fmla="*/ 3018001 h 6858000"/>
              <a:gd name="connsiteX695" fmla="*/ 1726266 w 7467600"/>
              <a:gd name="connsiteY695" fmla="*/ 2777274 h 6858000"/>
              <a:gd name="connsiteX696" fmla="*/ 625390 w 7467600"/>
              <a:gd name="connsiteY696" fmla="*/ 2514541 h 6858000"/>
              <a:gd name="connsiteX697" fmla="*/ 619799 w 7467600"/>
              <a:gd name="connsiteY697" fmla="*/ 2527180 h 6858000"/>
              <a:gd name="connsiteX698" fmla="*/ 310030 w 7467600"/>
              <a:gd name="connsiteY698" fmla="*/ 2771818 h 6858000"/>
              <a:gd name="connsiteX699" fmla="*/ 173877 w 7467600"/>
              <a:gd name="connsiteY699" fmla="*/ 2937056 h 6858000"/>
              <a:gd name="connsiteX700" fmla="*/ 77889 w 7467600"/>
              <a:gd name="connsiteY700" fmla="*/ 3138440 h 6858000"/>
              <a:gd name="connsiteX701" fmla="*/ 0 w 7467600"/>
              <a:gd name="connsiteY701" fmla="*/ 3271395 h 6858000"/>
              <a:gd name="connsiteX702" fmla="*/ 0 w 7467600"/>
              <a:gd name="connsiteY702" fmla="*/ 3153002 h 6858000"/>
              <a:gd name="connsiteX703" fmla="*/ 2386 w 7467600"/>
              <a:gd name="connsiteY703" fmla="*/ 3149203 h 6858000"/>
              <a:gd name="connsiteX704" fmla="*/ 89753 w 7467600"/>
              <a:gd name="connsiteY704" fmla="*/ 2987702 h 6858000"/>
              <a:gd name="connsiteX705" fmla="*/ 76869 w 7467600"/>
              <a:gd name="connsiteY705" fmla="*/ 3005404 h 6858000"/>
              <a:gd name="connsiteX706" fmla="*/ 32049 w 7467600"/>
              <a:gd name="connsiteY706" fmla="*/ 3065814 h 6858000"/>
              <a:gd name="connsiteX707" fmla="*/ 0 w 7467600"/>
              <a:gd name="connsiteY707" fmla="*/ 3108744 h 6858000"/>
              <a:gd name="connsiteX708" fmla="*/ 0 w 7467600"/>
              <a:gd name="connsiteY708" fmla="*/ 3058059 h 6858000"/>
              <a:gd name="connsiteX709" fmla="*/ 7610 w 7467600"/>
              <a:gd name="connsiteY709" fmla="*/ 3047889 h 6858000"/>
              <a:gd name="connsiteX710" fmla="*/ 52419 w 7467600"/>
              <a:gd name="connsiteY710" fmla="*/ 2987479 h 6858000"/>
              <a:gd name="connsiteX711" fmla="*/ 59142 w 7467600"/>
              <a:gd name="connsiteY711" fmla="*/ 2978488 h 6858000"/>
              <a:gd name="connsiteX712" fmla="*/ 0 w 7467600"/>
              <a:gd name="connsiteY712" fmla="*/ 3015334 h 6858000"/>
              <a:gd name="connsiteX713" fmla="*/ 0 w 7467600"/>
              <a:gd name="connsiteY713" fmla="*/ 2914286 h 6858000"/>
              <a:gd name="connsiteX714" fmla="*/ 36383 w 7467600"/>
              <a:gd name="connsiteY714" fmla="*/ 2901128 h 6858000"/>
              <a:gd name="connsiteX715" fmla="*/ 156329 w 7467600"/>
              <a:gd name="connsiteY715" fmla="*/ 2840533 h 6858000"/>
              <a:gd name="connsiteX716" fmla="*/ 358355 w 7467600"/>
              <a:gd name="connsiteY716" fmla="*/ 2620471 h 6858000"/>
              <a:gd name="connsiteX717" fmla="*/ 510577 w 7467600"/>
              <a:gd name="connsiteY717" fmla="*/ 2501244 h 6858000"/>
              <a:gd name="connsiteX718" fmla="*/ 211967 w 7467600"/>
              <a:gd name="connsiteY718" fmla="*/ 2479171 h 6858000"/>
              <a:gd name="connsiteX719" fmla="*/ 0 w 7467600"/>
              <a:gd name="connsiteY719" fmla="*/ 2476398 h 6858000"/>
              <a:gd name="connsiteX720" fmla="*/ 0 w 7467600"/>
              <a:gd name="connsiteY720" fmla="*/ 2389189 h 6858000"/>
              <a:gd name="connsiteX721" fmla="*/ 103062 w 7467600"/>
              <a:gd name="connsiteY721" fmla="*/ 2389518 h 6858000"/>
              <a:gd name="connsiteX722" fmla="*/ 510734 w 7467600"/>
              <a:gd name="connsiteY722" fmla="*/ 2416201 h 6858000"/>
              <a:gd name="connsiteX723" fmla="*/ 279257 w 7467600"/>
              <a:gd name="connsiteY723" fmla="*/ 2092102 h 6858000"/>
              <a:gd name="connsiteX724" fmla="*/ 65265 w 7467600"/>
              <a:gd name="connsiteY724" fmla="*/ 2006049 h 6858000"/>
              <a:gd name="connsiteX725" fmla="*/ 0 w 7467600"/>
              <a:gd name="connsiteY725" fmla="*/ 1982532 h 6858000"/>
              <a:gd name="connsiteX726" fmla="*/ 0 w 7467600"/>
              <a:gd name="connsiteY726" fmla="*/ 1912789 h 6858000"/>
              <a:gd name="connsiteX727" fmla="*/ 97460 w 7467600"/>
              <a:gd name="connsiteY727" fmla="*/ 1953725 h 6858000"/>
              <a:gd name="connsiteX728" fmla="*/ 221272 w 7467600"/>
              <a:gd name="connsiteY728" fmla="*/ 1980766 h 6858000"/>
              <a:gd name="connsiteX729" fmla="*/ 116765 w 7467600"/>
              <a:gd name="connsiteY729" fmla="*/ 1911033 h 6858000"/>
              <a:gd name="connsiteX730" fmla="*/ 16405 w 7467600"/>
              <a:gd name="connsiteY730" fmla="*/ 1803412 h 6858000"/>
              <a:gd name="connsiteX731" fmla="*/ 0 w 7467600"/>
              <a:gd name="connsiteY731" fmla="*/ 1784777 h 6858000"/>
              <a:gd name="connsiteX732" fmla="*/ 0 w 7467600"/>
              <a:gd name="connsiteY732" fmla="*/ 1740082 h 6858000"/>
              <a:gd name="connsiteX733" fmla="*/ 39394 w 7467600"/>
              <a:gd name="connsiteY733" fmla="*/ 1784856 h 6858000"/>
              <a:gd name="connsiteX734" fmla="*/ 135813 w 7467600"/>
              <a:gd name="connsiteY734" fmla="*/ 1888838 h 6858000"/>
              <a:gd name="connsiteX735" fmla="*/ 242575 w 7467600"/>
              <a:gd name="connsiteY735" fmla="*/ 1958841 h 6858000"/>
              <a:gd name="connsiteX736" fmla="*/ 82197 w 7467600"/>
              <a:gd name="connsiteY736" fmla="*/ 1754826 h 6858000"/>
              <a:gd name="connsiteX737" fmla="*/ 0 w 7467600"/>
              <a:gd name="connsiteY737" fmla="*/ 1679650 h 6858000"/>
              <a:gd name="connsiteX738" fmla="*/ 0 w 7467600"/>
              <a:gd name="connsiteY738" fmla="*/ 1602463 h 6858000"/>
              <a:gd name="connsiteX739" fmla="*/ 84689 w 7467600"/>
              <a:gd name="connsiteY739" fmla="*/ 1677442 h 6858000"/>
              <a:gd name="connsiteX740" fmla="*/ 298437 w 7467600"/>
              <a:gd name="connsiteY740" fmla="*/ 1968019 h 6858000"/>
              <a:gd name="connsiteX741" fmla="*/ 227269 w 7467600"/>
              <a:gd name="connsiteY741" fmla="*/ 1114064 h 6858000"/>
              <a:gd name="connsiteX742" fmla="*/ 248003 w 7467600"/>
              <a:gd name="connsiteY742" fmla="*/ 1089613 h 6858000"/>
              <a:gd name="connsiteX743" fmla="*/ 427020 w 7467600"/>
              <a:gd name="connsiteY743" fmla="*/ 1619803 h 6858000"/>
              <a:gd name="connsiteX744" fmla="*/ 340345 w 7467600"/>
              <a:gd name="connsiteY744" fmla="*/ 2027739 h 6858000"/>
              <a:gd name="connsiteX745" fmla="*/ 360865 w 7467600"/>
              <a:gd name="connsiteY745" fmla="*/ 2044827 h 6858000"/>
              <a:gd name="connsiteX746" fmla="*/ 560414 w 7467600"/>
              <a:gd name="connsiteY746" fmla="*/ 2421457 h 6858000"/>
              <a:gd name="connsiteX747" fmla="*/ 1359703 w 7467600"/>
              <a:gd name="connsiteY747" fmla="*/ 2578554 h 6858000"/>
              <a:gd name="connsiteX748" fmla="*/ 1359422 w 7467600"/>
              <a:gd name="connsiteY748" fmla="*/ 2577994 h 6858000"/>
              <a:gd name="connsiteX749" fmla="*/ 828701 w 7467600"/>
              <a:gd name="connsiteY749" fmla="*/ 1839520 h 6858000"/>
              <a:gd name="connsiteX750" fmla="*/ 494427 w 7467600"/>
              <a:gd name="connsiteY750" fmla="*/ 1092333 h 6858000"/>
              <a:gd name="connsiteX751" fmla="*/ 506322 w 7467600"/>
              <a:gd name="connsiteY751" fmla="*/ 1020997 h 6858000"/>
              <a:gd name="connsiteX752" fmla="*/ 4570198 w 7467600"/>
              <a:gd name="connsiteY752" fmla="*/ 978081 h 6858000"/>
              <a:gd name="connsiteX753" fmla="*/ 4523691 w 7467600"/>
              <a:gd name="connsiteY753" fmla="*/ 1127776 h 6858000"/>
              <a:gd name="connsiteX754" fmla="*/ 4509875 w 7467600"/>
              <a:gd name="connsiteY754" fmla="*/ 1167552 h 6858000"/>
              <a:gd name="connsiteX755" fmla="*/ 4478168 w 7467600"/>
              <a:gd name="connsiteY755" fmla="*/ 1260735 h 6858000"/>
              <a:gd name="connsiteX756" fmla="*/ 4409309 w 7467600"/>
              <a:gd name="connsiteY756" fmla="*/ 1666996 h 6858000"/>
              <a:gd name="connsiteX757" fmla="*/ 4370031 w 7467600"/>
              <a:gd name="connsiteY757" fmla="*/ 1955666 h 6858000"/>
              <a:gd name="connsiteX758" fmla="*/ 4570198 w 7467600"/>
              <a:gd name="connsiteY758" fmla="*/ 978081 h 6858000"/>
              <a:gd name="connsiteX759" fmla="*/ 4557898 w 7467600"/>
              <a:gd name="connsiteY759" fmla="*/ 900011 h 6858000"/>
              <a:gd name="connsiteX760" fmla="*/ 4344840 w 7467600"/>
              <a:gd name="connsiteY760" fmla="*/ 1922038 h 6858000"/>
              <a:gd name="connsiteX761" fmla="*/ 4378710 w 7467600"/>
              <a:gd name="connsiteY761" fmla="*/ 1665516 h 6858000"/>
              <a:gd name="connsiteX762" fmla="*/ 4448798 w 7467600"/>
              <a:gd name="connsiteY762" fmla="*/ 1253024 h 6858000"/>
              <a:gd name="connsiteX763" fmla="*/ 4480315 w 7467600"/>
              <a:gd name="connsiteY763" fmla="*/ 1158454 h 6858000"/>
              <a:gd name="connsiteX764" fmla="*/ 4494133 w 7467600"/>
              <a:gd name="connsiteY764" fmla="*/ 1118676 h 6858000"/>
              <a:gd name="connsiteX765" fmla="*/ 4557898 w 7467600"/>
              <a:gd name="connsiteY765" fmla="*/ 900011 h 6858000"/>
              <a:gd name="connsiteX766" fmla="*/ 5870151 w 7467600"/>
              <a:gd name="connsiteY766" fmla="*/ 898890 h 6858000"/>
              <a:gd name="connsiteX767" fmla="*/ 5861335 w 7467600"/>
              <a:gd name="connsiteY767" fmla="*/ 899177 h 6858000"/>
              <a:gd name="connsiteX768" fmla="*/ 5843702 w 7467600"/>
              <a:gd name="connsiteY768" fmla="*/ 899748 h 6858000"/>
              <a:gd name="connsiteX769" fmla="*/ 5651107 w 7467600"/>
              <a:gd name="connsiteY769" fmla="*/ 920306 h 6858000"/>
              <a:gd name="connsiteX770" fmla="*/ 5459407 w 7467600"/>
              <a:gd name="connsiteY770" fmla="*/ 940975 h 6858000"/>
              <a:gd name="connsiteX771" fmla="*/ 5374846 w 7467600"/>
              <a:gd name="connsiteY771" fmla="*/ 941988 h 6858000"/>
              <a:gd name="connsiteX772" fmla="*/ 5256105 w 7467600"/>
              <a:gd name="connsiteY772" fmla="*/ 945632 h 6858000"/>
              <a:gd name="connsiteX773" fmla="*/ 5107071 w 7467600"/>
              <a:gd name="connsiteY773" fmla="*/ 969720 h 6858000"/>
              <a:gd name="connsiteX774" fmla="*/ 4998681 w 7467600"/>
              <a:gd name="connsiteY774" fmla="*/ 988771 h 6858000"/>
              <a:gd name="connsiteX775" fmla="*/ 5870151 w 7467600"/>
              <a:gd name="connsiteY775" fmla="*/ 898890 h 6858000"/>
              <a:gd name="connsiteX776" fmla="*/ 5504425 w 7467600"/>
              <a:gd name="connsiteY776" fmla="*/ 848067 h 6858000"/>
              <a:gd name="connsiteX777" fmla="*/ 4968849 w 7467600"/>
              <a:gd name="connsiteY777" fmla="*/ 962318 h 6858000"/>
              <a:gd name="connsiteX778" fmla="*/ 5104039 w 7467600"/>
              <a:gd name="connsiteY778" fmla="*/ 940634 h 6858000"/>
              <a:gd name="connsiteX779" fmla="*/ 5256311 w 7467600"/>
              <a:gd name="connsiteY779" fmla="*/ 916490 h 6858000"/>
              <a:gd name="connsiteX780" fmla="*/ 5377381 w 7467600"/>
              <a:gd name="connsiteY780" fmla="*/ 912671 h 6858000"/>
              <a:gd name="connsiteX781" fmla="*/ 5460148 w 7467600"/>
              <a:gd name="connsiteY781" fmla="*/ 911442 h 6858000"/>
              <a:gd name="connsiteX782" fmla="*/ 5648971 w 7467600"/>
              <a:gd name="connsiteY782" fmla="*/ 891331 h 6858000"/>
              <a:gd name="connsiteX783" fmla="*/ 5844807 w 7467600"/>
              <a:gd name="connsiteY783" fmla="*/ 870718 h 6858000"/>
              <a:gd name="connsiteX784" fmla="*/ 5862975 w 7467600"/>
              <a:gd name="connsiteY784" fmla="*/ 869756 h 6858000"/>
              <a:gd name="connsiteX785" fmla="*/ 5920887 w 7467600"/>
              <a:gd name="connsiteY785" fmla="*/ 865929 h 6858000"/>
              <a:gd name="connsiteX786" fmla="*/ 5504425 w 7467600"/>
              <a:gd name="connsiteY786" fmla="*/ 848067 h 6858000"/>
              <a:gd name="connsiteX787" fmla="*/ 3607114 w 7467600"/>
              <a:gd name="connsiteY787" fmla="*/ 467441 h 6858000"/>
              <a:gd name="connsiteX788" fmla="*/ 3296242 w 7467600"/>
              <a:gd name="connsiteY788" fmla="*/ 807991 h 6858000"/>
              <a:gd name="connsiteX789" fmla="*/ 3174674 w 7467600"/>
              <a:gd name="connsiteY789" fmla="*/ 919759 h 6858000"/>
              <a:gd name="connsiteX790" fmla="*/ 3042978 w 7467600"/>
              <a:gd name="connsiteY790" fmla="*/ 1054894 h 6858000"/>
              <a:gd name="connsiteX791" fmla="*/ 2968914 w 7467600"/>
              <a:gd name="connsiteY791" fmla="*/ 1133756 h 6858000"/>
              <a:gd name="connsiteX792" fmla="*/ 3103823 w 7467600"/>
              <a:gd name="connsiteY792" fmla="*/ 1026814 h 6858000"/>
              <a:gd name="connsiteX793" fmla="*/ 3607114 w 7467600"/>
              <a:gd name="connsiteY793" fmla="*/ 467441 h 6858000"/>
              <a:gd name="connsiteX794" fmla="*/ 3744487 w 7467600"/>
              <a:gd name="connsiteY794" fmla="*/ 383136 h 6858000"/>
              <a:gd name="connsiteX795" fmla="*/ 3970213 w 7467600"/>
              <a:gd name="connsiteY795" fmla="*/ 995559 h 6858000"/>
              <a:gd name="connsiteX796" fmla="*/ 3744487 w 7467600"/>
              <a:gd name="connsiteY796" fmla="*/ 383136 h 6858000"/>
              <a:gd name="connsiteX797" fmla="*/ 3624562 w 7467600"/>
              <a:gd name="connsiteY797" fmla="*/ 367041 h 6858000"/>
              <a:gd name="connsiteX798" fmla="*/ 3489712 w 7467600"/>
              <a:gd name="connsiteY798" fmla="*/ 485386 h 6858000"/>
              <a:gd name="connsiteX799" fmla="*/ 3182994 w 7467600"/>
              <a:gd name="connsiteY799" fmla="*/ 828265 h 6858000"/>
              <a:gd name="connsiteX800" fmla="*/ 2892114 w 7467600"/>
              <a:gd name="connsiteY800" fmla="*/ 1172635 h 6858000"/>
              <a:gd name="connsiteX801" fmla="*/ 3021459 w 7467600"/>
              <a:gd name="connsiteY801" fmla="*/ 1035385 h 6858000"/>
              <a:gd name="connsiteX802" fmla="*/ 3153873 w 7467600"/>
              <a:gd name="connsiteY802" fmla="*/ 898971 h 6858000"/>
              <a:gd name="connsiteX803" fmla="*/ 3276511 w 7467600"/>
              <a:gd name="connsiteY803" fmla="*/ 786423 h 6858000"/>
              <a:gd name="connsiteX804" fmla="*/ 3584154 w 7467600"/>
              <a:gd name="connsiteY804" fmla="*/ 448218 h 6858000"/>
              <a:gd name="connsiteX805" fmla="*/ 3624562 w 7467600"/>
              <a:gd name="connsiteY805" fmla="*/ 367041 h 6858000"/>
              <a:gd name="connsiteX806" fmla="*/ 3766672 w 7467600"/>
              <a:gd name="connsiteY806" fmla="*/ 359429 h 6858000"/>
              <a:gd name="connsiteX807" fmla="*/ 3996338 w 7467600"/>
              <a:gd name="connsiteY807" fmla="*/ 968237 h 6858000"/>
              <a:gd name="connsiteX808" fmla="*/ 3766672 w 7467600"/>
              <a:gd name="connsiteY808" fmla="*/ 359429 h 6858000"/>
              <a:gd name="connsiteX809" fmla="*/ 5805386 w 7467600"/>
              <a:gd name="connsiteY809" fmla="*/ 239240 h 6858000"/>
              <a:gd name="connsiteX810" fmla="*/ 5736947 w 7467600"/>
              <a:gd name="connsiteY810" fmla="*/ 261367 h 6858000"/>
              <a:gd name="connsiteX811" fmla="*/ 5427012 w 7467600"/>
              <a:gd name="connsiteY811" fmla="*/ 311272 h 6858000"/>
              <a:gd name="connsiteX812" fmla="*/ 5147818 w 7467600"/>
              <a:gd name="connsiteY812" fmla="*/ 322112 h 6858000"/>
              <a:gd name="connsiteX813" fmla="*/ 5060854 w 7467600"/>
              <a:gd name="connsiteY813" fmla="*/ 311882 h 6858000"/>
              <a:gd name="connsiteX814" fmla="*/ 4945989 w 7467600"/>
              <a:gd name="connsiteY814" fmla="*/ 300516 h 6858000"/>
              <a:gd name="connsiteX815" fmla="*/ 5410479 w 7467600"/>
              <a:gd name="connsiteY815" fmla="*/ 348434 h 6858000"/>
              <a:gd name="connsiteX816" fmla="*/ 5805386 w 7467600"/>
              <a:gd name="connsiteY816" fmla="*/ 239240 h 6858000"/>
              <a:gd name="connsiteX817" fmla="*/ 5905192 w 7467600"/>
              <a:gd name="connsiteY817" fmla="*/ 163079 h 6858000"/>
              <a:gd name="connsiteX818" fmla="*/ 5865655 w 7467600"/>
              <a:gd name="connsiteY818" fmla="*/ 171901 h 6858000"/>
              <a:gd name="connsiteX819" fmla="*/ 5259740 w 7467600"/>
              <a:gd name="connsiteY819" fmla="*/ 257013 h 6858000"/>
              <a:gd name="connsiteX820" fmla="*/ 5208466 w 7467600"/>
              <a:gd name="connsiteY820" fmla="*/ 257550 h 6858000"/>
              <a:gd name="connsiteX821" fmla="*/ 4980204 w 7467600"/>
              <a:gd name="connsiteY821" fmla="*/ 271903 h 6858000"/>
              <a:gd name="connsiteX822" fmla="*/ 5068068 w 7467600"/>
              <a:gd name="connsiteY822" fmla="*/ 282244 h 6858000"/>
              <a:gd name="connsiteX823" fmla="*/ 5153231 w 7467600"/>
              <a:gd name="connsiteY823" fmla="*/ 292240 h 6858000"/>
              <a:gd name="connsiteX824" fmla="*/ 5426491 w 7467600"/>
              <a:gd name="connsiteY824" fmla="*/ 281128 h 6858000"/>
              <a:gd name="connsiteX825" fmla="*/ 5731212 w 7467600"/>
              <a:gd name="connsiteY825" fmla="*/ 231951 h 6858000"/>
              <a:gd name="connsiteX826" fmla="*/ 5905192 w 7467600"/>
              <a:gd name="connsiteY826" fmla="*/ 163079 h 6858000"/>
              <a:gd name="connsiteX827" fmla="*/ 5944437 w 7467600"/>
              <a:gd name="connsiteY827" fmla="*/ 113829 h 6858000"/>
              <a:gd name="connsiteX828" fmla="*/ 5825032 w 7467600"/>
              <a:gd name="connsiteY828" fmla="*/ 146405 h 6858000"/>
              <a:gd name="connsiteX829" fmla="*/ 4955599 w 7467600"/>
              <a:gd name="connsiteY829" fmla="*/ 247008 h 6858000"/>
              <a:gd name="connsiteX830" fmla="*/ 5210104 w 7467600"/>
              <a:gd name="connsiteY830" fmla="*/ 228123 h 6858000"/>
              <a:gd name="connsiteX831" fmla="*/ 5261015 w 7467600"/>
              <a:gd name="connsiteY831" fmla="*/ 227087 h 6858000"/>
              <a:gd name="connsiteX832" fmla="*/ 5861181 w 7467600"/>
              <a:gd name="connsiteY832" fmla="*/ 143093 h 6858000"/>
              <a:gd name="connsiteX833" fmla="*/ 5961252 w 7467600"/>
              <a:gd name="connsiteY833" fmla="*/ 114820 h 6858000"/>
              <a:gd name="connsiteX834" fmla="*/ 5944437 w 7467600"/>
              <a:gd name="connsiteY834" fmla="*/ 113829 h 6858000"/>
              <a:gd name="connsiteX835" fmla="*/ 3882765 w 7467600"/>
              <a:gd name="connsiteY835" fmla="*/ 0 h 6858000"/>
              <a:gd name="connsiteX836" fmla="*/ 3995099 w 7467600"/>
              <a:gd name="connsiteY836" fmla="*/ 0 h 6858000"/>
              <a:gd name="connsiteX837" fmla="*/ 4163818 w 7467600"/>
              <a:gd name="connsiteY837" fmla="*/ 234104 h 6858000"/>
              <a:gd name="connsiteX838" fmla="*/ 4172099 w 7467600"/>
              <a:gd name="connsiteY838" fmla="*/ 234207 h 6858000"/>
              <a:gd name="connsiteX839" fmla="*/ 4784282 w 7467600"/>
              <a:gd name="connsiteY839" fmla="*/ 276561 h 6858000"/>
              <a:gd name="connsiteX840" fmla="*/ 4801687 w 7467600"/>
              <a:gd name="connsiteY840" fmla="*/ 267764 h 6858000"/>
              <a:gd name="connsiteX841" fmla="*/ 6082788 w 7467600"/>
              <a:gd name="connsiteY841" fmla="*/ 64119 h 6858000"/>
              <a:gd name="connsiteX842" fmla="*/ 6099442 w 7467600"/>
              <a:gd name="connsiteY842" fmla="*/ 82568 h 6858000"/>
              <a:gd name="connsiteX843" fmla="*/ 4804137 w 7467600"/>
              <a:gd name="connsiteY843" fmla="*/ 320931 h 6858000"/>
              <a:gd name="connsiteX844" fmla="*/ 4227047 w 7467600"/>
              <a:gd name="connsiteY844" fmla="*/ 313415 h 6858000"/>
              <a:gd name="connsiteX845" fmla="*/ 4346041 w 7467600"/>
              <a:gd name="connsiteY845" fmla="*/ 456086 h 6858000"/>
              <a:gd name="connsiteX846" fmla="*/ 4870967 w 7467600"/>
              <a:gd name="connsiteY846" fmla="*/ 963061 h 6858000"/>
              <a:gd name="connsiteX847" fmla="*/ 4889647 w 7467600"/>
              <a:gd name="connsiteY847" fmla="*/ 957147 h 6858000"/>
              <a:gd name="connsiteX848" fmla="*/ 5422504 w 7467600"/>
              <a:gd name="connsiteY848" fmla="*/ 805191 h 6858000"/>
              <a:gd name="connsiteX849" fmla="*/ 6087656 w 7467600"/>
              <a:gd name="connsiteY849" fmla="*/ 826703 h 6858000"/>
              <a:gd name="connsiteX850" fmla="*/ 6058717 w 7467600"/>
              <a:gd name="connsiteY850" fmla="*/ 865992 h 6858000"/>
              <a:gd name="connsiteX851" fmla="*/ 4974153 w 7467600"/>
              <a:gd name="connsiteY851" fmla="*/ 1045456 h 6858000"/>
              <a:gd name="connsiteX852" fmla="*/ 5627835 w 7467600"/>
              <a:gd name="connsiteY852" fmla="*/ 1472077 h 6858000"/>
              <a:gd name="connsiteX853" fmla="*/ 5629817 w 7467600"/>
              <a:gd name="connsiteY853" fmla="*/ 1471412 h 6858000"/>
              <a:gd name="connsiteX854" fmla="*/ 5634124 w 7467600"/>
              <a:gd name="connsiteY854" fmla="*/ 1470572 h 6858000"/>
              <a:gd name="connsiteX855" fmla="*/ 5755832 w 7467600"/>
              <a:gd name="connsiteY855" fmla="*/ 1383886 h 6858000"/>
              <a:gd name="connsiteX856" fmla="*/ 6014186 w 7467600"/>
              <a:gd name="connsiteY856" fmla="*/ 1279799 h 6858000"/>
              <a:gd name="connsiteX857" fmla="*/ 6901619 w 7467600"/>
              <a:gd name="connsiteY857" fmla="*/ 1047874 h 6858000"/>
              <a:gd name="connsiteX858" fmla="*/ 6931566 w 7467600"/>
              <a:gd name="connsiteY858" fmla="*/ 1062034 h 6858000"/>
              <a:gd name="connsiteX859" fmla="*/ 5790982 w 7467600"/>
              <a:gd name="connsiteY859" fmla="*/ 1561380 h 6858000"/>
              <a:gd name="connsiteX860" fmla="*/ 6188971 w 7467600"/>
              <a:gd name="connsiteY860" fmla="*/ 1755168 h 6858000"/>
              <a:gd name="connsiteX861" fmla="*/ 6202446 w 7467600"/>
              <a:gd name="connsiteY861" fmla="*/ 1752268 h 6858000"/>
              <a:gd name="connsiteX862" fmla="*/ 7179560 w 7467600"/>
              <a:gd name="connsiteY862" fmla="*/ 1467551 h 6858000"/>
              <a:gd name="connsiteX863" fmla="*/ 7158730 w 7467600"/>
              <a:gd name="connsiteY863" fmla="*/ 1507835 h 6858000"/>
              <a:gd name="connsiteX864" fmla="*/ 6326959 w 7467600"/>
              <a:gd name="connsiteY864" fmla="*/ 1817686 h 6858000"/>
              <a:gd name="connsiteX865" fmla="*/ 6537433 w 7467600"/>
              <a:gd name="connsiteY865" fmla="*/ 1907790 h 6858000"/>
              <a:gd name="connsiteX866" fmla="*/ 6550221 w 7467600"/>
              <a:gd name="connsiteY866" fmla="*/ 1910729 h 6858000"/>
              <a:gd name="connsiteX867" fmla="*/ 6964438 w 7467600"/>
              <a:gd name="connsiteY867" fmla="*/ 2209505 h 6858000"/>
              <a:gd name="connsiteX868" fmla="*/ 7367862 w 7467600"/>
              <a:gd name="connsiteY868" fmla="*/ 2806833 h 6858000"/>
              <a:gd name="connsiteX869" fmla="*/ 7364329 w 7467600"/>
              <a:gd name="connsiteY869" fmla="*/ 2826907 h 6858000"/>
              <a:gd name="connsiteX870" fmla="*/ 7290545 w 7467600"/>
              <a:gd name="connsiteY870" fmla="*/ 2850663 h 6858000"/>
              <a:gd name="connsiteX871" fmla="*/ 6472036 w 7467600"/>
              <a:gd name="connsiteY871" fmla="*/ 1959003 h 6858000"/>
              <a:gd name="connsiteX872" fmla="*/ 5792897 w 7467600"/>
              <a:gd name="connsiteY872" fmla="*/ 1647747 h 6858000"/>
              <a:gd name="connsiteX873" fmla="*/ 5842751 w 7467600"/>
              <a:gd name="connsiteY873" fmla="*/ 1816112 h 6858000"/>
              <a:gd name="connsiteX874" fmla="*/ 5847424 w 7467600"/>
              <a:gd name="connsiteY874" fmla="*/ 1815776 h 6858000"/>
              <a:gd name="connsiteX875" fmla="*/ 6399821 w 7467600"/>
              <a:gd name="connsiteY875" fmla="*/ 2344799 h 6858000"/>
              <a:gd name="connsiteX876" fmla="*/ 6323232 w 7467600"/>
              <a:gd name="connsiteY876" fmla="*/ 2389634 h 6858000"/>
              <a:gd name="connsiteX877" fmla="*/ 5942958 w 7467600"/>
              <a:gd name="connsiteY877" fmla="*/ 2077708 h 6858000"/>
              <a:gd name="connsiteX878" fmla="*/ 5921559 w 7467600"/>
              <a:gd name="connsiteY878" fmla="*/ 2378596 h 6858000"/>
              <a:gd name="connsiteX879" fmla="*/ 5817651 w 7467600"/>
              <a:gd name="connsiteY879" fmla="*/ 3023919 h 6858000"/>
              <a:gd name="connsiteX880" fmla="*/ 5729634 w 7467600"/>
              <a:gd name="connsiteY880" fmla="*/ 3051849 h 6858000"/>
              <a:gd name="connsiteX881" fmla="*/ 5611018 w 7467600"/>
              <a:gd name="connsiteY881" fmla="*/ 2316769 h 6858000"/>
              <a:gd name="connsiteX882" fmla="*/ 5687608 w 7467600"/>
              <a:gd name="connsiteY882" fmla="*/ 2039972 h 6858000"/>
              <a:gd name="connsiteX883" fmla="*/ 5657554 w 7467600"/>
              <a:gd name="connsiteY883" fmla="*/ 1576445 h 6858000"/>
              <a:gd name="connsiteX884" fmla="*/ 5150475 w 7467600"/>
              <a:gd name="connsiteY884" fmla="*/ 1274012 h 6858000"/>
              <a:gd name="connsiteX885" fmla="*/ 5349142 w 7467600"/>
              <a:gd name="connsiteY885" fmla="*/ 2204405 h 6858000"/>
              <a:gd name="connsiteX886" fmla="*/ 5262214 w 7467600"/>
              <a:gd name="connsiteY886" fmla="*/ 2233836 h 6858000"/>
              <a:gd name="connsiteX887" fmla="*/ 4981539 w 7467600"/>
              <a:gd name="connsiteY887" fmla="*/ 1542201 h 6858000"/>
              <a:gd name="connsiteX888" fmla="*/ 4958461 w 7467600"/>
              <a:gd name="connsiteY888" fmla="*/ 1136957 h 6858000"/>
              <a:gd name="connsiteX889" fmla="*/ 4655015 w 7467600"/>
              <a:gd name="connsiteY889" fmla="*/ 891426 h 6858000"/>
              <a:gd name="connsiteX890" fmla="*/ 4348002 w 7467600"/>
              <a:gd name="connsiteY890" fmla="*/ 2205895 h 6858000"/>
              <a:gd name="connsiteX891" fmla="*/ 4262250 w 7467600"/>
              <a:gd name="connsiteY891" fmla="*/ 2219972 h 6858000"/>
              <a:gd name="connsiteX892" fmla="*/ 4550611 w 7467600"/>
              <a:gd name="connsiteY892" fmla="*/ 817540 h 6858000"/>
              <a:gd name="connsiteX893" fmla="*/ 4564418 w 7467600"/>
              <a:gd name="connsiteY893" fmla="*/ 808293 h 6858000"/>
              <a:gd name="connsiteX894" fmla="*/ 4266388 w 7467600"/>
              <a:gd name="connsiteY894" fmla="*/ 500083 h 6858000"/>
              <a:gd name="connsiteX895" fmla="*/ 4032842 w 7467600"/>
              <a:gd name="connsiteY895" fmla="*/ 211809 h 6858000"/>
              <a:gd name="connsiteX896" fmla="*/ 3882765 w 7467600"/>
              <a:gd name="connsiteY896" fmla="*/ 0 h 6858000"/>
              <a:gd name="connsiteX897" fmla="*/ 3721337 w 7467600"/>
              <a:gd name="connsiteY897" fmla="*/ 0 h 6858000"/>
              <a:gd name="connsiteX898" fmla="*/ 3797544 w 7467600"/>
              <a:gd name="connsiteY898" fmla="*/ 0 h 6858000"/>
              <a:gd name="connsiteX899" fmla="*/ 3775734 w 7467600"/>
              <a:gd name="connsiteY899" fmla="*/ 95131 h 6858000"/>
              <a:gd name="connsiteX900" fmla="*/ 3724807 w 7467600"/>
              <a:gd name="connsiteY900" fmla="*/ 272257 h 6858000"/>
              <a:gd name="connsiteX901" fmla="*/ 3726844 w 7467600"/>
              <a:gd name="connsiteY901" fmla="*/ 282988 h 6858000"/>
              <a:gd name="connsiteX902" fmla="*/ 3742664 w 7467600"/>
              <a:gd name="connsiteY902" fmla="*/ 279918 h 6858000"/>
              <a:gd name="connsiteX903" fmla="*/ 4103910 w 7467600"/>
              <a:gd name="connsiteY903" fmla="*/ 1161917 h 6858000"/>
              <a:gd name="connsiteX904" fmla="*/ 4020269 w 7467600"/>
              <a:gd name="connsiteY904" fmla="*/ 1200406 h 6858000"/>
              <a:gd name="connsiteX905" fmla="*/ 3674882 w 7467600"/>
              <a:gd name="connsiteY905" fmla="*/ 488524 h 6858000"/>
              <a:gd name="connsiteX906" fmla="*/ 3132682 w 7467600"/>
              <a:gd name="connsiteY906" fmla="*/ 1072284 h 6858000"/>
              <a:gd name="connsiteX907" fmla="*/ 2716346 w 7467600"/>
              <a:gd name="connsiteY907" fmla="*/ 1276376 h 6858000"/>
              <a:gd name="connsiteX908" fmla="*/ 2716772 w 7467600"/>
              <a:gd name="connsiteY908" fmla="*/ 1255462 h 6858000"/>
              <a:gd name="connsiteX909" fmla="*/ 3471096 w 7467600"/>
              <a:gd name="connsiteY909" fmla="*/ 437072 h 6858000"/>
              <a:gd name="connsiteX910" fmla="*/ 3639057 w 7467600"/>
              <a:gd name="connsiteY910" fmla="*/ 286334 h 6858000"/>
              <a:gd name="connsiteX911" fmla="*/ 3640309 w 7467600"/>
              <a:gd name="connsiteY911" fmla="*/ 284664 h 6858000"/>
              <a:gd name="connsiteX912" fmla="*/ 3646022 w 7467600"/>
              <a:gd name="connsiteY912" fmla="*/ 276711 h 6858000"/>
              <a:gd name="connsiteX913" fmla="*/ 3707943 w 7467600"/>
              <a:gd name="connsiteY913" fmla="*/ 65958 h 6858000"/>
              <a:gd name="connsiteX914" fmla="*/ 3721337 w 7467600"/>
              <a:gd name="connsiteY914" fmla="*/ 0 h 6858000"/>
              <a:gd name="connsiteX915" fmla="*/ 2867960 w 7467600"/>
              <a:gd name="connsiteY915" fmla="*/ 0 h 6858000"/>
              <a:gd name="connsiteX916" fmla="*/ 2926351 w 7467600"/>
              <a:gd name="connsiteY916" fmla="*/ 0 h 6858000"/>
              <a:gd name="connsiteX917" fmla="*/ 2902823 w 7467600"/>
              <a:gd name="connsiteY917" fmla="*/ 262929 h 6858000"/>
              <a:gd name="connsiteX918" fmla="*/ 2940663 w 7467600"/>
              <a:gd name="connsiteY918" fmla="*/ 140884 h 6858000"/>
              <a:gd name="connsiteX919" fmla="*/ 2947039 w 7467600"/>
              <a:gd name="connsiteY919" fmla="*/ 122524 h 6858000"/>
              <a:gd name="connsiteX920" fmla="*/ 2984316 w 7467600"/>
              <a:gd name="connsiteY920" fmla="*/ 0 h 6858000"/>
              <a:gd name="connsiteX921" fmla="*/ 3016114 w 7467600"/>
              <a:gd name="connsiteY921" fmla="*/ 0 h 6858000"/>
              <a:gd name="connsiteX922" fmla="*/ 2979949 w 7467600"/>
              <a:gd name="connsiteY922" fmla="*/ 119274 h 6858000"/>
              <a:gd name="connsiteX923" fmla="*/ 3023879 w 7467600"/>
              <a:gd name="connsiteY923" fmla="*/ 0 h 6858000"/>
              <a:gd name="connsiteX924" fmla="*/ 3105400 w 7467600"/>
              <a:gd name="connsiteY924" fmla="*/ 0 h 6858000"/>
              <a:gd name="connsiteX925" fmla="*/ 3094669 w 7467600"/>
              <a:gd name="connsiteY925" fmla="*/ 30308 h 6858000"/>
              <a:gd name="connsiteX926" fmla="*/ 2901945 w 7467600"/>
              <a:gd name="connsiteY926" fmla="*/ 466538 h 6858000"/>
              <a:gd name="connsiteX927" fmla="*/ 2815209 w 7467600"/>
              <a:gd name="connsiteY927" fmla="*/ 497361 h 6858000"/>
              <a:gd name="connsiteX928" fmla="*/ 2844845 w 7467600"/>
              <a:gd name="connsiteY928" fmla="*/ 127638 h 6858000"/>
              <a:gd name="connsiteX929" fmla="*/ 2867960 w 7467600"/>
              <a:gd name="connsiteY929" fmla="*/ 0 h 6858000"/>
              <a:gd name="connsiteX930" fmla="*/ 1057230 w 7467600"/>
              <a:gd name="connsiteY930" fmla="*/ 0 h 6858000"/>
              <a:gd name="connsiteX931" fmla="*/ 1111003 w 7467600"/>
              <a:gd name="connsiteY931" fmla="*/ 0 h 6858000"/>
              <a:gd name="connsiteX932" fmla="*/ 1125553 w 7467600"/>
              <a:gd name="connsiteY932" fmla="*/ 52588 h 6858000"/>
              <a:gd name="connsiteX933" fmla="*/ 1304276 w 7467600"/>
              <a:gd name="connsiteY933" fmla="*/ 476275 h 6858000"/>
              <a:gd name="connsiteX934" fmla="*/ 1492066 w 7467600"/>
              <a:gd name="connsiteY934" fmla="*/ 886333 h 6858000"/>
              <a:gd name="connsiteX935" fmla="*/ 1423698 w 7467600"/>
              <a:gd name="connsiteY935" fmla="*/ 710817 h 6858000"/>
              <a:gd name="connsiteX936" fmla="*/ 1357609 w 7467600"/>
              <a:gd name="connsiteY936" fmla="*/ 532892 h 6858000"/>
              <a:gd name="connsiteX937" fmla="*/ 1309550 w 7467600"/>
              <a:gd name="connsiteY937" fmla="*/ 374031 h 6858000"/>
              <a:gd name="connsiteX938" fmla="*/ 1193673 w 7467600"/>
              <a:gd name="connsiteY938" fmla="*/ 49533 h 6858000"/>
              <a:gd name="connsiteX939" fmla="*/ 1164391 w 7467600"/>
              <a:gd name="connsiteY939" fmla="*/ 0 h 6858000"/>
              <a:gd name="connsiteX940" fmla="*/ 1200666 w 7467600"/>
              <a:gd name="connsiteY940" fmla="*/ 0 h 6858000"/>
              <a:gd name="connsiteX941" fmla="*/ 1223408 w 7467600"/>
              <a:gd name="connsiteY941" fmla="*/ 38996 h 6858000"/>
              <a:gd name="connsiteX942" fmla="*/ 1339635 w 7467600"/>
              <a:gd name="connsiteY942" fmla="*/ 365517 h 6858000"/>
              <a:gd name="connsiteX943" fmla="*/ 1387469 w 7467600"/>
              <a:gd name="connsiteY943" fmla="*/ 523079 h 6858000"/>
              <a:gd name="connsiteX944" fmla="*/ 1452685 w 7467600"/>
              <a:gd name="connsiteY944" fmla="*/ 699806 h 6858000"/>
              <a:gd name="connsiteX945" fmla="*/ 1492092 w 7467600"/>
              <a:gd name="connsiteY945" fmla="*/ 800424 h 6858000"/>
              <a:gd name="connsiteX946" fmla="*/ 1455302 w 7467600"/>
              <a:gd name="connsiteY946" fmla="*/ 632913 h 6858000"/>
              <a:gd name="connsiteX947" fmla="*/ 1222336 w 7467600"/>
              <a:gd name="connsiteY947" fmla="*/ 9480 h 6858000"/>
              <a:gd name="connsiteX948" fmla="*/ 1214634 w 7467600"/>
              <a:gd name="connsiteY948" fmla="*/ 0 h 6858000"/>
              <a:gd name="connsiteX949" fmla="*/ 1289827 w 7467600"/>
              <a:gd name="connsiteY949" fmla="*/ 0 h 6858000"/>
              <a:gd name="connsiteX950" fmla="*/ 1321076 w 7467600"/>
              <a:gd name="connsiteY950" fmla="*/ 59722 h 6858000"/>
              <a:gd name="connsiteX951" fmla="*/ 1512579 w 7467600"/>
              <a:gd name="connsiteY951" fmla="*/ 626441 h 6858000"/>
              <a:gd name="connsiteX952" fmla="*/ 1506076 w 7467600"/>
              <a:gd name="connsiteY952" fmla="*/ 1089289 h 6858000"/>
              <a:gd name="connsiteX953" fmla="*/ 1486346 w 7467600"/>
              <a:gd name="connsiteY953" fmla="*/ 1079919 h 6858000"/>
              <a:gd name="connsiteX954" fmla="*/ 1070511 w 7467600"/>
              <a:gd name="connsiteY954" fmla="*/ 48609 h 6858000"/>
              <a:gd name="connsiteX955" fmla="*/ 1057230 w 7467600"/>
              <a:gd name="connsiteY955" fmla="*/ 0 h 6858000"/>
              <a:gd name="connsiteX956" fmla="*/ 43151 w 7467600"/>
              <a:gd name="connsiteY956" fmla="*/ 0 h 6858000"/>
              <a:gd name="connsiteX957" fmla="*/ 95283 w 7467600"/>
              <a:gd name="connsiteY957" fmla="*/ 0 h 6858000"/>
              <a:gd name="connsiteX958" fmla="*/ 300708 w 7467600"/>
              <a:gd name="connsiteY958" fmla="*/ 154571 h 6858000"/>
              <a:gd name="connsiteX959" fmla="*/ 530414 w 7467600"/>
              <a:gd name="connsiteY959" fmla="*/ 354673 h 6858000"/>
              <a:gd name="connsiteX960" fmla="*/ 333785 w 7467600"/>
              <a:gd name="connsiteY960" fmla="*/ 161564 h 6858000"/>
              <a:gd name="connsiteX961" fmla="*/ 147005 w 7467600"/>
              <a:gd name="connsiteY961" fmla="*/ 0 h 6858000"/>
              <a:gd name="connsiteX962" fmla="*/ 272509 w 7467600"/>
              <a:gd name="connsiteY962" fmla="*/ 0 h 6858000"/>
              <a:gd name="connsiteX963" fmla="*/ 326276 w 7467600"/>
              <a:gd name="connsiteY963" fmla="*/ 45847 h 6858000"/>
              <a:gd name="connsiteX964" fmla="*/ 823759 w 7467600"/>
              <a:gd name="connsiteY964" fmla="*/ 574145 h 6858000"/>
              <a:gd name="connsiteX965" fmla="*/ 811254 w 7467600"/>
              <a:gd name="connsiteY965" fmla="*/ 665546 h 6858000"/>
              <a:gd name="connsiteX966" fmla="*/ 154042 w 7467600"/>
              <a:gd name="connsiteY966" fmla="*/ 261522 h 6858000"/>
              <a:gd name="connsiteX967" fmla="*/ 13550 w 7467600"/>
              <a:gd name="connsiteY967" fmla="*/ 158423 h 6858000"/>
              <a:gd name="connsiteX968" fmla="*/ 0 w 7467600"/>
              <a:gd name="connsiteY968" fmla="*/ 146618 h 6858000"/>
              <a:gd name="connsiteX969" fmla="*/ 0 w 7467600"/>
              <a:gd name="connsiteY969" fmla="*/ 59161 h 6858000"/>
              <a:gd name="connsiteX970" fmla="*/ 45427 w 7467600"/>
              <a:gd name="connsiteY970" fmla="*/ 101078 h 6858000"/>
              <a:gd name="connsiteX971" fmla="*/ 630103 w 7467600"/>
              <a:gd name="connsiteY971" fmla="*/ 485885 h 6858000"/>
              <a:gd name="connsiteX972" fmla="*/ 532040 w 7467600"/>
              <a:gd name="connsiteY972" fmla="*/ 399359 h 6858000"/>
              <a:gd name="connsiteX973" fmla="*/ 517618 w 7467600"/>
              <a:gd name="connsiteY973" fmla="*/ 385726 h 6858000"/>
              <a:gd name="connsiteX974" fmla="*/ 285074 w 7467600"/>
              <a:gd name="connsiteY974" fmla="*/ 182755 h 6858000"/>
              <a:gd name="connsiteX975" fmla="*/ 43151 w 7467600"/>
              <a:gd name="connsiteY975"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7042773 w 7467600"/>
              <a:gd name="connsiteY74" fmla="*/ 5734011 h 6858000"/>
              <a:gd name="connsiteX75" fmla="*/ 6879594 w 7467600"/>
              <a:gd name="connsiteY75" fmla="*/ 5424547 h 6858000"/>
              <a:gd name="connsiteX76" fmla="*/ 7379510 w 7467600"/>
              <a:gd name="connsiteY76" fmla="*/ 5755454 h 6858000"/>
              <a:gd name="connsiteX77" fmla="*/ 7467600 w 7467600"/>
              <a:gd name="connsiteY77" fmla="*/ 5845526 h 6858000"/>
              <a:gd name="connsiteX78" fmla="*/ 7271900 w 7467600"/>
              <a:gd name="connsiteY78" fmla="*/ 5734551 h 6858000"/>
              <a:gd name="connsiteX79" fmla="*/ 7015907 w 7467600"/>
              <a:gd name="connsiteY79" fmla="*/ 5541548 h 6858000"/>
              <a:gd name="connsiteX80" fmla="*/ 7259646 w 7467600"/>
              <a:gd name="connsiteY80" fmla="*/ 5765985 h 6858000"/>
              <a:gd name="connsiteX81" fmla="*/ 7467600 w 7467600"/>
              <a:gd name="connsiteY81" fmla="*/ 6012219 h 6858000"/>
              <a:gd name="connsiteX82" fmla="*/ 6946849 w 7467600"/>
              <a:gd name="connsiteY82" fmla="*/ 5523271 h 6858000"/>
              <a:gd name="connsiteX83" fmla="*/ 6946972 w 7467600"/>
              <a:gd name="connsiteY83" fmla="*/ 5526491 h 6858000"/>
              <a:gd name="connsiteX84" fmla="*/ 7105827 w 7467600"/>
              <a:gd name="connsiteY84" fmla="*/ 5718700 h 6858000"/>
              <a:gd name="connsiteX85" fmla="*/ 7356878 w 7467600"/>
              <a:gd name="connsiteY85" fmla="*/ 5981332 h 6858000"/>
              <a:gd name="connsiteX86" fmla="*/ 7467600 w 7467600"/>
              <a:gd name="connsiteY86" fmla="*/ 6117703 h 6858000"/>
              <a:gd name="connsiteX87" fmla="*/ 7467600 w 7467600"/>
              <a:gd name="connsiteY87" fmla="*/ 6163634 h 6858000"/>
              <a:gd name="connsiteX88" fmla="*/ 7403637 w 7467600"/>
              <a:gd name="connsiteY88" fmla="*/ 6083957 h 6858000"/>
              <a:gd name="connsiteX89" fmla="*/ 7254615 w 7467600"/>
              <a:gd name="connsiteY89" fmla="*/ 5911918 h 6858000"/>
              <a:gd name="connsiteX90" fmla="*/ 7312589 w 7467600"/>
              <a:gd name="connsiteY90" fmla="*/ 5982309 h 6858000"/>
              <a:gd name="connsiteX91" fmla="*/ 7448321 w 7467600"/>
              <a:gd name="connsiteY91" fmla="*/ 6190991 h 6858000"/>
              <a:gd name="connsiteX92" fmla="*/ 7467600 w 7467600"/>
              <a:gd name="connsiteY92" fmla="*/ 6221686 h 6858000"/>
              <a:gd name="connsiteX93" fmla="*/ 7467600 w 7467600"/>
              <a:gd name="connsiteY93" fmla="*/ 6334256 h 6858000"/>
              <a:gd name="connsiteX94" fmla="*/ 7454976 w 7467600"/>
              <a:gd name="connsiteY94" fmla="*/ 6318297 h 6858000"/>
              <a:gd name="connsiteX95" fmla="*/ 7042773 w 7467600"/>
              <a:gd name="connsiteY95" fmla="*/ 5734011 h 6858000"/>
              <a:gd name="connsiteX96" fmla="*/ 1456157 w 7467600"/>
              <a:gd name="connsiteY96" fmla="*/ 5371404 h 6858000"/>
              <a:gd name="connsiteX97" fmla="*/ 1244432 w 7467600"/>
              <a:gd name="connsiteY97" fmla="*/ 5385601 h 6858000"/>
              <a:gd name="connsiteX98" fmla="*/ 973990 w 7467600"/>
              <a:gd name="connsiteY98" fmla="*/ 5424940 h 6858000"/>
              <a:gd name="connsiteX99" fmla="*/ 1103809 w 7467600"/>
              <a:gd name="connsiteY99" fmla="*/ 5433720 h 6858000"/>
              <a:gd name="connsiteX100" fmla="*/ 1123454 w 7467600"/>
              <a:gd name="connsiteY100" fmla="*/ 5435727 h 6858000"/>
              <a:gd name="connsiteX101" fmla="*/ 1737017 w 7467600"/>
              <a:gd name="connsiteY101" fmla="*/ 5452183 h 6858000"/>
              <a:gd name="connsiteX102" fmla="*/ 1824397 w 7467600"/>
              <a:gd name="connsiteY102" fmla="*/ 5447757 h 6858000"/>
              <a:gd name="connsiteX103" fmla="*/ 2070059 w 7467600"/>
              <a:gd name="connsiteY103" fmla="*/ 5441660 h 6858000"/>
              <a:gd name="connsiteX104" fmla="*/ 1456157 w 7467600"/>
              <a:gd name="connsiteY104" fmla="*/ 5371404 h 6858000"/>
              <a:gd name="connsiteX105" fmla="*/ 4988186 w 7467600"/>
              <a:gd name="connsiteY105" fmla="*/ 5216467 h 6858000"/>
              <a:gd name="connsiteX106" fmla="*/ 4777334 w 7467600"/>
              <a:gd name="connsiteY106" fmla="*/ 5406072 h 6858000"/>
              <a:gd name="connsiteX107" fmla="*/ 4718341 w 7467600"/>
              <a:gd name="connsiteY107" fmla="*/ 5468043 h 6858000"/>
              <a:gd name="connsiteX108" fmla="*/ 4604655 w 7467600"/>
              <a:gd name="connsiteY108" fmla="*/ 5583434 h 6858000"/>
              <a:gd name="connsiteX109" fmla="*/ 4565074 w 7467600"/>
              <a:gd name="connsiteY109" fmla="*/ 5618550 h 6858000"/>
              <a:gd name="connsiteX110" fmla="*/ 4988186 w 7467600"/>
              <a:gd name="connsiteY110" fmla="*/ 5216467 h 6858000"/>
              <a:gd name="connsiteX111" fmla="*/ 4978032 w 7467600"/>
              <a:gd name="connsiteY111" fmla="*/ 5183809 h 6858000"/>
              <a:gd name="connsiteX112" fmla="*/ 4463413 w 7467600"/>
              <a:gd name="connsiteY112" fmla="*/ 5615162 h 6858000"/>
              <a:gd name="connsiteX113" fmla="*/ 4358134 w 7467600"/>
              <a:gd name="connsiteY113" fmla="*/ 5742791 h 6858000"/>
              <a:gd name="connsiteX114" fmla="*/ 4376219 w 7467600"/>
              <a:gd name="connsiteY114" fmla="*/ 5729027 h 6858000"/>
              <a:gd name="connsiteX115" fmla="*/ 4582340 w 7467600"/>
              <a:gd name="connsiteY115" fmla="*/ 5561037 h 6858000"/>
              <a:gd name="connsiteX116" fmla="*/ 4694684 w 7467600"/>
              <a:gd name="connsiteY116" fmla="*/ 5447098 h 6858000"/>
              <a:gd name="connsiteX117" fmla="*/ 4754123 w 7467600"/>
              <a:gd name="connsiteY117" fmla="*/ 5384643 h 6858000"/>
              <a:gd name="connsiteX118" fmla="*/ 4978032 w 7467600"/>
              <a:gd name="connsiteY118" fmla="*/ 5183809 h 6858000"/>
              <a:gd name="connsiteX119" fmla="*/ 1903353 w 7467600"/>
              <a:gd name="connsiteY119" fmla="*/ 5044827 h 6858000"/>
              <a:gd name="connsiteX120" fmla="*/ 1936931 w 7467600"/>
              <a:gd name="connsiteY120" fmla="*/ 5093954 h 6858000"/>
              <a:gd name="connsiteX121" fmla="*/ 2195868 w 7467600"/>
              <a:gd name="connsiteY121" fmla="*/ 5396574 h 6858000"/>
              <a:gd name="connsiteX122" fmla="*/ 2088852 w 7467600"/>
              <a:gd name="connsiteY122" fmla="*/ 5166123 h 6858000"/>
              <a:gd name="connsiteX123" fmla="*/ 1958241 w 7467600"/>
              <a:gd name="connsiteY123" fmla="*/ 5067955 h 6858000"/>
              <a:gd name="connsiteX124" fmla="*/ 1903353 w 7467600"/>
              <a:gd name="connsiteY124" fmla="*/ 5044827 h 6858000"/>
              <a:gd name="connsiteX125" fmla="*/ 1979378 w 7467600"/>
              <a:gd name="connsiteY125" fmla="*/ 4769504 h 6858000"/>
              <a:gd name="connsiteX126" fmla="*/ 2882120 w 7467600"/>
              <a:gd name="connsiteY126" fmla="*/ 5064547 h 6858000"/>
              <a:gd name="connsiteX127" fmla="*/ 2793103 w 7467600"/>
              <a:gd name="connsiteY127" fmla="*/ 5039699 h 6858000"/>
              <a:gd name="connsiteX128" fmla="*/ 2770041 w 7467600"/>
              <a:gd name="connsiteY128" fmla="*/ 5033634 h 6858000"/>
              <a:gd name="connsiteX129" fmla="*/ 1979378 w 7467600"/>
              <a:gd name="connsiteY129" fmla="*/ 4769504 h 6858000"/>
              <a:gd name="connsiteX130" fmla="*/ 1927410 w 7467600"/>
              <a:gd name="connsiteY130" fmla="*/ 4716164 h 6858000"/>
              <a:gd name="connsiteX131" fmla="*/ 1959587 w 7467600"/>
              <a:gd name="connsiteY131" fmla="*/ 4728849 h 6858000"/>
              <a:gd name="connsiteX132" fmla="*/ 2777707 w 7467600"/>
              <a:gd name="connsiteY132" fmla="*/ 5003991 h 6858000"/>
              <a:gd name="connsiteX133" fmla="*/ 2800768 w 7467600"/>
              <a:gd name="connsiteY133" fmla="*/ 5010056 h 6858000"/>
              <a:gd name="connsiteX134" fmla="*/ 2879408 w 7467600"/>
              <a:gd name="connsiteY134" fmla="*/ 5031590 h 6858000"/>
              <a:gd name="connsiteX135" fmla="*/ 2862295 w 7467600"/>
              <a:gd name="connsiteY135" fmla="*/ 5022958 h 6858000"/>
              <a:gd name="connsiteX136" fmla="*/ 2813343 w 7467600"/>
              <a:gd name="connsiteY136" fmla="*/ 4998369 h 6858000"/>
              <a:gd name="connsiteX137" fmla="*/ 2646245 w 7467600"/>
              <a:gd name="connsiteY137" fmla="*/ 4930999 h 6858000"/>
              <a:gd name="connsiteX138" fmla="*/ 1999243 w 7467600"/>
              <a:gd name="connsiteY138" fmla="*/ 4730524 h 6858000"/>
              <a:gd name="connsiteX139" fmla="*/ 1979527 w 7467600"/>
              <a:gd name="connsiteY139" fmla="*/ 4726651 h 6858000"/>
              <a:gd name="connsiteX140" fmla="*/ 1927410 w 7467600"/>
              <a:gd name="connsiteY140" fmla="*/ 4716164 h 6858000"/>
              <a:gd name="connsiteX141" fmla="*/ 1997014 w 7467600"/>
              <a:gd name="connsiteY141" fmla="*/ 4698007 h 6858000"/>
              <a:gd name="connsiteX142" fmla="*/ 2005458 w 7467600"/>
              <a:gd name="connsiteY142" fmla="*/ 4699540 h 6858000"/>
              <a:gd name="connsiteX143" fmla="*/ 2657186 w 7467600"/>
              <a:gd name="connsiteY143" fmla="*/ 4901687 h 6858000"/>
              <a:gd name="connsiteX144" fmla="*/ 2826662 w 7467600"/>
              <a:gd name="connsiteY144" fmla="*/ 4970362 h 6858000"/>
              <a:gd name="connsiteX145" fmla="*/ 2876100 w 7467600"/>
              <a:gd name="connsiteY145" fmla="*/ 4995397 h 6858000"/>
              <a:gd name="connsiteX146" fmla="*/ 3042600 w 7467600"/>
              <a:gd name="connsiteY146" fmla="*/ 5059532 h 6858000"/>
              <a:gd name="connsiteX147" fmla="*/ 1997014 w 7467600"/>
              <a:gd name="connsiteY147" fmla="*/ 4698007 h 6858000"/>
              <a:gd name="connsiteX148" fmla="*/ 2305292 w 7467600"/>
              <a:gd name="connsiteY148" fmla="*/ 4219492 h 6858000"/>
              <a:gd name="connsiteX149" fmla="*/ 3360922 w 7467600"/>
              <a:gd name="connsiteY149" fmla="*/ 4529373 h 6858000"/>
              <a:gd name="connsiteX150" fmla="*/ 3492420 w 7467600"/>
              <a:gd name="connsiteY150" fmla="*/ 4510145 h 6858000"/>
              <a:gd name="connsiteX151" fmla="*/ 3364086 w 7467600"/>
              <a:gd name="connsiteY151" fmla="*/ 4480340 h 6858000"/>
              <a:gd name="connsiteX152" fmla="*/ 3225818 w 7467600"/>
              <a:gd name="connsiteY152" fmla="*/ 4411822 h 6858000"/>
              <a:gd name="connsiteX153" fmla="*/ 3129696 w 7467600"/>
              <a:gd name="connsiteY153" fmla="*/ 4360704 h 6858000"/>
              <a:gd name="connsiteX154" fmla="*/ 2814545 w 7467600"/>
              <a:gd name="connsiteY154" fmla="*/ 4282955 h 6858000"/>
              <a:gd name="connsiteX155" fmla="*/ 2305292 w 7467600"/>
              <a:gd name="connsiteY155" fmla="*/ 4219492 h 6858000"/>
              <a:gd name="connsiteX156" fmla="*/ 2626982 w 7467600"/>
              <a:gd name="connsiteY156" fmla="*/ 4206450 h 6858000"/>
              <a:gd name="connsiteX157" fmla="*/ 2490617 w 7467600"/>
              <a:gd name="connsiteY157" fmla="*/ 4206951 h 6858000"/>
              <a:gd name="connsiteX158" fmla="*/ 2819869 w 7467600"/>
              <a:gd name="connsiteY158" fmla="*/ 4252936 h 6858000"/>
              <a:gd name="connsiteX159" fmla="*/ 3143018 w 7467600"/>
              <a:gd name="connsiteY159" fmla="*/ 4332698 h 6858000"/>
              <a:gd name="connsiteX160" fmla="*/ 3241520 w 7467600"/>
              <a:gd name="connsiteY160" fmla="*/ 4385112 h 6858000"/>
              <a:gd name="connsiteX161" fmla="*/ 3374575 w 7467600"/>
              <a:gd name="connsiteY161" fmla="*/ 4451517 h 6858000"/>
              <a:gd name="connsiteX162" fmla="*/ 3505221 w 7467600"/>
              <a:gd name="connsiteY162" fmla="*/ 4480757 h 6858000"/>
              <a:gd name="connsiteX163" fmla="*/ 2626982 w 7467600"/>
              <a:gd name="connsiteY163" fmla="*/ 4206450 h 6858000"/>
              <a:gd name="connsiteX164" fmla="*/ 1310106 w 7467600"/>
              <a:gd name="connsiteY164" fmla="*/ 3943217 h 6858000"/>
              <a:gd name="connsiteX165" fmla="*/ 854994 w 7467600"/>
              <a:gd name="connsiteY165" fmla="*/ 4399136 h 6858000"/>
              <a:gd name="connsiteX166" fmla="*/ 742462 w 7467600"/>
              <a:gd name="connsiteY166" fmla="*/ 4594648 h 6858000"/>
              <a:gd name="connsiteX167" fmla="*/ 820602 w 7467600"/>
              <a:gd name="connsiteY167" fmla="*/ 4485915 h 6858000"/>
              <a:gd name="connsiteX168" fmla="*/ 878295 w 7467600"/>
              <a:gd name="connsiteY168" fmla="*/ 4403594 h 6858000"/>
              <a:gd name="connsiteX169" fmla="*/ 1240607 w 7467600"/>
              <a:gd name="connsiteY169" fmla="*/ 4010401 h 6858000"/>
              <a:gd name="connsiteX170" fmla="*/ 1310106 w 7467600"/>
              <a:gd name="connsiteY170" fmla="*/ 3943217 h 6858000"/>
              <a:gd name="connsiteX171" fmla="*/ 1423113 w 7467600"/>
              <a:gd name="connsiteY171" fmla="*/ 3874565 h 6858000"/>
              <a:gd name="connsiteX172" fmla="*/ 1260565 w 7467600"/>
              <a:gd name="connsiteY172" fmla="*/ 4031982 h 6858000"/>
              <a:gd name="connsiteX173" fmla="*/ 901900 w 7467600"/>
              <a:gd name="connsiteY173" fmla="*/ 4421236 h 6858000"/>
              <a:gd name="connsiteX174" fmla="*/ 845044 w 7467600"/>
              <a:gd name="connsiteY174" fmla="*/ 4502436 h 6858000"/>
              <a:gd name="connsiteX175" fmla="*/ 685926 w 7467600"/>
              <a:gd name="connsiteY175" fmla="*/ 4703069 h 6858000"/>
              <a:gd name="connsiteX176" fmla="*/ 684248 w 7467600"/>
              <a:gd name="connsiteY176" fmla="*/ 4706721 h 6858000"/>
              <a:gd name="connsiteX177" fmla="*/ 1423113 w 7467600"/>
              <a:gd name="connsiteY177" fmla="*/ 3874565 h 6858000"/>
              <a:gd name="connsiteX178" fmla="*/ 3316479 w 7467600"/>
              <a:gd name="connsiteY178" fmla="*/ 3872136 h 6858000"/>
              <a:gd name="connsiteX179" fmla="*/ 3546806 w 7467600"/>
              <a:gd name="connsiteY179" fmla="*/ 4356139 h 6858000"/>
              <a:gd name="connsiteX180" fmla="*/ 3364433 w 7467600"/>
              <a:gd name="connsiteY180" fmla="*/ 3953121 h 6858000"/>
              <a:gd name="connsiteX181" fmla="*/ 3316479 w 7467600"/>
              <a:gd name="connsiteY181" fmla="*/ 3872136 h 6858000"/>
              <a:gd name="connsiteX182" fmla="*/ 3291335 w 7467600"/>
              <a:gd name="connsiteY182" fmla="*/ 3767420 h 6858000"/>
              <a:gd name="connsiteX183" fmla="*/ 3390805 w 7467600"/>
              <a:gd name="connsiteY183" fmla="*/ 3937163 h 6858000"/>
              <a:gd name="connsiteX184" fmla="*/ 3579062 w 7467600"/>
              <a:gd name="connsiteY184" fmla="*/ 4359040 h 6858000"/>
              <a:gd name="connsiteX185" fmla="*/ 3467355 w 7467600"/>
              <a:gd name="connsiteY185" fmla="*/ 3988130 h 6858000"/>
              <a:gd name="connsiteX186" fmla="*/ 3310753 w 7467600"/>
              <a:gd name="connsiteY186" fmla="*/ 3787140 h 6858000"/>
              <a:gd name="connsiteX187" fmla="*/ 3291335 w 7467600"/>
              <a:gd name="connsiteY187" fmla="*/ 3767420 h 6858000"/>
              <a:gd name="connsiteX188" fmla="*/ 1635889 w 7467600"/>
              <a:gd name="connsiteY188" fmla="*/ 3709494 h 6858000"/>
              <a:gd name="connsiteX189" fmla="*/ 1634800 w 7467600"/>
              <a:gd name="connsiteY189" fmla="*/ 3731111 h 6858000"/>
              <a:gd name="connsiteX190" fmla="*/ 1635889 w 7467600"/>
              <a:gd name="connsiteY190" fmla="*/ 3709494 h 6858000"/>
              <a:gd name="connsiteX191" fmla="*/ 1510397 w 7467600"/>
              <a:gd name="connsiteY191" fmla="*/ 3684705 h 6858000"/>
              <a:gd name="connsiteX192" fmla="*/ 1146550 w 7467600"/>
              <a:gd name="connsiteY192" fmla="*/ 3802012 h 6858000"/>
              <a:gd name="connsiteX193" fmla="*/ 698834 w 7467600"/>
              <a:gd name="connsiteY193" fmla="*/ 3952272 h 6858000"/>
              <a:gd name="connsiteX194" fmla="*/ 34256 w 7467600"/>
              <a:gd name="connsiteY194" fmla="*/ 4347603 h 6858000"/>
              <a:gd name="connsiteX195" fmla="*/ 527241 w 7467600"/>
              <a:gd name="connsiteY195" fmla="*/ 4065078 h 6858000"/>
              <a:gd name="connsiteX196" fmla="*/ 1510397 w 7467600"/>
              <a:gd name="connsiteY196" fmla="*/ 3684705 h 6858000"/>
              <a:gd name="connsiteX197" fmla="*/ 1313114 w 7467600"/>
              <a:gd name="connsiteY197" fmla="*/ 3655216 h 6858000"/>
              <a:gd name="connsiteX198" fmla="*/ 1109304 w 7467600"/>
              <a:gd name="connsiteY198" fmla="*/ 3669030 h 6858000"/>
              <a:gd name="connsiteX199" fmla="*/ 8129 w 7467600"/>
              <a:gd name="connsiteY199" fmla="*/ 4330519 h 6858000"/>
              <a:gd name="connsiteX200" fmla="*/ 687572 w 7467600"/>
              <a:gd name="connsiteY200" fmla="*/ 3925629 h 6858000"/>
              <a:gd name="connsiteX201" fmla="*/ 1138365 w 7467600"/>
              <a:gd name="connsiteY201" fmla="*/ 3774515 h 6858000"/>
              <a:gd name="connsiteX202" fmla="*/ 1505579 w 7467600"/>
              <a:gd name="connsiteY202" fmla="*/ 3655526 h 6858000"/>
              <a:gd name="connsiteX203" fmla="*/ 1313114 w 7467600"/>
              <a:gd name="connsiteY203" fmla="*/ 3655216 h 6858000"/>
              <a:gd name="connsiteX204" fmla="*/ 3655073 w 7467600"/>
              <a:gd name="connsiteY204" fmla="*/ 3650884 h 6858000"/>
              <a:gd name="connsiteX205" fmla="*/ 3989938 w 7467600"/>
              <a:gd name="connsiteY205" fmla="*/ 3991685 h 6858000"/>
              <a:gd name="connsiteX206" fmla="*/ 4393907 w 7467600"/>
              <a:gd name="connsiteY206" fmla="*/ 4261258 h 6858000"/>
              <a:gd name="connsiteX207" fmla="*/ 4648051 w 7467600"/>
              <a:gd name="connsiteY207" fmla="*/ 4374051 h 6858000"/>
              <a:gd name="connsiteX208" fmla="*/ 4383389 w 7467600"/>
              <a:gd name="connsiteY208" fmla="*/ 4184369 h 6858000"/>
              <a:gd name="connsiteX209" fmla="*/ 4165508 w 7467600"/>
              <a:gd name="connsiteY209" fmla="*/ 4035196 h 6858000"/>
              <a:gd name="connsiteX210" fmla="*/ 4068162 w 7467600"/>
              <a:gd name="connsiteY210" fmla="*/ 3953394 h 6858000"/>
              <a:gd name="connsiteX211" fmla="*/ 3981416 w 7467600"/>
              <a:gd name="connsiteY211" fmla="*/ 3880482 h 6858000"/>
              <a:gd name="connsiteX212" fmla="*/ 3800147 w 7467600"/>
              <a:gd name="connsiteY212" fmla="*/ 3749872 h 6858000"/>
              <a:gd name="connsiteX213" fmla="*/ 3655073 w 7467600"/>
              <a:gd name="connsiteY213" fmla="*/ 3650884 h 6858000"/>
              <a:gd name="connsiteX214" fmla="*/ 3670252 w 7467600"/>
              <a:gd name="connsiteY214" fmla="*/ 3622798 h 6858000"/>
              <a:gd name="connsiteX215" fmla="*/ 3817258 w 7467600"/>
              <a:gd name="connsiteY215" fmla="*/ 3723577 h 6858000"/>
              <a:gd name="connsiteX216" fmla="*/ 4000461 w 7467600"/>
              <a:gd name="connsiteY216" fmla="*/ 3855966 h 6858000"/>
              <a:gd name="connsiteX217" fmla="*/ 4088180 w 7467600"/>
              <a:gd name="connsiteY217" fmla="*/ 3929774 h 6858000"/>
              <a:gd name="connsiteX218" fmla="*/ 4184555 w 7467600"/>
              <a:gd name="connsiteY218" fmla="*/ 4010683 h 6858000"/>
              <a:gd name="connsiteX219" fmla="*/ 4399563 w 7467600"/>
              <a:gd name="connsiteY219" fmla="*/ 4158106 h 6858000"/>
              <a:gd name="connsiteX220" fmla="*/ 4684469 w 7467600"/>
              <a:gd name="connsiteY220" fmla="*/ 4364680 h 6858000"/>
              <a:gd name="connsiteX221" fmla="*/ 4690271 w 7467600"/>
              <a:gd name="connsiteY221" fmla="*/ 4370034 h 6858000"/>
              <a:gd name="connsiteX222" fmla="*/ 4136093 w 7467600"/>
              <a:gd name="connsiteY222" fmla="*/ 3858466 h 6858000"/>
              <a:gd name="connsiteX223" fmla="*/ 3670252 w 7467600"/>
              <a:gd name="connsiteY223" fmla="*/ 3622798 h 6858000"/>
              <a:gd name="connsiteX224" fmla="*/ 4440129 w 7467600"/>
              <a:gd name="connsiteY224" fmla="*/ 3448571 h 6858000"/>
              <a:gd name="connsiteX225" fmla="*/ 4856525 w 7467600"/>
              <a:gd name="connsiteY225" fmla="*/ 3915351 h 6858000"/>
              <a:gd name="connsiteX226" fmla="*/ 5059055 w 7467600"/>
              <a:gd name="connsiteY226" fmla="*/ 4108918 h 6858000"/>
              <a:gd name="connsiteX227" fmla="*/ 5290070 w 7467600"/>
              <a:gd name="connsiteY227" fmla="*/ 4263619 h 6858000"/>
              <a:gd name="connsiteX228" fmla="*/ 4834991 w 7467600"/>
              <a:gd name="connsiteY228" fmla="*/ 3830985 h 6858000"/>
              <a:gd name="connsiteX229" fmla="*/ 4440129 w 7467600"/>
              <a:gd name="connsiteY229" fmla="*/ 3448571 h 6858000"/>
              <a:gd name="connsiteX230" fmla="*/ 4441737 w 7467600"/>
              <a:gd name="connsiteY230" fmla="*/ 3399734 h 6858000"/>
              <a:gd name="connsiteX231" fmla="*/ 4431236 w 7467600"/>
              <a:gd name="connsiteY231" fmla="*/ 3400954 h 6858000"/>
              <a:gd name="connsiteX232" fmla="*/ 4557150 w 7467600"/>
              <a:gd name="connsiteY232" fmla="*/ 3510023 h 6858000"/>
              <a:gd name="connsiteX233" fmla="*/ 4856936 w 7467600"/>
              <a:gd name="connsiteY233" fmla="*/ 3809146 h 6858000"/>
              <a:gd name="connsiteX234" fmla="*/ 5111996 w 7467600"/>
              <a:gd name="connsiteY234" fmla="*/ 4065759 h 6858000"/>
              <a:gd name="connsiteX235" fmla="*/ 5388878 w 7467600"/>
              <a:gd name="connsiteY235" fmla="*/ 4300185 h 6858000"/>
              <a:gd name="connsiteX236" fmla="*/ 5425556 w 7467600"/>
              <a:gd name="connsiteY236" fmla="*/ 4308967 h 6858000"/>
              <a:gd name="connsiteX237" fmla="*/ 4943646 w 7467600"/>
              <a:gd name="connsiteY237" fmla="*/ 3822916 h 6858000"/>
              <a:gd name="connsiteX238" fmla="*/ 4594837 w 7467600"/>
              <a:gd name="connsiteY238" fmla="*/ 3532274 h 6858000"/>
              <a:gd name="connsiteX239" fmla="*/ 4441737 w 7467600"/>
              <a:gd name="connsiteY239" fmla="*/ 3399734 h 6858000"/>
              <a:gd name="connsiteX240" fmla="*/ 5425834 w 7467600"/>
              <a:gd name="connsiteY240" fmla="*/ 3162785 h 6858000"/>
              <a:gd name="connsiteX241" fmla="*/ 5401644 w 7467600"/>
              <a:gd name="connsiteY241" fmla="*/ 3617847 h 6858000"/>
              <a:gd name="connsiteX242" fmla="*/ 5467256 w 7467600"/>
              <a:gd name="connsiteY242" fmla="*/ 4175494 h 6858000"/>
              <a:gd name="connsiteX243" fmla="*/ 5448069 w 7467600"/>
              <a:gd name="connsiteY243" fmla="*/ 3567554 h 6858000"/>
              <a:gd name="connsiteX244" fmla="*/ 5425834 w 7467600"/>
              <a:gd name="connsiteY244" fmla="*/ 3162785 h 6858000"/>
              <a:gd name="connsiteX245" fmla="*/ 1318687 w 7467600"/>
              <a:gd name="connsiteY245" fmla="*/ 3113840 h 6858000"/>
              <a:gd name="connsiteX246" fmla="*/ 1066793 w 7467600"/>
              <a:gd name="connsiteY246" fmla="*/ 3212171 h 6858000"/>
              <a:gd name="connsiteX247" fmla="*/ 993319 w 7467600"/>
              <a:gd name="connsiteY247" fmla="*/ 3247648 h 6858000"/>
              <a:gd name="connsiteX248" fmla="*/ 853081 w 7467600"/>
              <a:gd name="connsiteY248" fmla="*/ 3312410 h 6858000"/>
              <a:gd name="connsiteX249" fmla="*/ 805957 w 7467600"/>
              <a:gd name="connsiteY249" fmla="*/ 3330443 h 6858000"/>
              <a:gd name="connsiteX250" fmla="*/ 1318687 w 7467600"/>
              <a:gd name="connsiteY250" fmla="*/ 3113840 h 6858000"/>
              <a:gd name="connsiteX251" fmla="*/ 5453702 w 7467600"/>
              <a:gd name="connsiteY251" fmla="*/ 3090882 h 6858000"/>
              <a:gd name="connsiteX252" fmla="*/ 5480135 w 7467600"/>
              <a:gd name="connsiteY252" fmla="*/ 3565802 h 6858000"/>
              <a:gd name="connsiteX253" fmla="*/ 5499023 w 7467600"/>
              <a:gd name="connsiteY253" fmla="*/ 4166310 h 6858000"/>
              <a:gd name="connsiteX254" fmla="*/ 5547022 w 7467600"/>
              <a:gd name="connsiteY254" fmla="*/ 3607838 h 6858000"/>
              <a:gd name="connsiteX255" fmla="*/ 5515964 w 7467600"/>
              <a:gd name="connsiteY255" fmla="*/ 3378541 h 6858000"/>
              <a:gd name="connsiteX256" fmla="*/ 5453702 w 7467600"/>
              <a:gd name="connsiteY256" fmla="*/ 3090882 h 6858000"/>
              <a:gd name="connsiteX257" fmla="*/ 1238695 w 7467600"/>
              <a:gd name="connsiteY257" fmla="*/ 3076820 h 6858000"/>
              <a:gd name="connsiteX258" fmla="*/ 716371 w 7467600"/>
              <a:gd name="connsiteY258" fmla="*/ 3293249 h 6858000"/>
              <a:gd name="connsiteX259" fmla="*/ 579522 w 7467600"/>
              <a:gd name="connsiteY259" fmla="*/ 3371759 h 6858000"/>
              <a:gd name="connsiteX260" fmla="*/ 600288 w 7467600"/>
              <a:gd name="connsiteY260" fmla="*/ 3365555 h 6858000"/>
              <a:gd name="connsiteX261" fmla="*/ 840692 w 7467600"/>
              <a:gd name="connsiteY261" fmla="*/ 3284921 h 6858000"/>
              <a:gd name="connsiteX262" fmla="*/ 979248 w 7467600"/>
              <a:gd name="connsiteY262" fmla="*/ 3221003 h 6858000"/>
              <a:gd name="connsiteX263" fmla="*/ 1053282 w 7467600"/>
              <a:gd name="connsiteY263" fmla="*/ 3185247 h 6858000"/>
              <a:gd name="connsiteX264" fmla="*/ 1320603 w 7467600"/>
              <a:gd name="connsiteY264" fmla="*/ 3081281 h 6858000"/>
              <a:gd name="connsiteX265" fmla="*/ 1238695 w 7467600"/>
              <a:gd name="connsiteY265" fmla="*/ 3076820 h 6858000"/>
              <a:gd name="connsiteX266" fmla="*/ 5425627 w 7467600"/>
              <a:gd name="connsiteY266" fmla="*/ 2954192 h 6858000"/>
              <a:gd name="connsiteX267" fmla="*/ 5470770 w 7467600"/>
              <a:gd name="connsiteY267" fmla="*/ 3005435 h 6858000"/>
              <a:gd name="connsiteX268" fmla="*/ 5519779 w 7467600"/>
              <a:gd name="connsiteY268" fmla="*/ 4359223 h 6858000"/>
              <a:gd name="connsiteX269" fmla="*/ 5520293 w 7467600"/>
              <a:gd name="connsiteY269" fmla="*/ 4360602 h 6858000"/>
              <a:gd name="connsiteX270" fmla="*/ 5767221 w 7467600"/>
              <a:gd name="connsiteY270" fmla="*/ 4665564 h 6858000"/>
              <a:gd name="connsiteX271" fmla="*/ 6937169 w 7467600"/>
              <a:gd name="connsiteY271" fmla="*/ 4815941 h 6858000"/>
              <a:gd name="connsiteX272" fmla="*/ 6953922 w 7467600"/>
              <a:gd name="connsiteY272" fmla="*/ 4890068 h 6858000"/>
              <a:gd name="connsiteX273" fmla="*/ 6071359 w 7467600"/>
              <a:gd name="connsiteY273" fmla="*/ 4770770 h 6858000"/>
              <a:gd name="connsiteX274" fmla="*/ 6038839 w 7467600"/>
              <a:gd name="connsiteY274" fmla="*/ 4764474 h 6858000"/>
              <a:gd name="connsiteX275" fmla="*/ 6038706 w 7467600"/>
              <a:gd name="connsiteY275" fmla="*/ 4763847 h 6858000"/>
              <a:gd name="connsiteX276" fmla="*/ 6037784 w 7467600"/>
              <a:gd name="connsiteY276" fmla="*/ 4764270 h 6858000"/>
              <a:gd name="connsiteX277" fmla="*/ 6038839 w 7467600"/>
              <a:gd name="connsiteY277" fmla="*/ 4764474 h 6858000"/>
              <a:gd name="connsiteX278" fmla="*/ 6040338 w 7467600"/>
              <a:gd name="connsiteY278" fmla="*/ 4771418 h 6858000"/>
              <a:gd name="connsiteX279" fmla="*/ 6024488 w 7467600"/>
              <a:gd name="connsiteY279" fmla="*/ 4809903 h 6858000"/>
              <a:gd name="connsiteX280" fmla="*/ 5599771 w 7467600"/>
              <a:gd name="connsiteY280" fmla="*/ 5509652 h 6858000"/>
              <a:gd name="connsiteX281" fmla="*/ 5548843 w 7467600"/>
              <a:gd name="connsiteY281" fmla="*/ 5563845 h 6858000"/>
              <a:gd name="connsiteX282" fmla="*/ 5940952 w 7467600"/>
              <a:gd name="connsiteY282" fmla="*/ 6250028 h 6858000"/>
              <a:gd name="connsiteX283" fmla="*/ 6043441 w 7467600"/>
              <a:gd name="connsiteY283" fmla="*/ 6665847 h 6858000"/>
              <a:gd name="connsiteX284" fmla="*/ 6093432 w 7467600"/>
              <a:gd name="connsiteY284" fmla="*/ 6858000 h 6858000"/>
              <a:gd name="connsiteX285" fmla="*/ 6034344 w 7467600"/>
              <a:gd name="connsiteY285" fmla="*/ 6858000 h 6858000"/>
              <a:gd name="connsiteX286" fmla="*/ 6026679 w 7467600"/>
              <a:gd name="connsiteY286" fmla="*/ 6836959 h 6858000"/>
              <a:gd name="connsiteX287" fmla="*/ 5800441 w 7467600"/>
              <a:gd name="connsiteY287" fmla="*/ 6335286 h 6858000"/>
              <a:gd name="connsiteX288" fmla="*/ 5526562 w 7467600"/>
              <a:gd name="connsiteY288" fmla="*/ 5705388 h 6858000"/>
              <a:gd name="connsiteX289" fmla="*/ 5519640 w 7467600"/>
              <a:gd name="connsiteY289" fmla="*/ 5683774 h 6858000"/>
              <a:gd name="connsiteX290" fmla="*/ 5844559 w 7467600"/>
              <a:gd name="connsiteY290" fmla="*/ 6553349 h 6858000"/>
              <a:gd name="connsiteX291" fmla="*/ 5975994 w 7467600"/>
              <a:gd name="connsiteY291" fmla="*/ 6858000 h 6858000"/>
              <a:gd name="connsiteX292" fmla="*/ 5898547 w 7467600"/>
              <a:gd name="connsiteY292" fmla="*/ 6858000 h 6858000"/>
              <a:gd name="connsiteX293" fmla="*/ 5682041 w 7467600"/>
              <a:gd name="connsiteY293" fmla="*/ 6355860 h 6858000"/>
              <a:gd name="connsiteX294" fmla="*/ 5461758 w 7467600"/>
              <a:gd name="connsiteY294" fmla="*/ 5820220 h 6858000"/>
              <a:gd name="connsiteX295" fmla="*/ 5237282 w 7467600"/>
              <a:gd name="connsiteY295" fmla="*/ 6579086 h 6858000"/>
              <a:gd name="connsiteX296" fmla="*/ 5115009 w 7467600"/>
              <a:gd name="connsiteY296" fmla="*/ 6858000 h 6858000"/>
              <a:gd name="connsiteX297" fmla="*/ 5028074 w 7467600"/>
              <a:gd name="connsiteY297" fmla="*/ 6858000 h 6858000"/>
              <a:gd name="connsiteX298" fmla="*/ 5079508 w 7467600"/>
              <a:gd name="connsiteY298" fmla="*/ 6749074 h 6858000"/>
              <a:gd name="connsiteX299" fmla="*/ 5371846 w 7467600"/>
              <a:gd name="connsiteY299" fmla="*/ 5924413 h 6858000"/>
              <a:gd name="connsiteX300" fmla="*/ 5270512 w 7467600"/>
              <a:gd name="connsiteY300" fmla="*/ 6138975 h 6858000"/>
              <a:gd name="connsiteX301" fmla="*/ 5062409 w 7467600"/>
              <a:gd name="connsiteY301" fmla="*/ 6653544 h 6858000"/>
              <a:gd name="connsiteX302" fmla="*/ 5036628 w 7467600"/>
              <a:gd name="connsiteY302" fmla="*/ 6754247 h 6858000"/>
              <a:gd name="connsiteX303" fmla="*/ 5009112 w 7467600"/>
              <a:gd name="connsiteY303" fmla="*/ 6858000 h 6858000"/>
              <a:gd name="connsiteX304" fmla="*/ 4976679 w 7467600"/>
              <a:gd name="connsiteY304" fmla="*/ 6858000 h 6858000"/>
              <a:gd name="connsiteX305" fmla="*/ 5006537 w 7467600"/>
              <a:gd name="connsiteY305" fmla="*/ 6747068 h 6858000"/>
              <a:gd name="connsiteX306" fmla="*/ 5032723 w 7467600"/>
              <a:gd name="connsiteY306" fmla="*/ 6644957 h 6858000"/>
              <a:gd name="connsiteX307" fmla="*/ 5242949 w 7467600"/>
              <a:gd name="connsiteY307" fmla="*/ 6125175 h 6858000"/>
              <a:gd name="connsiteX308" fmla="*/ 5286321 w 7467600"/>
              <a:gd name="connsiteY308" fmla="*/ 6033555 h 6858000"/>
              <a:gd name="connsiteX309" fmla="*/ 5008210 w 7467600"/>
              <a:gd name="connsiteY309" fmla="*/ 6649194 h 6858000"/>
              <a:gd name="connsiteX310" fmla="*/ 4986321 w 7467600"/>
              <a:gd name="connsiteY310" fmla="*/ 6765687 h 6858000"/>
              <a:gd name="connsiteX311" fmla="*/ 4973474 w 7467600"/>
              <a:gd name="connsiteY311" fmla="*/ 6858000 h 6858000"/>
              <a:gd name="connsiteX312" fmla="*/ 4907178 w 7467600"/>
              <a:gd name="connsiteY312" fmla="*/ 6858000 h 6858000"/>
              <a:gd name="connsiteX313" fmla="*/ 4910810 w 7467600"/>
              <a:gd name="connsiteY313" fmla="*/ 6829660 h 6858000"/>
              <a:gd name="connsiteX314" fmla="*/ 4987461 w 7467600"/>
              <a:gd name="connsiteY314" fmla="*/ 6432994 h 6858000"/>
              <a:gd name="connsiteX315" fmla="*/ 5179262 w 7467600"/>
              <a:gd name="connsiteY315" fmla="*/ 6035044 h 6858000"/>
              <a:gd name="connsiteX316" fmla="*/ 4689678 w 7467600"/>
              <a:gd name="connsiteY316" fmla="*/ 6440241 h 6858000"/>
              <a:gd name="connsiteX317" fmla="*/ 4477543 w 7467600"/>
              <a:gd name="connsiteY317" fmla="*/ 6674836 h 6858000"/>
              <a:gd name="connsiteX318" fmla="*/ 4329957 w 7467600"/>
              <a:gd name="connsiteY318" fmla="*/ 6858000 h 6858000"/>
              <a:gd name="connsiteX319" fmla="*/ 4218595 w 7467600"/>
              <a:gd name="connsiteY319" fmla="*/ 6858000 h 6858000"/>
              <a:gd name="connsiteX320" fmla="*/ 4368888 w 7467600"/>
              <a:gd name="connsiteY320" fmla="*/ 6668412 h 6858000"/>
              <a:gd name="connsiteX321" fmla="*/ 4563091 w 7467600"/>
              <a:gd name="connsiteY321" fmla="*/ 6442508 h 6858000"/>
              <a:gd name="connsiteX322" fmla="*/ 5387324 w 7467600"/>
              <a:gd name="connsiteY322" fmla="*/ 5705830 h 6858000"/>
              <a:gd name="connsiteX323" fmla="*/ 5073620 w 7467600"/>
              <a:gd name="connsiteY323" fmla="*/ 5955437 h 6858000"/>
              <a:gd name="connsiteX324" fmla="*/ 4689789 w 7467600"/>
              <a:gd name="connsiteY324" fmla="*/ 6268382 h 6858000"/>
              <a:gd name="connsiteX325" fmla="*/ 4418722 w 7467600"/>
              <a:gd name="connsiteY325" fmla="*/ 6570886 h 6858000"/>
              <a:gd name="connsiteX326" fmla="*/ 4214944 w 7467600"/>
              <a:gd name="connsiteY326" fmla="*/ 6858000 h 6858000"/>
              <a:gd name="connsiteX327" fmla="*/ 4177898 w 7467600"/>
              <a:gd name="connsiteY327" fmla="*/ 6858000 h 6858000"/>
              <a:gd name="connsiteX328" fmla="*/ 4391597 w 7467600"/>
              <a:gd name="connsiteY328" fmla="*/ 6556370 h 6858000"/>
              <a:gd name="connsiteX329" fmla="*/ 4668889 w 7467600"/>
              <a:gd name="connsiteY329" fmla="*/ 6246399 h 6858000"/>
              <a:gd name="connsiteX330" fmla="*/ 5055427 w 7467600"/>
              <a:gd name="connsiteY330" fmla="*/ 5931476 h 6858000"/>
              <a:gd name="connsiteX331" fmla="*/ 5371814 w 7467600"/>
              <a:gd name="connsiteY331" fmla="*/ 5678975 h 6858000"/>
              <a:gd name="connsiteX332" fmla="*/ 4987918 w 7467600"/>
              <a:gd name="connsiteY332" fmla="*/ 5838701 h 6858000"/>
              <a:gd name="connsiteX333" fmla="*/ 4317146 w 7467600"/>
              <a:gd name="connsiteY333" fmla="*/ 6587716 h 6858000"/>
              <a:gd name="connsiteX334" fmla="*/ 4171627 w 7467600"/>
              <a:gd name="connsiteY334" fmla="*/ 6858000 h 6858000"/>
              <a:gd name="connsiteX335" fmla="*/ 4081585 w 7467600"/>
              <a:gd name="connsiteY335" fmla="*/ 6858000 h 6858000"/>
              <a:gd name="connsiteX336" fmla="*/ 4238603 w 7467600"/>
              <a:gd name="connsiteY336" fmla="*/ 6559341 h 6858000"/>
              <a:gd name="connsiteX337" fmla="*/ 4778333 w 7467600"/>
              <a:gd name="connsiteY337" fmla="*/ 5873626 h 6858000"/>
              <a:gd name="connsiteX338" fmla="*/ 5414185 w 7467600"/>
              <a:gd name="connsiteY338" fmla="*/ 5573882 h 6858000"/>
              <a:gd name="connsiteX339" fmla="*/ 5959648 w 7467600"/>
              <a:gd name="connsiteY339" fmla="*/ 4760797 h 6858000"/>
              <a:gd name="connsiteX340" fmla="*/ 5355019 w 7467600"/>
              <a:gd name="connsiteY340" fmla="*/ 4734672 h 6858000"/>
              <a:gd name="connsiteX341" fmla="*/ 5083565 w 7467600"/>
              <a:gd name="connsiteY341" fmla="*/ 5179121 h 6858000"/>
              <a:gd name="connsiteX342" fmla="*/ 4713577 w 7467600"/>
              <a:gd name="connsiteY342" fmla="*/ 5616803 h 6858000"/>
              <a:gd name="connsiteX343" fmla="*/ 3989559 w 7467600"/>
              <a:gd name="connsiteY343" fmla="*/ 6145945 h 6858000"/>
              <a:gd name="connsiteX344" fmla="*/ 3939824 w 7467600"/>
              <a:gd name="connsiteY344" fmla="*/ 6066900 h 6858000"/>
              <a:gd name="connsiteX345" fmla="*/ 4584537 w 7467600"/>
              <a:gd name="connsiteY345" fmla="*/ 5324826 h 6858000"/>
              <a:gd name="connsiteX346" fmla="*/ 5037105 w 7467600"/>
              <a:gd name="connsiteY346" fmla="*/ 5088765 h 6858000"/>
              <a:gd name="connsiteX347" fmla="*/ 5039930 w 7467600"/>
              <a:gd name="connsiteY347" fmla="*/ 5089585 h 6858000"/>
              <a:gd name="connsiteX348" fmla="*/ 5263764 w 7467600"/>
              <a:gd name="connsiteY348" fmla="*/ 4735525 h 6858000"/>
              <a:gd name="connsiteX349" fmla="*/ 4086300 w 7467600"/>
              <a:gd name="connsiteY349" fmla="*/ 4884599 h 6858000"/>
              <a:gd name="connsiteX350" fmla="*/ 4085485 w 7467600"/>
              <a:gd name="connsiteY350" fmla="*/ 4899070 h 6858000"/>
              <a:gd name="connsiteX351" fmla="*/ 3871915 w 7467600"/>
              <a:gd name="connsiteY351" fmla="*/ 5253645 h 6858000"/>
              <a:gd name="connsiteX352" fmla="*/ 3799374 w 7467600"/>
              <a:gd name="connsiteY352" fmla="*/ 5466127 h 6858000"/>
              <a:gd name="connsiteX353" fmla="*/ 3498850 w 7467600"/>
              <a:gd name="connsiteY353" fmla="*/ 6661888 h 6858000"/>
              <a:gd name="connsiteX354" fmla="*/ 3399216 w 7467600"/>
              <a:gd name="connsiteY354" fmla="*/ 6858000 h 6858000"/>
              <a:gd name="connsiteX355" fmla="*/ 3303688 w 7467600"/>
              <a:gd name="connsiteY355" fmla="*/ 6858000 h 6858000"/>
              <a:gd name="connsiteX356" fmla="*/ 3391774 w 7467600"/>
              <a:gd name="connsiteY356" fmla="*/ 6697181 h 6858000"/>
              <a:gd name="connsiteX357" fmla="*/ 3735540 w 7467600"/>
              <a:gd name="connsiteY357" fmla="*/ 5546923 h 6858000"/>
              <a:gd name="connsiteX358" fmla="*/ 3729438 w 7467600"/>
              <a:gd name="connsiteY358" fmla="*/ 5569058 h 6858000"/>
              <a:gd name="connsiteX359" fmla="*/ 3707782 w 7467600"/>
              <a:gd name="connsiteY359" fmla="*/ 5644908 h 6858000"/>
              <a:gd name="connsiteX360" fmla="*/ 3583827 w 7467600"/>
              <a:gd name="connsiteY360" fmla="*/ 6039215 h 6858000"/>
              <a:gd name="connsiteX361" fmla="*/ 3547861 w 7467600"/>
              <a:gd name="connsiteY361" fmla="*/ 6129609 h 6858000"/>
              <a:gd name="connsiteX362" fmla="*/ 3490905 w 7467600"/>
              <a:gd name="connsiteY362" fmla="*/ 6277660 h 6858000"/>
              <a:gd name="connsiteX363" fmla="*/ 3455859 w 7467600"/>
              <a:gd name="connsiteY363" fmla="*/ 6391301 h 6858000"/>
              <a:gd name="connsiteX364" fmla="*/ 3429112 w 7467600"/>
              <a:gd name="connsiteY364" fmla="*/ 6479469 h 6858000"/>
              <a:gd name="connsiteX365" fmla="*/ 3304862 w 7467600"/>
              <a:gd name="connsiteY365" fmla="*/ 6796476 h 6858000"/>
              <a:gd name="connsiteX366" fmla="*/ 3276071 w 7467600"/>
              <a:gd name="connsiteY366" fmla="*/ 6858000 h 6858000"/>
              <a:gd name="connsiteX367" fmla="*/ 3240805 w 7467600"/>
              <a:gd name="connsiteY367" fmla="*/ 6858000 h 6858000"/>
              <a:gd name="connsiteX368" fmla="*/ 3275917 w 7467600"/>
              <a:gd name="connsiteY368" fmla="*/ 6783192 h 6858000"/>
              <a:gd name="connsiteX369" fmla="*/ 3399358 w 7467600"/>
              <a:gd name="connsiteY369" fmla="*/ 6469011 h 6858000"/>
              <a:gd name="connsiteX370" fmla="*/ 3425650 w 7467600"/>
              <a:gd name="connsiteY370" fmla="*/ 6381333 h 6858000"/>
              <a:gd name="connsiteX371" fmla="*/ 3460661 w 7467600"/>
              <a:gd name="connsiteY371" fmla="*/ 6266763 h 6858000"/>
              <a:gd name="connsiteX372" fmla="*/ 3518021 w 7467600"/>
              <a:gd name="connsiteY372" fmla="*/ 6117298 h 6858000"/>
              <a:gd name="connsiteX373" fmla="*/ 3554035 w 7467600"/>
              <a:gd name="connsiteY373" fmla="*/ 6027832 h 6858000"/>
              <a:gd name="connsiteX374" fmla="*/ 3677174 w 7467600"/>
              <a:gd name="connsiteY374" fmla="*/ 5636351 h 6858000"/>
              <a:gd name="connsiteX375" fmla="*/ 3698819 w 7467600"/>
              <a:gd name="connsiteY375" fmla="*/ 5560503 h 6858000"/>
              <a:gd name="connsiteX376" fmla="*/ 3702094 w 7467600"/>
              <a:gd name="connsiteY376" fmla="*/ 5549194 h 6858000"/>
              <a:gd name="connsiteX377" fmla="*/ 3398355 w 7467600"/>
              <a:gd name="connsiteY377" fmla="*/ 6094603 h 6858000"/>
              <a:gd name="connsiteX378" fmla="*/ 3193941 w 7467600"/>
              <a:gd name="connsiteY378" fmla="*/ 6798775 h 6858000"/>
              <a:gd name="connsiteX379" fmla="*/ 3184140 w 7467600"/>
              <a:gd name="connsiteY379" fmla="*/ 6858000 h 6858000"/>
              <a:gd name="connsiteX380" fmla="*/ 3099978 w 7467600"/>
              <a:gd name="connsiteY380" fmla="*/ 6858000 h 6858000"/>
              <a:gd name="connsiteX381" fmla="*/ 3101556 w 7467600"/>
              <a:gd name="connsiteY381" fmla="*/ 6843337 h 6858000"/>
              <a:gd name="connsiteX382" fmla="*/ 3370162 w 7467600"/>
              <a:gd name="connsiteY382" fmla="*/ 5785550 h 6858000"/>
              <a:gd name="connsiteX383" fmla="*/ 3746477 w 7467600"/>
              <a:gd name="connsiteY383" fmla="*/ 5377889 h 6858000"/>
              <a:gd name="connsiteX384" fmla="*/ 3863399 w 7467600"/>
              <a:gd name="connsiteY384" fmla="*/ 5087257 h 6858000"/>
              <a:gd name="connsiteX385" fmla="*/ 3968712 w 7467600"/>
              <a:gd name="connsiteY385" fmla="*/ 4913989 h 6858000"/>
              <a:gd name="connsiteX386" fmla="*/ 2792390 w 7467600"/>
              <a:gd name="connsiteY386" fmla="*/ 5382974 h 6858000"/>
              <a:gd name="connsiteX387" fmla="*/ 2714982 w 7467600"/>
              <a:gd name="connsiteY387" fmla="*/ 5427051 h 6858000"/>
              <a:gd name="connsiteX388" fmla="*/ 2813361 w 7467600"/>
              <a:gd name="connsiteY388" fmla="*/ 6023912 h 6858000"/>
              <a:gd name="connsiteX389" fmla="*/ 2688430 w 7467600"/>
              <a:gd name="connsiteY389" fmla="*/ 6801564 h 6858000"/>
              <a:gd name="connsiteX390" fmla="*/ 2629626 w 7467600"/>
              <a:gd name="connsiteY390" fmla="*/ 6763394 h 6858000"/>
              <a:gd name="connsiteX391" fmla="*/ 2565328 w 7467600"/>
              <a:gd name="connsiteY391" fmla="*/ 5516399 h 6858000"/>
              <a:gd name="connsiteX392" fmla="*/ 1922999 w 7467600"/>
              <a:gd name="connsiteY392" fmla="*/ 5980343 h 6858000"/>
              <a:gd name="connsiteX393" fmla="*/ 1950261 w 7467600"/>
              <a:gd name="connsiteY393" fmla="*/ 6405858 h 6858000"/>
              <a:gd name="connsiteX394" fmla="*/ 2365554 w 7467600"/>
              <a:gd name="connsiteY394" fmla="*/ 6759107 h 6858000"/>
              <a:gd name="connsiteX395" fmla="*/ 2424142 w 7467600"/>
              <a:gd name="connsiteY395" fmla="*/ 6858000 h 6858000"/>
              <a:gd name="connsiteX396" fmla="*/ 2395994 w 7467600"/>
              <a:gd name="connsiteY396" fmla="*/ 6858000 h 6858000"/>
              <a:gd name="connsiteX397" fmla="*/ 2392863 w 7467600"/>
              <a:gd name="connsiteY397" fmla="*/ 6852964 h 6858000"/>
              <a:gd name="connsiteX398" fmla="*/ 2017589 w 7467600"/>
              <a:gd name="connsiteY398" fmla="*/ 6493982 h 6858000"/>
              <a:gd name="connsiteX399" fmla="*/ 2147336 w 7467600"/>
              <a:gd name="connsiteY399" fmla="*/ 6594052 h 6858000"/>
              <a:gd name="connsiteX400" fmla="*/ 2207047 w 7467600"/>
              <a:gd name="connsiteY400" fmla="*/ 6654540 h 6858000"/>
              <a:gd name="connsiteX401" fmla="*/ 2299106 w 7467600"/>
              <a:gd name="connsiteY401" fmla="*/ 6778931 h 6858000"/>
              <a:gd name="connsiteX402" fmla="*/ 2314430 w 7467600"/>
              <a:gd name="connsiteY402" fmla="*/ 6801144 h 6858000"/>
              <a:gd name="connsiteX403" fmla="*/ 2352406 w 7467600"/>
              <a:gd name="connsiteY403" fmla="*/ 6858000 h 6858000"/>
              <a:gd name="connsiteX404" fmla="*/ 2314492 w 7467600"/>
              <a:gd name="connsiteY404" fmla="*/ 6858000 h 6858000"/>
              <a:gd name="connsiteX405" fmla="*/ 2288095 w 7467600"/>
              <a:gd name="connsiteY405" fmla="*/ 6818030 h 6858000"/>
              <a:gd name="connsiteX406" fmla="*/ 2272768 w 7467600"/>
              <a:gd name="connsiteY406" fmla="*/ 6795822 h 6858000"/>
              <a:gd name="connsiteX407" fmla="*/ 2182715 w 7467600"/>
              <a:gd name="connsiteY407" fmla="*/ 6675071 h 6858000"/>
              <a:gd name="connsiteX408" fmla="*/ 2032061 w 7467600"/>
              <a:gd name="connsiteY408" fmla="*/ 6541380 h 6858000"/>
              <a:gd name="connsiteX409" fmla="*/ 2257220 w 7467600"/>
              <a:gd name="connsiteY409" fmla="*/ 6826257 h 6858000"/>
              <a:gd name="connsiteX410" fmla="*/ 2281324 w 7467600"/>
              <a:gd name="connsiteY410" fmla="*/ 6858000 h 6858000"/>
              <a:gd name="connsiteX411" fmla="*/ 2242860 w 7467600"/>
              <a:gd name="connsiteY411" fmla="*/ 6858000 h 6858000"/>
              <a:gd name="connsiteX412" fmla="*/ 2232818 w 7467600"/>
              <a:gd name="connsiteY412" fmla="*/ 6844926 h 6858000"/>
              <a:gd name="connsiteX413" fmla="*/ 1990172 w 7467600"/>
              <a:gd name="connsiteY413" fmla="*/ 6542121 h 6858000"/>
              <a:gd name="connsiteX414" fmla="*/ 2124090 w 7467600"/>
              <a:gd name="connsiteY414" fmla="*/ 6761017 h 6858000"/>
              <a:gd name="connsiteX415" fmla="*/ 2200380 w 7467600"/>
              <a:gd name="connsiteY415" fmla="*/ 6858000 h 6858000"/>
              <a:gd name="connsiteX416" fmla="*/ 2147507 w 7467600"/>
              <a:gd name="connsiteY416" fmla="*/ 6858000 h 6858000"/>
              <a:gd name="connsiteX417" fmla="*/ 2070668 w 7467600"/>
              <a:gd name="connsiteY417" fmla="*/ 6761520 h 6858000"/>
              <a:gd name="connsiteX418" fmla="*/ 1975142 w 7467600"/>
              <a:gd name="connsiteY418" fmla="*/ 6585570 h 6858000"/>
              <a:gd name="connsiteX419" fmla="*/ 2050035 w 7467600"/>
              <a:gd name="connsiteY419" fmla="*/ 6813345 h 6858000"/>
              <a:gd name="connsiteX420" fmla="*/ 2063025 w 7467600"/>
              <a:gd name="connsiteY420" fmla="*/ 6858000 h 6858000"/>
              <a:gd name="connsiteX421" fmla="*/ 2021675 w 7467600"/>
              <a:gd name="connsiteY421" fmla="*/ 6858000 h 6858000"/>
              <a:gd name="connsiteX422" fmla="*/ 2019308 w 7467600"/>
              <a:gd name="connsiteY422" fmla="*/ 6847118 h 6858000"/>
              <a:gd name="connsiteX423" fmla="*/ 1938835 w 7467600"/>
              <a:gd name="connsiteY423" fmla="*/ 6551160 h 6858000"/>
              <a:gd name="connsiteX424" fmla="*/ 1953230 w 7467600"/>
              <a:gd name="connsiteY424" fmla="*/ 6759699 h 6858000"/>
              <a:gd name="connsiteX425" fmla="*/ 1956763 w 7467600"/>
              <a:gd name="connsiteY425" fmla="*/ 6778191 h 6858000"/>
              <a:gd name="connsiteX426" fmla="*/ 1967925 w 7467600"/>
              <a:gd name="connsiteY426" fmla="*/ 6858000 h 6858000"/>
              <a:gd name="connsiteX427" fmla="*/ 1936622 w 7467600"/>
              <a:gd name="connsiteY427" fmla="*/ 6858000 h 6858000"/>
              <a:gd name="connsiteX428" fmla="*/ 1926261 w 7467600"/>
              <a:gd name="connsiteY428" fmla="*/ 6784064 h 6858000"/>
              <a:gd name="connsiteX429" fmla="*/ 1922724 w 7467600"/>
              <a:gd name="connsiteY429" fmla="*/ 6765577 h 6858000"/>
              <a:gd name="connsiteX430" fmla="*/ 1904650 w 7467600"/>
              <a:gd name="connsiteY430" fmla="*/ 6639616 h 6858000"/>
              <a:gd name="connsiteX431" fmla="*/ 1885273 w 7467600"/>
              <a:gd name="connsiteY431" fmla="*/ 6858000 h 6858000"/>
              <a:gd name="connsiteX432" fmla="*/ 1854363 w 7467600"/>
              <a:gd name="connsiteY432" fmla="*/ 6858000 h 6858000"/>
              <a:gd name="connsiteX433" fmla="*/ 1880391 w 7467600"/>
              <a:gd name="connsiteY433" fmla="*/ 6603796 h 6858000"/>
              <a:gd name="connsiteX434" fmla="*/ 1818273 w 7467600"/>
              <a:gd name="connsiteY434" fmla="*/ 6715729 h 6858000"/>
              <a:gd name="connsiteX435" fmla="*/ 1794691 w 7467600"/>
              <a:gd name="connsiteY435" fmla="*/ 6843239 h 6858000"/>
              <a:gd name="connsiteX436" fmla="*/ 1794914 w 7467600"/>
              <a:gd name="connsiteY436" fmla="*/ 6858000 h 6858000"/>
              <a:gd name="connsiteX437" fmla="*/ 1746128 w 7467600"/>
              <a:gd name="connsiteY437" fmla="*/ 6858000 h 6858000"/>
              <a:gd name="connsiteX438" fmla="*/ 1753934 w 7467600"/>
              <a:gd name="connsiteY438" fmla="*/ 6724796 h 6858000"/>
              <a:gd name="connsiteX439" fmla="*/ 1792053 w 7467600"/>
              <a:gd name="connsiteY439" fmla="*/ 6572396 h 6858000"/>
              <a:gd name="connsiteX440" fmla="*/ 1862248 w 7467600"/>
              <a:gd name="connsiteY440" fmla="*/ 6266397 h 6858000"/>
              <a:gd name="connsiteX441" fmla="*/ 1862250 w 7467600"/>
              <a:gd name="connsiteY441" fmla="*/ 6033531 h 6858000"/>
              <a:gd name="connsiteX442" fmla="*/ 1211999 w 7467600"/>
              <a:gd name="connsiteY442" fmla="*/ 6683610 h 6858000"/>
              <a:gd name="connsiteX443" fmla="*/ 1213266 w 7467600"/>
              <a:gd name="connsiteY443" fmla="*/ 6691947 h 6858000"/>
              <a:gd name="connsiteX444" fmla="*/ 1203370 w 7467600"/>
              <a:gd name="connsiteY444" fmla="*/ 6850676 h 6858000"/>
              <a:gd name="connsiteX445" fmla="*/ 1203671 w 7467600"/>
              <a:gd name="connsiteY445" fmla="*/ 6858000 h 6858000"/>
              <a:gd name="connsiteX446" fmla="*/ 1143180 w 7467600"/>
              <a:gd name="connsiteY446" fmla="*/ 6858000 h 6858000"/>
              <a:gd name="connsiteX447" fmla="*/ 1142176 w 7467600"/>
              <a:gd name="connsiteY447" fmla="*/ 6766045 h 6858000"/>
              <a:gd name="connsiteX448" fmla="*/ 1067484 w 7467600"/>
              <a:gd name="connsiteY448" fmla="*/ 6858000 h 6858000"/>
              <a:gd name="connsiteX449" fmla="*/ 953928 w 7467600"/>
              <a:gd name="connsiteY449" fmla="*/ 6858000 h 6858000"/>
              <a:gd name="connsiteX450" fmla="*/ 959715 w 7467600"/>
              <a:gd name="connsiteY450" fmla="*/ 6850185 h 6858000"/>
              <a:gd name="connsiteX451" fmla="*/ 1483788 w 7467600"/>
              <a:gd name="connsiteY451" fmla="*/ 6259174 h 6858000"/>
              <a:gd name="connsiteX452" fmla="*/ 1100671 w 7467600"/>
              <a:gd name="connsiteY452" fmla="*/ 6252137 h 6858000"/>
              <a:gd name="connsiteX453" fmla="*/ 1090144 w 7467600"/>
              <a:gd name="connsiteY453" fmla="*/ 6256748 h 6858000"/>
              <a:gd name="connsiteX454" fmla="*/ 1095872 w 7467600"/>
              <a:gd name="connsiteY454" fmla="*/ 6271892 h 6858000"/>
              <a:gd name="connsiteX455" fmla="*/ 262785 w 7467600"/>
              <a:gd name="connsiteY455" fmla="*/ 6845450 h 6858000"/>
              <a:gd name="connsiteX456" fmla="*/ 209968 w 7467600"/>
              <a:gd name="connsiteY456" fmla="*/ 6770713 h 6858000"/>
              <a:gd name="connsiteX457" fmla="*/ 873460 w 7467600"/>
              <a:gd name="connsiteY457" fmla="*/ 6253768 h 6858000"/>
              <a:gd name="connsiteX458" fmla="*/ 192686 w 7467600"/>
              <a:gd name="connsiteY458" fmla="*/ 5849257 h 6858000"/>
              <a:gd name="connsiteX459" fmla="*/ 4696 w 7467600"/>
              <a:gd name="connsiteY459" fmla="*/ 5697668 h 6858000"/>
              <a:gd name="connsiteX460" fmla="*/ 0 w 7467600"/>
              <a:gd name="connsiteY460" fmla="*/ 5689984 h 6858000"/>
              <a:gd name="connsiteX461" fmla="*/ 0 w 7467600"/>
              <a:gd name="connsiteY461" fmla="*/ 5513472 h 6858000"/>
              <a:gd name="connsiteX462" fmla="*/ 174101 w 7467600"/>
              <a:gd name="connsiteY462" fmla="*/ 5620277 h 6858000"/>
              <a:gd name="connsiteX463" fmla="*/ 891800 w 7467600"/>
              <a:gd name="connsiteY463" fmla="*/ 6036935 h 6858000"/>
              <a:gd name="connsiteX464" fmla="*/ 1072219 w 7467600"/>
              <a:gd name="connsiteY464" fmla="*/ 6169443 h 6858000"/>
              <a:gd name="connsiteX465" fmla="*/ 1074117 w 7467600"/>
              <a:gd name="connsiteY465" fmla="*/ 6170301 h 6858000"/>
              <a:gd name="connsiteX466" fmla="*/ 1083114 w 7467600"/>
              <a:gd name="connsiteY466" fmla="*/ 6174131 h 6858000"/>
              <a:gd name="connsiteX467" fmla="*/ 1543010 w 7467600"/>
              <a:gd name="connsiteY467" fmla="*/ 6191140 h 6858000"/>
              <a:gd name="connsiteX468" fmla="*/ 1551080 w 7467600"/>
              <a:gd name="connsiteY468" fmla="*/ 6195006 h 6858000"/>
              <a:gd name="connsiteX469" fmla="*/ 2345443 w 7467600"/>
              <a:gd name="connsiteY469" fmla="*/ 5549882 h 6858000"/>
              <a:gd name="connsiteX470" fmla="*/ 1721499 w 7467600"/>
              <a:gd name="connsiteY470" fmla="*/ 5599969 h 6858000"/>
              <a:gd name="connsiteX471" fmla="*/ 767716 w 7467600"/>
              <a:gd name="connsiteY471" fmla="*/ 5472768 h 6858000"/>
              <a:gd name="connsiteX472" fmla="*/ 722147 w 7467600"/>
              <a:gd name="connsiteY472" fmla="*/ 5393091 h 6858000"/>
              <a:gd name="connsiteX473" fmla="*/ 1485552 w 7467600"/>
              <a:gd name="connsiteY473" fmla="*/ 5313202 h 6858000"/>
              <a:gd name="connsiteX474" fmla="*/ 2143004 w 7467600"/>
              <a:gd name="connsiteY474" fmla="*/ 5402420 h 6858000"/>
              <a:gd name="connsiteX475" fmla="*/ 1933391 w 7467600"/>
              <a:gd name="connsiteY475" fmla="*/ 5156971 h 6858000"/>
              <a:gd name="connsiteX476" fmla="*/ 1827118 w 7467600"/>
              <a:gd name="connsiteY476" fmla="*/ 4968410 h 6858000"/>
              <a:gd name="connsiteX477" fmla="*/ 1837349 w 7467600"/>
              <a:gd name="connsiteY477" fmla="*/ 4956357 h 6858000"/>
              <a:gd name="connsiteX478" fmla="*/ 2162835 w 7467600"/>
              <a:gd name="connsiteY478" fmla="*/ 5187853 h 6858000"/>
              <a:gd name="connsiteX479" fmla="*/ 2257167 w 7467600"/>
              <a:gd name="connsiteY479" fmla="*/ 5462123 h 6858000"/>
              <a:gd name="connsiteX480" fmla="*/ 2261598 w 7467600"/>
              <a:gd name="connsiteY480" fmla="*/ 5467998 h 6858000"/>
              <a:gd name="connsiteX481" fmla="*/ 2437177 w 7467600"/>
              <a:gd name="connsiteY481" fmla="*/ 5479608 h 6858000"/>
              <a:gd name="connsiteX482" fmla="*/ 2445247 w 7467600"/>
              <a:gd name="connsiteY482" fmla="*/ 5483476 h 6858000"/>
              <a:gd name="connsiteX483" fmla="*/ 2743626 w 7467600"/>
              <a:gd name="connsiteY483" fmla="*/ 5304819 h 6858000"/>
              <a:gd name="connsiteX484" fmla="*/ 3048102 w 7467600"/>
              <a:gd name="connsiteY484" fmla="*/ 5150595 h 6858000"/>
              <a:gd name="connsiteX485" fmla="*/ 1799414 w 7467600"/>
              <a:gd name="connsiteY485" fmla="*/ 4694732 h 6858000"/>
              <a:gd name="connsiteX486" fmla="*/ 1771735 w 7467600"/>
              <a:gd name="connsiteY486" fmla="*/ 4619929 h 6858000"/>
              <a:gd name="connsiteX487" fmla="*/ 3104273 w 7467600"/>
              <a:gd name="connsiteY487" fmla="*/ 5076159 h 6858000"/>
              <a:gd name="connsiteX488" fmla="*/ 3113245 w 7467600"/>
              <a:gd name="connsiteY488" fmla="*/ 5090705 h 6858000"/>
              <a:gd name="connsiteX489" fmla="*/ 3126294 w 7467600"/>
              <a:gd name="connsiteY489" fmla="*/ 5114400 h 6858000"/>
              <a:gd name="connsiteX490" fmla="*/ 3937433 w 7467600"/>
              <a:gd name="connsiteY490" fmla="*/ 4830473 h 6858000"/>
              <a:gd name="connsiteX491" fmla="*/ 3590475 w 7467600"/>
              <a:gd name="connsiteY491" fmla="*/ 4597974 h 6858000"/>
              <a:gd name="connsiteX492" fmla="*/ 3100264 w 7467600"/>
              <a:gd name="connsiteY492" fmla="*/ 4579845 h 6858000"/>
              <a:gd name="connsiteX493" fmla="*/ 2183576 w 7467600"/>
              <a:gd name="connsiteY493" fmla="*/ 4227150 h 6858000"/>
              <a:gd name="connsiteX494" fmla="*/ 2151029 w 7467600"/>
              <a:gd name="connsiteY494" fmla="*/ 4146947 h 6858000"/>
              <a:gd name="connsiteX495" fmla="*/ 3563434 w 7467600"/>
              <a:gd name="connsiteY495" fmla="*/ 4469115 h 6858000"/>
              <a:gd name="connsiteX496" fmla="*/ 3177952 w 7467600"/>
              <a:gd name="connsiteY496" fmla="*/ 3657386 h 6858000"/>
              <a:gd name="connsiteX497" fmla="*/ 3189263 w 7467600"/>
              <a:gd name="connsiteY497" fmla="*/ 3625726 h 6858000"/>
              <a:gd name="connsiteX498" fmla="*/ 3560912 w 7467600"/>
              <a:gd name="connsiteY498" fmla="*/ 4079863 h 6858000"/>
              <a:gd name="connsiteX499" fmla="*/ 3626636 w 7467600"/>
              <a:gd name="connsiteY499" fmla="*/ 4512230 h 6858000"/>
              <a:gd name="connsiteX500" fmla="*/ 3653088 w 7467600"/>
              <a:gd name="connsiteY500" fmla="*/ 4521417 h 6858000"/>
              <a:gd name="connsiteX501" fmla="*/ 3988128 w 7467600"/>
              <a:gd name="connsiteY501" fmla="*/ 4817267 h 6858000"/>
              <a:gd name="connsiteX502" fmla="*/ 4830582 w 7467600"/>
              <a:gd name="connsiteY502" fmla="*/ 4676000 h 6858000"/>
              <a:gd name="connsiteX503" fmla="*/ 4830100 w 7467600"/>
              <a:gd name="connsiteY503" fmla="*/ 4675554 h 6858000"/>
              <a:gd name="connsiteX504" fmla="*/ 4036318 w 7467600"/>
              <a:gd name="connsiteY504" fmla="*/ 4147013 h 6858000"/>
              <a:gd name="connsiteX505" fmla="*/ 3432098 w 7467600"/>
              <a:gd name="connsiteY505" fmla="*/ 3537312 h 6858000"/>
              <a:gd name="connsiteX506" fmla="*/ 3446761 w 7467600"/>
              <a:gd name="connsiteY506" fmla="*/ 3461278 h 6858000"/>
              <a:gd name="connsiteX507" fmla="*/ 4419733 w 7467600"/>
              <a:gd name="connsiteY507" fmla="*/ 3963555 h 6858000"/>
              <a:gd name="connsiteX508" fmla="*/ 4781371 w 7467600"/>
              <a:gd name="connsiteY508" fmla="*/ 4458604 h 6858000"/>
              <a:gd name="connsiteX509" fmla="*/ 4780440 w 7467600"/>
              <a:gd name="connsiteY509" fmla="*/ 4470290 h 6858000"/>
              <a:gd name="connsiteX510" fmla="*/ 4898954 w 7467600"/>
              <a:gd name="connsiteY510" fmla="*/ 4662092 h 6858000"/>
              <a:gd name="connsiteX511" fmla="*/ 4900699 w 7467600"/>
              <a:gd name="connsiteY511" fmla="*/ 4670867 h 6858000"/>
              <a:gd name="connsiteX512" fmla="*/ 5714511 w 7467600"/>
              <a:gd name="connsiteY512" fmla="*/ 4663483 h 6858000"/>
              <a:gd name="connsiteX513" fmla="*/ 5464793 w 7467600"/>
              <a:gd name="connsiteY513" fmla="*/ 4393556 h 6858000"/>
              <a:gd name="connsiteX514" fmla="*/ 5461897 w 7467600"/>
              <a:gd name="connsiteY514" fmla="*/ 4390879 h 6858000"/>
              <a:gd name="connsiteX515" fmla="*/ 4294126 w 7467600"/>
              <a:gd name="connsiteY515" fmla="*/ 3303048 h 6858000"/>
              <a:gd name="connsiteX516" fmla="*/ 4305321 w 7467600"/>
              <a:gd name="connsiteY516" fmla="*/ 3256953 h 6858000"/>
              <a:gd name="connsiteX517" fmla="*/ 4949299 w 7467600"/>
              <a:gd name="connsiteY517" fmla="*/ 3766336 h 6858000"/>
              <a:gd name="connsiteX518" fmla="*/ 5291452 w 7467600"/>
              <a:gd name="connsiteY518" fmla="*/ 4076801 h 6858000"/>
              <a:gd name="connsiteX519" fmla="*/ 5434998 w 7467600"/>
              <a:gd name="connsiteY519" fmla="*/ 4254100 h 6858000"/>
              <a:gd name="connsiteX520" fmla="*/ 5351015 w 7467600"/>
              <a:gd name="connsiteY520" fmla="*/ 3760989 h 6858000"/>
              <a:gd name="connsiteX521" fmla="*/ 5413780 w 7467600"/>
              <a:gd name="connsiteY521" fmla="*/ 2966265 h 6858000"/>
              <a:gd name="connsiteX522" fmla="*/ 5425627 w 7467600"/>
              <a:gd name="connsiteY522" fmla="*/ 2954192 h 6858000"/>
              <a:gd name="connsiteX523" fmla="*/ 6604735 w 7467600"/>
              <a:gd name="connsiteY523" fmla="*/ 2041381 h 6858000"/>
              <a:gd name="connsiteX524" fmla="*/ 7204487 w 7467600"/>
              <a:gd name="connsiteY524" fmla="*/ 2742112 h 6858000"/>
              <a:gd name="connsiteX525" fmla="*/ 7131592 w 7467600"/>
              <a:gd name="connsiteY525" fmla="*/ 2672096 h 6858000"/>
              <a:gd name="connsiteX526" fmla="*/ 6996344 w 7467600"/>
              <a:gd name="connsiteY526" fmla="*/ 2518310 h 6858000"/>
              <a:gd name="connsiteX527" fmla="*/ 6735495 w 7467600"/>
              <a:gd name="connsiteY527" fmla="*/ 2196890 h 6858000"/>
              <a:gd name="connsiteX528" fmla="*/ 6721901 w 7467600"/>
              <a:gd name="connsiteY528" fmla="*/ 2179274 h 6858000"/>
              <a:gd name="connsiteX529" fmla="*/ 6604735 w 7467600"/>
              <a:gd name="connsiteY529" fmla="*/ 2041381 h 6858000"/>
              <a:gd name="connsiteX530" fmla="*/ 6591670 w 7467600"/>
              <a:gd name="connsiteY530" fmla="*/ 1988277 h 6858000"/>
              <a:gd name="connsiteX531" fmla="*/ 6747349 w 7467600"/>
              <a:gd name="connsiteY531" fmla="*/ 2160069 h 6858000"/>
              <a:gd name="connsiteX532" fmla="*/ 6760943 w 7467600"/>
              <a:gd name="connsiteY532" fmla="*/ 2177686 h 6858000"/>
              <a:gd name="connsiteX533" fmla="*/ 7021065 w 7467600"/>
              <a:gd name="connsiteY533" fmla="*/ 2498102 h 6858000"/>
              <a:gd name="connsiteX534" fmla="*/ 7155223 w 7467600"/>
              <a:gd name="connsiteY534" fmla="*/ 2650386 h 6858000"/>
              <a:gd name="connsiteX535" fmla="*/ 7203167 w 7467600"/>
              <a:gd name="connsiteY535" fmla="*/ 2697288 h 6858000"/>
              <a:gd name="connsiteX536" fmla="*/ 6937703 w 7467600"/>
              <a:gd name="connsiteY536" fmla="*/ 2321981 h 6858000"/>
              <a:gd name="connsiteX537" fmla="*/ 6591670 w 7467600"/>
              <a:gd name="connsiteY537" fmla="*/ 1988277 h 6858000"/>
              <a:gd name="connsiteX538" fmla="*/ 5798671 w 7467600"/>
              <a:gd name="connsiteY538" fmla="*/ 1981601 h 6858000"/>
              <a:gd name="connsiteX539" fmla="*/ 5754709 w 7467600"/>
              <a:gd name="connsiteY539" fmla="*/ 2071454 h 6858000"/>
              <a:gd name="connsiteX540" fmla="*/ 5763044 w 7467600"/>
              <a:gd name="connsiteY540" fmla="*/ 2842206 h 6858000"/>
              <a:gd name="connsiteX541" fmla="*/ 5764974 w 7467600"/>
              <a:gd name="connsiteY541" fmla="*/ 2799609 h 6858000"/>
              <a:gd name="connsiteX542" fmla="*/ 5767665 w 7467600"/>
              <a:gd name="connsiteY542" fmla="*/ 2666409 h 6858000"/>
              <a:gd name="connsiteX543" fmla="*/ 5763055 w 7467600"/>
              <a:gd name="connsiteY543" fmla="*/ 2579705 h 6858000"/>
              <a:gd name="connsiteX544" fmla="*/ 5758079 w 7467600"/>
              <a:gd name="connsiteY544" fmla="*/ 2492508 h 6858000"/>
              <a:gd name="connsiteX545" fmla="*/ 5779325 w 7467600"/>
              <a:gd name="connsiteY545" fmla="*/ 2197069 h 6858000"/>
              <a:gd name="connsiteX546" fmla="*/ 5798671 w 7467600"/>
              <a:gd name="connsiteY546" fmla="*/ 1981601 h 6858000"/>
              <a:gd name="connsiteX547" fmla="*/ 5829202 w 7467600"/>
              <a:gd name="connsiteY547" fmla="*/ 1971679 h 6858000"/>
              <a:gd name="connsiteX548" fmla="*/ 5809558 w 7467600"/>
              <a:gd name="connsiteY548" fmla="*/ 2198043 h 6858000"/>
              <a:gd name="connsiteX549" fmla="*/ 5788653 w 7467600"/>
              <a:gd name="connsiteY549" fmla="*/ 2489430 h 6858000"/>
              <a:gd name="connsiteX550" fmla="*/ 5793439 w 7467600"/>
              <a:gd name="connsiteY550" fmla="*/ 2575235 h 6858000"/>
              <a:gd name="connsiteX551" fmla="*/ 5796837 w 7467600"/>
              <a:gd name="connsiteY551" fmla="*/ 2637633 h 6858000"/>
              <a:gd name="connsiteX552" fmla="*/ 5818614 w 7467600"/>
              <a:gd name="connsiteY552" fmla="*/ 2473055 h 6858000"/>
              <a:gd name="connsiteX553" fmla="*/ 5829202 w 7467600"/>
              <a:gd name="connsiteY553" fmla="*/ 1971679 h 6858000"/>
              <a:gd name="connsiteX554" fmla="*/ 5911389 w 7467600"/>
              <a:gd name="connsiteY554" fmla="*/ 1898371 h 6858000"/>
              <a:gd name="connsiteX555" fmla="*/ 6237627 w 7467600"/>
              <a:gd name="connsiteY555" fmla="*/ 2231921 h 6858000"/>
              <a:gd name="connsiteX556" fmla="*/ 5911389 w 7467600"/>
              <a:gd name="connsiteY556" fmla="*/ 1898371 h 6858000"/>
              <a:gd name="connsiteX557" fmla="*/ 6944437 w 7467600"/>
              <a:gd name="connsiteY557" fmla="*/ 1575402 h 6858000"/>
              <a:gd name="connsiteX558" fmla="*/ 6304730 w 7467600"/>
              <a:gd name="connsiteY558" fmla="*/ 1766654 h 6858000"/>
              <a:gd name="connsiteX559" fmla="*/ 6944437 w 7467600"/>
              <a:gd name="connsiteY559" fmla="*/ 1575402 h 6858000"/>
              <a:gd name="connsiteX560" fmla="*/ 7019523 w 7467600"/>
              <a:gd name="connsiteY560" fmla="*/ 1519450 h 6858000"/>
              <a:gd name="connsiteX561" fmla="*/ 6298091 w 7467600"/>
              <a:gd name="connsiteY561" fmla="*/ 1737122 h 6858000"/>
              <a:gd name="connsiteX562" fmla="*/ 7019523 w 7467600"/>
              <a:gd name="connsiteY562" fmla="*/ 1519450 h 6858000"/>
              <a:gd name="connsiteX563" fmla="*/ 2399523 w 7467600"/>
              <a:gd name="connsiteY563" fmla="*/ 1428234 h 6858000"/>
              <a:gd name="connsiteX564" fmla="*/ 2224982 w 7467600"/>
              <a:gd name="connsiteY564" fmla="*/ 1826201 h 6858000"/>
              <a:gd name="connsiteX565" fmla="*/ 2096099 w 7467600"/>
              <a:gd name="connsiteY565" fmla="*/ 2345900 h 6858000"/>
              <a:gd name="connsiteX566" fmla="*/ 2283317 w 7467600"/>
              <a:gd name="connsiteY566" fmla="*/ 1796925 h 6858000"/>
              <a:gd name="connsiteX567" fmla="*/ 2399523 w 7467600"/>
              <a:gd name="connsiteY567" fmla="*/ 1428234 h 6858000"/>
              <a:gd name="connsiteX568" fmla="*/ 2448558 w 7467600"/>
              <a:gd name="connsiteY568" fmla="*/ 1373435 h 6858000"/>
              <a:gd name="connsiteX569" fmla="*/ 2312521 w 7467600"/>
              <a:gd name="connsiteY569" fmla="*/ 1806140 h 6858000"/>
              <a:gd name="connsiteX570" fmla="*/ 2127533 w 7467600"/>
              <a:gd name="connsiteY570" fmla="*/ 2348380 h 6858000"/>
              <a:gd name="connsiteX571" fmla="*/ 2358080 w 7467600"/>
              <a:gd name="connsiteY571" fmla="*/ 1866134 h 6858000"/>
              <a:gd name="connsiteX572" fmla="*/ 2407436 w 7467600"/>
              <a:gd name="connsiteY572" fmla="*/ 1651070 h 6858000"/>
              <a:gd name="connsiteX573" fmla="*/ 2448558 w 7467600"/>
              <a:gd name="connsiteY573" fmla="*/ 1373435 h 6858000"/>
              <a:gd name="connsiteX574" fmla="*/ 278707 w 7467600"/>
              <a:gd name="connsiteY574" fmla="*/ 1352270 h 6858000"/>
              <a:gd name="connsiteX575" fmla="*/ 321570 w 7467600"/>
              <a:gd name="connsiteY575" fmla="*/ 1861610 h 6858000"/>
              <a:gd name="connsiteX576" fmla="*/ 294281 w 7467600"/>
              <a:gd name="connsiteY576" fmla="*/ 1440658 h 6858000"/>
              <a:gd name="connsiteX577" fmla="*/ 278707 w 7467600"/>
              <a:gd name="connsiteY577" fmla="*/ 1352270 h 6858000"/>
              <a:gd name="connsiteX578" fmla="*/ 1423821 w 7467600"/>
              <a:gd name="connsiteY578" fmla="*/ 1351958 h 6858000"/>
              <a:gd name="connsiteX579" fmla="*/ 1638521 w 7467600"/>
              <a:gd name="connsiteY579" fmla="*/ 1908470 h 6858000"/>
              <a:gd name="connsiteX580" fmla="*/ 1754199 w 7467600"/>
              <a:gd name="connsiteY580" fmla="*/ 2149284 h 6858000"/>
              <a:gd name="connsiteX581" fmla="*/ 1908359 w 7467600"/>
              <a:gd name="connsiteY581" fmla="*/ 2364988 h 6858000"/>
              <a:gd name="connsiteX582" fmla="*/ 1647661 w 7467600"/>
              <a:gd name="connsiteY582" fmla="*/ 1825945 h 6858000"/>
              <a:gd name="connsiteX583" fmla="*/ 1423821 w 7467600"/>
              <a:gd name="connsiteY583" fmla="*/ 1351958 h 6858000"/>
              <a:gd name="connsiteX584" fmla="*/ 1431890 w 7467600"/>
              <a:gd name="connsiteY584" fmla="*/ 1306475 h 6858000"/>
              <a:gd name="connsiteX585" fmla="*/ 1507597 w 7467600"/>
              <a:gd name="connsiteY585" fmla="*/ 1446132 h 6858000"/>
              <a:gd name="connsiteX586" fmla="*/ 1674586 w 7467600"/>
              <a:gd name="connsiteY586" fmla="*/ 1813832 h 6858000"/>
              <a:gd name="connsiteX587" fmla="*/ 1815950 w 7467600"/>
              <a:gd name="connsiteY587" fmla="*/ 2128564 h 6858000"/>
              <a:gd name="connsiteX588" fmla="*/ 1984242 w 7467600"/>
              <a:gd name="connsiteY588" fmla="*/ 2430829 h 6858000"/>
              <a:gd name="connsiteX589" fmla="*/ 2014023 w 7467600"/>
              <a:gd name="connsiteY589" fmla="*/ 2450995 h 6858000"/>
              <a:gd name="connsiteX590" fmla="*/ 1747337 w 7467600"/>
              <a:gd name="connsiteY590" fmla="*/ 1855264 h 6858000"/>
              <a:gd name="connsiteX591" fmla="*/ 1533749 w 7467600"/>
              <a:gd name="connsiteY591" fmla="*/ 1478656 h 6858000"/>
              <a:gd name="connsiteX592" fmla="*/ 1431890 w 7467600"/>
              <a:gd name="connsiteY592" fmla="*/ 1306475 h 6858000"/>
              <a:gd name="connsiteX593" fmla="*/ 5052692 w 7467600"/>
              <a:gd name="connsiteY593" fmla="*/ 1292994 h 6858000"/>
              <a:gd name="connsiteX594" fmla="*/ 5200661 w 7467600"/>
              <a:gd name="connsiteY594" fmla="*/ 1635186 h 6858000"/>
              <a:gd name="connsiteX595" fmla="*/ 5297138 w 7467600"/>
              <a:gd name="connsiteY595" fmla="*/ 1906351 h 6858000"/>
              <a:gd name="connsiteX596" fmla="*/ 5052692 w 7467600"/>
              <a:gd name="connsiteY596" fmla="*/ 1292994 h 6858000"/>
              <a:gd name="connsiteX597" fmla="*/ 5009948 w 7467600"/>
              <a:gd name="connsiteY597" fmla="*/ 1273619 h 6858000"/>
              <a:gd name="connsiteX598" fmla="*/ 5121777 w 7467600"/>
              <a:gd name="connsiteY598" fmla="*/ 1654213 h 6858000"/>
              <a:gd name="connsiteX599" fmla="*/ 5293545 w 7467600"/>
              <a:gd name="connsiteY599" fmla="*/ 2072247 h 6858000"/>
              <a:gd name="connsiteX600" fmla="*/ 5294042 w 7467600"/>
              <a:gd name="connsiteY600" fmla="*/ 2065019 h 6858000"/>
              <a:gd name="connsiteX601" fmla="*/ 5171936 w 7467600"/>
              <a:gd name="connsiteY601" fmla="*/ 1647613 h 6858000"/>
              <a:gd name="connsiteX602" fmla="*/ 5009948 w 7467600"/>
              <a:gd name="connsiteY602" fmla="*/ 1273619 h 6858000"/>
              <a:gd name="connsiteX603" fmla="*/ 655236 w 7467600"/>
              <a:gd name="connsiteY603" fmla="*/ 1268632 h 6858000"/>
              <a:gd name="connsiteX604" fmla="*/ 839521 w 7467600"/>
              <a:gd name="connsiteY604" fmla="*/ 1685315 h 6858000"/>
              <a:gd name="connsiteX605" fmla="*/ 1109416 w 7467600"/>
              <a:gd name="connsiteY605" fmla="*/ 2061663 h 6858000"/>
              <a:gd name="connsiteX606" fmla="*/ 1298300 w 7467600"/>
              <a:gd name="connsiteY606" fmla="*/ 2247742 h 6858000"/>
              <a:gd name="connsiteX607" fmla="*/ 1125871 w 7467600"/>
              <a:gd name="connsiteY607" fmla="*/ 1989513 h 6858000"/>
              <a:gd name="connsiteX608" fmla="*/ 981574 w 7467600"/>
              <a:gd name="connsiteY608" fmla="*/ 1783157 h 6858000"/>
              <a:gd name="connsiteX609" fmla="*/ 922198 w 7467600"/>
              <a:gd name="connsiteY609" fmla="*/ 1677437 h 6858000"/>
              <a:gd name="connsiteX610" fmla="*/ 869293 w 7467600"/>
              <a:gd name="connsiteY610" fmla="*/ 1583214 h 6858000"/>
              <a:gd name="connsiteX611" fmla="*/ 751431 w 7467600"/>
              <a:gd name="connsiteY611" fmla="*/ 1405731 h 6858000"/>
              <a:gd name="connsiteX612" fmla="*/ 655236 w 7467600"/>
              <a:gd name="connsiteY612" fmla="*/ 1268632 h 6858000"/>
              <a:gd name="connsiteX613" fmla="*/ 6516292 w 7467600"/>
              <a:gd name="connsiteY613" fmla="*/ 1263064 h 6858000"/>
              <a:gd name="connsiteX614" fmla="*/ 5736320 w 7467600"/>
              <a:gd name="connsiteY614" fmla="*/ 1501803 h 6858000"/>
              <a:gd name="connsiteX615" fmla="*/ 6516292 w 7467600"/>
              <a:gd name="connsiteY615" fmla="*/ 1263064 h 6858000"/>
              <a:gd name="connsiteX616" fmla="*/ 291466 w 7467600"/>
              <a:gd name="connsiteY616" fmla="*/ 1250369 h 6858000"/>
              <a:gd name="connsiteX617" fmla="*/ 323180 w 7467600"/>
              <a:gd name="connsiteY617" fmla="*/ 1435283 h 6858000"/>
              <a:gd name="connsiteX618" fmla="*/ 349381 w 7467600"/>
              <a:gd name="connsiteY618" fmla="*/ 1875041 h 6858000"/>
              <a:gd name="connsiteX619" fmla="*/ 374363 w 7467600"/>
              <a:gd name="connsiteY619" fmla="*/ 1506494 h 6858000"/>
              <a:gd name="connsiteX620" fmla="*/ 302168 w 7467600"/>
              <a:gd name="connsiteY620" fmla="*/ 1274495 h 6858000"/>
              <a:gd name="connsiteX621" fmla="*/ 291466 w 7467600"/>
              <a:gd name="connsiteY621" fmla="*/ 1250369 h 6858000"/>
              <a:gd name="connsiteX622" fmla="*/ 678222 w 7467600"/>
              <a:gd name="connsiteY622" fmla="*/ 1248670 h 6858000"/>
              <a:gd name="connsiteX623" fmla="*/ 775536 w 7467600"/>
              <a:gd name="connsiteY623" fmla="*/ 1388015 h 6858000"/>
              <a:gd name="connsiteX624" fmla="*/ 894529 w 7467600"/>
              <a:gd name="connsiteY624" fmla="*/ 1567739 h 6858000"/>
              <a:gd name="connsiteX625" fmla="*/ 948000 w 7467600"/>
              <a:gd name="connsiteY625" fmla="*/ 1663088 h 6858000"/>
              <a:gd name="connsiteX626" fmla="*/ 1006812 w 7467600"/>
              <a:gd name="connsiteY626" fmla="*/ 1767683 h 6858000"/>
              <a:gd name="connsiteX627" fmla="*/ 1149133 w 7467600"/>
              <a:gd name="connsiteY627" fmla="*/ 1971513 h 6858000"/>
              <a:gd name="connsiteX628" fmla="*/ 1333952 w 7467600"/>
              <a:gd name="connsiteY628" fmla="*/ 2251620 h 6858000"/>
              <a:gd name="connsiteX629" fmla="*/ 1337329 w 7467600"/>
              <a:gd name="connsiteY629" fmla="*/ 2258350 h 6858000"/>
              <a:gd name="connsiteX630" fmla="*/ 1014726 w 7467600"/>
              <a:gd name="connsiteY630" fmla="*/ 1615556 h 6858000"/>
              <a:gd name="connsiteX631" fmla="*/ 678222 w 7467600"/>
              <a:gd name="connsiteY631" fmla="*/ 1248670 h 6858000"/>
              <a:gd name="connsiteX632" fmla="*/ 6691602 w 7467600"/>
              <a:gd name="connsiteY632" fmla="*/ 1140573 h 6858000"/>
              <a:gd name="connsiteX633" fmla="*/ 6571100 w 7467600"/>
              <a:gd name="connsiteY633" fmla="*/ 1183662 h 6858000"/>
              <a:gd name="connsiteX634" fmla="*/ 6241687 w 7467600"/>
              <a:gd name="connsiteY634" fmla="*/ 1257600 h 6858000"/>
              <a:gd name="connsiteX635" fmla="*/ 5693009 w 7467600"/>
              <a:gd name="connsiteY635" fmla="*/ 1478256 h 6858000"/>
              <a:gd name="connsiteX636" fmla="*/ 6548420 w 7467600"/>
              <a:gd name="connsiteY636" fmla="*/ 1214599 h 6858000"/>
              <a:gd name="connsiteX637" fmla="*/ 6605473 w 7467600"/>
              <a:gd name="connsiteY637" fmla="*/ 1184686 h 6858000"/>
              <a:gd name="connsiteX638" fmla="*/ 6691602 w 7467600"/>
              <a:gd name="connsiteY638" fmla="*/ 1140573 h 6858000"/>
              <a:gd name="connsiteX639" fmla="*/ 4002475 w 7467600"/>
              <a:gd name="connsiteY639" fmla="*/ 1037802 h 6858000"/>
              <a:gd name="connsiteX640" fmla="*/ 4000324 w 7467600"/>
              <a:gd name="connsiteY640" fmla="*/ 1039362 h 6858000"/>
              <a:gd name="connsiteX641" fmla="*/ 4002862 w 7467600"/>
              <a:gd name="connsiteY641" fmla="*/ 1042866 h 6858000"/>
              <a:gd name="connsiteX642" fmla="*/ 4002475 w 7467600"/>
              <a:gd name="connsiteY642" fmla="*/ 1037802 h 6858000"/>
              <a:gd name="connsiteX643" fmla="*/ 506322 w 7467600"/>
              <a:gd name="connsiteY643" fmla="*/ 1020997 h 6858000"/>
              <a:gd name="connsiteX644" fmla="*/ 533068 w 7467600"/>
              <a:gd name="connsiteY644" fmla="*/ 1029409 h 6858000"/>
              <a:gd name="connsiteX645" fmla="*/ 1232525 w 7467600"/>
              <a:gd name="connsiteY645" fmla="*/ 1804675 h 6858000"/>
              <a:gd name="connsiteX646" fmla="*/ 1388858 w 7467600"/>
              <a:gd name="connsiteY646" fmla="*/ 2368011 h 6858000"/>
              <a:gd name="connsiteX647" fmla="*/ 1384098 w 7467600"/>
              <a:gd name="connsiteY647" fmla="*/ 2378125 h 6858000"/>
              <a:gd name="connsiteX648" fmla="*/ 1425393 w 7467600"/>
              <a:gd name="connsiteY648" fmla="*/ 2589124 h 6858000"/>
              <a:gd name="connsiteX649" fmla="*/ 1424001 w 7467600"/>
              <a:gd name="connsiteY649" fmla="*/ 2597541 h 6858000"/>
              <a:gd name="connsiteX650" fmla="*/ 2152729 w 7467600"/>
              <a:gd name="connsiteY650" fmla="*/ 2864487 h 6858000"/>
              <a:gd name="connsiteX651" fmla="*/ 2020609 w 7467600"/>
              <a:gd name="connsiteY651" fmla="*/ 2539671 h 6858000"/>
              <a:gd name="connsiteX652" fmla="*/ 2018920 w 7467600"/>
              <a:gd name="connsiteY652" fmla="*/ 2536309 h 6858000"/>
              <a:gd name="connsiteX653" fmla="*/ 1342441 w 7467600"/>
              <a:gd name="connsiteY653" fmla="*/ 1173017 h 6858000"/>
              <a:gd name="connsiteX654" fmla="*/ 1367925 w 7467600"/>
              <a:gd name="connsiteY654" fmla="*/ 1135648 h 6858000"/>
              <a:gd name="connsiteX655" fmla="*/ 1771401 w 7467600"/>
              <a:gd name="connsiteY655" fmla="*/ 1806673 h 6858000"/>
              <a:gd name="connsiteX656" fmla="*/ 1972385 w 7467600"/>
              <a:gd name="connsiteY656" fmla="*/ 2198735 h 6858000"/>
              <a:gd name="connsiteX657" fmla="*/ 2040892 w 7467600"/>
              <a:gd name="connsiteY657" fmla="*/ 2405205 h 6858000"/>
              <a:gd name="connsiteX658" fmla="*/ 2131689 w 7467600"/>
              <a:gd name="connsiteY658" fmla="*/ 1936926 h 6858000"/>
              <a:gd name="connsiteX659" fmla="*/ 2454820 w 7467600"/>
              <a:gd name="connsiteY659" fmla="*/ 1248808 h 6858000"/>
              <a:gd name="connsiteX660" fmla="*/ 2492512 w 7467600"/>
              <a:gd name="connsiteY660" fmla="*/ 1302920 h 6858000"/>
              <a:gd name="connsiteX661" fmla="*/ 2081216 w 7467600"/>
              <a:gd name="connsiteY661" fmla="*/ 2527513 h 6858000"/>
              <a:gd name="connsiteX662" fmla="*/ 2081211 w 7467600"/>
              <a:gd name="connsiteY662" fmla="*/ 2528916 h 6858000"/>
              <a:gd name="connsiteX663" fmla="*/ 2199067 w 7467600"/>
              <a:gd name="connsiteY663" fmla="*/ 2884061 h 6858000"/>
              <a:gd name="connsiteX664" fmla="*/ 3192586 w 7467600"/>
              <a:gd name="connsiteY664" fmla="*/ 3411496 h 6858000"/>
              <a:gd name="connsiteX665" fmla="*/ 3182620 w 7467600"/>
              <a:gd name="connsiteY665" fmla="*/ 3483279 h 6858000"/>
              <a:gd name="connsiteX666" fmla="*/ 2435119 w 7467600"/>
              <a:gd name="connsiteY666" fmla="*/ 3080173 h 6858000"/>
              <a:gd name="connsiteX667" fmla="*/ 2410152 w 7467600"/>
              <a:gd name="connsiteY667" fmla="*/ 3063751 h 6858000"/>
              <a:gd name="connsiteX668" fmla="*/ 2408099 w 7467600"/>
              <a:gd name="connsiteY668" fmla="*/ 3064403 h 6858000"/>
              <a:gd name="connsiteX669" fmla="*/ 2407218 w 7467600"/>
              <a:gd name="connsiteY669" fmla="*/ 3070324 h 6858000"/>
              <a:gd name="connsiteX670" fmla="*/ 2380138 w 7467600"/>
              <a:gd name="connsiteY670" fmla="*/ 3099341 h 6858000"/>
              <a:gd name="connsiteX671" fmla="*/ 1765923 w 7467600"/>
              <a:gd name="connsiteY671" fmla="*/ 3581043 h 6858000"/>
              <a:gd name="connsiteX672" fmla="*/ 1702258 w 7467600"/>
              <a:gd name="connsiteY672" fmla="*/ 3612286 h 6858000"/>
              <a:gd name="connsiteX673" fmla="*/ 1538370 w 7467600"/>
              <a:gd name="connsiteY673" fmla="*/ 3811804 h 6858000"/>
              <a:gd name="connsiteX674" fmla="*/ 542867 w 7467600"/>
              <a:gd name="connsiteY674" fmla="*/ 4944092 h 6858000"/>
              <a:gd name="connsiteX675" fmla="*/ 515800 w 7467600"/>
              <a:gd name="connsiteY675" fmla="*/ 4862180 h 6858000"/>
              <a:gd name="connsiteX676" fmla="*/ 909145 w 7467600"/>
              <a:gd name="connsiteY676" fmla="*/ 4199225 h 6858000"/>
              <a:gd name="connsiteX677" fmla="*/ 1214067 w 7467600"/>
              <a:gd name="connsiteY677" fmla="*/ 3908561 h 6858000"/>
              <a:gd name="connsiteX678" fmla="*/ 640967 w 7467600"/>
              <a:gd name="connsiteY678" fmla="*/ 4105601 h 6858000"/>
              <a:gd name="connsiteX679" fmla="*/ 112563 w 7467600"/>
              <a:gd name="connsiteY679" fmla="*/ 4396952 h 6858000"/>
              <a:gd name="connsiteX680" fmla="*/ 0 w 7467600"/>
              <a:gd name="connsiteY680" fmla="*/ 4466006 h 6858000"/>
              <a:gd name="connsiteX681" fmla="*/ 0 w 7467600"/>
              <a:gd name="connsiteY681" fmla="*/ 4233763 h 6858000"/>
              <a:gd name="connsiteX682" fmla="*/ 36881 w 7467600"/>
              <a:gd name="connsiteY682" fmla="*/ 4200118 h 6858000"/>
              <a:gd name="connsiteX683" fmla="*/ 910534 w 7467600"/>
              <a:gd name="connsiteY683" fmla="*/ 3629753 h 6858000"/>
              <a:gd name="connsiteX684" fmla="*/ 1578717 w 7467600"/>
              <a:gd name="connsiteY684" fmla="*/ 3575982 h 6858000"/>
              <a:gd name="connsiteX685" fmla="*/ 2338780 w 7467600"/>
              <a:gd name="connsiteY685" fmla="*/ 3033725 h 6858000"/>
              <a:gd name="connsiteX686" fmla="*/ 1807991 w 7467600"/>
              <a:gd name="connsiteY686" fmla="*/ 2807184 h 6858000"/>
              <a:gd name="connsiteX687" fmla="*/ 1416358 w 7467600"/>
              <a:gd name="connsiteY687" fmla="*/ 3112571 h 6858000"/>
              <a:gd name="connsiteX688" fmla="*/ 939066 w 7467600"/>
              <a:gd name="connsiteY688" fmla="*/ 3378798 h 6858000"/>
              <a:gd name="connsiteX689" fmla="*/ 115099 w 7467600"/>
              <a:gd name="connsiteY689" fmla="*/ 3607650 h 6858000"/>
              <a:gd name="connsiteX690" fmla="*/ 97284 w 7467600"/>
              <a:gd name="connsiteY690" fmla="*/ 3520393 h 6858000"/>
              <a:gd name="connsiteX691" fmla="*/ 922050 w 7467600"/>
              <a:gd name="connsiteY691" fmla="*/ 3074867 h 6858000"/>
              <a:gd name="connsiteX692" fmla="*/ 1405265 w 7467600"/>
              <a:gd name="connsiteY692" fmla="*/ 3016319 h 6858000"/>
              <a:gd name="connsiteX693" fmla="*/ 1407512 w 7467600"/>
              <a:gd name="connsiteY693" fmla="*/ 3018001 h 6858000"/>
              <a:gd name="connsiteX694" fmla="*/ 1726266 w 7467600"/>
              <a:gd name="connsiteY694" fmla="*/ 2777274 h 6858000"/>
              <a:gd name="connsiteX695" fmla="*/ 625390 w 7467600"/>
              <a:gd name="connsiteY695" fmla="*/ 2514541 h 6858000"/>
              <a:gd name="connsiteX696" fmla="*/ 619799 w 7467600"/>
              <a:gd name="connsiteY696" fmla="*/ 2527180 h 6858000"/>
              <a:gd name="connsiteX697" fmla="*/ 310030 w 7467600"/>
              <a:gd name="connsiteY697" fmla="*/ 2771818 h 6858000"/>
              <a:gd name="connsiteX698" fmla="*/ 173877 w 7467600"/>
              <a:gd name="connsiteY698" fmla="*/ 2937056 h 6858000"/>
              <a:gd name="connsiteX699" fmla="*/ 77889 w 7467600"/>
              <a:gd name="connsiteY699" fmla="*/ 3138440 h 6858000"/>
              <a:gd name="connsiteX700" fmla="*/ 0 w 7467600"/>
              <a:gd name="connsiteY700" fmla="*/ 3271395 h 6858000"/>
              <a:gd name="connsiteX701" fmla="*/ 0 w 7467600"/>
              <a:gd name="connsiteY701" fmla="*/ 3153002 h 6858000"/>
              <a:gd name="connsiteX702" fmla="*/ 2386 w 7467600"/>
              <a:gd name="connsiteY702" fmla="*/ 3149203 h 6858000"/>
              <a:gd name="connsiteX703" fmla="*/ 89753 w 7467600"/>
              <a:gd name="connsiteY703" fmla="*/ 2987702 h 6858000"/>
              <a:gd name="connsiteX704" fmla="*/ 76869 w 7467600"/>
              <a:gd name="connsiteY704" fmla="*/ 3005404 h 6858000"/>
              <a:gd name="connsiteX705" fmla="*/ 32049 w 7467600"/>
              <a:gd name="connsiteY705" fmla="*/ 3065814 h 6858000"/>
              <a:gd name="connsiteX706" fmla="*/ 0 w 7467600"/>
              <a:gd name="connsiteY706" fmla="*/ 3108744 h 6858000"/>
              <a:gd name="connsiteX707" fmla="*/ 0 w 7467600"/>
              <a:gd name="connsiteY707" fmla="*/ 3058059 h 6858000"/>
              <a:gd name="connsiteX708" fmla="*/ 7610 w 7467600"/>
              <a:gd name="connsiteY708" fmla="*/ 3047889 h 6858000"/>
              <a:gd name="connsiteX709" fmla="*/ 52419 w 7467600"/>
              <a:gd name="connsiteY709" fmla="*/ 2987479 h 6858000"/>
              <a:gd name="connsiteX710" fmla="*/ 59142 w 7467600"/>
              <a:gd name="connsiteY710" fmla="*/ 2978488 h 6858000"/>
              <a:gd name="connsiteX711" fmla="*/ 0 w 7467600"/>
              <a:gd name="connsiteY711" fmla="*/ 3015334 h 6858000"/>
              <a:gd name="connsiteX712" fmla="*/ 0 w 7467600"/>
              <a:gd name="connsiteY712" fmla="*/ 2914286 h 6858000"/>
              <a:gd name="connsiteX713" fmla="*/ 36383 w 7467600"/>
              <a:gd name="connsiteY713" fmla="*/ 2901128 h 6858000"/>
              <a:gd name="connsiteX714" fmla="*/ 156329 w 7467600"/>
              <a:gd name="connsiteY714" fmla="*/ 2840533 h 6858000"/>
              <a:gd name="connsiteX715" fmla="*/ 358355 w 7467600"/>
              <a:gd name="connsiteY715" fmla="*/ 2620471 h 6858000"/>
              <a:gd name="connsiteX716" fmla="*/ 510577 w 7467600"/>
              <a:gd name="connsiteY716" fmla="*/ 2501244 h 6858000"/>
              <a:gd name="connsiteX717" fmla="*/ 211967 w 7467600"/>
              <a:gd name="connsiteY717" fmla="*/ 2479171 h 6858000"/>
              <a:gd name="connsiteX718" fmla="*/ 0 w 7467600"/>
              <a:gd name="connsiteY718" fmla="*/ 2476398 h 6858000"/>
              <a:gd name="connsiteX719" fmla="*/ 0 w 7467600"/>
              <a:gd name="connsiteY719" fmla="*/ 2389189 h 6858000"/>
              <a:gd name="connsiteX720" fmla="*/ 103062 w 7467600"/>
              <a:gd name="connsiteY720" fmla="*/ 2389518 h 6858000"/>
              <a:gd name="connsiteX721" fmla="*/ 510734 w 7467600"/>
              <a:gd name="connsiteY721" fmla="*/ 2416201 h 6858000"/>
              <a:gd name="connsiteX722" fmla="*/ 279257 w 7467600"/>
              <a:gd name="connsiteY722" fmla="*/ 2092102 h 6858000"/>
              <a:gd name="connsiteX723" fmla="*/ 65265 w 7467600"/>
              <a:gd name="connsiteY723" fmla="*/ 2006049 h 6858000"/>
              <a:gd name="connsiteX724" fmla="*/ 0 w 7467600"/>
              <a:gd name="connsiteY724" fmla="*/ 1982532 h 6858000"/>
              <a:gd name="connsiteX725" fmla="*/ 0 w 7467600"/>
              <a:gd name="connsiteY725" fmla="*/ 1912789 h 6858000"/>
              <a:gd name="connsiteX726" fmla="*/ 97460 w 7467600"/>
              <a:gd name="connsiteY726" fmla="*/ 1953725 h 6858000"/>
              <a:gd name="connsiteX727" fmla="*/ 221272 w 7467600"/>
              <a:gd name="connsiteY727" fmla="*/ 1980766 h 6858000"/>
              <a:gd name="connsiteX728" fmla="*/ 116765 w 7467600"/>
              <a:gd name="connsiteY728" fmla="*/ 1911033 h 6858000"/>
              <a:gd name="connsiteX729" fmla="*/ 16405 w 7467600"/>
              <a:gd name="connsiteY729" fmla="*/ 1803412 h 6858000"/>
              <a:gd name="connsiteX730" fmla="*/ 0 w 7467600"/>
              <a:gd name="connsiteY730" fmla="*/ 1784777 h 6858000"/>
              <a:gd name="connsiteX731" fmla="*/ 0 w 7467600"/>
              <a:gd name="connsiteY731" fmla="*/ 1740082 h 6858000"/>
              <a:gd name="connsiteX732" fmla="*/ 39394 w 7467600"/>
              <a:gd name="connsiteY732" fmla="*/ 1784856 h 6858000"/>
              <a:gd name="connsiteX733" fmla="*/ 135813 w 7467600"/>
              <a:gd name="connsiteY733" fmla="*/ 1888838 h 6858000"/>
              <a:gd name="connsiteX734" fmla="*/ 242575 w 7467600"/>
              <a:gd name="connsiteY734" fmla="*/ 1958841 h 6858000"/>
              <a:gd name="connsiteX735" fmla="*/ 82197 w 7467600"/>
              <a:gd name="connsiteY735" fmla="*/ 1754826 h 6858000"/>
              <a:gd name="connsiteX736" fmla="*/ 0 w 7467600"/>
              <a:gd name="connsiteY736" fmla="*/ 1679650 h 6858000"/>
              <a:gd name="connsiteX737" fmla="*/ 0 w 7467600"/>
              <a:gd name="connsiteY737" fmla="*/ 1602463 h 6858000"/>
              <a:gd name="connsiteX738" fmla="*/ 84689 w 7467600"/>
              <a:gd name="connsiteY738" fmla="*/ 1677442 h 6858000"/>
              <a:gd name="connsiteX739" fmla="*/ 298437 w 7467600"/>
              <a:gd name="connsiteY739" fmla="*/ 1968019 h 6858000"/>
              <a:gd name="connsiteX740" fmla="*/ 227269 w 7467600"/>
              <a:gd name="connsiteY740" fmla="*/ 1114064 h 6858000"/>
              <a:gd name="connsiteX741" fmla="*/ 248003 w 7467600"/>
              <a:gd name="connsiteY741" fmla="*/ 1089613 h 6858000"/>
              <a:gd name="connsiteX742" fmla="*/ 427020 w 7467600"/>
              <a:gd name="connsiteY742" fmla="*/ 1619803 h 6858000"/>
              <a:gd name="connsiteX743" fmla="*/ 340345 w 7467600"/>
              <a:gd name="connsiteY743" fmla="*/ 2027739 h 6858000"/>
              <a:gd name="connsiteX744" fmla="*/ 360865 w 7467600"/>
              <a:gd name="connsiteY744" fmla="*/ 2044827 h 6858000"/>
              <a:gd name="connsiteX745" fmla="*/ 560414 w 7467600"/>
              <a:gd name="connsiteY745" fmla="*/ 2421457 h 6858000"/>
              <a:gd name="connsiteX746" fmla="*/ 1359703 w 7467600"/>
              <a:gd name="connsiteY746" fmla="*/ 2578554 h 6858000"/>
              <a:gd name="connsiteX747" fmla="*/ 1359422 w 7467600"/>
              <a:gd name="connsiteY747" fmla="*/ 2577994 h 6858000"/>
              <a:gd name="connsiteX748" fmla="*/ 828701 w 7467600"/>
              <a:gd name="connsiteY748" fmla="*/ 1839520 h 6858000"/>
              <a:gd name="connsiteX749" fmla="*/ 494427 w 7467600"/>
              <a:gd name="connsiteY749" fmla="*/ 1092333 h 6858000"/>
              <a:gd name="connsiteX750" fmla="*/ 506322 w 7467600"/>
              <a:gd name="connsiteY750" fmla="*/ 1020997 h 6858000"/>
              <a:gd name="connsiteX751" fmla="*/ 4570198 w 7467600"/>
              <a:gd name="connsiteY751" fmla="*/ 978081 h 6858000"/>
              <a:gd name="connsiteX752" fmla="*/ 4523691 w 7467600"/>
              <a:gd name="connsiteY752" fmla="*/ 1127776 h 6858000"/>
              <a:gd name="connsiteX753" fmla="*/ 4509875 w 7467600"/>
              <a:gd name="connsiteY753" fmla="*/ 1167552 h 6858000"/>
              <a:gd name="connsiteX754" fmla="*/ 4478168 w 7467600"/>
              <a:gd name="connsiteY754" fmla="*/ 1260735 h 6858000"/>
              <a:gd name="connsiteX755" fmla="*/ 4409309 w 7467600"/>
              <a:gd name="connsiteY755" fmla="*/ 1666996 h 6858000"/>
              <a:gd name="connsiteX756" fmla="*/ 4370031 w 7467600"/>
              <a:gd name="connsiteY756" fmla="*/ 1955666 h 6858000"/>
              <a:gd name="connsiteX757" fmla="*/ 4570198 w 7467600"/>
              <a:gd name="connsiteY757" fmla="*/ 978081 h 6858000"/>
              <a:gd name="connsiteX758" fmla="*/ 4557898 w 7467600"/>
              <a:gd name="connsiteY758" fmla="*/ 900011 h 6858000"/>
              <a:gd name="connsiteX759" fmla="*/ 4344840 w 7467600"/>
              <a:gd name="connsiteY759" fmla="*/ 1922038 h 6858000"/>
              <a:gd name="connsiteX760" fmla="*/ 4378710 w 7467600"/>
              <a:gd name="connsiteY760" fmla="*/ 1665516 h 6858000"/>
              <a:gd name="connsiteX761" fmla="*/ 4448798 w 7467600"/>
              <a:gd name="connsiteY761" fmla="*/ 1253024 h 6858000"/>
              <a:gd name="connsiteX762" fmla="*/ 4480315 w 7467600"/>
              <a:gd name="connsiteY762" fmla="*/ 1158454 h 6858000"/>
              <a:gd name="connsiteX763" fmla="*/ 4494133 w 7467600"/>
              <a:gd name="connsiteY763" fmla="*/ 1118676 h 6858000"/>
              <a:gd name="connsiteX764" fmla="*/ 4557898 w 7467600"/>
              <a:gd name="connsiteY764" fmla="*/ 900011 h 6858000"/>
              <a:gd name="connsiteX765" fmla="*/ 5870151 w 7467600"/>
              <a:gd name="connsiteY765" fmla="*/ 898890 h 6858000"/>
              <a:gd name="connsiteX766" fmla="*/ 5861335 w 7467600"/>
              <a:gd name="connsiteY766" fmla="*/ 899177 h 6858000"/>
              <a:gd name="connsiteX767" fmla="*/ 5843702 w 7467600"/>
              <a:gd name="connsiteY767" fmla="*/ 899748 h 6858000"/>
              <a:gd name="connsiteX768" fmla="*/ 5651107 w 7467600"/>
              <a:gd name="connsiteY768" fmla="*/ 920306 h 6858000"/>
              <a:gd name="connsiteX769" fmla="*/ 5459407 w 7467600"/>
              <a:gd name="connsiteY769" fmla="*/ 940975 h 6858000"/>
              <a:gd name="connsiteX770" fmla="*/ 5374846 w 7467600"/>
              <a:gd name="connsiteY770" fmla="*/ 941988 h 6858000"/>
              <a:gd name="connsiteX771" fmla="*/ 5256105 w 7467600"/>
              <a:gd name="connsiteY771" fmla="*/ 945632 h 6858000"/>
              <a:gd name="connsiteX772" fmla="*/ 5107071 w 7467600"/>
              <a:gd name="connsiteY772" fmla="*/ 969720 h 6858000"/>
              <a:gd name="connsiteX773" fmla="*/ 4998681 w 7467600"/>
              <a:gd name="connsiteY773" fmla="*/ 988771 h 6858000"/>
              <a:gd name="connsiteX774" fmla="*/ 5870151 w 7467600"/>
              <a:gd name="connsiteY774" fmla="*/ 898890 h 6858000"/>
              <a:gd name="connsiteX775" fmla="*/ 5504425 w 7467600"/>
              <a:gd name="connsiteY775" fmla="*/ 848067 h 6858000"/>
              <a:gd name="connsiteX776" fmla="*/ 4968849 w 7467600"/>
              <a:gd name="connsiteY776" fmla="*/ 962318 h 6858000"/>
              <a:gd name="connsiteX777" fmla="*/ 5104039 w 7467600"/>
              <a:gd name="connsiteY777" fmla="*/ 940634 h 6858000"/>
              <a:gd name="connsiteX778" fmla="*/ 5256311 w 7467600"/>
              <a:gd name="connsiteY778" fmla="*/ 916490 h 6858000"/>
              <a:gd name="connsiteX779" fmla="*/ 5377381 w 7467600"/>
              <a:gd name="connsiteY779" fmla="*/ 912671 h 6858000"/>
              <a:gd name="connsiteX780" fmla="*/ 5460148 w 7467600"/>
              <a:gd name="connsiteY780" fmla="*/ 911442 h 6858000"/>
              <a:gd name="connsiteX781" fmla="*/ 5648971 w 7467600"/>
              <a:gd name="connsiteY781" fmla="*/ 891331 h 6858000"/>
              <a:gd name="connsiteX782" fmla="*/ 5844807 w 7467600"/>
              <a:gd name="connsiteY782" fmla="*/ 870718 h 6858000"/>
              <a:gd name="connsiteX783" fmla="*/ 5862975 w 7467600"/>
              <a:gd name="connsiteY783" fmla="*/ 869756 h 6858000"/>
              <a:gd name="connsiteX784" fmla="*/ 5920887 w 7467600"/>
              <a:gd name="connsiteY784" fmla="*/ 865929 h 6858000"/>
              <a:gd name="connsiteX785" fmla="*/ 5504425 w 7467600"/>
              <a:gd name="connsiteY785" fmla="*/ 848067 h 6858000"/>
              <a:gd name="connsiteX786" fmla="*/ 3607114 w 7467600"/>
              <a:gd name="connsiteY786" fmla="*/ 467441 h 6858000"/>
              <a:gd name="connsiteX787" fmla="*/ 3296242 w 7467600"/>
              <a:gd name="connsiteY787" fmla="*/ 807991 h 6858000"/>
              <a:gd name="connsiteX788" fmla="*/ 3174674 w 7467600"/>
              <a:gd name="connsiteY788" fmla="*/ 919759 h 6858000"/>
              <a:gd name="connsiteX789" fmla="*/ 3042978 w 7467600"/>
              <a:gd name="connsiteY789" fmla="*/ 1054894 h 6858000"/>
              <a:gd name="connsiteX790" fmla="*/ 2968914 w 7467600"/>
              <a:gd name="connsiteY790" fmla="*/ 1133756 h 6858000"/>
              <a:gd name="connsiteX791" fmla="*/ 3103823 w 7467600"/>
              <a:gd name="connsiteY791" fmla="*/ 1026814 h 6858000"/>
              <a:gd name="connsiteX792" fmla="*/ 3607114 w 7467600"/>
              <a:gd name="connsiteY792" fmla="*/ 467441 h 6858000"/>
              <a:gd name="connsiteX793" fmla="*/ 3744487 w 7467600"/>
              <a:gd name="connsiteY793" fmla="*/ 383136 h 6858000"/>
              <a:gd name="connsiteX794" fmla="*/ 3970213 w 7467600"/>
              <a:gd name="connsiteY794" fmla="*/ 995559 h 6858000"/>
              <a:gd name="connsiteX795" fmla="*/ 3744487 w 7467600"/>
              <a:gd name="connsiteY795" fmla="*/ 383136 h 6858000"/>
              <a:gd name="connsiteX796" fmla="*/ 3624562 w 7467600"/>
              <a:gd name="connsiteY796" fmla="*/ 367041 h 6858000"/>
              <a:gd name="connsiteX797" fmla="*/ 3489712 w 7467600"/>
              <a:gd name="connsiteY797" fmla="*/ 485386 h 6858000"/>
              <a:gd name="connsiteX798" fmla="*/ 3182994 w 7467600"/>
              <a:gd name="connsiteY798" fmla="*/ 828265 h 6858000"/>
              <a:gd name="connsiteX799" fmla="*/ 2892114 w 7467600"/>
              <a:gd name="connsiteY799" fmla="*/ 1172635 h 6858000"/>
              <a:gd name="connsiteX800" fmla="*/ 3021459 w 7467600"/>
              <a:gd name="connsiteY800" fmla="*/ 1035385 h 6858000"/>
              <a:gd name="connsiteX801" fmla="*/ 3153873 w 7467600"/>
              <a:gd name="connsiteY801" fmla="*/ 898971 h 6858000"/>
              <a:gd name="connsiteX802" fmla="*/ 3276511 w 7467600"/>
              <a:gd name="connsiteY802" fmla="*/ 786423 h 6858000"/>
              <a:gd name="connsiteX803" fmla="*/ 3584154 w 7467600"/>
              <a:gd name="connsiteY803" fmla="*/ 448218 h 6858000"/>
              <a:gd name="connsiteX804" fmla="*/ 3624562 w 7467600"/>
              <a:gd name="connsiteY804" fmla="*/ 367041 h 6858000"/>
              <a:gd name="connsiteX805" fmla="*/ 3766672 w 7467600"/>
              <a:gd name="connsiteY805" fmla="*/ 359429 h 6858000"/>
              <a:gd name="connsiteX806" fmla="*/ 3996338 w 7467600"/>
              <a:gd name="connsiteY806" fmla="*/ 968237 h 6858000"/>
              <a:gd name="connsiteX807" fmla="*/ 3766672 w 7467600"/>
              <a:gd name="connsiteY807" fmla="*/ 359429 h 6858000"/>
              <a:gd name="connsiteX808" fmla="*/ 5805386 w 7467600"/>
              <a:gd name="connsiteY808" fmla="*/ 239240 h 6858000"/>
              <a:gd name="connsiteX809" fmla="*/ 5736947 w 7467600"/>
              <a:gd name="connsiteY809" fmla="*/ 261367 h 6858000"/>
              <a:gd name="connsiteX810" fmla="*/ 5427012 w 7467600"/>
              <a:gd name="connsiteY810" fmla="*/ 311272 h 6858000"/>
              <a:gd name="connsiteX811" fmla="*/ 5147818 w 7467600"/>
              <a:gd name="connsiteY811" fmla="*/ 322112 h 6858000"/>
              <a:gd name="connsiteX812" fmla="*/ 5060854 w 7467600"/>
              <a:gd name="connsiteY812" fmla="*/ 311882 h 6858000"/>
              <a:gd name="connsiteX813" fmla="*/ 4945989 w 7467600"/>
              <a:gd name="connsiteY813" fmla="*/ 300516 h 6858000"/>
              <a:gd name="connsiteX814" fmla="*/ 5410479 w 7467600"/>
              <a:gd name="connsiteY814" fmla="*/ 348434 h 6858000"/>
              <a:gd name="connsiteX815" fmla="*/ 5805386 w 7467600"/>
              <a:gd name="connsiteY815" fmla="*/ 239240 h 6858000"/>
              <a:gd name="connsiteX816" fmla="*/ 5905192 w 7467600"/>
              <a:gd name="connsiteY816" fmla="*/ 163079 h 6858000"/>
              <a:gd name="connsiteX817" fmla="*/ 5865655 w 7467600"/>
              <a:gd name="connsiteY817" fmla="*/ 171901 h 6858000"/>
              <a:gd name="connsiteX818" fmla="*/ 5259740 w 7467600"/>
              <a:gd name="connsiteY818" fmla="*/ 257013 h 6858000"/>
              <a:gd name="connsiteX819" fmla="*/ 5208466 w 7467600"/>
              <a:gd name="connsiteY819" fmla="*/ 257550 h 6858000"/>
              <a:gd name="connsiteX820" fmla="*/ 4980204 w 7467600"/>
              <a:gd name="connsiteY820" fmla="*/ 271903 h 6858000"/>
              <a:gd name="connsiteX821" fmla="*/ 5068068 w 7467600"/>
              <a:gd name="connsiteY821" fmla="*/ 282244 h 6858000"/>
              <a:gd name="connsiteX822" fmla="*/ 5153231 w 7467600"/>
              <a:gd name="connsiteY822" fmla="*/ 292240 h 6858000"/>
              <a:gd name="connsiteX823" fmla="*/ 5426491 w 7467600"/>
              <a:gd name="connsiteY823" fmla="*/ 281128 h 6858000"/>
              <a:gd name="connsiteX824" fmla="*/ 5731212 w 7467600"/>
              <a:gd name="connsiteY824" fmla="*/ 231951 h 6858000"/>
              <a:gd name="connsiteX825" fmla="*/ 5905192 w 7467600"/>
              <a:gd name="connsiteY825" fmla="*/ 163079 h 6858000"/>
              <a:gd name="connsiteX826" fmla="*/ 5944437 w 7467600"/>
              <a:gd name="connsiteY826" fmla="*/ 113829 h 6858000"/>
              <a:gd name="connsiteX827" fmla="*/ 5825032 w 7467600"/>
              <a:gd name="connsiteY827" fmla="*/ 146405 h 6858000"/>
              <a:gd name="connsiteX828" fmla="*/ 4955599 w 7467600"/>
              <a:gd name="connsiteY828" fmla="*/ 247008 h 6858000"/>
              <a:gd name="connsiteX829" fmla="*/ 5210104 w 7467600"/>
              <a:gd name="connsiteY829" fmla="*/ 228123 h 6858000"/>
              <a:gd name="connsiteX830" fmla="*/ 5261015 w 7467600"/>
              <a:gd name="connsiteY830" fmla="*/ 227087 h 6858000"/>
              <a:gd name="connsiteX831" fmla="*/ 5861181 w 7467600"/>
              <a:gd name="connsiteY831" fmla="*/ 143093 h 6858000"/>
              <a:gd name="connsiteX832" fmla="*/ 5961252 w 7467600"/>
              <a:gd name="connsiteY832" fmla="*/ 114820 h 6858000"/>
              <a:gd name="connsiteX833" fmla="*/ 5944437 w 7467600"/>
              <a:gd name="connsiteY833" fmla="*/ 113829 h 6858000"/>
              <a:gd name="connsiteX834" fmla="*/ 3882765 w 7467600"/>
              <a:gd name="connsiteY834" fmla="*/ 0 h 6858000"/>
              <a:gd name="connsiteX835" fmla="*/ 3995099 w 7467600"/>
              <a:gd name="connsiteY835" fmla="*/ 0 h 6858000"/>
              <a:gd name="connsiteX836" fmla="*/ 4163818 w 7467600"/>
              <a:gd name="connsiteY836" fmla="*/ 234104 h 6858000"/>
              <a:gd name="connsiteX837" fmla="*/ 4172099 w 7467600"/>
              <a:gd name="connsiteY837" fmla="*/ 234207 h 6858000"/>
              <a:gd name="connsiteX838" fmla="*/ 4784282 w 7467600"/>
              <a:gd name="connsiteY838" fmla="*/ 276561 h 6858000"/>
              <a:gd name="connsiteX839" fmla="*/ 4801687 w 7467600"/>
              <a:gd name="connsiteY839" fmla="*/ 267764 h 6858000"/>
              <a:gd name="connsiteX840" fmla="*/ 6082788 w 7467600"/>
              <a:gd name="connsiteY840" fmla="*/ 64119 h 6858000"/>
              <a:gd name="connsiteX841" fmla="*/ 6099442 w 7467600"/>
              <a:gd name="connsiteY841" fmla="*/ 82568 h 6858000"/>
              <a:gd name="connsiteX842" fmla="*/ 4804137 w 7467600"/>
              <a:gd name="connsiteY842" fmla="*/ 320931 h 6858000"/>
              <a:gd name="connsiteX843" fmla="*/ 4227047 w 7467600"/>
              <a:gd name="connsiteY843" fmla="*/ 313415 h 6858000"/>
              <a:gd name="connsiteX844" fmla="*/ 4346041 w 7467600"/>
              <a:gd name="connsiteY844" fmla="*/ 456086 h 6858000"/>
              <a:gd name="connsiteX845" fmla="*/ 4870967 w 7467600"/>
              <a:gd name="connsiteY845" fmla="*/ 963061 h 6858000"/>
              <a:gd name="connsiteX846" fmla="*/ 4889647 w 7467600"/>
              <a:gd name="connsiteY846" fmla="*/ 957147 h 6858000"/>
              <a:gd name="connsiteX847" fmla="*/ 5422504 w 7467600"/>
              <a:gd name="connsiteY847" fmla="*/ 805191 h 6858000"/>
              <a:gd name="connsiteX848" fmla="*/ 6087656 w 7467600"/>
              <a:gd name="connsiteY848" fmla="*/ 826703 h 6858000"/>
              <a:gd name="connsiteX849" fmla="*/ 6058717 w 7467600"/>
              <a:gd name="connsiteY849" fmla="*/ 865992 h 6858000"/>
              <a:gd name="connsiteX850" fmla="*/ 4974153 w 7467600"/>
              <a:gd name="connsiteY850" fmla="*/ 1045456 h 6858000"/>
              <a:gd name="connsiteX851" fmla="*/ 5627835 w 7467600"/>
              <a:gd name="connsiteY851" fmla="*/ 1472077 h 6858000"/>
              <a:gd name="connsiteX852" fmla="*/ 5629817 w 7467600"/>
              <a:gd name="connsiteY852" fmla="*/ 1471412 h 6858000"/>
              <a:gd name="connsiteX853" fmla="*/ 5634124 w 7467600"/>
              <a:gd name="connsiteY853" fmla="*/ 1470572 h 6858000"/>
              <a:gd name="connsiteX854" fmla="*/ 5755832 w 7467600"/>
              <a:gd name="connsiteY854" fmla="*/ 1383886 h 6858000"/>
              <a:gd name="connsiteX855" fmla="*/ 6014186 w 7467600"/>
              <a:gd name="connsiteY855" fmla="*/ 1279799 h 6858000"/>
              <a:gd name="connsiteX856" fmla="*/ 6901619 w 7467600"/>
              <a:gd name="connsiteY856" fmla="*/ 1047874 h 6858000"/>
              <a:gd name="connsiteX857" fmla="*/ 6931566 w 7467600"/>
              <a:gd name="connsiteY857" fmla="*/ 1062034 h 6858000"/>
              <a:gd name="connsiteX858" fmla="*/ 5790982 w 7467600"/>
              <a:gd name="connsiteY858" fmla="*/ 1561380 h 6858000"/>
              <a:gd name="connsiteX859" fmla="*/ 6188971 w 7467600"/>
              <a:gd name="connsiteY859" fmla="*/ 1755168 h 6858000"/>
              <a:gd name="connsiteX860" fmla="*/ 6202446 w 7467600"/>
              <a:gd name="connsiteY860" fmla="*/ 1752268 h 6858000"/>
              <a:gd name="connsiteX861" fmla="*/ 7179560 w 7467600"/>
              <a:gd name="connsiteY861" fmla="*/ 1467551 h 6858000"/>
              <a:gd name="connsiteX862" fmla="*/ 7158730 w 7467600"/>
              <a:gd name="connsiteY862" fmla="*/ 1507835 h 6858000"/>
              <a:gd name="connsiteX863" fmla="*/ 6326959 w 7467600"/>
              <a:gd name="connsiteY863" fmla="*/ 1817686 h 6858000"/>
              <a:gd name="connsiteX864" fmla="*/ 6537433 w 7467600"/>
              <a:gd name="connsiteY864" fmla="*/ 1907790 h 6858000"/>
              <a:gd name="connsiteX865" fmla="*/ 6550221 w 7467600"/>
              <a:gd name="connsiteY865" fmla="*/ 1910729 h 6858000"/>
              <a:gd name="connsiteX866" fmla="*/ 6964438 w 7467600"/>
              <a:gd name="connsiteY866" fmla="*/ 2209505 h 6858000"/>
              <a:gd name="connsiteX867" fmla="*/ 7367862 w 7467600"/>
              <a:gd name="connsiteY867" fmla="*/ 2806833 h 6858000"/>
              <a:gd name="connsiteX868" fmla="*/ 7364329 w 7467600"/>
              <a:gd name="connsiteY868" fmla="*/ 2826907 h 6858000"/>
              <a:gd name="connsiteX869" fmla="*/ 7290545 w 7467600"/>
              <a:gd name="connsiteY869" fmla="*/ 2850663 h 6858000"/>
              <a:gd name="connsiteX870" fmla="*/ 6472036 w 7467600"/>
              <a:gd name="connsiteY870" fmla="*/ 1959003 h 6858000"/>
              <a:gd name="connsiteX871" fmla="*/ 5792897 w 7467600"/>
              <a:gd name="connsiteY871" fmla="*/ 1647747 h 6858000"/>
              <a:gd name="connsiteX872" fmla="*/ 5842751 w 7467600"/>
              <a:gd name="connsiteY872" fmla="*/ 1816112 h 6858000"/>
              <a:gd name="connsiteX873" fmla="*/ 5847424 w 7467600"/>
              <a:gd name="connsiteY873" fmla="*/ 1815776 h 6858000"/>
              <a:gd name="connsiteX874" fmla="*/ 6399821 w 7467600"/>
              <a:gd name="connsiteY874" fmla="*/ 2344799 h 6858000"/>
              <a:gd name="connsiteX875" fmla="*/ 6323232 w 7467600"/>
              <a:gd name="connsiteY875" fmla="*/ 2389634 h 6858000"/>
              <a:gd name="connsiteX876" fmla="*/ 5942958 w 7467600"/>
              <a:gd name="connsiteY876" fmla="*/ 2077708 h 6858000"/>
              <a:gd name="connsiteX877" fmla="*/ 5921559 w 7467600"/>
              <a:gd name="connsiteY877" fmla="*/ 2378596 h 6858000"/>
              <a:gd name="connsiteX878" fmla="*/ 5817651 w 7467600"/>
              <a:gd name="connsiteY878" fmla="*/ 3023919 h 6858000"/>
              <a:gd name="connsiteX879" fmla="*/ 5729634 w 7467600"/>
              <a:gd name="connsiteY879" fmla="*/ 3051849 h 6858000"/>
              <a:gd name="connsiteX880" fmla="*/ 5611018 w 7467600"/>
              <a:gd name="connsiteY880" fmla="*/ 2316769 h 6858000"/>
              <a:gd name="connsiteX881" fmla="*/ 5687608 w 7467600"/>
              <a:gd name="connsiteY881" fmla="*/ 2039972 h 6858000"/>
              <a:gd name="connsiteX882" fmla="*/ 5657554 w 7467600"/>
              <a:gd name="connsiteY882" fmla="*/ 1576445 h 6858000"/>
              <a:gd name="connsiteX883" fmla="*/ 5150475 w 7467600"/>
              <a:gd name="connsiteY883" fmla="*/ 1274012 h 6858000"/>
              <a:gd name="connsiteX884" fmla="*/ 5349142 w 7467600"/>
              <a:gd name="connsiteY884" fmla="*/ 2204405 h 6858000"/>
              <a:gd name="connsiteX885" fmla="*/ 5262214 w 7467600"/>
              <a:gd name="connsiteY885" fmla="*/ 2233836 h 6858000"/>
              <a:gd name="connsiteX886" fmla="*/ 4981539 w 7467600"/>
              <a:gd name="connsiteY886" fmla="*/ 1542201 h 6858000"/>
              <a:gd name="connsiteX887" fmla="*/ 4958461 w 7467600"/>
              <a:gd name="connsiteY887" fmla="*/ 1136957 h 6858000"/>
              <a:gd name="connsiteX888" fmla="*/ 4655015 w 7467600"/>
              <a:gd name="connsiteY888" fmla="*/ 891426 h 6858000"/>
              <a:gd name="connsiteX889" fmla="*/ 4348002 w 7467600"/>
              <a:gd name="connsiteY889" fmla="*/ 2205895 h 6858000"/>
              <a:gd name="connsiteX890" fmla="*/ 4262250 w 7467600"/>
              <a:gd name="connsiteY890" fmla="*/ 2219972 h 6858000"/>
              <a:gd name="connsiteX891" fmla="*/ 4550611 w 7467600"/>
              <a:gd name="connsiteY891" fmla="*/ 817540 h 6858000"/>
              <a:gd name="connsiteX892" fmla="*/ 4564418 w 7467600"/>
              <a:gd name="connsiteY892" fmla="*/ 808293 h 6858000"/>
              <a:gd name="connsiteX893" fmla="*/ 4266388 w 7467600"/>
              <a:gd name="connsiteY893" fmla="*/ 500083 h 6858000"/>
              <a:gd name="connsiteX894" fmla="*/ 4032842 w 7467600"/>
              <a:gd name="connsiteY894" fmla="*/ 211809 h 6858000"/>
              <a:gd name="connsiteX895" fmla="*/ 3882765 w 7467600"/>
              <a:gd name="connsiteY895" fmla="*/ 0 h 6858000"/>
              <a:gd name="connsiteX896" fmla="*/ 3721337 w 7467600"/>
              <a:gd name="connsiteY896" fmla="*/ 0 h 6858000"/>
              <a:gd name="connsiteX897" fmla="*/ 3797544 w 7467600"/>
              <a:gd name="connsiteY897" fmla="*/ 0 h 6858000"/>
              <a:gd name="connsiteX898" fmla="*/ 3775734 w 7467600"/>
              <a:gd name="connsiteY898" fmla="*/ 95131 h 6858000"/>
              <a:gd name="connsiteX899" fmla="*/ 3724807 w 7467600"/>
              <a:gd name="connsiteY899" fmla="*/ 272257 h 6858000"/>
              <a:gd name="connsiteX900" fmla="*/ 3726844 w 7467600"/>
              <a:gd name="connsiteY900" fmla="*/ 282988 h 6858000"/>
              <a:gd name="connsiteX901" fmla="*/ 3742664 w 7467600"/>
              <a:gd name="connsiteY901" fmla="*/ 279918 h 6858000"/>
              <a:gd name="connsiteX902" fmla="*/ 4103910 w 7467600"/>
              <a:gd name="connsiteY902" fmla="*/ 1161917 h 6858000"/>
              <a:gd name="connsiteX903" fmla="*/ 4020269 w 7467600"/>
              <a:gd name="connsiteY903" fmla="*/ 1200406 h 6858000"/>
              <a:gd name="connsiteX904" fmla="*/ 3674882 w 7467600"/>
              <a:gd name="connsiteY904" fmla="*/ 488524 h 6858000"/>
              <a:gd name="connsiteX905" fmla="*/ 3132682 w 7467600"/>
              <a:gd name="connsiteY905" fmla="*/ 1072284 h 6858000"/>
              <a:gd name="connsiteX906" fmla="*/ 2716346 w 7467600"/>
              <a:gd name="connsiteY906" fmla="*/ 1276376 h 6858000"/>
              <a:gd name="connsiteX907" fmla="*/ 2716772 w 7467600"/>
              <a:gd name="connsiteY907" fmla="*/ 1255462 h 6858000"/>
              <a:gd name="connsiteX908" fmla="*/ 3471096 w 7467600"/>
              <a:gd name="connsiteY908" fmla="*/ 437072 h 6858000"/>
              <a:gd name="connsiteX909" fmla="*/ 3639057 w 7467600"/>
              <a:gd name="connsiteY909" fmla="*/ 286334 h 6858000"/>
              <a:gd name="connsiteX910" fmla="*/ 3640309 w 7467600"/>
              <a:gd name="connsiteY910" fmla="*/ 284664 h 6858000"/>
              <a:gd name="connsiteX911" fmla="*/ 3646022 w 7467600"/>
              <a:gd name="connsiteY911" fmla="*/ 276711 h 6858000"/>
              <a:gd name="connsiteX912" fmla="*/ 3707943 w 7467600"/>
              <a:gd name="connsiteY912" fmla="*/ 65958 h 6858000"/>
              <a:gd name="connsiteX913" fmla="*/ 3721337 w 7467600"/>
              <a:gd name="connsiteY913" fmla="*/ 0 h 6858000"/>
              <a:gd name="connsiteX914" fmla="*/ 2867960 w 7467600"/>
              <a:gd name="connsiteY914" fmla="*/ 0 h 6858000"/>
              <a:gd name="connsiteX915" fmla="*/ 2926351 w 7467600"/>
              <a:gd name="connsiteY915" fmla="*/ 0 h 6858000"/>
              <a:gd name="connsiteX916" fmla="*/ 2902823 w 7467600"/>
              <a:gd name="connsiteY916" fmla="*/ 262929 h 6858000"/>
              <a:gd name="connsiteX917" fmla="*/ 2940663 w 7467600"/>
              <a:gd name="connsiteY917" fmla="*/ 140884 h 6858000"/>
              <a:gd name="connsiteX918" fmla="*/ 2947039 w 7467600"/>
              <a:gd name="connsiteY918" fmla="*/ 122524 h 6858000"/>
              <a:gd name="connsiteX919" fmla="*/ 2984316 w 7467600"/>
              <a:gd name="connsiteY919" fmla="*/ 0 h 6858000"/>
              <a:gd name="connsiteX920" fmla="*/ 3016114 w 7467600"/>
              <a:gd name="connsiteY920" fmla="*/ 0 h 6858000"/>
              <a:gd name="connsiteX921" fmla="*/ 2979949 w 7467600"/>
              <a:gd name="connsiteY921" fmla="*/ 119274 h 6858000"/>
              <a:gd name="connsiteX922" fmla="*/ 3023879 w 7467600"/>
              <a:gd name="connsiteY922" fmla="*/ 0 h 6858000"/>
              <a:gd name="connsiteX923" fmla="*/ 3105400 w 7467600"/>
              <a:gd name="connsiteY923" fmla="*/ 0 h 6858000"/>
              <a:gd name="connsiteX924" fmla="*/ 3094669 w 7467600"/>
              <a:gd name="connsiteY924" fmla="*/ 30308 h 6858000"/>
              <a:gd name="connsiteX925" fmla="*/ 2901945 w 7467600"/>
              <a:gd name="connsiteY925" fmla="*/ 466538 h 6858000"/>
              <a:gd name="connsiteX926" fmla="*/ 2815209 w 7467600"/>
              <a:gd name="connsiteY926" fmla="*/ 497361 h 6858000"/>
              <a:gd name="connsiteX927" fmla="*/ 2844845 w 7467600"/>
              <a:gd name="connsiteY927" fmla="*/ 127638 h 6858000"/>
              <a:gd name="connsiteX928" fmla="*/ 2867960 w 7467600"/>
              <a:gd name="connsiteY928" fmla="*/ 0 h 6858000"/>
              <a:gd name="connsiteX929" fmla="*/ 1057230 w 7467600"/>
              <a:gd name="connsiteY929" fmla="*/ 0 h 6858000"/>
              <a:gd name="connsiteX930" fmla="*/ 1111003 w 7467600"/>
              <a:gd name="connsiteY930" fmla="*/ 0 h 6858000"/>
              <a:gd name="connsiteX931" fmla="*/ 1125553 w 7467600"/>
              <a:gd name="connsiteY931" fmla="*/ 52588 h 6858000"/>
              <a:gd name="connsiteX932" fmla="*/ 1304276 w 7467600"/>
              <a:gd name="connsiteY932" fmla="*/ 476275 h 6858000"/>
              <a:gd name="connsiteX933" fmla="*/ 1492066 w 7467600"/>
              <a:gd name="connsiteY933" fmla="*/ 886333 h 6858000"/>
              <a:gd name="connsiteX934" fmla="*/ 1423698 w 7467600"/>
              <a:gd name="connsiteY934" fmla="*/ 710817 h 6858000"/>
              <a:gd name="connsiteX935" fmla="*/ 1357609 w 7467600"/>
              <a:gd name="connsiteY935" fmla="*/ 532892 h 6858000"/>
              <a:gd name="connsiteX936" fmla="*/ 1309550 w 7467600"/>
              <a:gd name="connsiteY936" fmla="*/ 374031 h 6858000"/>
              <a:gd name="connsiteX937" fmla="*/ 1193673 w 7467600"/>
              <a:gd name="connsiteY937" fmla="*/ 49533 h 6858000"/>
              <a:gd name="connsiteX938" fmla="*/ 1164391 w 7467600"/>
              <a:gd name="connsiteY938" fmla="*/ 0 h 6858000"/>
              <a:gd name="connsiteX939" fmla="*/ 1200666 w 7467600"/>
              <a:gd name="connsiteY939" fmla="*/ 0 h 6858000"/>
              <a:gd name="connsiteX940" fmla="*/ 1223408 w 7467600"/>
              <a:gd name="connsiteY940" fmla="*/ 38996 h 6858000"/>
              <a:gd name="connsiteX941" fmla="*/ 1339635 w 7467600"/>
              <a:gd name="connsiteY941" fmla="*/ 365517 h 6858000"/>
              <a:gd name="connsiteX942" fmla="*/ 1387469 w 7467600"/>
              <a:gd name="connsiteY942" fmla="*/ 523079 h 6858000"/>
              <a:gd name="connsiteX943" fmla="*/ 1452685 w 7467600"/>
              <a:gd name="connsiteY943" fmla="*/ 699806 h 6858000"/>
              <a:gd name="connsiteX944" fmla="*/ 1492092 w 7467600"/>
              <a:gd name="connsiteY944" fmla="*/ 800424 h 6858000"/>
              <a:gd name="connsiteX945" fmla="*/ 1455302 w 7467600"/>
              <a:gd name="connsiteY945" fmla="*/ 632913 h 6858000"/>
              <a:gd name="connsiteX946" fmla="*/ 1222336 w 7467600"/>
              <a:gd name="connsiteY946" fmla="*/ 9480 h 6858000"/>
              <a:gd name="connsiteX947" fmla="*/ 1214634 w 7467600"/>
              <a:gd name="connsiteY947" fmla="*/ 0 h 6858000"/>
              <a:gd name="connsiteX948" fmla="*/ 1289827 w 7467600"/>
              <a:gd name="connsiteY948" fmla="*/ 0 h 6858000"/>
              <a:gd name="connsiteX949" fmla="*/ 1321076 w 7467600"/>
              <a:gd name="connsiteY949" fmla="*/ 59722 h 6858000"/>
              <a:gd name="connsiteX950" fmla="*/ 1512579 w 7467600"/>
              <a:gd name="connsiteY950" fmla="*/ 626441 h 6858000"/>
              <a:gd name="connsiteX951" fmla="*/ 1506076 w 7467600"/>
              <a:gd name="connsiteY951" fmla="*/ 1089289 h 6858000"/>
              <a:gd name="connsiteX952" fmla="*/ 1486346 w 7467600"/>
              <a:gd name="connsiteY952" fmla="*/ 1079919 h 6858000"/>
              <a:gd name="connsiteX953" fmla="*/ 1070511 w 7467600"/>
              <a:gd name="connsiteY953" fmla="*/ 48609 h 6858000"/>
              <a:gd name="connsiteX954" fmla="*/ 1057230 w 7467600"/>
              <a:gd name="connsiteY954" fmla="*/ 0 h 6858000"/>
              <a:gd name="connsiteX955" fmla="*/ 43151 w 7467600"/>
              <a:gd name="connsiteY955" fmla="*/ 0 h 6858000"/>
              <a:gd name="connsiteX956" fmla="*/ 95283 w 7467600"/>
              <a:gd name="connsiteY956" fmla="*/ 0 h 6858000"/>
              <a:gd name="connsiteX957" fmla="*/ 300708 w 7467600"/>
              <a:gd name="connsiteY957" fmla="*/ 154571 h 6858000"/>
              <a:gd name="connsiteX958" fmla="*/ 530414 w 7467600"/>
              <a:gd name="connsiteY958" fmla="*/ 354673 h 6858000"/>
              <a:gd name="connsiteX959" fmla="*/ 333785 w 7467600"/>
              <a:gd name="connsiteY959" fmla="*/ 161564 h 6858000"/>
              <a:gd name="connsiteX960" fmla="*/ 147005 w 7467600"/>
              <a:gd name="connsiteY960" fmla="*/ 0 h 6858000"/>
              <a:gd name="connsiteX961" fmla="*/ 272509 w 7467600"/>
              <a:gd name="connsiteY961" fmla="*/ 0 h 6858000"/>
              <a:gd name="connsiteX962" fmla="*/ 326276 w 7467600"/>
              <a:gd name="connsiteY962" fmla="*/ 45847 h 6858000"/>
              <a:gd name="connsiteX963" fmla="*/ 823759 w 7467600"/>
              <a:gd name="connsiteY963" fmla="*/ 574145 h 6858000"/>
              <a:gd name="connsiteX964" fmla="*/ 811254 w 7467600"/>
              <a:gd name="connsiteY964" fmla="*/ 665546 h 6858000"/>
              <a:gd name="connsiteX965" fmla="*/ 154042 w 7467600"/>
              <a:gd name="connsiteY965" fmla="*/ 261522 h 6858000"/>
              <a:gd name="connsiteX966" fmla="*/ 13550 w 7467600"/>
              <a:gd name="connsiteY966" fmla="*/ 158423 h 6858000"/>
              <a:gd name="connsiteX967" fmla="*/ 0 w 7467600"/>
              <a:gd name="connsiteY967" fmla="*/ 146618 h 6858000"/>
              <a:gd name="connsiteX968" fmla="*/ 0 w 7467600"/>
              <a:gd name="connsiteY968" fmla="*/ 59161 h 6858000"/>
              <a:gd name="connsiteX969" fmla="*/ 45427 w 7467600"/>
              <a:gd name="connsiteY969" fmla="*/ 101078 h 6858000"/>
              <a:gd name="connsiteX970" fmla="*/ 630103 w 7467600"/>
              <a:gd name="connsiteY970" fmla="*/ 485885 h 6858000"/>
              <a:gd name="connsiteX971" fmla="*/ 532040 w 7467600"/>
              <a:gd name="connsiteY971" fmla="*/ 399359 h 6858000"/>
              <a:gd name="connsiteX972" fmla="*/ 517618 w 7467600"/>
              <a:gd name="connsiteY972" fmla="*/ 385726 h 6858000"/>
              <a:gd name="connsiteX973" fmla="*/ 285074 w 7467600"/>
              <a:gd name="connsiteY973" fmla="*/ 182755 h 6858000"/>
              <a:gd name="connsiteX974" fmla="*/ 43151 w 7467600"/>
              <a:gd name="connsiteY974"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7042773 w 7467600"/>
              <a:gd name="connsiteY74" fmla="*/ 5734011 h 6858000"/>
              <a:gd name="connsiteX75" fmla="*/ 6879594 w 7467600"/>
              <a:gd name="connsiteY75" fmla="*/ 5424547 h 6858000"/>
              <a:gd name="connsiteX76" fmla="*/ 7379510 w 7467600"/>
              <a:gd name="connsiteY76" fmla="*/ 5755454 h 6858000"/>
              <a:gd name="connsiteX77" fmla="*/ 7467600 w 7467600"/>
              <a:gd name="connsiteY77" fmla="*/ 5845526 h 6858000"/>
              <a:gd name="connsiteX78" fmla="*/ 7271900 w 7467600"/>
              <a:gd name="connsiteY78" fmla="*/ 5734551 h 6858000"/>
              <a:gd name="connsiteX79" fmla="*/ 7015907 w 7467600"/>
              <a:gd name="connsiteY79" fmla="*/ 5541548 h 6858000"/>
              <a:gd name="connsiteX80" fmla="*/ 7259646 w 7467600"/>
              <a:gd name="connsiteY80" fmla="*/ 5765985 h 6858000"/>
              <a:gd name="connsiteX81" fmla="*/ 7467600 w 7467600"/>
              <a:gd name="connsiteY81" fmla="*/ 6012219 h 6858000"/>
              <a:gd name="connsiteX82" fmla="*/ 6946849 w 7467600"/>
              <a:gd name="connsiteY82" fmla="*/ 5523271 h 6858000"/>
              <a:gd name="connsiteX83" fmla="*/ 7105827 w 7467600"/>
              <a:gd name="connsiteY83" fmla="*/ 5718700 h 6858000"/>
              <a:gd name="connsiteX84" fmla="*/ 7356878 w 7467600"/>
              <a:gd name="connsiteY84" fmla="*/ 5981332 h 6858000"/>
              <a:gd name="connsiteX85" fmla="*/ 7467600 w 7467600"/>
              <a:gd name="connsiteY85" fmla="*/ 6117703 h 6858000"/>
              <a:gd name="connsiteX86" fmla="*/ 7467600 w 7467600"/>
              <a:gd name="connsiteY86" fmla="*/ 6163634 h 6858000"/>
              <a:gd name="connsiteX87" fmla="*/ 7403637 w 7467600"/>
              <a:gd name="connsiteY87" fmla="*/ 6083957 h 6858000"/>
              <a:gd name="connsiteX88" fmla="*/ 7254615 w 7467600"/>
              <a:gd name="connsiteY88" fmla="*/ 5911918 h 6858000"/>
              <a:gd name="connsiteX89" fmla="*/ 7312589 w 7467600"/>
              <a:gd name="connsiteY89" fmla="*/ 5982309 h 6858000"/>
              <a:gd name="connsiteX90" fmla="*/ 7448321 w 7467600"/>
              <a:gd name="connsiteY90" fmla="*/ 6190991 h 6858000"/>
              <a:gd name="connsiteX91" fmla="*/ 7467600 w 7467600"/>
              <a:gd name="connsiteY91" fmla="*/ 6221686 h 6858000"/>
              <a:gd name="connsiteX92" fmla="*/ 7467600 w 7467600"/>
              <a:gd name="connsiteY92" fmla="*/ 6334256 h 6858000"/>
              <a:gd name="connsiteX93" fmla="*/ 7454976 w 7467600"/>
              <a:gd name="connsiteY93" fmla="*/ 6318297 h 6858000"/>
              <a:gd name="connsiteX94" fmla="*/ 7042773 w 7467600"/>
              <a:gd name="connsiteY94" fmla="*/ 5734011 h 6858000"/>
              <a:gd name="connsiteX95" fmla="*/ 1456157 w 7467600"/>
              <a:gd name="connsiteY95" fmla="*/ 5371404 h 6858000"/>
              <a:gd name="connsiteX96" fmla="*/ 1244432 w 7467600"/>
              <a:gd name="connsiteY96" fmla="*/ 5385601 h 6858000"/>
              <a:gd name="connsiteX97" fmla="*/ 973990 w 7467600"/>
              <a:gd name="connsiteY97" fmla="*/ 5424940 h 6858000"/>
              <a:gd name="connsiteX98" fmla="*/ 1103809 w 7467600"/>
              <a:gd name="connsiteY98" fmla="*/ 5433720 h 6858000"/>
              <a:gd name="connsiteX99" fmla="*/ 1123454 w 7467600"/>
              <a:gd name="connsiteY99" fmla="*/ 5435727 h 6858000"/>
              <a:gd name="connsiteX100" fmla="*/ 1737017 w 7467600"/>
              <a:gd name="connsiteY100" fmla="*/ 5452183 h 6858000"/>
              <a:gd name="connsiteX101" fmla="*/ 1824397 w 7467600"/>
              <a:gd name="connsiteY101" fmla="*/ 5447757 h 6858000"/>
              <a:gd name="connsiteX102" fmla="*/ 2070059 w 7467600"/>
              <a:gd name="connsiteY102" fmla="*/ 5441660 h 6858000"/>
              <a:gd name="connsiteX103" fmla="*/ 1456157 w 7467600"/>
              <a:gd name="connsiteY103" fmla="*/ 5371404 h 6858000"/>
              <a:gd name="connsiteX104" fmla="*/ 4988186 w 7467600"/>
              <a:gd name="connsiteY104" fmla="*/ 5216467 h 6858000"/>
              <a:gd name="connsiteX105" fmla="*/ 4777334 w 7467600"/>
              <a:gd name="connsiteY105" fmla="*/ 5406072 h 6858000"/>
              <a:gd name="connsiteX106" fmla="*/ 4718341 w 7467600"/>
              <a:gd name="connsiteY106" fmla="*/ 5468043 h 6858000"/>
              <a:gd name="connsiteX107" fmla="*/ 4604655 w 7467600"/>
              <a:gd name="connsiteY107" fmla="*/ 5583434 h 6858000"/>
              <a:gd name="connsiteX108" fmla="*/ 4565074 w 7467600"/>
              <a:gd name="connsiteY108" fmla="*/ 5618550 h 6858000"/>
              <a:gd name="connsiteX109" fmla="*/ 4988186 w 7467600"/>
              <a:gd name="connsiteY109" fmla="*/ 5216467 h 6858000"/>
              <a:gd name="connsiteX110" fmla="*/ 4978032 w 7467600"/>
              <a:gd name="connsiteY110" fmla="*/ 5183809 h 6858000"/>
              <a:gd name="connsiteX111" fmla="*/ 4463413 w 7467600"/>
              <a:gd name="connsiteY111" fmla="*/ 5615162 h 6858000"/>
              <a:gd name="connsiteX112" fmla="*/ 4358134 w 7467600"/>
              <a:gd name="connsiteY112" fmla="*/ 5742791 h 6858000"/>
              <a:gd name="connsiteX113" fmla="*/ 4376219 w 7467600"/>
              <a:gd name="connsiteY113" fmla="*/ 5729027 h 6858000"/>
              <a:gd name="connsiteX114" fmla="*/ 4582340 w 7467600"/>
              <a:gd name="connsiteY114" fmla="*/ 5561037 h 6858000"/>
              <a:gd name="connsiteX115" fmla="*/ 4694684 w 7467600"/>
              <a:gd name="connsiteY115" fmla="*/ 5447098 h 6858000"/>
              <a:gd name="connsiteX116" fmla="*/ 4754123 w 7467600"/>
              <a:gd name="connsiteY116" fmla="*/ 5384643 h 6858000"/>
              <a:gd name="connsiteX117" fmla="*/ 4978032 w 7467600"/>
              <a:gd name="connsiteY117" fmla="*/ 5183809 h 6858000"/>
              <a:gd name="connsiteX118" fmla="*/ 1903353 w 7467600"/>
              <a:gd name="connsiteY118" fmla="*/ 5044827 h 6858000"/>
              <a:gd name="connsiteX119" fmla="*/ 1936931 w 7467600"/>
              <a:gd name="connsiteY119" fmla="*/ 5093954 h 6858000"/>
              <a:gd name="connsiteX120" fmla="*/ 2195868 w 7467600"/>
              <a:gd name="connsiteY120" fmla="*/ 5396574 h 6858000"/>
              <a:gd name="connsiteX121" fmla="*/ 2088852 w 7467600"/>
              <a:gd name="connsiteY121" fmla="*/ 5166123 h 6858000"/>
              <a:gd name="connsiteX122" fmla="*/ 1958241 w 7467600"/>
              <a:gd name="connsiteY122" fmla="*/ 5067955 h 6858000"/>
              <a:gd name="connsiteX123" fmla="*/ 1903353 w 7467600"/>
              <a:gd name="connsiteY123" fmla="*/ 5044827 h 6858000"/>
              <a:gd name="connsiteX124" fmla="*/ 1979378 w 7467600"/>
              <a:gd name="connsiteY124" fmla="*/ 4769504 h 6858000"/>
              <a:gd name="connsiteX125" fmla="*/ 2882120 w 7467600"/>
              <a:gd name="connsiteY125" fmla="*/ 5064547 h 6858000"/>
              <a:gd name="connsiteX126" fmla="*/ 2793103 w 7467600"/>
              <a:gd name="connsiteY126" fmla="*/ 5039699 h 6858000"/>
              <a:gd name="connsiteX127" fmla="*/ 2770041 w 7467600"/>
              <a:gd name="connsiteY127" fmla="*/ 5033634 h 6858000"/>
              <a:gd name="connsiteX128" fmla="*/ 1979378 w 7467600"/>
              <a:gd name="connsiteY128" fmla="*/ 4769504 h 6858000"/>
              <a:gd name="connsiteX129" fmla="*/ 1927410 w 7467600"/>
              <a:gd name="connsiteY129" fmla="*/ 4716164 h 6858000"/>
              <a:gd name="connsiteX130" fmla="*/ 1959587 w 7467600"/>
              <a:gd name="connsiteY130" fmla="*/ 4728849 h 6858000"/>
              <a:gd name="connsiteX131" fmla="*/ 2777707 w 7467600"/>
              <a:gd name="connsiteY131" fmla="*/ 5003991 h 6858000"/>
              <a:gd name="connsiteX132" fmla="*/ 2800768 w 7467600"/>
              <a:gd name="connsiteY132" fmla="*/ 5010056 h 6858000"/>
              <a:gd name="connsiteX133" fmla="*/ 2879408 w 7467600"/>
              <a:gd name="connsiteY133" fmla="*/ 5031590 h 6858000"/>
              <a:gd name="connsiteX134" fmla="*/ 2862295 w 7467600"/>
              <a:gd name="connsiteY134" fmla="*/ 5022958 h 6858000"/>
              <a:gd name="connsiteX135" fmla="*/ 2813343 w 7467600"/>
              <a:gd name="connsiteY135" fmla="*/ 4998369 h 6858000"/>
              <a:gd name="connsiteX136" fmla="*/ 2646245 w 7467600"/>
              <a:gd name="connsiteY136" fmla="*/ 4930999 h 6858000"/>
              <a:gd name="connsiteX137" fmla="*/ 1999243 w 7467600"/>
              <a:gd name="connsiteY137" fmla="*/ 4730524 h 6858000"/>
              <a:gd name="connsiteX138" fmla="*/ 1979527 w 7467600"/>
              <a:gd name="connsiteY138" fmla="*/ 4726651 h 6858000"/>
              <a:gd name="connsiteX139" fmla="*/ 1927410 w 7467600"/>
              <a:gd name="connsiteY139" fmla="*/ 4716164 h 6858000"/>
              <a:gd name="connsiteX140" fmla="*/ 1997014 w 7467600"/>
              <a:gd name="connsiteY140" fmla="*/ 4698007 h 6858000"/>
              <a:gd name="connsiteX141" fmla="*/ 2005458 w 7467600"/>
              <a:gd name="connsiteY141" fmla="*/ 4699540 h 6858000"/>
              <a:gd name="connsiteX142" fmla="*/ 2657186 w 7467600"/>
              <a:gd name="connsiteY142" fmla="*/ 4901687 h 6858000"/>
              <a:gd name="connsiteX143" fmla="*/ 2826662 w 7467600"/>
              <a:gd name="connsiteY143" fmla="*/ 4970362 h 6858000"/>
              <a:gd name="connsiteX144" fmla="*/ 2876100 w 7467600"/>
              <a:gd name="connsiteY144" fmla="*/ 4995397 h 6858000"/>
              <a:gd name="connsiteX145" fmla="*/ 3042600 w 7467600"/>
              <a:gd name="connsiteY145" fmla="*/ 5059532 h 6858000"/>
              <a:gd name="connsiteX146" fmla="*/ 1997014 w 7467600"/>
              <a:gd name="connsiteY146" fmla="*/ 4698007 h 6858000"/>
              <a:gd name="connsiteX147" fmla="*/ 2305292 w 7467600"/>
              <a:gd name="connsiteY147" fmla="*/ 4219492 h 6858000"/>
              <a:gd name="connsiteX148" fmla="*/ 3360922 w 7467600"/>
              <a:gd name="connsiteY148" fmla="*/ 4529373 h 6858000"/>
              <a:gd name="connsiteX149" fmla="*/ 3492420 w 7467600"/>
              <a:gd name="connsiteY149" fmla="*/ 4510145 h 6858000"/>
              <a:gd name="connsiteX150" fmla="*/ 3364086 w 7467600"/>
              <a:gd name="connsiteY150" fmla="*/ 4480340 h 6858000"/>
              <a:gd name="connsiteX151" fmla="*/ 3225818 w 7467600"/>
              <a:gd name="connsiteY151" fmla="*/ 4411822 h 6858000"/>
              <a:gd name="connsiteX152" fmla="*/ 3129696 w 7467600"/>
              <a:gd name="connsiteY152" fmla="*/ 4360704 h 6858000"/>
              <a:gd name="connsiteX153" fmla="*/ 2814545 w 7467600"/>
              <a:gd name="connsiteY153" fmla="*/ 4282955 h 6858000"/>
              <a:gd name="connsiteX154" fmla="*/ 2305292 w 7467600"/>
              <a:gd name="connsiteY154" fmla="*/ 4219492 h 6858000"/>
              <a:gd name="connsiteX155" fmla="*/ 2626982 w 7467600"/>
              <a:gd name="connsiteY155" fmla="*/ 4206450 h 6858000"/>
              <a:gd name="connsiteX156" fmla="*/ 2490617 w 7467600"/>
              <a:gd name="connsiteY156" fmla="*/ 4206951 h 6858000"/>
              <a:gd name="connsiteX157" fmla="*/ 2819869 w 7467600"/>
              <a:gd name="connsiteY157" fmla="*/ 4252936 h 6858000"/>
              <a:gd name="connsiteX158" fmla="*/ 3143018 w 7467600"/>
              <a:gd name="connsiteY158" fmla="*/ 4332698 h 6858000"/>
              <a:gd name="connsiteX159" fmla="*/ 3241520 w 7467600"/>
              <a:gd name="connsiteY159" fmla="*/ 4385112 h 6858000"/>
              <a:gd name="connsiteX160" fmla="*/ 3374575 w 7467600"/>
              <a:gd name="connsiteY160" fmla="*/ 4451517 h 6858000"/>
              <a:gd name="connsiteX161" fmla="*/ 3505221 w 7467600"/>
              <a:gd name="connsiteY161" fmla="*/ 4480757 h 6858000"/>
              <a:gd name="connsiteX162" fmla="*/ 2626982 w 7467600"/>
              <a:gd name="connsiteY162" fmla="*/ 4206450 h 6858000"/>
              <a:gd name="connsiteX163" fmla="*/ 1310106 w 7467600"/>
              <a:gd name="connsiteY163" fmla="*/ 3943217 h 6858000"/>
              <a:gd name="connsiteX164" fmla="*/ 854994 w 7467600"/>
              <a:gd name="connsiteY164" fmla="*/ 4399136 h 6858000"/>
              <a:gd name="connsiteX165" fmla="*/ 742462 w 7467600"/>
              <a:gd name="connsiteY165" fmla="*/ 4594648 h 6858000"/>
              <a:gd name="connsiteX166" fmla="*/ 820602 w 7467600"/>
              <a:gd name="connsiteY166" fmla="*/ 4485915 h 6858000"/>
              <a:gd name="connsiteX167" fmla="*/ 878295 w 7467600"/>
              <a:gd name="connsiteY167" fmla="*/ 4403594 h 6858000"/>
              <a:gd name="connsiteX168" fmla="*/ 1240607 w 7467600"/>
              <a:gd name="connsiteY168" fmla="*/ 4010401 h 6858000"/>
              <a:gd name="connsiteX169" fmla="*/ 1310106 w 7467600"/>
              <a:gd name="connsiteY169" fmla="*/ 3943217 h 6858000"/>
              <a:gd name="connsiteX170" fmla="*/ 1423113 w 7467600"/>
              <a:gd name="connsiteY170" fmla="*/ 3874565 h 6858000"/>
              <a:gd name="connsiteX171" fmla="*/ 1260565 w 7467600"/>
              <a:gd name="connsiteY171" fmla="*/ 4031982 h 6858000"/>
              <a:gd name="connsiteX172" fmla="*/ 901900 w 7467600"/>
              <a:gd name="connsiteY172" fmla="*/ 4421236 h 6858000"/>
              <a:gd name="connsiteX173" fmla="*/ 845044 w 7467600"/>
              <a:gd name="connsiteY173" fmla="*/ 4502436 h 6858000"/>
              <a:gd name="connsiteX174" fmla="*/ 685926 w 7467600"/>
              <a:gd name="connsiteY174" fmla="*/ 4703069 h 6858000"/>
              <a:gd name="connsiteX175" fmla="*/ 684248 w 7467600"/>
              <a:gd name="connsiteY175" fmla="*/ 4706721 h 6858000"/>
              <a:gd name="connsiteX176" fmla="*/ 1423113 w 7467600"/>
              <a:gd name="connsiteY176" fmla="*/ 3874565 h 6858000"/>
              <a:gd name="connsiteX177" fmla="*/ 3316479 w 7467600"/>
              <a:gd name="connsiteY177" fmla="*/ 3872136 h 6858000"/>
              <a:gd name="connsiteX178" fmla="*/ 3546806 w 7467600"/>
              <a:gd name="connsiteY178" fmla="*/ 4356139 h 6858000"/>
              <a:gd name="connsiteX179" fmla="*/ 3364433 w 7467600"/>
              <a:gd name="connsiteY179" fmla="*/ 3953121 h 6858000"/>
              <a:gd name="connsiteX180" fmla="*/ 3316479 w 7467600"/>
              <a:gd name="connsiteY180" fmla="*/ 3872136 h 6858000"/>
              <a:gd name="connsiteX181" fmla="*/ 3291335 w 7467600"/>
              <a:gd name="connsiteY181" fmla="*/ 3767420 h 6858000"/>
              <a:gd name="connsiteX182" fmla="*/ 3390805 w 7467600"/>
              <a:gd name="connsiteY182" fmla="*/ 3937163 h 6858000"/>
              <a:gd name="connsiteX183" fmla="*/ 3579062 w 7467600"/>
              <a:gd name="connsiteY183" fmla="*/ 4359040 h 6858000"/>
              <a:gd name="connsiteX184" fmla="*/ 3467355 w 7467600"/>
              <a:gd name="connsiteY184" fmla="*/ 3988130 h 6858000"/>
              <a:gd name="connsiteX185" fmla="*/ 3310753 w 7467600"/>
              <a:gd name="connsiteY185" fmla="*/ 3787140 h 6858000"/>
              <a:gd name="connsiteX186" fmla="*/ 3291335 w 7467600"/>
              <a:gd name="connsiteY186" fmla="*/ 3767420 h 6858000"/>
              <a:gd name="connsiteX187" fmla="*/ 1635889 w 7467600"/>
              <a:gd name="connsiteY187" fmla="*/ 3709494 h 6858000"/>
              <a:gd name="connsiteX188" fmla="*/ 1634800 w 7467600"/>
              <a:gd name="connsiteY188" fmla="*/ 3731111 h 6858000"/>
              <a:gd name="connsiteX189" fmla="*/ 1635889 w 7467600"/>
              <a:gd name="connsiteY189" fmla="*/ 3709494 h 6858000"/>
              <a:gd name="connsiteX190" fmla="*/ 1510397 w 7467600"/>
              <a:gd name="connsiteY190" fmla="*/ 3684705 h 6858000"/>
              <a:gd name="connsiteX191" fmla="*/ 1146550 w 7467600"/>
              <a:gd name="connsiteY191" fmla="*/ 3802012 h 6858000"/>
              <a:gd name="connsiteX192" fmla="*/ 698834 w 7467600"/>
              <a:gd name="connsiteY192" fmla="*/ 3952272 h 6858000"/>
              <a:gd name="connsiteX193" fmla="*/ 34256 w 7467600"/>
              <a:gd name="connsiteY193" fmla="*/ 4347603 h 6858000"/>
              <a:gd name="connsiteX194" fmla="*/ 527241 w 7467600"/>
              <a:gd name="connsiteY194" fmla="*/ 4065078 h 6858000"/>
              <a:gd name="connsiteX195" fmla="*/ 1510397 w 7467600"/>
              <a:gd name="connsiteY195" fmla="*/ 3684705 h 6858000"/>
              <a:gd name="connsiteX196" fmla="*/ 1313114 w 7467600"/>
              <a:gd name="connsiteY196" fmla="*/ 3655216 h 6858000"/>
              <a:gd name="connsiteX197" fmla="*/ 1109304 w 7467600"/>
              <a:gd name="connsiteY197" fmla="*/ 3669030 h 6858000"/>
              <a:gd name="connsiteX198" fmla="*/ 8129 w 7467600"/>
              <a:gd name="connsiteY198" fmla="*/ 4330519 h 6858000"/>
              <a:gd name="connsiteX199" fmla="*/ 687572 w 7467600"/>
              <a:gd name="connsiteY199" fmla="*/ 3925629 h 6858000"/>
              <a:gd name="connsiteX200" fmla="*/ 1138365 w 7467600"/>
              <a:gd name="connsiteY200" fmla="*/ 3774515 h 6858000"/>
              <a:gd name="connsiteX201" fmla="*/ 1505579 w 7467600"/>
              <a:gd name="connsiteY201" fmla="*/ 3655526 h 6858000"/>
              <a:gd name="connsiteX202" fmla="*/ 1313114 w 7467600"/>
              <a:gd name="connsiteY202" fmla="*/ 3655216 h 6858000"/>
              <a:gd name="connsiteX203" fmla="*/ 3655073 w 7467600"/>
              <a:gd name="connsiteY203" fmla="*/ 3650884 h 6858000"/>
              <a:gd name="connsiteX204" fmla="*/ 3989938 w 7467600"/>
              <a:gd name="connsiteY204" fmla="*/ 3991685 h 6858000"/>
              <a:gd name="connsiteX205" fmla="*/ 4393907 w 7467600"/>
              <a:gd name="connsiteY205" fmla="*/ 4261258 h 6858000"/>
              <a:gd name="connsiteX206" fmla="*/ 4648051 w 7467600"/>
              <a:gd name="connsiteY206" fmla="*/ 4374051 h 6858000"/>
              <a:gd name="connsiteX207" fmla="*/ 4383389 w 7467600"/>
              <a:gd name="connsiteY207" fmla="*/ 4184369 h 6858000"/>
              <a:gd name="connsiteX208" fmla="*/ 4165508 w 7467600"/>
              <a:gd name="connsiteY208" fmla="*/ 4035196 h 6858000"/>
              <a:gd name="connsiteX209" fmla="*/ 4068162 w 7467600"/>
              <a:gd name="connsiteY209" fmla="*/ 3953394 h 6858000"/>
              <a:gd name="connsiteX210" fmla="*/ 3981416 w 7467600"/>
              <a:gd name="connsiteY210" fmla="*/ 3880482 h 6858000"/>
              <a:gd name="connsiteX211" fmla="*/ 3800147 w 7467600"/>
              <a:gd name="connsiteY211" fmla="*/ 3749872 h 6858000"/>
              <a:gd name="connsiteX212" fmla="*/ 3655073 w 7467600"/>
              <a:gd name="connsiteY212" fmla="*/ 3650884 h 6858000"/>
              <a:gd name="connsiteX213" fmla="*/ 3670252 w 7467600"/>
              <a:gd name="connsiteY213" fmla="*/ 3622798 h 6858000"/>
              <a:gd name="connsiteX214" fmla="*/ 3817258 w 7467600"/>
              <a:gd name="connsiteY214" fmla="*/ 3723577 h 6858000"/>
              <a:gd name="connsiteX215" fmla="*/ 4000461 w 7467600"/>
              <a:gd name="connsiteY215" fmla="*/ 3855966 h 6858000"/>
              <a:gd name="connsiteX216" fmla="*/ 4088180 w 7467600"/>
              <a:gd name="connsiteY216" fmla="*/ 3929774 h 6858000"/>
              <a:gd name="connsiteX217" fmla="*/ 4184555 w 7467600"/>
              <a:gd name="connsiteY217" fmla="*/ 4010683 h 6858000"/>
              <a:gd name="connsiteX218" fmla="*/ 4399563 w 7467600"/>
              <a:gd name="connsiteY218" fmla="*/ 4158106 h 6858000"/>
              <a:gd name="connsiteX219" fmla="*/ 4684469 w 7467600"/>
              <a:gd name="connsiteY219" fmla="*/ 4364680 h 6858000"/>
              <a:gd name="connsiteX220" fmla="*/ 4690271 w 7467600"/>
              <a:gd name="connsiteY220" fmla="*/ 4370034 h 6858000"/>
              <a:gd name="connsiteX221" fmla="*/ 4136093 w 7467600"/>
              <a:gd name="connsiteY221" fmla="*/ 3858466 h 6858000"/>
              <a:gd name="connsiteX222" fmla="*/ 3670252 w 7467600"/>
              <a:gd name="connsiteY222" fmla="*/ 3622798 h 6858000"/>
              <a:gd name="connsiteX223" fmla="*/ 4440129 w 7467600"/>
              <a:gd name="connsiteY223" fmla="*/ 3448571 h 6858000"/>
              <a:gd name="connsiteX224" fmla="*/ 4856525 w 7467600"/>
              <a:gd name="connsiteY224" fmla="*/ 3915351 h 6858000"/>
              <a:gd name="connsiteX225" fmla="*/ 5059055 w 7467600"/>
              <a:gd name="connsiteY225" fmla="*/ 4108918 h 6858000"/>
              <a:gd name="connsiteX226" fmla="*/ 5290070 w 7467600"/>
              <a:gd name="connsiteY226" fmla="*/ 4263619 h 6858000"/>
              <a:gd name="connsiteX227" fmla="*/ 4834991 w 7467600"/>
              <a:gd name="connsiteY227" fmla="*/ 3830985 h 6858000"/>
              <a:gd name="connsiteX228" fmla="*/ 4440129 w 7467600"/>
              <a:gd name="connsiteY228" fmla="*/ 3448571 h 6858000"/>
              <a:gd name="connsiteX229" fmla="*/ 4441737 w 7467600"/>
              <a:gd name="connsiteY229" fmla="*/ 3399734 h 6858000"/>
              <a:gd name="connsiteX230" fmla="*/ 4431236 w 7467600"/>
              <a:gd name="connsiteY230" fmla="*/ 3400954 h 6858000"/>
              <a:gd name="connsiteX231" fmla="*/ 4557150 w 7467600"/>
              <a:gd name="connsiteY231" fmla="*/ 3510023 h 6858000"/>
              <a:gd name="connsiteX232" fmla="*/ 4856936 w 7467600"/>
              <a:gd name="connsiteY232" fmla="*/ 3809146 h 6858000"/>
              <a:gd name="connsiteX233" fmla="*/ 5111996 w 7467600"/>
              <a:gd name="connsiteY233" fmla="*/ 4065759 h 6858000"/>
              <a:gd name="connsiteX234" fmla="*/ 5388878 w 7467600"/>
              <a:gd name="connsiteY234" fmla="*/ 4300185 h 6858000"/>
              <a:gd name="connsiteX235" fmla="*/ 5425556 w 7467600"/>
              <a:gd name="connsiteY235" fmla="*/ 4308967 h 6858000"/>
              <a:gd name="connsiteX236" fmla="*/ 4943646 w 7467600"/>
              <a:gd name="connsiteY236" fmla="*/ 3822916 h 6858000"/>
              <a:gd name="connsiteX237" fmla="*/ 4594837 w 7467600"/>
              <a:gd name="connsiteY237" fmla="*/ 3532274 h 6858000"/>
              <a:gd name="connsiteX238" fmla="*/ 4441737 w 7467600"/>
              <a:gd name="connsiteY238" fmla="*/ 3399734 h 6858000"/>
              <a:gd name="connsiteX239" fmla="*/ 5425834 w 7467600"/>
              <a:gd name="connsiteY239" fmla="*/ 3162785 h 6858000"/>
              <a:gd name="connsiteX240" fmla="*/ 5401644 w 7467600"/>
              <a:gd name="connsiteY240" fmla="*/ 3617847 h 6858000"/>
              <a:gd name="connsiteX241" fmla="*/ 5467256 w 7467600"/>
              <a:gd name="connsiteY241" fmla="*/ 4175494 h 6858000"/>
              <a:gd name="connsiteX242" fmla="*/ 5448069 w 7467600"/>
              <a:gd name="connsiteY242" fmla="*/ 3567554 h 6858000"/>
              <a:gd name="connsiteX243" fmla="*/ 5425834 w 7467600"/>
              <a:gd name="connsiteY243" fmla="*/ 3162785 h 6858000"/>
              <a:gd name="connsiteX244" fmla="*/ 1318687 w 7467600"/>
              <a:gd name="connsiteY244" fmla="*/ 3113840 h 6858000"/>
              <a:gd name="connsiteX245" fmla="*/ 1066793 w 7467600"/>
              <a:gd name="connsiteY245" fmla="*/ 3212171 h 6858000"/>
              <a:gd name="connsiteX246" fmla="*/ 993319 w 7467600"/>
              <a:gd name="connsiteY246" fmla="*/ 3247648 h 6858000"/>
              <a:gd name="connsiteX247" fmla="*/ 853081 w 7467600"/>
              <a:gd name="connsiteY247" fmla="*/ 3312410 h 6858000"/>
              <a:gd name="connsiteX248" fmla="*/ 805957 w 7467600"/>
              <a:gd name="connsiteY248" fmla="*/ 3330443 h 6858000"/>
              <a:gd name="connsiteX249" fmla="*/ 1318687 w 7467600"/>
              <a:gd name="connsiteY249" fmla="*/ 3113840 h 6858000"/>
              <a:gd name="connsiteX250" fmla="*/ 5453702 w 7467600"/>
              <a:gd name="connsiteY250" fmla="*/ 3090882 h 6858000"/>
              <a:gd name="connsiteX251" fmla="*/ 5480135 w 7467600"/>
              <a:gd name="connsiteY251" fmla="*/ 3565802 h 6858000"/>
              <a:gd name="connsiteX252" fmla="*/ 5499023 w 7467600"/>
              <a:gd name="connsiteY252" fmla="*/ 4166310 h 6858000"/>
              <a:gd name="connsiteX253" fmla="*/ 5547022 w 7467600"/>
              <a:gd name="connsiteY253" fmla="*/ 3607838 h 6858000"/>
              <a:gd name="connsiteX254" fmla="*/ 5515964 w 7467600"/>
              <a:gd name="connsiteY254" fmla="*/ 3378541 h 6858000"/>
              <a:gd name="connsiteX255" fmla="*/ 5453702 w 7467600"/>
              <a:gd name="connsiteY255" fmla="*/ 3090882 h 6858000"/>
              <a:gd name="connsiteX256" fmla="*/ 1238695 w 7467600"/>
              <a:gd name="connsiteY256" fmla="*/ 3076820 h 6858000"/>
              <a:gd name="connsiteX257" fmla="*/ 716371 w 7467600"/>
              <a:gd name="connsiteY257" fmla="*/ 3293249 h 6858000"/>
              <a:gd name="connsiteX258" fmla="*/ 579522 w 7467600"/>
              <a:gd name="connsiteY258" fmla="*/ 3371759 h 6858000"/>
              <a:gd name="connsiteX259" fmla="*/ 600288 w 7467600"/>
              <a:gd name="connsiteY259" fmla="*/ 3365555 h 6858000"/>
              <a:gd name="connsiteX260" fmla="*/ 840692 w 7467600"/>
              <a:gd name="connsiteY260" fmla="*/ 3284921 h 6858000"/>
              <a:gd name="connsiteX261" fmla="*/ 979248 w 7467600"/>
              <a:gd name="connsiteY261" fmla="*/ 3221003 h 6858000"/>
              <a:gd name="connsiteX262" fmla="*/ 1053282 w 7467600"/>
              <a:gd name="connsiteY262" fmla="*/ 3185247 h 6858000"/>
              <a:gd name="connsiteX263" fmla="*/ 1320603 w 7467600"/>
              <a:gd name="connsiteY263" fmla="*/ 3081281 h 6858000"/>
              <a:gd name="connsiteX264" fmla="*/ 1238695 w 7467600"/>
              <a:gd name="connsiteY264" fmla="*/ 3076820 h 6858000"/>
              <a:gd name="connsiteX265" fmla="*/ 5425627 w 7467600"/>
              <a:gd name="connsiteY265" fmla="*/ 2954192 h 6858000"/>
              <a:gd name="connsiteX266" fmla="*/ 5470770 w 7467600"/>
              <a:gd name="connsiteY266" fmla="*/ 3005435 h 6858000"/>
              <a:gd name="connsiteX267" fmla="*/ 5519779 w 7467600"/>
              <a:gd name="connsiteY267" fmla="*/ 4359223 h 6858000"/>
              <a:gd name="connsiteX268" fmla="*/ 5520293 w 7467600"/>
              <a:gd name="connsiteY268" fmla="*/ 4360602 h 6858000"/>
              <a:gd name="connsiteX269" fmla="*/ 5767221 w 7467600"/>
              <a:gd name="connsiteY269" fmla="*/ 4665564 h 6858000"/>
              <a:gd name="connsiteX270" fmla="*/ 6937169 w 7467600"/>
              <a:gd name="connsiteY270" fmla="*/ 4815941 h 6858000"/>
              <a:gd name="connsiteX271" fmla="*/ 6953922 w 7467600"/>
              <a:gd name="connsiteY271" fmla="*/ 4890068 h 6858000"/>
              <a:gd name="connsiteX272" fmla="*/ 6071359 w 7467600"/>
              <a:gd name="connsiteY272" fmla="*/ 4770770 h 6858000"/>
              <a:gd name="connsiteX273" fmla="*/ 6038839 w 7467600"/>
              <a:gd name="connsiteY273" fmla="*/ 4764474 h 6858000"/>
              <a:gd name="connsiteX274" fmla="*/ 6038706 w 7467600"/>
              <a:gd name="connsiteY274" fmla="*/ 4763847 h 6858000"/>
              <a:gd name="connsiteX275" fmla="*/ 6037784 w 7467600"/>
              <a:gd name="connsiteY275" fmla="*/ 4764270 h 6858000"/>
              <a:gd name="connsiteX276" fmla="*/ 6038839 w 7467600"/>
              <a:gd name="connsiteY276" fmla="*/ 4764474 h 6858000"/>
              <a:gd name="connsiteX277" fmla="*/ 6040338 w 7467600"/>
              <a:gd name="connsiteY277" fmla="*/ 4771418 h 6858000"/>
              <a:gd name="connsiteX278" fmla="*/ 6024488 w 7467600"/>
              <a:gd name="connsiteY278" fmla="*/ 4809903 h 6858000"/>
              <a:gd name="connsiteX279" fmla="*/ 5599771 w 7467600"/>
              <a:gd name="connsiteY279" fmla="*/ 5509652 h 6858000"/>
              <a:gd name="connsiteX280" fmla="*/ 5548843 w 7467600"/>
              <a:gd name="connsiteY280" fmla="*/ 5563845 h 6858000"/>
              <a:gd name="connsiteX281" fmla="*/ 5940952 w 7467600"/>
              <a:gd name="connsiteY281" fmla="*/ 6250028 h 6858000"/>
              <a:gd name="connsiteX282" fmla="*/ 6043441 w 7467600"/>
              <a:gd name="connsiteY282" fmla="*/ 6665847 h 6858000"/>
              <a:gd name="connsiteX283" fmla="*/ 6093432 w 7467600"/>
              <a:gd name="connsiteY283" fmla="*/ 6858000 h 6858000"/>
              <a:gd name="connsiteX284" fmla="*/ 6034344 w 7467600"/>
              <a:gd name="connsiteY284" fmla="*/ 6858000 h 6858000"/>
              <a:gd name="connsiteX285" fmla="*/ 6026679 w 7467600"/>
              <a:gd name="connsiteY285" fmla="*/ 6836959 h 6858000"/>
              <a:gd name="connsiteX286" fmla="*/ 5800441 w 7467600"/>
              <a:gd name="connsiteY286" fmla="*/ 6335286 h 6858000"/>
              <a:gd name="connsiteX287" fmla="*/ 5526562 w 7467600"/>
              <a:gd name="connsiteY287" fmla="*/ 5705388 h 6858000"/>
              <a:gd name="connsiteX288" fmla="*/ 5519640 w 7467600"/>
              <a:gd name="connsiteY288" fmla="*/ 5683774 h 6858000"/>
              <a:gd name="connsiteX289" fmla="*/ 5844559 w 7467600"/>
              <a:gd name="connsiteY289" fmla="*/ 6553349 h 6858000"/>
              <a:gd name="connsiteX290" fmla="*/ 5975994 w 7467600"/>
              <a:gd name="connsiteY290" fmla="*/ 6858000 h 6858000"/>
              <a:gd name="connsiteX291" fmla="*/ 5898547 w 7467600"/>
              <a:gd name="connsiteY291" fmla="*/ 6858000 h 6858000"/>
              <a:gd name="connsiteX292" fmla="*/ 5682041 w 7467600"/>
              <a:gd name="connsiteY292" fmla="*/ 6355860 h 6858000"/>
              <a:gd name="connsiteX293" fmla="*/ 5461758 w 7467600"/>
              <a:gd name="connsiteY293" fmla="*/ 5820220 h 6858000"/>
              <a:gd name="connsiteX294" fmla="*/ 5237282 w 7467600"/>
              <a:gd name="connsiteY294" fmla="*/ 6579086 h 6858000"/>
              <a:gd name="connsiteX295" fmla="*/ 5115009 w 7467600"/>
              <a:gd name="connsiteY295" fmla="*/ 6858000 h 6858000"/>
              <a:gd name="connsiteX296" fmla="*/ 5028074 w 7467600"/>
              <a:gd name="connsiteY296" fmla="*/ 6858000 h 6858000"/>
              <a:gd name="connsiteX297" fmla="*/ 5079508 w 7467600"/>
              <a:gd name="connsiteY297" fmla="*/ 6749074 h 6858000"/>
              <a:gd name="connsiteX298" fmla="*/ 5371846 w 7467600"/>
              <a:gd name="connsiteY298" fmla="*/ 5924413 h 6858000"/>
              <a:gd name="connsiteX299" fmla="*/ 5270512 w 7467600"/>
              <a:gd name="connsiteY299" fmla="*/ 6138975 h 6858000"/>
              <a:gd name="connsiteX300" fmla="*/ 5062409 w 7467600"/>
              <a:gd name="connsiteY300" fmla="*/ 6653544 h 6858000"/>
              <a:gd name="connsiteX301" fmla="*/ 5036628 w 7467600"/>
              <a:gd name="connsiteY301" fmla="*/ 6754247 h 6858000"/>
              <a:gd name="connsiteX302" fmla="*/ 5009112 w 7467600"/>
              <a:gd name="connsiteY302" fmla="*/ 6858000 h 6858000"/>
              <a:gd name="connsiteX303" fmla="*/ 4976679 w 7467600"/>
              <a:gd name="connsiteY303" fmla="*/ 6858000 h 6858000"/>
              <a:gd name="connsiteX304" fmla="*/ 5006537 w 7467600"/>
              <a:gd name="connsiteY304" fmla="*/ 6747068 h 6858000"/>
              <a:gd name="connsiteX305" fmla="*/ 5032723 w 7467600"/>
              <a:gd name="connsiteY305" fmla="*/ 6644957 h 6858000"/>
              <a:gd name="connsiteX306" fmla="*/ 5242949 w 7467600"/>
              <a:gd name="connsiteY306" fmla="*/ 6125175 h 6858000"/>
              <a:gd name="connsiteX307" fmla="*/ 5286321 w 7467600"/>
              <a:gd name="connsiteY307" fmla="*/ 6033555 h 6858000"/>
              <a:gd name="connsiteX308" fmla="*/ 5008210 w 7467600"/>
              <a:gd name="connsiteY308" fmla="*/ 6649194 h 6858000"/>
              <a:gd name="connsiteX309" fmla="*/ 4986321 w 7467600"/>
              <a:gd name="connsiteY309" fmla="*/ 6765687 h 6858000"/>
              <a:gd name="connsiteX310" fmla="*/ 4973474 w 7467600"/>
              <a:gd name="connsiteY310" fmla="*/ 6858000 h 6858000"/>
              <a:gd name="connsiteX311" fmla="*/ 4907178 w 7467600"/>
              <a:gd name="connsiteY311" fmla="*/ 6858000 h 6858000"/>
              <a:gd name="connsiteX312" fmla="*/ 4910810 w 7467600"/>
              <a:gd name="connsiteY312" fmla="*/ 6829660 h 6858000"/>
              <a:gd name="connsiteX313" fmla="*/ 4987461 w 7467600"/>
              <a:gd name="connsiteY313" fmla="*/ 6432994 h 6858000"/>
              <a:gd name="connsiteX314" fmla="*/ 5179262 w 7467600"/>
              <a:gd name="connsiteY314" fmla="*/ 6035044 h 6858000"/>
              <a:gd name="connsiteX315" fmla="*/ 4689678 w 7467600"/>
              <a:gd name="connsiteY315" fmla="*/ 6440241 h 6858000"/>
              <a:gd name="connsiteX316" fmla="*/ 4477543 w 7467600"/>
              <a:gd name="connsiteY316" fmla="*/ 6674836 h 6858000"/>
              <a:gd name="connsiteX317" fmla="*/ 4329957 w 7467600"/>
              <a:gd name="connsiteY317" fmla="*/ 6858000 h 6858000"/>
              <a:gd name="connsiteX318" fmla="*/ 4218595 w 7467600"/>
              <a:gd name="connsiteY318" fmla="*/ 6858000 h 6858000"/>
              <a:gd name="connsiteX319" fmla="*/ 4368888 w 7467600"/>
              <a:gd name="connsiteY319" fmla="*/ 6668412 h 6858000"/>
              <a:gd name="connsiteX320" fmla="*/ 4563091 w 7467600"/>
              <a:gd name="connsiteY320" fmla="*/ 6442508 h 6858000"/>
              <a:gd name="connsiteX321" fmla="*/ 5387324 w 7467600"/>
              <a:gd name="connsiteY321" fmla="*/ 5705830 h 6858000"/>
              <a:gd name="connsiteX322" fmla="*/ 5073620 w 7467600"/>
              <a:gd name="connsiteY322" fmla="*/ 5955437 h 6858000"/>
              <a:gd name="connsiteX323" fmla="*/ 4689789 w 7467600"/>
              <a:gd name="connsiteY323" fmla="*/ 6268382 h 6858000"/>
              <a:gd name="connsiteX324" fmla="*/ 4418722 w 7467600"/>
              <a:gd name="connsiteY324" fmla="*/ 6570886 h 6858000"/>
              <a:gd name="connsiteX325" fmla="*/ 4214944 w 7467600"/>
              <a:gd name="connsiteY325" fmla="*/ 6858000 h 6858000"/>
              <a:gd name="connsiteX326" fmla="*/ 4177898 w 7467600"/>
              <a:gd name="connsiteY326" fmla="*/ 6858000 h 6858000"/>
              <a:gd name="connsiteX327" fmla="*/ 4391597 w 7467600"/>
              <a:gd name="connsiteY327" fmla="*/ 6556370 h 6858000"/>
              <a:gd name="connsiteX328" fmla="*/ 4668889 w 7467600"/>
              <a:gd name="connsiteY328" fmla="*/ 6246399 h 6858000"/>
              <a:gd name="connsiteX329" fmla="*/ 5055427 w 7467600"/>
              <a:gd name="connsiteY329" fmla="*/ 5931476 h 6858000"/>
              <a:gd name="connsiteX330" fmla="*/ 5371814 w 7467600"/>
              <a:gd name="connsiteY330" fmla="*/ 5678975 h 6858000"/>
              <a:gd name="connsiteX331" fmla="*/ 4987918 w 7467600"/>
              <a:gd name="connsiteY331" fmla="*/ 5838701 h 6858000"/>
              <a:gd name="connsiteX332" fmla="*/ 4317146 w 7467600"/>
              <a:gd name="connsiteY332" fmla="*/ 6587716 h 6858000"/>
              <a:gd name="connsiteX333" fmla="*/ 4171627 w 7467600"/>
              <a:gd name="connsiteY333" fmla="*/ 6858000 h 6858000"/>
              <a:gd name="connsiteX334" fmla="*/ 4081585 w 7467600"/>
              <a:gd name="connsiteY334" fmla="*/ 6858000 h 6858000"/>
              <a:gd name="connsiteX335" fmla="*/ 4238603 w 7467600"/>
              <a:gd name="connsiteY335" fmla="*/ 6559341 h 6858000"/>
              <a:gd name="connsiteX336" fmla="*/ 4778333 w 7467600"/>
              <a:gd name="connsiteY336" fmla="*/ 5873626 h 6858000"/>
              <a:gd name="connsiteX337" fmla="*/ 5414185 w 7467600"/>
              <a:gd name="connsiteY337" fmla="*/ 5573882 h 6858000"/>
              <a:gd name="connsiteX338" fmla="*/ 5959648 w 7467600"/>
              <a:gd name="connsiteY338" fmla="*/ 4760797 h 6858000"/>
              <a:gd name="connsiteX339" fmla="*/ 5355019 w 7467600"/>
              <a:gd name="connsiteY339" fmla="*/ 4734672 h 6858000"/>
              <a:gd name="connsiteX340" fmla="*/ 5083565 w 7467600"/>
              <a:gd name="connsiteY340" fmla="*/ 5179121 h 6858000"/>
              <a:gd name="connsiteX341" fmla="*/ 4713577 w 7467600"/>
              <a:gd name="connsiteY341" fmla="*/ 5616803 h 6858000"/>
              <a:gd name="connsiteX342" fmla="*/ 3989559 w 7467600"/>
              <a:gd name="connsiteY342" fmla="*/ 6145945 h 6858000"/>
              <a:gd name="connsiteX343" fmla="*/ 3939824 w 7467600"/>
              <a:gd name="connsiteY343" fmla="*/ 6066900 h 6858000"/>
              <a:gd name="connsiteX344" fmla="*/ 4584537 w 7467600"/>
              <a:gd name="connsiteY344" fmla="*/ 5324826 h 6858000"/>
              <a:gd name="connsiteX345" fmla="*/ 5037105 w 7467600"/>
              <a:gd name="connsiteY345" fmla="*/ 5088765 h 6858000"/>
              <a:gd name="connsiteX346" fmla="*/ 5039930 w 7467600"/>
              <a:gd name="connsiteY346" fmla="*/ 5089585 h 6858000"/>
              <a:gd name="connsiteX347" fmla="*/ 5263764 w 7467600"/>
              <a:gd name="connsiteY347" fmla="*/ 4735525 h 6858000"/>
              <a:gd name="connsiteX348" fmla="*/ 4086300 w 7467600"/>
              <a:gd name="connsiteY348" fmla="*/ 4884599 h 6858000"/>
              <a:gd name="connsiteX349" fmla="*/ 4085485 w 7467600"/>
              <a:gd name="connsiteY349" fmla="*/ 4899070 h 6858000"/>
              <a:gd name="connsiteX350" fmla="*/ 3871915 w 7467600"/>
              <a:gd name="connsiteY350" fmla="*/ 5253645 h 6858000"/>
              <a:gd name="connsiteX351" fmla="*/ 3799374 w 7467600"/>
              <a:gd name="connsiteY351" fmla="*/ 5466127 h 6858000"/>
              <a:gd name="connsiteX352" fmla="*/ 3498850 w 7467600"/>
              <a:gd name="connsiteY352" fmla="*/ 6661888 h 6858000"/>
              <a:gd name="connsiteX353" fmla="*/ 3399216 w 7467600"/>
              <a:gd name="connsiteY353" fmla="*/ 6858000 h 6858000"/>
              <a:gd name="connsiteX354" fmla="*/ 3303688 w 7467600"/>
              <a:gd name="connsiteY354" fmla="*/ 6858000 h 6858000"/>
              <a:gd name="connsiteX355" fmla="*/ 3391774 w 7467600"/>
              <a:gd name="connsiteY355" fmla="*/ 6697181 h 6858000"/>
              <a:gd name="connsiteX356" fmla="*/ 3735540 w 7467600"/>
              <a:gd name="connsiteY356" fmla="*/ 5546923 h 6858000"/>
              <a:gd name="connsiteX357" fmla="*/ 3729438 w 7467600"/>
              <a:gd name="connsiteY357" fmla="*/ 5569058 h 6858000"/>
              <a:gd name="connsiteX358" fmla="*/ 3707782 w 7467600"/>
              <a:gd name="connsiteY358" fmla="*/ 5644908 h 6858000"/>
              <a:gd name="connsiteX359" fmla="*/ 3583827 w 7467600"/>
              <a:gd name="connsiteY359" fmla="*/ 6039215 h 6858000"/>
              <a:gd name="connsiteX360" fmla="*/ 3547861 w 7467600"/>
              <a:gd name="connsiteY360" fmla="*/ 6129609 h 6858000"/>
              <a:gd name="connsiteX361" fmla="*/ 3490905 w 7467600"/>
              <a:gd name="connsiteY361" fmla="*/ 6277660 h 6858000"/>
              <a:gd name="connsiteX362" fmla="*/ 3455859 w 7467600"/>
              <a:gd name="connsiteY362" fmla="*/ 6391301 h 6858000"/>
              <a:gd name="connsiteX363" fmla="*/ 3429112 w 7467600"/>
              <a:gd name="connsiteY363" fmla="*/ 6479469 h 6858000"/>
              <a:gd name="connsiteX364" fmla="*/ 3304862 w 7467600"/>
              <a:gd name="connsiteY364" fmla="*/ 6796476 h 6858000"/>
              <a:gd name="connsiteX365" fmla="*/ 3276071 w 7467600"/>
              <a:gd name="connsiteY365" fmla="*/ 6858000 h 6858000"/>
              <a:gd name="connsiteX366" fmla="*/ 3240805 w 7467600"/>
              <a:gd name="connsiteY366" fmla="*/ 6858000 h 6858000"/>
              <a:gd name="connsiteX367" fmla="*/ 3275917 w 7467600"/>
              <a:gd name="connsiteY367" fmla="*/ 6783192 h 6858000"/>
              <a:gd name="connsiteX368" fmla="*/ 3399358 w 7467600"/>
              <a:gd name="connsiteY368" fmla="*/ 6469011 h 6858000"/>
              <a:gd name="connsiteX369" fmla="*/ 3425650 w 7467600"/>
              <a:gd name="connsiteY369" fmla="*/ 6381333 h 6858000"/>
              <a:gd name="connsiteX370" fmla="*/ 3460661 w 7467600"/>
              <a:gd name="connsiteY370" fmla="*/ 6266763 h 6858000"/>
              <a:gd name="connsiteX371" fmla="*/ 3518021 w 7467600"/>
              <a:gd name="connsiteY371" fmla="*/ 6117298 h 6858000"/>
              <a:gd name="connsiteX372" fmla="*/ 3554035 w 7467600"/>
              <a:gd name="connsiteY372" fmla="*/ 6027832 h 6858000"/>
              <a:gd name="connsiteX373" fmla="*/ 3677174 w 7467600"/>
              <a:gd name="connsiteY373" fmla="*/ 5636351 h 6858000"/>
              <a:gd name="connsiteX374" fmla="*/ 3698819 w 7467600"/>
              <a:gd name="connsiteY374" fmla="*/ 5560503 h 6858000"/>
              <a:gd name="connsiteX375" fmla="*/ 3702094 w 7467600"/>
              <a:gd name="connsiteY375" fmla="*/ 5549194 h 6858000"/>
              <a:gd name="connsiteX376" fmla="*/ 3398355 w 7467600"/>
              <a:gd name="connsiteY376" fmla="*/ 6094603 h 6858000"/>
              <a:gd name="connsiteX377" fmla="*/ 3193941 w 7467600"/>
              <a:gd name="connsiteY377" fmla="*/ 6798775 h 6858000"/>
              <a:gd name="connsiteX378" fmla="*/ 3184140 w 7467600"/>
              <a:gd name="connsiteY378" fmla="*/ 6858000 h 6858000"/>
              <a:gd name="connsiteX379" fmla="*/ 3099978 w 7467600"/>
              <a:gd name="connsiteY379" fmla="*/ 6858000 h 6858000"/>
              <a:gd name="connsiteX380" fmla="*/ 3101556 w 7467600"/>
              <a:gd name="connsiteY380" fmla="*/ 6843337 h 6858000"/>
              <a:gd name="connsiteX381" fmla="*/ 3370162 w 7467600"/>
              <a:gd name="connsiteY381" fmla="*/ 5785550 h 6858000"/>
              <a:gd name="connsiteX382" fmla="*/ 3746477 w 7467600"/>
              <a:gd name="connsiteY382" fmla="*/ 5377889 h 6858000"/>
              <a:gd name="connsiteX383" fmla="*/ 3863399 w 7467600"/>
              <a:gd name="connsiteY383" fmla="*/ 5087257 h 6858000"/>
              <a:gd name="connsiteX384" fmla="*/ 3968712 w 7467600"/>
              <a:gd name="connsiteY384" fmla="*/ 4913989 h 6858000"/>
              <a:gd name="connsiteX385" fmla="*/ 2792390 w 7467600"/>
              <a:gd name="connsiteY385" fmla="*/ 5382974 h 6858000"/>
              <a:gd name="connsiteX386" fmla="*/ 2714982 w 7467600"/>
              <a:gd name="connsiteY386" fmla="*/ 5427051 h 6858000"/>
              <a:gd name="connsiteX387" fmla="*/ 2813361 w 7467600"/>
              <a:gd name="connsiteY387" fmla="*/ 6023912 h 6858000"/>
              <a:gd name="connsiteX388" fmla="*/ 2688430 w 7467600"/>
              <a:gd name="connsiteY388" fmla="*/ 6801564 h 6858000"/>
              <a:gd name="connsiteX389" fmla="*/ 2629626 w 7467600"/>
              <a:gd name="connsiteY389" fmla="*/ 6763394 h 6858000"/>
              <a:gd name="connsiteX390" fmla="*/ 2565328 w 7467600"/>
              <a:gd name="connsiteY390" fmla="*/ 5516399 h 6858000"/>
              <a:gd name="connsiteX391" fmla="*/ 1922999 w 7467600"/>
              <a:gd name="connsiteY391" fmla="*/ 5980343 h 6858000"/>
              <a:gd name="connsiteX392" fmla="*/ 1950261 w 7467600"/>
              <a:gd name="connsiteY392" fmla="*/ 6405858 h 6858000"/>
              <a:gd name="connsiteX393" fmla="*/ 2365554 w 7467600"/>
              <a:gd name="connsiteY393" fmla="*/ 6759107 h 6858000"/>
              <a:gd name="connsiteX394" fmla="*/ 2424142 w 7467600"/>
              <a:gd name="connsiteY394" fmla="*/ 6858000 h 6858000"/>
              <a:gd name="connsiteX395" fmla="*/ 2395994 w 7467600"/>
              <a:gd name="connsiteY395" fmla="*/ 6858000 h 6858000"/>
              <a:gd name="connsiteX396" fmla="*/ 2392863 w 7467600"/>
              <a:gd name="connsiteY396" fmla="*/ 6852964 h 6858000"/>
              <a:gd name="connsiteX397" fmla="*/ 2017589 w 7467600"/>
              <a:gd name="connsiteY397" fmla="*/ 6493982 h 6858000"/>
              <a:gd name="connsiteX398" fmla="*/ 2147336 w 7467600"/>
              <a:gd name="connsiteY398" fmla="*/ 6594052 h 6858000"/>
              <a:gd name="connsiteX399" fmla="*/ 2207047 w 7467600"/>
              <a:gd name="connsiteY399" fmla="*/ 6654540 h 6858000"/>
              <a:gd name="connsiteX400" fmla="*/ 2299106 w 7467600"/>
              <a:gd name="connsiteY400" fmla="*/ 6778931 h 6858000"/>
              <a:gd name="connsiteX401" fmla="*/ 2314430 w 7467600"/>
              <a:gd name="connsiteY401" fmla="*/ 6801144 h 6858000"/>
              <a:gd name="connsiteX402" fmla="*/ 2352406 w 7467600"/>
              <a:gd name="connsiteY402" fmla="*/ 6858000 h 6858000"/>
              <a:gd name="connsiteX403" fmla="*/ 2314492 w 7467600"/>
              <a:gd name="connsiteY403" fmla="*/ 6858000 h 6858000"/>
              <a:gd name="connsiteX404" fmla="*/ 2288095 w 7467600"/>
              <a:gd name="connsiteY404" fmla="*/ 6818030 h 6858000"/>
              <a:gd name="connsiteX405" fmla="*/ 2272768 w 7467600"/>
              <a:gd name="connsiteY405" fmla="*/ 6795822 h 6858000"/>
              <a:gd name="connsiteX406" fmla="*/ 2182715 w 7467600"/>
              <a:gd name="connsiteY406" fmla="*/ 6675071 h 6858000"/>
              <a:gd name="connsiteX407" fmla="*/ 2032061 w 7467600"/>
              <a:gd name="connsiteY407" fmla="*/ 6541380 h 6858000"/>
              <a:gd name="connsiteX408" fmla="*/ 2257220 w 7467600"/>
              <a:gd name="connsiteY408" fmla="*/ 6826257 h 6858000"/>
              <a:gd name="connsiteX409" fmla="*/ 2281324 w 7467600"/>
              <a:gd name="connsiteY409" fmla="*/ 6858000 h 6858000"/>
              <a:gd name="connsiteX410" fmla="*/ 2242860 w 7467600"/>
              <a:gd name="connsiteY410" fmla="*/ 6858000 h 6858000"/>
              <a:gd name="connsiteX411" fmla="*/ 2232818 w 7467600"/>
              <a:gd name="connsiteY411" fmla="*/ 6844926 h 6858000"/>
              <a:gd name="connsiteX412" fmla="*/ 1990172 w 7467600"/>
              <a:gd name="connsiteY412" fmla="*/ 6542121 h 6858000"/>
              <a:gd name="connsiteX413" fmla="*/ 2124090 w 7467600"/>
              <a:gd name="connsiteY413" fmla="*/ 6761017 h 6858000"/>
              <a:gd name="connsiteX414" fmla="*/ 2200380 w 7467600"/>
              <a:gd name="connsiteY414" fmla="*/ 6858000 h 6858000"/>
              <a:gd name="connsiteX415" fmla="*/ 2147507 w 7467600"/>
              <a:gd name="connsiteY415" fmla="*/ 6858000 h 6858000"/>
              <a:gd name="connsiteX416" fmla="*/ 2070668 w 7467600"/>
              <a:gd name="connsiteY416" fmla="*/ 6761520 h 6858000"/>
              <a:gd name="connsiteX417" fmla="*/ 1975142 w 7467600"/>
              <a:gd name="connsiteY417" fmla="*/ 6585570 h 6858000"/>
              <a:gd name="connsiteX418" fmla="*/ 2050035 w 7467600"/>
              <a:gd name="connsiteY418" fmla="*/ 6813345 h 6858000"/>
              <a:gd name="connsiteX419" fmla="*/ 2063025 w 7467600"/>
              <a:gd name="connsiteY419" fmla="*/ 6858000 h 6858000"/>
              <a:gd name="connsiteX420" fmla="*/ 2021675 w 7467600"/>
              <a:gd name="connsiteY420" fmla="*/ 6858000 h 6858000"/>
              <a:gd name="connsiteX421" fmla="*/ 2019308 w 7467600"/>
              <a:gd name="connsiteY421" fmla="*/ 6847118 h 6858000"/>
              <a:gd name="connsiteX422" fmla="*/ 1938835 w 7467600"/>
              <a:gd name="connsiteY422" fmla="*/ 6551160 h 6858000"/>
              <a:gd name="connsiteX423" fmla="*/ 1953230 w 7467600"/>
              <a:gd name="connsiteY423" fmla="*/ 6759699 h 6858000"/>
              <a:gd name="connsiteX424" fmla="*/ 1956763 w 7467600"/>
              <a:gd name="connsiteY424" fmla="*/ 6778191 h 6858000"/>
              <a:gd name="connsiteX425" fmla="*/ 1967925 w 7467600"/>
              <a:gd name="connsiteY425" fmla="*/ 6858000 h 6858000"/>
              <a:gd name="connsiteX426" fmla="*/ 1936622 w 7467600"/>
              <a:gd name="connsiteY426" fmla="*/ 6858000 h 6858000"/>
              <a:gd name="connsiteX427" fmla="*/ 1926261 w 7467600"/>
              <a:gd name="connsiteY427" fmla="*/ 6784064 h 6858000"/>
              <a:gd name="connsiteX428" fmla="*/ 1922724 w 7467600"/>
              <a:gd name="connsiteY428" fmla="*/ 6765577 h 6858000"/>
              <a:gd name="connsiteX429" fmla="*/ 1904650 w 7467600"/>
              <a:gd name="connsiteY429" fmla="*/ 6639616 h 6858000"/>
              <a:gd name="connsiteX430" fmla="*/ 1885273 w 7467600"/>
              <a:gd name="connsiteY430" fmla="*/ 6858000 h 6858000"/>
              <a:gd name="connsiteX431" fmla="*/ 1854363 w 7467600"/>
              <a:gd name="connsiteY431" fmla="*/ 6858000 h 6858000"/>
              <a:gd name="connsiteX432" fmla="*/ 1880391 w 7467600"/>
              <a:gd name="connsiteY432" fmla="*/ 6603796 h 6858000"/>
              <a:gd name="connsiteX433" fmla="*/ 1818273 w 7467600"/>
              <a:gd name="connsiteY433" fmla="*/ 6715729 h 6858000"/>
              <a:gd name="connsiteX434" fmla="*/ 1794691 w 7467600"/>
              <a:gd name="connsiteY434" fmla="*/ 6843239 h 6858000"/>
              <a:gd name="connsiteX435" fmla="*/ 1794914 w 7467600"/>
              <a:gd name="connsiteY435" fmla="*/ 6858000 h 6858000"/>
              <a:gd name="connsiteX436" fmla="*/ 1746128 w 7467600"/>
              <a:gd name="connsiteY436" fmla="*/ 6858000 h 6858000"/>
              <a:gd name="connsiteX437" fmla="*/ 1753934 w 7467600"/>
              <a:gd name="connsiteY437" fmla="*/ 6724796 h 6858000"/>
              <a:gd name="connsiteX438" fmla="*/ 1792053 w 7467600"/>
              <a:gd name="connsiteY438" fmla="*/ 6572396 h 6858000"/>
              <a:gd name="connsiteX439" fmla="*/ 1862248 w 7467600"/>
              <a:gd name="connsiteY439" fmla="*/ 6266397 h 6858000"/>
              <a:gd name="connsiteX440" fmla="*/ 1862250 w 7467600"/>
              <a:gd name="connsiteY440" fmla="*/ 6033531 h 6858000"/>
              <a:gd name="connsiteX441" fmla="*/ 1211999 w 7467600"/>
              <a:gd name="connsiteY441" fmla="*/ 6683610 h 6858000"/>
              <a:gd name="connsiteX442" fmla="*/ 1213266 w 7467600"/>
              <a:gd name="connsiteY442" fmla="*/ 6691947 h 6858000"/>
              <a:gd name="connsiteX443" fmla="*/ 1203370 w 7467600"/>
              <a:gd name="connsiteY443" fmla="*/ 6850676 h 6858000"/>
              <a:gd name="connsiteX444" fmla="*/ 1203671 w 7467600"/>
              <a:gd name="connsiteY444" fmla="*/ 6858000 h 6858000"/>
              <a:gd name="connsiteX445" fmla="*/ 1143180 w 7467600"/>
              <a:gd name="connsiteY445" fmla="*/ 6858000 h 6858000"/>
              <a:gd name="connsiteX446" fmla="*/ 1142176 w 7467600"/>
              <a:gd name="connsiteY446" fmla="*/ 6766045 h 6858000"/>
              <a:gd name="connsiteX447" fmla="*/ 1067484 w 7467600"/>
              <a:gd name="connsiteY447" fmla="*/ 6858000 h 6858000"/>
              <a:gd name="connsiteX448" fmla="*/ 953928 w 7467600"/>
              <a:gd name="connsiteY448" fmla="*/ 6858000 h 6858000"/>
              <a:gd name="connsiteX449" fmla="*/ 959715 w 7467600"/>
              <a:gd name="connsiteY449" fmla="*/ 6850185 h 6858000"/>
              <a:gd name="connsiteX450" fmla="*/ 1483788 w 7467600"/>
              <a:gd name="connsiteY450" fmla="*/ 6259174 h 6858000"/>
              <a:gd name="connsiteX451" fmla="*/ 1100671 w 7467600"/>
              <a:gd name="connsiteY451" fmla="*/ 6252137 h 6858000"/>
              <a:gd name="connsiteX452" fmla="*/ 1090144 w 7467600"/>
              <a:gd name="connsiteY452" fmla="*/ 6256748 h 6858000"/>
              <a:gd name="connsiteX453" fmla="*/ 1095872 w 7467600"/>
              <a:gd name="connsiteY453" fmla="*/ 6271892 h 6858000"/>
              <a:gd name="connsiteX454" fmla="*/ 262785 w 7467600"/>
              <a:gd name="connsiteY454" fmla="*/ 6845450 h 6858000"/>
              <a:gd name="connsiteX455" fmla="*/ 209968 w 7467600"/>
              <a:gd name="connsiteY455" fmla="*/ 6770713 h 6858000"/>
              <a:gd name="connsiteX456" fmla="*/ 873460 w 7467600"/>
              <a:gd name="connsiteY456" fmla="*/ 6253768 h 6858000"/>
              <a:gd name="connsiteX457" fmla="*/ 192686 w 7467600"/>
              <a:gd name="connsiteY457" fmla="*/ 5849257 h 6858000"/>
              <a:gd name="connsiteX458" fmla="*/ 4696 w 7467600"/>
              <a:gd name="connsiteY458" fmla="*/ 5697668 h 6858000"/>
              <a:gd name="connsiteX459" fmla="*/ 0 w 7467600"/>
              <a:gd name="connsiteY459" fmla="*/ 5689984 h 6858000"/>
              <a:gd name="connsiteX460" fmla="*/ 0 w 7467600"/>
              <a:gd name="connsiteY460" fmla="*/ 5513472 h 6858000"/>
              <a:gd name="connsiteX461" fmla="*/ 174101 w 7467600"/>
              <a:gd name="connsiteY461" fmla="*/ 5620277 h 6858000"/>
              <a:gd name="connsiteX462" fmla="*/ 891800 w 7467600"/>
              <a:gd name="connsiteY462" fmla="*/ 6036935 h 6858000"/>
              <a:gd name="connsiteX463" fmla="*/ 1072219 w 7467600"/>
              <a:gd name="connsiteY463" fmla="*/ 6169443 h 6858000"/>
              <a:gd name="connsiteX464" fmla="*/ 1074117 w 7467600"/>
              <a:gd name="connsiteY464" fmla="*/ 6170301 h 6858000"/>
              <a:gd name="connsiteX465" fmla="*/ 1083114 w 7467600"/>
              <a:gd name="connsiteY465" fmla="*/ 6174131 h 6858000"/>
              <a:gd name="connsiteX466" fmla="*/ 1543010 w 7467600"/>
              <a:gd name="connsiteY466" fmla="*/ 6191140 h 6858000"/>
              <a:gd name="connsiteX467" fmla="*/ 1551080 w 7467600"/>
              <a:gd name="connsiteY467" fmla="*/ 6195006 h 6858000"/>
              <a:gd name="connsiteX468" fmla="*/ 2345443 w 7467600"/>
              <a:gd name="connsiteY468" fmla="*/ 5549882 h 6858000"/>
              <a:gd name="connsiteX469" fmla="*/ 1721499 w 7467600"/>
              <a:gd name="connsiteY469" fmla="*/ 5599969 h 6858000"/>
              <a:gd name="connsiteX470" fmla="*/ 767716 w 7467600"/>
              <a:gd name="connsiteY470" fmla="*/ 5472768 h 6858000"/>
              <a:gd name="connsiteX471" fmla="*/ 722147 w 7467600"/>
              <a:gd name="connsiteY471" fmla="*/ 5393091 h 6858000"/>
              <a:gd name="connsiteX472" fmla="*/ 1485552 w 7467600"/>
              <a:gd name="connsiteY472" fmla="*/ 5313202 h 6858000"/>
              <a:gd name="connsiteX473" fmla="*/ 2143004 w 7467600"/>
              <a:gd name="connsiteY473" fmla="*/ 5402420 h 6858000"/>
              <a:gd name="connsiteX474" fmla="*/ 1933391 w 7467600"/>
              <a:gd name="connsiteY474" fmla="*/ 5156971 h 6858000"/>
              <a:gd name="connsiteX475" fmla="*/ 1827118 w 7467600"/>
              <a:gd name="connsiteY475" fmla="*/ 4968410 h 6858000"/>
              <a:gd name="connsiteX476" fmla="*/ 1837349 w 7467600"/>
              <a:gd name="connsiteY476" fmla="*/ 4956357 h 6858000"/>
              <a:gd name="connsiteX477" fmla="*/ 2162835 w 7467600"/>
              <a:gd name="connsiteY477" fmla="*/ 5187853 h 6858000"/>
              <a:gd name="connsiteX478" fmla="*/ 2257167 w 7467600"/>
              <a:gd name="connsiteY478" fmla="*/ 5462123 h 6858000"/>
              <a:gd name="connsiteX479" fmla="*/ 2261598 w 7467600"/>
              <a:gd name="connsiteY479" fmla="*/ 5467998 h 6858000"/>
              <a:gd name="connsiteX480" fmla="*/ 2437177 w 7467600"/>
              <a:gd name="connsiteY480" fmla="*/ 5479608 h 6858000"/>
              <a:gd name="connsiteX481" fmla="*/ 2445247 w 7467600"/>
              <a:gd name="connsiteY481" fmla="*/ 5483476 h 6858000"/>
              <a:gd name="connsiteX482" fmla="*/ 2743626 w 7467600"/>
              <a:gd name="connsiteY482" fmla="*/ 5304819 h 6858000"/>
              <a:gd name="connsiteX483" fmla="*/ 3048102 w 7467600"/>
              <a:gd name="connsiteY483" fmla="*/ 5150595 h 6858000"/>
              <a:gd name="connsiteX484" fmla="*/ 1799414 w 7467600"/>
              <a:gd name="connsiteY484" fmla="*/ 4694732 h 6858000"/>
              <a:gd name="connsiteX485" fmla="*/ 1771735 w 7467600"/>
              <a:gd name="connsiteY485" fmla="*/ 4619929 h 6858000"/>
              <a:gd name="connsiteX486" fmla="*/ 3104273 w 7467600"/>
              <a:gd name="connsiteY486" fmla="*/ 5076159 h 6858000"/>
              <a:gd name="connsiteX487" fmla="*/ 3113245 w 7467600"/>
              <a:gd name="connsiteY487" fmla="*/ 5090705 h 6858000"/>
              <a:gd name="connsiteX488" fmla="*/ 3126294 w 7467600"/>
              <a:gd name="connsiteY488" fmla="*/ 5114400 h 6858000"/>
              <a:gd name="connsiteX489" fmla="*/ 3937433 w 7467600"/>
              <a:gd name="connsiteY489" fmla="*/ 4830473 h 6858000"/>
              <a:gd name="connsiteX490" fmla="*/ 3590475 w 7467600"/>
              <a:gd name="connsiteY490" fmla="*/ 4597974 h 6858000"/>
              <a:gd name="connsiteX491" fmla="*/ 3100264 w 7467600"/>
              <a:gd name="connsiteY491" fmla="*/ 4579845 h 6858000"/>
              <a:gd name="connsiteX492" fmla="*/ 2183576 w 7467600"/>
              <a:gd name="connsiteY492" fmla="*/ 4227150 h 6858000"/>
              <a:gd name="connsiteX493" fmla="*/ 2151029 w 7467600"/>
              <a:gd name="connsiteY493" fmla="*/ 4146947 h 6858000"/>
              <a:gd name="connsiteX494" fmla="*/ 3563434 w 7467600"/>
              <a:gd name="connsiteY494" fmla="*/ 4469115 h 6858000"/>
              <a:gd name="connsiteX495" fmla="*/ 3177952 w 7467600"/>
              <a:gd name="connsiteY495" fmla="*/ 3657386 h 6858000"/>
              <a:gd name="connsiteX496" fmla="*/ 3189263 w 7467600"/>
              <a:gd name="connsiteY496" fmla="*/ 3625726 h 6858000"/>
              <a:gd name="connsiteX497" fmla="*/ 3560912 w 7467600"/>
              <a:gd name="connsiteY497" fmla="*/ 4079863 h 6858000"/>
              <a:gd name="connsiteX498" fmla="*/ 3626636 w 7467600"/>
              <a:gd name="connsiteY498" fmla="*/ 4512230 h 6858000"/>
              <a:gd name="connsiteX499" fmla="*/ 3653088 w 7467600"/>
              <a:gd name="connsiteY499" fmla="*/ 4521417 h 6858000"/>
              <a:gd name="connsiteX500" fmla="*/ 3988128 w 7467600"/>
              <a:gd name="connsiteY500" fmla="*/ 4817267 h 6858000"/>
              <a:gd name="connsiteX501" fmla="*/ 4830582 w 7467600"/>
              <a:gd name="connsiteY501" fmla="*/ 4676000 h 6858000"/>
              <a:gd name="connsiteX502" fmla="*/ 4830100 w 7467600"/>
              <a:gd name="connsiteY502" fmla="*/ 4675554 h 6858000"/>
              <a:gd name="connsiteX503" fmla="*/ 4036318 w 7467600"/>
              <a:gd name="connsiteY503" fmla="*/ 4147013 h 6858000"/>
              <a:gd name="connsiteX504" fmla="*/ 3432098 w 7467600"/>
              <a:gd name="connsiteY504" fmla="*/ 3537312 h 6858000"/>
              <a:gd name="connsiteX505" fmla="*/ 3446761 w 7467600"/>
              <a:gd name="connsiteY505" fmla="*/ 3461278 h 6858000"/>
              <a:gd name="connsiteX506" fmla="*/ 4419733 w 7467600"/>
              <a:gd name="connsiteY506" fmla="*/ 3963555 h 6858000"/>
              <a:gd name="connsiteX507" fmla="*/ 4781371 w 7467600"/>
              <a:gd name="connsiteY507" fmla="*/ 4458604 h 6858000"/>
              <a:gd name="connsiteX508" fmla="*/ 4780440 w 7467600"/>
              <a:gd name="connsiteY508" fmla="*/ 4470290 h 6858000"/>
              <a:gd name="connsiteX509" fmla="*/ 4898954 w 7467600"/>
              <a:gd name="connsiteY509" fmla="*/ 4662092 h 6858000"/>
              <a:gd name="connsiteX510" fmla="*/ 4900699 w 7467600"/>
              <a:gd name="connsiteY510" fmla="*/ 4670867 h 6858000"/>
              <a:gd name="connsiteX511" fmla="*/ 5714511 w 7467600"/>
              <a:gd name="connsiteY511" fmla="*/ 4663483 h 6858000"/>
              <a:gd name="connsiteX512" fmla="*/ 5464793 w 7467600"/>
              <a:gd name="connsiteY512" fmla="*/ 4393556 h 6858000"/>
              <a:gd name="connsiteX513" fmla="*/ 5461897 w 7467600"/>
              <a:gd name="connsiteY513" fmla="*/ 4390879 h 6858000"/>
              <a:gd name="connsiteX514" fmla="*/ 4294126 w 7467600"/>
              <a:gd name="connsiteY514" fmla="*/ 3303048 h 6858000"/>
              <a:gd name="connsiteX515" fmla="*/ 4305321 w 7467600"/>
              <a:gd name="connsiteY515" fmla="*/ 3256953 h 6858000"/>
              <a:gd name="connsiteX516" fmla="*/ 4949299 w 7467600"/>
              <a:gd name="connsiteY516" fmla="*/ 3766336 h 6858000"/>
              <a:gd name="connsiteX517" fmla="*/ 5291452 w 7467600"/>
              <a:gd name="connsiteY517" fmla="*/ 4076801 h 6858000"/>
              <a:gd name="connsiteX518" fmla="*/ 5434998 w 7467600"/>
              <a:gd name="connsiteY518" fmla="*/ 4254100 h 6858000"/>
              <a:gd name="connsiteX519" fmla="*/ 5351015 w 7467600"/>
              <a:gd name="connsiteY519" fmla="*/ 3760989 h 6858000"/>
              <a:gd name="connsiteX520" fmla="*/ 5413780 w 7467600"/>
              <a:gd name="connsiteY520" fmla="*/ 2966265 h 6858000"/>
              <a:gd name="connsiteX521" fmla="*/ 5425627 w 7467600"/>
              <a:gd name="connsiteY521" fmla="*/ 2954192 h 6858000"/>
              <a:gd name="connsiteX522" fmla="*/ 6604735 w 7467600"/>
              <a:gd name="connsiteY522" fmla="*/ 2041381 h 6858000"/>
              <a:gd name="connsiteX523" fmla="*/ 7204487 w 7467600"/>
              <a:gd name="connsiteY523" fmla="*/ 2742112 h 6858000"/>
              <a:gd name="connsiteX524" fmla="*/ 7131592 w 7467600"/>
              <a:gd name="connsiteY524" fmla="*/ 2672096 h 6858000"/>
              <a:gd name="connsiteX525" fmla="*/ 6996344 w 7467600"/>
              <a:gd name="connsiteY525" fmla="*/ 2518310 h 6858000"/>
              <a:gd name="connsiteX526" fmla="*/ 6735495 w 7467600"/>
              <a:gd name="connsiteY526" fmla="*/ 2196890 h 6858000"/>
              <a:gd name="connsiteX527" fmla="*/ 6721901 w 7467600"/>
              <a:gd name="connsiteY527" fmla="*/ 2179274 h 6858000"/>
              <a:gd name="connsiteX528" fmla="*/ 6604735 w 7467600"/>
              <a:gd name="connsiteY528" fmla="*/ 2041381 h 6858000"/>
              <a:gd name="connsiteX529" fmla="*/ 6591670 w 7467600"/>
              <a:gd name="connsiteY529" fmla="*/ 1988277 h 6858000"/>
              <a:gd name="connsiteX530" fmla="*/ 6747349 w 7467600"/>
              <a:gd name="connsiteY530" fmla="*/ 2160069 h 6858000"/>
              <a:gd name="connsiteX531" fmla="*/ 6760943 w 7467600"/>
              <a:gd name="connsiteY531" fmla="*/ 2177686 h 6858000"/>
              <a:gd name="connsiteX532" fmla="*/ 7021065 w 7467600"/>
              <a:gd name="connsiteY532" fmla="*/ 2498102 h 6858000"/>
              <a:gd name="connsiteX533" fmla="*/ 7155223 w 7467600"/>
              <a:gd name="connsiteY533" fmla="*/ 2650386 h 6858000"/>
              <a:gd name="connsiteX534" fmla="*/ 7203167 w 7467600"/>
              <a:gd name="connsiteY534" fmla="*/ 2697288 h 6858000"/>
              <a:gd name="connsiteX535" fmla="*/ 6937703 w 7467600"/>
              <a:gd name="connsiteY535" fmla="*/ 2321981 h 6858000"/>
              <a:gd name="connsiteX536" fmla="*/ 6591670 w 7467600"/>
              <a:gd name="connsiteY536" fmla="*/ 1988277 h 6858000"/>
              <a:gd name="connsiteX537" fmla="*/ 5798671 w 7467600"/>
              <a:gd name="connsiteY537" fmla="*/ 1981601 h 6858000"/>
              <a:gd name="connsiteX538" fmla="*/ 5754709 w 7467600"/>
              <a:gd name="connsiteY538" fmla="*/ 2071454 h 6858000"/>
              <a:gd name="connsiteX539" fmla="*/ 5763044 w 7467600"/>
              <a:gd name="connsiteY539" fmla="*/ 2842206 h 6858000"/>
              <a:gd name="connsiteX540" fmla="*/ 5764974 w 7467600"/>
              <a:gd name="connsiteY540" fmla="*/ 2799609 h 6858000"/>
              <a:gd name="connsiteX541" fmla="*/ 5767665 w 7467600"/>
              <a:gd name="connsiteY541" fmla="*/ 2666409 h 6858000"/>
              <a:gd name="connsiteX542" fmla="*/ 5763055 w 7467600"/>
              <a:gd name="connsiteY542" fmla="*/ 2579705 h 6858000"/>
              <a:gd name="connsiteX543" fmla="*/ 5758079 w 7467600"/>
              <a:gd name="connsiteY543" fmla="*/ 2492508 h 6858000"/>
              <a:gd name="connsiteX544" fmla="*/ 5779325 w 7467600"/>
              <a:gd name="connsiteY544" fmla="*/ 2197069 h 6858000"/>
              <a:gd name="connsiteX545" fmla="*/ 5798671 w 7467600"/>
              <a:gd name="connsiteY545" fmla="*/ 1981601 h 6858000"/>
              <a:gd name="connsiteX546" fmla="*/ 5829202 w 7467600"/>
              <a:gd name="connsiteY546" fmla="*/ 1971679 h 6858000"/>
              <a:gd name="connsiteX547" fmla="*/ 5809558 w 7467600"/>
              <a:gd name="connsiteY547" fmla="*/ 2198043 h 6858000"/>
              <a:gd name="connsiteX548" fmla="*/ 5788653 w 7467600"/>
              <a:gd name="connsiteY548" fmla="*/ 2489430 h 6858000"/>
              <a:gd name="connsiteX549" fmla="*/ 5793439 w 7467600"/>
              <a:gd name="connsiteY549" fmla="*/ 2575235 h 6858000"/>
              <a:gd name="connsiteX550" fmla="*/ 5796837 w 7467600"/>
              <a:gd name="connsiteY550" fmla="*/ 2637633 h 6858000"/>
              <a:gd name="connsiteX551" fmla="*/ 5818614 w 7467600"/>
              <a:gd name="connsiteY551" fmla="*/ 2473055 h 6858000"/>
              <a:gd name="connsiteX552" fmla="*/ 5829202 w 7467600"/>
              <a:gd name="connsiteY552" fmla="*/ 1971679 h 6858000"/>
              <a:gd name="connsiteX553" fmla="*/ 5911389 w 7467600"/>
              <a:gd name="connsiteY553" fmla="*/ 1898371 h 6858000"/>
              <a:gd name="connsiteX554" fmla="*/ 6237627 w 7467600"/>
              <a:gd name="connsiteY554" fmla="*/ 2231921 h 6858000"/>
              <a:gd name="connsiteX555" fmla="*/ 5911389 w 7467600"/>
              <a:gd name="connsiteY555" fmla="*/ 1898371 h 6858000"/>
              <a:gd name="connsiteX556" fmla="*/ 6944437 w 7467600"/>
              <a:gd name="connsiteY556" fmla="*/ 1575402 h 6858000"/>
              <a:gd name="connsiteX557" fmla="*/ 6304730 w 7467600"/>
              <a:gd name="connsiteY557" fmla="*/ 1766654 h 6858000"/>
              <a:gd name="connsiteX558" fmla="*/ 6944437 w 7467600"/>
              <a:gd name="connsiteY558" fmla="*/ 1575402 h 6858000"/>
              <a:gd name="connsiteX559" fmla="*/ 7019523 w 7467600"/>
              <a:gd name="connsiteY559" fmla="*/ 1519450 h 6858000"/>
              <a:gd name="connsiteX560" fmla="*/ 6298091 w 7467600"/>
              <a:gd name="connsiteY560" fmla="*/ 1737122 h 6858000"/>
              <a:gd name="connsiteX561" fmla="*/ 7019523 w 7467600"/>
              <a:gd name="connsiteY561" fmla="*/ 1519450 h 6858000"/>
              <a:gd name="connsiteX562" fmla="*/ 2399523 w 7467600"/>
              <a:gd name="connsiteY562" fmla="*/ 1428234 h 6858000"/>
              <a:gd name="connsiteX563" fmla="*/ 2224982 w 7467600"/>
              <a:gd name="connsiteY563" fmla="*/ 1826201 h 6858000"/>
              <a:gd name="connsiteX564" fmla="*/ 2096099 w 7467600"/>
              <a:gd name="connsiteY564" fmla="*/ 2345900 h 6858000"/>
              <a:gd name="connsiteX565" fmla="*/ 2283317 w 7467600"/>
              <a:gd name="connsiteY565" fmla="*/ 1796925 h 6858000"/>
              <a:gd name="connsiteX566" fmla="*/ 2399523 w 7467600"/>
              <a:gd name="connsiteY566" fmla="*/ 1428234 h 6858000"/>
              <a:gd name="connsiteX567" fmla="*/ 2448558 w 7467600"/>
              <a:gd name="connsiteY567" fmla="*/ 1373435 h 6858000"/>
              <a:gd name="connsiteX568" fmla="*/ 2312521 w 7467600"/>
              <a:gd name="connsiteY568" fmla="*/ 1806140 h 6858000"/>
              <a:gd name="connsiteX569" fmla="*/ 2127533 w 7467600"/>
              <a:gd name="connsiteY569" fmla="*/ 2348380 h 6858000"/>
              <a:gd name="connsiteX570" fmla="*/ 2358080 w 7467600"/>
              <a:gd name="connsiteY570" fmla="*/ 1866134 h 6858000"/>
              <a:gd name="connsiteX571" fmla="*/ 2407436 w 7467600"/>
              <a:gd name="connsiteY571" fmla="*/ 1651070 h 6858000"/>
              <a:gd name="connsiteX572" fmla="*/ 2448558 w 7467600"/>
              <a:gd name="connsiteY572" fmla="*/ 1373435 h 6858000"/>
              <a:gd name="connsiteX573" fmla="*/ 278707 w 7467600"/>
              <a:gd name="connsiteY573" fmla="*/ 1352270 h 6858000"/>
              <a:gd name="connsiteX574" fmla="*/ 321570 w 7467600"/>
              <a:gd name="connsiteY574" fmla="*/ 1861610 h 6858000"/>
              <a:gd name="connsiteX575" fmla="*/ 294281 w 7467600"/>
              <a:gd name="connsiteY575" fmla="*/ 1440658 h 6858000"/>
              <a:gd name="connsiteX576" fmla="*/ 278707 w 7467600"/>
              <a:gd name="connsiteY576" fmla="*/ 1352270 h 6858000"/>
              <a:gd name="connsiteX577" fmla="*/ 1423821 w 7467600"/>
              <a:gd name="connsiteY577" fmla="*/ 1351958 h 6858000"/>
              <a:gd name="connsiteX578" fmla="*/ 1638521 w 7467600"/>
              <a:gd name="connsiteY578" fmla="*/ 1908470 h 6858000"/>
              <a:gd name="connsiteX579" fmla="*/ 1754199 w 7467600"/>
              <a:gd name="connsiteY579" fmla="*/ 2149284 h 6858000"/>
              <a:gd name="connsiteX580" fmla="*/ 1908359 w 7467600"/>
              <a:gd name="connsiteY580" fmla="*/ 2364988 h 6858000"/>
              <a:gd name="connsiteX581" fmla="*/ 1647661 w 7467600"/>
              <a:gd name="connsiteY581" fmla="*/ 1825945 h 6858000"/>
              <a:gd name="connsiteX582" fmla="*/ 1423821 w 7467600"/>
              <a:gd name="connsiteY582" fmla="*/ 1351958 h 6858000"/>
              <a:gd name="connsiteX583" fmla="*/ 1431890 w 7467600"/>
              <a:gd name="connsiteY583" fmla="*/ 1306475 h 6858000"/>
              <a:gd name="connsiteX584" fmla="*/ 1507597 w 7467600"/>
              <a:gd name="connsiteY584" fmla="*/ 1446132 h 6858000"/>
              <a:gd name="connsiteX585" fmla="*/ 1674586 w 7467600"/>
              <a:gd name="connsiteY585" fmla="*/ 1813832 h 6858000"/>
              <a:gd name="connsiteX586" fmla="*/ 1815950 w 7467600"/>
              <a:gd name="connsiteY586" fmla="*/ 2128564 h 6858000"/>
              <a:gd name="connsiteX587" fmla="*/ 1984242 w 7467600"/>
              <a:gd name="connsiteY587" fmla="*/ 2430829 h 6858000"/>
              <a:gd name="connsiteX588" fmla="*/ 2014023 w 7467600"/>
              <a:gd name="connsiteY588" fmla="*/ 2450995 h 6858000"/>
              <a:gd name="connsiteX589" fmla="*/ 1747337 w 7467600"/>
              <a:gd name="connsiteY589" fmla="*/ 1855264 h 6858000"/>
              <a:gd name="connsiteX590" fmla="*/ 1533749 w 7467600"/>
              <a:gd name="connsiteY590" fmla="*/ 1478656 h 6858000"/>
              <a:gd name="connsiteX591" fmla="*/ 1431890 w 7467600"/>
              <a:gd name="connsiteY591" fmla="*/ 1306475 h 6858000"/>
              <a:gd name="connsiteX592" fmla="*/ 5052692 w 7467600"/>
              <a:gd name="connsiteY592" fmla="*/ 1292994 h 6858000"/>
              <a:gd name="connsiteX593" fmla="*/ 5200661 w 7467600"/>
              <a:gd name="connsiteY593" fmla="*/ 1635186 h 6858000"/>
              <a:gd name="connsiteX594" fmla="*/ 5297138 w 7467600"/>
              <a:gd name="connsiteY594" fmla="*/ 1906351 h 6858000"/>
              <a:gd name="connsiteX595" fmla="*/ 5052692 w 7467600"/>
              <a:gd name="connsiteY595" fmla="*/ 1292994 h 6858000"/>
              <a:gd name="connsiteX596" fmla="*/ 5009948 w 7467600"/>
              <a:gd name="connsiteY596" fmla="*/ 1273619 h 6858000"/>
              <a:gd name="connsiteX597" fmla="*/ 5121777 w 7467600"/>
              <a:gd name="connsiteY597" fmla="*/ 1654213 h 6858000"/>
              <a:gd name="connsiteX598" fmla="*/ 5293545 w 7467600"/>
              <a:gd name="connsiteY598" fmla="*/ 2072247 h 6858000"/>
              <a:gd name="connsiteX599" fmla="*/ 5294042 w 7467600"/>
              <a:gd name="connsiteY599" fmla="*/ 2065019 h 6858000"/>
              <a:gd name="connsiteX600" fmla="*/ 5171936 w 7467600"/>
              <a:gd name="connsiteY600" fmla="*/ 1647613 h 6858000"/>
              <a:gd name="connsiteX601" fmla="*/ 5009948 w 7467600"/>
              <a:gd name="connsiteY601" fmla="*/ 1273619 h 6858000"/>
              <a:gd name="connsiteX602" fmla="*/ 655236 w 7467600"/>
              <a:gd name="connsiteY602" fmla="*/ 1268632 h 6858000"/>
              <a:gd name="connsiteX603" fmla="*/ 839521 w 7467600"/>
              <a:gd name="connsiteY603" fmla="*/ 1685315 h 6858000"/>
              <a:gd name="connsiteX604" fmla="*/ 1109416 w 7467600"/>
              <a:gd name="connsiteY604" fmla="*/ 2061663 h 6858000"/>
              <a:gd name="connsiteX605" fmla="*/ 1298300 w 7467600"/>
              <a:gd name="connsiteY605" fmla="*/ 2247742 h 6858000"/>
              <a:gd name="connsiteX606" fmla="*/ 1125871 w 7467600"/>
              <a:gd name="connsiteY606" fmla="*/ 1989513 h 6858000"/>
              <a:gd name="connsiteX607" fmla="*/ 981574 w 7467600"/>
              <a:gd name="connsiteY607" fmla="*/ 1783157 h 6858000"/>
              <a:gd name="connsiteX608" fmla="*/ 922198 w 7467600"/>
              <a:gd name="connsiteY608" fmla="*/ 1677437 h 6858000"/>
              <a:gd name="connsiteX609" fmla="*/ 869293 w 7467600"/>
              <a:gd name="connsiteY609" fmla="*/ 1583214 h 6858000"/>
              <a:gd name="connsiteX610" fmla="*/ 751431 w 7467600"/>
              <a:gd name="connsiteY610" fmla="*/ 1405731 h 6858000"/>
              <a:gd name="connsiteX611" fmla="*/ 655236 w 7467600"/>
              <a:gd name="connsiteY611" fmla="*/ 1268632 h 6858000"/>
              <a:gd name="connsiteX612" fmla="*/ 6516292 w 7467600"/>
              <a:gd name="connsiteY612" fmla="*/ 1263064 h 6858000"/>
              <a:gd name="connsiteX613" fmla="*/ 5736320 w 7467600"/>
              <a:gd name="connsiteY613" fmla="*/ 1501803 h 6858000"/>
              <a:gd name="connsiteX614" fmla="*/ 6516292 w 7467600"/>
              <a:gd name="connsiteY614" fmla="*/ 1263064 h 6858000"/>
              <a:gd name="connsiteX615" fmla="*/ 291466 w 7467600"/>
              <a:gd name="connsiteY615" fmla="*/ 1250369 h 6858000"/>
              <a:gd name="connsiteX616" fmla="*/ 323180 w 7467600"/>
              <a:gd name="connsiteY616" fmla="*/ 1435283 h 6858000"/>
              <a:gd name="connsiteX617" fmla="*/ 349381 w 7467600"/>
              <a:gd name="connsiteY617" fmla="*/ 1875041 h 6858000"/>
              <a:gd name="connsiteX618" fmla="*/ 374363 w 7467600"/>
              <a:gd name="connsiteY618" fmla="*/ 1506494 h 6858000"/>
              <a:gd name="connsiteX619" fmla="*/ 302168 w 7467600"/>
              <a:gd name="connsiteY619" fmla="*/ 1274495 h 6858000"/>
              <a:gd name="connsiteX620" fmla="*/ 291466 w 7467600"/>
              <a:gd name="connsiteY620" fmla="*/ 1250369 h 6858000"/>
              <a:gd name="connsiteX621" fmla="*/ 678222 w 7467600"/>
              <a:gd name="connsiteY621" fmla="*/ 1248670 h 6858000"/>
              <a:gd name="connsiteX622" fmla="*/ 775536 w 7467600"/>
              <a:gd name="connsiteY622" fmla="*/ 1388015 h 6858000"/>
              <a:gd name="connsiteX623" fmla="*/ 894529 w 7467600"/>
              <a:gd name="connsiteY623" fmla="*/ 1567739 h 6858000"/>
              <a:gd name="connsiteX624" fmla="*/ 948000 w 7467600"/>
              <a:gd name="connsiteY624" fmla="*/ 1663088 h 6858000"/>
              <a:gd name="connsiteX625" fmla="*/ 1006812 w 7467600"/>
              <a:gd name="connsiteY625" fmla="*/ 1767683 h 6858000"/>
              <a:gd name="connsiteX626" fmla="*/ 1149133 w 7467600"/>
              <a:gd name="connsiteY626" fmla="*/ 1971513 h 6858000"/>
              <a:gd name="connsiteX627" fmla="*/ 1333952 w 7467600"/>
              <a:gd name="connsiteY627" fmla="*/ 2251620 h 6858000"/>
              <a:gd name="connsiteX628" fmla="*/ 1337329 w 7467600"/>
              <a:gd name="connsiteY628" fmla="*/ 2258350 h 6858000"/>
              <a:gd name="connsiteX629" fmla="*/ 1014726 w 7467600"/>
              <a:gd name="connsiteY629" fmla="*/ 1615556 h 6858000"/>
              <a:gd name="connsiteX630" fmla="*/ 678222 w 7467600"/>
              <a:gd name="connsiteY630" fmla="*/ 1248670 h 6858000"/>
              <a:gd name="connsiteX631" fmla="*/ 6691602 w 7467600"/>
              <a:gd name="connsiteY631" fmla="*/ 1140573 h 6858000"/>
              <a:gd name="connsiteX632" fmla="*/ 6571100 w 7467600"/>
              <a:gd name="connsiteY632" fmla="*/ 1183662 h 6858000"/>
              <a:gd name="connsiteX633" fmla="*/ 6241687 w 7467600"/>
              <a:gd name="connsiteY633" fmla="*/ 1257600 h 6858000"/>
              <a:gd name="connsiteX634" fmla="*/ 5693009 w 7467600"/>
              <a:gd name="connsiteY634" fmla="*/ 1478256 h 6858000"/>
              <a:gd name="connsiteX635" fmla="*/ 6548420 w 7467600"/>
              <a:gd name="connsiteY635" fmla="*/ 1214599 h 6858000"/>
              <a:gd name="connsiteX636" fmla="*/ 6605473 w 7467600"/>
              <a:gd name="connsiteY636" fmla="*/ 1184686 h 6858000"/>
              <a:gd name="connsiteX637" fmla="*/ 6691602 w 7467600"/>
              <a:gd name="connsiteY637" fmla="*/ 1140573 h 6858000"/>
              <a:gd name="connsiteX638" fmla="*/ 4002475 w 7467600"/>
              <a:gd name="connsiteY638" fmla="*/ 1037802 h 6858000"/>
              <a:gd name="connsiteX639" fmla="*/ 4000324 w 7467600"/>
              <a:gd name="connsiteY639" fmla="*/ 1039362 h 6858000"/>
              <a:gd name="connsiteX640" fmla="*/ 4002862 w 7467600"/>
              <a:gd name="connsiteY640" fmla="*/ 1042866 h 6858000"/>
              <a:gd name="connsiteX641" fmla="*/ 4002475 w 7467600"/>
              <a:gd name="connsiteY641" fmla="*/ 1037802 h 6858000"/>
              <a:gd name="connsiteX642" fmla="*/ 506322 w 7467600"/>
              <a:gd name="connsiteY642" fmla="*/ 1020997 h 6858000"/>
              <a:gd name="connsiteX643" fmla="*/ 533068 w 7467600"/>
              <a:gd name="connsiteY643" fmla="*/ 1029409 h 6858000"/>
              <a:gd name="connsiteX644" fmla="*/ 1232525 w 7467600"/>
              <a:gd name="connsiteY644" fmla="*/ 1804675 h 6858000"/>
              <a:gd name="connsiteX645" fmla="*/ 1388858 w 7467600"/>
              <a:gd name="connsiteY645" fmla="*/ 2368011 h 6858000"/>
              <a:gd name="connsiteX646" fmla="*/ 1384098 w 7467600"/>
              <a:gd name="connsiteY646" fmla="*/ 2378125 h 6858000"/>
              <a:gd name="connsiteX647" fmla="*/ 1425393 w 7467600"/>
              <a:gd name="connsiteY647" fmla="*/ 2589124 h 6858000"/>
              <a:gd name="connsiteX648" fmla="*/ 1424001 w 7467600"/>
              <a:gd name="connsiteY648" fmla="*/ 2597541 h 6858000"/>
              <a:gd name="connsiteX649" fmla="*/ 2152729 w 7467600"/>
              <a:gd name="connsiteY649" fmla="*/ 2864487 h 6858000"/>
              <a:gd name="connsiteX650" fmla="*/ 2020609 w 7467600"/>
              <a:gd name="connsiteY650" fmla="*/ 2539671 h 6858000"/>
              <a:gd name="connsiteX651" fmla="*/ 2018920 w 7467600"/>
              <a:gd name="connsiteY651" fmla="*/ 2536309 h 6858000"/>
              <a:gd name="connsiteX652" fmla="*/ 1342441 w 7467600"/>
              <a:gd name="connsiteY652" fmla="*/ 1173017 h 6858000"/>
              <a:gd name="connsiteX653" fmla="*/ 1367925 w 7467600"/>
              <a:gd name="connsiteY653" fmla="*/ 1135648 h 6858000"/>
              <a:gd name="connsiteX654" fmla="*/ 1771401 w 7467600"/>
              <a:gd name="connsiteY654" fmla="*/ 1806673 h 6858000"/>
              <a:gd name="connsiteX655" fmla="*/ 1972385 w 7467600"/>
              <a:gd name="connsiteY655" fmla="*/ 2198735 h 6858000"/>
              <a:gd name="connsiteX656" fmla="*/ 2040892 w 7467600"/>
              <a:gd name="connsiteY656" fmla="*/ 2405205 h 6858000"/>
              <a:gd name="connsiteX657" fmla="*/ 2131689 w 7467600"/>
              <a:gd name="connsiteY657" fmla="*/ 1936926 h 6858000"/>
              <a:gd name="connsiteX658" fmla="*/ 2454820 w 7467600"/>
              <a:gd name="connsiteY658" fmla="*/ 1248808 h 6858000"/>
              <a:gd name="connsiteX659" fmla="*/ 2492512 w 7467600"/>
              <a:gd name="connsiteY659" fmla="*/ 1302920 h 6858000"/>
              <a:gd name="connsiteX660" fmla="*/ 2081216 w 7467600"/>
              <a:gd name="connsiteY660" fmla="*/ 2527513 h 6858000"/>
              <a:gd name="connsiteX661" fmla="*/ 2081211 w 7467600"/>
              <a:gd name="connsiteY661" fmla="*/ 2528916 h 6858000"/>
              <a:gd name="connsiteX662" fmla="*/ 2199067 w 7467600"/>
              <a:gd name="connsiteY662" fmla="*/ 2884061 h 6858000"/>
              <a:gd name="connsiteX663" fmla="*/ 3192586 w 7467600"/>
              <a:gd name="connsiteY663" fmla="*/ 3411496 h 6858000"/>
              <a:gd name="connsiteX664" fmla="*/ 3182620 w 7467600"/>
              <a:gd name="connsiteY664" fmla="*/ 3483279 h 6858000"/>
              <a:gd name="connsiteX665" fmla="*/ 2435119 w 7467600"/>
              <a:gd name="connsiteY665" fmla="*/ 3080173 h 6858000"/>
              <a:gd name="connsiteX666" fmla="*/ 2410152 w 7467600"/>
              <a:gd name="connsiteY666" fmla="*/ 3063751 h 6858000"/>
              <a:gd name="connsiteX667" fmla="*/ 2408099 w 7467600"/>
              <a:gd name="connsiteY667" fmla="*/ 3064403 h 6858000"/>
              <a:gd name="connsiteX668" fmla="*/ 2407218 w 7467600"/>
              <a:gd name="connsiteY668" fmla="*/ 3070324 h 6858000"/>
              <a:gd name="connsiteX669" fmla="*/ 2380138 w 7467600"/>
              <a:gd name="connsiteY669" fmla="*/ 3099341 h 6858000"/>
              <a:gd name="connsiteX670" fmla="*/ 1765923 w 7467600"/>
              <a:gd name="connsiteY670" fmla="*/ 3581043 h 6858000"/>
              <a:gd name="connsiteX671" fmla="*/ 1702258 w 7467600"/>
              <a:gd name="connsiteY671" fmla="*/ 3612286 h 6858000"/>
              <a:gd name="connsiteX672" fmla="*/ 1538370 w 7467600"/>
              <a:gd name="connsiteY672" fmla="*/ 3811804 h 6858000"/>
              <a:gd name="connsiteX673" fmla="*/ 542867 w 7467600"/>
              <a:gd name="connsiteY673" fmla="*/ 4944092 h 6858000"/>
              <a:gd name="connsiteX674" fmla="*/ 515800 w 7467600"/>
              <a:gd name="connsiteY674" fmla="*/ 4862180 h 6858000"/>
              <a:gd name="connsiteX675" fmla="*/ 909145 w 7467600"/>
              <a:gd name="connsiteY675" fmla="*/ 4199225 h 6858000"/>
              <a:gd name="connsiteX676" fmla="*/ 1214067 w 7467600"/>
              <a:gd name="connsiteY676" fmla="*/ 3908561 h 6858000"/>
              <a:gd name="connsiteX677" fmla="*/ 640967 w 7467600"/>
              <a:gd name="connsiteY677" fmla="*/ 4105601 h 6858000"/>
              <a:gd name="connsiteX678" fmla="*/ 112563 w 7467600"/>
              <a:gd name="connsiteY678" fmla="*/ 4396952 h 6858000"/>
              <a:gd name="connsiteX679" fmla="*/ 0 w 7467600"/>
              <a:gd name="connsiteY679" fmla="*/ 4466006 h 6858000"/>
              <a:gd name="connsiteX680" fmla="*/ 0 w 7467600"/>
              <a:gd name="connsiteY680" fmla="*/ 4233763 h 6858000"/>
              <a:gd name="connsiteX681" fmla="*/ 36881 w 7467600"/>
              <a:gd name="connsiteY681" fmla="*/ 4200118 h 6858000"/>
              <a:gd name="connsiteX682" fmla="*/ 910534 w 7467600"/>
              <a:gd name="connsiteY682" fmla="*/ 3629753 h 6858000"/>
              <a:gd name="connsiteX683" fmla="*/ 1578717 w 7467600"/>
              <a:gd name="connsiteY683" fmla="*/ 3575982 h 6858000"/>
              <a:gd name="connsiteX684" fmla="*/ 2338780 w 7467600"/>
              <a:gd name="connsiteY684" fmla="*/ 3033725 h 6858000"/>
              <a:gd name="connsiteX685" fmla="*/ 1807991 w 7467600"/>
              <a:gd name="connsiteY685" fmla="*/ 2807184 h 6858000"/>
              <a:gd name="connsiteX686" fmla="*/ 1416358 w 7467600"/>
              <a:gd name="connsiteY686" fmla="*/ 3112571 h 6858000"/>
              <a:gd name="connsiteX687" fmla="*/ 939066 w 7467600"/>
              <a:gd name="connsiteY687" fmla="*/ 3378798 h 6858000"/>
              <a:gd name="connsiteX688" fmla="*/ 115099 w 7467600"/>
              <a:gd name="connsiteY688" fmla="*/ 3607650 h 6858000"/>
              <a:gd name="connsiteX689" fmla="*/ 97284 w 7467600"/>
              <a:gd name="connsiteY689" fmla="*/ 3520393 h 6858000"/>
              <a:gd name="connsiteX690" fmla="*/ 922050 w 7467600"/>
              <a:gd name="connsiteY690" fmla="*/ 3074867 h 6858000"/>
              <a:gd name="connsiteX691" fmla="*/ 1405265 w 7467600"/>
              <a:gd name="connsiteY691" fmla="*/ 3016319 h 6858000"/>
              <a:gd name="connsiteX692" fmla="*/ 1407512 w 7467600"/>
              <a:gd name="connsiteY692" fmla="*/ 3018001 h 6858000"/>
              <a:gd name="connsiteX693" fmla="*/ 1726266 w 7467600"/>
              <a:gd name="connsiteY693" fmla="*/ 2777274 h 6858000"/>
              <a:gd name="connsiteX694" fmla="*/ 625390 w 7467600"/>
              <a:gd name="connsiteY694" fmla="*/ 2514541 h 6858000"/>
              <a:gd name="connsiteX695" fmla="*/ 619799 w 7467600"/>
              <a:gd name="connsiteY695" fmla="*/ 2527180 h 6858000"/>
              <a:gd name="connsiteX696" fmla="*/ 310030 w 7467600"/>
              <a:gd name="connsiteY696" fmla="*/ 2771818 h 6858000"/>
              <a:gd name="connsiteX697" fmla="*/ 173877 w 7467600"/>
              <a:gd name="connsiteY697" fmla="*/ 2937056 h 6858000"/>
              <a:gd name="connsiteX698" fmla="*/ 77889 w 7467600"/>
              <a:gd name="connsiteY698" fmla="*/ 3138440 h 6858000"/>
              <a:gd name="connsiteX699" fmla="*/ 0 w 7467600"/>
              <a:gd name="connsiteY699" fmla="*/ 3271395 h 6858000"/>
              <a:gd name="connsiteX700" fmla="*/ 0 w 7467600"/>
              <a:gd name="connsiteY700" fmla="*/ 3153002 h 6858000"/>
              <a:gd name="connsiteX701" fmla="*/ 2386 w 7467600"/>
              <a:gd name="connsiteY701" fmla="*/ 3149203 h 6858000"/>
              <a:gd name="connsiteX702" fmla="*/ 89753 w 7467600"/>
              <a:gd name="connsiteY702" fmla="*/ 2987702 h 6858000"/>
              <a:gd name="connsiteX703" fmla="*/ 76869 w 7467600"/>
              <a:gd name="connsiteY703" fmla="*/ 3005404 h 6858000"/>
              <a:gd name="connsiteX704" fmla="*/ 32049 w 7467600"/>
              <a:gd name="connsiteY704" fmla="*/ 3065814 h 6858000"/>
              <a:gd name="connsiteX705" fmla="*/ 0 w 7467600"/>
              <a:gd name="connsiteY705" fmla="*/ 3108744 h 6858000"/>
              <a:gd name="connsiteX706" fmla="*/ 0 w 7467600"/>
              <a:gd name="connsiteY706" fmla="*/ 3058059 h 6858000"/>
              <a:gd name="connsiteX707" fmla="*/ 7610 w 7467600"/>
              <a:gd name="connsiteY707" fmla="*/ 3047889 h 6858000"/>
              <a:gd name="connsiteX708" fmla="*/ 52419 w 7467600"/>
              <a:gd name="connsiteY708" fmla="*/ 2987479 h 6858000"/>
              <a:gd name="connsiteX709" fmla="*/ 59142 w 7467600"/>
              <a:gd name="connsiteY709" fmla="*/ 2978488 h 6858000"/>
              <a:gd name="connsiteX710" fmla="*/ 0 w 7467600"/>
              <a:gd name="connsiteY710" fmla="*/ 3015334 h 6858000"/>
              <a:gd name="connsiteX711" fmla="*/ 0 w 7467600"/>
              <a:gd name="connsiteY711" fmla="*/ 2914286 h 6858000"/>
              <a:gd name="connsiteX712" fmla="*/ 36383 w 7467600"/>
              <a:gd name="connsiteY712" fmla="*/ 2901128 h 6858000"/>
              <a:gd name="connsiteX713" fmla="*/ 156329 w 7467600"/>
              <a:gd name="connsiteY713" fmla="*/ 2840533 h 6858000"/>
              <a:gd name="connsiteX714" fmla="*/ 358355 w 7467600"/>
              <a:gd name="connsiteY714" fmla="*/ 2620471 h 6858000"/>
              <a:gd name="connsiteX715" fmla="*/ 510577 w 7467600"/>
              <a:gd name="connsiteY715" fmla="*/ 2501244 h 6858000"/>
              <a:gd name="connsiteX716" fmla="*/ 211967 w 7467600"/>
              <a:gd name="connsiteY716" fmla="*/ 2479171 h 6858000"/>
              <a:gd name="connsiteX717" fmla="*/ 0 w 7467600"/>
              <a:gd name="connsiteY717" fmla="*/ 2476398 h 6858000"/>
              <a:gd name="connsiteX718" fmla="*/ 0 w 7467600"/>
              <a:gd name="connsiteY718" fmla="*/ 2389189 h 6858000"/>
              <a:gd name="connsiteX719" fmla="*/ 103062 w 7467600"/>
              <a:gd name="connsiteY719" fmla="*/ 2389518 h 6858000"/>
              <a:gd name="connsiteX720" fmla="*/ 510734 w 7467600"/>
              <a:gd name="connsiteY720" fmla="*/ 2416201 h 6858000"/>
              <a:gd name="connsiteX721" fmla="*/ 279257 w 7467600"/>
              <a:gd name="connsiteY721" fmla="*/ 2092102 h 6858000"/>
              <a:gd name="connsiteX722" fmla="*/ 65265 w 7467600"/>
              <a:gd name="connsiteY722" fmla="*/ 2006049 h 6858000"/>
              <a:gd name="connsiteX723" fmla="*/ 0 w 7467600"/>
              <a:gd name="connsiteY723" fmla="*/ 1982532 h 6858000"/>
              <a:gd name="connsiteX724" fmla="*/ 0 w 7467600"/>
              <a:gd name="connsiteY724" fmla="*/ 1912789 h 6858000"/>
              <a:gd name="connsiteX725" fmla="*/ 97460 w 7467600"/>
              <a:gd name="connsiteY725" fmla="*/ 1953725 h 6858000"/>
              <a:gd name="connsiteX726" fmla="*/ 221272 w 7467600"/>
              <a:gd name="connsiteY726" fmla="*/ 1980766 h 6858000"/>
              <a:gd name="connsiteX727" fmla="*/ 116765 w 7467600"/>
              <a:gd name="connsiteY727" fmla="*/ 1911033 h 6858000"/>
              <a:gd name="connsiteX728" fmla="*/ 16405 w 7467600"/>
              <a:gd name="connsiteY728" fmla="*/ 1803412 h 6858000"/>
              <a:gd name="connsiteX729" fmla="*/ 0 w 7467600"/>
              <a:gd name="connsiteY729" fmla="*/ 1784777 h 6858000"/>
              <a:gd name="connsiteX730" fmla="*/ 0 w 7467600"/>
              <a:gd name="connsiteY730" fmla="*/ 1740082 h 6858000"/>
              <a:gd name="connsiteX731" fmla="*/ 39394 w 7467600"/>
              <a:gd name="connsiteY731" fmla="*/ 1784856 h 6858000"/>
              <a:gd name="connsiteX732" fmla="*/ 135813 w 7467600"/>
              <a:gd name="connsiteY732" fmla="*/ 1888838 h 6858000"/>
              <a:gd name="connsiteX733" fmla="*/ 242575 w 7467600"/>
              <a:gd name="connsiteY733" fmla="*/ 1958841 h 6858000"/>
              <a:gd name="connsiteX734" fmla="*/ 82197 w 7467600"/>
              <a:gd name="connsiteY734" fmla="*/ 1754826 h 6858000"/>
              <a:gd name="connsiteX735" fmla="*/ 0 w 7467600"/>
              <a:gd name="connsiteY735" fmla="*/ 1679650 h 6858000"/>
              <a:gd name="connsiteX736" fmla="*/ 0 w 7467600"/>
              <a:gd name="connsiteY736" fmla="*/ 1602463 h 6858000"/>
              <a:gd name="connsiteX737" fmla="*/ 84689 w 7467600"/>
              <a:gd name="connsiteY737" fmla="*/ 1677442 h 6858000"/>
              <a:gd name="connsiteX738" fmla="*/ 298437 w 7467600"/>
              <a:gd name="connsiteY738" fmla="*/ 1968019 h 6858000"/>
              <a:gd name="connsiteX739" fmla="*/ 227269 w 7467600"/>
              <a:gd name="connsiteY739" fmla="*/ 1114064 h 6858000"/>
              <a:gd name="connsiteX740" fmla="*/ 248003 w 7467600"/>
              <a:gd name="connsiteY740" fmla="*/ 1089613 h 6858000"/>
              <a:gd name="connsiteX741" fmla="*/ 427020 w 7467600"/>
              <a:gd name="connsiteY741" fmla="*/ 1619803 h 6858000"/>
              <a:gd name="connsiteX742" fmla="*/ 340345 w 7467600"/>
              <a:gd name="connsiteY742" fmla="*/ 2027739 h 6858000"/>
              <a:gd name="connsiteX743" fmla="*/ 360865 w 7467600"/>
              <a:gd name="connsiteY743" fmla="*/ 2044827 h 6858000"/>
              <a:gd name="connsiteX744" fmla="*/ 560414 w 7467600"/>
              <a:gd name="connsiteY744" fmla="*/ 2421457 h 6858000"/>
              <a:gd name="connsiteX745" fmla="*/ 1359703 w 7467600"/>
              <a:gd name="connsiteY745" fmla="*/ 2578554 h 6858000"/>
              <a:gd name="connsiteX746" fmla="*/ 1359422 w 7467600"/>
              <a:gd name="connsiteY746" fmla="*/ 2577994 h 6858000"/>
              <a:gd name="connsiteX747" fmla="*/ 828701 w 7467600"/>
              <a:gd name="connsiteY747" fmla="*/ 1839520 h 6858000"/>
              <a:gd name="connsiteX748" fmla="*/ 494427 w 7467600"/>
              <a:gd name="connsiteY748" fmla="*/ 1092333 h 6858000"/>
              <a:gd name="connsiteX749" fmla="*/ 506322 w 7467600"/>
              <a:gd name="connsiteY749" fmla="*/ 1020997 h 6858000"/>
              <a:gd name="connsiteX750" fmla="*/ 4570198 w 7467600"/>
              <a:gd name="connsiteY750" fmla="*/ 978081 h 6858000"/>
              <a:gd name="connsiteX751" fmla="*/ 4523691 w 7467600"/>
              <a:gd name="connsiteY751" fmla="*/ 1127776 h 6858000"/>
              <a:gd name="connsiteX752" fmla="*/ 4509875 w 7467600"/>
              <a:gd name="connsiteY752" fmla="*/ 1167552 h 6858000"/>
              <a:gd name="connsiteX753" fmla="*/ 4478168 w 7467600"/>
              <a:gd name="connsiteY753" fmla="*/ 1260735 h 6858000"/>
              <a:gd name="connsiteX754" fmla="*/ 4409309 w 7467600"/>
              <a:gd name="connsiteY754" fmla="*/ 1666996 h 6858000"/>
              <a:gd name="connsiteX755" fmla="*/ 4370031 w 7467600"/>
              <a:gd name="connsiteY755" fmla="*/ 1955666 h 6858000"/>
              <a:gd name="connsiteX756" fmla="*/ 4570198 w 7467600"/>
              <a:gd name="connsiteY756" fmla="*/ 978081 h 6858000"/>
              <a:gd name="connsiteX757" fmla="*/ 4557898 w 7467600"/>
              <a:gd name="connsiteY757" fmla="*/ 900011 h 6858000"/>
              <a:gd name="connsiteX758" fmla="*/ 4344840 w 7467600"/>
              <a:gd name="connsiteY758" fmla="*/ 1922038 h 6858000"/>
              <a:gd name="connsiteX759" fmla="*/ 4378710 w 7467600"/>
              <a:gd name="connsiteY759" fmla="*/ 1665516 h 6858000"/>
              <a:gd name="connsiteX760" fmla="*/ 4448798 w 7467600"/>
              <a:gd name="connsiteY760" fmla="*/ 1253024 h 6858000"/>
              <a:gd name="connsiteX761" fmla="*/ 4480315 w 7467600"/>
              <a:gd name="connsiteY761" fmla="*/ 1158454 h 6858000"/>
              <a:gd name="connsiteX762" fmla="*/ 4494133 w 7467600"/>
              <a:gd name="connsiteY762" fmla="*/ 1118676 h 6858000"/>
              <a:gd name="connsiteX763" fmla="*/ 4557898 w 7467600"/>
              <a:gd name="connsiteY763" fmla="*/ 900011 h 6858000"/>
              <a:gd name="connsiteX764" fmla="*/ 5870151 w 7467600"/>
              <a:gd name="connsiteY764" fmla="*/ 898890 h 6858000"/>
              <a:gd name="connsiteX765" fmla="*/ 5861335 w 7467600"/>
              <a:gd name="connsiteY765" fmla="*/ 899177 h 6858000"/>
              <a:gd name="connsiteX766" fmla="*/ 5843702 w 7467600"/>
              <a:gd name="connsiteY766" fmla="*/ 899748 h 6858000"/>
              <a:gd name="connsiteX767" fmla="*/ 5651107 w 7467600"/>
              <a:gd name="connsiteY767" fmla="*/ 920306 h 6858000"/>
              <a:gd name="connsiteX768" fmla="*/ 5459407 w 7467600"/>
              <a:gd name="connsiteY768" fmla="*/ 940975 h 6858000"/>
              <a:gd name="connsiteX769" fmla="*/ 5374846 w 7467600"/>
              <a:gd name="connsiteY769" fmla="*/ 941988 h 6858000"/>
              <a:gd name="connsiteX770" fmla="*/ 5256105 w 7467600"/>
              <a:gd name="connsiteY770" fmla="*/ 945632 h 6858000"/>
              <a:gd name="connsiteX771" fmla="*/ 5107071 w 7467600"/>
              <a:gd name="connsiteY771" fmla="*/ 969720 h 6858000"/>
              <a:gd name="connsiteX772" fmla="*/ 4998681 w 7467600"/>
              <a:gd name="connsiteY772" fmla="*/ 988771 h 6858000"/>
              <a:gd name="connsiteX773" fmla="*/ 5870151 w 7467600"/>
              <a:gd name="connsiteY773" fmla="*/ 898890 h 6858000"/>
              <a:gd name="connsiteX774" fmla="*/ 5504425 w 7467600"/>
              <a:gd name="connsiteY774" fmla="*/ 848067 h 6858000"/>
              <a:gd name="connsiteX775" fmla="*/ 4968849 w 7467600"/>
              <a:gd name="connsiteY775" fmla="*/ 962318 h 6858000"/>
              <a:gd name="connsiteX776" fmla="*/ 5104039 w 7467600"/>
              <a:gd name="connsiteY776" fmla="*/ 940634 h 6858000"/>
              <a:gd name="connsiteX777" fmla="*/ 5256311 w 7467600"/>
              <a:gd name="connsiteY777" fmla="*/ 916490 h 6858000"/>
              <a:gd name="connsiteX778" fmla="*/ 5377381 w 7467600"/>
              <a:gd name="connsiteY778" fmla="*/ 912671 h 6858000"/>
              <a:gd name="connsiteX779" fmla="*/ 5460148 w 7467600"/>
              <a:gd name="connsiteY779" fmla="*/ 911442 h 6858000"/>
              <a:gd name="connsiteX780" fmla="*/ 5648971 w 7467600"/>
              <a:gd name="connsiteY780" fmla="*/ 891331 h 6858000"/>
              <a:gd name="connsiteX781" fmla="*/ 5844807 w 7467600"/>
              <a:gd name="connsiteY781" fmla="*/ 870718 h 6858000"/>
              <a:gd name="connsiteX782" fmla="*/ 5862975 w 7467600"/>
              <a:gd name="connsiteY782" fmla="*/ 869756 h 6858000"/>
              <a:gd name="connsiteX783" fmla="*/ 5920887 w 7467600"/>
              <a:gd name="connsiteY783" fmla="*/ 865929 h 6858000"/>
              <a:gd name="connsiteX784" fmla="*/ 5504425 w 7467600"/>
              <a:gd name="connsiteY784" fmla="*/ 848067 h 6858000"/>
              <a:gd name="connsiteX785" fmla="*/ 3607114 w 7467600"/>
              <a:gd name="connsiteY785" fmla="*/ 467441 h 6858000"/>
              <a:gd name="connsiteX786" fmla="*/ 3296242 w 7467600"/>
              <a:gd name="connsiteY786" fmla="*/ 807991 h 6858000"/>
              <a:gd name="connsiteX787" fmla="*/ 3174674 w 7467600"/>
              <a:gd name="connsiteY787" fmla="*/ 919759 h 6858000"/>
              <a:gd name="connsiteX788" fmla="*/ 3042978 w 7467600"/>
              <a:gd name="connsiteY788" fmla="*/ 1054894 h 6858000"/>
              <a:gd name="connsiteX789" fmla="*/ 2968914 w 7467600"/>
              <a:gd name="connsiteY789" fmla="*/ 1133756 h 6858000"/>
              <a:gd name="connsiteX790" fmla="*/ 3103823 w 7467600"/>
              <a:gd name="connsiteY790" fmla="*/ 1026814 h 6858000"/>
              <a:gd name="connsiteX791" fmla="*/ 3607114 w 7467600"/>
              <a:gd name="connsiteY791" fmla="*/ 467441 h 6858000"/>
              <a:gd name="connsiteX792" fmla="*/ 3744487 w 7467600"/>
              <a:gd name="connsiteY792" fmla="*/ 383136 h 6858000"/>
              <a:gd name="connsiteX793" fmla="*/ 3970213 w 7467600"/>
              <a:gd name="connsiteY793" fmla="*/ 995559 h 6858000"/>
              <a:gd name="connsiteX794" fmla="*/ 3744487 w 7467600"/>
              <a:gd name="connsiteY794" fmla="*/ 383136 h 6858000"/>
              <a:gd name="connsiteX795" fmla="*/ 3624562 w 7467600"/>
              <a:gd name="connsiteY795" fmla="*/ 367041 h 6858000"/>
              <a:gd name="connsiteX796" fmla="*/ 3489712 w 7467600"/>
              <a:gd name="connsiteY796" fmla="*/ 485386 h 6858000"/>
              <a:gd name="connsiteX797" fmla="*/ 3182994 w 7467600"/>
              <a:gd name="connsiteY797" fmla="*/ 828265 h 6858000"/>
              <a:gd name="connsiteX798" fmla="*/ 2892114 w 7467600"/>
              <a:gd name="connsiteY798" fmla="*/ 1172635 h 6858000"/>
              <a:gd name="connsiteX799" fmla="*/ 3021459 w 7467600"/>
              <a:gd name="connsiteY799" fmla="*/ 1035385 h 6858000"/>
              <a:gd name="connsiteX800" fmla="*/ 3153873 w 7467600"/>
              <a:gd name="connsiteY800" fmla="*/ 898971 h 6858000"/>
              <a:gd name="connsiteX801" fmla="*/ 3276511 w 7467600"/>
              <a:gd name="connsiteY801" fmla="*/ 786423 h 6858000"/>
              <a:gd name="connsiteX802" fmla="*/ 3584154 w 7467600"/>
              <a:gd name="connsiteY802" fmla="*/ 448218 h 6858000"/>
              <a:gd name="connsiteX803" fmla="*/ 3624562 w 7467600"/>
              <a:gd name="connsiteY803" fmla="*/ 367041 h 6858000"/>
              <a:gd name="connsiteX804" fmla="*/ 3766672 w 7467600"/>
              <a:gd name="connsiteY804" fmla="*/ 359429 h 6858000"/>
              <a:gd name="connsiteX805" fmla="*/ 3996338 w 7467600"/>
              <a:gd name="connsiteY805" fmla="*/ 968237 h 6858000"/>
              <a:gd name="connsiteX806" fmla="*/ 3766672 w 7467600"/>
              <a:gd name="connsiteY806" fmla="*/ 359429 h 6858000"/>
              <a:gd name="connsiteX807" fmla="*/ 5805386 w 7467600"/>
              <a:gd name="connsiteY807" fmla="*/ 239240 h 6858000"/>
              <a:gd name="connsiteX808" fmla="*/ 5736947 w 7467600"/>
              <a:gd name="connsiteY808" fmla="*/ 261367 h 6858000"/>
              <a:gd name="connsiteX809" fmla="*/ 5427012 w 7467600"/>
              <a:gd name="connsiteY809" fmla="*/ 311272 h 6858000"/>
              <a:gd name="connsiteX810" fmla="*/ 5147818 w 7467600"/>
              <a:gd name="connsiteY810" fmla="*/ 322112 h 6858000"/>
              <a:gd name="connsiteX811" fmla="*/ 5060854 w 7467600"/>
              <a:gd name="connsiteY811" fmla="*/ 311882 h 6858000"/>
              <a:gd name="connsiteX812" fmla="*/ 4945989 w 7467600"/>
              <a:gd name="connsiteY812" fmla="*/ 300516 h 6858000"/>
              <a:gd name="connsiteX813" fmla="*/ 5410479 w 7467600"/>
              <a:gd name="connsiteY813" fmla="*/ 348434 h 6858000"/>
              <a:gd name="connsiteX814" fmla="*/ 5805386 w 7467600"/>
              <a:gd name="connsiteY814" fmla="*/ 239240 h 6858000"/>
              <a:gd name="connsiteX815" fmla="*/ 5905192 w 7467600"/>
              <a:gd name="connsiteY815" fmla="*/ 163079 h 6858000"/>
              <a:gd name="connsiteX816" fmla="*/ 5865655 w 7467600"/>
              <a:gd name="connsiteY816" fmla="*/ 171901 h 6858000"/>
              <a:gd name="connsiteX817" fmla="*/ 5259740 w 7467600"/>
              <a:gd name="connsiteY817" fmla="*/ 257013 h 6858000"/>
              <a:gd name="connsiteX818" fmla="*/ 5208466 w 7467600"/>
              <a:gd name="connsiteY818" fmla="*/ 257550 h 6858000"/>
              <a:gd name="connsiteX819" fmla="*/ 4980204 w 7467600"/>
              <a:gd name="connsiteY819" fmla="*/ 271903 h 6858000"/>
              <a:gd name="connsiteX820" fmla="*/ 5068068 w 7467600"/>
              <a:gd name="connsiteY820" fmla="*/ 282244 h 6858000"/>
              <a:gd name="connsiteX821" fmla="*/ 5153231 w 7467600"/>
              <a:gd name="connsiteY821" fmla="*/ 292240 h 6858000"/>
              <a:gd name="connsiteX822" fmla="*/ 5426491 w 7467600"/>
              <a:gd name="connsiteY822" fmla="*/ 281128 h 6858000"/>
              <a:gd name="connsiteX823" fmla="*/ 5731212 w 7467600"/>
              <a:gd name="connsiteY823" fmla="*/ 231951 h 6858000"/>
              <a:gd name="connsiteX824" fmla="*/ 5905192 w 7467600"/>
              <a:gd name="connsiteY824" fmla="*/ 163079 h 6858000"/>
              <a:gd name="connsiteX825" fmla="*/ 5944437 w 7467600"/>
              <a:gd name="connsiteY825" fmla="*/ 113829 h 6858000"/>
              <a:gd name="connsiteX826" fmla="*/ 5825032 w 7467600"/>
              <a:gd name="connsiteY826" fmla="*/ 146405 h 6858000"/>
              <a:gd name="connsiteX827" fmla="*/ 4955599 w 7467600"/>
              <a:gd name="connsiteY827" fmla="*/ 247008 h 6858000"/>
              <a:gd name="connsiteX828" fmla="*/ 5210104 w 7467600"/>
              <a:gd name="connsiteY828" fmla="*/ 228123 h 6858000"/>
              <a:gd name="connsiteX829" fmla="*/ 5261015 w 7467600"/>
              <a:gd name="connsiteY829" fmla="*/ 227087 h 6858000"/>
              <a:gd name="connsiteX830" fmla="*/ 5861181 w 7467600"/>
              <a:gd name="connsiteY830" fmla="*/ 143093 h 6858000"/>
              <a:gd name="connsiteX831" fmla="*/ 5961252 w 7467600"/>
              <a:gd name="connsiteY831" fmla="*/ 114820 h 6858000"/>
              <a:gd name="connsiteX832" fmla="*/ 5944437 w 7467600"/>
              <a:gd name="connsiteY832" fmla="*/ 113829 h 6858000"/>
              <a:gd name="connsiteX833" fmla="*/ 3882765 w 7467600"/>
              <a:gd name="connsiteY833" fmla="*/ 0 h 6858000"/>
              <a:gd name="connsiteX834" fmla="*/ 3995099 w 7467600"/>
              <a:gd name="connsiteY834" fmla="*/ 0 h 6858000"/>
              <a:gd name="connsiteX835" fmla="*/ 4163818 w 7467600"/>
              <a:gd name="connsiteY835" fmla="*/ 234104 h 6858000"/>
              <a:gd name="connsiteX836" fmla="*/ 4172099 w 7467600"/>
              <a:gd name="connsiteY836" fmla="*/ 234207 h 6858000"/>
              <a:gd name="connsiteX837" fmla="*/ 4784282 w 7467600"/>
              <a:gd name="connsiteY837" fmla="*/ 276561 h 6858000"/>
              <a:gd name="connsiteX838" fmla="*/ 4801687 w 7467600"/>
              <a:gd name="connsiteY838" fmla="*/ 267764 h 6858000"/>
              <a:gd name="connsiteX839" fmla="*/ 6082788 w 7467600"/>
              <a:gd name="connsiteY839" fmla="*/ 64119 h 6858000"/>
              <a:gd name="connsiteX840" fmla="*/ 6099442 w 7467600"/>
              <a:gd name="connsiteY840" fmla="*/ 82568 h 6858000"/>
              <a:gd name="connsiteX841" fmla="*/ 4804137 w 7467600"/>
              <a:gd name="connsiteY841" fmla="*/ 320931 h 6858000"/>
              <a:gd name="connsiteX842" fmla="*/ 4227047 w 7467600"/>
              <a:gd name="connsiteY842" fmla="*/ 313415 h 6858000"/>
              <a:gd name="connsiteX843" fmla="*/ 4346041 w 7467600"/>
              <a:gd name="connsiteY843" fmla="*/ 456086 h 6858000"/>
              <a:gd name="connsiteX844" fmla="*/ 4870967 w 7467600"/>
              <a:gd name="connsiteY844" fmla="*/ 963061 h 6858000"/>
              <a:gd name="connsiteX845" fmla="*/ 4889647 w 7467600"/>
              <a:gd name="connsiteY845" fmla="*/ 957147 h 6858000"/>
              <a:gd name="connsiteX846" fmla="*/ 5422504 w 7467600"/>
              <a:gd name="connsiteY846" fmla="*/ 805191 h 6858000"/>
              <a:gd name="connsiteX847" fmla="*/ 6087656 w 7467600"/>
              <a:gd name="connsiteY847" fmla="*/ 826703 h 6858000"/>
              <a:gd name="connsiteX848" fmla="*/ 6058717 w 7467600"/>
              <a:gd name="connsiteY848" fmla="*/ 865992 h 6858000"/>
              <a:gd name="connsiteX849" fmla="*/ 4974153 w 7467600"/>
              <a:gd name="connsiteY849" fmla="*/ 1045456 h 6858000"/>
              <a:gd name="connsiteX850" fmla="*/ 5627835 w 7467600"/>
              <a:gd name="connsiteY850" fmla="*/ 1472077 h 6858000"/>
              <a:gd name="connsiteX851" fmla="*/ 5629817 w 7467600"/>
              <a:gd name="connsiteY851" fmla="*/ 1471412 h 6858000"/>
              <a:gd name="connsiteX852" fmla="*/ 5634124 w 7467600"/>
              <a:gd name="connsiteY852" fmla="*/ 1470572 h 6858000"/>
              <a:gd name="connsiteX853" fmla="*/ 5755832 w 7467600"/>
              <a:gd name="connsiteY853" fmla="*/ 1383886 h 6858000"/>
              <a:gd name="connsiteX854" fmla="*/ 6014186 w 7467600"/>
              <a:gd name="connsiteY854" fmla="*/ 1279799 h 6858000"/>
              <a:gd name="connsiteX855" fmla="*/ 6901619 w 7467600"/>
              <a:gd name="connsiteY855" fmla="*/ 1047874 h 6858000"/>
              <a:gd name="connsiteX856" fmla="*/ 6931566 w 7467600"/>
              <a:gd name="connsiteY856" fmla="*/ 1062034 h 6858000"/>
              <a:gd name="connsiteX857" fmla="*/ 5790982 w 7467600"/>
              <a:gd name="connsiteY857" fmla="*/ 1561380 h 6858000"/>
              <a:gd name="connsiteX858" fmla="*/ 6188971 w 7467600"/>
              <a:gd name="connsiteY858" fmla="*/ 1755168 h 6858000"/>
              <a:gd name="connsiteX859" fmla="*/ 6202446 w 7467600"/>
              <a:gd name="connsiteY859" fmla="*/ 1752268 h 6858000"/>
              <a:gd name="connsiteX860" fmla="*/ 7179560 w 7467600"/>
              <a:gd name="connsiteY860" fmla="*/ 1467551 h 6858000"/>
              <a:gd name="connsiteX861" fmla="*/ 7158730 w 7467600"/>
              <a:gd name="connsiteY861" fmla="*/ 1507835 h 6858000"/>
              <a:gd name="connsiteX862" fmla="*/ 6326959 w 7467600"/>
              <a:gd name="connsiteY862" fmla="*/ 1817686 h 6858000"/>
              <a:gd name="connsiteX863" fmla="*/ 6537433 w 7467600"/>
              <a:gd name="connsiteY863" fmla="*/ 1907790 h 6858000"/>
              <a:gd name="connsiteX864" fmla="*/ 6550221 w 7467600"/>
              <a:gd name="connsiteY864" fmla="*/ 1910729 h 6858000"/>
              <a:gd name="connsiteX865" fmla="*/ 6964438 w 7467600"/>
              <a:gd name="connsiteY865" fmla="*/ 2209505 h 6858000"/>
              <a:gd name="connsiteX866" fmla="*/ 7367862 w 7467600"/>
              <a:gd name="connsiteY866" fmla="*/ 2806833 h 6858000"/>
              <a:gd name="connsiteX867" fmla="*/ 7364329 w 7467600"/>
              <a:gd name="connsiteY867" fmla="*/ 2826907 h 6858000"/>
              <a:gd name="connsiteX868" fmla="*/ 7290545 w 7467600"/>
              <a:gd name="connsiteY868" fmla="*/ 2850663 h 6858000"/>
              <a:gd name="connsiteX869" fmla="*/ 6472036 w 7467600"/>
              <a:gd name="connsiteY869" fmla="*/ 1959003 h 6858000"/>
              <a:gd name="connsiteX870" fmla="*/ 5792897 w 7467600"/>
              <a:gd name="connsiteY870" fmla="*/ 1647747 h 6858000"/>
              <a:gd name="connsiteX871" fmla="*/ 5842751 w 7467600"/>
              <a:gd name="connsiteY871" fmla="*/ 1816112 h 6858000"/>
              <a:gd name="connsiteX872" fmla="*/ 5847424 w 7467600"/>
              <a:gd name="connsiteY872" fmla="*/ 1815776 h 6858000"/>
              <a:gd name="connsiteX873" fmla="*/ 6399821 w 7467600"/>
              <a:gd name="connsiteY873" fmla="*/ 2344799 h 6858000"/>
              <a:gd name="connsiteX874" fmla="*/ 6323232 w 7467600"/>
              <a:gd name="connsiteY874" fmla="*/ 2389634 h 6858000"/>
              <a:gd name="connsiteX875" fmla="*/ 5942958 w 7467600"/>
              <a:gd name="connsiteY875" fmla="*/ 2077708 h 6858000"/>
              <a:gd name="connsiteX876" fmla="*/ 5921559 w 7467600"/>
              <a:gd name="connsiteY876" fmla="*/ 2378596 h 6858000"/>
              <a:gd name="connsiteX877" fmla="*/ 5817651 w 7467600"/>
              <a:gd name="connsiteY877" fmla="*/ 3023919 h 6858000"/>
              <a:gd name="connsiteX878" fmla="*/ 5729634 w 7467600"/>
              <a:gd name="connsiteY878" fmla="*/ 3051849 h 6858000"/>
              <a:gd name="connsiteX879" fmla="*/ 5611018 w 7467600"/>
              <a:gd name="connsiteY879" fmla="*/ 2316769 h 6858000"/>
              <a:gd name="connsiteX880" fmla="*/ 5687608 w 7467600"/>
              <a:gd name="connsiteY880" fmla="*/ 2039972 h 6858000"/>
              <a:gd name="connsiteX881" fmla="*/ 5657554 w 7467600"/>
              <a:gd name="connsiteY881" fmla="*/ 1576445 h 6858000"/>
              <a:gd name="connsiteX882" fmla="*/ 5150475 w 7467600"/>
              <a:gd name="connsiteY882" fmla="*/ 1274012 h 6858000"/>
              <a:gd name="connsiteX883" fmla="*/ 5349142 w 7467600"/>
              <a:gd name="connsiteY883" fmla="*/ 2204405 h 6858000"/>
              <a:gd name="connsiteX884" fmla="*/ 5262214 w 7467600"/>
              <a:gd name="connsiteY884" fmla="*/ 2233836 h 6858000"/>
              <a:gd name="connsiteX885" fmla="*/ 4981539 w 7467600"/>
              <a:gd name="connsiteY885" fmla="*/ 1542201 h 6858000"/>
              <a:gd name="connsiteX886" fmla="*/ 4958461 w 7467600"/>
              <a:gd name="connsiteY886" fmla="*/ 1136957 h 6858000"/>
              <a:gd name="connsiteX887" fmla="*/ 4655015 w 7467600"/>
              <a:gd name="connsiteY887" fmla="*/ 891426 h 6858000"/>
              <a:gd name="connsiteX888" fmla="*/ 4348002 w 7467600"/>
              <a:gd name="connsiteY888" fmla="*/ 2205895 h 6858000"/>
              <a:gd name="connsiteX889" fmla="*/ 4262250 w 7467600"/>
              <a:gd name="connsiteY889" fmla="*/ 2219972 h 6858000"/>
              <a:gd name="connsiteX890" fmla="*/ 4550611 w 7467600"/>
              <a:gd name="connsiteY890" fmla="*/ 817540 h 6858000"/>
              <a:gd name="connsiteX891" fmla="*/ 4564418 w 7467600"/>
              <a:gd name="connsiteY891" fmla="*/ 808293 h 6858000"/>
              <a:gd name="connsiteX892" fmla="*/ 4266388 w 7467600"/>
              <a:gd name="connsiteY892" fmla="*/ 500083 h 6858000"/>
              <a:gd name="connsiteX893" fmla="*/ 4032842 w 7467600"/>
              <a:gd name="connsiteY893" fmla="*/ 211809 h 6858000"/>
              <a:gd name="connsiteX894" fmla="*/ 3882765 w 7467600"/>
              <a:gd name="connsiteY894" fmla="*/ 0 h 6858000"/>
              <a:gd name="connsiteX895" fmla="*/ 3721337 w 7467600"/>
              <a:gd name="connsiteY895" fmla="*/ 0 h 6858000"/>
              <a:gd name="connsiteX896" fmla="*/ 3797544 w 7467600"/>
              <a:gd name="connsiteY896" fmla="*/ 0 h 6858000"/>
              <a:gd name="connsiteX897" fmla="*/ 3775734 w 7467600"/>
              <a:gd name="connsiteY897" fmla="*/ 95131 h 6858000"/>
              <a:gd name="connsiteX898" fmla="*/ 3724807 w 7467600"/>
              <a:gd name="connsiteY898" fmla="*/ 272257 h 6858000"/>
              <a:gd name="connsiteX899" fmla="*/ 3726844 w 7467600"/>
              <a:gd name="connsiteY899" fmla="*/ 282988 h 6858000"/>
              <a:gd name="connsiteX900" fmla="*/ 3742664 w 7467600"/>
              <a:gd name="connsiteY900" fmla="*/ 279918 h 6858000"/>
              <a:gd name="connsiteX901" fmla="*/ 4103910 w 7467600"/>
              <a:gd name="connsiteY901" fmla="*/ 1161917 h 6858000"/>
              <a:gd name="connsiteX902" fmla="*/ 4020269 w 7467600"/>
              <a:gd name="connsiteY902" fmla="*/ 1200406 h 6858000"/>
              <a:gd name="connsiteX903" fmla="*/ 3674882 w 7467600"/>
              <a:gd name="connsiteY903" fmla="*/ 488524 h 6858000"/>
              <a:gd name="connsiteX904" fmla="*/ 3132682 w 7467600"/>
              <a:gd name="connsiteY904" fmla="*/ 1072284 h 6858000"/>
              <a:gd name="connsiteX905" fmla="*/ 2716346 w 7467600"/>
              <a:gd name="connsiteY905" fmla="*/ 1276376 h 6858000"/>
              <a:gd name="connsiteX906" fmla="*/ 2716772 w 7467600"/>
              <a:gd name="connsiteY906" fmla="*/ 1255462 h 6858000"/>
              <a:gd name="connsiteX907" fmla="*/ 3471096 w 7467600"/>
              <a:gd name="connsiteY907" fmla="*/ 437072 h 6858000"/>
              <a:gd name="connsiteX908" fmla="*/ 3639057 w 7467600"/>
              <a:gd name="connsiteY908" fmla="*/ 286334 h 6858000"/>
              <a:gd name="connsiteX909" fmla="*/ 3640309 w 7467600"/>
              <a:gd name="connsiteY909" fmla="*/ 284664 h 6858000"/>
              <a:gd name="connsiteX910" fmla="*/ 3646022 w 7467600"/>
              <a:gd name="connsiteY910" fmla="*/ 276711 h 6858000"/>
              <a:gd name="connsiteX911" fmla="*/ 3707943 w 7467600"/>
              <a:gd name="connsiteY911" fmla="*/ 65958 h 6858000"/>
              <a:gd name="connsiteX912" fmla="*/ 3721337 w 7467600"/>
              <a:gd name="connsiteY912" fmla="*/ 0 h 6858000"/>
              <a:gd name="connsiteX913" fmla="*/ 2867960 w 7467600"/>
              <a:gd name="connsiteY913" fmla="*/ 0 h 6858000"/>
              <a:gd name="connsiteX914" fmla="*/ 2926351 w 7467600"/>
              <a:gd name="connsiteY914" fmla="*/ 0 h 6858000"/>
              <a:gd name="connsiteX915" fmla="*/ 2902823 w 7467600"/>
              <a:gd name="connsiteY915" fmla="*/ 262929 h 6858000"/>
              <a:gd name="connsiteX916" fmla="*/ 2940663 w 7467600"/>
              <a:gd name="connsiteY916" fmla="*/ 140884 h 6858000"/>
              <a:gd name="connsiteX917" fmla="*/ 2947039 w 7467600"/>
              <a:gd name="connsiteY917" fmla="*/ 122524 h 6858000"/>
              <a:gd name="connsiteX918" fmla="*/ 2984316 w 7467600"/>
              <a:gd name="connsiteY918" fmla="*/ 0 h 6858000"/>
              <a:gd name="connsiteX919" fmla="*/ 3016114 w 7467600"/>
              <a:gd name="connsiteY919" fmla="*/ 0 h 6858000"/>
              <a:gd name="connsiteX920" fmla="*/ 2979949 w 7467600"/>
              <a:gd name="connsiteY920" fmla="*/ 119274 h 6858000"/>
              <a:gd name="connsiteX921" fmla="*/ 3023879 w 7467600"/>
              <a:gd name="connsiteY921" fmla="*/ 0 h 6858000"/>
              <a:gd name="connsiteX922" fmla="*/ 3105400 w 7467600"/>
              <a:gd name="connsiteY922" fmla="*/ 0 h 6858000"/>
              <a:gd name="connsiteX923" fmla="*/ 3094669 w 7467600"/>
              <a:gd name="connsiteY923" fmla="*/ 30308 h 6858000"/>
              <a:gd name="connsiteX924" fmla="*/ 2901945 w 7467600"/>
              <a:gd name="connsiteY924" fmla="*/ 466538 h 6858000"/>
              <a:gd name="connsiteX925" fmla="*/ 2815209 w 7467600"/>
              <a:gd name="connsiteY925" fmla="*/ 497361 h 6858000"/>
              <a:gd name="connsiteX926" fmla="*/ 2844845 w 7467600"/>
              <a:gd name="connsiteY926" fmla="*/ 127638 h 6858000"/>
              <a:gd name="connsiteX927" fmla="*/ 2867960 w 7467600"/>
              <a:gd name="connsiteY927" fmla="*/ 0 h 6858000"/>
              <a:gd name="connsiteX928" fmla="*/ 1057230 w 7467600"/>
              <a:gd name="connsiteY928" fmla="*/ 0 h 6858000"/>
              <a:gd name="connsiteX929" fmla="*/ 1111003 w 7467600"/>
              <a:gd name="connsiteY929" fmla="*/ 0 h 6858000"/>
              <a:gd name="connsiteX930" fmla="*/ 1125553 w 7467600"/>
              <a:gd name="connsiteY930" fmla="*/ 52588 h 6858000"/>
              <a:gd name="connsiteX931" fmla="*/ 1304276 w 7467600"/>
              <a:gd name="connsiteY931" fmla="*/ 476275 h 6858000"/>
              <a:gd name="connsiteX932" fmla="*/ 1492066 w 7467600"/>
              <a:gd name="connsiteY932" fmla="*/ 886333 h 6858000"/>
              <a:gd name="connsiteX933" fmla="*/ 1423698 w 7467600"/>
              <a:gd name="connsiteY933" fmla="*/ 710817 h 6858000"/>
              <a:gd name="connsiteX934" fmla="*/ 1357609 w 7467600"/>
              <a:gd name="connsiteY934" fmla="*/ 532892 h 6858000"/>
              <a:gd name="connsiteX935" fmla="*/ 1309550 w 7467600"/>
              <a:gd name="connsiteY935" fmla="*/ 374031 h 6858000"/>
              <a:gd name="connsiteX936" fmla="*/ 1193673 w 7467600"/>
              <a:gd name="connsiteY936" fmla="*/ 49533 h 6858000"/>
              <a:gd name="connsiteX937" fmla="*/ 1164391 w 7467600"/>
              <a:gd name="connsiteY937" fmla="*/ 0 h 6858000"/>
              <a:gd name="connsiteX938" fmla="*/ 1200666 w 7467600"/>
              <a:gd name="connsiteY938" fmla="*/ 0 h 6858000"/>
              <a:gd name="connsiteX939" fmla="*/ 1223408 w 7467600"/>
              <a:gd name="connsiteY939" fmla="*/ 38996 h 6858000"/>
              <a:gd name="connsiteX940" fmla="*/ 1339635 w 7467600"/>
              <a:gd name="connsiteY940" fmla="*/ 365517 h 6858000"/>
              <a:gd name="connsiteX941" fmla="*/ 1387469 w 7467600"/>
              <a:gd name="connsiteY941" fmla="*/ 523079 h 6858000"/>
              <a:gd name="connsiteX942" fmla="*/ 1452685 w 7467600"/>
              <a:gd name="connsiteY942" fmla="*/ 699806 h 6858000"/>
              <a:gd name="connsiteX943" fmla="*/ 1492092 w 7467600"/>
              <a:gd name="connsiteY943" fmla="*/ 800424 h 6858000"/>
              <a:gd name="connsiteX944" fmla="*/ 1455302 w 7467600"/>
              <a:gd name="connsiteY944" fmla="*/ 632913 h 6858000"/>
              <a:gd name="connsiteX945" fmla="*/ 1222336 w 7467600"/>
              <a:gd name="connsiteY945" fmla="*/ 9480 h 6858000"/>
              <a:gd name="connsiteX946" fmla="*/ 1214634 w 7467600"/>
              <a:gd name="connsiteY946" fmla="*/ 0 h 6858000"/>
              <a:gd name="connsiteX947" fmla="*/ 1289827 w 7467600"/>
              <a:gd name="connsiteY947" fmla="*/ 0 h 6858000"/>
              <a:gd name="connsiteX948" fmla="*/ 1321076 w 7467600"/>
              <a:gd name="connsiteY948" fmla="*/ 59722 h 6858000"/>
              <a:gd name="connsiteX949" fmla="*/ 1512579 w 7467600"/>
              <a:gd name="connsiteY949" fmla="*/ 626441 h 6858000"/>
              <a:gd name="connsiteX950" fmla="*/ 1506076 w 7467600"/>
              <a:gd name="connsiteY950" fmla="*/ 1089289 h 6858000"/>
              <a:gd name="connsiteX951" fmla="*/ 1486346 w 7467600"/>
              <a:gd name="connsiteY951" fmla="*/ 1079919 h 6858000"/>
              <a:gd name="connsiteX952" fmla="*/ 1070511 w 7467600"/>
              <a:gd name="connsiteY952" fmla="*/ 48609 h 6858000"/>
              <a:gd name="connsiteX953" fmla="*/ 1057230 w 7467600"/>
              <a:gd name="connsiteY953" fmla="*/ 0 h 6858000"/>
              <a:gd name="connsiteX954" fmla="*/ 43151 w 7467600"/>
              <a:gd name="connsiteY954" fmla="*/ 0 h 6858000"/>
              <a:gd name="connsiteX955" fmla="*/ 95283 w 7467600"/>
              <a:gd name="connsiteY955" fmla="*/ 0 h 6858000"/>
              <a:gd name="connsiteX956" fmla="*/ 300708 w 7467600"/>
              <a:gd name="connsiteY956" fmla="*/ 154571 h 6858000"/>
              <a:gd name="connsiteX957" fmla="*/ 530414 w 7467600"/>
              <a:gd name="connsiteY957" fmla="*/ 354673 h 6858000"/>
              <a:gd name="connsiteX958" fmla="*/ 333785 w 7467600"/>
              <a:gd name="connsiteY958" fmla="*/ 161564 h 6858000"/>
              <a:gd name="connsiteX959" fmla="*/ 147005 w 7467600"/>
              <a:gd name="connsiteY959" fmla="*/ 0 h 6858000"/>
              <a:gd name="connsiteX960" fmla="*/ 272509 w 7467600"/>
              <a:gd name="connsiteY960" fmla="*/ 0 h 6858000"/>
              <a:gd name="connsiteX961" fmla="*/ 326276 w 7467600"/>
              <a:gd name="connsiteY961" fmla="*/ 45847 h 6858000"/>
              <a:gd name="connsiteX962" fmla="*/ 823759 w 7467600"/>
              <a:gd name="connsiteY962" fmla="*/ 574145 h 6858000"/>
              <a:gd name="connsiteX963" fmla="*/ 811254 w 7467600"/>
              <a:gd name="connsiteY963" fmla="*/ 665546 h 6858000"/>
              <a:gd name="connsiteX964" fmla="*/ 154042 w 7467600"/>
              <a:gd name="connsiteY964" fmla="*/ 261522 h 6858000"/>
              <a:gd name="connsiteX965" fmla="*/ 13550 w 7467600"/>
              <a:gd name="connsiteY965" fmla="*/ 158423 h 6858000"/>
              <a:gd name="connsiteX966" fmla="*/ 0 w 7467600"/>
              <a:gd name="connsiteY966" fmla="*/ 146618 h 6858000"/>
              <a:gd name="connsiteX967" fmla="*/ 0 w 7467600"/>
              <a:gd name="connsiteY967" fmla="*/ 59161 h 6858000"/>
              <a:gd name="connsiteX968" fmla="*/ 45427 w 7467600"/>
              <a:gd name="connsiteY968" fmla="*/ 101078 h 6858000"/>
              <a:gd name="connsiteX969" fmla="*/ 630103 w 7467600"/>
              <a:gd name="connsiteY969" fmla="*/ 485885 h 6858000"/>
              <a:gd name="connsiteX970" fmla="*/ 532040 w 7467600"/>
              <a:gd name="connsiteY970" fmla="*/ 399359 h 6858000"/>
              <a:gd name="connsiteX971" fmla="*/ 517618 w 7467600"/>
              <a:gd name="connsiteY971" fmla="*/ 385726 h 6858000"/>
              <a:gd name="connsiteX972" fmla="*/ 285074 w 7467600"/>
              <a:gd name="connsiteY972" fmla="*/ 182755 h 6858000"/>
              <a:gd name="connsiteX973" fmla="*/ 43151 w 7467600"/>
              <a:gd name="connsiteY973"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7042773 w 7467600"/>
              <a:gd name="connsiteY74" fmla="*/ 5734011 h 6858000"/>
              <a:gd name="connsiteX75" fmla="*/ 7379510 w 7467600"/>
              <a:gd name="connsiteY75" fmla="*/ 5755454 h 6858000"/>
              <a:gd name="connsiteX76" fmla="*/ 7467600 w 7467600"/>
              <a:gd name="connsiteY76" fmla="*/ 5845526 h 6858000"/>
              <a:gd name="connsiteX77" fmla="*/ 7271900 w 7467600"/>
              <a:gd name="connsiteY77" fmla="*/ 5734551 h 6858000"/>
              <a:gd name="connsiteX78" fmla="*/ 7015907 w 7467600"/>
              <a:gd name="connsiteY78" fmla="*/ 5541548 h 6858000"/>
              <a:gd name="connsiteX79" fmla="*/ 7259646 w 7467600"/>
              <a:gd name="connsiteY79" fmla="*/ 5765985 h 6858000"/>
              <a:gd name="connsiteX80" fmla="*/ 7467600 w 7467600"/>
              <a:gd name="connsiteY80" fmla="*/ 6012219 h 6858000"/>
              <a:gd name="connsiteX81" fmla="*/ 6946849 w 7467600"/>
              <a:gd name="connsiteY81" fmla="*/ 5523271 h 6858000"/>
              <a:gd name="connsiteX82" fmla="*/ 7105827 w 7467600"/>
              <a:gd name="connsiteY82" fmla="*/ 5718700 h 6858000"/>
              <a:gd name="connsiteX83" fmla="*/ 7356878 w 7467600"/>
              <a:gd name="connsiteY83" fmla="*/ 5981332 h 6858000"/>
              <a:gd name="connsiteX84" fmla="*/ 7467600 w 7467600"/>
              <a:gd name="connsiteY84" fmla="*/ 6117703 h 6858000"/>
              <a:gd name="connsiteX85" fmla="*/ 7467600 w 7467600"/>
              <a:gd name="connsiteY85" fmla="*/ 6163634 h 6858000"/>
              <a:gd name="connsiteX86" fmla="*/ 7403637 w 7467600"/>
              <a:gd name="connsiteY86" fmla="*/ 6083957 h 6858000"/>
              <a:gd name="connsiteX87" fmla="*/ 7254615 w 7467600"/>
              <a:gd name="connsiteY87" fmla="*/ 5911918 h 6858000"/>
              <a:gd name="connsiteX88" fmla="*/ 7312589 w 7467600"/>
              <a:gd name="connsiteY88" fmla="*/ 5982309 h 6858000"/>
              <a:gd name="connsiteX89" fmla="*/ 7448321 w 7467600"/>
              <a:gd name="connsiteY89" fmla="*/ 6190991 h 6858000"/>
              <a:gd name="connsiteX90" fmla="*/ 7467600 w 7467600"/>
              <a:gd name="connsiteY90" fmla="*/ 6221686 h 6858000"/>
              <a:gd name="connsiteX91" fmla="*/ 7467600 w 7467600"/>
              <a:gd name="connsiteY91" fmla="*/ 6334256 h 6858000"/>
              <a:gd name="connsiteX92" fmla="*/ 7454976 w 7467600"/>
              <a:gd name="connsiteY92" fmla="*/ 6318297 h 6858000"/>
              <a:gd name="connsiteX93" fmla="*/ 7042773 w 7467600"/>
              <a:gd name="connsiteY93" fmla="*/ 5734011 h 6858000"/>
              <a:gd name="connsiteX94" fmla="*/ 1456157 w 7467600"/>
              <a:gd name="connsiteY94" fmla="*/ 5371404 h 6858000"/>
              <a:gd name="connsiteX95" fmla="*/ 1244432 w 7467600"/>
              <a:gd name="connsiteY95" fmla="*/ 5385601 h 6858000"/>
              <a:gd name="connsiteX96" fmla="*/ 973990 w 7467600"/>
              <a:gd name="connsiteY96" fmla="*/ 5424940 h 6858000"/>
              <a:gd name="connsiteX97" fmla="*/ 1103809 w 7467600"/>
              <a:gd name="connsiteY97" fmla="*/ 5433720 h 6858000"/>
              <a:gd name="connsiteX98" fmla="*/ 1123454 w 7467600"/>
              <a:gd name="connsiteY98" fmla="*/ 5435727 h 6858000"/>
              <a:gd name="connsiteX99" fmla="*/ 1737017 w 7467600"/>
              <a:gd name="connsiteY99" fmla="*/ 5452183 h 6858000"/>
              <a:gd name="connsiteX100" fmla="*/ 1824397 w 7467600"/>
              <a:gd name="connsiteY100" fmla="*/ 5447757 h 6858000"/>
              <a:gd name="connsiteX101" fmla="*/ 2070059 w 7467600"/>
              <a:gd name="connsiteY101" fmla="*/ 5441660 h 6858000"/>
              <a:gd name="connsiteX102" fmla="*/ 1456157 w 7467600"/>
              <a:gd name="connsiteY102" fmla="*/ 5371404 h 6858000"/>
              <a:gd name="connsiteX103" fmla="*/ 4988186 w 7467600"/>
              <a:gd name="connsiteY103" fmla="*/ 5216467 h 6858000"/>
              <a:gd name="connsiteX104" fmla="*/ 4777334 w 7467600"/>
              <a:gd name="connsiteY104" fmla="*/ 5406072 h 6858000"/>
              <a:gd name="connsiteX105" fmla="*/ 4718341 w 7467600"/>
              <a:gd name="connsiteY105" fmla="*/ 5468043 h 6858000"/>
              <a:gd name="connsiteX106" fmla="*/ 4604655 w 7467600"/>
              <a:gd name="connsiteY106" fmla="*/ 5583434 h 6858000"/>
              <a:gd name="connsiteX107" fmla="*/ 4565074 w 7467600"/>
              <a:gd name="connsiteY107" fmla="*/ 5618550 h 6858000"/>
              <a:gd name="connsiteX108" fmla="*/ 4988186 w 7467600"/>
              <a:gd name="connsiteY108" fmla="*/ 5216467 h 6858000"/>
              <a:gd name="connsiteX109" fmla="*/ 4978032 w 7467600"/>
              <a:gd name="connsiteY109" fmla="*/ 5183809 h 6858000"/>
              <a:gd name="connsiteX110" fmla="*/ 4463413 w 7467600"/>
              <a:gd name="connsiteY110" fmla="*/ 5615162 h 6858000"/>
              <a:gd name="connsiteX111" fmla="*/ 4358134 w 7467600"/>
              <a:gd name="connsiteY111" fmla="*/ 5742791 h 6858000"/>
              <a:gd name="connsiteX112" fmla="*/ 4376219 w 7467600"/>
              <a:gd name="connsiteY112" fmla="*/ 5729027 h 6858000"/>
              <a:gd name="connsiteX113" fmla="*/ 4582340 w 7467600"/>
              <a:gd name="connsiteY113" fmla="*/ 5561037 h 6858000"/>
              <a:gd name="connsiteX114" fmla="*/ 4694684 w 7467600"/>
              <a:gd name="connsiteY114" fmla="*/ 5447098 h 6858000"/>
              <a:gd name="connsiteX115" fmla="*/ 4754123 w 7467600"/>
              <a:gd name="connsiteY115" fmla="*/ 5384643 h 6858000"/>
              <a:gd name="connsiteX116" fmla="*/ 4978032 w 7467600"/>
              <a:gd name="connsiteY116" fmla="*/ 5183809 h 6858000"/>
              <a:gd name="connsiteX117" fmla="*/ 1903353 w 7467600"/>
              <a:gd name="connsiteY117" fmla="*/ 5044827 h 6858000"/>
              <a:gd name="connsiteX118" fmla="*/ 1936931 w 7467600"/>
              <a:gd name="connsiteY118" fmla="*/ 5093954 h 6858000"/>
              <a:gd name="connsiteX119" fmla="*/ 2195868 w 7467600"/>
              <a:gd name="connsiteY119" fmla="*/ 5396574 h 6858000"/>
              <a:gd name="connsiteX120" fmla="*/ 2088852 w 7467600"/>
              <a:gd name="connsiteY120" fmla="*/ 5166123 h 6858000"/>
              <a:gd name="connsiteX121" fmla="*/ 1958241 w 7467600"/>
              <a:gd name="connsiteY121" fmla="*/ 5067955 h 6858000"/>
              <a:gd name="connsiteX122" fmla="*/ 1903353 w 7467600"/>
              <a:gd name="connsiteY122" fmla="*/ 5044827 h 6858000"/>
              <a:gd name="connsiteX123" fmla="*/ 1979378 w 7467600"/>
              <a:gd name="connsiteY123" fmla="*/ 4769504 h 6858000"/>
              <a:gd name="connsiteX124" fmla="*/ 2882120 w 7467600"/>
              <a:gd name="connsiteY124" fmla="*/ 5064547 h 6858000"/>
              <a:gd name="connsiteX125" fmla="*/ 2793103 w 7467600"/>
              <a:gd name="connsiteY125" fmla="*/ 5039699 h 6858000"/>
              <a:gd name="connsiteX126" fmla="*/ 2770041 w 7467600"/>
              <a:gd name="connsiteY126" fmla="*/ 5033634 h 6858000"/>
              <a:gd name="connsiteX127" fmla="*/ 1979378 w 7467600"/>
              <a:gd name="connsiteY127" fmla="*/ 4769504 h 6858000"/>
              <a:gd name="connsiteX128" fmla="*/ 1927410 w 7467600"/>
              <a:gd name="connsiteY128" fmla="*/ 4716164 h 6858000"/>
              <a:gd name="connsiteX129" fmla="*/ 1959587 w 7467600"/>
              <a:gd name="connsiteY129" fmla="*/ 4728849 h 6858000"/>
              <a:gd name="connsiteX130" fmla="*/ 2777707 w 7467600"/>
              <a:gd name="connsiteY130" fmla="*/ 5003991 h 6858000"/>
              <a:gd name="connsiteX131" fmla="*/ 2800768 w 7467600"/>
              <a:gd name="connsiteY131" fmla="*/ 5010056 h 6858000"/>
              <a:gd name="connsiteX132" fmla="*/ 2879408 w 7467600"/>
              <a:gd name="connsiteY132" fmla="*/ 5031590 h 6858000"/>
              <a:gd name="connsiteX133" fmla="*/ 2862295 w 7467600"/>
              <a:gd name="connsiteY133" fmla="*/ 5022958 h 6858000"/>
              <a:gd name="connsiteX134" fmla="*/ 2813343 w 7467600"/>
              <a:gd name="connsiteY134" fmla="*/ 4998369 h 6858000"/>
              <a:gd name="connsiteX135" fmla="*/ 2646245 w 7467600"/>
              <a:gd name="connsiteY135" fmla="*/ 4930999 h 6858000"/>
              <a:gd name="connsiteX136" fmla="*/ 1999243 w 7467600"/>
              <a:gd name="connsiteY136" fmla="*/ 4730524 h 6858000"/>
              <a:gd name="connsiteX137" fmla="*/ 1979527 w 7467600"/>
              <a:gd name="connsiteY137" fmla="*/ 4726651 h 6858000"/>
              <a:gd name="connsiteX138" fmla="*/ 1927410 w 7467600"/>
              <a:gd name="connsiteY138" fmla="*/ 4716164 h 6858000"/>
              <a:gd name="connsiteX139" fmla="*/ 1997014 w 7467600"/>
              <a:gd name="connsiteY139" fmla="*/ 4698007 h 6858000"/>
              <a:gd name="connsiteX140" fmla="*/ 2005458 w 7467600"/>
              <a:gd name="connsiteY140" fmla="*/ 4699540 h 6858000"/>
              <a:gd name="connsiteX141" fmla="*/ 2657186 w 7467600"/>
              <a:gd name="connsiteY141" fmla="*/ 4901687 h 6858000"/>
              <a:gd name="connsiteX142" fmla="*/ 2826662 w 7467600"/>
              <a:gd name="connsiteY142" fmla="*/ 4970362 h 6858000"/>
              <a:gd name="connsiteX143" fmla="*/ 2876100 w 7467600"/>
              <a:gd name="connsiteY143" fmla="*/ 4995397 h 6858000"/>
              <a:gd name="connsiteX144" fmla="*/ 3042600 w 7467600"/>
              <a:gd name="connsiteY144" fmla="*/ 5059532 h 6858000"/>
              <a:gd name="connsiteX145" fmla="*/ 1997014 w 7467600"/>
              <a:gd name="connsiteY145" fmla="*/ 4698007 h 6858000"/>
              <a:gd name="connsiteX146" fmla="*/ 2305292 w 7467600"/>
              <a:gd name="connsiteY146" fmla="*/ 4219492 h 6858000"/>
              <a:gd name="connsiteX147" fmla="*/ 3360922 w 7467600"/>
              <a:gd name="connsiteY147" fmla="*/ 4529373 h 6858000"/>
              <a:gd name="connsiteX148" fmla="*/ 3492420 w 7467600"/>
              <a:gd name="connsiteY148" fmla="*/ 4510145 h 6858000"/>
              <a:gd name="connsiteX149" fmla="*/ 3364086 w 7467600"/>
              <a:gd name="connsiteY149" fmla="*/ 4480340 h 6858000"/>
              <a:gd name="connsiteX150" fmla="*/ 3225818 w 7467600"/>
              <a:gd name="connsiteY150" fmla="*/ 4411822 h 6858000"/>
              <a:gd name="connsiteX151" fmla="*/ 3129696 w 7467600"/>
              <a:gd name="connsiteY151" fmla="*/ 4360704 h 6858000"/>
              <a:gd name="connsiteX152" fmla="*/ 2814545 w 7467600"/>
              <a:gd name="connsiteY152" fmla="*/ 4282955 h 6858000"/>
              <a:gd name="connsiteX153" fmla="*/ 2305292 w 7467600"/>
              <a:gd name="connsiteY153" fmla="*/ 4219492 h 6858000"/>
              <a:gd name="connsiteX154" fmla="*/ 2626982 w 7467600"/>
              <a:gd name="connsiteY154" fmla="*/ 4206450 h 6858000"/>
              <a:gd name="connsiteX155" fmla="*/ 2490617 w 7467600"/>
              <a:gd name="connsiteY155" fmla="*/ 4206951 h 6858000"/>
              <a:gd name="connsiteX156" fmla="*/ 2819869 w 7467600"/>
              <a:gd name="connsiteY156" fmla="*/ 4252936 h 6858000"/>
              <a:gd name="connsiteX157" fmla="*/ 3143018 w 7467600"/>
              <a:gd name="connsiteY157" fmla="*/ 4332698 h 6858000"/>
              <a:gd name="connsiteX158" fmla="*/ 3241520 w 7467600"/>
              <a:gd name="connsiteY158" fmla="*/ 4385112 h 6858000"/>
              <a:gd name="connsiteX159" fmla="*/ 3374575 w 7467600"/>
              <a:gd name="connsiteY159" fmla="*/ 4451517 h 6858000"/>
              <a:gd name="connsiteX160" fmla="*/ 3505221 w 7467600"/>
              <a:gd name="connsiteY160" fmla="*/ 4480757 h 6858000"/>
              <a:gd name="connsiteX161" fmla="*/ 2626982 w 7467600"/>
              <a:gd name="connsiteY161" fmla="*/ 4206450 h 6858000"/>
              <a:gd name="connsiteX162" fmla="*/ 1310106 w 7467600"/>
              <a:gd name="connsiteY162" fmla="*/ 3943217 h 6858000"/>
              <a:gd name="connsiteX163" fmla="*/ 854994 w 7467600"/>
              <a:gd name="connsiteY163" fmla="*/ 4399136 h 6858000"/>
              <a:gd name="connsiteX164" fmla="*/ 742462 w 7467600"/>
              <a:gd name="connsiteY164" fmla="*/ 4594648 h 6858000"/>
              <a:gd name="connsiteX165" fmla="*/ 820602 w 7467600"/>
              <a:gd name="connsiteY165" fmla="*/ 4485915 h 6858000"/>
              <a:gd name="connsiteX166" fmla="*/ 878295 w 7467600"/>
              <a:gd name="connsiteY166" fmla="*/ 4403594 h 6858000"/>
              <a:gd name="connsiteX167" fmla="*/ 1240607 w 7467600"/>
              <a:gd name="connsiteY167" fmla="*/ 4010401 h 6858000"/>
              <a:gd name="connsiteX168" fmla="*/ 1310106 w 7467600"/>
              <a:gd name="connsiteY168" fmla="*/ 3943217 h 6858000"/>
              <a:gd name="connsiteX169" fmla="*/ 1423113 w 7467600"/>
              <a:gd name="connsiteY169" fmla="*/ 3874565 h 6858000"/>
              <a:gd name="connsiteX170" fmla="*/ 1260565 w 7467600"/>
              <a:gd name="connsiteY170" fmla="*/ 4031982 h 6858000"/>
              <a:gd name="connsiteX171" fmla="*/ 901900 w 7467600"/>
              <a:gd name="connsiteY171" fmla="*/ 4421236 h 6858000"/>
              <a:gd name="connsiteX172" fmla="*/ 845044 w 7467600"/>
              <a:gd name="connsiteY172" fmla="*/ 4502436 h 6858000"/>
              <a:gd name="connsiteX173" fmla="*/ 685926 w 7467600"/>
              <a:gd name="connsiteY173" fmla="*/ 4703069 h 6858000"/>
              <a:gd name="connsiteX174" fmla="*/ 684248 w 7467600"/>
              <a:gd name="connsiteY174" fmla="*/ 4706721 h 6858000"/>
              <a:gd name="connsiteX175" fmla="*/ 1423113 w 7467600"/>
              <a:gd name="connsiteY175" fmla="*/ 3874565 h 6858000"/>
              <a:gd name="connsiteX176" fmla="*/ 3316479 w 7467600"/>
              <a:gd name="connsiteY176" fmla="*/ 3872136 h 6858000"/>
              <a:gd name="connsiteX177" fmla="*/ 3546806 w 7467600"/>
              <a:gd name="connsiteY177" fmla="*/ 4356139 h 6858000"/>
              <a:gd name="connsiteX178" fmla="*/ 3364433 w 7467600"/>
              <a:gd name="connsiteY178" fmla="*/ 3953121 h 6858000"/>
              <a:gd name="connsiteX179" fmla="*/ 3316479 w 7467600"/>
              <a:gd name="connsiteY179" fmla="*/ 3872136 h 6858000"/>
              <a:gd name="connsiteX180" fmla="*/ 3291335 w 7467600"/>
              <a:gd name="connsiteY180" fmla="*/ 3767420 h 6858000"/>
              <a:gd name="connsiteX181" fmla="*/ 3390805 w 7467600"/>
              <a:gd name="connsiteY181" fmla="*/ 3937163 h 6858000"/>
              <a:gd name="connsiteX182" fmla="*/ 3579062 w 7467600"/>
              <a:gd name="connsiteY182" fmla="*/ 4359040 h 6858000"/>
              <a:gd name="connsiteX183" fmla="*/ 3467355 w 7467600"/>
              <a:gd name="connsiteY183" fmla="*/ 3988130 h 6858000"/>
              <a:gd name="connsiteX184" fmla="*/ 3310753 w 7467600"/>
              <a:gd name="connsiteY184" fmla="*/ 3787140 h 6858000"/>
              <a:gd name="connsiteX185" fmla="*/ 3291335 w 7467600"/>
              <a:gd name="connsiteY185" fmla="*/ 3767420 h 6858000"/>
              <a:gd name="connsiteX186" fmla="*/ 1635889 w 7467600"/>
              <a:gd name="connsiteY186" fmla="*/ 3709494 h 6858000"/>
              <a:gd name="connsiteX187" fmla="*/ 1634800 w 7467600"/>
              <a:gd name="connsiteY187" fmla="*/ 3731111 h 6858000"/>
              <a:gd name="connsiteX188" fmla="*/ 1635889 w 7467600"/>
              <a:gd name="connsiteY188" fmla="*/ 3709494 h 6858000"/>
              <a:gd name="connsiteX189" fmla="*/ 1510397 w 7467600"/>
              <a:gd name="connsiteY189" fmla="*/ 3684705 h 6858000"/>
              <a:gd name="connsiteX190" fmla="*/ 1146550 w 7467600"/>
              <a:gd name="connsiteY190" fmla="*/ 3802012 h 6858000"/>
              <a:gd name="connsiteX191" fmla="*/ 698834 w 7467600"/>
              <a:gd name="connsiteY191" fmla="*/ 3952272 h 6858000"/>
              <a:gd name="connsiteX192" fmla="*/ 34256 w 7467600"/>
              <a:gd name="connsiteY192" fmla="*/ 4347603 h 6858000"/>
              <a:gd name="connsiteX193" fmla="*/ 527241 w 7467600"/>
              <a:gd name="connsiteY193" fmla="*/ 4065078 h 6858000"/>
              <a:gd name="connsiteX194" fmla="*/ 1510397 w 7467600"/>
              <a:gd name="connsiteY194" fmla="*/ 3684705 h 6858000"/>
              <a:gd name="connsiteX195" fmla="*/ 1313114 w 7467600"/>
              <a:gd name="connsiteY195" fmla="*/ 3655216 h 6858000"/>
              <a:gd name="connsiteX196" fmla="*/ 1109304 w 7467600"/>
              <a:gd name="connsiteY196" fmla="*/ 3669030 h 6858000"/>
              <a:gd name="connsiteX197" fmla="*/ 8129 w 7467600"/>
              <a:gd name="connsiteY197" fmla="*/ 4330519 h 6858000"/>
              <a:gd name="connsiteX198" fmla="*/ 687572 w 7467600"/>
              <a:gd name="connsiteY198" fmla="*/ 3925629 h 6858000"/>
              <a:gd name="connsiteX199" fmla="*/ 1138365 w 7467600"/>
              <a:gd name="connsiteY199" fmla="*/ 3774515 h 6858000"/>
              <a:gd name="connsiteX200" fmla="*/ 1505579 w 7467600"/>
              <a:gd name="connsiteY200" fmla="*/ 3655526 h 6858000"/>
              <a:gd name="connsiteX201" fmla="*/ 1313114 w 7467600"/>
              <a:gd name="connsiteY201" fmla="*/ 3655216 h 6858000"/>
              <a:gd name="connsiteX202" fmla="*/ 3655073 w 7467600"/>
              <a:gd name="connsiteY202" fmla="*/ 3650884 h 6858000"/>
              <a:gd name="connsiteX203" fmla="*/ 3989938 w 7467600"/>
              <a:gd name="connsiteY203" fmla="*/ 3991685 h 6858000"/>
              <a:gd name="connsiteX204" fmla="*/ 4393907 w 7467600"/>
              <a:gd name="connsiteY204" fmla="*/ 4261258 h 6858000"/>
              <a:gd name="connsiteX205" fmla="*/ 4648051 w 7467600"/>
              <a:gd name="connsiteY205" fmla="*/ 4374051 h 6858000"/>
              <a:gd name="connsiteX206" fmla="*/ 4383389 w 7467600"/>
              <a:gd name="connsiteY206" fmla="*/ 4184369 h 6858000"/>
              <a:gd name="connsiteX207" fmla="*/ 4165508 w 7467600"/>
              <a:gd name="connsiteY207" fmla="*/ 4035196 h 6858000"/>
              <a:gd name="connsiteX208" fmla="*/ 4068162 w 7467600"/>
              <a:gd name="connsiteY208" fmla="*/ 3953394 h 6858000"/>
              <a:gd name="connsiteX209" fmla="*/ 3981416 w 7467600"/>
              <a:gd name="connsiteY209" fmla="*/ 3880482 h 6858000"/>
              <a:gd name="connsiteX210" fmla="*/ 3800147 w 7467600"/>
              <a:gd name="connsiteY210" fmla="*/ 3749872 h 6858000"/>
              <a:gd name="connsiteX211" fmla="*/ 3655073 w 7467600"/>
              <a:gd name="connsiteY211" fmla="*/ 3650884 h 6858000"/>
              <a:gd name="connsiteX212" fmla="*/ 3670252 w 7467600"/>
              <a:gd name="connsiteY212" fmla="*/ 3622798 h 6858000"/>
              <a:gd name="connsiteX213" fmla="*/ 3817258 w 7467600"/>
              <a:gd name="connsiteY213" fmla="*/ 3723577 h 6858000"/>
              <a:gd name="connsiteX214" fmla="*/ 4000461 w 7467600"/>
              <a:gd name="connsiteY214" fmla="*/ 3855966 h 6858000"/>
              <a:gd name="connsiteX215" fmla="*/ 4088180 w 7467600"/>
              <a:gd name="connsiteY215" fmla="*/ 3929774 h 6858000"/>
              <a:gd name="connsiteX216" fmla="*/ 4184555 w 7467600"/>
              <a:gd name="connsiteY216" fmla="*/ 4010683 h 6858000"/>
              <a:gd name="connsiteX217" fmla="*/ 4399563 w 7467600"/>
              <a:gd name="connsiteY217" fmla="*/ 4158106 h 6858000"/>
              <a:gd name="connsiteX218" fmla="*/ 4684469 w 7467600"/>
              <a:gd name="connsiteY218" fmla="*/ 4364680 h 6858000"/>
              <a:gd name="connsiteX219" fmla="*/ 4690271 w 7467600"/>
              <a:gd name="connsiteY219" fmla="*/ 4370034 h 6858000"/>
              <a:gd name="connsiteX220" fmla="*/ 4136093 w 7467600"/>
              <a:gd name="connsiteY220" fmla="*/ 3858466 h 6858000"/>
              <a:gd name="connsiteX221" fmla="*/ 3670252 w 7467600"/>
              <a:gd name="connsiteY221" fmla="*/ 3622798 h 6858000"/>
              <a:gd name="connsiteX222" fmla="*/ 4440129 w 7467600"/>
              <a:gd name="connsiteY222" fmla="*/ 3448571 h 6858000"/>
              <a:gd name="connsiteX223" fmla="*/ 4856525 w 7467600"/>
              <a:gd name="connsiteY223" fmla="*/ 3915351 h 6858000"/>
              <a:gd name="connsiteX224" fmla="*/ 5059055 w 7467600"/>
              <a:gd name="connsiteY224" fmla="*/ 4108918 h 6858000"/>
              <a:gd name="connsiteX225" fmla="*/ 5290070 w 7467600"/>
              <a:gd name="connsiteY225" fmla="*/ 4263619 h 6858000"/>
              <a:gd name="connsiteX226" fmla="*/ 4834991 w 7467600"/>
              <a:gd name="connsiteY226" fmla="*/ 3830985 h 6858000"/>
              <a:gd name="connsiteX227" fmla="*/ 4440129 w 7467600"/>
              <a:gd name="connsiteY227" fmla="*/ 3448571 h 6858000"/>
              <a:gd name="connsiteX228" fmla="*/ 4441737 w 7467600"/>
              <a:gd name="connsiteY228" fmla="*/ 3399734 h 6858000"/>
              <a:gd name="connsiteX229" fmla="*/ 4431236 w 7467600"/>
              <a:gd name="connsiteY229" fmla="*/ 3400954 h 6858000"/>
              <a:gd name="connsiteX230" fmla="*/ 4557150 w 7467600"/>
              <a:gd name="connsiteY230" fmla="*/ 3510023 h 6858000"/>
              <a:gd name="connsiteX231" fmla="*/ 4856936 w 7467600"/>
              <a:gd name="connsiteY231" fmla="*/ 3809146 h 6858000"/>
              <a:gd name="connsiteX232" fmla="*/ 5111996 w 7467600"/>
              <a:gd name="connsiteY232" fmla="*/ 4065759 h 6858000"/>
              <a:gd name="connsiteX233" fmla="*/ 5388878 w 7467600"/>
              <a:gd name="connsiteY233" fmla="*/ 4300185 h 6858000"/>
              <a:gd name="connsiteX234" fmla="*/ 5425556 w 7467600"/>
              <a:gd name="connsiteY234" fmla="*/ 4308967 h 6858000"/>
              <a:gd name="connsiteX235" fmla="*/ 4943646 w 7467600"/>
              <a:gd name="connsiteY235" fmla="*/ 3822916 h 6858000"/>
              <a:gd name="connsiteX236" fmla="*/ 4594837 w 7467600"/>
              <a:gd name="connsiteY236" fmla="*/ 3532274 h 6858000"/>
              <a:gd name="connsiteX237" fmla="*/ 4441737 w 7467600"/>
              <a:gd name="connsiteY237" fmla="*/ 3399734 h 6858000"/>
              <a:gd name="connsiteX238" fmla="*/ 5425834 w 7467600"/>
              <a:gd name="connsiteY238" fmla="*/ 3162785 h 6858000"/>
              <a:gd name="connsiteX239" fmla="*/ 5401644 w 7467600"/>
              <a:gd name="connsiteY239" fmla="*/ 3617847 h 6858000"/>
              <a:gd name="connsiteX240" fmla="*/ 5467256 w 7467600"/>
              <a:gd name="connsiteY240" fmla="*/ 4175494 h 6858000"/>
              <a:gd name="connsiteX241" fmla="*/ 5448069 w 7467600"/>
              <a:gd name="connsiteY241" fmla="*/ 3567554 h 6858000"/>
              <a:gd name="connsiteX242" fmla="*/ 5425834 w 7467600"/>
              <a:gd name="connsiteY242" fmla="*/ 3162785 h 6858000"/>
              <a:gd name="connsiteX243" fmla="*/ 1318687 w 7467600"/>
              <a:gd name="connsiteY243" fmla="*/ 3113840 h 6858000"/>
              <a:gd name="connsiteX244" fmla="*/ 1066793 w 7467600"/>
              <a:gd name="connsiteY244" fmla="*/ 3212171 h 6858000"/>
              <a:gd name="connsiteX245" fmla="*/ 993319 w 7467600"/>
              <a:gd name="connsiteY245" fmla="*/ 3247648 h 6858000"/>
              <a:gd name="connsiteX246" fmla="*/ 853081 w 7467600"/>
              <a:gd name="connsiteY246" fmla="*/ 3312410 h 6858000"/>
              <a:gd name="connsiteX247" fmla="*/ 805957 w 7467600"/>
              <a:gd name="connsiteY247" fmla="*/ 3330443 h 6858000"/>
              <a:gd name="connsiteX248" fmla="*/ 1318687 w 7467600"/>
              <a:gd name="connsiteY248" fmla="*/ 3113840 h 6858000"/>
              <a:gd name="connsiteX249" fmla="*/ 5453702 w 7467600"/>
              <a:gd name="connsiteY249" fmla="*/ 3090882 h 6858000"/>
              <a:gd name="connsiteX250" fmla="*/ 5480135 w 7467600"/>
              <a:gd name="connsiteY250" fmla="*/ 3565802 h 6858000"/>
              <a:gd name="connsiteX251" fmla="*/ 5499023 w 7467600"/>
              <a:gd name="connsiteY251" fmla="*/ 4166310 h 6858000"/>
              <a:gd name="connsiteX252" fmla="*/ 5547022 w 7467600"/>
              <a:gd name="connsiteY252" fmla="*/ 3607838 h 6858000"/>
              <a:gd name="connsiteX253" fmla="*/ 5515964 w 7467600"/>
              <a:gd name="connsiteY253" fmla="*/ 3378541 h 6858000"/>
              <a:gd name="connsiteX254" fmla="*/ 5453702 w 7467600"/>
              <a:gd name="connsiteY254" fmla="*/ 3090882 h 6858000"/>
              <a:gd name="connsiteX255" fmla="*/ 1238695 w 7467600"/>
              <a:gd name="connsiteY255" fmla="*/ 3076820 h 6858000"/>
              <a:gd name="connsiteX256" fmla="*/ 716371 w 7467600"/>
              <a:gd name="connsiteY256" fmla="*/ 3293249 h 6858000"/>
              <a:gd name="connsiteX257" fmla="*/ 579522 w 7467600"/>
              <a:gd name="connsiteY257" fmla="*/ 3371759 h 6858000"/>
              <a:gd name="connsiteX258" fmla="*/ 600288 w 7467600"/>
              <a:gd name="connsiteY258" fmla="*/ 3365555 h 6858000"/>
              <a:gd name="connsiteX259" fmla="*/ 840692 w 7467600"/>
              <a:gd name="connsiteY259" fmla="*/ 3284921 h 6858000"/>
              <a:gd name="connsiteX260" fmla="*/ 979248 w 7467600"/>
              <a:gd name="connsiteY260" fmla="*/ 3221003 h 6858000"/>
              <a:gd name="connsiteX261" fmla="*/ 1053282 w 7467600"/>
              <a:gd name="connsiteY261" fmla="*/ 3185247 h 6858000"/>
              <a:gd name="connsiteX262" fmla="*/ 1320603 w 7467600"/>
              <a:gd name="connsiteY262" fmla="*/ 3081281 h 6858000"/>
              <a:gd name="connsiteX263" fmla="*/ 1238695 w 7467600"/>
              <a:gd name="connsiteY263" fmla="*/ 3076820 h 6858000"/>
              <a:gd name="connsiteX264" fmla="*/ 5425627 w 7467600"/>
              <a:gd name="connsiteY264" fmla="*/ 2954192 h 6858000"/>
              <a:gd name="connsiteX265" fmla="*/ 5470770 w 7467600"/>
              <a:gd name="connsiteY265" fmla="*/ 3005435 h 6858000"/>
              <a:gd name="connsiteX266" fmla="*/ 5519779 w 7467600"/>
              <a:gd name="connsiteY266" fmla="*/ 4359223 h 6858000"/>
              <a:gd name="connsiteX267" fmla="*/ 5520293 w 7467600"/>
              <a:gd name="connsiteY267" fmla="*/ 4360602 h 6858000"/>
              <a:gd name="connsiteX268" fmla="*/ 5767221 w 7467600"/>
              <a:gd name="connsiteY268" fmla="*/ 4665564 h 6858000"/>
              <a:gd name="connsiteX269" fmla="*/ 6937169 w 7467600"/>
              <a:gd name="connsiteY269" fmla="*/ 4815941 h 6858000"/>
              <a:gd name="connsiteX270" fmla="*/ 6953922 w 7467600"/>
              <a:gd name="connsiteY270" fmla="*/ 4890068 h 6858000"/>
              <a:gd name="connsiteX271" fmla="*/ 6071359 w 7467600"/>
              <a:gd name="connsiteY271" fmla="*/ 4770770 h 6858000"/>
              <a:gd name="connsiteX272" fmla="*/ 6038839 w 7467600"/>
              <a:gd name="connsiteY272" fmla="*/ 4764474 h 6858000"/>
              <a:gd name="connsiteX273" fmla="*/ 6038706 w 7467600"/>
              <a:gd name="connsiteY273" fmla="*/ 4763847 h 6858000"/>
              <a:gd name="connsiteX274" fmla="*/ 6037784 w 7467600"/>
              <a:gd name="connsiteY274" fmla="*/ 4764270 h 6858000"/>
              <a:gd name="connsiteX275" fmla="*/ 6038839 w 7467600"/>
              <a:gd name="connsiteY275" fmla="*/ 4764474 h 6858000"/>
              <a:gd name="connsiteX276" fmla="*/ 6040338 w 7467600"/>
              <a:gd name="connsiteY276" fmla="*/ 4771418 h 6858000"/>
              <a:gd name="connsiteX277" fmla="*/ 6024488 w 7467600"/>
              <a:gd name="connsiteY277" fmla="*/ 4809903 h 6858000"/>
              <a:gd name="connsiteX278" fmla="*/ 5599771 w 7467600"/>
              <a:gd name="connsiteY278" fmla="*/ 5509652 h 6858000"/>
              <a:gd name="connsiteX279" fmla="*/ 5548843 w 7467600"/>
              <a:gd name="connsiteY279" fmla="*/ 5563845 h 6858000"/>
              <a:gd name="connsiteX280" fmla="*/ 5940952 w 7467600"/>
              <a:gd name="connsiteY280" fmla="*/ 6250028 h 6858000"/>
              <a:gd name="connsiteX281" fmla="*/ 6043441 w 7467600"/>
              <a:gd name="connsiteY281" fmla="*/ 6665847 h 6858000"/>
              <a:gd name="connsiteX282" fmla="*/ 6093432 w 7467600"/>
              <a:gd name="connsiteY282" fmla="*/ 6858000 h 6858000"/>
              <a:gd name="connsiteX283" fmla="*/ 6034344 w 7467600"/>
              <a:gd name="connsiteY283" fmla="*/ 6858000 h 6858000"/>
              <a:gd name="connsiteX284" fmla="*/ 6026679 w 7467600"/>
              <a:gd name="connsiteY284" fmla="*/ 6836959 h 6858000"/>
              <a:gd name="connsiteX285" fmla="*/ 5800441 w 7467600"/>
              <a:gd name="connsiteY285" fmla="*/ 6335286 h 6858000"/>
              <a:gd name="connsiteX286" fmla="*/ 5526562 w 7467600"/>
              <a:gd name="connsiteY286" fmla="*/ 5705388 h 6858000"/>
              <a:gd name="connsiteX287" fmla="*/ 5519640 w 7467600"/>
              <a:gd name="connsiteY287" fmla="*/ 5683774 h 6858000"/>
              <a:gd name="connsiteX288" fmla="*/ 5844559 w 7467600"/>
              <a:gd name="connsiteY288" fmla="*/ 6553349 h 6858000"/>
              <a:gd name="connsiteX289" fmla="*/ 5975994 w 7467600"/>
              <a:gd name="connsiteY289" fmla="*/ 6858000 h 6858000"/>
              <a:gd name="connsiteX290" fmla="*/ 5898547 w 7467600"/>
              <a:gd name="connsiteY290" fmla="*/ 6858000 h 6858000"/>
              <a:gd name="connsiteX291" fmla="*/ 5682041 w 7467600"/>
              <a:gd name="connsiteY291" fmla="*/ 6355860 h 6858000"/>
              <a:gd name="connsiteX292" fmla="*/ 5461758 w 7467600"/>
              <a:gd name="connsiteY292" fmla="*/ 5820220 h 6858000"/>
              <a:gd name="connsiteX293" fmla="*/ 5237282 w 7467600"/>
              <a:gd name="connsiteY293" fmla="*/ 6579086 h 6858000"/>
              <a:gd name="connsiteX294" fmla="*/ 5115009 w 7467600"/>
              <a:gd name="connsiteY294" fmla="*/ 6858000 h 6858000"/>
              <a:gd name="connsiteX295" fmla="*/ 5028074 w 7467600"/>
              <a:gd name="connsiteY295" fmla="*/ 6858000 h 6858000"/>
              <a:gd name="connsiteX296" fmla="*/ 5079508 w 7467600"/>
              <a:gd name="connsiteY296" fmla="*/ 6749074 h 6858000"/>
              <a:gd name="connsiteX297" fmla="*/ 5371846 w 7467600"/>
              <a:gd name="connsiteY297" fmla="*/ 5924413 h 6858000"/>
              <a:gd name="connsiteX298" fmla="*/ 5270512 w 7467600"/>
              <a:gd name="connsiteY298" fmla="*/ 6138975 h 6858000"/>
              <a:gd name="connsiteX299" fmla="*/ 5062409 w 7467600"/>
              <a:gd name="connsiteY299" fmla="*/ 6653544 h 6858000"/>
              <a:gd name="connsiteX300" fmla="*/ 5036628 w 7467600"/>
              <a:gd name="connsiteY300" fmla="*/ 6754247 h 6858000"/>
              <a:gd name="connsiteX301" fmla="*/ 5009112 w 7467600"/>
              <a:gd name="connsiteY301" fmla="*/ 6858000 h 6858000"/>
              <a:gd name="connsiteX302" fmla="*/ 4976679 w 7467600"/>
              <a:gd name="connsiteY302" fmla="*/ 6858000 h 6858000"/>
              <a:gd name="connsiteX303" fmla="*/ 5006537 w 7467600"/>
              <a:gd name="connsiteY303" fmla="*/ 6747068 h 6858000"/>
              <a:gd name="connsiteX304" fmla="*/ 5032723 w 7467600"/>
              <a:gd name="connsiteY304" fmla="*/ 6644957 h 6858000"/>
              <a:gd name="connsiteX305" fmla="*/ 5242949 w 7467600"/>
              <a:gd name="connsiteY305" fmla="*/ 6125175 h 6858000"/>
              <a:gd name="connsiteX306" fmla="*/ 5286321 w 7467600"/>
              <a:gd name="connsiteY306" fmla="*/ 6033555 h 6858000"/>
              <a:gd name="connsiteX307" fmla="*/ 5008210 w 7467600"/>
              <a:gd name="connsiteY307" fmla="*/ 6649194 h 6858000"/>
              <a:gd name="connsiteX308" fmla="*/ 4986321 w 7467600"/>
              <a:gd name="connsiteY308" fmla="*/ 6765687 h 6858000"/>
              <a:gd name="connsiteX309" fmla="*/ 4973474 w 7467600"/>
              <a:gd name="connsiteY309" fmla="*/ 6858000 h 6858000"/>
              <a:gd name="connsiteX310" fmla="*/ 4907178 w 7467600"/>
              <a:gd name="connsiteY310" fmla="*/ 6858000 h 6858000"/>
              <a:gd name="connsiteX311" fmla="*/ 4910810 w 7467600"/>
              <a:gd name="connsiteY311" fmla="*/ 6829660 h 6858000"/>
              <a:gd name="connsiteX312" fmla="*/ 4987461 w 7467600"/>
              <a:gd name="connsiteY312" fmla="*/ 6432994 h 6858000"/>
              <a:gd name="connsiteX313" fmla="*/ 5179262 w 7467600"/>
              <a:gd name="connsiteY313" fmla="*/ 6035044 h 6858000"/>
              <a:gd name="connsiteX314" fmla="*/ 4689678 w 7467600"/>
              <a:gd name="connsiteY314" fmla="*/ 6440241 h 6858000"/>
              <a:gd name="connsiteX315" fmla="*/ 4477543 w 7467600"/>
              <a:gd name="connsiteY315" fmla="*/ 6674836 h 6858000"/>
              <a:gd name="connsiteX316" fmla="*/ 4329957 w 7467600"/>
              <a:gd name="connsiteY316" fmla="*/ 6858000 h 6858000"/>
              <a:gd name="connsiteX317" fmla="*/ 4218595 w 7467600"/>
              <a:gd name="connsiteY317" fmla="*/ 6858000 h 6858000"/>
              <a:gd name="connsiteX318" fmla="*/ 4368888 w 7467600"/>
              <a:gd name="connsiteY318" fmla="*/ 6668412 h 6858000"/>
              <a:gd name="connsiteX319" fmla="*/ 4563091 w 7467600"/>
              <a:gd name="connsiteY319" fmla="*/ 6442508 h 6858000"/>
              <a:gd name="connsiteX320" fmla="*/ 5387324 w 7467600"/>
              <a:gd name="connsiteY320" fmla="*/ 5705830 h 6858000"/>
              <a:gd name="connsiteX321" fmla="*/ 5073620 w 7467600"/>
              <a:gd name="connsiteY321" fmla="*/ 5955437 h 6858000"/>
              <a:gd name="connsiteX322" fmla="*/ 4689789 w 7467600"/>
              <a:gd name="connsiteY322" fmla="*/ 6268382 h 6858000"/>
              <a:gd name="connsiteX323" fmla="*/ 4418722 w 7467600"/>
              <a:gd name="connsiteY323" fmla="*/ 6570886 h 6858000"/>
              <a:gd name="connsiteX324" fmla="*/ 4214944 w 7467600"/>
              <a:gd name="connsiteY324" fmla="*/ 6858000 h 6858000"/>
              <a:gd name="connsiteX325" fmla="*/ 4177898 w 7467600"/>
              <a:gd name="connsiteY325" fmla="*/ 6858000 h 6858000"/>
              <a:gd name="connsiteX326" fmla="*/ 4391597 w 7467600"/>
              <a:gd name="connsiteY326" fmla="*/ 6556370 h 6858000"/>
              <a:gd name="connsiteX327" fmla="*/ 4668889 w 7467600"/>
              <a:gd name="connsiteY327" fmla="*/ 6246399 h 6858000"/>
              <a:gd name="connsiteX328" fmla="*/ 5055427 w 7467600"/>
              <a:gd name="connsiteY328" fmla="*/ 5931476 h 6858000"/>
              <a:gd name="connsiteX329" fmla="*/ 5371814 w 7467600"/>
              <a:gd name="connsiteY329" fmla="*/ 5678975 h 6858000"/>
              <a:gd name="connsiteX330" fmla="*/ 4987918 w 7467600"/>
              <a:gd name="connsiteY330" fmla="*/ 5838701 h 6858000"/>
              <a:gd name="connsiteX331" fmla="*/ 4317146 w 7467600"/>
              <a:gd name="connsiteY331" fmla="*/ 6587716 h 6858000"/>
              <a:gd name="connsiteX332" fmla="*/ 4171627 w 7467600"/>
              <a:gd name="connsiteY332" fmla="*/ 6858000 h 6858000"/>
              <a:gd name="connsiteX333" fmla="*/ 4081585 w 7467600"/>
              <a:gd name="connsiteY333" fmla="*/ 6858000 h 6858000"/>
              <a:gd name="connsiteX334" fmla="*/ 4238603 w 7467600"/>
              <a:gd name="connsiteY334" fmla="*/ 6559341 h 6858000"/>
              <a:gd name="connsiteX335" fmla="*/ 4778333 w 7467600"/>
              <a:gd name="connsiteY335" fmla="*/ 5873626 h 6858000"/>
              <a:gd name="connsiteX336" fmla="*/ 5414185 w 7467600"/>
              <a:gd name="connsiteY336" fmla="*/ 5573882 h 6858000"/>
              <a:gd name="connsiteX337" fmla="*/ 5959648 w 7467600"/>
              <a:gd name="connsiteY337" fmla="*/ 4760797 h 6858000"/>
              <a:gd name="connsiteX338" fmla="*/ 5355019 w 7467600"/>
              <a:gd name="connsiteY338" fmla="*/ 4734672 h 6858000"/>
              <a:gd name="connsiteX339" fmla="*/ 5083565 w 7467600"/>
              <a:gd name="connsiteY339" fmla="*/ 5179121 h 6858000"/>
              <a:gd name="connsiteX340" fmla="*/ 4713577 w 7467600"/>
              <a:gd name="connsiteY340" fmla="*/ 5616803 h 6858000"/>
              <a:gd name="connsiteX341" fmla="*/ 3989559 w 7467600"/>
              <a:gd name="connsiteY341" fmla="*/ 6145945 h 6858000"/>
              <a:gd name="connsiteX342" fmla="*/ 3939824 w 7467600"/>
              <a:gd name="connsiteY342" fmla="*/ 6066900 h 6858000"/>
              <a:gd name="connsiteX343" fmla="*/ 4584537 w 7467600"/>
              <a:gd name="connsiteY343" fmla="*/ 5324826 h 6858000"/>
              <a:gd name="connsiteX344" fmla="*/ 5037105 w 7467600"/>
              <a:gd name="connsiteY344" fmla="*/ 5088765 h 6858000"/>
              <a:gd name="connsiteX345" fmla="*/ 5039930 w 7467600"/>
              <a:gd name="connsiteY345" fmla="*/ 5089585 h 6858000"/>
              <a:gd name="connsiteX346" fmla="*/ 5263764 w 7467600"/>
              <a:gd name="connsiteY346" fmla="*/ 4735525 h 6858000"/>
              <a:gd name="connsiteX347" fmla="*/ 4086300 w 7467600"/>
              <a:gd name="connsiteY347" fmla="*/ 4884599 h 6858000"/>
              <a:gd name="connsiteX348" fmla="*/ 4085485 w 7467600"/>
              <a:gd name="connsiteY348" fmla="*/ 4899070 h 6858000"/>
              <a:gd name="connsiteX349" fmla="*/ 3871915 w 7467600"/>
              <a:gd name="connsiteY349" fmla="*/ 5253645 h 6858000"/>
              <a:gd name="connsiteX350" fmla="*/ 3799374 w 7467600"/>
              <a:gd name="connsiteY350" fmla="*/ 5466127 h 6858000"/>
              <a:gd name="connsiteX351" fmla="*/ 3498850 w 7467600"/>
              <a:gd name="connsiteY351" fmla="*/ 6661888 h 6858000"/>
              <a:gd name="connsiteX352" fmla="*/ 3399216 w 7467600"/>
              <a:gd name="connsiteY352" fmla="*/ 6858000 h 6858000"/>
              <a:gd name="connsiteX353" fmla="*/ 3303688 w 7467600"/>
              <a:gd name="connsiteY353" fmla="*/ 6858000 h 6858000"/>
              <a:gd name="connsiteX354" fmla="*/ 3391774 w 7467600"/>
              <a:gd name="connsiteY354" fmla="*/ 6697181 h 6858000"/>
              <a:gd name="connsiteX355" fmla="*/ 3735540 w 7467600"/>
              <a:gd name="connsiteY355" fmla="*/ 5546923 h 6858000"/>
              <a:gd name="connsiteX356" fmla="*/ 3729438 w 7467600"/>
              <a:gd name="connsiteY356" fmla="*/ 5569058 h 6858000"/>
              <a:gd name="connsiteX357" fmla="*/ 3707782 w 7467600"/>
              <a:gd name="connsiteY357" fmla="*/ 5644908 h 6858000"/>
              <a:gd name="connsiteX358" fmla="*/ 3583827 w 7467600"/>
              <a:gd name="connsiteY358" fmla="*/ 6039215 h 6858000"/>
              <a:gd name="connsiteX359" fmla="*/ 3547861 w 7467600"/>
              <a:gd name="connsiteY359" fmla="*/ 6129609 h 6858000"/>
              <a:gd name="connsiteX360" fmla="*/ 3490905 w 7467600"/>
              <a:gd name="connsiteY360" fmla="*/ 6277660 h 6858000"/>
              <a:gd name="connsiteX361" fmla="*/ 3455859 w 7467600"/>
              <a:gd name="connsiteY361" fmla="*/ 6391301 h 6858000"/>
              <a:gd name="connsiteX362" fmla="*/ 3429112 w 7467600"/>
              <a:gd name="connsiteY362" fmla="*/ 6479469 h 6858000"/>
              <a:gd name="connsiteX363" fmla="*/ 3304862 w 7467600"/>
              <a:gd name="connsiteY363" fmla="*/ 6796476 h 6858000"/>
              <a:gd name="connsiteX364" fmla="*/ 3276071 w 7467600"/>
              <a:gd name="connsiteY364" fmla="*/ 6858000 h 6858000"/>
              <a:gd name="connsiteX365" fmla="*/ 3240805 w 7467600"/>
              <a:gd name="connsiteY365" fmla="*/ 6858000 h 6858000"/>
              <a:gd name="connsiteX366" fmla="*/ 3275917 w 7467600"/>
              <a:gd name="connsiteY366" fmla="*/ 6783192 h 6858000"/>
              <a:gd name="connsiteX367" fmla="*/ 3399358 w 7467600"/>
              <a:gd name="connsiteY367" fmla="*/ 6469011 h 6858000"/>
              <a:gd name="connsiteX368" fmla="*/ 3425650 w 7467600"/>
              <a:gd name="connsiteY368" fmla="*/ 6381333 h 6858000"/>
              <a:gd name="connsiteX369" fmla="*/ 3460661 w 7467600"/>
              <a:gd name="connsiteY369" fmla="*/ 6266763 h 6858000"/>
              <a:gd name="connsiteX370" fmla="*/ 3518021 w 7467600"/>
              <a:gd name="connsiteY370" fmla="*/ 6117298 h 6858000"/>
              <a:gd name="connsiteX371" fmla="*/ 3554035 w 7467600"/>
              <a:gd name="connsiteY371" fmla="*/ 6027832 h 6858000"/>
              <a:gd name="connsiteX372" fmla="*/ 3677174 w 7467600"/>
              <a:gd name="connsiteY372" fmla="*/ 5636351 h 6858000"/>
              <a:gd name="connsiteX373" fmla="*/ 3698819 w 7467600"/>
              <a:gd name="connsiteY373" fmla="*/ 5560503 h 6858000"/>
              <a:gd name="connsiteX374" fmla="*/ 3702094 w 7467600"/>
              <a:gd name="connsiteY374" fmla="*/ 5549194 h 6858000"/>
              <a:gd name="connsiteX375" fmla="*/ 3398355 w 7467600"/>
              <a:gd name="connsiteY375" fmla="*/ 6094603 h 6858000"/>
              <a:gd name="connsiteX376" fmla="*/ 3193941 w 7467600"/>
              <a:gd name="connsiteY376" fmla="*/ 6798775 h 6858000"/>
              <a:gd name="connsiteX377" fmla="*/ 3184140 w 7467600"/>
              <a:gd name="connsiteY377" fmla="*/ 6858000 h 6858000"/>
              <a:gd name="connsiteX378" fmla="*/ 3099978 w 7467600"/>
              <a:gd name="connsiteY378" fmla="*/ 6858000 h 6858000"/>
              <a:gd name="connsiteX379" fmla="*/ 3101556 w 7467600"/>
              <a:gd name="connsiteY379" fmla="*/ 6843337 h 6858000"/>
              <a:gd name="connsiteX380" fmla="*/ 3370162 w 7467600"/>
              <a:gd name="connsiteY380" fmla="*/ 5785550 h 6858000"/>
              <a:gd name="connsiteX381" fmla="*/ 3746477 w 7467600"/>
              <a:gd name="connsiteY381" fmla="*/ 5377889 h 6858000"/>
              <a:gd name="connsiteX382" fmla="*/ 3863399 w 7467600"/>
              <a:gd name="connsiteY382" fmla="*/ 5087257 h 6858000"/>
              <a:gd name="connsiteX383" fmla="*/ 3968712 w 7467600"/>
              <a:gd name="connsiteY383" fmla="*/ 4913989 h 6858000"/>
              <a:gd name="connsiteX384" fmla="*/ 2792390 w 7467600"/>
              <a:gd name="connsiteY384" fmla="*/ 5382974 h 6858000"/>
              <a:gd name="connsiteX385" fmla="*/ 2714982 w 7467600"/>
              <a:gd name="connsiteY385" fmla="*/ 5427051 h 6858000"/>
              <a:gd name="connsiteX386" fmla="*/ 2813361 w 7467600"/>
              <a:gd name="connsiteY386" fmla="*/ 6023912 h 6858000"/>
              <a:gd name="connsiteX387" fmla="*/ 2688430 w 7467600"/>
              <a:gd name="connsiteY387" fmla="*/ 6801564 h 6858000"/>
              <a:gd name="connsiteX388" fmla="*/ 2629626 w 7467600"/>
              <a:gd name="connsiteY388" fmla="*/ 6763394 h 6858000"/>
              <a:gd name="connsiteX389" fmla="*/ 2565328 w 7467600"/>
              <a:gd name="connsiteY389" fmla="*/ 5516399 h 6858000"/>
              <a:gd name="connsiteX390" fmla="*/ 1922999 w 7467600"/>
              <a:gd name="connsiteY390" fmla="*/ 5980343 h 6858000"/>
              <a:gd name="connsiteX391" fmla="*/ 1950261 w 7467600"/>
              <a:gd name="connsiteY391" fmla="*/ 6405858 h 6858000"/>
              <a:gd name="connsiteX392" fmla="*/ 2365554 w 7467600"/>
              <a:gd name="connsiteY392" fmla="*/ 6759107 h 6858000"/>
              <a:gd name="connsiteX393" fmla="*/ 2424142 w 7467600"/>
              <a:gd name="connsiteY393" fmla="*/ 6858000 h 6858000"/>
              <a:gd name="connsiteX394" fmla="*/ 2395994 w 7467600"/>
              <a:gd name="connsiteY394" fmla="*/ 6858000 h 6858000"/>
              <a:gd name="connsiteX395" fmla="*/ 2392863 w 7467600"/>
              <a:gd name="connsiteY395" fmla="*/ 6852964 h 6858000"/>
              <a:gd name="connsiteX396" fmla="*/ 2017589 w 7467600"/>
              <a:gd name="connsiteY396" fmla="*/ 6493982 h 6858000"/>
              <a:gd name="connsiteX397" fmla="*/ 2147336 w 7467600"/>
              <a:gd name="connsiteY397" fmla="*/ 6594052 h 6858000"/>
              <a:gd name="connsiteX398" fmla="*/ 2207047 w 7467600"/>
              <a:gd name="connsiteY398" fmla="*/ 6654540 h 6858000"/>
              <a:gd name="connsiteX399" fmla="*/ 2299106 w 7467600"/>
              <a:gd name="connsiteY399" fmla="*/ 6778931 h 6858000"/>
              <a:gd name="connsiteX400" fmla="*/ 2314430 w 7467600"/>
              <a:gd name="connsiteY400" fmla="*/ 6801144 h 6858000"/>
              <a:gd name="connsiteX401" fmla="*/ 2352406 w 7467600"/>
              <a:gd name="connsiteY401" fmla="*/ 6858000 h 6858000"/>
              <a:gd name="connsiteX402" fmla="*/ 2314492 w 7467600"/>
              <a:gd name="connsiteY402" fmla="*/ 6858000 h 6858000"/>
              <a:gd name="connsiteX403" fmla="*/ 2288095 w 7467600"/>
              <a:gd name="connsiteY403" fmla="*/ 6818030 h 6858000"/>
              <a:gd name="connsiteX404" fmla="*/ 2272768 w 7467600"/>
              <a:gd name="connsiteY404" fmla="*/ 6795822 h 6858000"/>
              <a:gd name="connsiteX405" fmla="*/ 2182715 w 7467600"/>
              <a:gd name="connsiteY405" fmla="*/ 6675071 h 6858000"/>
              <a:gd name="connsiteX406" fmla="*/ 2032061 w 7467600"/>
              <a:gd name="connsiteY406" fmla="*/ 6541380 h 6858000"/>
              <a:gd name="connsiteX407" fmla="*/ 2257220 w 7467600"/>
              <a:gd name="connsiteY407" fmla="*/ 6826257 h 6858000"/>
              <a:gd name="connsiteX408" fmla="*/ 2281324 w 7467600"/>
              <a:gd name="connsiteY408" fmla="*/ 6858000 h 6858000"/>
              <a:gd name="connsiteX409" fmla="*/ 2242860 w 7467600"/>
              <a:gd name="connsiteY409" fmla="*/ 6858000 h 6858000"/>
              <a:gd name="connsiteX410" fmla="*/ 2232818 w 7467600"/>
              <a:gd name="connsiteY410" fmla="*/ 6844926 h 6858000"/>
              <a:gd name="connsiteX411" fmla="*/ 1990172 w 7467600"/>
              <a:gd name="connsiteY411" fmla="*/ 6542121 h 6858000"/>
              <a:gd name="connsiteX412" fmla="*/ 2124090 w 7467600"/>
              <a:gd name="connsiteY412" fmla="*/ 6761017 h 6858000"/>
              <a:gd name="connsiteX413" fmla="*/ 2200380 w 7467600"/>
              <a:gd name="connsiteY413" fmla="*/ 6858000 h 6858000"/>
              <a:gd name="connsiteX414" fmla="*/ 2147507 w 7467600"/>
              <a:gd name="connsiteY414" fmla="*/ 6858000 h 6858000"/>
              <a:gd name="connsiteX415" fmla="*/ 2070668 w 7467600"/>
              <a:gd name="connsiteY415" fmla="*/ 6761520 h 6858000"/>
              <a:gd name="connsiteX416" fmla="*/ 1975142 w 7467600"/>
              <a:gd name="connsiteY416" fmla="*/ 6585570 h 6858000"/>
              <a:gd name="connsiteX417" fmla="*/ 2050035 w 7467600"/>
              <a:gd name="connsiteY417" fmla="*/ 6813345 h 6858000"/>
              <a:gd name="connsiteX418" fmla="*/ 2063025 w 7467600"/>
              <a:gd name="connsiteY418" fmla="*/ 6858000 h 6858000"/>
              <a:gd name="connsiteX419" fmla="*/ 2021675 w 7467600"/>
              <a:gd name="connsiteY419" fmla="*/ 6858000 h 6858000"/>
              <a:gd name="connsiteX420" fmla="*/ 2019308 w 7467600"/>
              <a:gd name="connsiteY420" fmla="*/ 6847118 h 6858000"/>
              <a:gd name="connsiteX421" fmla="*/ 1938835 w 7467600"/>
              <a:gd name="connsiteY421" fmla="*/ 6551160 h 6858000"/>
              <a:gd name="connsiteX422" fmla="*/ 1953230 w 7467600"/>
              <a:gd name="connsiteY422" fmla="*/ 6759699 h 6858000"/>
              <a:gd name="connsiteX423" fmla="*/ 1956763 w 7467600"/>
              <a:gd name="connsiteY423" fmla="*/ 6778191 h 6858000"/>
              <a:gd name="connsiteX424" fmla="*/ 1967925 w 7467600"/>
              <a:gd name="connsiteY424" fmla="*/ 6858000 h 6858000"/>
              <a:gd name="connsiteX425" fmla="*/ 1936622 w 7467600"/>
              <a:gd name="connsiteY425" fmla="*/ 6858000 h 6858000"/>
              <a:gd name="connsiteX426" fmla="*/ 1926261 w 7467600"/>
              <a:gd name="connsiteY426" fmla="*/ 6784064 h 6858000"/>
              <a:gd name="connsiteX427" fmla="*/ 1922724 w 7467600"/>
              <a:gd name="connsiteY427" fmla="*/ 6765577 h 6858000"/>
              <a:gd name="connsiteX428" fmla="*/ 1904650 w 7467600"/>
              <a:gd name="connsiteY428" fmla="*/ 6639616 h 6858000"/>
              <a:gd name="connsiteX429" fmla="*/ 1885273 w 7467600"/>
              <a:gd name="connsiteY429" fmla="*/ 6858000 h 6858000"/>
              <a:gd name="connsiteX430" fmla="*/ 1854363 w 7467600"/>
              <a:gd name="connsiteY430" fmla="*/ 6858000 h 6858000"/>
              <a:gd name="connsiteX431" fmla="*/ 1880391 w 7467600"/>
              <a:gd name="connsiteY431" fmla="*/ 6603796 h 6858000"/>
              <a:gd name="connsiteX432" fmla="*/ 1818273 w 7467600"/>
              <a:gd name="connsiteY432" fmla="*/ 6715729 h 6858000"/>
              <a:gd name="connsiteX433" fmla="*/ 1794691 w 7467600"/>
              <a:gd name="connsiteY433" fmla="*/ 6843239 h 6858000"/>
              <a:gd name="connsiteX434" fmla="*/ 1794914 w 7467600"/>
              <a:gd name="connsiteY434" fmla="*/ 6858000 h 6858000"/>
              <a:gd name="connsiteX435" fmla="*/ 1746128 w 7467600"/>
              <a:gd name="connsiteY435" fmla="*/ 6858000 h 6858000"/>
              <a:gd name="connsiteX436" fmla="*/ 1753934 w 7467600"/>
              <a:gd name="connsiteY436" fmla="*/ 6724796 h 6858000"/>
              <a:gd name="connsiteX437" fmla="*/ 1792053 w 7467600"/>
              <a:gd name="connsiteY437" fmla="*/ 6572396 h 6858000"/>
              <a:gd name="connsiteX438" fmla="*/ 1862248 w 7467600"/>
              <a:gd name="connsiteY438" fmla="*/ 6266397 h 6858000"/>
              <a:gd name="connsiteX439" fmla="*/ 1862250 w 7467600"/>
              <a:gd name="connsiteY439" fmla="*/ 6033531 h 6858000"/>
              <a:gd name="connsiteX440" fmla="*/ 1211999 w 7467600"/>
              <a:gd name="connsiteY440" fmla="*/ 6683610 h 6858000"/>
              <a:gd name="connsiteX441" fmla="*/ 1213266 w 7467600"/>
              <a:gd name="connsiteY441" fmla="*/ 6691947 h 6858000"/>
              <a:gd name="connsiteX442" fmla="*/ 1203370 w 7467600"/>
              <a:gd name="connsiteY442" fmla="*/ 6850676 h 6858000"/>
              <a:gd name="connsiteX443" fmla="*/ 1203671 w 7467600"/>
              <a:gd name="connsiteY443" fmla="*/ 6858000 h 6858000"/>
              <a:gd name="connsiteX444" fmla="*/ 1143180 w 7467600"/>
              <a:gd name="connsiteY444" fmla="*/ 6858000 h 6858000"/>
              <a:gd name="connsiteX445" fmla="*/ 1142176 w 7467600"/>
              <a:gd name="connsiteY445" fmla="*/ 6766045 h 6858000"/>
              <a:gd name="connsiteX446" fmla="*/ 1067484 w 7467600"/>
              <a:gd name="connsiteY446" fmla="*/ 6858000 h 6858000"/>
              <a:gd name="connsiteX447" fmla="*/ 953928 w 7467600"/>
              <a:gd name="connsiteY447" fmla="*/ 6858000 h 6858000"/>
              <a:gd name="connsiteX448" fmla="*/ 959715 w 7467600"/>
              <a:gd name="connsiteY448" fmla="*/ 6850185 h 6858000"/>
              <a:gd name="connsiteX449" fmla="*/ 1483788 w 7467600"/>
              <a:gd name="connsiteY449" fmla="*/ 6259174 h 6858000"/>
              <a:gd name="connsiteX450" fmla="*/ 1100671 w 7467600"/>
              <a:gd name="connsiteY450" fmla="*/ 6252137 h 6858000"/>
              <a:gd name="connsiteX451" fmla="*/ 1090144 w 7467600"/>
              <a:gd name="connsiteY451" fmla="*/ 6256748 h 6858000"/>
              <a:gd name="connsiteX452" fmla="*/ 1095872 w 7467600"/>
              <a:gd name="connsiteY452" fmla="*/ 6271892 h 6858000"/>
              <a:gd name="connsiteX453" fmla="*/ 262785 w 7467600"/>
              <a:gd name="connsiteY453" fmla="*/ 6845450 h 6858000"/>
              <a:gd name="connsiteX454" fmla="*/ 209968 w 7467600"/>
              <a:gd name="connsiteY454" fmla="*/ 6770713 h 6858000"/>
              <a:gd name="connsiteX455" fmla="*/ 873460 w 7467600"/>
              <a:gd name="connsiteY455" fmla="*/ 6253768 h 6858000"/>
              <a:gd name="connsiteX456" fmla="*/ 192686 w 7467600"/>
              <a:gd name="connsiteY456" fmla="*/ 5849257 h 6858000"/>
              <a:gd name="connsiteX457" fmla="*/ 4696 w 7467600"/>
              <a:gd name="connsiteY457" fmla="*/ 5697668 h 6858000"/>
              <a:gd name="connsiteX458" fmla="*/ 0 w 7467600"/>
              <a:gd name="connsiteY458" fmla="*/ 5689984 h 6858000"/>
              <a:gd name="connsiteX459" fmla="*/ 0 w 7467600"/>
              <a:gd name="connsiteY459" fmla="*/ 5513472 h 6858000"/>
              <a:gd name="connsiteX460" fmla="*/ 174101 w 7467600"/>
              <a:gd name="connsiteY460" fmla="*/ 5620277 h 6858000"/>
              <a:gd name="connsiteX461" fmla="*/ 891800 w 7467600"/>
              <a:gd name="connsiteY461" fmla="*/ 6036935 h 6858000"/>
              <a:gd name="connsiteX462" fmla="*/ 1072219 w 7467600"/>
              <a:gd name="connsiteY462" fmla="*/ 6169443 h 6858000"/>
              <a:gd name="connsiteX463" fmla="*/ 1074117 w 7467600"/>
              <a:gd name="connsiteY463" fmla="*/ 6170301 h 6858000"/>
              <a:gd name="connsiteX464" fmla="*/ 1083114 w 7467600"/>
              <a:gd name="connsiteY464" fmla="*/ 6174131 h 6858000"/>
              <a:gd name="connsiteX465" fmla="*/ 1543010 w 7467600"/>
              <a:gd name="connsiteY465" fmla="*/ 6191140 h 6858000"/>
              <a:gd name="connsiteX466" fmla="*/ 1551080 w 7467600"/>
              <a:gd name="connsiteY466" fmla="*/ 6195006 h 6858000"/>
              <a:gd name="connsiteX467" fmla="*/ 2345443 w 7467600"/>
              <a:gd name="connsiteY467" fmla="*/ 5549882 h 6858000"/>
              <a:gd name="connsiteX468" fmla="*/ 1721499 w 7467600"/>
              <a:gd name="connsiteY468" fmla="*/ 5599969 h 6858000"/>
              <a:gd name="connsiteX469" fmla="*/ 767716 w 7467600"/>
              <a:gd name="connsiteY469" fmla="*/ 5472768 h 6858000"/>
              <a:gd name="connsiteX470" fmla="*/ 722147 w 7467600"/>
              <a:gd name="connsiteY470" fmla="*/ 5393091 h 6858000"/>
              <a:gd name="connsiteX471" fmla="*/ 1485552 w 7467600"/>
              <a:gd name="connsiteY471" fmla="*/ 5313202 h 6858000"/>
              <a:gd name="connsiteX472" fmla="*/ 2143004 w 7467600"/>
              <a:gd name="connsiteY472" fmla="*/ 5402420 h 6858000"/>
              <a:gd name="connsiteX473" fmla="*/ 1933391 w 7467600"/>
              <a:gd name="connsiteY473" fmla="*/ 5156971 h 6858000"/>
              <a:gd name="connsiteX474" fmla="*/ 1827118 w 7467600"/>
              <a:gd name="connsiteY474" fmla="*/ 4968410 h 6858000"/>
              <a:gd name="connsiteX475" fmla="*/ 1837349 w 7467600"/>
              <a:gd name="connsiteY475" fmla="*/ 4956357 h 6858000"/>
              <a:gd name="connsiteX476" fmla="*/ 2162835 w 7467600"/>
              <a:gd name="connsiteY476" fmla="*/ 5187853 h 6858000"/>
              <a:gd name="connsiteX477" fmla="*/ 2257167 w 7467600"/>
              <a:gd name="connsiteY477" fmla="*/ 5462123 h 6858000"/>
              <a:gd name="connsiteX478" fmla="*/ 2261598 w 7467600"/>
              <a:gd name="connsiteY478" fmla="*/ 5467998 h 6858000"/>
              <a:gd name="connsiteX479" fmla="*/ 2437177 w 7467600"/>
              <a:gd name="connsiteY479" fmla="*/ 5479608 h 6858000"/>
              <a:gd name="connsiteX480" fmla="*/ 2445247 w 7467600"/>
              <a:gd name="connsiteY480" fmla="*/ 5483476 h 6858000"/>
              <a:gd name="connsiteX481" fmla="*/ 2743626 w 7467600"/>
              <a:gd name="connsiteY481" fmla="*/ 5304819 h 6858000"/>
              <a:gd name="connsiteX482" fmla="*/ 3048102 w 7467600"/>
              <a:gd name="connsiteY482" fmla="*/ 5150595 h 6858000"/>
              <a:gd name="connsiteX483" fmla="*/ 1799414 w 7467600"/>
              <a:gd name="connsiteY483" fmla="*/ 4694732 h 6858000"/>
              <a:gd name="connsiteX484" fmla="*/ 1771735 w 7467600"/>
              <a:gd name="connsiteY484" fmla="*/ 4619929 h 6858000"/>
              <a:gd name="connsiteX485" fmla="*/ 3104273 w 7467600"/>
              <a:gd name="connsiteY485" fmla="*/ 5076159 h 6858000"/>
              <a:gd name="connsiteX486" fmla="*/ 3113245 w 7467600"/>
              <a:gd name="connsiteY486" fmla="*/ 5090705 h 6858000"/>
              <a:gd name="connsiteX487" fmla="*/ 3126294 w 7467600"/>
              <a:gd name="connsiteY487" fmla="*/ 5114400 h 6858000"/>
              <a:gd name="connsiteX488" fmla="*/ 3937433 w 7467600"/>
              <a:gd name="connsiteY488" fmla="*/ 4830473 h 6858000"/>
              <a:gd name="connsiteX489" fmla="*/ 3590475 w 7467600"/>
              <a:gd name="connsiteY489" fmla="*/ 4597974 h 6858000"/>
              <a:gd name="connsiteX490" fmla="*/ 3100264 w 7467600"/>
              <a:gd name="connsiteY490" fmla="*/ 4579845 h 6858000"/>
              <a:gd name="connsiteX491" fmla="*/ 2183576 w 7467600"/>
              <a:gd name="connsiteY491" fmla="*/ 4227150 h 6858000"/>
              <a:gd name="connsiteX492" fmla="*/ 2151029 w 7467600"/>
              <a:gd name="connsiteY492" fmla="*/ 4146947 h 6858000"/>
              <a:gd name="connsiteX493" fmla="*/ 3563434 w 7467600"/>
              <a:gd name="connsiteY493" fmla="*/ 4469115 h 6858000"/>
              <a:gd name="connsiteX494" fmla="*/ 3177952 w 7467600"/>
              <a:gd name="connsiteY494" fmla="*/ 3657386 h 6858000"/>
              <a:gd name="connsiteX495" fmla="*/ 3189263 w 7467600"/>
              <a:gd name="connsiteY495" fmla="*/ 3625726 h 6858000"/>
              <a:gd name="connsiteX496" fmla="*/ 3560912 w 7467600"/>
              <a:gd name="connsiteY496" fmla="*/ 4079863 h 6858000"/>
              <a:gd name="connsiteX497" fmla="*/ 3626636 w 7467600"/>
              <a:gd name="connsiteY497" fmla="*/ 4512230 h 6858000"/>
              <a:gd name="connsiteX498" fmla="*/ 3653088 w 7467600"/>
              <a:gd name="connsiteY498" fmla="*/ 4521417 h 6858000"/>
              <a:gd name="connsiteX499" fmla="*/ 3988128 w 7467600"/>
              <a:gd name="connsiteY499" fmla="*/ 4817267 h 6858000"/>
              <a:gd name="connsiteX500" fmla="*/ 4830582 w 7467600"/>
              <a:gd name="connsiteY500" fmla="*/ 4676000 h 6858000"/>
              <a:gd name="connsiteX501" fmla="*/ 4830100 w 7467600"/>
              <a:gd name="connsiteY501" fmla="*/ 4675554 h 6858000"/>
              <a:gd name="connsiteX502" fmla="*/ 4036318 w 7467600"/>
              <a:gd name="connsiteY502" fmla="*/ 4147013 h 6858000"/>
              <a:gd name="connsiteX503" fmla="*/ 3432098 w 7467600"/>
              <a:gd name="connsiteY503" fmla="*/ 3537312 h 6858000"/>
              <a:gd name="connsiteX504" fmla="*/ 3446761 w 7467600"/>
              <a:gd name="connsiteY504" fmla="*/ 3461278 h 6858000"/>
              <a:gd name="connsiteX505" fmla="*/ 4419733 w 7467600"/>
              <a:gd name="connsiteY505" fmla="*/ 3963555 h 6858000"/>
              <a:gd name="connsiteX506" fmla="*/ 4781371 w 7467600"/>
              <a:gd name="connsiteY506" fmla="*/ 4458604 h 6858000"/>
              <a:gd name="connsiteX507" fmla="*/ 4780440 w 7467600"/>
              <a:gd name="connsiteY507" fmla="*/ 4470290 h 6858000"/>
              <a:gd name="connsiteX508" fmla="*/ 4898954 w 7467600"/>
              <a:gd name="connsiteY508" fmla="*/ 4662092 h 6858000"/>
              <a:gd name="connsiteX509" fmla="*/ 4900699 w 7467600"/>
              <a:gd name="connsiteY509" fmla="*/ 4670867 h 6858000"/>
              <a:gd name="connsiteX510" fmla="*/ 5714511 w 7467600"/>
              <a:gd name="connsiteY510" fmla="*/ 4663483 h 6858000"/>
              <a:gd name="connsiteX511" fmla="*/ 5464793 w 7467600"/>
              <a:gd name="connsiteY511" fmla="*/ 4393556 h 6858000"/>
              <a:gd name="connsiteX512" fmla="*/ 5461897 w 7467600"/>
              <a:gd name="connsiteY512" fmla="*/ 4390879 h 6858000"/>
              <a:gd name="connsiteX513" fmla="*/ 4294126 w 7467600"/>
              <a:gd name="connsiteY513" fmla="*/ 3303048 h 6858000"/>
              <a:gd name="connsiteX514" fmla="*/ 4305321 w 7467600"/>
              <a:gd name="connsiteY514" fmla="*/ 3256953 h 6858000"/>
              <a:gd name="connsiteX515" fmla="*/ 4949299 w 7467600"/>
              <a:gd name="connsiteY515" fmla="*/ 3766336 h 6858000"/>
              <a:gd name="connsiteX516" fmla="*/ 5291452 w 7467600"/>
              <a:gd name="connsiteY516" fmla="*/ 4076801 h 6858000"/>
              <a:gd name="connsiteX517" fmla="*/ 5434998 w 7467600"/>
              <a:gd name="connsiteY517" fmla="*/ 4254100 h 6858000"/>
              <a:gd name="connsiteX518" fmla="*/ 5351015 w 7467600"/>
              <a:gd name="connsiteY518" fmla="*/ 3760989 h 6858000"/>
              <a:gd name="connsiteX519" fmla="*/ 5413780 w 7467600"/>
              <a:gd name="connsiteY519" fmla="*/ 2966265 h 6858000"/>
              <a:gd name="connsiteX520" fmla="*/ 5425627 w 7467600"/>
              <a:gd name="connsiteY520" fmla="*/ 2954192 h 6858000"/>
              <a:gd name="connsiteX521" fmla="*/ 6604735 w 7467600"/>
              <a:gd name="connsiteY521" fmla="*/ 2041381 h 6858000"/>
              <a:gd name="connsiteX522" fmla="*/ 7204487 w 7467600"/>
              <a:gd name="connsiteY522" fmla="*/ 2742112 h 6858000"/>
              <a:gd name="connsiteX523" fmla="*/ 7131592 w 7467600"/>
              <a:gd name="connsiteY523" fmla="*/ 2672096 h 6858000"/>
              <a:gd name="connsiteX524" fmla="*/ 6996344 w 7467600"/>
              <a:gd name="connsiteY524" fmla="*/ 2518310 h 6858000"/>
              <a:gd name="connsiteX525" fmla="*/ 6735495 w 7467600"/>
              <a:gd name="connsiteY525" fmla="*/ 2196890 h 6858000"/>
              <a:gd name="connsiteX526" fmla="*/ 6721901 w 7467600"/>
              <a:gd name="connsiteY526" fmla="*/ 2179274 h 6858000"/>
              <a:gd name="connsiteX527" fmla="*/ 6604735 w 7467600"/>
              <a:gd name="connsiteY527" fmla="*/ 2041381 h 6858000"/>
              <a:gd name="connsiteX528" fmla="*/ 6591670 w 7467600"/>
              <a:gd name="connsiteY528" fmla="*/ 1988277 h 6858000"/>
              <a:gd name="connsiteX529" fmla="*/ 6747349 w 7467600"/>
              <a:gd name="connsiteY529" fmla="*/ 2160069 h 6858000"/>
              <a:gd name="connsiteX530" fmla="*/ 6760943 w 7467600"/>
              <a:gd name="connsiteY530" fmla="*/ 2177686 h 6858000"/>
              <a:gd name="connsiteX531" fmla="*/ 7021065 w 7467600"/>
              <a:gd name="connsiteY531" fmla="*/ 2498102 h 6858000"/>
              <a:gd name="connsiteX532" fmla="*/ 7155223 w 7467600"/>
              <a:gd name="connsiteY532" fmla="*/ 2650386 h 6858000"/>
              <a:gd name="connsiteX533" fmla="*/ 7203167 w 7467600"/>
              <a:gd name="connsiteY533" fmla="*/ 2697288 h 6858000"/>
              <a:gd name="connsiteX534" fmla="*/ 6937703 w 7467600"/>
              <a:gd name="connsiteY534" fmla="*/ 2321981 h 6858000"/>
              <a:gd name="connsiteX535" fmla="*/ 6591670 w 7467600"/>
              <a:gd name="connsiteY535" fmla="*/ 1988277 h 6858000"/>
              <a:gd name="connsiteX536" fmla="*/ 5798671 w 7467600"/>
              <a:gd name="connsiteY536" fmla="*/ 1981601 h 6858000"/>
              <a:gd name="connsiteX537" fmla="*/ 5754709 w 7467600"/>
              <a:gd name="connsiteY537" fmla="*/ 2071454 h 6858000"/>
              <a:gd name="connsiteX538" fmla="*/ 5763044 w 7467600"/>
              <a:gd name="connsiteY538" fmla="*/ 2842206 h 6858000"/>
              <a:gd name="connsiteX539" fmla="*/ 5764974 w 7467600"/>
              <a:gd name="connsiteY539" fmla="*/ 2799609 h 6858000"/>
              <a:gd name="connsiteX540" fmla="*/ 5767665 w 7467600"/>
              <a:gd name="connsiteY540" fmla="*/ 2666409 h 6858000"/>
              <a:gd name="connsiteX541" fmla="*/ 5763055 w 7467600"/>
              <a:gd name="connsiteY541" fmla="*/ 2579705 h 6858000"/>
              <a:gd name="connsiteX542" fmla="*/ 5758079 w 7467600"/>
              <a:gd name="connsiteY542" fmla="*/ 2492508 h 6858000"/>
              <a:gd name="connsiteX543" fmla="*/ 5779325 w 7467600"/>
              <a:gd name="connsiteY543" fmla="*/ 2197069 h 6858000"/>
              <a:gd name="connsiteX544" fmla="*/ 5798671 w 7467600"/>
              <a:gd name="connsiteY544" fmla="*/ 1981601 h 6858000"/>
              <a:gd name="connsiteX545" fmla="*/ 5829202 w 7467600"/>
              <a:gd name="connsiteY545" fmla="*/ 1971679 h 6858000"/>
              <a:gd name="connsiteX546" fmla="*/ 5809558 w 7467600"/>
              <a:gd name="connsiteY546" fmla="*/ 2198043 h 6858000"/>
              <a:gd name="connsiteX547" fmla="*/ 5788653 w 7467600"/>
              <a:gd name="connsiteY547" fmla="*/ 2489430 h 6858000"/>
              <a:gd name="connsiteX548" fmla="*/ 5793439 w 7467600"/>
              <a:gd name="connsiteY548" fmla="*/ 2575235 h 6858000"/>
              <a:gd name="connsiteX549" fmla="*/ 5796837 w 7467600"/>
              <a:gd name="connsiteY549" fmla="*/ 2637633 h 6858000"/>
              <a:gd name="connsiteX550" fmla="*/ 5818614 w 7467600"/>
              <a:gd name="connsiteY550" fmla="*/ 2473055 h 6858000"/>
              <a:gd name="connsiteX551" fmla="*/ 5829202 w 7467600"/>
              <a:gd name="connsiteY551" fmla="*/ 1971679 h 6858000"/>
              <a:gd name="connsiteX552" fmla="*/ 5911389 w 7467600"/>
              <a:gd name="connsiteY552" fmla="*/ 1898371 h 6858000"/>
              <a:gd name="connsiteX553" fmla="*/ 6237627 w 7467600"/>
              <a:gd name="connsiteY553" fmla="*/ 2231921 h 6858000"/>
              <a:gd name="connsiteX554" fmla="*/ 5911389 w 7467600"/>
              <a:gd name="connsiteY554" fmla="*/ 1898371 h 6858000"/>
              <a:gd name="connsiteX555" fmla="*/ 6944437 w 7467600"/>
              <a:gd name="connsiteY555" fmla="*/ 1575402 h 6858000"/>
              <a:gd name="connsiteX556" fmla="*/ 6304730 w 7467600"/>
              <a:gd name="connsiteY556" fmla="*/ 1766654 h 6858000"/>
              <a:gd name="connsiteX557" fmla="*/ 6944437 w 7467600"/>
              <a:gd name="connsiteY557" fmla="*/ 1575402 h 6858000"/>
              <a:gd name="connsiteX558" fmla="*/ 7019523 w 7467600"/>
              <a:gd name="connsiteY558" fmla="*/ 1519450 h 6858000"/>
              <a:gd name="connsiteX559" fmla="*/ 6298091 w 7467600"/>
              <a:gd name="connsiteY559" fmla="*/ 1737122 h 6858000"/>
              <a:gd name="connsiteX560" fmla="*/ 7019523 w 7467600"/>
              <a:gd name="connsiteY560" fmla="*/ 1519450 h 6858000"/>
              <a:gd name="connsiteX561" fmla="*/ 2399523 w 7467600"/>
              <a:gd name="connsiteY561" fmla="*/ 1428234 h 6858000"/>
              <a:gd name="connsiteX562" fmla="*/ 2224982 w 7467600"/>
              <a:gd name="connsiteY562" fmla="*/ 1826201 h 6858000"/>
              <a:gd name="connsiteX563" fmla="*/ 2096099 w 7467600"/>
              <a:gd name="connsiteY563" fmla="*/ 2345900 h 6858000"/>
              <a:gd name="connsiteX564" fmla="*/ 2283317 w 7467600"/>
              <a:gd name="connsiteY564" fmla="*/ 1796925 h 6858000"/>
              <a:gd name="connsiteX565" fmla="*/ 2399523 w 7467600"/>
              <a:gd name="connsiteY565" fmla="*/ 1428234 h 6858000"/>
              <a:gd name="connsiteX566" fmla="*/ 2448558 w 7467600"/>
              <a:gd name="connsiteY566" fmla="*/ 1373435 h 6858000"/>
              <a:gd name="connsiteX567" fmla="*/ 2312521 w 7467600"/>
              <a:gd name="connsiteY567" fmla="*/ 1806140 h 6858000"/>
              <a:gd name="connsiteX568" fmla="*/ 2127533 w 7467600"/>
              <a:gd name="connsiteY568" fmla="*/ 2348380 h 6858000"/>
              <a:gd name="connsiteX569" fmla="*/ 2358080 w 7467600"/>
              <a:gd name="connsiteY569" fmla="*/ 1866134 h 6858000"/>
              <a:gd name="connsiteX570" fmla="*/ 2407436 w 7467600"/>
              <a:gd name="connsiteY570" fmla="*/ 1651070 h 6858000"/>
              <a:gd name="connsiteX571" fmla="*/ 2448558 w 7467600"/>
              <a:gd name="connsiteY571" fmla="*/ 1373435 h 6858000"/>
              <a:gd name="connsiteX572" fmla="*/ 278707 w 7467600"/>
              <a:gd name="connsiteY572" fmla="*/ 1352270 h 6858000"/>
              <a:gd name="connsiteX573" fmla="*/ 321570 w 7467600"/>
              <a:gd name="connsiteY573" fmla="*/ 1861610 h 6858000"/>
              <a:gd name="connsiteX574" fmla="*/ 294281 w 7467600"/>
              <a:gd name="connsiteY574" fmla="*/ 1440658 h 6858000"/>
              <a:gd name="connsiteX575" fmla="*/ 278707 w 7467600"/>
              <a:gd name="connsiteY575" fmla="*/ 1352270 h 6858000"/>
              <a:gd name="connsiteX576" fmla="*/ 1423821 w 7467600"/>
              <a:gd name="connsiteY576" fmla="*/ 1351958 h 6858000"/>
              <a:gd name="connsiteX577" fmla="*/ 1638521 w 7467600"/>
              <a:gd name="connsiteY577" fmla="*/ 1908470 h 6858000"/>
              <a:gd name="connsiteX578" fmla="*/ 1754199 w 7467600"/>
              <a:gd name="connsiteY578" fmla="*/ 2149284 h 6858000"/>
              <a:gd name="connsiteX579" fmla="*/ 1908359 w 7467600"/>
              <a:gd name="connsiteY579" fmla="*/ 2364988 h 6858000"/>
              <a:gd name="connsiteX580" fmla="*/ 1647661 w 7467600"/>
              <a:gd name="connsiteY580" fmla="*/ 1825945 h 6858000"/>
              <a:gd name="connsiteX581" fmla="*/ 1423821 w 7467600"/>
              <a:gd name="connsiteY581" fmla="*/ 1351958 h 6858000"/>
              <a:gd name="connsiteX582" fmla="*/ 1431890 w 7467600"/>
              <a:gd name="connsiteY582" fmla="*/ 1306475 h 6858000"/>
              <a:gd name="connsiteX583" fmla="*/ 1507597 w 7467600"/>
              <a:gd name="connsiteY583" fmla="*/ 1446132 h 6858000"/>
              <a:gd name="connsiteX584" fmla="*/ 1674586 w 7467600"/>
              <a:gd name="connsiteY584" fmla="*/ 1813832 h 6858000"/>
              <a:gd name="connsiteX585" fmla="*/ 1815950 w 7467600"/>
              <a:gd name="connsiteY585" fmla="*/ 2128564 h 6858000"/>
              <a:gd name="connsiteX586" fmla="*/ 1984242 w 7467600"/>
              <a:gd name="connsiteY586" fmla="*/ 2430829 h 6858000"/>
              <a:gd name="connsiteX587" fmla="*/ 2014023 w 7467600"/>
              <a:gd name="connsiteY587" fmla="*/ 2450995 h 6858000"/>
              <a:gd name="connsiteX588" fmla="*/ 1747337 w 7467600"/>
              <a:gd name="connsiteY588" fmla="*/ 1855264 h 6858000"/>
              <a:gd name="connsiteX589" fmla="*/ 1533749 w 7467600"/>
              <a:gd name="connsiteY589" fmla="*/ 1478656 h 6858000"/>
              <a:gd name="connsiteX590" fmla="*/ 1431890 w 7467600"/>
              <a:gd name="connsiteY590" fmla="*/ 1306475 h 6858000"/>
              <a:gd name="connsiteX591" fmla="*/ 5052692 w 7467600"/>
              <a:gd name="connsiteY591" fmla="*/ 1292994 h 6858000"/>
              <a:gd name="connsiteX592" fmla="*/ 5200661 w 7467600"/>
              <a:gd name="connsiteY592" fmla="*/ 1635186 h 6858000"/>
              <a:gd name="connsiteX593" fmla="*/ 5297138 w 7467600"/>
              <a:gd name="connsiteY593" fmla="*/ 1906351 h 6858000"/>
              <a:gd name="connsiteX594" fmla="*/ 5052692 w 7467600"/>
              <a:gd name="connsiteY594" fmla="*/ 1292994 h 6858000"/>
              <a:gd name="connsiteX595" fmla="*/ 5009948 w 7467600"/>
              <a:gd name="connsiteY595" fmla="*/ 1273619 h 6858000"/>
              <a:gd name="connsiteX596" fmla="*/ 5121777 w 7467600"/>
              <a:gd name="connsiteY596" fmla="*/ 1654213 h 6858000"/>
              <a:gd name="connsiteX597" fmla="*/ 5293545 w 7467600"/>
              <a:gd name="connsiteY597" fmla="*/ 2072247 h 6858000"/>
              <a:gd name="connsiteX598" fmla="*/ 5294042 w 7467600"/>
              <a:gd name="connsiteY598" fmla="*/ 2065019 h 6858000"/>
              <a:gd name="connsiteX599" fmla="*/ 5171936 w 7467600"/>
              <a:gd name="connsiteY599" fmla="*/ 1647613 h 6858000"/>
              <a:gd name="connsiteX600" fmla="*/ 5009948 w 7467600"/>
              <a:gd name="connsiteY600" fmla="*/ 1273619 h 6858000"/>
              <a:gd name="connsiteX601" fmla="*/ 655236 w 7467600"/>
              <a:gd name="connsiteY601" fmla="*/ 1268632 h 6858000"/>
              <a:gd name="connsiteX602" fmla="*/ 839521 w 7467600"/>
              <a:gd name="connsiteY602" fmla="*/ 1685315 h 6858000"/>
              <a:gd name="connsiteX603" fmla="*/ 1109416 w 7467600"/>
              <a:gd name="connsiteY603" fmla="*/ 2061663 h 6858000"/>
              <a:gd name="connsiteX604" fmla="*/ 1298300 w 7467600"/>
              <a:gd name="connsiteY604" fmla="*/ 2247742 h 6858000"/>
              <a:gd name="connsiteX605" fmla="*/ 1125871 w 7467600"/>
              <a:gd name="connsiteY605" fmla="*/ 1989513 h 6858000"/>
              <a:gd name="connsiteX606" fmla="*/ 981574 w 7467600"/>
              <a:gd name="connsiteY606" fmla="*/ 1783157 h 6858000"/>
              <a:gd name="connsiteX607" fmla="*/ 922198 w 7467600"/>
              <a:gd name="connsiteY607" fmla="*/ 1677437 h 6858000"/>
              <a:gd name="connsiteX608" fmla="*/ 869293 w 7467600"/>
              <a:gd name="connsiteY608" fmla="*/ 1583214 h 6858000"/>
              <a:gd name="connsiteX609" fmla="*/ 751431 w 7467600"/>
              <a:gd name="connsiteY609" fmla="*/ 1405731 h 6858000"/>
              <a:gd name="connsiteX610" fmla="*/ 655236 w 7467600"/>
              <a:gd name="connsiteY610" fmla="*/ 1268632 h 6858000"/>
              <a:gd name="connsiteX611" fmla="*/ 6516292 w 7467600"/>
              <a:gd name="connsiteY611" fmla="*/ 1263064 h 6858000"/>
              <a:gd name="connsiteX612" fmla="*/ 5736320 w 7467600"/>
              <a:gd name="connsiteY612" fmla="*/ 1501803 h 6858000"/>
              <a:gd name="connsiteX613" fmla="*/ 6516292 w 7467600"/>
              <a:gd name="connsiteY613" fmla="*/ 1263064 h 6858000"/>
              <a:gd name="connsiteX614" fmla="*/ 291466 w 7467600"/>
              <a:gd name="connsiteY614" fmla="*/ 1250369 h 6858000"/>
              <a:gd name="connsiteX615" fmla="*/ 323180 w 7467600"/>
              <a:gd name="connsiteY615" fmla="*/ 1435283 h 6858000"/>
              <a:gd name="connsiteX616" fmla="*/ 349381 w 7467600"/>
              <a:gd name="connsiteY616" fmla="*/ 1875041 h 6858000"/>
              <a:gd name="connsiteX617" fmla="*/ 374363 w 7467600"/>
              <a:gd name="connsiteY617" fmla="*/ 1506494 h 6858000"/>
              <a:gd name="connsiteX618" fmla="*/ 302168 w 7467600"/>
              <a:gd name="connsiteY618" fmla="*/ 1274495 h 6858000"/>
              <a:gd name="connsiteX619" fmla="*/ 291466 w 7467600"/>
              <a:gd name="connsiteY619" fmla="*/ 1250369 h 6858000"/>
              <a:gd name="connsiteX620" fmla="*/ 678222 w 7467600"/>
              <a:gd name="connsiteY620" fmla="*/ 1248670 h 6858000"/>
              <a:gd name="connsiteX621" fmla="*/ 775536 w 7467600"/>
              <a:gd name="connsiteY621" fmla="*/ 1388015 h 6858000"/>
              <a:gd name="connsiteX622" fmla="*/ 894529 w 7467600"/>
              <a:gd name="connsiteY622" fmla="*/ 1567739 h 6858000"/>
              <a:gd name="connsiteX623" fmla="*/ 948000 w 7467600"/>
              <a:gd name="connsiteY623" fmla="*/ 1663088 h 6858000"/>
              <a:gd name="connsiteX624" fmla="*/ 1006812 w 7467600"/>
              <a:gd name="connsiteY624" fmla="*/ 1767683 h 6858000"/>
              <a:gd name="connsiteX625" fmla="*/ 1149133 w 7467600"/>
              <a:gd name="connsiteY625" fmla="*/ 1971513 h 6858000"/>
              <a:gd name="connsiteX626" fmla="*/ 1333952 w 7467600"/>
              <a:gd name="connsiteY626" fmla="*/ 2251620 h 6858000"/>
              <a:gd name="connsiteX627" fmla="*/ 1337329 w 7467600"/>
              <a:gd name="connsiteY627" fmla="*/ 2258350 h 6858000"/>
              <a:gd name="connsiteX628" fmla="*/ 1014726 w 7467600"/>
              <a:gd name="connsiteY628" fmla="*/ 1615556 h 6858000"/>
              <a:gd name="connsiteX629" fmla="*/ 678222 w 7467600"/>
              <a:gd name="connsiteY629" fmla="*/ 1248670 h 6858000"/>
              <a:gd name="connsiteX630" fmla="*/ 6691602 w 7467600"/>
              <a:gd name="connsiteY630" fmla="*/ 1140573 h 6858000"/>
              <a:gd name="connsiteX631" fmla="*/ 6571100 w 7467600"/>
              <a:gd name="connsiteY631" fmla="*/ 1183662 h 6858000"/>
              <a:gd name="connsiteX632" fmla="*/ 6241687 w 7467600"/>
              <a:gd name="connsiteY632" fmla="*/ 1257600 h 6858000"/>
              <a:gd name="connsiteX633" fmla="*/ 5693009 w 7467600"/>
              <a:gd name="connsiteY633" fmla="*/ 1478256 h 6858000"/>
              <a:gd name="connsiteX634" fmla="*/ 6548420 w 7467600"/>
              <a:gd name="connsiteY634" fmla="*/ 1214599 h 6858000"/>
              <a:gd name="connsiteX635" fmla="*/ 6605473 w 7467600"/>
              <a:gd name="connsiteY635" fmla="*/ 1184686 h 6858000"/>
              <a:gd name="connsiteX636" fmla="*/ 6691602 w 7467600"/>
              <a:gd name="connsiteY636" fmla="*/ 1140573 h 6858000"/>
              <a:gd name="connsiteX637" fmla="*/ 4002475 w 7467600"/>
              <a:gd name="connsiteY637" fmla="*/ 1037802 h 6858000"/>
              <a:gd name="connsiteX638" fmla="*/ 4000324 w 7467600"/>
              <a:gd name="connsiteY638" fmla="*/ 1039362 h 6858000"/>
              <a:gd name="connsiteX639" fmla="*/ 4002862 w 7467600"/>
              <a:gd name="connsiteY639" fmla="*/ 1042866 h 6858000"/>
              <a:gd name="connsiteX640" fmla="*/ 4002475 w 7467600"/>
              <a:gd name="connsiteY640" fmla="*/ 1037802 h 6858000"/>
              <a:gd name="connsiteX641" fmla="*/ 506322 w 7467600"/>
              <a:gd name="connsiteY641" fmla="*/ 1020997 h 6858000"/>
              <a:gd name="connsiteX642" fmla="*/ 533068 w 7467600"/>
              <a:gd name="connsiteY642" fmla="*/ 1029409 h 6858000"/>
              <a:gd name="connsiteX643" fmla="*/ 1232525 w 7467600"/>
              <a:gd name="connsiteY643" fmla="*/ 1804675 h 6858000"/>
              <a:gd name="connsiteX644" fmla="*/ 1388858 w 7467600"/>
              <a:gd name="connsiteY644" fmla="*/ 2368011 h 6858000"/>
              <a:gd name="connsiteX645" fmla="*/ 1384098 w 7467600"/>
              <a:gd name="connsiteY645" fmla="*/ 2378125 h 6858000"/>
              <a:gd name="connsiteX646" fmla="*/ 1425393 w 7467600"/>
              <a:gd name="connsiteY646" fmla="*/ 2589124 h 6858000"/>
              <a:gd name="connsiteX647" fmla="*/ 1424001 w 7467600"/>
              <a:gd name="connsiteY647" fmla="*/ 2597541 h 6858000"/>
              <a:gd name="connsiteX648" fmla="*/ 2152729 w 7467600"/>
              <a:gd name="connsiteY648" fmla="*/ 2864487 h 6858000"/>
              <a:gd name="connsiteX649" fmla="*/ 2020609 w 7467600"/>
              <a:gd name="connsiteY649" fmla="*/ 2539671 h 6858000"/>
              <a:gd name="connsiteX650" fmla="*/ 2018920 w 7467600"/>
              <a:gd name="connsiteY650" fmla="*/ 2536309 h 6858000"/>
              <a:gd name="connsiteX651" fmla="*/ 1342441 w 7467600"/>
              <a:gd name="connsiteY651" fmla="*/ 1173017 h 6858000"/>
              <a:gd name="connsiteX652" fmla="*/ 1367925 w 7467600"/>
              <a:gd name="connsiteY652" fmla="*/ 1135648 h 6858000"/>
              <a:gd name="connsiteX653" fmla="*/ 1771401 w 7467600"/>
              <a:gd name="connsiteY653" fmla="*/ 1806673 h 6858000"/>
              <a:gd name="connsiteX654" fmla="*/ 1972385 w 7467600"/>
              <a:gd name="connsiteY654" fmla="*/ 2198735 h 6858000"/>
              <a:gd name="connsiteX655" fmla="*/ 2040892 w 7467600"/>
              <a:gd name="connsiteY655" fmla="*/ 2405205 h 6858000"/>
              <a:gd name="connsiteX656" fmla="*/ 2131689 w 7467600"/>
              <a:gd name="connsiteY656" fmla="*/ 1936926 h 6858000"/>
              <a:gd name="connsiteX657" fmla="*/ 2454820 w 7467600"/>
              <a:gd name="connsiteY657" fmla="*/ 1248808 h 6858000"/>
              <a:gd name="connsiteX658" fmla="*/ 2492512 w 7467600"/>
              <a:gd name="connsiteY658" fmla="*/ 1302920 h 6858000"/>
              <a:gd name="connsiteX659" fmla="*/ 2081216 w 7467600"/>
              <a:gd name="connsiteY659" fmla="*/ 2527513 h 6858000"/>
              <a:gd name="connsiteX660" fmla="*/ 2081211 w 7467600"/>
              <a:gd name="connsiteY660" fmla="*/ 2528916 h 6858000"/>
              <a:gd name="connsiteX661" fmla="*/ 2199067 w 7467600"/>
              <a:gd name="connsiteY661" fmla="*/ 2884061 h 6858000"/>
              <a:gd name="connsiteX662" fmla="*/ 3192586 w 7467600"/>
              <a:gd name="connsiteY662" fmla="*/ 3411496 h 6858000"/>
              <a:gd name="connsiteX663" fmla="*/ 3182620 w 7467600"/>
              <a:gd name="connsiteY663" fmla="*/ 3483279 h 6858000"/>
              <a:gd name="connsiteX664" fmla="*/ 2435119 w 7467600"/>
              <a:gd name="connsiteY664" fmla="*/ 3080173 h 6858000"/>
              <a:gd name="connsiteX665" fmla="*/ 2410152 w 7467600"/>
              <a:gd name="connsiteY665" fmla="*/ 3063751 h 6858000"/>
              <a:gd name="connsiteX666" fmla="*/ 2408099 w 7467600"/>
              <a:gd name="connsiteY666" fmla="*/ 3064403 h 6858000"/>
              <a:gd name="connsiteX667" fmla="*/ 2407218 w 7467600"/>
              <a:gd name="connsiteY667" fmla="*/ 3070324 h 6858000"/>
              <a:gd name="connsiteX668" fmla="*/ 2380138 w 7467600"/>
              <a:gd name="connsiteY668" fmla="*/ 3099341 h 6858000"/>
              <a:gd name="connsiteX669" fmla="*/ 1765923 w 7467600"/>
              <a:gd name="connsiteY669" fmla="*/ 3581043 h 6858000"/>
              <a:gd name="connsiteX670" fmla="*/ 1702258 w 7467600"/>
              <a:gd name="connsiteY670" fmla="*/ 3612286 h 6858000"/>
              <a:gd name="connsiteX671" fmla="*/ 1538370 w 7467600"/>
              <a:gd name="connsiteY671" fmla="*/ 3811804 h 6858000"/>
              <a:gd name="connsiteX672" fmla="*/ 542867 w 7467600"/>
              <a:gd name="connsiteY672" fmla="*/ 4944092 h 6858000"/>
              <a:gd name="connsiteX673" fmla="*/ 515800 w 7467600"/>
              <a:gd name="connsiteY673" fmla="*/ 4862180 h 6858000"/>
              <a:gd name="connsiteX674" fmla="*/ 909145 w 7467600"/>
              <a:gd name="connsiteY674" fmla="*/ 4199225 h 6858000"/>
              <a:gd name="connsiteX675" fmla="*/ 1214067 w 7467600"/>
              <a:gd name="connsiteY675" fmla="*/ 3908561 h 6858000"/>
              <a:gd name="connsiteX676" fmla="*/ 640967 w 7467600"/>
              <a:gd name="connsiteY676" fmla="*/ 4105601 h 6858000"/>
              <a:gd name="connsiteX677" fmla="*/ 112563 w 7467600"/>
              <a:gd name="connsiteY677" fmla="*/ 4396952 h 6858000"/>
              <a:gd name="connsiteX678" fmla="*/ 0 w 7467600"/>
              <a:gd name="connsiteY678" fmla="*/ 4466006 h 6858000"/>
              <a:gd name="connsiteX679" fmla="*/ 0 w 7467600"/>
              <a:gd name="connsiteY679" fmla="*/ 4233763 h 6858000"/>
              <a:gd name="connsiteX680" fmla="*/ 36881 w 7467600"/>
              <a:gd name="connsiteY680" fmla="*/ 4200118 h 6858000"/>
              <a:gd name="connsiteX681" fmla="*/ 910534 w 7467600"/>
              <a:gd name="connsiteY681" fmla="*/ 3629753 h 6858000"/>
              <a:gd name="connsiteX682" fmla="*/ 1578717 w 7467600"/>
              <a:gd name="connsiteY682" fmla="*/ 3575982 h 6858000"/>
              <a:gd name="connsiteX683" fmla="*/ 2338780 w 7467600"/>
              <a:gd name="connsiteY683" fmla="*/ 3033725 h 6858000"/>
              <a:gd name="connsiteX684" fmla="*/ 1807991 w 7467600"/>
              <a:gd name="connsiteY684" fmla="*/ 2807184 h 6858000"/>
              <a:gd name="connsiteX685" fmla="*/ 1416358 w 7467600"/>
              <a:gd name="connsiteY685" fmla="*/ 3112571 h 6858000"/>
              <a:gd name="connsiteX686" fmla="*/ 939066 w 7467600"/>
              <a:gd name="connsiteY686" fmla="*/ 3378798 h 6858000"/>
              <a:gd name="connsiteX687" fmla="*/ 115099 w 7467600"/>
              <a:gd name="connsiteY687" fmla="*/ 3607650 h 6858000"/>
              <a:gd name="connsiteX688" fmla="*/ 97284 w 7467600"/>
              <a:gd name="connsiteY688" fmla="*/ 3520393 h 6858000"/>
              <a:gd name="connsiteX689" fmla="*/ 922050 w 7467600"/>
              <a:gd name="connsiteY689" fmla="*/ 3074867 h 6858000"/>
              <a:gd name="connsiteX690" fmla="*/ 1405265 w 7467600"/>
              <a:gd name="connsiteY690" fmla="*/ 3016319 h 6858000"/>
              <a:gd name="connsiteX691" fmla="*/ 1407512 w 7467600"/>
              <a:gd name="connsiteY691" fmla="*/ 3018001 h 6858000"/>
              <a:gd name="connsiteX692" fmla="*/ 1726266 w 7467600"/>
              <a:gd name="connsiteY692" fmla="*/ 2777274 h 6858000"/>
              <a:gd name="connsiteX693" fmla="*/ 625390 w 7467600"/>
              <a:gd name="connsiteY693" fmla="*/ 2514541 h 6858000"/>
              <a:gd name="connsiteX694" fmla="*/ 619799 w 7467600"/>
              <a:gd name="connsiteY694" fmla="*/ 2527180 h 6858000"/>
              <a:gd name="connsiteX695" fmla="*/ 310030 w 7467600"/>
              <a:gd name="connsiteY695" fmla="*/ 2771818 h 6858000"/>
              <a:gd name="connsiteX696" fmla="*/ 173877 w 7467600"/>
              <a:gd name="connsiteY696" fmla="*/ 2937056 h 6858000"/>
              <a:gd name="connsiteX697" fmla="*/ 77889 w 7467600"/>
              <a:gd name="connsiteY697" fmla="*/ 3138440 h 6858000"/>
              <a:gd name="connsiteX698" fmla="*/ 0 w 7467600"/>
              <a:gd name="connsiteY698" fmla="*/ 3271395 h 6858000"/>
              <a:gd name="connsiteX699" fmla="*/ 0 w 7467600"/>
              <a:gd name="connsiteY699" fmla="*/ 3153002 h 6858000"/>
              <a:gd name="connsiteX700" fmla="*/ 2386 w 7467600"/>
              <a:gd name="connsiteY700" fmla="*/ 3149203 h 6858000"/>
              <a:gd name="connsiteX701" fmla="*/ 89753 w 7467600"/>
              <a:gd name="connsiteY701" fmla="*/ 2987702 h 6858000"/>
              <a:gd name="connsiteX702" fmla="*/ 76869 w 7467600"/>
              <a:gd name="connsiteY702" fmla="*/ 3005404 h 6858000"/>
              <a:gd name="connsiteX703" fmla="*/ 32049 w 7467600"/>
              <a:gd name="connsiteY703" fmla="*/ 3065814 h 6858000"/>
              <a:gd name="connsiteX704" fmla="*/ 0 w 7467600"/>
              <a:gd name="connsiteY704" fmla="*/ 3108744 h 6858000"/>
              <a:gd name="connsiteX705" fmla="*/ 0 w 7467600"/>
              <a:gd name="connsiteY705" fmla="*/ 3058059 h 6858000"/>
              <a:gd name="connsiteX706" fmla="*/ 7610 w 7467600"/>
              <a:gd name="connsiteY706" fmla="*/ 3047889 h 6858000"/>
              <a:gd name="connsiteX707" fmla="*/ 52419 w 7467600"/>
              <a:gd name="connsiteY707" fmla="*/ 2987479 h 6858000"/>
              <a:gd name="connsiteX708" fmla="*/ 59142 w 7467600"/>
              <a:gd name="connsiteY708" fmla="*/ 2978488 h 6858000"/>
              <a:gd name="connsiteX709" fmla="*/ 0 w 7467600"/>
              <a:gd name="connsiteY709" fmla="*/ 3015334 h 6858000"/>
              <a:gd name="connsiteX710" fmla="*/ 0 w 7467600"/>
              <a:gd name="connsiteY710" fmla="*/ 2914286 h 6858000"/>
              <a:gd name="connsiteX711" fmla="*/ 36383 w 7467600"/>
              <a:gd name="connsiteY711" fmla="*/ 2901128 h 6858000"/>
              <a:gd name="connsiteX712" fmla="*/ 156329 w 7467600"/>
              <a:gd name="connsiteY712" fmla="*/ 2840533 h 6858000"/>
              <a:gd name="connsiteX713" fmla="*/ 358355 w 7467600"/>
              <a:gd name="connsiteY713" fmla="*/ 2620471 h 6858000"/>
              <a:gd name="connsiteX714" fmla="*/ 510577 w 7467600"/>
              <a:gd name="connsiteY714" fmla="*/ 2501244 h 6858000"/>
              <a:gd name="connsiteX715" fmla="*/ 211967 w 7467600"/>
              <a:gd name="connsiteY715" fmla="*/ 2479171 h 6858000"/>
              <a:gd name="connsiteX716" fmla="*/ 0 w 7467600"/>
              <a:gd name="connsiteY716" fmla="*/ 2476398 h 6858000"/>
              <a:gd name="connsiteX717" fmla="*/ 0 w 7467600"/>
              <a:gd name="connsiteY717" fmla="*/ 2389189 h 6858000"/>
              <a:gd name="connsiteX718" fmla="*/ 103062 w 7467600"/>
              <a:gd name="connsiteY718" fmla="*/ 2389518 h 6858000"/>
              <a:gd name="connsiteX719" fmla="*/ 510734 w 7467600"/>
              <a:gd name="connsiteY719" fmla="*/ 2416201 h 6858000"/>
              <a:gd name="connsiteX720" fmla="*/ 279257 w 7467600"/>
              <a:gd name="connsiteY720" fmla="*/ 2092102 h 6858000"/>
              <a:gd name="connsiteX721" fmla="*/ 65265 w 7467600"/>
              <a:gd name="connsiteY721" fmla="*/ 2006049 h 6858000"/>
              <a:gd name="connsiteX722" fmla="*/ 0 w 7467600"/>
              <a:gd name="connsiteY722" fmla="*/ 1982532 h 6858000"/>
              <a:gd name="connsiteX723" fmla="*/ 0 w 7467600"/>
              <a:gd name="connsiteY723" fmla="*/ 1912789 h 6858000"/>
              <a:gd name="connsiteX724" fmla="*/ 97460 w 7467600"/>
              <a:gd name="connsiteY724" fmla="*/ 1953725 h 6858000"/>
              <a:gd name="connsiteX725" fmla="*/ 221272 w 7467600"/>
              <a:gd name="connsiteY725" fmla="*/ 1980766 h 6858000"/>
              <a:gd name="connsiteX726" fmla="*/ 116765 w 7467600"/>
              <a:gd name="connsiteY726" fmla="*/ 1911033 h 6858000"/>
              <a:gd name="connsiteX727" fmla="*/ 16405 w 7467600"/>
              <a:gd name="connsiteY727" fmla="*/ 1803412 h 6858000"/>
              <a:gd name="connsiteX728" fmla="*/ 0 w 7467600"/>
              <a:gd name="connsiteY728" fmla="*/ 1784777 h 6858000"/>
              <a:gd name="connsiteX729" fmla="*/ 0 w 7467600"/>
              <a:gd name="connsiteY729" fmla="*/ 1740082 h 6858000"/>
              <a:gd name="connsiteX730" fmla="*/ 39394 w 7467600"/>
              <a:gd name="connsiteY730" fmla="*/ 1784856 h 6858000"/>
              <a:gd name="connsiteX731" fmla="*/ 135813 w 7467600"/>
              <a:gd name="connsiteY731" fmla="*/ 1888838 h 6858000"/>
              <a:gd name="connsiteX732" fmla="*/ 242575 w 7467600"/>
              <a:gd name="connsiteY732" fmla="*/ 1958841 h 6858000"/>
              <a:gd name="connsiteX733" fmla="*/ 82197 w 7467600"/>
              <a:gd name="connsiteY733" fmla="*/ 1754826 h 6858000"/>
              <a:gd name="connsiteX734" fmla="*/ 0 w 7467600"/>
              <a:gd name="connsiteY734" fmla="*/ 1679650 h 6858000"/>
              <a:gd name="connsiteX735" fmla="*/ 0 w 7467600"/>
              <a:gd name="connsiteY735" fmla="*/ 1602463 h 6858000"/>
              <a:gd name="connsiteX736" fmla="*/ 84689 w 7467600"/>
              <a:gd name="connsiteY736" fmla="*/ 1677442 h 6858000"/>
              <a:gd name="connsiteX737" fmla="*/ 298437 w 7467600"/>
              <a:gd name="connsiteY737" fmla="*/ 1968019 h 6858000"/>
              <a:gd name="connsiteX738" fmla="*/ 227269 w 7467600"/>
              <a:gd name="connsiteY738" fmla="*/ 1114064 h 6858000"/>
              <a:gd name="connsiteX739" fmla="*/ 248003 w 7467600"/>
              <a:gd name="connsiteY739" fmla="*/ 1089613 h 6858000"/>
              <a:gd name="connsiteX740" fmla="*/ 427020 w 7467600"/>
              <a:gd name="connsiteY740" fmla="*/ 1619803 h 6858000"/>
              <a:gd name="connsiteX741" fmla="*/ 340345 w 7467600"/>
              <a:gd name="connsiteY741" fmla="*/ 2027739 h 6858000"/>
              <a:gd name="connsiteX742" fmla="*/ 360865 w 7467600"/>
              <a:gd name="connsiteY742" fmla="*/ 2044827 h 6858000"/>
              <a:gd name="connsiteX743" fmla="*/ 560414 w 7467600"/>
              <a:gd name="connsiteY743" fmla="*/ 2421457 h 6858000"/>
              <a:gd name="connsiteX744" fmla="*/ 1359703 w 7467600"/>
              <a:gd name="connsiteY744" fmla="*/ 2578554 h 6858000"/>
              <a:gd name="connsiteX745" fmla="*/ 1359422 w 7467600"/>
              <a:gd name="connsiteY745" fmla="*/ 2577994 h 6858000"/>
              <a:gd name="connsiteX746" fmla="*/ 828701 w 7467600"/>
              <a:gd name="connsiteY746" fmla="*/ 1839520 h 6858000"/>
              <a:gd name="connsiteX747" fmla="*/ 494427 w 7467600"/>
              <a:gd name="connsiteY747" fmla="*/ 1092333 h 6858000"/>
              <a:gd name="connsiteX748" fmla="*/ 506322 w 7467600"/>
              <a:gd name="connsiteY748" fmla="*/ 1020997 h 6858000"/>
              <a:gd name="connsiteX749" fmla="*/ 4570198 w 7467600"/>
              <a:gd name="connsiteY749" fmla="*/ 978081 h 6858000"/>
              <a:gd name="connsiteX750" fmla="*/ 4523691 w 7467600"/>
              <a:gd name="connsiteY750" fmla="*/ 1127776 h 6858000"/>
              <a:gd name="connsiteX751" fmla="*/ 4509875 w 7467600"/>
              <a:gd name="connsiteY751" fmla="*/ 1167552 h 6858000"/>
              <a:gd name="connsiteX752" fmla="*/ 4478168 w 7467600"/>
              <a:gd name="connsiteY752" fmla="*/ 1260735 h 6858000"/>
              <a:gd name="connsiteX753" fmla="*/ 4409309 w 7467600"/>
              <a:gd name="connsiteY753" fmla="*/ 1666996 h 6858000"/>
              <a:gd name="connsiteX754" fmla="*/ 4370031 w 7467600"/>
              <a:gd name="connsiteY754" fmla="*/ 1955666 h 6858000"/>
              <a:gd name="connsiteX755" fmla="*/ 4570198 w 7467600"/>
              <a:gd name="connsiteY755" fmla="*/ 978081 h 6858000"/>
              <a:gd name="connsiteX756" fmla="*/ 4557898 w 7467600"/>
              <a:gd name="connsiteY756" fmla="*/ 900011 h 6858000"/>
              <a:gd name="connsiteX757" fmla="*/ 4344840 w 7467600"/>
              <a:gd name="connsiteY757" fmla="*/ 1922038 h 6858000"/>
              <a:gd name="connsiteX758" fmla="*/ 4378710 w 7467600"/>
              <a:gd name="connsiteY758" fmla="*/ 1665516 h 6858000"/>
              <a:gd name="connsiteX759" fmla="*/ 4448798 w 7467600"/>
              <a:gd name="connsiteY759" fmla="*/ 1253024 h 6858000"/>
              <a:gd name="connsiteX760" fmla="*/ 4480315 w 7467600"/>
              <a:gd name="connsiteY760" fmla="*/ 1158454 h 6858000"/>
              <a:gd name="connsiteX761" fmla="*/ 4494133 w 7467600"/>
              <a:gd name="connsiteY761" fmla="*/ 1118676 h 6858000"/>
              <a:gd name="connsiteX762" fmla="*/ 4557898 w 7467600"/>
              <a:gd name="connsiteY762" fmla="*/ 900011 h 6858000"/>
              <a:gd name="connsiteX763" fmla="*/ 5870151 w 7467600"/>
              <a:gd name="connsiteY763" fmla="*/ 898890 h 6858000"/>
              <a:gd name="connsiteX764" fmla="*/ 5861335 w 7467600"/>
              <a:gd name="connsiteY764" fmla="*/ 899177 h 6858000"/>
              <a:gd name="connsiteX765" fmla="*/ 5843702 w 7467600"/>
              <a:gd name="connsiteY765" fmla="*/ 899748 h 6858000"/>
              <a:gd name="connsiteX766" fmla="*/ 5651107 w 7467600"/>
              <a:gd name="connsiteY766" fmla="*/ 920306 h 6858000"/>
              <a:gd name="connsiteX767" fmla="*/ 5459407 w 7467600"/>
              <a:gd name="connsiteY767" fmla="*/ 940975 h 6858000"/>
              <a:gd name="connsiteX768" fmla="*/ 5374846 w 7467600"/>
              <a:gd name="connsiteY768" fmla="*/ 941988 h 6858000"/>
              <a:gd name="connsiteX769" fmla="*/ 5256105 w 7467600"/>
              <a:gd name="connsiteY769" fmla="*/ 945632 h 6858000"/>
              <a:gd name="connsiteX770" fmla="*/ 5107071 w 7467600"/>
              <a:gd name="connsiteY770" fmla="*/ 969720 h 6858000"/>
              <a:gd name="connsiteX771" fmla="*/ 4998681 w 7467600"/>
              <a:gd name="connsiteY771" fmla="*/ 988771 h 6858000"/>
              <a:gd name="connsiteX772" fmla="*/ 5870151 w 7467600"/>
              <a:gd name="connsiteY772" fmla="*/ 898890 h 6858000"/>
              <a:gd name="connsiteX773" fmla="*/ 5504425 w 7467600"/>
              <a:gd name="connsiteY773" fmla="*/ 848067 h 6858000"/>
              <a:gd name="connsiteX774" fmla="*/ 4968849 w 7467600"/>
              <a:gd name="connsiteY774" fmla="*/ 962318 h 6858000"/>
              <a:gd name="connsiteX775" fmla="*/ 5104039 w 7467600"/>
              <a:gd name="connsiteY775" fmla="*/ 940634 h 6858000"/>
              <a:gd name="connsiteX776" fmla="*/ 5256311 w 7467600"/>
              <a:gd name="connsiteY776" fmla="*/ 916490 h 6858000"/>
              <a:gd name="connsiteX777" fmla="*/ 5377381 w 7467600"/>
              <a:gd name="connsiteY777" fmla="*/ 912671 h 6858000"/>
              <a:gd name="connsiteX778" fmla="*/ 5460148 w 7467600"/>
              <a:gd name="connsiteY778" fmla="*/ 911442 h 6858000"/>
              <a:gd name="connsiteX779" fmla="*/ 5648971 w 7467600"/>
              <a:gd name="connsiteY779" fmla="*/ 891331 h 6858000"/>
              <a:gd name="connsiteX780" fmla="*/ 5844807 w 7467600"/>
              <a:gd name="connsiteY780" fmla="*/ 870718 h 6858000"/>
              <a:gd name="connsiteX781" fmla="*/ 5862975 w 7467600"/>
              <a:gd name="connsiteY781" fmla="*/ 869756 h 6858000"/>
              <a:gd name="connsiteX782" fmla="*/ 5920887 w 7467600"/>
              <a:gd name="connsiteY782" fmla="*/ 865929 h 6858000"/>
              <a:gd name="connsiteX783" fmla="*/ 5504425 w 7467600"/>
              <a:gd name="connsiteY783" fmla="*/ 848067 h 6858000"/>
              <a:gd name="connsiteX784" fmla="*/ 3607114 w 7467600"/>
              <a:gd name="connsiteY784" fmla="*/ 467441 h 6858000"/>
              <a:gd name="connsiteX785" fmla="*/ 3296242 w 7467600"/>
              <a:gd name="connsiteY785" fmla="*/ 807991 h 6858000"/>
              <a:gd name="connsiteX786" fmla="*/ 3174674 w 7467600"/>
              <a:gd name="connsiteY786" fmla="*/ 919759 h 6858000"/>
              <a:gd name="connsiteX787" fmla="*/ 3042978 w 7467600"/>
              <a:gd name="connsiteY787" fmla="*/ 1054894 h 6858000"/>
              <a:gd name="connsiteX788" fmla="*/ 2968914 w 7467600"/>
              <a:gd name="connsiteY788" fmla="*/ 1133756 h 6858000"/>
              <a:gd name="connsiteX789" fmla="*/ 3103823 w 7467600"/>
              <a:gd name="connsiteY789" fmla="*/ 1026814 h 6858000"/>
              <a:gd name="connsiteX790" fmla="*/ 3607114 w 7467600"/>
              <a:gd name="connsiteY790" fmla="*/ 467441 h 6858000"/>
              <a:gd name="connsiteX791" fmla="*/ 3744487 w 7467600"/>
              <a:gd name="connsiteY791" fmla="*/ 383136 h 6858000"/>
              <a:gd name="connsiteX792" fmla="*/ 3970213 w 7467600"/>
              <a:gd name="connsiteY792" fmla="*/ 995559 h 6858000"/>
              <a:gd name="connsiteX793" fmla="*/ 3744487 w 7467600"/>
              <a:gd name="connsiteY793" fmla="*/ 383136 h 6858000"/>
              <a:gd name="connsiteX794" fmla="*/ 3624562 w 7467600"/>
              <a:gd name="connsiteY794" fmla="*/ 367041 h 6858000"/>
              <a:gd name="connsiteX795" fmla="*/ 3489712 w 7467600"/>
              <a:gd name="connsiteY795" fmla="*/ 485386 h 6858000"/>
              <a:gd name="connsiteX796" fmla="*/ 3182994 w 7467600"/>
              <a:gd name="connsiteY796" fmla="*/ 828265 h 6858000"/>
              <a:gd name="connsiteX797" fmla="*/ 2892114 w 7467600"/>
              <a:gd name="connsiteY797" fmla="*/ 1172635 h 6858000"/>
              <a:gd name="connsiteX798" fmla="*/ 3021459 w 7467600"/>
              <a:gd name="connsiteY798" fmla="*/ 1035385 h 6858000"/>
              <a:gd name="connsiteX799" fmla="*/ 3153873 w 7467600"/>
              <a:gd name="connsiteY799" fmla="*/ 898971 h 6858000"/>
              <a:gd name="connsiteX800" fmla="*/ 3276511 w 7467600"/>
              <a:gd name="connsiteY800" fmla="*/ 786423 h 6858000"/>
              <a:gd name="connsiteX801" fmla="*/ 3584154 w 7467600"/>
              <a:gd name="connsiteY801" fmla="*/ 448218 h 6858000"/>
              <a:gd name="connsiteX802" fmla="*/ 3624562 w 7467600"/>
              <a:gd name="connsiteY802" fmla="*/ 367041 h 6858000"/>
              <a:gd name="connsiteX803" fmla="*/ 3766672 w 7467600"/>
              <a:gd name="connsiteY803" fmla="*/ 359429 h 6858000"/>
              <a:gd name="connsiteX804" fmla="*/ 3996338 w 7467600"/>
              <a:gd name="connsiteY804" fmla="*/ 968237 h 6858000"/>
              <a:gd name="connsiteX805" fmla="*/ 3766672 w 7467600"/>
              <a:gd name="connsiteY805" fmla="*/ 359429 h 6858000"/>
              <a:gd name="connsiteX806" fmla="*/ 5805386 w 7467600"/>
              <a:gd name="connsiteY806" fmla="*/ 239240 h 6858000"/>
              <a:gd name="connsiteX807" fmla="*/ 5736947 w 7467600"/>
              <a:gd name="connsiteY807" fmla="*/ 261367 h 6858000"/>
              <a:gd name="connsiteX808" fmla="*/ 5427012 w 7467600"/>
              <a:gd name="connsiteY808" fmla="*/ 311272 h 6858000"/>
              <a:gd name="connsiteX809" fmla="*/ 5147818 w 7467600"/>
              <a:gd name="connsiteY809" fmla="*/ 322112 h 6858000"/>
              <a:gd name="connsiteX810" fmla="*/ 5060854 w 7467600"/>
              <a:gd name="connsiteY810" fmla="*/ 311882 h 6858000"/>
              <a:gd name="connsiteX811" fmla="*/ 4945989 w 7467600"/>
              <a:gd name="connsiteY811" fmla="*/ 300516 h 6858000"/>
              <a:gd name="connsiteX812" fmla="*/ 5410479 w 7467600"/>
              <a:gd name="connsiteY812" fmla="*/ 348434 h 6858000"/>
              <a:gd name="connsiteX813" fmla="*/ 5805386 w 7467600"/>
              <a:gd name="connsiteY813" fmla="*/ 239240 h 6858000"/>
              <a:gd name="connsiteX814" fmla="*/ 5905192 w 7467600"/>
              <a:gd name="connsiteY814" fmla="*/ 163079 h 6858000"/>
              <a:gd name="connsiteX815" fmla="*/ 5865655 w 7467600"/>
              <a:gd name="connsiteY815" fmla="*/ 171901 h 6858000"/>
              <a:gd name="connsiteX816" fmla="*/ 5259740 w 7467600"/>
              <a:gd name="connsiteY816" fmla="*/ 257013 h 6858000"/>
              <a:gd name="connsiteX817" fmla="*/ 5208466 w 7467600"/>
              <a:gd name="connsiteY817" fmla="*/ 257550 h 6858000"/>
              <a:gd name="connsiteX818" fmla="*/ 4980204 w 7467600"/>
              <a:gd name="connsiteY818" fmla="*/ 271903 h 6858000"/>
              <a:gd name="connsiteX819" fmla="*/ 5068068 w 7467600"/>
              <a:gd name="connsiteY819" fmla="*/ 282244 h 6858000"/>
              <a:gd name="connsiteX820" fmla="*/ 5153231 w 7467600"/>
              <a:gd name="connsiteY820" fmla="*/ 292240 h 6858000"/>
              <a:gd name="connsiteX821" fmla="*/ 5426491 w 7467600"/>
              <a:gd name="connsiteY821" fmla="*/ 281128 h 6858000"/>
              <a:gd name="connsiteX822" fmla="*/ 5731212 w 7467600"/>
              <a:gd name="connsiteY822" fmla="*/ 231951 h 6858000"/>
              <a:gd name="connsiteX823" fmla="*/ 5905192 w 7467600"/>
              <a:gd name="connsiteY823" fmla="*/ 163079 h 6858000"/>
              <a:gd name="connsiteX824" fmla="*/ 5944437 w 7467600"/>
              <a:gd name="connsiteY824" fmla="*/ 113829 h 6858000"/>
              <a:gd name="connsiteX825" fmla="*/ 5825032 w 7467600"/>
              <a:gd name="connsiteY825" fmla="*/ 146405 h 6858000"/>
              <a:gd name="connsiteX826" fmla="*/ 4955599 w 7467600"/>
              <a:gd name="connsiteY826" fmla="*/ 247008 h 6858000"/>
              <a:gd name="connsiteX827" fmla="*/ 5210104 w 7467600"/>
              <a:gd name="connsiteY827" fmla="*/ 228123 h 6858000"/>
              <a:gd name="connsiteX828" fmla="*/ 5261015 w 7467600"/>
              <a:gd name="connsiteY828" fmla="*/ 227087 h 6858000"/>
              <a:gd name="connsiteX829" fmla="*/ 5861181 w 7467600"/>
              <a:gd name="connsiteY829" fmla="*/ 143093 h 6858000"/>
              <a:gd name="connsiteX830" fmla="*/ 5961252 w 7467600"/>
              <a:gd name="connsiteY830" fmla="*/ 114820 h 6858000"/>
              <a:gd name="connsiteX831" fmla="*/ 5944437 w 7467600"/>
              <a:gd name="connsiteY831" fmla="*/ 113829 h 6858000"/>
              <a:gd name="connsiteX832" fmla="*/ 3882765 w 7467600"/>
              <a:gd name="connsiteY832" fmla="*/ 0 h 6858000"/>
              <a:gd name="connsiteX833" fmla="*/ 3995099 w 7467600"/>
              <a:gd name="connsiteY833" fmla="*/ 0 h 6858000"/>
              <a:gd name="connsiteX834" fmla="*/ 4163818 w 7467600"/>
              <a:gd name="connsiteY834" fmla="*/ 234104 h 6858000"/>
              <a:gd name="connsiteX835" fmla="*/ 4172099 w 7467600"/>
              <a:gd name="connsiteY835" fmla="*/ 234207 h 6858000"/>
              <a:gd name="connsiteX836" fmla="*/ 4784282 w 7467600"/>
              <a:gd name="connsiteY836" fmla="*/ 276561 h 6858000"/>
              <a:gd name="connsiteX837" fmla="*/ 4801687 w 7467600"/>
              <a:gd name="connsiteY837" fmla="*/ 267764 h 6858000"/>
              <a:gd name="connsiteX838" fmla="*/ 6082788 w 7467600"/>
              <a:gd name="connsiteY838" fmla="*/ 64119 h 6858000"/>
              <a:gd name="connsiteX839" fmla="*/ 6099442 w 7467600"/>
              <a:gd name="connsiteY839" fmla="*/ 82568 h 6858000"/>
              <a:gd name="connsiteX840" fmla="*/ 4804137 w 7467600"/>
              <a:gd name="connsiteY840" fmla="*/ 320931 h 6858000"/>
              <a:gd name="connsiteX841" fmla="*/ 4227047 w 7467600"/>
              <a:gd name="connsiteY841" fmla="*/ 313415 h 6858000"/>
              <a:gd name="connsiteX842" fmla="*/ 4346041 w 7467600"/>
              <a:gd name="connsiteY842" fmla="*/ 456086 h 6858000"/>
              <a:gd name="connsiteX843" fmla="*/ 4870967 w 7467600"/>
              <a:gd name="connsiteY843" fmla="*/ 963061 h 6858000"/>
              <a:gd name="connsiteX844" fmla="*/ 4889647 w 7467600"/>
              <a:gd name="connsiteY844" fmla="*/ 957147 h 6858000"/>
              <a:gd name="connsiteX845" fmla="*/ 5422504 w 7467600"/>
              <a:gd name="connsiteY845" fmla="*/ 805191 h 6858000"/>
              <a:gd name="connsiteX846" fmla="*/ 6087656 w 7467600"/>
              <a:gd name="connsiteY846" fmla="*/ 826703 h 6858000"/>
              <a:gd name="connsiteX847" fmla="*/ 6058717 w 7467600"/>
              <a:gd name="connsiteY847" fmla="*/ 865992 h 6858000"/>
              <a:gd name="connsiteX848" fmla="*/ 4974153 w 7467600"/>
              <a:gd name="connsiteY848" fmla="*/ 1045456 h 6858000"/>
              <a:gd name="connsiteX849" fmla="*/ 5627835 w 7467600"/>
              <a:gd name="connsiteY849" fmla="*/ 1472077 h 6858000"/>
              <a:gd name="connsiteX850" fmla="*/ 5629817 w 7467600"/>
              <a:gd name="connsiteY850" fmla="*/ 1471412 h 6858000"/>
              <a:gd name="connsiteX851" fmla="*/ 5634124 w 7467600"/>
              <a:gd name="connsiteY851" fmla="*/ 1470572 h 6858000"/>
              <a:gd name="connsiteX852" fmla="*/ 5755832 w 7467600"/>
              <a:gd name="connsiteY852" fmla="*/ 1383886 h 6858000"/>
              <a:gd name="connsiteX853" fmla="*/ 6014186 w 7467600"/>
              <a:gd name="connsiteY853" fmla="*/ 1279799 h 6858000"/>
              <a:gd name="connsiteX854" fmla="*/ 6901619 w 7467600"/>
              <a:gd name="connsiteY854" fmla="*/ 1047874 h 6858000"/>
              <a:gd name="connsiteX855" fmla="*/ 6931566 w 7467600"/>
              <a:gd name="connsiteY855" fmla="*/ 1062034 h 6858000"/>
              <a:gd name="connsiteX856" fmla="*/ 5790982 w 7467600"/>
              <a:gd name="connsiteY856" fmla="*/ 1561380 h 6858000"/>
              <a:gd name="connsiteX857" fmla="*/ 6188971 w 7467600"/>
              <a:gd name="connsiteY857" fmla="*/ 1755168 h 6858000"/>
              <a:gd name="connsiteX858" fmla="*/ 6202446 w 7467600"/>
              <a:gd name="connsiteY858" fmla="*/ 1752268 h 6858000"/>
              <a:gd name="connsiteX859" fmla="*/ 7179560 w 7467600"/>
              <a:gd name="connsiteY859" fmla="*/ 1467551 h 6858000"/>
              <a:gd name="connsiteX860" fmla="*/ 7158730 w 7467600"/>
              <a:gd name="connsiteY860" fmla="*/ 1507835 h 6858000"/>
              <a:gd name="connsiteX861" fmla="*/ 6326959 w 7467600"/>
              <a:gd name="connsiteY861" fmla="*/ 1817686 h 6858000"/>
              <a:gd name="connsiteX862" fmla="*/ 6537433 w 7467600"/>
              <a:gd name="connsiteY862" fmla="*/ 1907790 h 6858000"/>
              <a:gd name="connsiteX863" fmla="*/ 6550221 w 7467600"/>
              <a:gd name="connsiteY863" fmla="*/ 1910729 h 6858000"/>
              <a:gd name="connsiteX864" fmla="*/ 6964438 w 7467600"/>
              <a:gd name="connsiteY864" fmla="*/ 2209505 h 6858000"/>
              <a:gd name="connsiteX865" fmla="*/ 7367862 w 7467600"/>
              <a:gd name="connsiteY865" fmla="*/ 2806833 h 6858000"/>
              <a:gd name="connsiteX866" fmla="*/ 7364329 w 7467600"/>
              <a:gd name="connsiteY866" fmla="*/ 2826907 h 6858000"/>
              <a:gd name="connsiteX867" fmla="*/ 7290545 w 7467600"/>
              <a:gd name="connsiteY867" fmla="*/ 2850663 h 6858000"/>
              <a:gd name="connsiteX868" fmla="*/ 6472036 w 7467600"/>
              <a:gd name="connsiteY868" fmla="*/ 1959003 h 6858000"/>
              <a:gd name="connsiteX869" fmla="*/ 5792897 w 7467600"/>
              <a:gd name="connsiteY869" fmla="*/ 1647747 h 6858000"/>
              <a:gd name="connsiteX870" fmla="*/ 5842751 w 7467600"/>
              <a:gd name="connsiteY870" fmla="*/ 1816112 h 6858000"/>
              <a:gd name="connsiteX871" fmla="*/ 5847424 w 7467600"/>
              <a:gd name="connsiteY871" fmla="*/ 1815776 h 6858000"/>
              <a:gd name="connsiteX872" fmla="*/ 6399821 w 7467600"/>
              <a:gd name="connsiteY872" fmla="*/ 2344799 h 6858000"/>
              <a:gd name="connsiteX873" fmla="*/ 6323232 w 7467600"/>
              <a:gd name="connsiteY873" fmla="*/ 2389634 h 6858000"/>
              <a:gd name="connsiteX874" fmla="*/ 5942958 w 7467600"/>
              <a:gd name="connsiteY874" fmla="*/ 2077708 h 6858000"/>
              <a:gd name="connsiteX875" fmla="*/ 5921559 w 7467600"/>
              <a:gd name="connsiteY875" fmla="*/ 2378596 h 6858000"/>
              <a:gd name="connsiteX876" fmla="*/ 5817651 w 7467600"/>
              <a:gd name="connsiteY876" fmla="*/ 3023919 h 6858000"/>
              <a:gd name="connsiteX877" fmla="*/ 5729634 w 7467600"/>
              <a:gd name="connsiteY877" fmla="*/ 3051849 h 6858000"/>
              <a:gd name="connsiteX878" fmla="*/ 5611018 w 7467600"/>
              <a:gd name="connsiteY878" fmla="*/ 2316769 h 6858000"/>
              <a:gd name="connsiteX879" fmla="*/ 5687608 w 7467600"/>
              <a:gd name="connsiteY879" fmla="*/ 2039972 h 6858000"/>
              <a:gd name="connsiteX880" fmla="*/ 5657554 w 7467600"/>
              <a:gd name="connsiteY880" fmla="*/ 1576445 h 6858000"/>
              <a:gd name="connsiteX881" fmla="*/ 5150475 w 7467600"/>
              <a:gd name="connsiteY881" fmla="*/ 1274012 h 6858000"/>
              <a:gd name="connsiteX882" fmla="*/ 5349142 w 7467600"/>
              <a:gd name="connsiteY882" fmla="*/ 2204405 h 6858000"/>
              <a:gd name="connsiteX883" fmla="*/ 5262214 w 7467600"/>
              <a:gd name="connsiteY883" fmla="*/ 2233836 h 6858000"/>
              <a:gd name="connsiteX884" fmla="*/ 4981539 w 7467600"/>
              <a:gd name="connsiteY884" fmla="*/ 1542201 h 6858000"/>
              <a:gd name="connsiteX885" fmla="*/ 4958461 w 7467600"/>
              <a:gd name="connsiteY885" fmla="*/ 1136957 h 6858000"/>
              <a:gd name="connsiteX886" fmla="*/ 4655015 w 7467600"/>
              <a:gd name="connsiteY886" fmla="*/ 891426 h 6858000"/>
              <a:gd name="connsiteX887" fmla="*/ 4348002 w 7467600"/>
              <a:gd name="connsiteY887" fmla="*/ 2205895 h 6858000"/>
              <a:gd name="connsiteX888" fmla="*/ 4262250 w 7467600"/>
              <a:gd name="connsiteY888" fmla="*/ 2219972 h 6858000"/>
              <a:gd name="connsiteX889" fmla="*/ 4550611 w 7467600"/>
              <a:gd name="connsiteY889" fmla="*/ 817540 h 6858000"/>
              <a:gd name="connsiteX890" fmla="*/ 4564418 w 7467600"/>
              <a:gd name="connsiteY890" fmla="*/ 808293 h 6858000"/>
              <a:gd name="connsiteX891" fmla="*/ 4266388 w 7467600"/>
              <a:gd name="connsiteY891" fmla="*/ 500083 h 6858000"/>
              <a:gd name="connsiteX892" fmla="*/ 4032842 w 7467600"/>
              <a:gd name="connsiteY892" fmla="*/ 211809 h 6858000"/>
              <a:gd name="connsiteX893" fmla="*/ 3882765 w 7467600"/>
              <a:gd name="connsiteY893" fmla="*/ 0 h 6858000"/>
              <a:gd name="connsiteX894" fmla="*/ 3721337 w 7467600"/>
              <a:gd name="connsiteY894" fmla="*/ 0 h 6858000"/>
              <a:gd name="connsiteX895" fmla="*/ 3797544 w 7467600"/>
              <a:gd name="connsiteY895" fmla="*/ 0 h 6858000"/>
              <a:gd name="connsiteX896" fmla="*/ 3775734 w 7467600"/>
              <a:gd name="connsiteY896" fmla="*/ 95131 h 6858000"/>
              <a:gd name="connsiteX897" fmla="*/ 3724807 w 7467600"/>
              <a:gd name="connsiteY897" fmla="*/ 272257 h 6858000"/>
              <a:gd name="connsiteX898" fmla="*/ 3726844 w 7467600"/>
              <a:gd name="connsiteY898" fmla="*/ 282988 h 6858000"/>
              <a:gd name="connsiteX899" fmla="*/ 3742664 w 7467600"/>
              <a:gd name="connsiteY899" fmla="*/ 279918 h 6858000"/>
              <a:gd name="connsiteX900" fmla="*/ 4103910 w 7467600"/>
              <a:gd name="connsiteY900" fmla="*/ 1161917 h 6858000"/>
              <a:gd name="connsiteX901" fmla="*/ 4020269 w 7467600"/>
              <a:gd name="connsiteY901" fmla="*/ 1200406 h 6858000"/>
              <a:gd name="connsiteX902" fmla="*/ 3674882 w 7467600"/>
              <a:gd name="connsiteY902" fmla="*/ 488524 h 6858000"/>
              <a:gd name="connsiteX903" fmla="*/ 3132682 w 7467600"/>
              <a:gd name="connsiteY903" fmla="*/ 1072284 h 6858000"/>
              <a:gd name="connsiteX904" fmla="*/ 2716346 w 7467600"/>
              <a:gd name="connsiteY904" fmla="*/ 1276376 h 6858000"/>
              <a:gd name="connsiteX905" fmla="*/ 2716772 w 7467600"/>
              <a:gd name="connsiteY905" fmla="*/ 1255462 h 6858000"/>
              <a:gd name="connsiteX906" fmla="*/ 3471096 w 7467600"/>
              <a:gd name="connsiteY906" fmla="*/ 437072 h 6858000"/>
              <a:gd name="connsiteX907" fmla="*/ 3639057 w 7467600"/>
              <a:gd name="connsiteY907" fmla="*/ 286334 h 6858000"/>
              <a:gd name="connsiteX908" fmla="*/ 3640309 w 7467600"/>
              <a:gd name="connsiteY908" fmla="*/ 284664 h 6858000"/>
              <a:gd name="connsiteX909" fmla="*/ 3646022 w 7467600"/>
              <a:gd name="connsiteY909" fmla="*/ 276711 h 6858000"/>
              <a:gd name="connsiteX910" fmla="*/ 3707943 w 7467600"/>
              <a:gd name="connsiteY910" fmla="*/ 65958 h 6858000"/>
              <a:gd name="connsiteX911" fmla="*/ 3721337 w 7467600"/>
              <a:gd name="connsiteY911" fmla="*/ 0 h 6858000"/>
              <a:gd name="connsiteX912" fmla="*/ 2867960 w 7467600"/>
              <a:gd name="connsiteY912" fmla="*/ 0 h 6858000"/>
              <a:gd name="connsiteX913" fmla="*/ 2926351 w 7467600"/>
              <a:gd name="connsiteY913" fmla="*/ 0 h 6858000"/>
              <a:gd name="connsiteX914" fmla="*/ 2902823 w 7467600"/>
              <a:gd name="connsiteY914" fmla="*/ 262929 h 6858000"/>
              <a:gd name="connsiteX915" fmla="*/ 2940663 w 7467600"/>
              <a:gd name="connsiteY915" fmla="*/ 140884 h 6858000"/>
              <a:gd name="connsiteX916" fmla="*/ 2947039 w 7467600"/>
              <a:gd name="connsiteY916" fmla="*/ 122524 h 6858000"/>
              <a:gd name="connsiteX917" fmla="*/ 2984316 w 7467600"/>
              <a:gd name="connsiteY917" fmla="*/ 0 h 6858000"/>
              <a:gd name="connsiteX918" fmla="*/ 3016114 w 7467600"/>
              <a:gd name="connsiteY918" fmla="*/ 0 h 6858000"/>
              <a:gd name="connsiteX919" fmla="*/ 2979949 w 7467600"/>
              <a:gd name="connsiteY919" fmla="*/ 119274 h 6858000"/>
              <a:gd name="connsiteX920" fmla="*/ 3023879 w 7467600"/>
              <a:gd name="connsiteY920" fmla="*/ 0 h 6858000"/>
              <a:gd name="connsiteX921" fmla="*/ 3105400 w 7467600"/>
              <a:gd name="connsiteY921" fmla="*/ 0 h 6858000"/>
              <a:gd name="connsiteX922" fmla="*/ 3094669 w 7467600"/>
              <a:gd name="connsiteY922" fmla="*/ 30308 h 6858000"/>
              <a:gd name="connsiteX923" fmla="*/ 2901945 w 7467600"/>
              <a:gd name="connsiteY923" fmla="*/ 466538 h 6858000"/>
              <a:gd name="connsiteX924" fmla="*/ 2815209 w 7467600"/>
              <a:gd name="connsiteY924" fmla="*/ 497361 h 6858000"/>
              <a:gd name="connsiteX925" fmla="*/ 2844845 w 7467600"/>
              <a:gd name="connsiteY925" fmla="*/ 127638 h 6858000"/>
              <a:gd name="connsiteX926" fmla="*/ 2867960 w 7467600"/>
              <a:gd name="connsiteY926" fmla="*/ 0 h 6858000"/>
              <a:gd name="connsiteX927" fmla="*/ 1057230 w 7467600"/>
              <a:gd name="connsiteY927" fmla="*/ 0 h 6858000"/>
              <a:gd name="connsiteX928" fmla="*/ 1111003 w 7467600"/>
              <a:gd name="connsiteY928" fmla="*/ 0 h 6858000"/>
              <a:gd name="connsiteX929" fmla="*/ 1125553 w 7467600"/>
              <a:gd name="connsiteY929" fmla="*/ 52588 h 6858000"/>
              <a:gd name="connsiteX930" fmla="*/ 1304276 w 7467600"/>
              <a:gd name="connsiteY930" fmla="*/ 476275 h 6858000"/>
              <a:gd name="connsiteX931" fmla="*/ 1492066 w 7467600"/>
              <a:gd name="connsiteY931" fmla="*/ 886333 h 6858000"/>
              <a:gd name="connsiteX932" fmla="*/ 1423698 w 7467600"/>
              <a:gd name="connsiteY932" fmla="*/ 710817 h 6858000"/>
              <a:gd name="connsiteX933" fmla="*/ 1357609 w 7467600"/>
              <a:gd name="connsiteY933" fmla="*/ 532892 h 6858000"/>
              <a:gd name="connsiteX934" fmla="*/ 1309550 w 7467600"/>
              <a:gd name="connsiteY934" fmla="*/ 374031 h 6858000"/>
              <a:gd name="connsiteX935" fmla="*/ 1193673 w 7467600"/>
              <a:gd name="connsiteY935" fmla="*/ 49533 h 6858000"/>
              <a:gd name="connsiteX936" fmla="*/ 1164391 w 7467600"/>
              <a:gd name="connsiteY936" fmla="*/ 0 h 6858000"/>
              <a:gd name="connsiteX937" fmla="*/ 1200666 w 7467600"/>
              <a:gd name="connsiteY937" fmla="*/ 0 h 6858000"/>
              <a:gd name="connsiteX938" fmla="*/ 1223408 w 7467600"/>
              <a:gd name="connsiteY938" fmla="*/ 38996 h 6858000"/>
              <a:gd name="connsiteX939" fmla="*/ 1339635 w 7467600"/>
              <a:gd name="connsiteY939" fmla="*/ 365517 h 6858000"/>
              <a:gd name="connsiteX940" fmla="*/ 1387469 w 7467600"/>
              <a:gd name="connsiteY940" fmla="*/ 523079 h 6858000"/>
              <a:gd name="connsiteX941" fmla="*/ 1452685 w 7467600"/>
              <a:gd name="connsiteY941" fmla="*/ 699806 h 6858000"/>
              <a:gd name="connsiteX942" fmla="*/ 1492092 w 7467600"/>
              <a:gd name="connsiteY942" fmla="*/ 800424 h 6858000"/>
              <a:gd name="connsiteX943" fmla="*/ 1455302 w 7467600"/>
              <a:gd name="connsiteY943" fmla="*/ 632913 h 6858000"/>
              <a:gd name="connsiteX944" fmla="*/ 1222336 w 7467600"/>
              <a:gd name="connsiteY944" fmla="*/ 9480 h 6858000"/>
              <a:gd name="connsiteX945" fmla="*/ 1214634 w 7467600"/>
              <a:gd name="connsiteY945" fmla="*/ 0 h 6858000"/>
              <a:gd name="connsiteX946" fmla="*/ 1289827 w 7467600"/>
              <a:gd name="connsiteY946" fmla="*/ 0 h 6858000"/>
              <a:gd name="connsiteX947" fmla="*/ 1321076 w 7467600"/>
              <a:gd name="connsiteY947" fmla="*/ 59722 h 6858000"/>
              <a:gd name="connsiteX948" fmla="*/ 1512579 w 7467600"/>
              <a:gd name="connsiteY948" fmla="*/ 626441 h 6858000"/>
              <a:gd name="connsiteX949" fmla="*/ 1506076 w 7467600"/>
              <a:gd name="connsiteY949" fmla="*/ 1089289 h 6858000"/>
              <a:gd name="connsiteX950" fmla="*/ 1486346 w 7467600"/>
              <a:gd name="connsiteY950" fmla="*/ 1079919 h 6858000"/>
              <a:gd name="connsiteX951" fmla="*/ 1070511 w 7467600"/>
              <a:gd name="connsiteY951" fmla="*/ 48609 h 6858000"/>
              <a:gd name="connsiteX952" fmla="*/ 1057230 w 7467600"/>
              <a:gd name="connsiteY952" fmla="*/ 0 h 6858000"/>
              <a:gd name="connsiteX953" fmla="*/ 43151 w 7467600"/>
              <a:gd name="connsiteY953" fmla="*/ 0 h 6858000"/>
              <a:gd name="connsiteX954" fmla="*/ 95283 w 7467600"/>
              <a:gd name="connsiteY954" fmla="*/ 0 h 6858000"/>
              <a:gd name="connsiteX955" fmla="*/ 300708 w 7467600"/>
              <a:gd name="connsiteY955" fmla="*/ 154571 h 6858000"/>
              <a:gd name="connsiteX956" fmla="*/ 530414 w 7467600"/>
              <a:gd name="connsiteY956" fmla="*/ 354673 h 6858000"/>
              <a:gd name="connsiteX957" fmla="*/ 333785 w 7467600"/>
              <a:gd name="connsiteY957" fmla="*/ 161564 h 6858000"/>
              <a:gd name="connsiteX958" fmla="*/ 147005 w 7467600"/>
              <a:gd name="connsiteY958" fmla="*/ 0 h 6858000"/>
              <a:gd name="connsiteX959" fmla="*/ 272509 w 7467600"/>
              <a:gd name="connsiteY959" fmla="*/ 0 h 6858000"/>
              <a:gd name="connsiteX960" fmla="*/ 326276 w 7467600"/>
              <a:gd name="connsiteY960" fmla="*/ 45847 h 6858000"/>
              <a:gd name="connsiteX961" fmla="*/ 823759 w 7467600"/>
              <a:gd name="connsiteY961" fmla="*/ 574145 h 6858000"/>
              <a:gd name="connsiteX962" fmla="*/ 811254 w 7467600"/>
              <a:gd name="connsiteY962" fmla="*/ 665546 h 6858000"/>
              <a:gd name="connsiteX963" fmla="*/ 154042 w 7467600"/>
              <a:gd name="connsiteY963" fmla="*/ 261522 h 6858000"/>
              <a:gd name="connsiteX964" fmla="*/ 13550 w 7467600"/>
              <a:gd name="connsiteY964" fmla="*/ 158423 h 6858000"/>
              <a:gd name="connsiteX965" fmla="*/ 0 w 7467600"/>
              <a:gd name="connsiteY965" fmla="*/ 146618 h 6858000"/>
              <a:gd name="connsiteX966" fmla="*/ 0 w 7467600"/>
              <a:gd name="connsiteY966" fmla="*/ 59161 h 6858000"/>
              <a:gd name="connsiteX967" fmla="*/ 45427 w 7467600"/>
              <a:gd name="connsiteY967" fmla="*/ 101078 h 6858000"/>
              <a:gd name="connsiteX968" fmla="*/ 630103 w 7467600"/>
              <a:gd name="connsiteY968" fmla="*/ 485885 h 6858000"/>
              <a:gd name="connsiteX969" fmla="*/ 532040 w 7467600"/>
              <a:gd name="connsiteY969" fmla="*/ 399359 h 6858000"/>
              <a:gd name="connsiteX970" fmla="*/ 517618 w 7467600"/>
              <a:gd name="connsiteY970" fmla="*/ 385726 h 6858000"/>
              <a:gd name="connsiteX971" fmla="*/ 285074 w 7467600"/>
              <a:gd name="connsiteY971" fmla="*/ 182755 h 6858000"/>
              <a:gd name="connsiteX972" fmla="*/ 43151 w 7467600"/>
              <a:gd name="connsiteY972"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7042773 w 7467600"/>
              <a:gd name="connsiteY74" fmla="*/ 5734011 h 6858000"/>
              <a:gd name="connsiteX75" fmla="*/ 7379510 w 7467600"/>
              <a:gd name="connsiteY75" fmla="*/ 5755454 h 6858000"/>
              <a:gd name="connsiteX76" fmla="*/ 7467600 w 7467600"/>
              <a:gd name="connsiteY76" fmla="*/ 5845526 h 6858000"/>
              <a:gd name="connsiteX77" fmla="*/ 7271900 w 7467600"/>
              <a:gd name="connsiteY77" fmla="*/ 5734551 h 6858000"/>
              <a:gd name="connsiteX78" fmla="*/ 7015907 w 7467600"/>
              <a:gd name="connsiteY78" fmla="*/ 5541548 h 6858000"/>
              <a:gd name="connsiteX79" fmla="*/ 7259646 w 7467600"/>
              <a:gd name="connsiteY79" fmla="*/ 5765985 h 6858000"/>
              <a:gd name="connsiteX80" fmla="*/ 7467600 w 7467600"/>
              <a:gd name="connsiteY80" fmla="*/ 6012219 h 6858000"/>
              <a:gd name="connsiteX81" fmla="*/ 7105827 w 7467600"/>
              <a:gd name="connsiteY81" fmla="*/ 5718700 h 6858000"/>
              <a:gd name="connsiteX82" fmla="*/ 7356878 w 7467600"/>
              <a:gd name="connsiteY82" fmla="*/ 5981332 h 6858000"/>
              <a:gd name="connsiteX83" fmla="*/ 7467600 w 7467600"/>
              <a:gd name="connsiteY83" fmla="*/ 6117703 h 6858000"/>
              <a:gd name="connsiteX84" fmla="*/ 7467600 w 7467600"/>
              <a:gd name="connsiteY84" fmla="*/ 6163634 h 6858000"/>
              <a:gd name="connsiteX85" fmla="*/ 7403637 w 7467600"/>
              <a:gd name="connsiteY85" fmla="*/ 6083957 h 6858000"/>
              <a:gd name="connsiteX86" fmla="*/ 7254615 w 7467600"/>
              <a:gd name="connsiteY86" fmla="*/ 5911918 h 6858000"/>
              <a:gd name="connsiteX87" fmla="*/ 7312589 w 7467600"/>
              <a:gd name="connsiteY87" fmla="*/ 5982309 h 6858000"/>
              <a:gd name="connsiteX88" fmla="*/ 7448321 w 7467600"/>
              <a:gd name="connsiteY88" fmla="*/ 6190991 h 6858000"/>
              <a:gd name="connsiteX89" fmla="*/ 7467600 w 7467600"/>
              <a:gd name="connsiteY89" fmla="*/ 6221686 h 6858000"/>
              <a:gd name="connsiteX90" fmla="*/ 7467600 w 7467600"/>
              <a:gd name="connsiteY90" fmla="*/ 6334256 h 6858000"/>
              <a:gd name="connsiteX91" fmla="*/ 7454976 w 7467600"/>
              <a:gd name="connsiteY91" fmla="*/ 6318297 h 6858000"/>
              <a:gd name="connsiteX92" fmla="*/ 7042773 w 7467600"/>
              <a:gd name="connsiteY92" fmla="*/ 5734011 h 6858000"/>
              <a:gd name="connsiteX93" fmla="*/ 1456157 w 7467600"/>
              <a:gd name="connsiteY93" fmla="*/ 5371404 h 6858000"/>
              <a:gd name="connsiteX94" fmla="*/ 1244432 w 7467600"/>
              <a:gd name="connsiteY94" fmla="*/ 5385601 h 6858000"/>
              <a:gd name="connsiteX95" fmla="*/ 973990 w 7467600"/>
              <a:gd name="connsiteY95" fmla="*/ 5424940 h 6858000"/>
              <a:gd name="connsiteX96" fmla="*/ 1103809 w 7467600"/>
              <a:gd name="connsiteY96" fmla="*/ 5433720 h 6858000"/>
              <a:gd name="connsiteX97" fmla="*/ 1123454 w 7467600"/>
              <a:gd name="connsiteY97" fmla="*/ 5435727 h 6858000"/>
              <a:gd name="connsiteX98" fmla="*/ 1737017 w 7467600"/>
              <a:gd name="connsiteY98" fmla="*/ 5452183 h 6858000"/>
              <a:gd name="connsiteX99" fmla="*/ 1824397 w 7467600"/>
              <a:gd name="connsiteY99" fmla="*/ 5447757 h 6858000"/>
              <a:gd name="connsiteX100" fmla="*/ 2070059 w 7467600"/>
              <a:gd name="connsiteY100" fmla="*/ 5441660 h 6858000"/>
              <a:gd name="connsiteX101" fmla="*/ 1456157 w 7467600"/>
              <a:gd name="connsiteY101" fmla="*/ 5371404 h 6858000"/>
              <a:gd name="connsiteX102" fmla="*/ 4988186 w 7467600"/>
              <a:gd name="connsiteY102" fmla="*/ 5216467 h 6858000"/>
              <a:gd name="connsiteX103" fmla="*/ 4777334 w 7467600"/>
              <a:gd name="connsiteY103" fmla="*/ 5406072 h 6858000"/>
              <a:gd name="connsiteX104" fmla="*/ 4718341 w 7467600"/>
              <a:gd name="connsiteY104" fmla="*/ 5468043 h 6858000"/>
              <a:gd name="connsiteX105" fmla="*/ 4604655 w 7467600"/>
              <a:gd name="connsiteY105" fmla="*/ 5583434 h 6858000"/>
              <a:gd name="connsiteX106" fmla="*/ 4565074 w 7467600"/>
              <a:gd name="connsiteY106" fmla="*/ 5618550 h 6858000"/>
              <a:gd name="connsiteX107" fmla="*/ 4988186 w 7467600"/>
              <a:gd name="connsiteY107" fmla="*/ 5216467 h 6858000"/>
              <a:gd name="connsiteX108" fmla="*/ 4978032 w 7467600"/>
              <a:gd name="connsiteY108" fmla="*/ 5183809 h 6858000"/>
              <a:gd name="connsiteX109" fmla="*/ 4463413 w 7467600"/>
              <a:gd name="connsiteY109" fmla="*/ 5615162 h 6858000"/>
              <a:gd name="connsiteX110" fmla="*/ 4358134 w 7467600"/>
              <a:gd name="connsiteY110" fmla="*/ 5742791 h 6858000"/>
              <a:gd name="connsiteX111" fmla="*/ 4376219 w 7467600"/>
              <a:gd name="connsiteY111" fmla="*/ 5729027 h 6858000"/>
              <a:gd name="connsiteX112" fmla="*/ 4582340 w 7467600"/>
              <a:gd name="connsiteY112" fmla="*/ 5561037 h 6858000"/>
              <a:gd name="connsiteX113" fmla="*/ 4694684 w 7467600"/>
              <a:gd name="connsiteY113" fmla="*/ 5447098 h 6858000"/>
              <a:gd name="connsiteX114" fmla="*/ 4754123 w 7467600"/>
              <a:gd name="connsiteY114" fmla="*/ 5384643 h 6858000"/>
              <a:gd name="connsiteX115" fmla="*/ 4978032 w 7467600"/>
              <a:gd name="connsiteY115" fmla="*/ 5183809 h 6858000"/>
              <a:gd name="connsiteX116" fmla="*/ 1903353 w 7467600"/>
              <a:gd name="connsiteY116" fmla="*/ 5044827 h 6858000"/>
              <a:gd name="connsiteX117" fmla="*/ 1936931 w 7467600"/>
              <a:gd name="connsiteY117" fmla="*/ 5093954 h 6858000"/>
              <a:gd name="connsiteX118" fmla="*/ 2195868 w 7467600"/>
              <a:gd name="connsiteY118" fmla="*/ 5396574 h 6858000"/>
              <a:gd name="connsiteX119" fmla="*/ 2088852 w 7467600"/>
              <a:gd name="connsiteY119" fmla="*/ 5166123 h 6858000"/>
              <a:gd name="connsiteX120" fmla="*/ 1958241 w 7467600"/>
              <a:gd name="connsiteY120" fmla="*/ 5067955 h 6858000"/>
              <a:gd name="connsiteX121" fmla="*/ 1903353 w 7467600"/>
              <a:gd name="connsiteY121" fmla="*/ 5044827 h 6858000"/>
              <a:gd name="connsiteX122" fmla="*/ 1979378 w 7467600"/>
              <a:gd name="connsiteY122" fmla="*/ 4769504 h 6858000"/>
              <a:gd name="connsiteX123" fmla="*/ 2882120 w 7467600"/>
              <a:gd name="connsiteY123" fmla="*/ 5064547 h 6858000"/>
              <a:gd name="connsiteX124" fmla="*/ 2793103 w 7467600"/>
              <a:gd name="connsiteY124" fmla="*/ 5039699 h 6858000"/>
              <a:gd name="connsiteX125" fmla="*/ 2770041 w 7467600"/>
              <a:gd name="connsiteY125" fmla="*/ 5033634 h 6858000"/>
              <a:gd name="connsiteX126" fmla="*/ 1979378 w 7467600"/>
              <a:gd name="connsiteY126" fmla="*/ 4769504 h 6858000"/>
              <a:gd name="connsiteX127" fmla="*/ 1927410 w 7467600"/>
              <a:gd name="connsiteY127" fmla="*/ 4716164 h 6858000"/>
              <a:gd name="connsiteX128" fmla="*/ 1959587 w 7467600"/>
              <a:gd name="connsiteY128" fmla="*/ 4728849 h 6858000"/>
              <a:gd name="connsiteX129" fmla="*/ 2777707 w 7467600"/>
              <a:gd name="connsiteY129" fmla="*/ 5003991 h 6858000"/>
              <a:gd name="connsiteX130" fmla="*/ 2800768 w 7467600"/>
              <a:gd name="connsiteY130" fmla="*/ 5010056 h 6858000"/>
              <a:gd name="connsiteX131" fmla="*/ 2879408 w 7467600"/>
              <a:gd name="connsiteY131" fmla="*/ 5031590 h 6858000"/>
              <a:gd name="connsiteX132" fmla="*/ 2862295 w 7467600"/>
              <a:gd name="connsiteY132" fmla="*/ 5022958 h 6858000"/>
              <a:gd name="connsiteX133" fmla="*/ 2813343 w 7467600"/>
              <a:gd name="connsiteY133" fmla="*/ 4998369 h 6858000"/>
              <a:gd name="connsiteX134" fmla="*/ 2646245 w 7467600"/>
              <a:gd name="connsiteY134" fmla="*/ 4930999 h 6858000"/>
              <a:gd name="connsiteX135" fmla="*/ 1999243 w 7467600"/>
              <a:gd name="connsiteY135" fmla="*/ 4730524 h 6858000"/>
              <a:gd name="connsiteX136" fmla="*/ 1979527 w 7467600"/>
              <a:gd name="connsiteY136" fmla="*/ 4726651 h 6858000"/>
              <a:gd name="connsiteX137" fmla="*/ 1927410 w 7467600"/>
              <a:gd name="connsiteY137" fmla="*/ 4716164 h 6858000"/>
              <a:gd name="connsiteX138" fmla="*/ 1997014 w 7467600"/>
              <a:gd name="connsiteY138" fmla="*/ 4698007 h 6858000"/>
              <a:gd name="connsiteX139" fmla="*/ 2005458 w 7467600"/>
              <a:gd name="connsiteY139" fmla="*/ 4699540 h 6858000"/>
              <a:gd name="connsiteX140" fmla="*/ 2657186 w 7467600"/>
              <a:gd name="connsiteY140" fmla="*/ 4901687 h 6858000"/>
              <a:gd name="connsiteX141" fmla="*/ 2826662 w 7467600"/>
              <a:gd name="connsiteY141" fmla="*/ 4970362 h 6858000"/>
              <a:gd name="connsiteX142" fmla="*/ 2876100 w 7467600"/>
              <a:gd name="connsiteY142" fmla="*/ 4995397 h 6858000"/>
              <a:gd name="connsiteX143" fmla="*/ 3042600 w 7467600"/>
              <a:gd name="connsiteY143" fmla="*/ 5059532 h 6858000"/>
              <a:gd name="connsiteX144" fmla="*/ 1997014 w 7467600"/>
              <a:gd name="connsiteY144" fmla="*/ 4698007 h 6858000"/>
              <a:gd name="connsiteX145" fmla="*/ 2305292 w 7467600"/>
              <a:gd name="connsiteY145" fmla="*/ 4219492 h 6858000"/>
              <a:gd name="connsiteX146" fmla="*/ 3360922 w 7467600"/>
              <a:gd name="connsiteY146" fmla="*/ 4529373 h 6858000"/>
              <a:gd name="connsiteX147" fmla="*/ 3492420 w 7467600"/>
              <a:gd name="connsiteY147" fmla="*/ 4510145 h 6858000"/>
              <a:gd name="connsiteX148" fmla="*/ 3364086 w 7467600"/>
              <a:gd name="connsiteY148" fmla="*/ 4480340 h 6858000"/>
              <a:gd name="connsiteX149" fmla="*/ 3225818 w 7467600"/>
              <a:gd name="connsiteY149" fmla="*/ 4411822 h 6858000"/>
              <a:gd name="connsiteX150" fmla="*/ 3129696 w 7467600"/>
              <a:gd name="connsiteY150" fmla="*/ 4360704 h 6858000"/>
              <a:gd name="connsiteX151" fmla="*/ 2814545 w 7467600"/>
              <a:gd name="connsiteY151" fmla="*/ 4282955 h 6858000"/>
              <a:gd name="connsiteX152" fmla="*/ 2305292 w 7467600"/>
              <a:gd name="connsiteY152" fmla="*/ 4219492 h 6858000"/>
              <a:gd name="connsiteX153" fmla="*/ 2626982 w 7467600"/>
              <a:gd name="connsiteY153" fmla="*/ 4206450 h 6858000"/>
              <a:gd name="connsiteX154" fmla="*/ 2490617 w 7467600"/>
              <a:gd name="connsiteY154" fmla="*/ 4206951 h 6858000"/>
              <a:gd name="connsiteX155" fmla="*/ 2819869 w 7467600"/>
              <a:gd name="connsiteY155" fmla="*/ 4252936 h 6858000"/>
              <a:gd name="connsiteX156" fmla="*/ 3143018 w 7467600"/>
              <a:gd name="connsiteY156" fmla="*/ 4332698 h 6858000"/>
              <a:gd name="connsiteX157" fmla="*/ 3241520 w 7467600"/>
              <a:gd name="connsiteY157" fmla="*/ 4385112 h 6858000"/>
              <a:gd name="connsiteX158" fmla="*/ 3374575 w 7467600"/>
              <a:gd name="connsiteY158" fmla="*/ 4451517 h 6858000"/>
              <a:gd name="connsiteX159" fmla="*/ 3505221 w 7467600"/>
              <a:gd name="connsiteY159" fmla="*/ 4480757 h 6858000"/>
              <a:gd name="connsiteX160" fmla="*/ 2626982 w 7467600"/>
              <a:gd name="connsiteY160" fmla="*/ 4206450 h 6858000"/>
              <a:gd name="connsiteX161" fmla="*/ 1310106 w 7467600"/>
              <a:gd name="connsiteY161" fmla="*/ 3943217 h 6858000"/>
              <a:gd name="connsiteX162" fmla="*/ 854994 w 7467600"/>
              <a:gd name="connsiteY162" fmla="*/ 4399136 h 6858000"/>
              <a:gd name="connsiteX163" fmla="*/ 742462 w 7467600"/>
              <a:gd name="connsiteY163" fmla="*/ 4594648 h 6858000"/>
              <a:gd name="connsiteX164" fmla="*/ 820602 w 7467600"/>
              <a:gd name="connsiteY164" fmla="*/ 4485915 h 6858000"/>
              <a:gd name="connsiteX165" fmla="*/ 878295 w 7467600"/>
              <a:gd name="connsiteY165" fmla="*/ 4403594 h 6858000"/>
              <a:gd name="connsiteX166" fmla="*/ 1240607 w 7467600"/>
              <a:gd name="connsiteY166" fmla="*/ 4010401 h 6858000"/>
              <a:gd name="connsiteX167" fmla="*/ 1310106 w 7467600"/>
              <a:gd name="connsiteY167" fmla="*/ 3943217 h 6858000"/>
              <a:gd name="connsiteX168" fmla="*/ 1423113 w 7467600"/>
              <a:gd name="connsiteY168" fmla="*/ 3874565 h 6858000"/>
              <a:gd name="connsiteX169" fmla="*/ 1260565 w 7467600"/>
              <a:gd name="connsiteY169" fmla="*/ 4031982 h 6858000"/>
              <a:gd name="connsiteX170" fmla="*/ 901900 w 7467600"/>
              <a:gd name="connsiteY170" fmla="*/ 4421236 h 6858000"/>
              <a:gd name="connsiteX171" fmla="*/ 845044 w 7467600"/>
              <a:gd name="connsiteY171" fmla="*/ 4502436 h 6858000"/>
              <a:gd name="connsiteX172" fmla="*/ 685926 w 7467600"/>
              <a:gd name="connsiteY172" fmla="*/ 4703069 h 6858000"/>
              <a:gd name="connsiteX173" fmla="*/ 684248 w 7467600"/>
              <a:gd name="connsiteY173" fmla="*/ 4706721 h 6858000"/>
              <a:gd name="connsiteX174" fmla="*/ 1423113 w 7467600"/>
              <a:gd name="connsiteY174" fmla="*/ 3874565 h 6858000"/>
              <a:gd name="connsiteX175" fmla="*/ 3316479 w 7467600"/>
              <a:gd name="connsiteY175" fmla="*/ 3872136 h 6858000"/>
              <a:gd name="connsiteX176" fmla="*/ 3546806 w 7467600"/>
              <a:gd name="connsiteY176" fmla="*/ 4356139 h 6858000"/>
              <a:gd name="connsiteX177" fmla="*/ 3364433 w 7467600"/>
              <a:gd name="connsiteY177" fmla="*/ 3953121 h 6858000"/>
              <a:gd name="connsiteX178" fmla="*/ 3316479 w 7467600"/>
              <a:gd name="connsiteY178" fmla="*/ 3872136 h 6858000"/>
              <a:gd name="connsiteX179" fmla="*/ 3291335 w 7467600"/>
              <a:gd name="connsiteY179" fmla="*/ 3767420 h 6858000"/>
              <a:gd name="connsiteX180" fmla="*/ 3390805 w 7467600"/>
              <a:gd name="connsiteY180" fmla="*/ 3937163 h 6858000"/>
              <a:gd name="connsiteX181" fmla="*/ 3579062 w 7467600"/>
              <a:gd name="connsiteY181" fmla="*/ 4359040 h 6858000"/>
              <a:gd name="connsiteX182" fmla="*/ 3467355 w 7467600"/>
              <a:gd name="connsiteY182" fmla="*/ 3988130 h 6858000"/>
              <a:gd name="connsiteX183" fmla="*/ 3310753 w 7467600"/>
              <a:gd name="connsiteY183" fmla="*/ 3787140 h 6858000"/>
              <a:gd name="connsiteX184" fmla="*/ 3291335 w 7467600"/>
              <a:gd name="connsiteY184" fmla="*/ 3767420 h 6858000"/>
              <a:gd name="connsiteX185" fmla="*/ 1635889 w 7467600"/>
              <a:gd name="connsiteY185" fmla="*/ 3709494 h 6858000"/>
              <a:gd name="connsiteX186" fmla="*/ 1634800 w 7467600"/>
              <a:gd name="connsiteY186" fmla="*/ 3731111 h 6858000"/>
              <a:gd name="connsiteX187" fmla="*/ 1635889 w 7467600"/>
              <a:gd name="connsiteY187" fmla="*/ 3709494 h 6858000"/>
              <a:gd name="connsiteX188" fmla="*/ 1510397 w 7467600"/>
              <a:gd name="connsiteY188" fmla="*/ 3684705 h 6858000"/>
              <a:gd name="connsiteX189" fmla="*/ 1146550 w 7467600"/>
              <a:gd name="connsiteY189" fmla="*/ 3802012 h 6858000"/>
              <a:gd name="connsiteX190" fmla="*/ 698834 w 7467600"/>
              <a:gd name="connsiteY190" fmla="*/ 3952272 h 6858000"/>
              <a:gd name="connsiteX191" fmla="*/ 34256 w 7467600"/>
              <a:gd name="connsiteY191" fmla="*/ 4347603 h 6858000"/>
              <a:gd name="connsiteX192" fmla="*/ 527241 w 7467600"/>
              <a:gd name="connsiteY192" fmla="*/ 4065078 h 6858000"/>
              <a:gd name="connsiteX193" fmla="*/ 1510397 w 7467600"/>
              <a:gd name="connsiteY193" fmla="*/ 3684705 h 6858000"/>
              <a:gd name="connsiteX194" fmla="*/ 1313114 w 7467600"/>
              <a:gd name="connsiteY194" fmla="*/ 3655216 h 6858000"/>
              <a:gd name="connsiteX195" fmla="*/ 1109304 w 7467600"/>
              <a:gd name="connsiteY195" fmla="*/ 3669030 h 6858000"/>
              <a:gd name="connsiteX196" fmla="*/ 8129 w 7467600"/>
              <a:gd name="connsiteY196" fmla="*/ 4330519 h 6858000"/>
              <a:gd name="connsiteX197" fmla="*/ 687572 w 7467600"/>
              <a:gd name="connsiteY197" fmla="*/ 3925629 h 6858000"/>
              <a:gd name="connsiteX198" fmla="*/ 1138365 w 7467600"/>
              <a:gd name="connsiteY198" fmla="*/ 3774515 h 6858000"/>
              <a:gd name="connsiteX199" fmla="*/ 1505579 w 7467600"/>
              <a:gd name="connsiteY199" fmla="*/ 3655526 h 6858000"/>
              <a:gd name="connsiteX200" fmla="*/ 1313114 w 7467600"/>
              <a:gd name="connsiteY200" fmla="*/ 3655216 h 6858000"/>
              <a:gd name="connsiteX201" fmla="*/ 3655073 w 7467600"/>
              <a:gd name="connsiteY201" fmla="*/ 3650884 h 6858000"/>
              <a:gd name="connsiteX202" fmla="*/ 3989938 w 7467600"/>
              <a:gd name="connsiteY202" fmla="*/ 3991685 h 6858000"/>
              <a:gd name="connsiteX203" fmla="*/ 4393907 w 7467600"/>
              <a:gd name="connsiteY203" fmla="*/ 4261258 h 6858000"/>
              <a:gd name="connsiteX204" fmla="*/ 4648051 w 7467600"/>
              <a:gd name="connsiteY204" fmla="*/ 4374051 h 6858000"/>
              <a:gd name="connsiteX205" fmla="*/ 4383389 w 7467600"/>
              <a:gd name="connsiteY205" fmla="*/ 4184369 h 6858000"/>
              <a:gd name="connsiteX206" fmla="*/ 4165508 w 7467600"/>
              <a:gd name="connsiteY206" fmla="*/ 4035196 h 6858000"/>
              <a:gd name="connsiteX207" fmla="*/ 4068162 w 7467600"/>
              <a:gd name="connsiteY207" fmla="*/ 3953394 h 6858000"/>
              <a:gd name="connsiteX208" fmla="*/ 3981416 w 7467600"/>
              <a:gd name="connsiteY208" fmla="*/ 3880482 h 6858000"/>
              <a:gd name="connsiteX209" fmla="*/ 3800147 w 7467600"/>
              <a:gd name="connsiteY209" fmla="*/ 3749872 h 6858000"/>
              <a:gd name="connsiteX210" fmla="*/ 3655073 w 7467600"/>
              <a:gd name="connsiteY210" fmla="*/ 3650884 h 6858000"/>
              <a:gd name="connsiteX211" fmla="*/ 3670252 w 7467600"/>
              <a:gd name="connsiteY211" fmla="*/ 3622798 h 6858000"/>
              <a:gd name="connsiteX212" fmla="*/ 3817258 w 7467600"/>
              <a:gd name="connsiteY212" fmla="*/ 3723577 h 6858000"/>
              <a:gd name="connsiteX213" fmla="*/ 4000461 w 7467600"/>
              <a:gd name="connsiteY213" fmla="*/ 3855966 h 6858000"/>
              <a:gd name="connsiteX214" fmla="*/ 4088180 w 7467600"/>
              <a:gd name="connsiteY214" fmla="*/ 3929774 h 6858000"/>
              <a:gd name="connsiteX215" fmla="*/ 4184555 w 7467600"/>
              <a:gd name="connsiteY215" fmla="*/ 4010683 h 6858000"/>
              <a:gd name="connsiteX216" fmla="*/ 4399563 w 7467600"/>
              <a:gd name="connsiteY216" fmla="*/ 4158106 h 6858000"/>
              <a:gd name="connsiteX217" fmla="*/ 4684469 w 7467600"/>
              <a:gd name="connsiteY217" fmla="*/ 4364680 h 6858000"/>
              <a:gd name="connsiteX218" fmla="*/ 4690271 w 7467600"/>
              <a:gd name="connsiteY218" fmla="*/ 4370034 h 6858000"/>
              <a:gd name="connsiteX219" fmla="*/ 4136093 w 7467600"/>
              <a:gd name="connsiteY219" fmla="*/ 3858466 h 6858000"/>
              <a:gd name="connsiteX220" fmla="*/ 3670252 w 7467600"/>
              <a:gd name="connsiteY220" fmla="*/ 3622798 h 6858000"/>
              <a:gd name="connsiteX221" fmla="*/ 4440129 w 7467600"/>
              <a:gd name="connsiteY221" fmla="*/ 3448571 h 6858000"/>
              <a:gd name="connsiteX222" fmla="*/ 4856525 w 7467600"/>
              <a:gd name="connsiteY222" fmla="*/ 3915351 h 6858000"/>
              <a:gd name="connsiteX223" fmla="*/ 5059055 w 7467600"/>
              <a:gd name="connsiteY223" fmla="*/ 4108918 h 6858000"/>
              <a:gd name="connsiteX224" fmla="*/ 5290070 w 7467600"/>
              <a:gd name="connsiteY224" fmla="*/ 4263619 h 6858000"/>
              <a:gd name="connsiteX225" fmla="*/ 4834991 w 7467600"/>
              <a:gd name="connsiteY225" fmla="*/ 3830985 h 6858000"/>
              <a:gd name="connsiteX226" fmla="*/ 4440129 w 7467600"/>
              <a:gd name="connsiteY226" fmla="*/ 3448571 h 6858000"/>
              <a:gd name="connsiteX227" fmla="*/ 4441737 w 7467600"/>
              <a:gd name="connsiteY227" fmla="*/ 3399734 h 6858000"/>
              <a:gd name="connsiteX228" fmla="*/ 4431236 w 7467600"/>
              <a:gd name="connsiteY228" fmla="*/ 3400954 h 6858000"/>
              <a:gd name="connsiteX229" fmla="*/ 4557150 w 7467600"/>
              <a:gd name="connsiteY229" fmla="*/ 3510023 h 6858000"/>
              <a:gd name="connsiteX230" fmla="*/ 4856936 w 7467600"/>
              <a:gd name="connsiteY230" fmla="*/ 3809146 h 6858000"/>
              <a:gd name="connsiteX231" fmla="*/ 5111996 w 7467600"/>
              <a:gd name="connsiteY231" fmla="*/ 4065759 h 6858000"/>
              <a:gd name="connsiteX232" fmla="*/ 5388878 w 7467600"/>
              <a:gd name="connsiteY232" fmla="*/ 4300185 h 6858000"/>
              <a:gd name="connsiteX233" fmla="*/ 5425556 w 7467600"/>
              <a:gd name="connsiteY233" fmla="*/ 4308967 h 6858000"/>
              <a:gd name="connsiteX234" fmla="*/ 4943646 w 7467600"/>
              <a:gd name="connsiteY234" fmla="*/ 3822916 h 6858000"/>
              <a:gd name="connsiteX235" fmla="*/ 4594837 w 7467600"/>
              <a:gd name="connsiteY235" fmla="*/ 3532274 h 6858000"/>
              <a:gd name="connsiteX236" fmla="*/ 4441737 w 7467600"/>
              <a:gd name="connsiteY236" fmla="*/ 3399734 h 6858000"/>
              <a:gd name="connsiteX237" fmla="*/ 5425834 w 7467600"/>
              <a:gd name="connsiteY237" fmla="*/ 3162785 h 6858000"/>
              <a:gd name="connsiteX238" fmla="*/ 5401644 w 7467600"/>
              <a:gd name="connsiteY238" fmla="*/ 3617847 h 6858000"/>
              <a:gd name="connsiteX239" fmla="*/ 5467256 w 7467600"/>
              <a:gd name="connsiteY239" fmla="*/ 4175494 h 6858000"/>
              <a:gd name="connsiteX240" fmla="*/ 5448069 w 7467600"/>
              <a:gd name="connsiteY240" fmla="*/ 3567554 h 6858000"/>
              <a:gd name="connsiteX241" fmla="*/ 5425834 w 7467600"/>
              <a:gd name="connsiteY241" fmla="*/ 3162785 h 6858000"/>
              <a:gd name="connsiteX242" fmla="*/ 1318687 w 7467600"/>
              <a:gd name="connsiteY242" fmla="*/ 3113840 h 6858000"/>
              <a:gd name="connsiteX243" fmla="*/ 1066793 w 7467600"/>
              <a:gd name="connsiteY243" fmla="*/ 3212171 h 6858000"/>
              <a:gd name="connsiteX244" fmla="*/ 993319 w 7467600"/>
              <a:gd name="connsiteY244" fmla="*/ 3247648 h 6858000"/>
              <a:gd name="connsiteX245" fmla="*/ 853081 w 7467600"/>
              <a:gd name="connsiteY245" fmla="*/ 3312410 h 6858000"/>
              <a:gd name="connsiteX246" fmla="*/ 805957 w 7467600"/>
              <a:gd name="connsiteY246" fmla="*/ 3330443 h 6858000"/>
              <a:gd name="connsiteX247" fmla="*/ 1318687 w 7467600"/>
              <a:gd name="connsiteY247" fmla="*/ 3113840 h 6858000"/>
              <a:gd name="connsiteX248" fmla="*/ 5453702 w 7467600"/>
              <a:gd name="connsiteY248" fmla="*/ 3090882 h 6858000"/>
              <a:gd name="connsiteX249" fmla="*/ 5480135 w 7467600"/>
              <a:gd name="connsiteY249" fmla="*/ 3565802 h 6858000"/>
              <a:gd name="connsiteX250" fmla="*/ 5499023 w 7467600"/>
              <a:gd name="connsiteY250" fmla="*/ 4166310 h 6858000"/>
              <a:gd name="connsiteX251" fmla="*/ 5547022 w 7467600"/>
              <a:gd name="connsiteY251" fmla="*/ 3607838 h 6858000"/>
              <a:gd name="connsiteX252" fmla="*/ 5515964 w 7467600"/>
              <a:gd name="connsiteY252" fmla="*/ 3378541 h 6858000"/>
              <a:gd name="connsiteX253" fmla="*/ 5453702 w 7467600"/>
              <a:gd name="connsiteY253" fmla="*/ 3090882 h 6858000"/>
              <a:gd name="connsiteX254" fmla="*/ 1238695 w 7467600"/>
              <a:gd name="connsiteY254" fmla="*/ 3076820 h 6858000"/>
              <a:gd name="connsiteX255" fmla="*/ 716371 w 7467600"/>
              <a:gd name="connsiteY255" fmla="*/ 3293249 h 6858000"/>
              <a:gd name="connsiteX256" fmla="*/ 579522 w 7467600"/>
              <a:gd name="connsiteY256" fmla="*/ 3371759 h 6858000"/>
              <a:gd name="connsiteX257" fmla="*/ 600288 w 7467600"/>
              <a:gd name="connsiteY257" fmla="*/ 3365555 h 6858000"/>
              <a:gd name="connsiteX258" fmla="*/ 840692 w 7467600"/>
              <a:gd name="connsiteY258" fmla="*/ 3284921 h 6858000"/>
              <a:gd name="connsiteX259" fmla="*/ 979248 w 7467600"/>
              <a:gd name="connsiteY259" fmla="*/ 3221003 h 6858000"/>
              <a:gd name="connsiteX260" fmla="*/ 1053282 w 7467600"/>
              <a:gd name="connsiteY260" fmla="*/ 3185247 h 6858000"/>
              <a:gd name="connsiteX261" fmla="*/ 1320603 w 7467600"/>
              <a:gd name="connsiteY261" fmla="*/ 3081281 h 6858000"/>
              <a:gd name="connsiteX262" fmla="*/ 1238695 w 7467600"/>
              <a:gd name="connsiteY262" fmla="*/ 3076820 h 6858000"/>
              <a:gd name="connsiteX263" fmla="*/ 5425627 w 7467600"/>
              <a:gd name="connsiteY263" fmla="*/ 2954192 h 6858000"/>
              <a:gd name="connsiteX264" fmla="*/ 5470770 w 7467600"/>
              <a:gd name="connsiteY264" fmla="*/ 3005435 h 6858000"/>
              <a:gd name="connsiteX265" fmla="*/ 5519779 w 7467600"/>
              <a:gd name="connsiteY265" fmla="*/ 4359223 h 6858000"/>
              <a:gd name="connsiteX266" fmla="*/ 5520293 w 7467600"/>
              <a:gd name="connsiteY266" fmla="*/ 4360602 h 6858000"/>
              <a:gd name="connsiteX267" fmla="*/ 5767221 w 7467600"/>
              <a:gd name="connsiteY267" fmla="*/ 4665564 h 6858000"/>
              <a:gd name="connsiteX268" fmla="*/ 6937169 w 7467600"/>
              <a:gd name="connsiteY268" fmla="*/ 4815941 h 6858000"/>
              <a:gd name="connsiteX269" fmla="*/ 6953922 w 7467600"/>
              <a:gd name="connsiteY269" fmla="*/ 4890068 h 6858000"/>
              <a:gd name="connsiteX270" fmla="*/ 6071359 w 7467600"/>
              <a:gd name="connsiteY270" fmla="*/ 4770770 h 6858000"/>
              <a:gd name="connsiteX271" fmla="*/ 6038839 w 7467600"/>
              <a:gd name="connsiteY271" fmla="*/ 4764474 h 6858000"/>
              <a:gd name="connsiteX272" fmla="*/ 6038706 w 7467600"/>
              <a:gd name="connsiteY272" fmla="*/ 4763847 h 6858000"/>
              <a:gd name="connsiteX273" fmla="*/ 6037784 w 7467600"/>
              <a:gd name="connsiteY273" fmla="*/ 4764270 h 6858000"/>
              <a:gd name="connsiteX274" fmla="*/ 6038839 w 7467600"/>
              <a:gd name="connsiteY274" fmla="*/ 4764474 h 6858000"/>
              <a:gd name="connsiteX275" fmla="*/ 6040338 w 7467600"/>
              <a:gd name="connsiteY275" fmla="*/ 4771418 h 6858000"/>
              <a:gd name="connsiteX276" fmla="*/ 6024488 w 7467600"/>
              <a:gd name="connsiteY276" fmla="*/ 4809903 h 6858000"/>
              <a:gd name="connsiteX277" fmla="*/ 5599771 w 7467600"/>
              <a:gd name="connsiteY277" fmla="*/ 5509652 h 6858000"/>
              <a:gd name="connsiteX278" fmla="*/ 5548843 w 7467600"/>
              <a:gd name="connsiteY278" fmla="*/ 5563845 h 6858000"/>
              <a:gd name="connsiteX279" fmla="*/ 5940952 w 7467600"/>
              <a:gd name="connsiteY279" fmla="*/ 6250028 h 6858000"/>
              <a:gd name="connsiteX280" fmla="*/ 6043441 w 7467600"/>
              <a:gd name="connsiteY280" fmla="*/ 6665847 h 6858000"/>
              <a:gd name="connsiteX281" fmla="*/ 6093432 w 7467600"/>
              <a:gd name="connsiteY281" fmla="*/ 6858000 h 6858000"/>
              <a:gd name="connsiteX282" fmla="*/ 6034344 w 7467600"/>
              <a:gd name="connsiteY282" fmla="*/ 6858000 h 6858000"/>
              <a:gd name="connsiteX283" fmla="*/ 6026679 w 7467600"/>
              <a:gd name="connsiteY283" fmla="*/ 6836959 h 6858000"/>
              <a:gd name="connsiteX284" fmla="*/ 5800441 w 7467600"/>
              <a:gd name="connsiteY284" fmla="*/ 6335286 h 6858000"/>
              <a:gd name="connsiteX285" fmla="*/ 5526562 w 7467600"/>
              <a:gd name="connsiteY285" fmla="*/ 5705388 h 6858000"/>
              <a:gd name="connsiteX286" fmla="*/ 5519640 w 7467600"/>
              <a:gd name="connsiteY286" fmla="*/ 5683774 h 6858000"/>
              <a:gd name="connsiteX287" fmla="*/ 5844559 w 7467600"/>
              <a:gd name="connsiteY287" fmla="*/ 6553349 h 6858000"/>
              <a:gd name="connsiteX288" fmla="*/ 5975994 w 7467600"/>
              <a:gd name="connsiteY288" fmla="*/ 6858000 h 6858000"/>
              <a:gd name="connsiteX289" fmla="*/ 5898547 w 7467600"/>
              <a:gd name="connsiteY289" fmla="*/ 6858000 h 6858000"/>
              <a:gd name="connsiteX290" fmla="*/ 5682041 w 7467600"/>
              <a:gd name="connsiteY290" fmla="*/ 6355860 h 6858000"/>
              <a:gd name="connsiteX291" fmla="*/ 5461758 w 7467600"/>
              <a:gd name="connsiteY291" fmla="*/ 5820220 h 6858000"/>
              <a:gd name="connsiteX292" fmla="*/ 5237282 w 7467600"/>
              <a:gd name="connsiteY292" fmla="*/ 6579086 h 6858000"/>
              <a:gd name="connsiteX293" fmla="*/ 5115009 w 7467600"/>
              <a:gd name="connsiteY293" fmla="*/ 6858000 h 6858000"/>
              <a:gd name="connsiteX294" fmla="*/ 5028074 w 7467600"/>
              <a:gd name="connsiteY294" fmla="*/ 6858000 h 6858000"/>
              <a:gd name="connsiteX295" fmla="*/ 5079508 w 7467600"/>
              <a:gd name="connsiteY295" fmla="*/ 6749074 h 6858000"/>
              <a:gd name="connsiteX296" fmla="*/ 5371846 w 7467600"/>
              <a:gd name="connsiteY296" fmla="*/ 5924413 h 6858000"/>
              <a:gd name="connsiteX297" fmla="*/ 5270512 w 7467600"/>
              <a:gd name="connsiteY297" fmla="*/ 6138975 h 6858000"/>
              <a:gd name="connsiteX298" fmla="*/ 5062409 w 7467600"/>
              <a:gd name="connsiteY298" fmla="*/ 6653544 h 6858000"/>
              <a:gd name="connsiteX299" fmla="*/ 5036628 w 7467600"/>
              <a:gd name="connsiteY299" fmla="*/ 6754247 h 6858000"/>
              <a:gd name="connsiteX300" fmla="*/ 5009112 w 7467600"/>
              <a:gd name="connsiteY300" fmla="*/ 6858000 h 6858000"/>
              <a:gd name="connsiteX301" fmla="*/ 4976679 w 7467600"/>
              <a:gd name="connsiteY301" fmla="*/ 6858000 h 6858000"/>
              <a:gd name="connsiteX302" fmla="*/ 5006537 w 7467600"/>
              <a:gd name="connsiteY302" fmla="*/ 6747068 h 6858000"/>
              <a:gd name="connsiteX303" fmla="*/ 5032723 w 7467600"/>
              <a:gd name="connsiteY303" fmla="*/ 6644957 h 6858000"/>
              <a:gd name="connsiteX304" fmla="*/ 5242949 w 7467600"/>
              <a:gd name="connsiteY304" fmla="*/ 6125175 h 6858000"/>
              <a:gd name="connsiteX305" fmla="*/ 5286321 w 7467600"/>
              <a:gd name="connsiteY305" fmla="*/ 6033555 h 6858000"/>
              <a:gd name="connsiteX306" fmla="*/ 5008210 w 7467600"/>
              <a:gd name="connsiteY306" fmla="*/ 6649194 h 6858000"/>
              <a:gd name="connsiteX307" fmla="*/ 4986321 w 7467600"/>
              <a:gd name="connsiteY307" fmla="*/ 6765687 h 6858000"/>
              <a:gd name="connsiteX308" fmla="*/ 4973474 w 7467600"/>
              <a:gd name="connsiteY308" fmla="*/ 6858000 h 6858000"/>
              <a:gd name="connsiteX309" fmla="*/ 4907178 w 7467600"/>
              <a:gd name="connsiteY309" fmla="*/ 6858000 h 6858000"/>
              <a:gd name="connsiteX310" fmla="*/ 4910810 w 7467600"/>
              <a:gd name="connsiteY310" fmla="*/ 6829660 h 6858000"/>
              <a:gd name="connsiteX311" fmla="*/ 4987461 w 7467600"/>
              <a:gd name="connsiteY311" fmla="*/ 6432994 h 6858000"/>
              <a:gd name="connsiteX312" fmla="*/ 5179262 w 7467600"/>
              <a:gd name="connsiteY312" fmla="*/ 6035044 h 6858000"/>
              <a:gd name="connsiteX313" fmla="*/ 4689678 w 7467600"/>
              <a:gd name="connsiteY313" fmla="*/ 6440241 h 6858000"/>
              <a:gd name="connsiteX314" fmla="*/ 4477543 w 7467600"/>
              <a:gd name="connsiteY314" fmla="*/ 6674836 h 6858000"/>
              <a:gd name="connsiteX315" fmla="*/ 4329957 w 7467600"/>
              <a:gd name="connsiteY315" fmla="*/ 6858000 h 6858000"/>
              <a:gd name="connsiteX316" fmla="*/ 4218595 w 7467600"/>
              <a:gd name="connsiteY316" fmla="*/ 6858000 h 6858000"/>
              <a:gd name="connsiteX317" fmla="*/ 4368888 w 7467600"/>
              <a:gd name="connsiteY317" fmla="*/ 6668412 h 6858000"/>
              <a:gd name="connsiteX318" fmla="*/ 4563091 w 7467600"/>
              <a:gd name="connsiteY318" fmla="*/ 6442508 h 6858000"/>
              <a:gd name="connsiteX319" fmla="*/ 5387324 w 7467600"/>
              <a:gd name="connsiteY319" fmla="*/ 5705830 h 6858000"/>
              <a:gd name="connsiteX320" fmla="*/ 5073620 w 7467600"/>
              <a:gd name="connsiteY320" fmla="*/ 5955437 h 6858000"/>
              <a:gd name="connsiteX321" fmla="*/ 4689789 w 7467600"/>
              <a:gd name="connsiteY321" fmla="*/ 6268382 h 6858000"/>
              <a:gd name="connsiteX322" fmla="*/ 4418722 w 7467600"/>
              <a:gd name="connsiteY322" fmla="*/ 6570886 h 6858000"/>
              <a:gd name="connsiteX323" fmla="*/ 4214944 w 7467600"/>
              <a:gd name="connsiteY323" fmla="*/ 6858000 h 6858000"/>
              <a:gd name="connsiteX324" fmla="*/ 4177898 w 7467600"/>
              <a:gd name="connsiteY324" fmla="*/ 6858000 h 6858000"/>
              <a:gd name="connsiteX325" fmla="*/ 4391597 w 7467600"/>
              <a:gd name="connsiteY325" fmla="*/ 6556370 h 6858000"/>
              <a:gd name="connsiteX326" fmla="*/ 4668889 w 7467600"/>
              <a:gd name="connsiteY326" fmla="*/ 6246399 h 6858000"/>
              <a:gd name="connsiteX327" fmla="*/ 5055427 w 7467600"/>
              <a:gd name="connsiteY327" fmla="*/ 5931476 h 6858000"/>
              <a:gd name="connsiteX328" fmla="*/ 5371814 w 7467600"/>
              <a:gd name="connsiteY328" fmla="*/ 5678975 h 6858000"/>
              <a:gd name="connsiteX329" fmla="*/ 4987918 w 7467600"/>
              <a:gd name="connsiteY329" fmla="*/ 5838701 h 6858000"/>
              <a:gd name="connsiteX330" fmla="*/ 4317146 w 7467600"/>
              <a:gd name="connsiteY330" fmla="*/ 6587716 h 6858000"/>
              <a:gd name="connsiteX331" fmla="*/ 4171627 w 7467600"/>
              <a:gd name="connsiteY331" fmla="*/ 6858000 h 6858000"/>
              <a:gd name="connsiteX332" fmla="*/ 4081585 w 7467600"/>
              <a:gd name="connsiteY332" fmla="*/ 6858000 h 6858000"/>
              <a:gd name="connsiteX333" fmla="*/ 4238603 w 7467600"/>
              <a:gd name="connsiteY333" fmla="*/ 6559341 h 6858000"/>
              <a:gd name="connsiteX334" fmla="*/ 4778333 w 7467600"/>
              <a:gd name="connsiteY334" fmla="*/ 5873626 h 6858000"/>
              <a:gd name="connsiteX335" fmla="*/ 5414185 w 7467600"/>
              <a:gd name="connsiteY335" fmla="*/ 5573882 h 6858000"/>
              <a:gd name="connsiteX336" fmla="*/ 5959648 w 7467600"/>
              <a:gd name="connsiteY336" fmla="*/ 4760797 h 6858000"/>
              <a:gd name="connsiteX337" fmla="*/ 5355019 w 7467600"/>
              <a:gd name="connsiteY337" fmla="*/ 4734672 h 6858000"/>
              <a:gd name="connsiteX338" fmla="*/ 5083565 w 7467600"/>
              <a:gd name="connsiteY338" fmla="*/ 5179121 h 6858000"/>
              <a:gd name="connsiteX339" fmla="*/ 4713577 w 7467600"/>
              <a:gd name="connsiteY339" fmla="*/ 5616803 h 6858000"/>
              <a:gd name="connsiteX340" fmla="*/ 3989559 w 7467600"/>
              <a:gd name="connsiteY340" fmla="*/ 6145945 h 6858000"/>
              <a:gd name="connsiteX341" fmla="*/ 3939824 w 7467600"/>
              <a:gd name="connsiteY341" fmla="*/ 6066900 h 6858000"/>
              <a:gd name="connsiteX342" fmla="*/ 4584537 w 7467600"/>
              <a:gd name="connsiteY342" fmla="*/ 5324826 h 6858000"/>
              <a:gd name="connsiteX343" fmla="*/ 5037105 w 7467600"/>
              <a:gd name="connsiteY343" fmla="*/ 5088765 h 6858000"/>
              <a:gd name="connsiteX344" fmla="*/ 5039930 w 7467600"/>
              <a:gd name="connsiteY344" fmla="*/ 5089585 h 6858000"/>
              <a:gd name="connsiteX345" fmla="*/ 5263764 w 7467600"/>
              <a:gd name="connsiteY345" fmla="*/ 4735525 h 6858000"/>
              <a:gd name="connsiteX346" fmla="*/ 4086300 w 7467600"/>
              <a:gd name="connsiteY346" fmla="*/ 4884599 h 6858000"/>
              <a:gd name="connsiteX347" fmla="*/ 4085485 w 7467600"/>
              <a:gd name="connsiteY347" fmla="*/ 4899070 h 6858000"/>
              <a:gd name="connsiteX348" fmla="*/ 3871915 w 7467600"/>
              <a:gd name="connsiteY348" fmla="*/ 5253645 h 6858000"/>
              <a:gd name="connsiteX349" fmla="*/ 3799374 w 7467600"/>
              <a:gd name="connsiteY349" fmla="*/ 5466127 h 6858000"/>
              <a:gd name="connsiteX350" fmla="*/ 3498850 w 7467600"/>
              <a:gd name="connsiteY350" fmla="*/ 6661888 h 6858000"/>
              <a:gd name="connsiteX351" fmla="*/ 3399216 w 7467600"/>
              <a:gd name="connsiteY351" fmla="*/ 6858000 h 6858000"/>
              <a:gd name="connsiteX352" fmla="*/ 3303688 w 7467600"/>
              <a:gd name="connsiteY352" fmla="*/ 6858000 h 6858000"/>
              <a:gd name="connsiteX353" fmla="*/ 3391774 w 7467600"/>
              <a:gd name="connsiteY353" fmla="*/ 6697181 h 6858000"/>
              <a:gd name="connsiteX354" fmla="*/ 3735540 w 7467600"/>
              <a:gd name="connsiteY354" fmla="*/ 5546923 h 6858000"/>
              <a:gd name="connsiteX355" fmla="*/ 3729438 w 7467600"/>
              <a:gd name="connsiteY355" fmla="*/ 5569058 h 6858000"/>
              <a:gd name="connsiteX356" fmla="*/ 3707782 w 7467600"/>
              <a:gd name="connsiteY356" fmla="*/ 5644908 h 6858000"/>
              <a:gd name="connsiteX357" fmla="*/ 3583827 w 7467600"/>
              <a:gd name="connsiteY357" fmla="*/ 6039215 h 6858000"/>
              <a:gd name="connsiteX358" fmla="*/ 3547861 w 7467600"/>
              <a:gd name="connsiteY358" fmla="*/ 6129609 h 6858000"/>
              <a:gd name="connsiteX359" fmla="*/ 3490905 w 7467600"/>
              <a:gd name="connsiteY359" fmla="*/ 6277660 h 6858000"/>
              <a:gd name="connsiteX360" fmla="*/ 3455859 w 7467600"/>
              <a:gd name="connsiteY360" fmla="*/ 6391301 h 6858000"/>
              <a:gd name="connsiteX361" fmla="*/ 3429112 w 7467600"/>
              <a:gd name="connsiteY361" fmla="*/ 6479469 h 6858000"/>
              <a:gd name="connsiteX362" fmla="*/ 3304862 w 7467600"/>
              <a:gd name="connsiteY362" fmla="*/ 6796476 h 6858000"/>
              <a:gd name="connsiteX363" fmla="*/ 3276071 w 7467600"/>
              <a:gd name="connsiteY363" fmla="*/ 6858000 h 6858000"/>
              <a:gd name="connsiteX364" fmla="*/ 3240805 w 7467600"/>
              <a:gd name="connsiteY364" fmla="*/ 6858000 h 6858000"/>
              <a:gd name="connsiteX365" fmla="*/ 3275917 w 7467600"/>
              <a:gd name="connsiteY365" fmla="*/ 6783192 h 6858000"/>
              <a:gd name="connsiteX366" fmla="*/ 3399358 w 7467600"/>
              <a:gd name="connsiteY366" fmla="*/ 6469011 h 6858000"/>
              <a:gd name="connsiteX367" fmla="*/ 3425650 w 7467600"/>
              <a:gd name="connsiteY367" fmla="*/ 6381333 h 6858000"/>
              <a:gd name="connsiteX368" fmla="*/ 3460661 w 7467600"/>
              <a:gd name="connsiteY368" fmla="*/ 6266763 h 6858000"/>
              <a:gd name="connsiteX369" fmla="*/ 3518021 w 7467600"/>
              <a:gd name="connsiteY369" fmla="*/ 6117298 h 6858000"/>
              <a:gd name="connsiteX370" fmla="*/ 3554035 w 7467600"/>
              <a:gd name="connsiteY370" fmla="*/ 6027832 h 6858000"/>
              <a:gd name="connsiteX371" fmla="*/ 3677174 w 7467600"/>
              <a:gd name="connsiteY371" fmla="*/ 5636351 h 6858000"/>
              <a:gd name="connsiteX372" fmla="*/ 3698819 w 7467600"/>
              <a:gd name="connsiteY372" fmla="*/ 5560503 h 6858000"/>
              <a:gd name="connsiteX373" fmla="*/ 3702094 w 7467600"/>
              <a:gd name="connsiteY373" fmla="*/ 5549194 h 6858000"/>
              <a:gd name="connsiteX374" fmla="*/ 3398355 w 7467600"/>
              <a:gd name="connsiteY374" fmla="*/ 6094603 h 6858000"/>
              <a:gd name="connsiteX375" fmla="*/ 3193941 w 7467600"/>
              <a:gd name="connsiteY375" fmla="*/ 6798775 h 6858000"/>
              <a:gd name="connsiteX376" fmla="*/ 3184140 w 7467600"/>
              <a:gd name="connsiteY376" fmla="*/ 6858000 h 6858000"/>
              <a:gd name="connsiteX377" fmla="*/ 3099978 w 7467600"/>
              <a:gd name="connsiteY377" fmla="*/ 6858000 h 6858000"/>
              <a:gd name="connsiteX378" fmla="*/ 3101556 w 7467600"/>
              <a:gd name="connsiteY378" fmla="*/ 6843337 h 6858000"/>
              <a:gd name="connsiteX379" fmla="*/ 3370162 w 7467600"/>
              <a:gd name="connsiteY379" fmla="*/ 5785550 h 6858000"/>
              <a:gd name="connsiteX380" fmla="*/ 3746477 w 7467600"/>
              <a:gd name="connsiteY380" fmla="*/ 5377889 h 6858000"/>
              <a:gd name="connsiteX381" fmla="*/ 3863399 w 7467600"/>
              <a:gd name="connsiteY381" fmla="*/ 5087257 h 6858000"/>
              <a:gd name="connsiteX382" fmla="*/ 3968712 w 7467600"/>
              <a:gd name="connsiteY382" fmla="*/ 4913989 h 6858000"/>
              <a:gd name="connsiteX383" fmla="*/ 2792390 w 7467600"/>
              <a:gd name="connsiteY383" fmla="*/ 5382974 h 6858000"/>
              <a:gd name="connsiteX384" fmla="*/ 2714982 w 7467600"/>
              <a:gd name="connsiteY384" fmla="*/ 5427051 h 6858000"/>
              <a:gd name="connsiteX385" fmla="*/ 2813361 w 7467600"/>
              <a:gd name="connsiteY385" fmla="*/ 6023912 h 6858000"/>
              <a:gd name="connsiteX386" fmla="*/ 2688430 w 7467600"/>
              <a:gd name="connsiteY386" fmla="*/ 6801564 h 6858000"/>
              <a:gd name="connsiteX387" fmla="*/ 2629626 w 7467600"/>
              <a:gd name="connsiteY387" fmla="*/ 6763394 h 6858000"/>
              <a:gd name="connsiteX388" fmla="*/ 2565328 w 7467600"/>
              <a:gd name="connsiteY388" fmla="*/ 5516399 h 6858000"/>
              <a:gd name="connsiteX389" fmla="*/ 1922999 w 7467600"/>
              <a:gd name="connsiteY389" fmla="*/ 5980343 h 6858000"/>
              <a:gd name="connsiteX390" fmla="*/ 1950261 w 7467600"/>
              <a:gd name="connsiteY390" fmla="*/ 6405858 h 6858000"/>
              <a:gd name="connsiteX391" fmla="*/ 2365554 w 7467600"/>
              <a:gd name="connsiteY391" fmla="*/ 6759107 h 6858000"/>
              <a:gd name="connsiteX392" fmla="*/ 2424142 w 7467600"/>
              <a:gd name="connsiteY392" fmla="*/ 6858000 h 6858000"/>
              <a:gd name="connsiteX393" fmla="*/ 2395994 w 7467600"/>
              <a:gd name="connsiteY393" fmla="*/ 6858000 h 6858000"/>
              <a:gd name="connsiteX394" fmla="*/ 2392863 w 7467600"/>
              <a:gd name="connsiteY394" fmla="*/ 6852964 h 6858000"/>
              <a:gd name="connsiteX395" fmla="*/ 2017589 w 7467600"/>
              <a:gd name="connsiteY395" fmla="*/ 6493982 h 6858000"/>
              <a:gd name="connsiteX396" fmla="*/ 2147336 w 7467600"/>
              <a:gd name="connsiteY396" fmla="*/ 6594052 h 6858000"/>
              <a:gd name="connsiteX397" fmla="*/ 2207047 w 7467600"/>
              <a:gd name="connsiteY397" fmla="*/ 6654540 h 6858000"/>
              <a:gd name="connsiteX398" fmla="*/ 2299106 w 7467600"/>
              <a:gd name="connsiteY398" fmla="*/ 6778931 h 6858000"/>
              <a:gd name="connsiteX399" fmla="*/ 2314430 w 7467600"/>
              <a:gd name="connsiteY399" fmla="*/ 6801144 h 6858000"/>
              <a:gd name="connsiteX400" fmla="*/ 2352406 w 7467600"/>
              <a:gd name="connsiteY400" fmla="*/ 6858000 h 6858000"/>
              <a:gd name="connsiteX401" fmla="*/ 2314492 w 7467600"/>
              <a:gd name="connsiteY401" fmla="*/ 6858000 h 6858000"/>
              <a:gd name="connsiteX402" fmla="*/ 2288095 w 7467600"/>
              <a:gd name="connsiteY402" fmla="*/ 6818030 h 6858000"/>
              <a:gd name="connsiteX403" fmla="*/ 2272768 w 7467600"/>
              <a:gd name="connsiteY403" fmla="*/ 6795822 h 6858000"/>
              <a:gd name="connsiteX404" fmla="*/ 2182715 w 7467600"/>
              <a:gd name="connsiteY404" fmla="*/ 6675071 h 6858000"/>
              <a:gd name="connsiteX405" fmla="*/ 2032061 w 7467600"/>
              <a:gd name="connsiteY405" fmla="*/ 6541380 h 6858000"/>
              <a:gd name="connsiteX406" fmla="*/ 2257220 w 7467600"/>
              <a:gd name="connsiteY406" fmla="*/ 6826257 h 6858000"/>
              <a:gd name="connsiteX407" fmla="*/ 2281324 w 7467600"/>
              <a:gd name="connsiteY407" fmla="*/ 6858000 h 6858000"/>
              <a:gd name="connsiteX408" fmla="*/ 2242860 w 7467600"/>
              <a:gd name="connsiteY408" fmla="*/ 6858000 h 6858000"/>
              <a:gd name="connsiteX409" fmla="*/ 2232818 w 7467600"/>
              <a:gd name="connsiteY409" fmla="*/ 6844926 h 6858000"/>
              <a:gd name="connsiteX410" fmla="*/ 1990172 w 7467600"/>
              <a:gd name="connsiteY410" fmla="*/ 6542121 h 6858000"/>
              <a:gd name="connsiteX411" fmla="*/ 2124090 w 7467600"/>
              <a:gd name="connsiteY411" fmla="*/ 6761017 h 6858000"/>
              <a:gd name="connsiteX412" fmla="*/ 2200380 w 7467600"/>
              <a:gd name="connsiteY412" fmla="*/ 6858000 h 6858000"/>
              <a:gd name="connsiteX413" fmla="*/ 2147507 w 7467600"/>
              <a:gd name="connsiteY413" fmla="*/ 6858000 h 6858000"/>
              <a:gd name="connsiteX414" fmla="*/ 2070668 w 7467600"/>
              <a:gd name="connsiteY414" fmla="*/ 6761520 h 6858000"/>
              <a:gd name="connsiteX415" fmla="*/ 1975142 w 7467600"/>
              <a:gd name="connsiteY415" fmla="*/ 6585570 h 6858000"/>
              <a:gd name="connsiteX416" fmla="*/ 2050035 w 7467600"/>
              <a:gd name="connsiteY416" fmla="*/ 6813345 h 6858000"/>
              <a:gd name="connsiteX417" fmla="*/ 2063025 w 7467600"/>
              <a:gd name="connsiteY417" fmla="*/ 6858000 h 6858000"/>
              <a:gd name="connsiteX418" fmla="*/ 2021675 w 7467600"/>
              <a:gd name="connsiteY418" fmla="*/ 6858000 h 6858000"/>
              <a:gd name="connsiteX419" fmla="*/ 2019308 w 7467600"/>
              <a:gd name="connsiteY419" fmla="*/ 6847118 h 6858000"/>
              <a:gd name="connsiteX420" fmla="*/ 1938835 w 7467600"/>
              <a:gd name="connsiteY420" fmla="*/ 6551160 h 6858000"/>
              <a:gd name="connsiteX421" fmla="*/ 1953230 w 7467600"/>
              <a:gd name="connsiteY421" fmla="*/ 6759699 h 6858000"/>
              <a:gd name="connsiteX422" fmla="*/ 1956763 w 7467600"/>
              <a:gd name="connsiteY422" fmla="*/ 6778191 h 6858000"/>
              <a:gd name="connsiteX423" fmla="*/ 1967925 w 7467600"/>
              <a:gd name="connsiteY423" fmla="*/ 6858000 h 6858000"/>
              <a:gd name="connsiteX424" fmla="*/ 1936622 w 7467600"/>
              <a:gd name="connsiteY424" fmla="*/ 6858000 h 6858000"/>
              <a:gd name="connsiteX425" fmla="*/ 1926261 w 7467600"/>
              <a:gd name="connsiteY425" fmla="*/ 6784064 h 6858000"/>
              <a:gd name="connsiteX426" fmla="*/ 1922724 w 7467600"/>
              <a:gd name="connsiteY426" fmla="*/ 6765577 h 6858000"/>
              <a:gd name="connsiteX427" fmla="*/ 1904650 w 7467600"/>
              <a:gd name="connsiteY427" fmla="*/ 6639616 h 6858000"/>
              <a:gd name="connsiteX428" fmla="*/ 1885273 w 7467600"/>
              <a:gd name="connsiteY428" fmla="*/ 6858000 h 6858000"/>
              <a:gd name="connsiteX429" fmla="*/ 1854363 w 7467600"/>
              <a:gd name="connsiteY429" fmla="*/ 6858000 h 6858000"/>
              <a:gd name="connsiteX430" fmla="*/ 1880391 w 7467600"/>
              <a:gd name="connsiteY430" fmla="*/ 6603796 h 6858000"/>
              <a:gd name="connsiteX431" fmla="*/ 1818273 w 7467600"/>
              <a:gd name="connsiteY431" fmla="*/ 6715729 h 6858000"/>
              <a:gd name="connsiteX432" fmla="*/ 1794691 w 7467600"/>
              <a:gd name="connsiteY432" fmla="*/ 6843239 h 6858000"/>
              <a:gd name="connsiteX433" fmla="*/ 1794914 w 7467600"/>
              <a:gd name="connsiteY433" fmla="*/ 6858000 h 6858000"/>
              <a:gd name="connsiteX434" fmla="*/ 1746128 w 7467600"/>
              <a:gd name="connsiteY434" fmla="*/ 6858000 h 6858000"/>
              <a:gd name="connsiteX435" fmla="*/ 1753934 w 7467600"/>
              <a:gd name="connsiteY435" fmla="*/ 6724796 h 6858000"/>
              <a:gd name="connsiteX436" fmla="*/ 1792053 w 7467600"/>
              <a:gd name="connsiteY436" fmla="*/ 6572396 h 6858000"/>
              <a:gd name="connsiteX437" fmla="*/ 1862248 w 7467600"/>
              <a:gd name="connsiteY437" fmla="*/ 6266397 h 6858000"/>
              <a:gd name="connsiteX438" fmla="*/ 1862250 w 7467600"/>
              <a:gd name="connsiteY438" fmla="*/ 6033531 h 6858000"/>
              <a:gd name="connsiteX439" fmla="*/ 1211999 w 7467600"/>
              <a:gd name="connsiteY439" fmla="*/ 6683610 h 6858000"/>
              <a:gd name="connsiteX440" fmla="*/ 1213266 w 7467600"/>
              <a:gd name="connsiteY440" fmla="*/ 6691947 h 6858000"/>
              <a:gd name="connsiteX441" fmla="*/ 1203370 w 7467600"/>
              <a:gd name="connsiteY441" fmla="*/ 6850676 h 6858000"/>
              <a:gd name="connsiteX442" fmla="*/ 1203671 w 7467600"/>
              <a:gd name="connsiteY442" fmla="*/ 6858000 h 6858000"/>
              <a:gd name="connsiteX443" fmla="*/ 1143180 w 7467600"/>
              <a:gd name="connsiteY443" fmla="*/ 6858000 h 6858000"/>
              <a:gd name="connsiteX444" fmla="*/ 1142176 w 7467600"/>
              <a:gd name="connsiteY444" fmla="*/ 6766045 h 6858000"/>
              <a:gd name="connsiteX445" fmla="*/ 1067484 w 7467600"/>
              <a:gd name="connsiteY445" fmla="*/ 6858000 h 6858000"/>
              <a:gd name="connsiteX446" fmla="*/ 953928 w 7467600"/>
              <a:gd name="connsiteY446" fmla="*/ 6858000 h 6858000"/>
              <a:gd name="connsiteX447" fmla="*/ 959715 w 7467600"/>
              <a:gd name="connsiteY447" fmla="*/ 6850185 h 6858000"/>
              <a:gd name="connsiteX448" fmla="*/ 1483788 w 7467600"/>
              <a:gd name="connsiteY448" fmla="*/ 6259174 h 6858000"/>
              <a:gd name="connsiteX449" fmla="*/ 1100671 w 7467600"/>
              <a:gd name="connsiteY449" fmla="*/ 6252137 h 6858000"/>
              <a:gd name="connsiteX450" fmla="*/ 1090144 w 7467600"/>
              <a:gd name="connsiteY450" fmla="*/ 6256748 h 6858000"/>
              <a:gd name="connsiteX451" fmla="*/ 1095872 w 7467600"/>
              <a:gd name="connsiteY451" fmla="*/ 6271892 h 6858000"/>
              <a:gd name="connsiteX452" fmla="*/ 262785 w 7467600"/>
              <a:gd name="connsiteY452" fmla="*/ 6845450 h 6858000"/>
              <a:gd name="connsiteX453" fmla="*/ 209968 w 7467600"/>
              <a:gd name="connsiteY453" fmla="*/ 6770713 h 6858000"/>
              <a:gd name="connsiteX454" fmla="*/ 873460 w 7467600"/>
              <a:gd name="connsiteY454" fmla="*/ 6253768 h 6858000"/>
              <a:gd name="connsiteX455" fmla="*/ 192686 w 7467600"/>
              <a:gd name="connsiteY455" fmla="*/ 5849257 h 6858000"/>
              <a:gd name="connsiteX456" fmla="*/ 4696 w 7467600"/>
              <a:gd name="connsiteY456" fmla="*/ 5697668 h 6858000"/>
              <a:gd name="connsiteX457" fmla="*/ 0 w 7467600"/>
              <a:gd name="connsiteY457" fmla="*/ 5689984 h 6858000"/>
              <a:gd name="connsiteX458" fmla="*/ 0 w 7467600"/>
              <a:gd name="connsiteY458" fmla="*/ 5513472 h 6858000"/>
              <a:gd name="connsiteX459" fmla="*/ 174101 w 7467600"/>
              <a:gd name="connsiteY459" fmla="*/ 5620277 h 6858000"/>
              <a:gd name="connsiteX460" fmla="*/ 891800 w 7467600"/>
              <a:gd name="connsiteY460" fmla="*/ 6036935 h 6858000"/>
              <a:gd name="connsiteX461" fmla="*/ 1072219 w 7467600"/>
              <a:gd name="connsiteY461" fmla="*/ 6169443 h 6858000"/>
              <a:gd name="connsiteX462" fmla="*/ 1074117 w 7467600"/>
              <a:gd name="connsiteY462" fmla="*/ 6170301 h 6858000"/>
              <a:gd name="connsiteX463" fmla="*/ 1083114 w 7467600"/>
              <a:gd name="connsiteY463" fmla="*/ 6174131 h 6858000"/>
              <a:gd name="connsiteX464" fmla="*/ 1543010 w 7467600"/>
              <a:gd name="connsiteY464" fmla="*/ 6191140 h 6858000"/>
              <a:gd name="connsiteX465" fmla="*/ 1551080 w 7467600"/>
              <a:gd name="connsiteY465" fmla="*/ 6195006 h 6858000"/>
              <a:gd name="connsiteX466" fmla="*/ 2345443 w 7467600"/>
              <a:gd name="connsiteY466" fmla="*/ 5549882 h 6858000"/>
              <a:gd name="connsiteX467" fmla="*/ 1721499 w 7467600"/>
              <a:gd name="connsiteY467" fmla="*/ 5599969 h 6858000"/>
              <a:gd name="connsiteX468" fmla="*/ 767716 w 7467600"/>
              <a:gd name="connsiteY468" fmla="*/ 5472768 h 6858000"/>
              <a:gd name="connsiteX469" fmla="*/ 722147 w 7467600"/>
              <a:gd name="connsiteY469" fmla="*/ 5393091 h 6858000"/>
              <a:gd name="connsiteX470" fmla="*/ 1485552 w 7467600"/>
              <a:gd name="connsiteY470" fmla="*/ 5313202 h 6858000"/>
              <a:gd name="connsiteX471" fmla="*/ 2143004 w 7467600"/>
              <a:gd name="connsiteY471" fmla="*/ 5402420 h 6858000"/>
              <a:gd name="connsiteX472" fmla="*/ 1933391 w 7467600"/>
              <a:gd name="connsiteY472" fmla="*/ 5156971 h 6858000"/>
              <a:gd name="connsiteX473" fmla="*/ 1827118 w 7467600"/>
              <a:gd name="connsiteY473" fmla="*/ 4968410 h 6858000"/>
              <a:gd name="connsiteX474" fmla="*/ 1837349 w 7467600"/>
              <a:gd name="connsiteY474" fmla="*/ 4956357 h 6858000"/>
              <a:gd name="connsiteX475" fmla="*/ 2162835 w 7467600"/>
              <a:gd name="connsiteY475" fmla="*/ 5187853 h 6858000"/>
              <a:gd name="connsiteX476" fmla="*/ 2257167 w 7467600"/>
              <a:gd name="connsiteY476" fmla="*/ 5462123 h 6858000"/>
              <a:gd name="connsiteX477" fmla="*/ 2261598 w 7467600"/>
              <a:gd name="connsiteY477" fmla="*/ 5467998 h 6858000"/>
              <a:gd name="connsiteX478" fmla="*/ 2437177 w 7467600"/>
              <a:gd name="connsiteY478" fmla="*/ 5479608 h 6858000"/>
              <a:gd name="connsiteX479" fmla="*/ 2445247 w 7467600"/>
              <a:gd name="connsiteY479" fmla="*/ 5483476 h 6858000"/>
              <a:gd name="connsiteX480" fmla="*/ 2743626 w 7467600"/>
              <a:gd name="connsiteY480" fmla="*/ 5304819 h 6858000"/>
              <a:gd name="connsiteX481" fmla="*/ 3048102 w 7467600"/>
              <a:gd name="connsiteY481" fmla="*/ 5150595 h 6858000"/>
              <a:gd name="connsiteX482" fmla="*/ 1799414 w 7467600"/>
              <a:gd name="connsiteY482" fmla="*/ 4694732 h 6858000"/>
              <a:gd name="connsiteX483" fmla="*/ 1771735 w 7467600"/>
              <a:gd name="connsiteY483" fmla="*/ 4619929 h 6858000"/>
              <a:gd name="connsiteX484" fmla="*/ 3104273 w 7467600"/>
              <a:gd name="connsiteY484" fmla="*/ 5076159 h 6858000"/>
              <a:gd name="connsiteX485" fmla="*/ 3113245 w 7467600"/>
              <a:gd name="connsiteY485" fmla="*/ 5090705 h 6858000"/>
              <a:gd name="connsiteX486" fmla="*/ 3126294 w 7467600"/>
              <a:gd name="connsiteY486" fmla="*/ 5114400 h 6858000"/>
              <a:gd name="connsiteX487" fmla="*/ 3937433 w 7467600"/>
              <a:gd name="connsiteY487" fmla="*/ 4830473 h 6858000"/>
              <a:gd name="connsiteX488" fmla="*/ 3590475 w 7467600"/>
              <a:gd name="connsiteY488" fmla="*/ 4597974 h 6858000"/>
              <a:gd name="connsiteX489" fmla="*/ 3100264 w 7467600"/>
              <a:gd name="connsiteY489" fmla="*/ 4579845 h 6858000"/>
              <a:gd name="connsiteX490" fmla="*/ 2183576 w 7467600"/>
              <a:gd name="connsiteY490" fmla="*/ 4227150 h 6858000"/>
              <a:gd name="connsiteX491" fmla="*/ 2151029 w 7467600"/>
              <a:gd name="connsiteY491" fmla="*/ 4146947 h 6858000"/>
              <a:gd name="connsiteX492" fmla="*/ 3563434 w 7467600"/>
              <a:gd name="connsiteY492" fmla="*/ 4469115 h 6858000"/>
              <a:gd name="connsiteX493" fmla="*/ 3177952 w 7467600"/>
              <a:gd name="connsiteY493" fmla="*/ 3657386 h 6858000"/>
              <a:gd name="connsiteX494" fmla="*/ 3189263 w 7467600"/>
              <a:gd name="connsiteY494" fmla="*/ 3625726 h 6858000"/>
              <a:gd name="connsiteX495" fmla="*/ 3560912 w 7467600"/>
              <a:gd name="connsiteY495" fmla="*/ 4079863 h 6858000"/>
              <a:gd name="connsiteX496" fmla="*/ 3626636 w 7467600"/>
              <a:gd name="connsiteY496" fmla="*/ 4512230 h 6858000"/>
              <a:gd name="connsiteX497" fmla="*/ 3653088 w 7467600"/>
              <a:gd name="connsiteY497" fmla="*/ 4521417 h 6858000"/>
              <a:gd name="connsiteX498" fmla="*/ 3988128 w 7467600"/>
              <a:gd name="connsiteY498" fmla="*/ 4817267 h 6858000"/>
              <a:gd name="connsiteX499" fmla="*/ 4830582 w 7467600"/>
              <a:gd name="connsiteY499" fmla="*/ 4676000 h 6858000"/>
              <a:gd name="connsiteX500" fmla="*/ 4830100 w 7467600"/>
              <a:gd name="connsiteY500" fmla="*/ 4675554 h 6858000"/>
              <a:gd name="connsiteX501" fmla="*/ 4036318 w 7467600"/>
              <a:gd name="connsiteY501" fmla="*/ 4147013 h 6858000"/>
              <a:gd name="connsiteX502" fmla="*/ 3432098 w 7467600"/>
              <a:gd name="connsiteY502" fmla="*/ 3537312 h 6858000"/>
              <a:gd name="connsiteX503" fmla="*/ 3446761 w 7467600"/>
              <a:gd name="connsiteY503" fmla="*/ 3461278 h 6858000"/>
              <a:gd name="connsiteX504" fmla="*/ 4419733 w 7467600"/>
              <a:gd name="connsiteY504" fmla="*/ 3963555 h 6858000"/>
              <a:gd name="connsiteX505" fmla="*/ 4781371 w 7467600"/>
              <a:gd name="connsiteY505" fmla="*/ 4458604 h 6858000"/>
              <a:gd name="connsiteX506" fmla="*/ 4780440 w 7467600"/>
              <a:gd name="connsiteY506" fmla="*/ 4470290 h 6858000"/>
              <a:gd name="connsiteX507" fmla="*/ 4898954 w 7467600"/>
              <a:gd name="connsiteY507" fmla="*/ 4662092 h 6858000"/>
              <a:gd name="connsiteX508" fmla="*/ 4900699 w 7467600"/>
              <a:gd name="connsiteY508" fmla="*/ 4670867 h 6858000"/>
              <a:gd name="connsiteX509" fmla="*/ 5714511 w 7467600"/>
              <a:gd name="connsiteY509" fmla="*/ 4663483 h 6858000"/>
              <a:gd name="connsiteX510" fmla="*/ 5464793 w 7467600"/>
              <a:gd name="connsiteY510" fmla="*/ 4393556 h 6858000"/>
              <a:gd name="connsiteX511" fmla="*/ 5461897 w 7467600"/>
              <a:gd name="connsiteY511" fmla="*/ 4390879 h 6858000"/>
              <a:gd name="connsiteX512" fmla="*/ 4294126 w 7467600"/>
              <a:gd name="connsiteY512" fmla="*/ 3303048 h 6858000"/>
              <a:gd name="connsiteX513" fmla="*/ 4305321 w 7467600"/>
              <a:gd name="connsiteY513" fmla="*/ 3256953 h 6858000"/>
              <a:gd name="connsiteX514" fmla="*/ 4949299 w 7467600"/>
              <a:gd name="connsiteY514" fmla="*/ 3766336 h 6858000"/>
              <a:gd name="connsiteX515" fmla="*/ 5291452 w 7467600"/>
              <a:gd name="connsiteY515" fmla="*/ 4076801 h 6858000"/>
              <a:gd name="connsiteX516" fmla="*/ 5434998 w 7467600"/>
              <a:gd name="connsiteY516" fmla="*/ 4254100 h 6858000"/>
              <a:gd name="connsiteX517" fmla="*/ 5351015 w 7467600"/>
              <a:gd name="connsiteY517" fmla="*/ 3760989 h 6858000"/>
              <a:gd name="connsiteX518" fmla="*/ 5413780 w 7467600"/>
              <a:gd name="connsiteY518" fmla="*/ 2966265 h 6858000"/>
              <a:gd name="connsiteX519" fmla="*/ 5425627 w 7467600"/>
              <a:gd name="connsiteY519" fmla="*/ 2954192 h 6858000"/>
              <a:gd name="connsiteX520" fmla="*/ 6604735 w 7467600"/>
              <a:gd name="connsiteY520" fmla="*/ 2041381 h 6858000"/>
              <a:gd name="connsiteX521" fmla="*/ 7204487 w 7467600"/>
              <a:gd name="connsiteY521" fmla="*/ 2742112 h 6858000"/>
              <a:gd name="connsiteX522" fmla="*/ 7131592 w 7467600"/>
              <a:gd name="connsiteY522" fmla="*/ 2672096 h 6858000"/>
              <a:gd name="connsiteX523" fmla="*/ 6996344 w 7467600"/>
              <a:gd name="connsiteY523" fmla="*/ 2518310 h 6858000"/>
              <a:gd name="connsiteX524" fmla="*/ 6735495 w 7467600"/>
              <a:gd name="connsiteY524" fmla="*/ 2196890 h 6858000"/>
              <a:gd name="connsiteX525" fmla="*/ 6721901 w 7467600"/>
              <a:gd name="connsiteY525" fmla="*/ 2179274 h 6858000"/>
              <a:gd name="connsiteX526" fmla="*/ 6604735 w 7467600"/>
              <a:gd name="connsiteY526" fmla="*/ 2041381 h 6858000"/>
              <a:gd name="connsiteX527" fmla="*/ 6591670 w 7467600"/>
              <a:gd name="connsiteY527" fmla="*/ 1988277 h 6858000"/>
              <a:gd name="connsiteX528" fmla="*/ 6747349 w 7467600"/>
              <a:gd name="connsiteY528" fmla="*/ 2160069 h 6858000"/>
              <a:gd name="connsiteX529" fmla="*/ 6760943 w 7467600"/>
              <a:gd name="connsiteY529" fmla="*/ 2177686 h 6858000"/>
              <a:gd name="connsiteX530" fmla="*/ 7021065 w 7467600"/>
              <a:gd name="connsiteY530" fmla="*/ 2498102 h 6858000"/>
              <a:gd name="connsiteX531" fmla="*/ 7155223 w 7467600"/>
              <a:gd name="connsiteY531" fmla="*/ 2650386 h 6858000"/>
              <a:gd name="connsiteX532" fmla="*/ 7203167 w 7467600"/>
              <a:gd name="connsiteY532" fmla="*/ 2697288 h 6858000"/>
              <a:gd name="connsiteX533" fmla="*/ 6937703 w 7467600"/>
              <a:gd name="connsiteY533" fmla="*/ 2321981 h 6858000"/>
              <a:gd name="connsiteX534" fmla="*/ 6591670 w 7467600"/>
              <a:gd name="connsiteY534" fmla="*/ 1988277 h 6858000"/>
              <a:gd name="connsiteX535" fmla="*/ 5798671 w 7467600"/>
              <a:gd name="connsiteY535" fmla="*/ 1981601 h 6858000"/>
              <a:gd name="connsiteX536" fmla="*/ 5754709 w 7467600"/>
              <a:gd name="connsiteY536" fmla="*/ 2071454 h 6858000"/>
              <a:gd name="connsiteX537" fmla="*/ 5763044 w 7467600"/>
              <a:gd name="connsiteY537" fmla="*/ 2842206 h 6858000"/>
              <a:gd name="connsiteX538" fmla="*/ 5764974 w 7467600"/>
              <a:gd name="connsiteY538" fmla="*/ 2799609 h 6858000"/>
              <a:gd name="connsiteX539" fmla="*/ 5767665 w 7467600"/>
              <a:gd name="connsiteY539" fmla="*/ 2666409 h 6858000"/>
              <a:gd name="connsiteX540" fmla="*/ 5763055 w 7467600"/>
              <a:gd name="connsiteY540" fmla="*/ 2579705 h 6858000"/>
              <a:gd name="connsiteX541" fmla="*/ 5758079 w 7467600"/>
              <a:gd name="connsiteY541" fmla="*/ 2492508 h 6858000"/>
              <a:gd name="connsiteX542" fmla="*/ 5779325 w 7467600"/>
              <a:gd name="connsiteY542" fmla="*/ 2197069 h 6858000"/>
              <a:gd name="connsiteX543" fmla="*/ 5798671 w 7467600"/>
              <a:gd name="connsiteY543" fmla="*/ 1981601 h 6858000"/>
              <a:gd name="connsiteX544" fmla="*/ 5829202 w 7467600"/>
              <a:gd name="connsiteY544" fmla="*/ 1971679 h 6858000"/>
              <a:gd name="connsiteX545" fmla="*/ 5809558 w 7467600"/>
              <a:gd name="connsiteY545" fmla="*/ 2198043 h 6858000"/>
              <a:gd name="connsiteX546" fmla="*/ 5788653 w 7467600"/>
              <a:gd name="connsiteY546" fmla="*/ 2489430 h 6858000"/>
              <a:gd name="connsiteX547" fmla="*/ 5793439 w 7467600"/>
              <a:gd name="connsiteY547" fmla="*/ 2575235 h 6858000"/>
              <a:gd name="connsiteX548" fmla="*/ 5796837 w 7467600"/>
              <a:gd name="connsiteY548" fmla="*/ 2637633 h 6858000"/>
              <a:gd name="connsiteX549" fmla="*/ 5818614 w 7467600"/>
              <a:gd name="connsiteY549" fmla="*/ 2473055 h 6858000"/>
              <a:gd name="connsiteX550" fmla="*/ 5829202 w 7467600"/>
              <a:gd name="connsiteY550" fmla="*/ 1971679 h 6858000"/>
              <a:gd name="connsiteX551" fmla="*/ 5911389 w 7467600"/>
              <a:gd name="connsiteY551" fmla="*/ 1898371 h 6858000"/>
              <a:gd name="connsiteX552" fmla="*/ 6237627 w 7467600"/>
              <a:gd name="connsiteY552" fmla="*/ 2231921 h 6858000"/>
              <a:gd name="connsiteX553" fmla="*/ 5911389 w 7467600"/>
              <a:gd name="connsiteY553" fmla="*/ 1898371 h 6858000"/>
              <a:gd name="connsiteX554" fmla="*/ 6944437 w 7467600"/>
              <a:gd name="connsiteY554" fmla="*/ 1575402 h 6858000"/>
              <a:gd name="connsiteX555" fmla="*/ 6304730 w 7467600"/>
              <a:gd name="connsiteY555" fmla="*/ 1766654 h 6858000"/>
              <a:gd name="connsiteX556" fmla="*/ 6944437 w 7467600"/>
              <a:gd name="connsiteY556" fmla="*/ 1575402 h 6858000"/>
              <a:gd name="connsiteX557" fmla="*/ 7019523 w 7467600"/>
              <a:gd name="connsiteY557" fmla="*/ 1519450 h 6858000"/>
              <a:gd name="connsiteX558" fmla="*/ 6298091 w 7467600"/>
              <a:gd name="connsiteY558" fmla="*/ 1737122 h 6858000"/>
              <a:gd name="connsiteX559" fmla="*/ 7019523 w 7467600"/>
              <a:gd name="connsiteY559" fmla="*/ 1519450 h 6858000"/>
              <a:gd name="connsiteX560" fmla="*/ 2399523 w 7467600"/>
              <a:gd name="connsiteY560" fmla="*/ 1428234 h 6858000"/>
              <a:gd name="connsiteX561" fmla="*/ 2224982 w 7467600"/>
              <a:gd name="connsiteY561" fmla="*/ 1826201 h 6858000"/>
              <a:gd name="connsiteX562" fmla="*/ 2096099 w 7467600"/>
              <a:gd name="connsiteY562" fmla="*/ 2345900 h 6858000"/>
              <a:gd name="connsiteX563" fmla="*/ 2283317 w 7467600"/>
              <a:gd name="connsiteY563" fmla="*/ 1796925 h 6858000"/>
              <a:gd name="connsiteX564" fmla="*/ 2399523 w 7467600"/>
              <a:gd name="connsiteY564" fmla="*/ 1428234 h 6858000"/>
              <a:gd name="connsiteX565" fmla="*/ 2448558 w 7467600"/>
              <a:gd name="connsiteY565" fmla="*/ 1373435 h 6858000"/>
              <a:gd name="connsiteX566" fmla="*/ 2312521 w 7467600"/>
              <a:gd name="connsiteY566" fmla="*/ 1806140 h 6858000"/>
              <a:gd name="connsiteX567" fmla="*/ 2127533 w 7467600"/>
              <a:gd name="connsiteY567" fmla="*/ 2348380 h 6858000"/>
              <a:gd name="connsiteX568" fmla="*/ 2358080 w 7467600"/>
              <a:gd name="connsiteY568" fmla="*/ 1866134 h 6858000"/>
              <a:gd name="connsiteX569" fmla="*/ 2407436 w 7467600"/>
              <a:gd name="connsiteY569" fmla="*/ 1651070 h 6858000"/>
              <a:gd name="connsiteX570" fmla="*/ 2448558 w 7467600"/>
              <a:gd name="connsiteY570" fmla="*/ 1373435 h 6858000"/>
              <a:gd name="connsiteX571" fmla="*/ 278707 w 7467600"/>
              <a:gd name="connsiteY571" fmla="*/ 1352270 h 6858000"/>
              <a:gd name="connsiteX572" fmla="*/ 321570 w 7467600"/>
              <a:gd name="connsiteY572" fmla="*/ 1861610 h 6858000"/>
              <a:gd name="connsiteX573" fmla="*/ 294281 w 7467600"/>
              <a:gd name="connsiteY573" fmla="*/ 1440658 h 6858000"/>
              <a:gd name="connsiteX574" fmla="*/ 278707 w 7467600"/>
              <a:gd name="connsiteY574" fmla="*/ 1352270 h 6858000"/>
              <a:gd name="connsiteX575" fmla="*/ 1423821 w 7467600"/>
              <a:gd name="connsiteY575" fmla="*/ 1351958 h 6858000"/>
              <a:gd name="connsiteX576" fmla="*/ 1638521 w 7467600"/>
              <a:gd name="connsiteY576" fmla="*/ 1908470 h 6858000"/>
              <a:gd name="connsiteX577" fmla="*/ 1754199 w 7467600"/>
              <a:gd name="connsiteY577" fmla="*/ 2149284 h 6858000"/>
              <a:gd name="connsiteX578" fmla="*/ 1908359 w 7467600"/>
              <a:gd name="connsiteY578" fmla="*/ 2364988 h 6858000"/>
              <a:gd name="connsiteX579" fmla="*/ 1647661 w 7467600"/>
              <a:gd name="connsiteY579" fmla="*/ 1825945 h 6858000"/>
              <a:gd name="connsiteX580" fmla="*/ 1423821 w 7467600"/>
              <a:gd name="connsiteY580" fmla="*/ 1351958 h 6858000"/>
              <a:gd name="connsiteX581" fmla="*/ 1431890 w 7467600"/>
              <a:gd name="connsiteY581" fmla="*/ 1306475 h 6858000"/>
              <a:gd name="connsiteX582" fmla="*/ 1507597 w 7467600"/>
              <a:gd name="connsiteY582" fmla="*/ 1446132 h 6858000"/>
              <a:gd name="connsiteX583" fmla="*/ 1674586 w 7467600"/>
              <a:gd name="connsiteY583" fmla="*/ 1813832 h 6858000"/>
              <a:gd name="connsiteX584" fmla="*/ 1815950 w 7467600"/>
              <a:gd name="connsiteY584" fmla="*/ 2128564 h 6858000"/>
              <a:gd name="connsiteX585" fmla="*/ 1984242 w 7467600"/>
              <a:gd name="connsiteY585" fmla="*/ 2430829 h 6858000"/>
              <a:gd name="connsiteX586" fmla="*/ 2014023 w 7467600"/>
              <a:gd name="connsiteY586" fmla="*/ 2450995 h 6858000"/>
              <a:gd name="connsiteX587" fmla="*/ 1747337 w 7467600"/>
              <a:gd name="connsiteY587" fmla="*/ 1855264 h 6858000"/>
              <a:gd name="connsiteX588" fmla="*/ 1533749 w 7467600"/>
              <a:gd name="connsiteY588" fmla="*/ 1478656 h 6858000"/>
              <a:gd name="connsiteX589" fmla="*/ 1431890 w 7467600"/>
              <a:gd name="connsiteY589" fmla="*/ 1306475 h 6858000"/>
              <a:gd name="connsiteX590" fmla="*/ 5052692 w 7467600"/>
              <a:gd name="connsiteY590" fmla="*/ 1292994 h 6858000"/>
              <a:gd name="connsiteX591" fmla="*/ 5200661 w 7467600"/>
              <a:gd name="connsiteY591" fmla="*/ 1635186 h 6858000"/>
              <a:gd name="connsiteX592" fmla="*/ 5297138 w 7467600"/>
              <a:gd name="connsiteY592" fmla="*/ 1906351 h 6858000"/>
              <a:gd name="connsiteX593" fmla="*/ 5052692 w 7467600"/>
              <a:gd name="connsiteY593" fmla="*/ 1292994 h 6858000"/>
              <a:gd name="connsiteX594" fmla="*/ 5009948 w 7467600"/>
              <a:gd name="connsiteY594" fmla="*/ 1273619 h 6858000"/>
              <a:gd name="connsiteX595" fmla="*/ 5121777 w 7467600"/>
              <a:gd name="connsiteY595" fmla="*/ 1654213 h 6858000"/>
              <a:gd name="connsiteX596" fmla="*/ 5293545 w 7467600"/>
              <a:gd name="connsiteY596" fmla="*/ 2072247 h 6858000"/>
              <a:gd name="connsiteX597" fmla="*/ 5294042 w 7467600"/>
              <a:gd name="connsiteY597" fmla="*/ 2065019 h 6858000"/>
              <a:gd name="connsiteX598" fmla="*/ 5171936 w 7467600"/>
              <a:gd name="connsiteY598" fmla="*/ 1647613 h 6858000"/>
              <a:gd name="connsiteX599" fmla="*/ 5009948 w 7467600"/>
              <a:gd name="connsiteY599" fmla="*/ 1273619 h 6858000"/>
              <a:gd name="connsiteX600" fmla="*/ 655236 w 7467600"/>
              <a:gd name="connsiteY600" fmla="*/ 1268632 h 6858000"/>
              <a:gd name="connsiteX601" fmla="*/ 839521 w 7467600"/>
              <a:gd name="connsiteY601" fmla="*/ 1685315 h 6858000"/>
              <a:gd name="connsiteX602" fmla="*/ 1109416 w 7467600"/>
              <a:gd name="connsiteY602" fmla="*/ 2061663 h 6858000"/>
              <a:gd name="connsiteX603" fmla="*/ 1298300 w 7467600"/>
              <a:gd name="connsiteY603" fmla="*/ 2247742 h 6858000"/>
              <a:gd name="connsiteX604" fmla="*/ 1125871 w 7467600"/>
              <a:gd name="connsiteY604" fmla="*/ 1989513 h 6858000"/>
              <a:gd name="connsiteX605" fmla="*/ 981574 w 7467600"/>
              <a:gd name="connsiteY605" fmla="*/ 1783157 h 6858000"/>
              <a:gd name="connsiteX606" fmla="*/ 922198 w 7467600"/>
              <a:gd name="connsiteY606" fmla="*/ 1677437 h 6858000"/>
              <a:gd name="connsiteX607" fmla="*/ 869293 w 7467600"/>
              <a:gd name="connsiteY607" fmla="*/ 1583214 h 6858000"/>
              <a:gd name="connsiteX608" fmla="*/ 751431 w 7467600"/>
              <a:gd name="connsiteY608" fmla="*/ 1405731 h 6858000"/>
              <a:gd name="connsiteX609" fmla="*/ 655236 w 7467600"/>
              <a:gd name="connsiteY609" fmla="*/ 1268632 h 6858000"/>
              <a:gd name="connsiteX610" fmla="*/ 6516292 w 7467600"/>
              <a:gd name="connsiteY610" fmla="*/ 1263064 h 6858000"/>
              <a:gd name="connsiteX611" fmla="*/ 5736320 w 7467600"/>
              <a:gd name="connsiteY611" fmla="*/ 1501803 h 6858000"/>
              <a:gd name="connsiteX612" fmla="*/ 6516292 w 7467600"/>
              <a:gd name="connsiteY612" fmla="*/ 1263064 h 6858000"/>
              <a:gd name="connsiteX613" fmla="*/ 291466 w 7467600"/>
              <a:gd name="connsiteY613" fmla="*/ 1250369 h 6858000"/>
              <a:gd name="connsiteX614" fmla="*/ 323180 w 7467600"/>
              <a:gd name="connsiteY614" fmla="*/ 1435283 h 6858000"/>
              <a:gd name="connsiteX615" fmla="*/ 349381 w 7467600"/>
              <a:gd name="connsiteY615" fmla="*/ 1875041 h 6858000"/>
              <a:gd name="connsiteX616" fmla="*/ 374363 w 7467600"/>
              <a:gd name="connsiteY616" fmla="*/ 1506494 h 6858000"/>
              <a:gd name="connsiteX617" fmla="*/ 302168 w 7467600"/>
              <a:gd name="connsiteY617" fmla="*/ 1274495 h 6858000"/>
              <a:gd name="connsiteX618" fmla="*/ 291466 w 7467600"/>
              <a:gd name="connsiteY618" fmla="*/ 1250369 h 6858000"/>
              <a:gd name="connsiteX619" fmla="*/ 678222 w 7467600"/>
              <a:gd name="connsiteY619" fmla="*/ 1248670 h 6858000"/>
              <a:gd name="connsiteX620" fmla="*/ 775536 w 7467600"/>
              <a:gd name="connsiteY620" fmla="*/ 1388015 h 6858000"/>
              <a:gd name="connsiteX621" fmla="*/ 894529 w 7467600"/>
              <a:gd name="connsiteY621" fmla="*/ 1567739 h 6858000"/>
              <a:gd name="connsiteX622" fmla="*/ 948000 w 7467600"/>
              <a:gd name="connsiteY622" fmla="*/ 1663088 h 6858000"/>
              <a:gd name="connsiteX623" fmla="*/ 1006812 w 7467600"/>
              <a:gd name="connsiteY623" fmla="*/ 1767683 h 6858000"/>
              <a:gd name="connsiteX624" fmla="*/ 1149133 w 7467600"/>
              <a:gd name="connsiteY624" fmla="*/ 1971513 h 6858000"/>
              <a:gd name="connsiteX625" fmla="*/ 1333952 w 7467600"/>
              <a:gd name="connsiteY625" fmla="*/ 2251620 h 6858000"/>
              <a:gd name="connsiteX626" fmla="*/ 1337329 w 7467600"/>
              <a:gd name="connsiteY626" fmla="*/ 2258350 h 6858000"/>
              <a:gd name="connsiteX627" fmla="*/ 1014726 w 7467600"/>
              <a:gd name="connsiteY627" fmla="*/ 1615556 h 6858000"/>
              <a:gd name="connsiteX628" fmla="*/ 678222 w 7467600"/>
              <a:gd name="connsiteY628" fmla="*/ 1248670 h 6858000"/>
              <a:gd name="connsiteX629" fmla="*/ 6691602 w 7467600"/>
              <a:gd name="connsiteY629" fmla="*/ 1140573 h 6858000"/>
              <a:gd name="connsiteX630" fmla="*/ 6571100 w 7467600"/>
              <a:gd name="connsiteY630" fmla="*/ 1183662 h 6858000"/>
              <a:gd name="connsiteX631" fmla="*/ 6241687 w 7467600"/>
              <a:gd name="connsiteY631" fmla="*/ 1257600 h 6858000"/>
              <a:gd name="connsiteX632" fmla="*/ 5693009 w 7467600"/>
              <a:gd name="connsiteY632" fmla="*/ 1478256 h 6858000"/>
              <a:gd name="connsiteX633" fmla="*/ 6548420 w 7467600"/>
              <a:gd name="connsiteY633" fmla="*/ 1214599 h 6858000"/>
              <a:gd name="connsiteX634" fmla="*/ 6605473 w 7467600"/>
              <a:gd name="connsiteY634" fmla="*/ 1184686 h 6858000"/>
              <a:gd name="connsiteX635" fmla="*/ 6691602 w 7467600"/>
              <a:gd name="connsiteY635" fmla="*/ 1140573 h 6858000"/>
              <a:gd name="connsiteX636" fmla="*/ 4002475 w 7467600"/>
              <a:gd name="connsiteY636" fmla="*/ 1037802 h 6858000"/>
              <a:gd name="connsiteX637" fmla="*/ 4000324 w 7467600"/>
              <a:gd name="connsiteY637" fmla="*/ 1039362 h 6858000"/>
              <a:gd name="connsiteX638" fmla="*/ 4002862 w 7467600"/>
              <a:gd name="connsiteY638" fmla="*/ 1042866 h 6858000"/>
              <a:gd name="connsiteX639" fmla="*/ 4002475 w 7467600"/>
              <a:gd name="connsiteY639" fmla="*/ 1037802 h 6858000"/>
              <a:gd name="connsiteX640" fmla="*/ 506322 w 7467600"/>
              <a:gd name="connsiteY640" fmla="*/ 1020997 h 6858000"/>
              <a:gd name="connsiteX641" fmla="*/ 533068 w 7467600"/>
              <a:gd name="connsiteY641" fmla="*/ 1029409 h 6858000"/>
              <a:gd name="connsiteX642" fmla="*/ 1232525 w 7467600"/>
              <a:gd name="connsiteY642" fmla="*/ 1804675 h 6858000"/>
              <a:gd name="connsiteX643" fmla="*/ 1388858 w 7467600"/>
              <a:gd name="connsiteY643" fmla="*/ 2368011 h 6858000"/>
              <a:gd name="connsiteX644" fmla="*/ 1384098 w 7467600"/>
              <a:gd name="connsiteY644" fmla="*/ 2378125 h 6858000"/>
              <a:gd name="connsiteX645" fmla="*/ 1425393 w 7467600"/>
              <a:gd name="connsiteY645" fmla="*/ 2589124 h 6858000"/>
              <a:gd name="connsiteX646" fmla="*/ 1424001 w 7467600"/>
              <a:gd name="connsiteY646" fmla="*/ 2597541 h 6858000"/>
              <a:gd name="connsiteX647" fmla="*/ 2152729 w 7467600"/>
              <a:gd name="connsiteY647" fmla="*/ 2864487 h 6858000"/>
              <a:gd name="connsiteX648" fmla="*/ 2020609 w 7467600"/>
              <a:gd name="connsiteY648" fmla="*/ 2539671 h 6858000"/>
              <a:gd name="connsiteX649" fmla="*/ 2018920 w 7467600"/>
              <a:gd name="connsiteY649" fmla="*/ 2536309 h 6858000"/>
              <a:gd name="connsiteX650" fmla="*/ 1342441 w 7467600"/>
              <a:gd name="connsiteY650" fmla="*/ 1173017 h 6858000"/>
              <a:gd name="connsiteX651" fmla="*/ 1367925 w 7467600"/>
              <a:gd name="connsiteY651" fmla="*/ 1135648 h 6858000"/>
              <a:gd name="connsiteX652" fmla="*/ 1771401 w 7467600"/>
              <a:gd name="connsiteY652" fmla="*/ 1806673 h 6858000"/>
              <a:gd name="connsiteX653" fmla="*/ 1972385 w 7467600"/>
              <a:gd name="connsiteY653" fmla="*/ 2198735 h 6858000"/>
              <a:gd name="connsiteX654" fmla="*/ 2040892 w 7467600"/>
              <a:gd name="connsiteY654" fmla="*/ 2405205 h 6858000"/>
              <a:gd name="connsiteX655" fmla="*/ 2131689 w 7467600"/>
              <a:gd name="connsiteY655" fmla="*/ 1936926 h 6858000"/>
              <a:gd name="connsiteX656" fmla="*/ 2454820 w 7467600"/>
              <a:gd name="connsiteY656" fmla="*/ 1248808 h 6858000"/>
              <a:gd name="connsiteX657" fmla="*/ 2492512 w 7467600"/>
              <a:gd name="connsiteY657" fmla="*/ 1302920 h 6858000"/>
              <a:gd name="connsiteX658" fmla="*/ 2081216 w 7467600"/>
              <a:gd name="connsiteY658" fmla="*/ 2527513 h 6858000"/>
              <a:gd name="connsiteX659" fmla="*/ 2081211 w 7467600"/>
              <a:gd name="connsiteY659" fmla="*/ 2528916 h 6858000"/>
              <a:gd name="connsiteX660" fmla="*/ 2199067 w 7467600"/>
              <a:gd name="connsiteY660" fmla="*/ 2884061 h 6858000"/>
              <a:gd name="connsiteX661" fmla="*/ 3192586 w 7467600"/>
              <a:gd name="connsiteY661" fmla="*/ 3411496 h 6858000"/>
              <a:gd name="connsiteX662" fmla="*/ 3182620 w 7467600"/>
              <a:gd name="connsiteY662" fmla="*/ 3483279 h 6858000"/>
              <a:gd name="connsiteX663" fmla="*/ 2435119 w 7467600"/>
              <a:gd name="connsiteY663" fmla="*/ 3080173 h 6858000"/>
              <a:gd name="connsiteX664" fmla="*/ 2410152 w 7467600"/>
              <a:gd name="connsiteY664" fmla="*/ 3063751 h 6858000"/>
              <a:gd name="connsiteX665" fmla="*/ 2408099 w 7467600"/>
              <a:gd name="connsiteY665" fmla="*/ 3064403 h 6858000"/>
              <a:gd name="connsiteX666" fmla="*/ 2407218 w 7467600"/>
              <a:gd name="connsiteY666" fmla="*/ 3070324 h 6858000"/>
              <a:gd name="connsiteX667" fmla="*/ 2380138 w 7467600"/>
              <a:gd name="connsiteY667" fmla="*/ 3099341 h 6858000"/>
              <a:gd name="connsiteX668" fmla="*/ 1765923 w 7467600"/>
              <a:gd name="connsiteY668" fmla="*/ 3581043 h 6858000"/>
              <a:gd name="connsiteX669" fmla="*/ 1702258 w 7467600"/>
              <a:gd name="connsiteY669" fmla="*/ 3612286 h 6858000"/>
              <a:gd name="connsiteX670" fmla="*/ 1538370 w 7467600"/>
              <a:gd name="connsiteY670" fmla="*/ 3811804 h 6858000"/>
              <a:gd name="connsiteX671" fmla="*/ 542867 w 7467600"/>
              <a:gd name="connsiteY671" fmla="*/ 4944092 h 6858000"/>
              <a:gd name="connsiteX672" fmla="*/ 515800 w 7467600"/>
              <a:gd name="connsiteY672" fmla="*/ 4862180 h 6858000"/>
              <a:gd name="connsiteX673" fmla="*/ 909145 w 7467600"/>
              <a:gd name="connsiteY673" fmla="*/ 4199225 h 6858000"/>
              <a:gd name="connsiteX674" fmla="*/ 1214067 w 7467600"/>
              <a:gd name="connsiteY674" fmla="*/ 3908561 h 6858000"/>
              <a:gd name="connsiteX675" fmla="*/ 640967 w 7467600"/>
              <a:gd name="connsiteY675" fmla="*/ 4105601 h 6858000"/>
              <a:gd name="connsiteX676" fmla="*/ 112563 w 7467600"/>
              <a:gd name="connsiteY676" fmla="*/ 4396952 h 6858000"/>
              <a:gd name="connsiteX677" fmla="*/ 0 w 7467600"/>
              <a:gd name="connsiteY677" fmla="*/ 4466006 h 6858000"/>
              <a:gd name="connsiteX678" fmla="*/ 0 w 7467600"/>
              <a:gd name="connsiteY678" fmla="*/ 4233763 h 6858000"/>
              <a:gd name="connsiteX679" fmla="*/ 36881 w 7467600"/>
              <a:gd name="connsiteY679" fmla="*/ 4200118 h 6858000"/>
              <a:gd name="connsiteX680" fmla="*/ 910534 w 7467600"/>
              <a:gd name="connsiteY680" fmla="*/ 3629753 h 6858000"/>
              <a:gd name="connsiteX681" fmla="*/ 1578717 w 7467600"/>
              <a:gd name="connsiteY681" fmla="*/ 3575982 h 6858000"/>
              <a:gd name="connsiteX682" fmla="*/ 2338780 w 7467600"/>
              <a:gd name="connsiteY682" fmla="*/ 3033725 h 6858000"/>
              <a:gd name="connsiteX683" fmla="*/ 1807991 w 7467600"/>
              <a:gd name="connsiteY683" fmla="*/ 2807184 h 6858000"/>
              <a:gd name="connsiteX684" fmla="*/ 1416358 w 7467600"/>
              <a:gd name="connsiteY684" fmla="*/ 3112571 h 6858000"/>
              <a:gd name="connsiteX685" fmla="*/ 939066 w 7467600"/>
              <a:gd name="connsiteY685" fmla="*/ 3378798 h 6858000"/>
              <a:gd name="connsiteX686" fmla="*/ 115099 w 7467600"/>
              <a:gd name="connsiteY686" fmla="*/ 3607650 h 6858000"/>
              <a:gd name="connsiteX687" fmla="*/ 97284 w 7467600"/>
              <a:gd name="connsiteY687" fmla="*/ 3520393 h 6858000"/>
              <a:gd name="connsiteX688" fmla="*/ 922050 w 7467600"/>
              <a:gd name="connsiteY688" fmla="*/ 3074867 h 6858000"/>
              <a:gd name="connsiteX689" fmla="*/ 1405265 w 7467600"/>
              <a:gd name="connsiteY689" fmla="*/ 3016319 h 6858000"/>
              <a:gd name="connsiteX690" fmla="*/ 1407512 w 7467600"/>
              <a:gd name="connsiteY690" fmla="*/ 3018001 h 6858000"/>
              <a:gd name="connsiteX691" fmla="*/ 1726266 w 7467600"/>
              <a:gd name="connsiteY691" fmla="*/ 2777274 h 6858000"/>
              <a:gd name="connsiteX692" fmla="*/ 625390 w 7467600"/>
              <a:gd name="connsiteY692" fmla="*/ 2514541 h 6858000"/>
              <a:gd name="connsiteX693" fmla="*/ 619799 w 7467600"/>
              <a:gd name="connsiteY693" fmla="*/ 2527180 h 6858000"/>
              <a:gd name="connsiteX694" fmla="*/ 310030 w 7467600"/>
              <a:gd name="connsiteY694" fmla="*/ 2771818 h 6858000"/>
              <a:gd name="connsiteX695" fmla="*/ 173877 w 7467600"/>
              <a:gd name="connsiteY695" fmla="*/ 2937056 h 6858000"/>
              <a:gd name="connsiteX696" fmla="*/ 77889 w 7467600"/>
              <a:gd name="connsiteY696" fmla="*/ 3138440 h 6858000"/>
              <a:gd name="connsiteX697" fmla="*/ 0 w 7467600"/>
              <a:gd name="connsiteY697" fmla="*/ 3271395 h 6858000"/>
              <a:gd name="connsiteX698" fmla="*/ 0 w 7467600"/>
              <a:gd name="connsiteY698" fmla="*/ 3153002 h 6858000"/>
              <a:gd name="connsiteX699" fmla="*/ 2386 w 7467600"/>
              <a:gd name="connsiteY699" fmla="*/ 3149203 h 6858000"/>
              <a:gd name="connsiteX700" fmla="*/ 89753 w 7467600"/>
              <a:gd name="connsiteY700" fmla="*/ 2987702 h 6858000"/>
              <a:gd name="connsiteX701" fmla="*/ 76869 w 7467600"/>
              <a:gd name="connsiteY701" fmla="*/ 3005404 h 6858000"/>
              <a:gd name="connsiteX702" fmla="*/ 32049 w 7467600"/>
              <a:gd name="connsiteY702" fmla="*/ 3065814 h 6858000"/>
              <a:gd name="connsiteX703" fmla="*/ 0 w 7467600"/>
              <a:gd name="connsiteY703" fmla="*/ 3108744 h 6858000"/>
              <a:gd name="connsiteX704" fmla="*/ 0 w 7467600"/>
              <a:gd name="connsiteY704" fmla="*/ 3058059 h 6858000"/>
              <a:gd name="connsiteX705" fmla="*/ 7610 w 7467600"/>
              <a:gd name="connsiteY705" fmla="*/ 3047889 h 6858000"/>
              <a:gd name="connsiteX706" fmla="*/ 52419 w 7467600"/>
              <a:gd name="connsiteY706" fmla="*/ 2987479 h 6858000"/>
              <a:gd name="connsiteX707" fmla="*/ 59142 w 7467600"/>
              <a:gd name="connsiteY707" fmla="*/ 2978488 h 6858000"/>
              <a:gd name="connsiteX708" fmla="*/ 0 w 7467600"/>
              <a:gd name="connsiteY708" fmla="*/ 3015334 h 6858000"/>
              <a:gd name="connsiteX709" fmla="*/ 0 w 7467600"/>
              <a:gd name="connsiteY709" fmla="*/ 2914286 h 6858000"/>
              <a:gd name="connsiteX710" fmla="*/ 36383 w 7467600"/>
              <a:gd name="connsiteY710" fmla="*/ 2901128 h 6858000"/>
              <a:gd name="connsiteX711" fmla="*/ 156329 w 7467600"/>
              <a:gd name="connsiteY711" fmla="*/ 2840533 h 6858000"/>
              <a:gd name="connsiteX712" fmla="*/ 358355 w 7467600"/>
              <a:gd name="connsiteY712" fmla="*/ 2620471 h 6858000"/>
              <a:gd name="connsiteX713" fmla="*/ 510577 w 7467600"/>
              <a:gd name="connsiteY713" fmla="*/ 2501244 h 6858000"/>
              <a:gd name="connsiteX714" fmla="*/ 211967 w 7467600"/>
              <a:gd name="connsiteY714" fmla="*/ 2479171 h 6858000"/>
              <a:gd name="connsiteX715" fmla="*/ 0 w 7467600"/>
              <a:gd name="connsiteY715" fmla="*/ 2476398 h 6858000"/>
              <a:gd name="connsiteX716" fmla="*/ 0 w 7467600"/>
              <a:gd name="connsiteY716" fmla="*/ 2389189 h 6858000"/>
              <a:gd name="connsiteX717" fmla="*/ 103062 w 7467600"/>
              <a:gd name="connsiteY717" fmla="*/ 2389518 h 6858000"/>
              <a:gd name="connsiteX718" fmla="*/ 510734 w 7467600"/>
              <a:gd name="connsiteY718" fmla="*/ 2416201 h 6858000"/>
              <a:gd name="connsiteX719" fmla="*/ 279257 w 7467600"/>
              <a:gd name="connsiteY719" fmla="*/ 2092102 h 6858000"/>
              <a:gd name="connsiteX720" fmla="*/ 65265 w 7467600"/>
              <a:gd name="connsiteY720" fmla="*/ 2006049 h 6858000"/>
              <a:gd name="connsiteX721" fmla="*/ 0 w 7467600"/>
              <a:gd name="connsiteY721" fmla="*/ 1982532 h 6858000"/>
              <a:gd name="connsiteX722" fmla="*/ 0 w 7467600"/>
              <a:gd name="connsiteY722" fmla="*/ 1912789 h 6858000"/>
              <a:gd name="connsiteX723" fmla="*/ 97460 w 7467600"/>
              <a:gd name="connsiteY723" fmla="*/ 1953725 h 6858000"/>
              <a:gd name="connsiteX724" fmla="*/ 221272 w 7467600"/>
              <a:gd name="connsiteY724" fmla="*/ 1980766 h 6858000"/>
              <a:gd name="connsiteX725" fmla="*/ 116765 w 7467600"/>
              <a:gd name="connsiteY725" fmla="*/ 1911033 h 6858000"/>
              <a:gd name="connsiteX726" fmla="*/ 16405 w 7467600"/>
              <a:gd name="connsiteY726" fmla="*/ 1803412 h 6858000"/>
              <a:gd name="connsiteX727" fmla="*/ 0 w 7467600"/>
              <a:gd name="connsiteY727" fmla="*/ 1784777 h 6858000"/>
              <a:gd name="connsiteX728" fmla="*/ 0 w 7467600"/>
              <a:gd name="connsiteY728" fmla="*/ 1740082 h 6858000"/>
              <a:gd name="connsiteX729" fmla="*/ 39394 w 7467600"/>
              <a:gd name="connsiteY729" fmla="*/ 1784856 h 6858000"/>
              <a:gd name="connsiteX730" fmla="*/ 135813 w 7467600"/>
              <a:gd name="connsiteY730" fmla="*/ 1888838 h 6858000"/>
              <a:gd name="connsiteX731" fmla="*/ 242575 w 7467600"/>
              <a:gd name="connsiteY731" fmla="*/ 1958841 h 6858000"/>
              <a:gd name="connsiteX732" fmla="*/ 82197 w 7467600"/>
              <a:gd name="connsiteY732" fmla="*/ 1754826 h 6858000"/>
              <a:gd name="connsiteX733" fmla="*/ 0 w 7467600"/>
              <a:gd name="connsiteY733" fmla="*/ 1679650 h 6858000"/>
              <a:gd name="connsiteX734" fmla="*/ 0 w 7467600"/>
              <a:gd name="connsiteY734" fmla="*/ 1602463 h 6858000"/>
              <a:gd name="connsiteX735" fmla="*/ 84689 w 7467600"/>
              <a:gd name="connsiteY735" fmla="*/ 1677442 h 6858000"/>
              <a:gd name="connsiteX736" fmla="*/ 298437 w 7467600"/>
              <a:gd name="connsiteY736" fmla="*/ 1968019 h 6858000"/>
              <a:gd name="connsiteX737" fmla="*/ 227269 w 7467600"/>
              <a:gd name="connsiteY737" fmla="*/ 1114064 h 6858000"/>
              <a:gd name="connsiteX738" fmla="*/ 248003 w 7467600"/>
              <a:gd name="connsiteY738" fmla="*/ 1089613 h 6858000"/>
              <a:gd name="connsiteX739" fmla="*/ 427020 w 7467600"/>
              <a:gd name="connsiteY739" fmla="*/ 1619803 h 6858000"/>
              <a:gd name="connsiteX740" fmla="*/ 340345 w 7467600"/>
              <a:gd name="connsiteY740" fmla="*/ 2027739 h 6858000"/>
              <a:gd name="connsiteX741" fmla="*/ 360865 w 7467600"/>
              <a:gd name="connsiteY741" fmla="*/ 2044827 h 6858000"/>
              <a:gd name="connsiteX742" fmla="*/ 560414 w 7467600"/>
              <a:gd name="connsiteY742" fmla="*/ 2421457 h 6858000"/>
              <a:gd name="connsiteX743" fmla="*/ 1359703 w 7467600"/>
              <a:gd name="connsiteY743" fmla="*/ 2578554 h 6858000"/>
              <a:gd name="connsiteX744" fmla="*/ 1359422 w 7467600"/>
              <a:gd name="connsiteY744" fmla="*/ 2577994 h 6858000"/>
              <a:gd name="connsiteX745" fmla="*/ 828701 w 7467600"/>
              <a:gd name="connsiteY745" fmla="*/ 1839520 h 6858000"/>
              <a:gd name="connsiteX746" fmla="*/ 494427 w 7467600"/>
              <a:gd name="connsiteY746" fmla="*/ 1092333 h 6858000"/>
              <a:gd name="connsiteX747" fmla="*/ 506322 w 7467600"/>
              <a:gd name="connsiteY747" fmla="*/ 1020997 h 6858000"/>
              <a:gd name="connsiteX748" fmla="*/ 4570198 w 7467600"/>
              <a:gd name="connsiteY748" fmla="*/ 978081 h 6858000"/>
              <a:gd name="connsiteX749" fmla="*/ 4523691 w 7467600"/>
              <a:gd name="connsiteY749" fmla="*/ 1127776 h 6858000"/>
              <a:gd name="connsiteX750" fmla="*/ 4509875 w 7467600"/>
              <a:gd name="connsiteY750" fmla="*/ 1167552 h 6858000"/>
              <a:gd name="connsiteX751" fmla="*/ 4478168 w 7467600"/>
              <a:gd name="connsiteY751" fmla="*/ 1260735 h 6858000"/>
              <a:gd name="connsiteX752" fmla="*/ 4409309 w 7467600"/>
              <a:gd name="connsiteY752" fmla="*/ 1666996 h 6858000"/>
              <a:gd name="connsiteX753" fmla="*/ 4370031 w 7467600"/>
              <a:gd name="connsiteY753" fmla="*/ 1955666 h 6858000"/>
              <a:gd name="connsiteX754" fmla="*/ 4570198 w 7467600"/>
              <a:gd name="connsiteY754" fmla="*/ 978081 h 6858000"/>
              <a:gd name="connsiteX755" fmla="*/ 4557898 w 7467600"/>
              <a:gd name="connsiteY755" fmla="*/ 900011 h 6858000"/>
              <a:gd name="connsiteX756" fmla="*/ 4344840 w 7467600"/>
              <a:gd name="connsiteY756" fmla="*/ 1922038 h 6858000"/>
              <a:gd name="connsiteX757" fmla="*/ 4378710 w 7467600"/>
              <a:gd name="connsiteY757" fmla="*/ 1665516 h 6858000"/>
              <a:gd name="connsiteX758" fmla="*/ 4448798 w 7467600"/>
              <a:gd name="connsiteY758" fmla="*/ 1253024 h 6858000"/>
              <a:gd name="connsiteX759" fmla="*/ 4480315 w 7467600"/>
              <a:gd name="connsiteY759" fmla="*/ 1158454 h 6858000"/>
              <a:gd name="connsiteX760" fmla="*/ 4494133 w 7467600"/>
              <a:gd name="connsiteY760" fmla="*/ 1118676 h 6858000"/>
              <a:gd name="connsiteX761" fmla="*/ 4557898 w 7467600"/>
              <a:gd name="connsiteY761" fmla="*/ 900011 h 6858000"/>
              <a:gd name="connsiteX762" fmla="*/ 5870151 w 7467600"/>
              <a:gd name="connsiteY762" fmla="*/ 898890 h 6858000"/>
              <a:gd name="connsiteX763" fmla="*/ 5861335 w 7467600"/>
              <a:gd name="connsiteY763" fmla="*/ 899177 h 6858000"/>
              <a:gd name="connsiteX764" fmla="*/ 5843702 w 7467600"/>
              <a:gd name="connsiteY764" fmla="*/ 899748 h 6858000"/>
              <a:gd name="connsiteX765" fmla="*/ 5651107 w 7467600"/>
              <a:gd name="connsiteY765" fmla="*/ 920306 h 6858000"/>
              <a:gd name="connsiteX766" fmla="*/ 5459407 w 7467600"/>
              <a:gd name="connsiteY766" fmla="*/ 940975 h 6858000"/>
              <a:gd name="connsiteX767" fmla="*/ 5374846 w 7467600"/>
              <a:gd name="connsiteY767" fmla="*/ 941988 h 6858000"/>
              <a:gd name="connsiteX768" fmla="*/ 5256105 w 7467600"/>
              <a:gd name="connsiteY768" fmla="*/ 945632 h 6858000"/>
              <a:gd name="connsiteX769" fmla="*/ 5107071 w 7467600"/>
              <a:gd name="connsiteY769" fmla="*/ 969720 h 6858000"/>
              <a:gd name="connsiteX770" fmla="*/ 4998681 w 7467600"/>
              <a:gd name="connsiteY770" fmla="*/ 988771 h 6858000"/>
              <a:gd name="connsiteX771" fmla="*/ 5870151 w 7467600"/>
              <a:gd name="connsiteY771" fmla="*/ 898890 h 6858000"/>
              <a:gd name="connsiteX772" fmla="*/ 5504425 w 7467600"/>
              <a:gd name="connsiteY772" fmla="*/ 848067 h 6858000"/>
              <a:gd name="connsiteX773" fmla="*/ 4968849 w 7467600"/>
              <a:gd name="connsiteY773" fmla="*/ 962318 h 6858000"/>
              <a:gd name="connsiteX774" fmla="*/ 5104039 w 7467600"/>
              <a:gd name="connsiteY774" fmla="*/ 940634 h 6858000"/>
              <a:gd name="connsiteX775" fmla="*/ 5256311 w 7467600"/>
              <a:gd name="connsiteY775" fmla="*/ 916490 h 6858000"/>
              <a:gd name="connsiteX776" fmla="*/ 5377381 w 7467600"/>
              <a:gd name="connsiteY776" fmla="*/ 912671 h 6858000"/>
              <a:gd name="connsiteX777" fmla="*/ 5460148 w 7467600"/>
              <a:gd name="connsiteY777" fmla="*/ 911442 h 6858000"/>
              <a:gd name="connsiteX778" fmla="*/ 5648971 w 7467600"/>
              <a:gd name="connsiteY778" fmla="*/ 891331 h 6858000"/>
              <a:gd name="connsiteX779" fmla="*/ 5844807 w 7467600"/>
              <a:gd name="connsiteY779" fmla="*/ 870718 h 6858000"/>
              <a:gd name="connsiteX780" fmla="*/ 5862975 w 7467600"/>
              <a:gd name="connsiteY780" fmla="*/ 869756 h 6858000"/>
              <a:gd name="connsiteX781" fmla="*/ 5920887 w 7467600"/>
              <a:gd name="connsiteY781" fmla="*/ 865929 h 6858000"/>
              <a:gd name="connsiteX782" fmla="*/ 5504425 w 7467600"/>
              <a:gd name="connsiteY782" fmla="*/ 848067 h 6858000"/>
              <a:gd name="connsiteX783" fmla="*/ 3607114 w 7467600"/>
              <a:gd name="connsiteY783" fmla="*/ 467441 h 6858000"/>
              <a:gd name="connsiteX784" fmla="*/ 3296242 w 7467600"/>
              <a:gd name="connsiteY784" fmla="*/ 807991 h 6858000"/>
              <a:gd name="connsiteX785" fmla="*/ 3174674 w 7467600"/>
              <a:gd name="connsiteY785" fmla="*/ 919759 h 6858000"/>
              <a:gd name="connsiteX786" fmla="*/ 3042978 w 7467600"/>
              <a:gd name="connsiteY786" fmla="*/ 1054894 h 6858000"/>
              <a:gd name="connsiteX787" fmla="*/ 2968914 w 7467600"/>
              <a:gd name="connsiteY787" fmla="*/ 1133756 h 6858000"/>
              <a:gd name="connsiteX788" fmla="*/ 3103823 w 7467600"/>
              <a:gd name="connsiteY788" fmla="*/ 1026814 h 6858000"/>
              <a:gd name="connsiteX789" fmla="*/ 3607114 w 7467600"/>
              <a:gd name="connsiteY789" fmla="*/ 467441 h 6858000"/>
              <a:gd name="connsiteX790" fmla="*/ 3744487 w 7467600"/>
              <a:gd name="connsiteY790" fmla="*/ 383136 h 6858000"/>
              <a:gd name="connsiteX791" fmla="*/ 3970213 w 7467600"/>
              <a:gd name="connsiteY791" fmla="*/ 995559 h 6858000"/>
              <a:gd name="connsiteX792" fmla="*/ 3744487 w 7467600"/>
              <a:gd name="connsiteY792" fmla="*/ 383136 h 6858000"/>
              <a:gd name="connsiteX793" fmla="*/ 3624562 w 7467600"/>
              <a:gd name="connsiteY793" fmla="*/ 367041 h 6858000"/>
              <a:gd name="connsiteX794" fmla="*/ 3489712 w 7467600"/>
              <a:gd name="connsiteY794" fmla="*/ 485386 h 6858000"/>
              <a:gd name="connsiteX795" fmla="*/ 3182994 w 7467600"/>
              <a:gd name="connsiteY795" fmla="*/ 828265 h 6858000"/>
              <a:gd name="connsiteX796" fmla="*/ 2892114 w 7467600"/>
              <a:gd name="connsiteY796" fmla="*/ 1172635 h 6858000"/>
              <a:gd name="connsiteX797" fmla="*/ 3021459 w 7467600"/>
              <a:gd name="connsiteY797" fmla="*/ 1035385 h 6858000"/>
              <a:gd name="connsiteX798" fmla="*/ 3153873 w 7467600"/>
              <a:gd name="connsiteY798" fmla="*/ 898971 h 6858000"/>
              <a:gd name="connsiteX799" fmla="*/ 3276511 w 7467600"/>
              <a:gd name="connsiteY799" fmla="*/ 786423 h 6858000"/>
              <a:gd name="connsiteX800" fmla="*/ 3584154 w 7467600"/>
              <a:gd name="connsiteY800" fmla="*/ 448218 h 6858000"/>
              <a:gd name="connsiteX801" fmla="*/ 3624562 w 7467600"/>
              <a:gd name="connsiteY801" fmla="*/ 367041 h 6858000"/>
              <a:gd name="connsiteX802" fmla="*/ 3766672 w 7467600"/>
              <a:gd name="connsiteY802" fmla="*/ 359429 h 6858000"/>
              <a:gd name="connsiteX803" fmla="*/ 3996338 w 7467600"/>
              <a:gd name="connsiteY803" fmla="*/ 968237 h 6858000"/>
              <a:gd name="connsiteX804" fmla="*/ 3766672 w 7467600"/>
              <a:gd name="connsiteY804" fmla="*/ 359429 h 6858000"/>
              <a:gd name="connsiteX805" fmla="*/ 5805386 w 7467600"/>
              <a:gd name="connsiteY805" fmla="*/ 239240 h 6858000"/>
              <a:gd name="connsiteX806" fmla="*/ 5736947 w 7467600"/>
              <a:gd name="connsiteY806" fmla="*/ 261367 h 6858000"/>
              <a:gd name="connsiteX807" fmla="*/ 5427012 w 7467600"/>
              <a:gd name="connsiteY807" fmla="*/ 311272 h 6858000"/>
              <a:gd name="connsiteX808" fmla="*/ 5147818 w 7467600"/>
              <a:gd name="connsiteY808" fmla="*/ 322112 h 6858000"/>
              <a:gd name="connsiteX809" fmla="*/ 5060854 w 7467600"/>
              <a:gd name="connsiteY809" fmla="*/ 311882 h 6858000"/>
              <a:gd name="connsiteX810" fmla="*/ 4945989 w 7467600"/>
              <a:gd name="connsiteY810" fmla="*/ 300516 h 6858000"/>
              <a:gd name="connsiteX811" fmla="*/ 5410479 w 7467600"/>
              <a:gd name="connsiteY811" fmla="*/ 348434 h 6858000"/>
              <a:gd name="connsiteX812" fmla="*/ 5805386 w 7467600"/>
              <a:gd name="connsiteY812" fmla="*/ 239240 h 6858000"/>
              <a:gd name="connsiteX813" fmla="*/ 5905192 w 7467600"/>
              <a:gd name="connsiteY813" fmla="*/ 163079 h 6858000"/>
              <a:gd name="connsiteX814" fmla="*/ 5865655 w 7467600"/>
              <a:gd name="connsiteY814" fmla="*/ 171901 h 6858000"/>
              <a:gd name="connsiteX815" fmla="*/ 5259740 w 7467600"/>
              <a:gd name="connsiteY815" fmla="*/ 257013 h 6858000"/>
              <a:gd name="connsiteX816" fmla="*/ 5208466 w 7467600"/>
              <a:gd name="connsiteY816" fmla="*/ 257550 h 6858000"/>
              <a:gd name="connsiteX817" fmla="*/ 4980204 w 7467600"/>
              <a:gd name="connsiteY817" fmla="*/ 271903 h 6858000"/>
              <a:gd name="connsiteX818" fmla="*/ 5068068 w 7467600"/>
              <a:gd name="connsiteY818" fmla="*/ 282244 h 6858000"/>
              <a:gd name="connsiteX819" fmla="*/ 5153231 w 7467600"/>
              <a:gd name="connsiteY819" fmla="*/ 292240 h 6858000"/>
              <a:gd name="connsiteX820" fmla="*/ 5426491 w 7467600"/>
              <a:gd name="connsiteY820" fmla="*/ 281128 h 6858000"/>
              <a:gd name="connsiteX821" fmla="*/ 5731212 w 7467600"/>
              <a:gd name="connsiteY821" fmla="*/ 231951 h 6858000"/>
              <a:gd name="connsiteX822" fmla="*/ 5905192 w 7467600"/>
              <a:gd name="connsiteY822" fmla="*/ 163079 h 6858000"/>
              <a:gd name="connsiteX823" fmla="*/ 5944437 w 7467600"/>
              <a:gd name="connsiteY823" fmla="*/ 113829 h 6858000"/>
              <a:gd name="connsiteX824" fmla="*/ 5825032 w 7467600"/>
              <a:gd name="connsiteY824" fmla="*/ 146405 h 6858000"/>
              <a:gd name="connsiteX825" fmla="*/ 4955599 w 7467600"/>
              <a:gd name="connsiteY825" fmla="*/ 247008 h 6858000"/>
              <a:gd name="connsiteX826" fmla="*/ 5210104 w 7467600"/>
              <a:gd name="connsiteY826" fmla="*/ 228123 h 6858000"/>
              <a:gd name="connsiteX827" fmla="*/ 5261015 w 7467600"/>
              <a:gd name="connsiteY827" fmla="*/ 227087 h 6858000"/>
              <a:gd name="connsiteX828" fmla="*/ 5861181 w 7467600"/>
              <a:gd name="connsiteY828" fmla="*/ 143093 h 6858000"/>
              <a:gd name="connsiteX829" fmla="*/ 5961252 w 7467600"/>
              <a:gd name="connsiteY829" fmla="*/ 114820 h 6858000"/>
              <a:gd name="connsiteX830" fmla="*/ 5944437 w 7467600"/>
              <a:gd name="connsiteY830" fmla="*/ 113829 h 6858000"/>
              <a:gd name="connsiteX831" fmla="*/ 3882765 w 7467600"/>
              <a:gd name="connsiteY831" fmla="*/ 0 h 6858000"/>
              <a:gd name="connsiteX832" fmla="*/ 3995099 w 7467600"/>
              <a:gd name="connsiteY832" fmla="*/ 0 h 6858000"/>
              <a:gd name="connsiteX833" fmla="*/ 4163818 w 7467600"/>
              <a:gd name="connsiteY833" fmla="*/ 234104 h 6858000"/>
              <a:gd name="connsiteX834" fmla="*/ 4172099 w 7467600"/>
              <a:gd name="connsiteY834" fmla="*/ 234207 h 6858000"/>
              <a:gd name="connsiteX835" fmla="*/ 4784282 w 7467600"/>
              <a:gd name="connsiteY835" fmla="*/ 276561 h 6858000"/>
              <a:gd name="connsiteX836" fmla="*/ 4801687 w 7467600"/>
              <a:gd name="connsiteY836" fmla="*/ 267764 h 6858000"/>
              <a:gd name="connsiteX837" fmla="*/ 6082788 w 7467600"/>
              <a:gd name="connsiteY837" fmla="*/ 64119 h 6858000"/>
              <a:gd name="connsiteX838" fmla="*/ 6099442 w 7467600"/>
              <a:gd name="connsiteY838" fmla="*/ 82568 h 6858000"/>
              <a:gd name="connsiteX839" fmla="*/ 4804137 w 7467600"/>
              <a:gd name="connsiteY839" fmla="*/ 320931 h 6858000"/>
              <a:gd name="connsiteX840" fmla="*/ 4227047 w 7467600"/>
              <a:gd name="connsiteY840" fmla="*/ 313415 h 6858000"/>
              <a:gd name="connsiteX841" fmla="*/ 4346041 w 7467600"/>
              <a:gd name="connsiteY841" fmla="*/ 456086 h 6858000"/>
              <a:gd name="connsiteX842" fmla="*/ 4870967 w 7467600"/>
              <a:gd name="connsiteY842" fmla="*/ 963061 h 6858000"/>
              <a:gd name="connsiteX843" fmla="*/ 4889647 w 7467600"/>
              <a:gd name="connsiteY843" fmla="*/ 957147 h 6858000"/>
              <a:gd name="connsiteX844" fmla="*/ 5422504 w 7467600"/>
              <a:gd name="connsiteY844" fmla="*/ 805191 h 6858000"/>
              <a:gd name="connsiteX845" fmla="*/ 6087656 w 7467600"/>
              <a:gd name="connsiteY845" fmla="*/ 826703 h 6858000"/>
              <a:gd name="connsiteX846" fmla="*/ 6058717 w 7467600"/>
              <a:gd name="connsiteY846" fmla="*/ 865992 h 6858000"/>
              <a:gd name="connsiteX847" fmla="*/ 4974153 w 7467600"/>
              <a:gd name="connsiteY847" fmla="*/ 1045456 h 6858000"/>
              <a:gd name="connsiteX848" fmla="*/ 5627835 w 7467600"/>
              <a:gd name="connsiteY848" fmla="*/ 1472077 h 6858000"/>
              <a:gd name="connsiteX849" fmla="*/ 5629817 w 7467600"/>
              <a:gd name="connsiteY849" fmla="*/ 1471412 h 6858000"/>
              <a:gd name="connsiteX850" fmla="*/ 5634124 w 7467600"/>
              <a:gd name="connsiteY850" fmla="*/ 1470572 h 6858000"/>
              <a:gd name="connsiteX851" fmla="*/ 5755832 w 7467600"/>
              <a:gd name="connsiteY851" fmla="*/ 1383886 h 6858000"/>
              <a:gd name="connsiteX852" fmla="*/ 6014186 w 7467600"/>
              <a:gd name="connsiteY852" fmla="*/ 1279799 h 6858000"/>
              <a:gd name="connsiteX853" fmla="*/ 6901619 w 7467600"/>
              <a:gd name="connsiteY853" fmla="*/ 1047874 h 6858000"/>
              <a:gd name="connsiteX854" fmla="*/ 6931566 w 7467600"/>
              <a:gd name="connsiteY854" fmla="*/ 1062034 h 6858000"/>
              <a:gd name="connsiteX855" fmla="*/ 5790982 w 7467600"/>
              <a:gd name="connsiteY855" fmla="*/ 1561380 h 6858000"/>
              <a:gd name="connsiteX856" fmla="*/ 6188971 w 7467600"/>
              <a:gd name="connsiteY856" fmla="*/ 1755168 h 6858000"/>
              <a:gd name="connsiteX857" fmla="*/ 6202446 w 7467600"/>
              <a:gd name="connsiteY857" fmla="*/ 1752268 h 6858000"/>
              <a:gd name="connsiteX858" fmla="*/ 7179560 w 7467600"/>
              <a:gd name="connsiteY858" fmla="*/ 1467551 h 6858000"/>
              <a:gd name="connsiteX859" fmla="*/ 7158730 w 7467600"/>
              <a:gd name="connsiteY859" fmla="*/ 1507835 h 6858000"/>
              <a:gd name="connsiteX860" fmla="*/ 6326959 w 7467600"/>
              <a:gd name="connsiteY860" fmla="*/ 1817686 h 6858000"/>
              <a:gd name="connsiteX861" fmla="*/ 6537433 w 7467600"/>
              <a:gd name="connsiteY861" fmla="*/ 1907790 h 6858000"/>
              <a:gd name="connsiteX862" fmla="*/ 6550221 w 7467600"/>
              <a:gd name="connsiteY862" fmla="*/ 1910729 h 6858000"/>
              <a:gd name="connsiteX863" fmla="*/ 6964438 w 7467600"/>
              <a:gd name="connsiteY863" fmla="*/ 2209505 h 6858000"/>
              <a:gd name="connsiteX864" fmla="*/ 7367862 w 7467600"/>
              <a:gd name="connsiteY864" fmla="*/ 2806833 h 6858000"/>
              <a:gd name="connsiteX865" fmla="*/ 7364329 w 7467600"/>
              <a:gd name="connsiteY865" fmla="*/ 2826907 h 6858000"/>
              <a:gd name="connsiteX866" fmla="*/ 7290545 w 7467600"/>
              <a:gd name="connsiteY866" fmla="*/ 2850663 h 6858000"/>
              <a:gd name="connsiteX867" fmla="*/ 6472036 w 7467600"/>
              <a:gd name="connsiteY867" fmla="*/ 1959003 h 6858000"/>
              <a:gd name="connsiteX868" fmla="*/ 5792897 w 7467600"/>
              <a:gd name="connsiteY868" fmla="*/ 1647747 h 6858000"/>
              <a:gd name="connsiteX869" fmla="*/ 5842751 w 7467600"/>
              <a:gd name="connsiteY869" fmla="*/ 1816112 h 6858000"/>
              <a:gd name="connsiteX870" fmla="*/ 5847424 w 7467600"/>
              <a:gd name="connsiteY870" fmla="*/ 1815776 h 6858000"/>
              <a:gd name="connsiteX871" fmla="*/ 6399821 w 7467600"/>
              <a:gd name="connsiteY871" fmla="*/ 2344799 h 6858000"/>
              <a:gd name="connsiteX872" fmla="*/ 6323232 w 7467600"/>
              <a:gd name="connsiteY872" fmla="*/ 2389634 h 6858000"/>
              <a:gd name="connsiteX873" fmla="*/ 5942958 w 7467600"/>
              <a:gd name="connsiteY873" fmla="*/ 2077708 h 6858000"/>
              <a:gd name="connsiteX874" fmla="*/ 5921559 w 7467600"/>
              <a:gd name="connsiteY874" fmla="*/ 2378596 h 6858000"/>
              <a:gd name="connsiteX875" fmla="*/ 5817651 w 7467600"/>
              <a:gd name="connsiteY875" fmla="*/ 3023919 h 6858000"/>
              <a:gd name="connsiteX876" fmla="*/ 5729634 w 7467600"/>
              <a:gd name="connsiteY876" fmla="*/ 3051849 h 6858000"/>
              <a:gd name="connsiteX877" fmla="*/ 5611018 w 7467600"/>
              <a:gd name="connsiteY877" fmla="*/ 2316769 h 6858000"/>
              <a:gd name="connsiteX878" fmla="*/ 5687608 w 7467600"/>
              <a:gd name="connsiteY878" fmla="*/ 2039972 h 6858000"/>
              <a:gd name="connsiteX879" fmla="*/ 5657554 w 7467600"/>
              <a:gd name="connsiteY879" fmla="*/ 1576445 h 6858000"/>
              <a:gd name="connsiteX880" fmla="*/ 5150475 w 7467600"/>
              <a:gd name="connsiteY880" fmla="*/ 1274012 h 6858000"/>
              <a:gd name="connsiteX881" fmla="*/ 5349142 w 7467600"/>
              <a:gd name="connsiteY881" fmla="*/ 2204405 h 6858000"/>
              <a:gd name="connsiteX882" fmla="*/ 5262214 w 7467600"/>
              <a:gd name="connsiteY882" fmla="*/ 2233836 h 6858000"/>
              <a:gd name="connsiteX883" fmla="*/ 4981539 w 7467600"/>
              <a:gd name="connsiteY883" fmla="*/ 1542201 h 6858000"/>
              <a:gd name="connsiteX884" fmla="*/ 4958461 w 7467600"/>
              <a:gd name="connsiteY884" fmla="*/ 1136957 h 6858000"/>
              <a:gd name="connsiteX885" fmla="*/ 4655015 w 7467600"/>
              <a:gd name="connsiteY885" fmla="*/ 891426 h 6858000"/>
              <a:gd name="connsiteX886" fmla="*/ 4348002 w 7467600"/>
              <a:gd name="connsiteY886" fmla="*/ 2205895 h 6858000"/>
              <a:gd name="connsiteX887" fmla="*/ 4262250 w 7467600"/>
              <a:gd name="connsiteY887" fmla="*/ 2219972 h 6858000"/>
              <a:gd name="connsiteX888" fmla="*/ 4550611 w 7467600"/>
              <a:gd name="connsiteY888" fmla="*/ 817540 h 6858000"/>
              <a:gd name="connsiteX889" fmla="*/ 4564418 w 7467600"/>
              <a:gd name="connsiteY889" fmla="*/ 808293 h 6858000"/>
              <a:gd name="connsiteX890" fmla="*/ 4266388 w 7467600"/>
              <a:gd name="connsiteY890" fmla="*/ 500083 h 6858000"/>
              <a:gd name="connsiteX891" fmla="*/ 4032842 w 7467600"/>
              <a:gd name="connsiteY891" fmla="*/ 211809 h 6858000"/>
              <a:gd name="connsiteX892" fmla="*/ 3882765 w 7467600"/>
              <a:gd name="connsiteY892" fmla="*/ 0 h 6858000"/>
              <a:gd name="connsiteX893" fmla="*/ 3721337 w 7467600"/>
              <a:gd name="connsiteY893" fmla="*/ 0 h 6858000"/>
              <a:gd name="connsiteX894" fmla="*/ 3797544 w 7467600"/>
              <a:gd name="connsiteY894" fmla="*/ 0 h 6858000"/>
              <a:gd name="connsiteX895" fmla="*/ 3775734 w 7467600"/>
              <a:gd name="connsiteY895" fmla="*/ 95131 h 6858000"/>
              <a:gd name="connsiteX896" fmla="*/ 3724807 w 7467600"/>
              <a:gd name="connsiteY896" fmla="*/ 272257 h 6858000"/>
              <a:gd name="connsiteX897" fmla="*/ 3726844 w 7467600"/>
              <a:gd name="connsiteY897" fmla="*/ 282988 h 6858000"/>
              <a:gd name="connsiteX898" fmla="*/ 3742664 w 7467600"/>
              <a:gd name="connsiteY898" fmla="*/ 279918 h 6858000"/>
              <a:gd name="connsiteX899" fmla="*/ 4103910 w 7467600"/>
              <a:gd name="connsiteY899" fmla="*/ 1161917 h 6858000"/>
              <a:gd name="connsiteX900" fmla="*/ 4020269 w 7467600"/>
              <a:gd name="connsiteY900" fmla="*/ 1200406 h 6858000"/>
              <a:gd name="connsiteX901" fmla="*/ 3674882 w 7467600"/>
              <a:gd name="connsiteY901" fmla="*/ 488524 h 6858000"/>
              <a:gd name="connsiteX902" fmla="*/ 3132682 w 7467600"/>
              <a:gd name="connsiteY902" fmla="*/ 1072284 h 6858000"/>
              <a:gd name="connsiteX903" fmla="*/ 2716346 w 7467600"/>
              <a:gd name="connsiteY903" fmla="*/ 1276376 h 6858000"/>
              <a:gd name="connsiteX904" fmla="*/ 2716772 w 7467600"/>
              <a:gd name="connsiteY904" fmla="*/ 1255462 h 6858000"/>
              <a:gd name="connsiteX905" fmla="*/ 3471096 w 7467600"/>
              <a:gd name="connsiteY905" fmla="*/ 437072 h 6858000"/>
              <a:gd name="connsiteX906" fmla="*/ 3639057 w 7467600"/>
              <a:gd name="connsiteY906" fmla="*/ 286334 h 6858000"/>
              <a:gd name="connsiteX907" fmla="*/ 3640309 w 7467600"/>
              <a:gd name="connsiteY907" fmla="*/ 284664 h 6858000"/>
              <a:gd name="connsiteX908" fmla="*/ 3646022 w 7467600"/>
              <a:gd name="connsiteY908" fmla="*/ 276711 h 6858000"/>
              <a:gd name="connsiteX909" fmla="*/ 3707943 w 7467600"/>
              <a:gd name="connsiteY909" fmla="*/ 65958 h 6858000"/>
              <a:gd name="connsiteX910" fmla="*/ 3721337 w 7467600"/>
              <a:gd name="connsiteY910" fmla="*/ 0 h 6858000"/>
              <a:gd name="connsiteX911" fmla="*/ 2867960 w 7467600"/>
              <a:gd name="connsiteY911" fmla="*/ 0 h 6858000"/>
              <a:gd name="connsiteX912" fmla="*/ 2926351 w 7467600"/>
              <a:gd name="connsiteY912" fmla="*/ 0 h 6858000"/>
              <a:gd name="connsiteX913" fmla="*/ 2902823 w 7467600"/>
              <a:gd name="connsiteY913" fmla="*/ 262929 h 6858000"/>
              <a:gd name="connsiteX914" fmla="*/ 2940663 w 7467600"/>
              <a:gd name="connsiteY914" fmla="*/ 140884 h 6858000"/>
              <a:gd name="connsiteX915" fmla="*/ 2947039 w 7467600"/>
              <a:gd name="connsiteY915" fmla="*/ 122524 h 6858000"/>
              <a:gd name="connsiteX916" fmla="*/ 2984316 w 7467600"/>
              <a:gd name="connsiteY916" fmla="*/ 0 h 6858000"/>
              <a:gd name="connsiteX917" fmla="*/ 3016114 w 7467600"/>
              <a:gd name="connsiteY917" fmla="*/ 0 h 6858000"/>
              <a:gd name="connsiteX918" fmla="*/ 2979949 w 7467600"/>
              <a:gd name="connsiteY918" fmla="*/ 119274 h 6858000"/>
              <a:gd name="connsiteX919" fmla="*/ 3023879 w 7467600"/>
              <a:gd name="connsiteY919" fmla="*/ 0 h 6858000"/>
              <a:gd name="connsiteX920" fmla="*/ 3105400 w 7467600"/>
              <a:gd name="connsiteY920" fmla="*/ 0 h 6858000"/>
              <a:gd name="connsiteX921" fmla="*/ 3094669 w 7467600"/>
              <a:gd name="connsiteY921" fmla="*/ 30308 h 6858000"/>
              <a:gd name="connsiteX922" fmla="*/ 2901945 w 7467600"/>
              <a:gd name="connsiteY922" fmla="*/ 466538 h 6858000"/>
              <a:gd name="connsiteX923" fmla="*/ 2815209 w 7467600"/>
              <a:gd name="connsiteY923" fmla="*/ 497361 h 6858000"/>
              <a:gd name="connsiteX924" fmla="*/ 2844845 w 7467600"/>
              <a:gd name="connsiteY924" fmla="*/ 127638 h 6858000"/>
              <a:gd name="connsiteX925" fmla="*/ 2867960 w 7467600"/>
              <a:gd name="connsiteY925" fmla="*/ 0 h 6858000"/>
              <a:gd name="connsiteX926" fmla="*/ 1057230 w 7467600"/>
              <a:gd name="connsiteY926" fmla="*/ 0 h 6858000"/>
              <a:gd name="connsiteX927" fmla="*/ 1111003 w 7467600"/>
              <a:gd name="connsiteY927" fmla="*/ 0 h 6858000"/>
              <a:gd name="connsiteX928" fmla="*/ 1125553 w 7467600"/>
              <a:gd name="connsiteY928" fmla="*/ 52588 h 6858000"/>
              <a:gd name="connsiteX929" fmla="*/ 1304276 w 7467600"/>
              <a:gd name="connsiteY929" fmla="*/ 476275 h 6858000"/>
              <a:gd name="connsiteX930" fmla="*/ 1492066 w 7467600"/>
              <a:gd name="connsiteY930" fmla="*/ 886333 h 6858000"/>
              <a:gd name="connsiteX931" fmla="*/ 1423698 w 7467600"/>
              <a:gd name="connsiteY931" fmla="*/ 710817 h 6858000"/>
              <a:gd name="connsiteX932" fmla="*/ 1357609 w 7467600"/>
              <a:gd name="connsiteY932" fmla="*/ 532892 h 6858000"/>
              <a:gd name="connsiteX933" fmla="*/ 1309550 w 7467600"/>
              <a:gd name="connsiteY933" fmla="*/ 374031 h 6858000"/>
              <a:gd name="connsiteX934" fmla="*/ 1193673 w 7467600"/>
              <a:gd name="connsiteY934" fmla="*/ 49533 h 6858000"/>
              <a:gd name="connsiteX935" fmla="*/ 1164391 w 7467600"/>
              <a:gd name="connsiteY935" fmla="*/ 0 h 6858000"/>
              <a:gd name="connsiteX936" fmla="*/ 1200666 w 7467600"/>
              <a:gd name="connsiteY936" fmla="*/ 0 h 6858000"/>
              <a:gd name="connsiteX937" fmla="*/ 1223408 w 7467600"/>
              <a:gd name="connsiteY937" fmla="*/ 38996 h 6858000"/>
              <a:gd name="connsiteX938" fmla="*/ 1339635 w 7467600"/>
              <a:gd name="connsiteY938" fmla="*/ 365517 h 6858000"/>
              <a:gd name="connsiteX939" fmla="*/ 1387469 w 7467600"/>
              <a:gd name="connsiteY939" fmla="*/ 523079 h 6858000"/>
              <a:gd name="connsiteX940" fmla="*/ 1452685 w 7467600"/>
              <a:gd name="connsiteY940" fmla="*/ 699806 h 6858000"/>
              <a:gd name="connsiteX941" fmla="*/ 1492092 w 7467600"/>
              <a:gd name="connsiteY941" fmla="*/ 800424 h 6858000"/>
              <a:gd name="connsiteX942" fmla="*/ 1455302 w 7467600"/>
              <a:gd name="connsiteY942" fmla="*/ 632913 h 6858000"/>
              <a:gd name="connsiteX943" fmla="*/ 1222336 w 7467600"/>
              <a:gd name="connsiteY943" fmla="*/ 9480 h 6858000"/>
              <a:gd name="connsiteX944" fmla="*/ 1214634 w 7467600"/>
              <a:gd name="connsiteY944" fmla="*/ 0 h 6858000"/>
              <a:gd name="connsiteX945" fmla="*/ 1289827 w 7467600"/>
              <a:gd name="connsiteY945" fmla="*/ 0 h 6858000"/>
              <a:gd name="connsiteX946" fmla="*/ 1321076 w 7467600"/>
              <a:gd name="connsiteY946" fmla="*/ 59722 h 6858000"/>
              <a:gd name="connsiteX947" fmla="*/ 1512579 w 7467600"/>
              <a:gd name="connsiteY947" fmla="*/ 626441 h 6858000"/>
              <a:gd name="connsiteX948" fmla="*/ 1506076 w 7467600"/>
              <a:gd name="connsiteY948" fmla="*/ 1089289 h 6858000"/>
              <a:gd name="connsiteX949" fmla="*/ 1486346 w 7467600"/>
              <a:gd name="connsiteY949" fmla="*/ 1079919 h 6858000"/>
              <a:gd name="connsiteX950" fmla="*/ 1070511 w 7467600"/>
              <a:gd name="connsiteY950" fmla="*/ 48609 h 6858000"/>
              <a:gd name="connsiteX951" fmla="*/ 1057230 w 7467600"/>
              <a:gd name="connsiteY951" fmla="*/ 0 h 6858000"/>
              <a:gd name="connsiteX952" fmla="*/ 43151 w 7467600"/>
              <a:gd name="connsiteY952" fmla="*/ 0 h 6858000"/>
              <a:gd name="connsiteX953" fmla="*/ 95283 w 7467600"/>
              <a:gd name="connsiteY953" fmla="*/ 0 h 6858000"/>
              <a:gd name="connsiteX954" fmla="*/ 300708 w 7467600"/>
              <a:gd name="connsiteY954" fmla="*/ 154571 h 6858000"/>
              <a:gd name="connsiteX955" fmla="*/ 530414 w 7467600"/>
              <a:gd name="connsiteY955" fmla="*/ 354673 h 6858000"/>
              <a:gd name="connsiteX956" fmla="*/ 333785 w 7467600"/>
              <a:gd name="connsiteY956" fmla="*/ 161564 h 6858000"/>
              <a:gd name="connsiteX957" fmla="*/ 147005 w 7467600"/>
              <a:gd name="connsiteY957" fmla="*/ 0 h 6858000"/>
              <a:gd name="connsiteX958" fmla="*/ 272509 w 7467600"/>
              <a:gd name="connsiteY958" fmla="*/ 0 h 6858000"/>
              <a:gd name="connsiteX959" fmla="*/ 326276 w 7467600"/>
              <a:gd name="connsiteY959" fmla="*/ 45847 h 6858000"/>
              <a:gd name="connsiteX960" fmla="*/ 823759 w 7467600"/>
              <a:gd name="connsiteY960" fmla="*/ 574145 h 6858000"/>
              <a:gd name="connsiteX961" fmla="*/ 811254 w 7467600"/>
              <a:gd name="connsiteY961" fmla="*/ 665546 h 6858000"/>
              <a:gd name="connsiteX962" fmla="*/ 154042 w 7467600"/>
              <a:gd name="connsiteY962" fmla="*/ 261522 h 6858000"/>
              <a:gd name="connsiteX963" fmla="*/ 13550 w 7467600"/>
              <a:gd name="connsiteY963" fmla="*/ 158423 h 6858000"/>
              <a:gd name="connsiteX964" fmla="*/ 0 w 7467600"/>
              <a:gd name="connsiteY964" fmla="*/ 146618 h 6858000"/>
              <a:gd name="connsiteX965" fmla="*/ 0 w 7467600"/>
              <a:gd name="connsiteY965" fmla="*/ 59161 h 6858000"/>
              <a:gd name="connsiteX966" fmla="*/ 45427 w 7467600"/>
              <a:gd name="connsiteY966" fmla="*/ 101078 h 6858000"/>
              <a:gd name="connsiteX967" fmla="*/ 630103 w 7467600"/>
              <a:gd name="connsiteY967" fmla="*/ 485885 h 6858000"/>
              <a:gd name="connsiteX968" fmla="*/ 532040 w 7467600"/>
              <a:gd name="connsiteY968" fmla="*/ 399359 h 6858000"/>
              <a:gd name="connsiteX969" fmla="*/ 517618 w 7467600"/>
              <a:gd name="connsiteY969" fmla="*/ 385726 h 6858000"/>
              <a:gd name="connsiteX970" fmla="*/ 285074 w 7467600"/>
              <a:gd name="connsiteY970" fmla="*/ 182755 h 6858000"/>
              <a:gd name="connsiteX971" fmla="*/ 43151 w 7467600"/>
              <a:gd name="connsiteY971"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7042773 w 7467600"/>
              <a:gd name="connsiteY74" fmla="*/ 5734011 h 6858000"/>
              <a:gd name="connsiteX75" fmla="*/ 7379510 w 7467600"/>
              <a:gd name="connsiteY75" fmla="*/ 5755454 h 6858000"/>
              <a:gd name="connsiteX76" fmla="*/ 7467600 w 7467600"/>
              <a:gd name="connsiteY76" fmla="*/ 5845526 h 6858000"/>
              <a:gd name="connsiteX77" fmla="*/ 7271900 w 7467600"/>
              <a:gd name="connsiteY77" fmla="*/ 5734551 h 6858000"/>
              <a:gd name="connsiteX78" fmla="*/ 7259646 w 7467600"/>
              <a:gd name="connsiteY78" fmla="*/ 5765985 h 6858000"/>
              <a:gd name="connsiteX79" fmla="*/ 7467600 w 7467600"/>
              <a:gd name="connsiteY79" fmla="*/ 6012219 h 6858000"/>
              <a:gd name="connsiteX80" fmla="*/ 7105827 w 7467600"/>
              <a:gd name="connsiteY80" fmla="*/ 5718700 h 6858000"/>
              <a:gd name="connsiteX81" fmla="*/ 7356878 w 7467600"/>
              <a:gd name="connsiteY81" fmla="*/ 5981332 h 6858000"/>
              <a:gd name="connsiteX82" fmla="*/ 7467600 w 7467600"/>
              <a:gd name="connsiteY82" fmla="*/ 6117703 h 6858000"/>
              <a:gd name="connsiteX83" fmla="*/ 7467600 w 7467600"/>
              <a:gd name="connsiteY83" fmla="*/ 6163634 h 6858000"/>
              <a:gd name="connsiteX84" fmla="*/ 7403637 w 7467600"/>
              <a:gd name="connsiteY84" fmla="*/ 6083957 h 6858000"/>
              <a:gd name="connsiteX85" fmla="*/ 7254615 w 7467600"/>
              <a:gd name="connsiteY85" fmla="*/ 5911918 h 6858000"/>
              <a:gd name="connsiteX86" fmla="*/ 7312589 w 7467600"/>
              <a:gd name="connsiteY86" fmla="*/ 5982309 h 6858000"/>
              <a:gd name="connsiteX87" fmla="*/ 7448321 w 7467600"/>
              <a:gd name="connsiteY87" fmla="*/ 6190991 h 6858000"/>
              <a:gd name="connsiteX88" fmla="*/ 7467600 w 7467600"/>
              <a:gd name="connsiteY88" fmla="*/ 6221686 h 6858000"/>
              <a:gd name="connsiteX89" fmla="*/ 7467600 w 7467600"/>
              <a:gd name="connsiteY89" fmla="*/ 6334256 h 6858000"/>
              <a:gd name="connsiteX90" fmla="*/ 7454976 w 7467600"/>
              <a:gd name="connsiteY90" fmla="*/ 6318297 h 6858000"/>
              <a:gd name="connsiteX91" fmla="*/ 7042773 w 7467600"/>
              <a:gd name="connsiteY91" fmla="*/ 5734011 h 6858000"/>
              <a:gd name="connsiteX92" fmla="*/ 1456157 w 7467600"/>
              <a:gd name="connsiteY92" fmla="*/ 5371404 h 6858000"/>
              <a:gd name="connsiteX93" fmla="*/ 1244432 w 7467600"/>
              <a:gd name="connsiteY93" fmla="*/ 5385601 h 6858000"/>
              <a:gd name="connsiteX94" fmla="*/ 973990 w 7467600"/>
              <a:gd name="connsiteY94" fmla="*/ 5424940 h 6858000"/>
              <a:gd name="connsiteX95" fmla="*/ 1103809 w 7467600"/>
              <a:gd name="connsiteY95" fmla="*/ 5433720 h 6858000"/>
              <a:gd name="connsiteX96" fmla="*/ 1123454 w 7467600"/>
              <a:gd name="connsiteY96" fmla="*/ 5435727 h 6858000"/>
              <a:gd name="connsiteX97" fmla="*/ 1737017 w 7467600"/>
              <a:gd name="connsiteY97" fmla="*/ 5452183 h 6858000"/>
              <a:gd name="connsiteX98" fmla="*/ 1824397 w 7467600"/>
              <a:gd name="connsiteY98" fmla="*/ 5447757 h 6858000"/>
              <a:gd name="connsiteX99" fmla="*/ 2070059 w 7467600"/>
              <a:gd name="connsiteY99" fmla="*/ 5441660 h 6858000"/>
              <a:gd name="connsiteX100" fmla="*/ 1456157 w 7467600"/>
              <a:gd name="connsiteY100" fmla="*/ 5371404 h 6858000"/>
              <a:gd name="connsiteX101" fmla="*/ 4988186 w 7467600"/>
              <a:gd name="connsiteY101" fmla="*/ 5216467 h 6858000"/>
              <a:gd name="connsiteX102" fmla="*/ 4777334 w 7467600"/>
              <a:gd name="connsiteY102" fmla="*/ 5406072 h 6858000"/>
              <a:gd name="connsiteX103" fmla="*/ 4718341 w 7467600"/>
              <a:gd name="connsiteY103" fmla="*/ 5468043 h 6858000"/>
              <a:gd name="connsiteX104" fmla="*/ 4604655 w 7467600"/>
              <a:gd name="connsiteY104" fmla="*/ 5583434 h 6858000"/>
              <a:gd name="connsiteX105" fmla="*/ 4565074 w 7467600"/>
              <a:gd name="connsiteY105" fmla="*/ 5618550 h 6858000"/>
              <a:gd name="connsiteX106" fmla="*/ 4988186 w 7467600"/>
              <a:gd name="connsiteY106" fmla="*/ 5216467 h 6858000"/>
              <a:gd name="connsiteX107" fmla="*/ 4978032 w 7467600"/>
              <a:gd name="connsiteY107" fmla="*/ 5183809 h 6858000"/>
              <a:gd name="connsiteX108" fmla="*/ 4463413 w 7467600"/>
              <a:gd name="connsiteY108" fmla="*/ 5615162 h 6858000"/>
              <a:gd name="connsiteX109" fmla="*/ 4358134 w 7467600"/>
              <a:gd name="connsiteY109" fmla="*/ 5742791 h 6858000"/>
              <a:gd name="connsiteX110" fmla="*/ 4376219 w 7467600"/>
              <a:gd name="connsiteY110" fmla="*/ 5729027 h 6858000"/>
              <a:gd name="connsiteX111" fmla="*/ 4582340 w 7467600"/>
              <a:gd name="connsiteY111" fmla="*/ 5561037 h 6858000"/>
              <a:gd name="connsiteX112" fmla="*/ 4694684 w 7467600"/>
              <a:gd name="connsiteY112" fmla="*/ 5447098 h 6858000"/>
              <a:gd name="connsiteX113" fmla="*/ 4754123 w 7467600"/>
              <a:gd name="connsiteY113" fmla="*/ 5384643 h 6858000"/>
              <a:gd name="connsiteX114" fmla="*/ 4978032 w 7467600"/>
              <a:gd name="connsiteY114" fmla="*/ 5183809 h 6858000"/>
              <a:gd name="connsiteX115" fmla="*/ 1903353 w 7467600"/>
              <a:gd name="connsiteY115" fmla="*/ 5044827 h 6858000"/>
              <a:gd name="connsiteX116" fmla="*/ 1936931 w 7467600"/>
              <a:gd name="connsiteY116" fmla="*/ 5093954 h 6858000"/>
              <a:gd name="connsiteX117" fmla="*/ 2195868 w 7467600"/>
              <a:gd name="connsiteY117" fmla="*/ 5396574 h 6858000"/>
              <a:gd name="connsiteX118" fmla="*/ 2088852 w 7467600"/>
              <a:gd name="connsiteY118" fmla="*/ 5166123 h 6858000"/>
              <a:gd name="connsiteX119" fmla="*/ 1958241 w 7467600"/>
              <a:gd name="connsiteY119" fmla="*/ 5067955 h 6858000"/>
              <a:gd name="connsiteX120" fmla="*/ 1903353 w 7467600"/>
              <a:gd name="connsiteY120" fmla="*/ 5044827 h 6858000"/>
              <a:gd name="connsiteX121" fmla="*/ 1979378 w 7467600"/>
              <a:gd name="connsiteY121" fmla="*/ 4769504 h 6858000"/>
              <a:gd name="connsiteX122" fmla="*/ 2882120 w 7467600"/>
              <a:gd name="connsiteY122" fmla="*/ 5064547 h 6858000"/>
              <a:gd name="connsiteX123" fmla="*/ 2793103 w 7467600"/>
              <a:gd name="connsiteY123" fmla="*/ 5039699 h 6858000"/>
              <a:gd name="connsiteX124" fmla="*/ 2770041 w 7467600"/>
              <a:gd name="connsiteY124" fmla="*/ 5033634 h 6858000"/>
              <a:gd name="connsiteX125" fmla="*/ 1979378 w 7467600"/>
              <a:gd name="connsiteY125" fmla="*/ 4769504 h 6858000"/>
              <a:gd name="connsiteX126" fmla="*/ 1927410 w 7467600"/>
              <a:gd name="connsiteY126" fmla="*/ 4716164 h 6858000"/>
              <a:gd name="connsiteX127" fmla="*/ 1959587 w 7467600"/>
              <a:gd name="connsiteY127" fmla="*/ 4728849 h 6858000"/>
              <a:gd name="connsiteX128" fmla="*/ 2777707 w 7467600"/>
              <a:gd name="connsiteY128" fmla="*/ 5003991 h 6858000"/>
              <a:gd name="connsiteX129" fmla="*/ 2800768 w 7467600"/>
              <a:gd name="connsiteY129" fmla="*/ 5010056 h 6858000"/>
              <a:gd name="connsiteX130" fmla="*/ 2879408 w 7467600"/>
              <a:gd name="connsiteY130" fmla="*/ 5031590 h 6858000"/>
              <a:gd name="connsiteX131" fmla="*/ 2862295 w 7467600"/>
              <a:gd name="connsiteY131" fmla="*/ 5022958 h 6858000"/>
              <a:gd name="connsiteX132" fmla="*/ 2813343 w 7467600"/>
              <a:gd name="connsiteY132" fmla="*/ 4998369 h 6858000"/>
              <a:gd name="connsiteX133" fmla="*/ 2646245 w 7467600"/>
              <a:gd name="connsiteY133" fmla="*/ 4930999 h 6858000"/>
              <a:gd name="connsiteX134" fmla="*/ 1999243 w 7467600"/>
              <a:gd name="connsiteY134" fmla="*/ 4730524 h 6858000"/>
              <a:gd name="connsiteX135" fmla="*/ 1979527 w 7467600"/>
              <a:gd name="connsiteY135" fmla="*/ 4726651 h 6858000"/>
              <a:gd name="connsiteX136" fmla="*/ 1927410 w 7467600"/>
              <a:gd name="connsiteY136" fmla="*/ 4716164 h 6858000"/>
              <a:gd name="connsiteX137" fmla="*/ 1997014 w 7467600"/>
              <a:gd name="connsiteY137" fmla="*/ 4698007 h 6858000"/>
              <a:gd name="connsiteX138" fmla="*/ 2005458 w 7467600"/>
              <a:gd name="connsiteY138" fmla="*/ 4699540 h 6858000"/>
              <a:gd name="connsiteX139" fmla="*/ 2657186 w 7467600"/>
              <a:gd name="connsiteY139" fmla="*/ 4901687 h 6858000"/>
              <a:gd name="connsiteX140" fmla="*/ 2826662 w 7467600"/>
              <a:gd name="connsiteY140" fmla="*/ 4970362 h 6858000"/>
              <a:gd name="connsiteX141" fmla="*/ 2876100 w 7467600"/>
              <a:gd name="connsiteY141" fmla="*/ 4995397 h 6858000"/>
              <a:gd name="connsiteX142" fmla="*/ 3042600 w 7467600"/>
              <a:gd name="connsiteY142" fmla="*/ 5059532 h 6858000"/>
              <a:gd name="connsiteX143" fmla="*/ 1997014 w 7467600"/>
              <a:gd name="connsiteY143" fmla="*/ 4698007 h 6858000"/>
              <a:gd name="connsiteX144" fmla="*/ 2305292 w 7467600"/>
              <a:gd name="connsiteY144" fmla="*/ 4219492 h 6858000"/>
              <a:gd name="connsiteX145" fmla="*/ 3360922 w 7467600"/>
              <a:gd name="connsiteY145" fmla="*/ 4529373 h 6858000"/>
              <a:gd name="connsiteX146" fmla="*/ 3492420 w 7467600"/>
              <a:gd name="connsiteY146" fmla="*/ 4510145 h 6858000"/>
              <a:gd name="connsiteX147" fmla="*/ 3364086 w 7467600"/>
              <a:gd name="connsiteY147" fmla="*/ 4480340 h 6858000"/>
              <a:gd name="connsiteX148" fmla="*/ 3225818 w 7467600"/>
              <a:gd name="connsiteY148" fmla="*/ 4411822 h 6858000"/>
              <a:gd name="connsiteX149" fmla="*/ 3129696 w 7467600"/>
              <a:gd name="connsiteY149" fmla="*/ 4360704 h 6858000"/>
              <a:gd name="connsiteX150" fmla="*/ 2814545 w 7467600"/>
              <a:gd name="connsiteY150" fmla="*/ 4282955 h 6858000"/>
              <a:gd name="connsiteX151" fmla="*/ 2305292 w 7467600"/>
              <a:gd name="connsiteY151" fmla="*/ 4219492 h 6858000"/>
              <a:gd name="connsiteX152" fmla="*/ 2626982 w 7467600"/>
              <a:gd name="connsiteY152" fmla="*/ 4206450 h 6858000"/>
              <a:gd name="connsiteX153" fmla="*/ 2490617 w 7467600"/>
              <a:gd name="connsiteY153" fmla="*/ 4206951 h 6858000"/>
              <a:gd name="connsiteX154" fmla="*/ 2819869 w 7467600"/>
              <a:gd name="connsiteY154" fmla="*/ 4252936 h 6858000"/>
              <a:gd name="connsiteX155" fmla="*/ 3143018 w 7467600"/>
              <a:gd name="connsiteY155" fmla="*/ 4332698 h 6858000"/>
              <a:gd name="connsiteX156" fmla="*/ 3241520 w 7467600"/>
              <a:gd name="connsiteY156" fmla="*/ 4385112 h 6858000"/>
              <a:gd name="connsiteX157" fmla="*/ 3374575 w 7467600"/>
              <a:gd name="connsiteY157" fmla="*/ 4451517 h 6858000"/>
              <a:gd name="connsiteX158" fmla="*/ 3505221 w 7467600"/>
              <a:gd name="connsiteY158" fmla="*/ 4480757 h 6858000"/>
              <a:gd name="connsiteX159" fmla="*/ 2626982 w 7467600"/>
              <a:gd name="connsiteY159" fmla="*/ 4206450 h 6858000"/>
              <a:gd name="connsiteX160" fmla="*/ 1310106 w 7467600"/>
              <a:gd name="connsiteY160" fmla="*/ 3943217 h 6858000"/>
              <a:gd name="connsiteX161" fmla="*/ 854994 w 7467600"/>
              <a:gd name="connsiteY161" fmla="*/ 4399136 h 6858000"/>
              <a:gd name="connsiteX162" fmla="*/ 742462 w 7467600"/>
              <a:gd name="connsiteY162" fmla="*/ 4594648 h 6858000"/>
              <a:gd name="connsiteX163" fmla="*/ 820602 w 7467600"/>
              <a:gd name="connsiteY163" fmla="*/ 4485915 h 6858000"/>
              <a:gd name="connsiteX164" fmla="*/ 878295 w 7467600"/>
              <a:gd name="connsiteY164" fmla="*/ 4403594 h 6858000"/>
              <a:gd name="connsiteX165" fmla="*/ 1240607 w 7467600"/>
              <a:gd name="connsiteY165" fmla="*/ 4010401 h 6858000"/>
              <a:gd name="connsiteX166" fmla="*/ 1310106 w 7467600"/>
              <a:gd name="connsiteY166" fmla="*/ 3943217 h 6858000"/>
              <a:gd name="connsiteX167" fmla="*/ 1423113 w 7467600"/>
              <a:gd name="connsiteY167" fmla="*/ 3874565 h 6858000"/>
              <a:gd name="connsiteX168" fmla="*/ 1260565 w 7467600"/>
              <a:gd name="connsiteY168" fmla="*/ 4031982 h 6858000"/>
              <a:gd name="connsiteX169" fmla="*/ 901900 w 7467600"/>
              <a:gd name="connsiteY169" fmla="*/ 4421236 h 6858000"/>
              <a:gd name="connsiteX170" fmla="*/ 845044 w 7467600"/>
              <a:gd name="connsiteY170" fmla="*/ 4502436 h 6858000"/>
              <a:gd name="connsiteX171" fmla="*/ 685926 w 7467600"/>
              <a:gd name="connsiteY171" fmla="*/ 4703069 h 6858000"/>
              <a:gd name="connsiteX172" fmla="*/ 684248 w 7467600"/>
              <a:gd name="connsiteY172" fmla="*/ 4706721 h 6858000"/>
              <a:gd name="connsiteX173" fmla="*/ 1423113 w 7467600"/>
              <a:gd name="connsiteY173" fmla="*/ 3874565 h 6858000"/>
              <a:gd name="connsiteX174" fmla="*/ 3316479 w 7467600"/>
              <a:gd name="connsiteY174" fmla="*/ 3872136 h 6858000"/>
              <a:gd name="connsiteX175" fmla="*/ 3546806 w 7467600"/>
              <a:gd name="connsiteY175" fmla="*/ 4356139 h 6858000"/>
              <a:gd name="connsiteX176" fmla="*/ 3364433 w 7467600"/>
              <a:gd name="connsiteY176" fmla="*/ 3953121 h 6858000"/>
              <a:gd name="connsiteX177" fmla="*/ 3316479 w 7467600"/>
              <a:gd name="connsiteY177" fmla="*/ 3872136 h 6858000"/>
              <a:gd name="connsiteX178" fmla="*/ 3291335 w 7467600"/>
              <a:gd name="connsiteY178" fmla="*/ 3767420 h 6858000"/>
              <a:gd name="connsiteX179" fmla="*/ 3390805 w 7467600"/>
              <a:gd name="connsiteY179" fmla="*/ 3937163 h 6858000"/>
              <a:gd name="connsiteX180" fmla="*/ 3579062 w 7467600"/>
              <a:gd name="connsiteY180" fmla="*/ 4359040 h 6858000"/>
              <a:gd name="connsiteX181" fmla="*/ 3467355 w 7467600"/>
              <a:gd name="connsiteY181" fmla="*/ 3988130 h 6858000"/>
              <a:gd name="connsiteX182" fmla="*/ 3310753 w 7467600"/>
              <a:gd name="connsiteY182" fmla="*/ 3787140 h 6858000"/>
              <a:gd name="connsiteX183" fmla="*/ 3291335 w 7467600"/>
              <a:gd name="connsiteY183" fmla="*/ 3767420 h 6858000"/>
              <a:gd name="connsiteX184" fmla="*/ 1635889 w 7467600"/>
              <a:gd name="connsiteY184" fmla="*/ 3709494 h 6858000"/>
              <a:gd name="connsiteX185" fmla="*/ 1634800 w 7467600"/>
              <a:gd name="connsiteY185" fmla="*/ 3731111 h 6858000"/>
              <a:gd name="connsiteX186" fmla="*/ 1635889 w 7467600"/>
              <a:gd name="connsiteY186" fmla="*/ 3709494 h 6858000"/>
              <a:gd name="connsiteX187" fmla="*/ 1510397 w 7467600"/>
              <a:gd name="connsiteY187" fmla="*/ 3684705 h 6858000"/>
              <a:gd name="connsiteX188" fmla="*/ 1146550 w 7467600"/>
              <a:gd name="connsiteY188" fmla="*/ 3802012 h 6858000"/>
              <a:gd name="connsiteX189" fmla="*/ 698834 w 7467600"/>
              <a:gd name="connsiteY189" fmla="*/ 3952272 h 6858000"/>
              <a:gd name="connsiteX190" fmla="*/ 34256 w 7467600"/>
              <a:gd name="connsiteY190" fmla="*/ 4347603 h 6858000"/>
              <a:gd name="connsiteX191" fmla="*/ 527241 w 7467600"/>
              <a:gd name="connsiteY191" fmla="*/ 4065078 h 6858000"/>
              <a:gd name="connsiteX192" fmla="*/ 1510397 w 7467600"/>
              <a:gd name="connsiteY192" fmla="*/ 3684705 h 6858000"/>
              <a:gd name="connsiteX193" fmla="*/ 1313114 w 7467600"/>
              <a:gd name="connsiteY193" fmla="*/ 3655216 h 6858000"/>
              <a:gd name="connsiteX194" fmla="*/ 1109304 w 7467600"/>
              <a:gd name="connsiteY194" fmla="*/ 3669030 h 6858000"/>
              <a:gd name="connsiteX195" fmla="*/ 8129 w 7467600"/>
              <a:gd name="connsiteY195" fmla="*/ 4330519 h 6858000"/>
              <a:gd name="connsiteX196" fmla="*/ 687572 w 7467600"/>
              <a:gd name="connsiteY196" fmla="*/ 3925629 h 6858000"/>
              <a:gd name="connsiteX197" fmla="*/ 1138365 w 7467600"/>
              <a:gd name="connsiteY197" fmla="*/ 3774515 h 6858000"/>
              <a:gd name="connsiteX198" fmla="*/ 1505579 w 7467600"/>
              <a:gd name="connsiteY198" fmla="*/ 3655526 h 6858000"/>
              <a:gd name="connsiteX199" fmla="*/ 1313114 w 7467600"/>
              <a:gd name="connsiteY199" fmla="*/ 3655216 h 6858000"/>
              <a:gd name="connsiteX200" fmla="*/ 3655073 w 7467600"/>
              <a:gd name="connsiteY200" fmla="*/ 3650884 h 6858000"/>
              <a:gd name="connsiteX201" fmla="*/ 3989938 w 7467600"/>
              <a:gd name="connsiteY201" fmla="*/ 3991685 h 6858000"/>
              <a:gd name="connsiteX202" fmla="*/ 4393907 w 7467600"/>
              <a:gd name="connsiteY202" fmla="*/ 4261258 h 6858000"/>
              <a:gd name="connsiteX203" fmla="*/ 4648051 w 7467600"/>
              <a:gd name="connsiteY203" fmla="*/ 4374051 h 6858000"/>
              <a:gd name="connsiteX204" fmla="*/ 4383389 w 7467600"/>
              <a:gd name="connsiteY204" fmla="*/ 4184369 h 6858000"/>
              <a:gd name="connsiteX205" fmla="*/ 4165508 w 7467600"/>
              <a:gd name="connsiteY205" fmla="*/ 4035196 h 6858000"/>
              <a:gd name="connsiteX206" fmla="*/ 4068162 w 7467600"/>
              <a:gd name="connsiteY206" fmla="*/ 3953394 h 6858000"/>
              <a:gd name="connsiteX207" fmla="*/ 3981416 w 7467600"/>
              <a:gd name="connsiteY207" fmla="*/ 3880482 h 6858000"/>
              <a:gd name="connsiteX208" fmla="*/ 3800147 w 7467600"/>
              <a:gd name="connsiteY208" fmla="*/ 3749872 h 6858000"/>
              <a:gd name="connsiteX209" fmla="*/ 3655073 w 7467600"/>
              <a:gd name="connsiteY209" fmla="*/ 3650884 h 6858000"/>
              <a:gd name="connsiteX210" fmla="*/ 3670252 w 7467600"/>
              <a:gd name="connsiteY210" fmla="*/ 3622798 h 6858000"/>
              <a:gd name="connsiteX211" fmla="*/ 3817258 w 7467600"/>
              <a:gd name="connsiteY211" fmla="*/ 3723577 h 6858000"/>
              <a:gd name="connsiteX212" fmla="*/ 4000461 w 7467600"/>
              <a:gd name="connsiteY212" fmla="*/ 3855966 h 6858000"/>
              <a:gd name="connsiteX213" fmla="*/ 4088180 w 7467600"/>
              <a:gd name="connsiteY213" fmla="*/ 3929774 h 6858000"/>
              <a:gd name="connsiteX214" fmla="*/ 4184555 w 7467600"/>
              <a:gd name="connsiteY214" fmla="*/ 4010683 h 6858000"/>
              <a:gd name="connsiteX215" fmla="*/ 4399563 w 7467600"/>
              <a:gd name="connsiteY215" fmla="*/ 4158106 h 6858000"/>
              <a:gd name="connsiteX216" fmla="*/ 4684469 w 7467600"/>
              <a:gd name="connsiteY216" fmla="*/ 4364680 h 6858000"/>
              <a:gd name="connsiteX217" fmla="*/ 4690271 w 7467600"/>
              <a:gd name="connsiteY217" fmla="*/ 4370034 h 6858000"/>
              <a:gd name="connsiteX218" fmla="*/ 4136093 w 7467600"/>
              <a:gd name="connsiteY218" fmla="*/ 3858466 h 6858000"/>
              <a:gd name="connsiteX219" fmla="*/ 3670252 w 7467600"/>
              <a:gd name="connsiteY219" fmla="*/ 3622798 h 6858000"/>
              <a:gd name="connsiteX220" fmla="*/ 4440129 w 7467600"/>
              <a:gd name="connsiteY220" fmla="*/ 3448571 h 6858000"/>
              <a:gd name="connsiteX221" fmla="*/ 4856525 w 7467600"/>
              <a:gd name="connsiteY221" fmla="*/ 3915351 h 6858000"/>
              <a:gd name="connsiteX222" fmla="*/ 5059055 w 7467600"/>
              <a:gd name="connsiteY222" fmla="*/ 4108918 h 6858000"/>
              <a:gd name="connsiteX223" fmla="*/ 5290070 w 7467600"/>
              <a:gd name="connsiteY223" fmla="*/ 4263619 h 6858000"/>
              <a:gd name="connsiteX224" fmla="*/ 4834991 w 7467600"/>
              <a:gd name="connsiteY224" fmla="*/ 3830985 h 6858000"/>
              <a:gd name="connsiteX225" fmla="*/ 4440129 w 7467600"/>
              <a:gd name="connsiteY225" fmla="*/ 3448571 h 6858000"/>
              <a:gd name="connsiteX226" fmla="*/ 4441737 w 7467600"/>
              <a:gd name="connsiteY226" fmla="*/ 3399734 h 6858000"/>
              <a:gd name="connsiteX227" fmla="*/ 4431236 w 7467600"/>
              <a:gd name="connsiteY227" fmla="*/ 3400954 h 6858000"/>
              <a:gd name="connsiteX228" fmla="*/ 4557150 w 7467600"/>
              <a:gd name="connsiteY228" fmla="*/ 3510023 h 6858000"/>
              <a:gd name="connsiteX229" fmla="*/ 4856936 w 7467600"/>
              <a:gd name="connsiteY229" fmla="*/ 3809146 h 6858000"/>
              <a:gd name="connsiteX230" fmla="*/ 5111996 w 7467600"/>
              <a:gd name="connsiteY230" fmla="*/ 4065759 h 6858000"/>
              <a:gd name="connsiteX231" fmla="*/ 5388878 w 7467600"/>
              <a:gd name="connsiteY231" fmla="*/ 4300185 h 6858000"/>
              <a:gd name="connsiteX232" fmla="*/ 5425556 w 7467600"/>
              <a:gd name="connsiteY232" fmla="*/ 4308967 h 6858000"/>
              <a:gd name="connsiteX233" fmla="*/ 4943646 w 7467600"/>
              <a:gd name="connsiteY233" fmla="*/ 3822916 h 6858000"/>
              <a:gd name="connsiteX234" fmla="*/ 4594837 w 7467600"/>
              <a:gd name="connsiteY234" fmla="*/ 3532274 h 6858000"/>
              <a:gd name="connsiteX235" fmla="*/ 4441737 w 7467600"/>
              <a:gd name="connsiteY235" fmla="*/ 3399734 h 6858000"/>
              <a:gd name="connsiteX236" fmla="*/ 5425834 w 7467600"/>
              <a:gd name="connsiteY236" fmla="*/ 3162785 h 6858000"/>
              <a:gd name="connsiteX237" fmla="*/ 5401644 w 7467600"/>
              <a:gd name="connsiteY237" fmla="*/ 3617847 h 6858000"/>
              <a:gd name="connsiteX238" fmla="*/ 5467256 w 7467600"/>
              <a:gd name="connsiteY238" fmla="*/ 4175494 h 6858000"/>
              <a:gd name="connsiteX239" fmla="*/ 5448069 w 7467600"/>
              <a:gd name="connsiteY239" fmla="*/ 3567554 h 6858000"/>
              <a:gd name="connsiteX240" fmla="*/ 5425834 w 7467600"/>
              <a:gd name="connsiteY240" fmla="*/ 3162785 h 6858000"/>
              <a:gd name="connsiteX241" fmla="*/ 1318687 w 7467600"/>
              <a:gd name="connsiteY241" fmla="*/ 3113840 h 6858000"/>
              <a:gd name="connsiteX242" fmla="*/ 1066793 w 7467600"/>
              <a:gd name="connsiteY242" fmla="*/ 3212171 h 6858000"/>
              <a:gd name="connsiteX243" fmla="*/ 993319 w 7467600"/>
              <a:gd name="connsiteY243" fmla="*/ 3247648 h 6858000"/>
              <a:gd name="connsiteX244" fmla="*/ 853081 w 7467600"/>
              <a:gd name="connsiteY244" fmla="*/ 3312410 h 6858000"/>
              <a:gd name="connsiteX245" fmla="*/ 805957 w 7467600"/>
              <a:gd name="connsiteY245" fmla="*/ 3330443 h 6858000"/>
              <a:gd name="connsiteX246" fmla="*/ 1318687 w 7467600"/>
              <a:gd name="connsiteY246" fmla="*/ 3113840 h 6858000"/>
              <a:gd name="connsiteX247" fmla="*/ 5453702 w 7467600"/>
              <a:gd name="connsiteY247" fmla="*/ 3090882 h 6858000"/>
              <a:gd name="connsiteX248" fmla="*/ 5480135 w 7467600"/>
              <a:gd name="connsiteY248" fmla="*/ 3565802 h 6858000"/>
              <a:gd name="connsiteX249" fmla="*/ 5499023 w 7467600"/>
              <a:gd name="connsiteY249" fmla="*/ 4166310 h 6858000"/>
              <a:gd name="connsiteX250" fmla="*/ 5547022 w 7467600"/>
              <a:gd name="connsiteY250" fmla="*/ 3607838 h 6858000"/>
              <a:gd name="connsiteX251" fmla="*/ 5515964 w 7467600"/>
              <a:gd name="connsiteY251" fmla="*/ 3378541 h 6858000"/>
              <a:gd name="connsiteX252" fmla="*/ 5453702 w 7467600"/>
              <a:gd name="connsiteY252" fmla="*/ 3090882 h 6858000"/>
              <a:gd name="connsiteX253" fmla="*/ 1238695 w 7467600"/>
              <a:gd name="connsiteY253" fmla="*/ 3076820 h 6858000"/>
              <a:gd name="connsiteX254" fmla="*/ 716371 w 7467600"/>
              <a:gd name="connsiteY254" fmla="*/ 3293249 h 6858000"/>
              <a:gd name="connsiteX255" fmla="*/ 579522 w 7467600"/>
              <a:gd name="connsiteY255" fmla="*/ 3371759 h 6858000"/>
              <a:gd name="connsiteX256" fmla="*/ 600288 w 7467600"/>
              <a:gd name="connsiteY256" fmla="*/ 3365555 h 6858000"/>
              <a:gd name="connsiteX257" fmla="*/ 840692 w 7467600"/>
              <a:gd name="connsiteY257" fmla="*/ 3284921 h 6858000"/>
              <a:gd name="connsiteX258" fmla="*/ 979248 w 7467600"/>
              <a:gd name="connsiteY258" fmla="*/ 3221003 h 6858000"/>
              <a:gd name="connsiteX259" fmla="*/ 1053282 w 7467600"/>
              <a:gd name="connsiteY259" fmla="*/ 3185247 h 6858000"/>
              <a:gd name="connsiteX260" fmla="*/ 1320603 w 7467600"/>
              <a:gd name="connsiteY260" fmla="*/ 3081281 h 6858000"/>
              <a:gd name="connsiteX261" fmla="*/ 1238695 w 7467600"/>
              <a:gd name="connsiteY261" fmla="*/ 3076820 h 6858000"/>
              <a:gd name="connsiteX262" fmla="*/ 5425627 w 7467600"/>
              <a:gd name="connsiteY262" fmla="*/ 2954192 h 6858000"/>
              <a:gd name="connsiteX263" fmla="*/ 5470770 w 7467600"/>
              <a:gd name="connsiteY263" fmla="*/ 3005435 h 6858000"/>
              <a:gd name="connsiteX264" fmla="*/ 5519779 w 7467600"/>
              <a:gd name="connsiteY264" fmla="*/ 4359223 h 6858000"/>
              <a:gd name="connsiteX265" fmla="*/ 5520293 w 7467600"/>
              <a:gd name="connsiteY265" fmla="*/ 4360602 h 6858000"/>
              <a:gd name="connsiteX266" fmla="*/ 5767221 w 7467600"/>
              <a:gd name="connsiteY266" fmla="*/ 4665564 h 6858000"/>
              <a:gd name="connsiteX267" fmla="*/ 6937169 w 7467600"/>
              <a:gd name="connsiteY267" fmla="*/ 4815941 h 6858000"/>
              <a:gd name="connsiteX268" fmla="*/ 6953922 w 7467600"/>
              <a:gd name="connsiteY268" fmla="*/ 4890068 h 6858000"/>
              <a:gd name="connsiteX269" fmla="*/ 6071359 w 7467600"/>
              <a:gd name="connsiteY269" fmla="*/ 4770770 h 6858000"/>
              <a:gd name="connsiteX270" fmla="*/ 6038839 w 7467600"/>
              <a:gd name="connsiteY270" fmla="*/ 4764474 h 6858000"/>
              <a:gd name="connsiteX271" fmla="*/ 6038706 w 7467600"/>
              <a:gd name="connsiteY271" fmla="*/ 4763847 h 6858000"/>
              <a:gd name="connsiteX272" fmla="*/ 6037784 w 7467600"/>
              <a:gd name="connsiteY272" fmla="*/ 4764270 h 6858000"/>
              <a:gd name="connsiteX273" fmla="*/ 6038839 w 7467600"/>
              <a:gd name="connsiteY273" fmla="*/ 4764474 h 6858000"/>
              <a:gd name="connsiteX274" fmla="*/ 6040338 w 7467600"/>
              <a:gd name="connsiteY274" fmla="*/ 4771418 h 6858000"/>
              <a:gd name="connsiteX275" fmla="*/ 6024488 w 7467600"/>
              <a:gd name="connsiteY275" fmla="*/ 4809903 h 6858000"/>
              <a:gd name="connsiteX276" fmla="*/ 5599771 w 7467600"/>
              <a:gd name="connsiteY276" fmla="*/ 5509652 h 6858000"/>
              <a:gd name="connsiteX277" fmla="*/ 5548843 w 7467600"/>
              <a:gd name="connsiteY277" fmla="*/ 5563845 h 6858000"/>
              <a:gd name="connsiteX278" fmla="*/ 5940952 w 7467600"/>
              <a:gd name="connsiteY278" fmla="*/ 6250028 h 6858000"/>
              <a:gd name="connsiteX279" fmla="*/ 6043441 w 7467600"/>
              <a:gd name="connsiteY279" fmla="*/ 6665847 h 6858000"/>
              <a:gd name="connsiteX280" fmla="*/ 6093432 w 7467600"/>
              <a:gd name="connsiteY280" fmla="*/ 6858000 h 6858000"/>
              <a:gd name="connsiteX281" fmla="*/ 6034344 w 7467600"/>
              <a:gd name="connsiteY281" fmla="*/ 6858000 h 6858000"/>
              <a:gd name="connsiteX282" fmla="*/ 6026679 w 7467600"/>
              <a:gd name="connsiteY282" fmla="*/ 6836959 h 6858000"/>
              <a:gd name="connsiteX283" fmla="*/ 5800441 w 7467600"/>
              <a:gd name="connsiteY283" fmla="*/ 6335286 h 6858000"/>
              <a:gd name="connsiteX284" fmla="*/ 5526562 w 7467600"/>
              <a:gd name="connsiteY284" fmla="*/ 5705388 h 6858000"/>
              <a:gd name="connsiteX285" fmla="*/ 5519640 w 7467600"/>
              <a:gd name="connsiteY285" fmla="*/ 5683774 h 6858000"/>
              <a:gd name="connsiteX286" fmla="*/ 5844559 w 7467600"/>
              <a:gd name="connsiteY286" fmla="*/ 6553349 h 6858000"/>
              <a:gd name="connsiteX287" fmla="*/ 5975994 w 7467600"/>
              <a:gd name="connsiteY287" fmla="*/ 6858000 h 6858000"/>
              <a:gd name="connsiteX288" fmla="*/ 5898547 w 7467600"/>
              <a:gd name="connsiteY288" fmla="*/ 6858000 h 6858000"/>
              <a:gd name="connsiteX289" fmla="*/ 5682041 w 7467600"/>
              <a:gd name="connsiteY289" fmla="*/ 6355860 h 6858000"/>
              <a:gd name="connsiteX290" fmla="*/ 5461758 w 7467600"/>
              <a:gd name="connsiteY290" fmla="*/ 5820220 h 6858000"/>
              <a:gd name="connsiteX291" fmla="*/ 5237282 w 7467600"/>
              <a:gd name="connsiteY291" fmla="*/ 6579086 h 6858000"/>
              <a:gd name="connsiteX292" fmla="*/ 5115009 w 7467600"/>
              <a:gd name="connsiteY292" fmla="*/ 6858000 h 6858000"/>
              <a:gd name="connsiteX293" fmla="*/ 5028074 w 7467600"/>
              <a:gd name="connsiteY293" fmla="*/ 6858000 h 6858000"/>
              <a:gd name="connsiteX294" fmla="*/ 5079508 w 7467600"/>
              <a:gd name="connsiteY294" fmla="*/ 6749074 h 6858000"/>
              <a:gd name="connsiteX295" fmla="*/ 5371846 w 7467600"/>
              <a:gd name="connsiteY295" fmla="*/ 5924413 h 6858000"/>
              <a:gd name="connsiteX296" fmla="*/ 5270512 w 7467600"/>
              <a:gd name="connsiteY296" fmla="*/ 6138975 h 6858000"/>
              <a:gd name="connsiteX297" fmla="*/ 5062409 w 7467600"/>
              <a:gd name="connsiteY297" fmla="*/ 6653544 h 6858000"/>
              <a:gd name="connsiteX298" fmla="*/ 5036628 w 7467600"/>
              <a:gd name="connsiteY298" fmla="*/ 6754247 h 6858000"/>
              <a:gd name="connsiteX299" fmla="*/ 5009112 w 7467600"/>
              <a:gd name="connsiteY299" fmla="*/ 6858000 h 6858000"/>
              <a:gd name="connsiteX300" fmla="*/ 4976679 w 7467600"/>
              <a:gd name="connsiteY300" fmla="*/ 6858000 h 6858000"/>
              <a:gd name="connsiteX301" fmla="*/ 5006537 w 7467600"/>
              <a:gd name="connsiteY301" fmla="*/ 6747068 h 6858000"/>
              <a:gd name="connsiteX302" fmla="*/ 5032723 w 7467600"/>
              <a:gd name="connsiteY302" fmla="*/ 6644957 h 6858000"/>
              <a:gd name="connsiteX303" fmla="*/ 5242949 w 7467600"/>
              <a:gd name="connsiteY303" fmla="*/ 6125175 h 6858000"/>
              <a:gd name="connsiteX304" fmla="*/ 5286321 w 7467600"/>
              <a:gd name="connsiteY304" fmla="*/ 6033555 h 6858000"/>
              <a:gd name="connsiteX305" fmla="*/ 5008210 w 7467600"/>
              <a:gd name="connsiteY305" fmla="*/ 6649194 h 6858000"/>
              <a:gd name="connsiteX306" fmla="*/ 4986321 w 7467600"/>
              <a:gd name="connsiteY306" fmla="*/ 6765687 h 6858000"/>
              <a:gd name="connsiteX307" fmla="*/ 4973474 w 7467600"/>
              <a:gd name="connsiteY307" fmla="*/ 6858000 h 6858000"/>
              <a:gd name="connsiteX308" fmla="*/ 4907178 w 7467600"/>
              <a:gd name="connsiteY308" fmla="*/ 6858000 h 6858000"/>
              <a:gd name="connsiteX309" fmla="*/ 4910810 w 7467600"/>
              <a:gd name="connsiteY309" fmla="*/ 6829660 h 6858000"/>
              <a:gd name="connsiteX310" fmla="*/ 4987461 w 7467600"/>
              <a:gd name="connsiteY310" fmla="*/ 6432994 h 6858000"/>
              <a:gd name="connsiteX311" fmla="*/ 5179262 w 7467600"/>
              <a:gd name="connsiteY311" fmla="*/ 6035044 h 6858000"/>
              <a:gd name="connsiteX312" fmla="*/ 4689678 w 7467600"/>
              <a:gd name="connsiteY312" fmla="*/ 6440241 h 6858000"/>
              <a:gd name="connsiteX313" fmla="*/ 4477543 w 7467600"/>
              <a:gd name="connsiteY313" fmla="*/ 6674836 h 6858000"/>
              <a:gd name="connsiteX314" fmla="*/ 4329957 w 7467600"/>
              <a:gd name="connsiteY314" fmla="*/ 6858000 h 6858000"/>
              <a:gd name="connsiteX315" fmla="*/ 4218595 w 7467600"/>
              <a:gd name="connsiteY315" fmla="*/ 6858000 h 6858000"/>
              <a:gd name="connsiteX316" fmla="*/ 4368888 w 7467600"/>
              <a:gd name="connsiteY316" fmla="*/ 6668412 h 6858000"/>
              <a:gd name="connsiteX317" fmla="*/ 4563091 w 7467600"/>
              <a:gd name="connsiteY317" fmla="*/ 6442508 h 6858000"/>
              <a:gd name="connsiteX318" fmla="*/ 5387324 w 7467600"/>
              <a:gd name="connsiteY318" fmla="*/ 5705830 h 6858000"/>
              <a:gd name="connsiteX319" fmla="*/ 5073620 w 7467600"/>
              <a:gd name="connsiteY319" fmla="*/ 5955437 h 6858000"/>
              <a:gd name="connsiteX320" fmla="*/ 4689789 w 7467600"/>
              <a:gd name="connsiteY320" fmla="*/ 6268382 h 6858000"/>
              <a:gd name="connsiteX321" fmla="*/ 4418722 w 7467600"/>
              <a:gd name="connsiteY321" fmla="*/ 6570886 h 6858000"/>
              <a:gd name="connsiteX322" fmla="*/ 4214944 w 7467600"/>
              <a:gd name="connsiteY322" fmla="*/ 6858000 h 6858000"/>
              <a:gd name="connsiteX323" fmla="*/ 4177898 w 7467600"/>
              <a:gd name="connsiteY323" fmla="*/ 6858000 h 6858000"/>
              <a:gd name="connsiteX324" fmla="*/ 4391597 w 7467600"/>
              <a:gd name="connsiteY324" fmla="*/ 6556370 h 6858000"/>
              <a:gd name="connsiteX325" fmla="*/ 4668889 w 7467600"/>
              <a:gd name="connsiteY325" fmla="*/ 6246399 h 6858000"/>
              <a:gd name="connsiteX326" fmla="*/ 5055427 w 7467600"/>
              <a:gd name="connsiteY326" fmla="*/ 5931476 h 6858000"/>
              <a:gd name="connsiteX327" fmla="*/ 5371814 w 7467600"/>
              <a:gd name="connsiteY327" fmla="*/ 5678975 h 6858000"/>
              <a:gd name="connsiteX328" fmla="*/ 4987918 w 7467600"/>
              <a:gd name="connsiteY328" fmla="*/ 5838701 h 6858000"/>
              <a:gd name="connsiteX329" fmla="*/ 4317146 w 7467600"/>
              <a:gd name="connsiteY329" fmla="*/ 6587716 h 6858000"/>
              <a:gd name="connsiteX330" fmla="*/ 4171627 w 7467600"/>
              <a:gd name="connsiteY330" fmla="*/ 6858000 h 6858000"/>
              <a:gd name="connsiteX331" fmla="*/ 4081585 w 7467600"/>
              <a:gd name="connsiteY331" fmla="*/ 6858000 h 6858000"/>
              <a:gd name="connsiteX332" fmla="*/ 4238603 w 7467600"/>
              <a:gd name="connsiteY332" fmla="*/ 6559341 h 6858000"/>
              <a:gd name="connsiteX333" fmla="*/ 4778333 w 7467600"/>
              <a:gd name="connsiteY333" fmla="*/ 5873626 h 6858000"/>
              <a:gd name="connsiteX334" fmla="*/ 5414185 w 7467600"/>
              <a:gd name="connsiteY334" fmla="*/ 5573882 h 6858000"/>
              <a:gd name="connsiteX335" fmla="*/ 5959648 w 7467600"/>
              <a:gd name="connsiteY335" fmla="*/ 4760797 h 6858000"/>
              <a:gd name="connsiteX336" fmla="*/ 5355019 w 7467600"/>
              <a:gd name="connsiteY336" fmla="*/ 4734672 h 6858000"/>
              <a:gd name="connsiteX337" fmla="*/ 5083565 w 7467600"/>
              <a:gd name="connsiteY337" fmla="*/ 5179121 h 6858000"/>
              <a:gd name="connsiteX338" fmla="*/ 4713577 w 7467600"/>
              <a:gd name="connsiteY338" fmla="*/ 5616803 h 6858000"/>
              <a:gd name="connsiteX339" fmla="*/ 3989559 w 7467600"/>
              <a:gd name="connsiteY339" fmla="*/ 6145945 h 6858000"/>
              <a:gd name="connsiteX340" fmla="*/ 3939824 w 7467600"/>
              <a:gd name="connsiteY340" fmla="*/ 6066900 h 6858000"/>
              <a:gd name="connsiteX341" fmla="*/ 4584537 w 7467600"/>
              <a:gd name="connsiteY341" fmla="*/ 5324826 h 6858000"/>
              <a:gd name="connsiteX342" fmla="*/ 5037105 w 7467600"/>
              <a:gd name="connsiteY342" fmla="*/ 5088765 h 6858000"/>
              <a:gd name="connsiteX343" fmla="*/ 5039930 w 7467600"/>
              <a:gd name="connsiteY343" fmla="*/ 5089585 h 6858000"/>
              <a:gd name="connsiteX344" fmla="*/ 5263764 w 7467600"/>
              <a:gd name="connsiteY344" fmla="*/ 4735525 h 6858000"/>
              <a:gd name="connsiteX345" fmla="*/ 4086300 w 7467600"/>
              <a:gd name="connsiteY345" fmla="*/ 4884599 h 6858000"/>
              <a:gd name="connsiteX346" fmla="*/ 4085485 w 7467600"/>
              <a:gd name="connsiteY346" fmla="*/ 4899070 h 6858000"/>
              <a:gd name="connsiteX347" fmla="*/ 3871915 w 7467600"/>
              <a:gd name="connsiteY347" fmla="*/ 5253645 h 6858000"/>
              <a:gd name="connsiteX348" fmla="*/ 3799374 w 7467600"/>
              <a:gd name="connsiteY348" fmla="*/ 5466127 h 6858000"/>
              <a:gd name="connsiteX349" fmla="*/ 3498850 w 7467600"/>
              <a:gd name="connsiteY349" fmla="*/ 6661888 h 6858000"/>
              <a:gd name="connsiteX350" fmla="*/ 3399216 w 7467600"/>
              <a:gd name="connsiteY350" fmla="*/ 6858000 h 6858000"/>
              <a:gd name="connsiteX351" fmla="*/ 3303688 w 7467600"/>
              <a:gd name="connsiteY351" fmla="*/ 6858000 h 6858000"/>
              <a:gd name="connsiteX352" fmla="*/ 3391774 w 7467600"/>
              <a:gd name="connsiteY352" fmla="*/ 6697181 h 6858000"/>
              <a:gd name="connsiteX353" fmla="*/ 3735540 w 7467600"/>
              <a:gd name="connsiteY353" fmla="*/ 5546923 h 6858000"/>
              <a:gd name="connsiteX354" fmla="*/ 3729438 w 7467600"/>
              <a:gd name="connsiteY354" fmla="*/ 5569058 h 6858000"/>
              <a:gd name="connsiteX355" fmla="*/ 3707782 w 7467600"/>
              <a:gd name="connsiteY355" fmla="*/ 5644908 h 6858000"/>
              <a:gd name="connsiteX356" fmla="*/ 3583827 w 7467600"/>
              <a:gd name="connsiteY356" fmla="*/ 6039215 h 6858000"/>
              <a:gd name="connsiteX357" fmla="*/ 3547861 w 7467600"/>
              <a:gd name="connsiteY357" fmla="*/ 6129609 h 6858000"/>
              <a:gd name="connsiteX358" fmla="*/ 3490905 w 7467600"/>
              <a:gd name="connsiteY358" fmla="*/ 6277660 h 6858000"/>
              <a:gd name="connsiteX359" fmla="*/ 3455859 w 7467600"/>
              <a:gd name="connsiteY359" fmla="*/ 6391301 h 6858000"/>
              <a:gd name="connsiteX360" fmla="*/ 3429112 w 7467600"/>
              <a:gd name="connsiteY360" fmla="*/ 6479469 h 6858000"/>
              <a:gd name="connsiteX361" fmla="*/ 3304862 w 7467600"/>
              <a:gd name="connsiteY361" fmla="*/ 6796476 h 6858000"/>
              <a:gd name="connsiteX362" fmla="*/ 3276071 w 7467600"/>
              <a:gd name="connsiteY362" fmla="*/ 6858000 h 6858000"/>
              <a:gd name="connsiteX363" fmla="*/ 3240805 w 7467600"/>
              <a:gd name="connsiteY363" fmla="*/ 6858000 h 6858000"/>
              <a:gd name="connsiteX364" fmla="*/ 3275917 w 7467600"/>
              <a:gd name="connsiteY364" fmla="*/ 6783192 h 6858000"/>
              <a:gd name="connsiteX365" fmla="*/ 3399358 w 7467600"/>
              <a:gd name="connsiteY365" fmla="*/ 6469011 h 6858000"/>
              <a:gd name="connsiteX366" fmla="*/ 3425650 w 7467600"/>
              <a:gd name="connsiteY366" fmla="*/ 6381333 h 6858000"/>
              <a:gd name="connsiteX367" fmla="*/ 3460661 w 7467600"/>
              <a:gd name="connsiteY367" fmla="*/ 6266763 h 6858000"/>
              <a:gd name="connsiteX368" fmla="*/ 3518021 w 7467600"/>
              <a:gd name="connsiteY368" fmla="*/ 6117298 h 6858000"/>
              <a:gd name="connsiteX369" fmla="*/ 3554035 w 7467600"/>
              <a:gd name="connsiteY369" fmla="*/ 6027832 h 6858000"/>
              <a:gd name="connsiteX370" fmla="*/ 3677174 w 7467600"/>
              <a:gd name="connsiteY370" fmla="*/ 5636351 h 6858000"/>
              <a:gd name="connsiteX371" fmla="*/ 3698819 w 7467600"/>
              <a:gd name="connsiteY371" fmla="*/ 5560503 h 6858000"/>
              <a:gd name="connsiteX372" fmla="*/ 3702094 w 7467600"/>
              <a:gd name="connsiteY372" fmla="*/ 5549194 h 6858000"/>
              <a:gd name="connsiteX373" fmla="*/ 3398355 w 7467600"/>
              <a:gd name="connsiteY373" fmla="*/ 6094603 h 6858000"/>
              <a:gd name="connsiteX374" fmla="*/ 3193941 w 7467600"/>
              <a:gd name="connsiteY374" fmla="*/ 6798775 h 6858000"/>
              <a:gd name="connsiteX375" fmla="*/ 3184140 w 7467600"/>
              <a:gd name="connsiteY375" fmla="*/ 6858000 h 6858000"/>
              <a:gd name="connsiteX376" fmla="*/ 3099978 w 7467600"/>
              <a:gd name="connsiteY376" fmla="*/ 6858000 h 6858000"/>
              <a:gd name="connsiteX377" fmla="*/ 3101556 w 7467600"/>
              <a:gd name="connsiteY377" fmla="*/ 6843337 h 6858000"/>
              <a:gd name="connsiteX378" fmla="*/ 3370162 w 7467600"/>
              <a:gd name="connsiteY378" fmla="*/ 5785550 h 6858000"/>
              <a:gd name="connsiteX379" fmla="*/ 3746477 w 7467600"/>
              <a:gd name="connsiteY379" fmla="*/ 5377889 h 6858000"/>
              <a:gd name="connsiteX380" fmla="*/ 3863399 w 7467600"/>
              <a:gd name="connsiteY380" fmla="*/ 5087257 h 6858000"/>
              <a:gd name="connsiteX381" fmla="*/ 3968712 w 7467600"/>
              <a:gd name="connsiteY381" fmla="*/ 4913989 h 6858000"/>
              <a:gd name="connsiteX382" fmla="*/ 2792390 w 7467600"/>
              <a:gd name="connsiteY382" fmla="*/ 5382974 h 6858000"/>
              <a:gd name="connsiteX383" fmla="*/ 2714982 w 7467600"/>
              <a:gd name="connsiteY383" fmla="*/ 5427051 h 6858000"/>
              <a:gd name="connsiteX384" fmla="*/ 2813361 w 7467600"/>
              <a:gd name="connsiteY384" fmla="*/ 6023912 h 6858000"/>
              <a:gd name="connsiteX385" fmla="*/ 2688430 w 7467600"/>
              <a:gd name="connsiteY385" fmla="*/ 6801564 h 6858000"/>
              <a:gd name="connsiteX386" fmla="*/ 2629626 w 7467600"/>
              <a:gd name="connsiteY386" fmla="*/ 6763394 h 6858000"/>
              <a:gd name="connsiteX387" fmla="*/ 2565328 w 7467600"/>
              <a:gd name="connsiteY387" fmla="*/ 5516399 h 6858000"/>
              <a:gd name="connsiteX388" fmla="*/ 1922999 w 7467600"/>
              <a:gd name="connsiteY388" fmla="*/ 5980343 h 6858000"/>
              <a:gd name="connsiteX389" fmla="*/ 1950261 w 7467600"/>
              <a:gd name="connsiteY389" fmla="*/ 6405858 h 6858000"/>
              <a:gd name="connsiteX390" fmla="*/ 2365554 w 7467600"/>
              <a:gd name="connsiteY390" fmla="*/ 6759107 h 6858000"/>
              <a:gd name="connsiteX391" fmla="*/ 2424142 w 7467600"/>
              <a:gd name="connsiteY391" fmla="*/ 6858000 h 6858000"/>
              <a:gd name="connsiteX392" fmla="*/ 2395994 w 7467600"/>
              <a:gd name="connsiteY392" fmla="*/ 6858000 h 6858000"/>
              <a:gd name="connsiteX393" fmla="*/ 2392863 w 7467600"/>
              <a:gd name="connsiteY393" fmla="*/ 6852964 h 6858000"/>
              <a:gd name="connsiteX394" fmla="*/ 2017589 w 7467600"/>
              <a:gd name="connsiteY394" fmla="*/ 6493982 h 6858000"/>
              <a:gd name="connsiteX395" fmla="*/ 2147336 w 7467600"/>
              <a:gd name="connsiteY395" fmla="*/ 6594052 h 6858000"/>
              <a:gd name="connsiteX396" fmla="*/ 2207047 w 7467600"/>
              <a:gd name="connsiteY396" fmla="*/ 6654540 h 6858000"/>
              <a:gd name="connsiteX397" fmla="*/ 2299106 w 7467600"/>
              <a:gd name="connsiteY397" fmla="*/ 6778931 h 6858000"/>
              <a:gd name="connsiteX398" fmla="*/ 2314430 w 7467600"/>
              <a:gd name="connsiteY398" fmla="*/ 6801144 h 6858000"/>
              <a:gd name="connsiteX399" fmla="*/ 2352406 w 7467600"/>
              <a:gd name="connsiteY399" fmla="*/ 6858000 h 6858000"/>
              <a:gd name="connsiteX400" fmla="*/ 2314492 w 7467600"/>
              <a:gd name="connsiteY400" fmla="*/ 6858000 h 6858000"/>
              <a:gd name="connsiteX401" fmla="*/ 2288095 w 7467600"/>
              <a:gd name="connsiteY401" fmla="*/ 6818030 h 6858000"/>
              <a:gd name="connsiteX402" fmla="*/ 2272768 w 7467600"/>
              <a:gd name="connsiteY402" fmla="*/ 6795822 h 6858000"/>
              <a:gd name="connsiteX403" fmla="*/ 2182715 w 7467600"/>
              <a:gd name="connsiteY403" fmla="*/ 6675071 h 6858000"/>
              <a:gd name="connsiteX404" fmla="*/ 2032061 w 7467600"/>
              <a:gd name="connsiteY404" fmla="*/ 6541380 h 6858000"/>
              <a:gd name="connsiteX405" fmla="*/ 2257220 w 7467600"/>
              <a:gd name="connsiteY405" fmla="*/ 6826257 h 6858000"/>
              <a:gd name="connsiteX406" fmla="*/ 2281324 w 7467600"/>
              <a:gd name="connsiteY406" fmla="*/ 6858000 h 6858000"/>
              <a:gd name="connsiteX407" fmla="*/ 2242860 w 7467600"/>
              <a:gd name="connsiteY407" fmla="*/ 6858000 h 6858000"/>
              <a:gd name="connsiteX408" fmla="*/ 2232818 w 7467600"/>
              <a:gd name="connsiteY408" fmla="*/ 6844926 h 6858000"/>
              <a:gd name="connsiteX409" fmla="*/ 1990172 w 7467600"/>
              <a:gd name="connsiteY409" fmla="*/ 6542121 h 6858000"/>
              <a:gd name="connsiteX410" fmla="*/ 2124090 w 7467600"/>
              <a:gd name="connsiteY410" fmla="*/ 6761017 h 6858000"/>
              <a:gd name="connsiteX411" fmla="*/ 2200380 w 7467600"/>
              <a:gd name="connsiteY411" fmla="*/ 6858000 h 6858000"/>
              <a:gd name="connsiteX412" fmla="*/ 2147507 w 7467600"/>
              <a:gd name="connsiteY412" fmla="*/ 6858000 h 6858000"/>
              <a:gd name="connsiteX413" fmla="*/ 2070668 w 7467600"/>
              <a:gd name="connsiteY413" fmla="*/ 6761520 h 6858000"/>
              <a:gd name="connsiteX414" fmla="*/ 1975142 w 7467600"/>
              <a:gd name="connsiteY414" fmla="*/ 6585570 h 6858000"/>
              <a:gd name="connsiteX415" fmla="*/ 2050035 w 7467600"/>
              <a:gd name="connsiteY415" fmla="*/ 6813345 h 6858000"/>
              <a:gd name="connsiteX416" fmla="*/ 2063025 w 7467600"/>
              <a:gd name="connsiteY416" fmla="*/ 6858000 h 6858000"/>
              <a:gd name="connsiteX417" fmla="*/ 2021675 w 7467600"/>
              <a:gd name="connsiteY417" fmla="*/ 6858000 h 6858000"/>
              <a:gd name="connsiteX418" fmla="*/ 2019308 w 7467600"/>
              <a:gd name="connsiteY418" fmla="*/ 6847118 h 6858000"/>
              <a:gd name="connsiteX419" fmla="*/ 1938835 w 7467600"/>
              <a:gd name="connsiteY419" fmla="*/ 6551160 h 6858000"/>
              <a:gd name="connsiteX420" fmla="*/ 1953230 w 7467600"/>
              <a:gd name="connsiteY420" fmla="*/ 6759699 h 6858000"/>
              <a:gd name="connsiteX421" fmla="*/ 1956763 w 7467600"/>
              <a:gd name="connsiteY421" fmla="*/ 6778191 h 6858000"/>
              <a:gd name="connsiteX422" fmla="*/ 1967925 w 7467600"/>
              <a:gd name="connsiteY422" fmla="*/ 6858000 h 6858000"/>
              <a:gd name="connsiteX423" fmla="*/ 1936622 w 7467600"/>
              <a:gd name="connsiteY423" fmla="*/ 6858000 h 6858000"/>
              <a:gd name="connsiteX424" fmla="*/ 1926261 w 7467600"/>
              <a:gd name="connsiteY424" fmla="*/ 6784064 h 6858000"/>
              <a:gd name="connsiteX425" fmla="*/ 1922724 w 7467600"/>
              <a:gd name="connsiteY425" fmla="*/ 6765577 h 6858000"/>
              <a:gd name="connsiteX426" fmla="*/ 1904650 w 7467600"/>
              <a:gd name="connsiteY426" fmla="*/ 6639616 h 6858000"/>
              <a:gd name="connsiteX427" fmla="*/ 1885273 w 7467600"/>
              <a:gd name="connsiteY427" fmla="*/ 6858000 h 6858000"/>
              <a:gd name="connsiteX428" fmla="*/ 1854363 w 7467600"/>
              <a:gd name="connsiteY428" fmla="*/ 6858000 h 6858000"/>
              <a:gd name="connsiteX429" fmla="*/ 1880391 w 7467600"/>
              <a:gd name="connsiteY429" fmla="*/ 6603796 h 6858000"/>
              <a:gd name="connsiteX430" fmla="*/ 1818273 w 7467600"/>
              <a:gd name="connsiteY430" fmla="*/ 6715729 h 6858000"/>
              <a:gd name="connsiteX431" fmla="*/ 1794691 w 7467600"/>
              <a:gd name="connsiteY431" fmla="*/ 6843239 h 6858000"/>
              <a:gd name="connsiteX432" fmla="*/ 1794914 w 7467600"/>
              <a:gd name="connsiteY432" fmla="*/ 6858000 h 6858000"/>
              <a:gd name="connsiteX433" fmla="*/ 1746128 w 7467600"/>
              <a:gd name="connsiteY433" fmla="*/ 6858000 h 6858000"/>
              <a:gd name="connsiteX434" fmla="*/ 1753934 w 7467600"/>
              <a:gd name="connsiteY434" fmla="*/ 6724796 h 6858000"/>
              <a:gd name="connsiteX435" fmla="*/ 1792053 w 7467600"/>
              <a:gd name="connsiteY435" fmla="*/ 6572396 h 6858000"/>
              <a:gd name="connsiteX436" fmla="*/ 1862248 w 7467600"/>
              <a:gd name="connsiteY436" fmla="*/ 6266397 h 6858000"/>
              <a:gd name="connsiteX437" fmla="*/ 1862250 w 7467600"/>
              <a:gd name="connsiteY437" fmla="*/ 6033531 h 6858000"/>
              <a:gd name="connsiteX438" fmla="*/ 1211999 w 7467600"/>
              <a:gd name="connsiteY438" fmla="*/ 6683610 h 6858000"/>
              <a:gd name="connsiteX439" fmla="*/ 1213266 w 7467600"/>
              <a:gd name="connsiteY439" fmla="*/ 6691947 h 6858000"/>
              <a:gd name="connsiteX440" fmla="*/ 1203370 w 7467600"/>
              <a:gd name="connsiteY440" fmla="*/ 6850676 h 6858000"/>
              <a:gd name="connsiteX441" fmla="*/ 1203671 w 7467600"/>
              <a:gd name="connsiteY441" fmla="*/ 6858000 h 6858000"/>
              <a:gd name="connsiteX442" fmla="*/ 1143180 w 7467600"/>
              <a:gd name="connsiteY442" fmla="*/ 6858000 h 6858000"/>
              <a:gd name="connsiteX443" fmla="*/ 1142176 w 7467600"/>
              <a:gd name="connsiteY443" fmla="*/ 6766045 h 6858000"/>
              <a:gd name="connsiteX444" fmla="*/ 1067484 w 7467600"/>
              <a:gd name="connsiteY444" fmla="*/ 6858000 h 6858000"/>
              <a:gd name="connsiteX445" fmla="*/ 953928 w 7467600"/>
              <a:gd name="connsiteY445" fmla="*/ 6858000 h 6858000"/>
              <a:gd name="connsiteX446" fmla="*/ 959715 w 7467600"/>
              <a:gd name="connsiteY446" fmla="*/ 6850185 h 6858000"/>
              <a:gd name="connsiteX447" fmla="*/ 1483788 w 7467600"/>
              <a:gd name="connsiteY447" fmla="*/ 6259174 h 6858000"/>
              <a:gd name="connsiteX448" fmla="*/ 1100671 w 7467600"/>
              <a:gd name="connsiteY448" fmla="*/ 6252137 h 6858000"/>
              <a:gd name="connsiteX449" fmla="*/ 1090144 w 7467600"/>
              <a:gd name="connsiteY449" fmla="*/ 6256748 h 6858000"/>
              <a:gd name="connsiteX450" fmla="*/ 1095872 w 7467600"/>
              <a:gd name="connsiteY450" fmla="*/ 6271892 h 6858000"/>
              <a:gd name="connsiteX451" fmla="*/ 262785 w 7467600"/>
              <a:gd name="connsiteY451" fmla="*/ 6845450 h 6858000"/>
              <a:gd name="connsiteX452" fmla="*/ 209968 w 7467600"/>
              <a:gd name="connsiteY452" fmla="*/ 6770713 h 6858000"/>
              <a:gd name="connsiteX453" fmla="*/ 873460 w 7467600"/>
              <a:gd name="connsiteY453" fmla="*/ 6253768 h 6858000"/>
              <a:gd name="connsiteX454" fmla="*/ 192686 w 7467600"/>
              <a:gd name="connsiteY454" fmla="*/ 5849257 h 6858000"/>
              <a:gd name="connsiteX455" fmla="*/ 4696 w 7467600"/>
              <a:gd name="connsiteY455" fmla="*/ 5697668 h 6858000"/>
              <a:gd name="connsiteX456" fmla="*/ 0 w 7467600"/>
              <a:gd name="connsiteY456" fmla="*/ 5689984 h 6858000"/>
              <a:gd name="connsiteX457" fmla="*/ 0 w 7467600"/>
              <a:gd name="connsiteY457" fmla="*/ 5513472 h 6858000"/>
              <a:gd name="connsiteX458" fmla="*/ 174101 w 7467600"/>
              <a:gd name="connsiteY458" fmla="*/ 5620277 h 6858000"/>
              <a:gd name="connsiteX459" fmla="*/ 891800 w 7467600"/>
              <a:gd name="connsiteY459" fmla="*/ 6036935 h 6858000"/>
              <a:gd name="connsiteX460" fmla="*/ 1072219 w 7467600"/>
              <a:gd name="connsiteY460" fmla="*/ 6169443 h 6858000"/>
              <a:gd name="connsiteX461" fmla="*/ 1074117 w 7467600"/>
              <a:gd name="connsiteY461" fmla="*/ 6170301 h 6858000"/>
              <a:gd name="connsiteX462" fmla="*/ 1083114 w 7467600"/>
              <a:gd name="connsiteY462" fmla="*/ 6174131 h 6858000"/>
              <a:gd name="connsiteX463" fmla="*/ 1543010 w 7467600"/>
              <a:gd name="connsiteY463" fmla="*/ 6191140 h 6858000"/>
              <a:gd name="connsiteX464" fmla="*/ 1551080 w 7467600"/>
              <a:gd name="connsiteY464" fmla="*/ 6195006 h 6858000"/>
              <a:gd name="connsiteX465" fmla="*/ 2345443 w 7467600"/>
              <a:gd name="connsiteY465" fmla="*/ 5549882 h 6858000"/>
              <a:gd name="connsiteX466" fmla="*/ 1721499 w 7467600"/>
              <a:gd name="connsiteY466" fmla="*/ 5599969 h 6858000"/>
              <a:gd name="connsiteX467" fmla="*/ 767716 w 7467600"/>
              <a:gd name="connsiteY467" fmla="*/ 5472768 h 6858000"/>
              <a:gd name="connsiteX468" fmla="*/ 722147 w 7467600"/>
              <a:gd name="connsiteY468" fmla="*/ 5393091 h 6858000"/>
              <a:gd name="connsiteX469" fmla="*/ 1485552 w 7467600"/>
              <a:gd name="connsiteY469" fmla="*/ 5313202 h 6858000"/>
              <a:gd name="connsiteX470" fmla="*/ 2143004 w 7467600"/>
              <a:gd name="connsiteY470" fmla="*/ 5402420 h 6858000"/>
              <a:gd name="connsiteX471" fmla="*/ 1933391 w 7467600"/>
              <a:gd name="connsiteY471" fmla="*/ 5156971 h 6858000"/>
              <a:gd name="connsiteX472" fmla="*/ 1827118 w 7467600"/>
              <a:gd name="connsiteY472" fmla="*/ 4968410 h 6858000"/>
              <a:gd name="connsiteX473" fmla="*/ 1837349 w 7467600"/>
              <a:gd name="connsiteY473" fmla="*/ 4956357 h 6858000"/>
              <a:gd name="connsiteX474" fmla="*/ 2162835 w 7467600"/>
              <a:gd name="connsiteY474" fmla="*/ 5187853 h 6858000"/>
              <a:gd name="connsiteX475" fmla="*/ 2257167 w 7467600"/>
              <a:gd name="connsiteY475" fmla="*/ 5462123 h 6858000"/>
              <a:gd name="connsiteX476" fmla="*/ 2261598 w 7467600"/>
              <a:gd name="connsiteY476" fmla="*/ 5467998 h 6858000"/>
              <a:gd name="connsiteX477" fmla="*/ 2437177 w 7467600"/>
              <a:gd name="connsiteY477" fmla="*/ 5479608 h 6858000"/>
              <a:gd name="connsiteX478" fmla="*/ 2445247 w 7467600"/>
              <a:gd name="connsiteY478" fmla="*/ 5483476 h 6858000"/>
              <a:gd name="connsiteX479" fmla="*/ 2743626 w 7467600"/>
              <a:gd name="connsiteY479" fmla="*/ 5304819 h 6858000"/>
              <a:gd name="connsiteX480" fmla="*/ 3048102 w 7467600"/>
              <a:gd name="connsiteY480" fmla="*/ 5150595 h 6858000"/>
              <a:gd name="connsiteX481" fmla="*/ 1799414 w 7467600"/>
              <a:gd name="connsiteY481" fmla="*/ 4694732 h 6858000"/>
              <a:gd name="connsiteX482" fmla="*/ 1771735 w 7467600"/>
              <a:gd name="connsiteY482" fmla="*/ 4619929 h 6858000"/>
              <a:gd name="connsiteX483" fmla="*/ 3104273 w 7467600"/>
              <a:gd name="connsiteY483" fmla="*/ 5076159 h 6858000"/>
              <a:gd name="connsiteX484" fmla="*/ 3113245 w 7467600"/>
              <a:gd name="connsiteY484" fmla="*/ 5090705 h 6858000"/>
              <a:gd name="connsiteX485" fmla="*/ 3126294 w 7467600"/>
              <a:gd name="connsiteY485" fmla="*/ 5114400 h 6858000"/>
              <a:gd name="connsiteX486" fmla="*/ 3937433 w 7467600"/>
              <a:gd name="connsiteY486" fmla="*/ 4830473 h 6858000"/>
              <a:gd name="connsiteX487" fmla="*/ 3590475 w 7467600"/>
              <a:gd name="connsiteY487" fmla="*/ 4597974 h 6858000"/>
              <a:gd name="connsiteX488" fmla="*/ 3100264 w 7467600"/>
              <a:gd name="connsiteY488" fmla="*/ 4579845 h 6858000"/>
              <a:gd name="connsiteX489" fmla="*/ 2183576 w 7467600"/>
              <a:gd name="connsiteY489" fmla="*/ 4227150 h 6858000"/>
              <a:gd name="connsiteX490" fmla="*/ 2151029 w 7467600"/>
              <a:gd name="connsiteY490" fmla="*/ 4146947 h 6858000"/>
              <a:gd name="connsiteX491" fmla="*/ 3563434 w 7467600"/>
              <a:gd name="connsiteY491" fmla="*/ 4469115 h 6858000"/>
              <a:gd name="connsiteX492" fmla="*/ 3177952 w 7467600"/>
              <a:gd name="connsiteY492" fmla="*/ 3657386 h 6858000"/>
              <a:gd name="connsiteX493" fmla="*/ 3189263 w 7467600"/>
              <a:gd name="connsiteY493" fmla="*/ 3625726 h 6858000"/>
              <a:gd name="connsiteX494" fmla="*/ 3560912 w 7467600"/>
              <a:gd name="connsiteY494" fmla="*/ 4079863 h 6858000"/>
              <a:gd name="connsiteX495" fmla="*/ 3626636 w 7467600"/>
              <a:gd name="connsiteY495" fmla="*/ 4512230 h 6858000"/>
              <a:gd name="connsiteX496" fmla="*/ 3653088 w 7467600"/>
              <a:gd name="connsiteY496" fmla="*/ 4521417 h 6858000"/>
              <a:gd name="connsiteX497" fmla="*/ 3988128 w 7467600"/>
              <a:gd name="connsiteY497" fmla="*/ 4817267 h 6858000"/>
              <a:gd name="connsiteX498" fmla="*/ 4830582 w 7467600"/>
              <a:gd name="connsiteY498" fmla="*/ 4676000 h 6858000"/>
              <a:gd name="connsiteX499" fmla="*/ 4830100 w 7467600"/>
              <a:gd name="connsiteY499" fmla="*/ 4675554 h 6858000"/>
              <a:gd name="connsiteX500" fmla="*/ 4036318 w 7467600"/>
              <a:gd name="connsiteY500" fmla="*/ 4147013 h 6858000"/>
              <a:gd name="connsiteX501" fmla="*/ 3432098 w 7467600"/>
              <a:gd name="connsiteY501" fmla="*/ 3537312 h 6858000"/>
              <a:gd name="connsiteX502" fmla="*/ 3446761 w 7467600"/>
              <a:gd name="connsiteY502" fmla="*/ 3461278 h 6858000"/>
              <a:gd name="connsiteX503" fmla="*/ 4419733 w 7467600"/>
              <a:gd name="connsiteY503" fmla="*/ 3963555 h 6858000"/>
              <a:gd name="connsiteX504" fmla="*/ 4781371 w 7467600"/>
              <a:gd name="connsiteY504" fmla="*/ 4458604 h 6858000"/>
              <a:gd name="connsiteX505" fmla="*/ 4780440 w 7467600"/>
              <a:gd name="connsiteY505" fmla="*/ 4470290 h 6858000"/>
              <a:gd name="connsiteX506" fmla="*/ 4898954 w 7467600"/>
              <a:gd name="connsiteY506" fmla="*/ 4662092 h 6858000"/>
              <a:gd name="connsiteX507" fmla="*/ 4900699 w 7467600"/>
              <a:gd name="connsiteY507" fmla="*/ 4670867 h 6858000"/>
              <a:gd name="connsiteX508" fmla="*/ 5714511 w 7467600"/>
              <a:gd name="connsiteY508" fmla="*/ 4663483 h 6858000"/>
              <a:gd name="connsiteX509" fmla="*/ 5464793 w 7467600"/>
              <a:gd name="connsiteY509" fmla="*/ 4393556 h 6858000"/>
              <a:gd name="connsiteX510" fmla="*/ 5461897 w 7467600"/>
              <a:gd name="connsiteY510" fmla="*/ 4390879 h 6858000"/>
              <a:gd name="connsiteX511" fmla="*/ 4294126 w 7467600"/>
              <a:gd name="connsiteY511" fmla="*/ 3303048 h 6858000"/>
              <a:gd name="connsiteX512" fmla="*/ 4305321 w 7467600"/>
              <a:gd name="connsiteY512" fmla="*/ 3256953 h 6858000"/>
              <a:gd name="connsiteX513" fmla="*/ 4949299 w 7467600"/>
              <a:gd name="connsiteY513" fmla="*/ 3766336 h 6858000"/>
              <a:gd name="connsiteX514" fmla="*/ 5291452 w 7467600"/>
              <a:gd name="connsiteY514" fmla="*/ 4076801 h 6858000"/>
              <a:gd name="connsiteX515" fmla="*/ 5434998 w 7467600"/>
              <a:gd name="connsiteY515" fmla="*/ 4254100 h 6858000"/>
              <a:gd name="connsiteX516" fmla="*/ 5351015 w 7467600"/>
              <a:gd name="connsiteY516" fmla="*/ 3760989 h 6858000"/>
              <a:gd name="connsiteX517" fmla="*/ 5413780 w 7467600"/>
              <a:gd name="connsiteY517" fmla="*/ 2966265 h 6858000"/>
              <a:gd name="connsiteX518" fmla="*/ 5425627 w 7467600"/>
              <a:gd name="connsiteY518" fmla="*/ 2954192 h 6858000"/>
              <a:gd name="connsiteX519" fmla="*/ 6604735 w 7467600"/>
              <a:gd name="connsiteY519" fmla="*/ 2041381 h 6858000"/>
              <a:gd name="connsiteX520" fmla="*/ 7204487 w 7467600"/>
              <a:gd name="connsiteY520" fmla="*/ 2742112 h 6858000"/>
              <a:gd name="connsiteX521" fmla="*/ 7131592 w 7467600"/>
              <a:gd name="connsiteY521" fmla="*/ 2672096 h 6858000"/>
              <a:gd name="connsiteX522" fmla="*/ 6996344 w 7467600"/>
              <a:gd name="connsiteY522" fmla="*/ 2518310 h 6858000"/>
              <a:gd name="connsiteX523" fmla="*/ 6735495 w 7467600"/>
              <a:gd name="connsiteY523" fmla="*/ 2196890 h 6858000"/>
              <a:gd name="connsiteX524" fmla="*/ 6721901 w 7467600"/>
              <a:gd name="connsiteY524" fmla="*/ 2179274 h 6858000"/>
              <a:gd name="connsiteX525" fmla="*/ 6604735 w 7467600"/>
              <a:gd name="connsiteY525" fmla="*/ 2041381 h 6858000"/>
              <a:gd name="connsiteX526" fmla="*/ 6591670 w 7467600"/>
              <a:gd name="connsiteY526" fmla="*/ 1988277 h 6858000"/>
              <a:gd name="connsiteX527" fmla="*/ 6747349 w 7467600"/>
              <a:gd name="connsiteY527" fmla="*/ 2160069 h 6858000"/>
              <a:gd name="connsiteX528" fmla="*/ 6760943 w 7467600"/>
              <a:gd name="connsiteY528" fmla="*/ 2177686 h 6858000"/>
              <a:gd name="connsiteX529" fmla="*/ 7021065 w 7467600"/>
              <a:gd name="connsiteY529" fmla="*/ 2498102 h 6858000"/>
              <a:gd name="connsiteX530" fmla="*/ 7155223 w 7467600"/>
              <a:gd name="connsiteY530" fmla="*/ 2650386 h 6858000"/>
              <a:gd name="connsiteX531" fmla="*/ 7203167 w 7467600"/>
              <a:gd name="connsiteY531" fmla="*/ 2697288 h 6858000"/>
              <a:gd name="connsiteX532" fmla="*/ 6937703 w 7467600"/>
              <a:gd name="connsiteY532" fmla="*/ 2321981 h 6858000"/>
              <a:gd name="connsiteX533" fmla="*/ 6591670 w 7467600"/>
              <a:gd name="connsiteY533" fmla="*/ 1988277 h 6858000"/>
              <a:gd name="connsiteX534" fmla="*/ 5798671 w 7467600"/>
              <a:gd name="connsiteY534" fmla="*/ 1981601 h 6858000"/>
              <a:gd name="connsiteX535" fmla="*/ 5754709 w 7467600"/>
              <a:gd name="connsiteY535" fmla="*/ 2071454 h 6858000"/>
              <a:gd name="connsiteX536" fmla="*/ 5763044 w 7467600"/>
              <a:gd name="connsiteY536" fmla="*/ 2842206 h 6858000"/>
              <a:gd name="connsiteX537" fmla="*/ 5764974 w 7467600"/>
              <a:gd name="connsiteY537" fmla="*/ 2799609 h 6858000"/>
              <a:gd name="connsiteX538" fmla="*/ 5767665 w 7467600"/>
              <a:gd name="connsiteY538" fmla="*/ 2666409 h 6858000"/>
              <a:gd name="connsiteX539" fmla="*/ 5763055 w 7467600"/>
              <a:gd name="connsiteY539" fmla="*/ 2579705 h 6858000"/>
              <a:gd name="connsiteX540" fmla="*/ 5758079 w 7467600"/>
              <a:gd name="connsiteY540" fmla="*/ 2492508 h 6858000"/>
              <a:gd name="connsiteX541" fmla="*/ 5779325 w 7467600"/>
              <a:gd name="connsiteY541" fmla="*/ 2197069 h 6858000"/>
              <a:gd name="connsiteX542" fmla="*/ 5798671 w 7467600"/>
              <a:gd name="connsiteY542" fmla="*/ 1981601 h 6858000"/>
              <a:gd name="connsiteX543" fmla="*/ 5829202 w 7467600"/>
              <a:gd name="connsiteY543" fmla="*/ 1971679 h 6858000"/>
              <a:gd name="connsiteX544" fmla="*/ 5809558 w 7467600"/>
              <a:gd name="connsiteY544" fmla="*/ 2198043 h 6858000"/>
              <a:gd name="connsiteX545" fmla="*/ 5788653 w 7467600"/>
              <a:gd name="connsiteY545" fmla="*/ 2489430 h 6858000"/>
              <a:gd name="connsiteX546" fmla="*/ 5793439 w 7467600"/>
              <a:gd name="connsiteY546" fmla="*/ 2575235 h 6858000"/>
              <a:gd name="connsiteX547" fmla="*/ 5796837 w 7467600"/>
              <a:gd name="connsiteY547" fmla="*/ 2637633 h 6858000"/>
              <a:gd name="connsiteX548" fmla="*/ 5818614 w 7467600"/>
              <a:gd name="connsiteY548" fmla="*/ 2473055 h 6858000"/>
              <a:gd name="connsiteX549" fmla="*/ 5829202 w 7467600"/>
              <a:gd name="connsiteY549" fmla="*/ 1971679 h 6858000"/>
              <a:gd name="connsiteX550" fmla="*/ 5911389 w 7467600"/>
              <a:gd name="connsiteY550" fmla="*/ 1898371 h 6858000"/>
              <a:gd name="connsiteX551" fmla="*/ 6237627 w 7467600"/>
              <a:gd name="connsiteY551" fmla="*/ 2231921 h 6858000"/>
              <a:gd name="connsiteX552" fmla="*/ 5911389 w 7467600"/>
              <a:gd name="connsiteY552" fmla="*/ 1898371 h 6858000"/>
              <a:gd name="connsiteX553" fmla="*/ 6944437 w 7467600"/>
              <a:gd name="connsiteY553" fmla="*/ 1575402 h 6858000"/>
              <a:gd name="connsiteX554" fmla="*/ 6304730 w 7467600"/>
              <a:gd name="connsiteY554" fmla="*/ 1766654 h 6858000"/>
              <a:gd name="connsiteX555" fmla="*/ 6944437 w 7467600"/>
              <a:gd name="connsiteY555" fmla="*/ 1575402 h 6858000"/>
              <a:gd name="connsiteX556" fmla="*/ 7019523 w 7467600"/>
              <a:gd name="connsiteY556" fmla="*/ 1519450 h 6858000"/>
              <a:gd name="connsiteX557" fmla="*/ 6298091 w 7467600"/>
              <a:gd name="connsiteY557" fmla="*/ 1737122 h 6858000"/>
              <a:gd name="connsiteX558" fmla="*/ 7019523 w 7467600"/>
              <a:gd name="connsiteY558" fmla="*/ 1519450 h 6858000"/>
              <a:gd name="connsiteX559" fmla="*/ 2399523 w 7467600"/>
              <a:gd name="connsiteY559" fmla="*/ 1428234 h 6858000"/>
              <a:gd name="connsiteX560" fmla="*/ 2224982 w 7467600"/>
              <a:gd name="connsiteY560" fmla="*/ 1826201 h 6858000"/>
              <a:gd name="connsiteX561" fmla="*/ 2096099 w 7467600"/>
              <a:gd name="connsiteY561" fmla="*/ 2345900 h 6858000"/>
              <a:gd name="connsiteX562" fmla="*/ 2283317 w 7467600"/>
              <a:gd name="connsiteY562" fmla="*/ 1796925 h 6858000"/>
              <a:gd name="connsiteX563" fmla="*/ 2399523 w 7467600"/>
              <a:gd name="connsiteY563" fmla="*/ 1428234 h 6858000"/>
              <a:gd name="connsiteX564" fmla="*/ 2448558 w 7467600"/>
              <a:gd name="connsiteY564" fmla="*/ 1373435 h 6858000"/>
              <a:gd name="connsiteX565" fmla="*/ 2312521 w 7467600"/>
              <a:gd name="connsiteY565" fmla="*/ 1806140 h 6858000"/>
              <a:gd name="connsiteX566" fmla="*/ 2127533 w 7467600"/>
              <a:gd name="connsiteY566" fmla="*/ 2348380 h 6858000"/>
              <a:gd name="connsiteX567" fmla="*/ 2358080 w 7467600"/>
              <a:gd name="connsiteY567" fmla="*/ 1866134 h 6858000"/>
              <a:gd name="connsiteX568" fmla="*/ 2407436 w 7467600"/>
              <a:gd name="connsiteY568" fmla="*/ 1651070 h 6858000"/>
              <a:gd name="connsiteX569" fmla="*/ 2448558 w 7467600"/>
              <a:gd name="connsiteY569" fmla="*/ 1373435 h 6858000"/>
              <a:gd name="connsiteX570" fmla="*/ 278707 w 7467600"/>
              <a:gd name="connsiteY570" fmla="*/ 1352270 h 6858000"/>
              <a:gd name="connsiteX571" fmla="*/ 321570 w 7467600"/>
              <a:gd name="connsiteY571" fmla="*/ 1861610 h 6858000"/>
              <a:gd name="connsiteX572" fmla="*/ 294281 w 7467600"/>
              <a:gd name="connsiteY572" fmla="*/ 1440658 h 6858000"/>
              <a:gd name="connsiteX573" fmla="*/ 278707 w 7467600"/>
              <a:gd name="connsiteY573" fmla="*/ 1352270 h 6858000"/>
              <a:gd name="connsiteX574" fmla="*/ 1423821 w 7467600"/>
              <a:gd name="connsiteY574" fmla="*/ 1351958 h 6858000"/>
              <a:gd name="connsiteX575" fmla="*/ 1638521 w 7467600"/>
              <a:gd name="connsiteY575" fmla="*/ 1908470 h 6858000"/>
              <a:gd name="connsiteX576" fmla="*/ 1754199 w 7467600"/>
              <a:gd name="connsiteY576" fmla="*/ 2149284 h 6858000"/>
              <a:gd name="connsiteX577" fmla="*/ 1908359 w 7467600"/>
              <a:gd name="connsiteY577" fmla="*/ 2364988 h 6858000"/>
              <a:gd name="connsiteX578" fmla="*/ 1647661 w 7467600"/>
              <a:gd name="connsiteY578" fmla="*/ 1825945 h 6858000"/>
              <a:gd name="connsiteX579" fmla="*/ 1423821 w 7467600"/>
              <a:gd name="connsiteY579" fmla="*/ 1351958 h 6858000"/>
              <a:gd name="connsiteX580" fmla="*/ 1431890 w 7467600"/>
              <a:gd name="connsiteY580" fmla="*/ 1306475 h 6858000"/>
              <a:gd name="connsiteX581" fmla="*/ 1507597 w 7467600"/>
              <a:gd name="connsiteY581" fmla="*/ 1446132 h 6858000"/>
              <a:gd name="connsiteX582" fmla="*/ 1674586 w 7467600"/>
              <a:gd name="connsiteY582" fmla="*/ 1813832 h 6858000"/>
              <a:gd name="connsiteX583" fmla="*/ 1815950 w 7467600"/>
              <a:gd name="connsiteY583" fmla="*/ 2128564 h 6858000"/>
              <a:gd name="connsiteX584" fmla="*/ 1984242 w 7467600"/>
              <a:gd name="connsiteY584" fmla="*/ 2430829 h 6858000"/>
              <a:gd name="connsiteX585" fmla="*/ 2014023 w 7467600"/>
              <a:gd name="connsiteY585" fmla="*/ 2450995 h 6858000"/>
              <a:gd name="connsiteX586" fmla="*/ 1747337 w 7467600"/>
              <a:gd name="connsiteY586" fmla="*/ 1855264 h 6858000"/>
              <a:gd name="connsiteX587" fmla="*/ 1533749 w 7467600"/>
              <a:gd name="connsiteY587" fmla="*/ 1478656 h 6858000"/>
              <a:gd name="connsiteX588" fmla="*/ 1431890 w 7467600"/>
              <a:gd name="connsiteY588" fmla="*/ 1306475 h 6858000"/>
              <a:gd name="connsiteX589" fmla="*/ 5052692 w 7467600"/>
              <a:gd name="connsiteY589" fmla="*/ 1292994 h 6858000"/>
              <a:gd name="connsiteX590" fmla="*/ 5200661 w 7467600"/>
              <a:gd name="connsiteY590" fmla="*/ 1635186 h 6858000"/>
              <a:gd name="connsiteX591" fmla="*/ 5297138 w 7467600"/>
              <a:gd name="connsiteY591" fmla="*/ 1906351 h 6858000"/>
              <a:gd name="connsiteX592" fmla="*/ 5052692 w 7467600"/>
              <a:gd name="connsiteY592" fmla="*/ 1292994 h 6858000"/>
              <a:gd name="connsiteX593" fmla="*/ 5009948 w 7467600"/>
              <a:gd name="connsiteY593" fmla="*/ 1273619 h 6858000"/>
              <a:gd name="connsiteX594" fmla="*/ 5121777 w 7467600"/>
              <a:gd name="connsiteY594" fmla="*/ 1654213 h 6858000"/>
              <a:gd name="connsiteX595" fmla="*/ 5293545 w 7467600"/>
              <a:gd name="connsiteY595" fmla="*/ 2072247 h 6858000"/>
              <a:gd name="connsiteX596" fmla="*/ 5294042 w 7467600"/>
              <a:gd name="connsiteY596" fmla="*/ 2065019 h 6858000"/>
              <a:gd name="connsiteX597" fmla="*/ 5171936 w 7467600"/>
              <a:gd name="connsiteY597" fmla="*/ 1647613 h 6858000"/>
              <a:gd name="connsiteX598" fmla="*/ 5009948 w 7467600"/>
              <a:gd name="connsiteY598" fmla="*/ 1273619 h 6858000"/>
              <a:gd name="connsiteX599" fmla="*/ 655236 w 7467600"/>
              <a:gd name="connsiteY599" fmla="*/ 1268632 h 6858000"/>
              <a:gd name="connsiteX600" fmla="*/ 839521 w 7467600"/>
              <a:gd name="connsiteY600" fmla="*/ 1685315 h 6858000"/>
              <a:gd name="connsiteX601" fmla="*/ 1109416 w 7467600"/>
              <a:gd name="connsiteY601" fmla="*/ 2061663 h 6858000"/>
              <a:gd name="connsiteX602" fmla="*/ 1298300 w 7467600"/>
              <a:gd name="connsiteY602" fmla="*/ 2247742 h 6858000"/>
              <a:gd name="connsiteX603" fmla="*/ 1125871 w 7467600"/>
              <a:gd name="connsiteY603" fmla="*/ 1989513 h 6858000"/>
              <a:gd name="connsiteX604" fmla="*/ 981574 w 7467600"/>
              <a:gd name="connsiteY604" fmla="*/ 1783157 h 6858000"/>
              <a:gd name="connsiteX605" fmla="*/ 922198 w 7467600"/>
              <a:gd name="connsiteY605" fmla="*/ 1677437 h 6858000"/>
              <a:gd name="connsiteX606" fmla="*/ 869293 w 7467600"/>
              <a:gd name="connsiteY606" fmla="*/ 1583214 h 6858000"/>
              <a:gd name="connsiteX607" fmla="*/ 751431 w 7467600"/>
              <a:gd name="connsiteY607" fmla="*/ 1405731 h 6858000"/>
              <a:gd name="connsiteX608" fmla="*/ 655236 w 7467600"/>
              <a:gd name="connsiteY608" fmla="*/ 1268632 h 6858000"/>
              <a:gd name="connsiteX609" fmla="*/ 6516292 w 7467600"/>
              <a:gd name="connsiteY609" fmla="*/ 1263064 h 6858000"/>
              <a:gd name="connsiteX610" fmla="*/ 5736320 w 7467600"/>
              <a:gd name="connsiteY610" fmla="*/ 1501803 h 6858000"/>
              <a:gd name="connsiteX611" fmla="*/ 6516292 w 7467600"/>
              <a:gd name="connsiteY611" fmla="*/ 1263064 h 6858000"/>
              <a:gd name="connsiteX612" fmla="*/ 291466 w 7467600"/>
              <a:gd name="connsiteY612" fmla="*/ 1250369 h 6858000"/>
              <a:gd name="connsiteX613" fmla="*/ 323180 w 7467600"/>
              <a:gd name="connsiteY613" fmla="*/ 1435283 h 6858000"/>
              <a:gd name="connsiteX614" fmla="*/ 349381 w 7467600"/>
              <a:gd name="connsiteY614" fmla="*/ 1875041 h 6858000"/>
              <a:gd name="connsiteX615" fmla="*/ 374363 w 7467600"/>
              <a:gd name="connsiteY615" fmla="*/ 1506494 h 6858000"/>
              <a:gd name="connsiteX616" fmla="*/ 302168 w 7467600"/>
              <a:gd name="connsiteY616" fmla="*/ 1274495 h 6858000"/>
              <a:gd name="connsiteX617" fmla="*/ 291466 w 7467600"/>
              <a:gd name="connsiteY617" fmla="*/ 1250369 h 6858000"/>
              <a:gd name="connsiteX618" fmla="*/ 678222 w 7467600"/>
              <a:gd name="connsiteY618" fmla="*/ 1248670 h 6858000"/>
              <a:gd name="connsiteX619" fmla="*/ 775536 w 7467600"/>
              <a:gd name="connsiteY619" fmla="*/ 1388015 h 6858000"/>
              <a:gd name="connsiteX620" fmla="*/ 894529 w 7467600"/>
              <a:gd name="connsiteY620" fmla="*/ 1567739 h 6858000"/>
              <a:gd name="connsiteX621" fmla="*/ 948000 w 7467600"/>
              <a:gd name="connsiteY621" fmla="*/ 1663088 h 6858000"/>
              <a:gd name="connsiteX622" fmla="*/ 1006812 w 7467600"/>
              <a:gd name="connsiteY622" fmla="*/ 1767683 h 6858000"/>
              <a:gd name="connsiteX623" fmla="*/ 1149133 w 7467600"/>
              <a:gd name="connsiteY623" fmla="*/ 1971513 h 6858000"/>
              <a:gd name="connsiteX624" fmla="*/ 1333952 w 7467600"/>
              <a:gd name="connsiteY624" fmla="*/ 2251620 h 6858000"/>
              <a:gd name="connsiteX625" fmla="*/ 1337329 w 7467600"/>
              <a:gd name="connsiteY625" fmla="*/ 2258350 h 6858000"/>
              <a:gd name="connsiteX626" fmla="*/ 1014726 w 7467600"/>
              <a:gd name="connsiteY626" fmla="*/ 1615556 h 6858000"/>
              <a:gd name="connsiteX627" fmla="*/ 678222 w 7467600"/>
              <a:gd name="connsiteY627" fmla="*/ 1248670 h 6858000"/>
              <a:gd name="connsiteX628" fmla="*/ 6691602 w 7467600"/>
              <a:gd name="connsiteY628" fmla="*/ 1140573 h 6858000"/>
              <a:gd name="connsiteX629" fmla="*/ 6571100 w 7467600"/>
              <a:gd name="connsiteY629" fmla="*/ 1183662 h 6858000"/>
              <a:gd name="connsiteX630" fmla="*/ 6241687 w 7467600"/>
              <a:gd name="connsiteY630" fmla="*/ 1257600 h 6858000"/>
              <a:gd name="connsiteX631" fmla="*/ 5693009 w 7467600"/>
              <a:gd name="connsiteY631" fmla="*/ 1478256 h 6858000"/>
              <a:gd name="connsiteX632" fmla="*/ 6548420 w 7467600"/>
              <a:gd name="connsiteY632" fmla="*/ 1214599 h 6858000"/>
              <a:gd name="connsiteX633" fmla="*/ 6605473 w 7467600"/>
              <a:gd name="connsiteY633" fmla="*/ 1184686 h 6858000"/>
              <a:gd name="connsiteX634" fmla="*/ 6691602 w 7467600"/>
              <a:gd name="connsiteY634" fmla="*/ 1140573 h 6858000"/>
              <a:gd name="connsiteX635" fmla="*/ 4002475 w 7467600"/>
              <a:gd name="connsiteY635" fmla="*/ 1037802 h 6858000"/>
              <a:gd name="connsiteX636" fmla="*/ 4000324 w 7467600"/>
              <a:gd name="connsiteY636" fmla="*/ 1039362 h 6858000"/>
              <a:gd name="connsiteX637" fmla="*/ 4002862 w 7467600"/>
              <a:gd name="connsiteY637" fmla="*/ 1042866 h 6858000"/>
              <a:gd name="connsiteX638" fmla="*/ 4002475 w 7467600"/>
              <a:gd name="connsiteY638" fmla="*/ 1037802 h 6858000"/>
              <a:gd name="connsiteX639" fmla="*/ 506322 w 7467600"/>
              <a:gd name="connsiteY639" fmla="*/ 1020997 h 6858000"/>
              <a:gd name="connsiteX640" fmla="*/ 533068 w 7467600"/>
              <a:gd name="connsiteY640" fmla="*/ 1029409 h 6858000"/>
              <a:gd name="connsiteX641" fmla="*/ 1232525 w 7467600"/>
              <a:gd name="connsiteY641" fmla="*/ 1804675 h 6858000"/>
              <a:gd name="connsiteX642" fmla="*/ 1388858 w 7467600"/>
              <a:gd name="connsiteY642" fmla="*/ 2368011 h 6858000"/>
              <a:gd name="connsiteX643" fmla="*/ 1384098 w 7467600"/>
              <a:gd name="connsiteY643" fmla="*/ 2378125 h 6858000"/>
              <a:gd name="connsiteX644" fmla="*/ 1425393 w 7467600"/>
              <a:gd name="connsiteY644" fmla="*/ 2589124 h 6858000"/>
              <a:gd name="connsiteX645" fmla="*/ 1424001 w 7467600"/>
              <a:gd name="connsiteY645" fmla="*/ 2597541 h 6858000"/>
              <a:gd name="connsiteX646" fmla="*/ 2152729 w 7467600"/>
              <a:gd name="connsiteY646" fmla="*/ 2864487 h 6858000"/>
              <a:gd name="connsiteX647" fmla="*/ 2020609 w 7467600"/>
              <a:gd name="connsiteY647" fmla="*/ 2539671 h 6858000"/>
              <a:gd name="connsiteX648" fmla="*/ 2018920 w 7467600"/>
              <a:gd name="connsiteY648" fmla="*/ 2536309 h 6858000"/>
              <a:gd name="connsiteX649" fmla="*/ 1342441 w 7467600"/>
              <a:gd name="connsiteY649" fmla="*/ 1173017 h 6858000"/>
              <a:gd name="connsiteX650" fmla="*/ 1367925 w 7467600"/>
              <a:gd name="connsiteY650" fmla="*/ 1135648 h 6858000"/>
              <a:gd name="connsiteX651" fmla="*/ 1771401 w 7467600"/>
              <a:gd name="connsiteY651" fmla="*/ 1806673 h 6858000"/>
              <a:gd name="connsiteX652" fmla="*/ 1972385 w 7467600"/>
              <a:gd name="connsiteY652" fmla="*/ 2198735 h 6858000"/>
              <a:gd name="connsiteX653" fmla="*/ 2040892 w 7467600"/>
              <a:gd name="connsiteY653" fmla="*/ 2405205 h 6858000"/>
              <a:gd name="connsiteX654" fmla="*/ 2131689 w 7467600"/>
              <a:gd name="connsiteY654" fmla="*/ 1936926 h 6858000"/>
              <a:gd name="connsiteX655" fmla="*/ 2454820 w 7467600"/>
              <a:gd name="connsiteY655" fmla="*/ 1248808 h 6858000"/>
              <a:gd name="connsiteX656" fmla="*/ 2492512 w 7467600"/>
              <a:gd name="connsiteY656" fmla="*/ 1302920 h 6858000"/>
              <a:gd name="connsiteX657" fmla="*/ 2081216 w 7467600"/>
              <a:gd name="connsiteY657" fmla="*/ 2527513 h 6858000"/>
              <a:gd name="connsiteX658" fmla="*/ 2081211 w 7467600"/>
              <a:gd name="connsiteY658" fmla="*/ 2528916 h 6858000"/>
              <a:gd name="connsiteX659" fmla="*/ 2199067 w 7467600"/>
              <a:gd name="connsiteY659" fmla="*/ 2884061 h 6858000"/>
              <a:gd name="connsiteX660" fmla="*/ 3192586 w 7467600"/>
              <a:gd name="connsiteY660" fmla="*/ 3411496 h 6858000"/>
              <a:gd name="connsiteX661" fmla="*/ 3182620 w 7467600"/>
              <a:gd name="connsiteY661" fmla="*/ 3483279 h 6858000"/>
              <a:gd name="connsiteX662" fmla="*/ 2435119 w 7467600"/>
              <a:gd name="connsiteY662" fmla="*/ 3080173 h 6858000"/>
              <a:gd name="connsiteX663" fmla="*/ 2410152 w 7467600"/>
              <a:gd name="connsiteY663" fmla="*/ 3063751 h 6858000"/>
              <a:gd name="connsiteX664" fmla="*/ 2408099 w 7467600"/>
              <a:gd name="connsiteY664" fmla="*/ 3064403 h 6858000"/>
              <a:gd name="connsiteX665" fmla="*/ 2407218 w 7467600"/>
              <a:gd name="connsiteY665" fmla="*/ 3070324 h 6858000"/>
              <a:gd name="connsiteX666" fmla="*/ 2380138 w 7467600"/>
              <a:gd name="connsiteY666" fmla="*/ 3099341 h 6858000"/>
              <a:gd name="connsiteX667" fmla="*/ 1765923 w 7467600"/>
              <a:gd name="connsiteY667" fmla="*/ 3581043 h 6858000"/>
              <a:gd name="connsiteX668" fmla="*/ 1702258 w 7467600"/>
              <a:gd name="connsiteY668" fmla="*/ 3612286 h 6858000"/>
              <a:gd name="connsiteX669" fmla="*/ 1538370 w 7467600"/>
              <a:gd name="connsiteY669" fmla="*/ 3811804 h 6858000"/>
              <a:gd name="connsiteX670" fmla="*/ 542867 w 7467600"/>
              <a:gd name="connsiteY670" fmla="*/ 4944092 h 6858000"/>
              <a:gd name="connsiteX671" fmla="*/ 515800 w 7467600"/>
              <a:gd name="connsiteY671" fmla="*/ 4862180 h 6858000"/>
              <a:gd name="connsiteX672" fmla="*/ 909145 w 7467600"/>
              <a:gd name="connsiteY672" fmla="*/ 4199225 h 6858000"/>
              <a:gd name="connsiteX673" fmla="*/ 1214067 w 7467600"/>
              <a:gd name="connsiteY673" fmla="*/ 3908561 h 6858000"/>
              <a:gd name="connsiteX674" fmla="*/ 640967 w 7467600"/>
              <a:gd name="connsiteY674" fmla="*/ 4105601 h 6858000"/>
              <a:gd name="connsiteX675" fmla="*/ 112563 w 7467600"/>
              <a:gd name="connsiteY675" fmla="*/ 4396952 h 6858000"/>
              <a:gd name="connsiteX676" fmla="*/ 0 w 7467600"/>
              <a:gd name="connsiteY676" fmla="*/ 4466006 h 6858000"/>
              <a:gd name="connsiteX677" fmla="*/ 0 w 7467600"/>
              <a:gd name="connsiteY677" fmla="*/ 4233763 h 6858000"/>
              <a:gd name="connsiteX678" fmla="*/ 36881 w 7467600"/>
              <a:gd name="connsiteY678" fmla="*/ 4200118 h 6858000"/>
              <a:gd name="connsiteX679" fmla="*/ 910534 w 7467600"/>
              <a:gd name="connsiteY679" fmla="*/ 3629753 h 6858000"/>
              <a:gd name="connsiteX680" fmla="*/ 1578717 w 7467600"/>
              <a:gd name="connsiteY680" fmla="*/ 3575982 h 6858000"/>
              <a:gd name="connsiteX681" fmla="*/ 2338780 w 7467600"/>
              <a:gd name="connsiteY681" fmla="*/ 3033725 h 6858000"/>
              <a:gd name="connsiteX682" fmla="*/ 1807991 w 7467600"/>
              <a:gd name="connsiteY682" fmla="*/ 2807184 h 6858000"/>
              <a:gd name="connsiteX683" fmla="*/ 1416358 w 7467600"/>
              <a:gd name="connsiteY683" fmla="*/ 3112571 h 6858000"/>
              <a:gd name="connsiteX684" fmla="*/ 939066 w 7467600"/>
              <a:gd name="connsiteY684" fmla="*/ 3378798 h 6858000"/>
              <a:gd name="connsiteX685" fmla="*/ 115099 w 7467600"/>
              <a:gd name="connsiteY685" fmla="*/ 3607650 h 6858000"/>
              <a:gd name="connsiteX686" fmla="*/ 97284 w 7467600"/>
              <a:gd name="connsiteY686" fmla="*/ 3520393 h 6858000"/>
              <a:gd name="connsiteX687" fmla="*/ 922050 w 7467600"/>
              <a:gd name="connsiteY687" fmla="*/ 3074867 h 6858000"/>
              <a:gd name="connsiteX688" fmla="*/ 1405265 w 7467600"/>
              <a:gd name="connsiteY688" fmla="*/ 3016319 h 6858000"/>
              <a:gd name="connsiteX689" fmla="*/ 1407512 w 7467600"/>
              <a:gd name="connsiteY689" fmla="*/ 3018001 h 6858000"/>
              <a:gd name="connsiteX690" fmla="*/ 1726266 w 7467600"/>
              <a:gd name="connsiteY690" fmla="*/ 2777274 h 6858000"/>
              <a:gd name="connsiteX691" fmla="*/ 625390 w 7467600"/>
              <a:gd name="connsiteY691" fmla="*/ 2514541 h 6858000"/>
              <a:gd name="connsiteX692" fmla="*/ 619799 w 7467600"/>
              <a:gd name="connsiteY692" fmla="*/ 2527180 h 6858000"/>
              <a:gd name="connsiteX693" fmla="*/ 310030 w 7467600"/>
              <a:gd name="connsiteY693" fmla="*/ 2771818 h 6858000"/>
              <a:gd name="connsiteX694" fmla="*/ 173877 w 7467600"/>
              <a:gd name="connsiteY694" fmla="*/ 2937056 h 6858000"/>
              <a:gd name="connsiteX695" fmla="*/ 77889 w 7467600"/>
              <a:gd name="connsiteY695" fmla="*/ 3138440 h 6858000"/>
              <a:gd name="connsiteX696" fmla="*/ 0 w 7467600"/>
              <a:gd name="connsiteY696" fmla="*/ 3271395 h 6858000"/>
              <a:gd name="connsiteX697" fmla="*/ 0 w 7467600"/>
              <a:gd name="connsiteY697" fmla="*/ 3153002 h 6858000"/>
              <a:gd name="connsiteX698" fmla="*/ 2386 w 7467600"/>
              <a:gd name="connsiteY698" fmla="*/ 3149203 h 6858000"/>
              <a:gd name="connsiteX699" fmla="*/ 89753 w 7467600"/>
              <a:gd name="connsiteY699" fmla="*/ 2987702 h 6858000"/>
              <a:gd name="connsiteX700" fmla="*/ 76869 w 7467600"/>
              <a:gd name="connsiteY700" fmla="*/ 3005404 h 6858000"/>
              <a:gd name="connsiteX701" fmla="*/ 32049 w 7467600"/>
              <a:gd name="connsiteY701" fmla="*/ 3065814 h 6858000"/>
              <a:gd name="connsiteX702" fmla="*/ 0 w 7467600"/>
              <a:gd name="connsiteY702" fmla="*/ 3108744 h 6858000"/>
              <a:gd name="connsiteX703" fmla="*/ 0 w 7467600"/>
              <a:gd name="connsiteY703" fmla="*/ 3058059 h 6858000"/>
              <a:gd name="connsiteX704" fmla="*/ 7610 w 7467600"/>
              <a:gd name="connsiteY704" fmla="*/ 3047889 h 6858000"/>
              <a:gd name="connsiteX705" fmla="*/ 52419 w 7467600"/>
              <a:gd name="connsiteY705" fmla="*/ 2987479 h 6858000"/>
              <a:gd name="connsiteX706" fmla="*/ 59142 w 7467600"/>
              <a:gd name="connsiteY706" fmla="*/ 2978488 h 6858000"/>
              <a:gd name="connsiteX707" fmla="*/ 0 w 7467600"/>
              <a:gd name="connsiteY707" fmla="*/ 3015334 h 6858000"/>
              <a:gd name="connsiteX708" fmla="*/ 0 w 7467600"/>
              <a:gd name="connsiteY708" fmla="*/ 2914286 h 6858000"/>
              <a:gd name="connsiteX709" fmla="*/ 36383 w 7467600"/>
              <a:gd name="connsiteY709" fmla="*/ 2901128 h 6858000"/>
              <a:gd name="connsiteX710" fmla="*/ 156329 w 7467600"/>
              <a:gd name="connsiteY710" fmla="*/ 2840533 h 6858000"/>
              <a:gd name="connsiteX711" fmla="*/ 358355 w 7467600"/>
              <a:gd name="connsiteY711" fmla="*/ 2620471 h 6858000"/>
              <a:gd name="connsiteX712" fmla="*/ 510577 w 7467600"/>
              <a:gd name="connsiteY712" fmla="*/ 2501244 h 6858000"/>
              <a:gd name="connsiteX713" fmla="*/ 211967 w 7467600"/>
              <a:gd name="connsiteY713" fmla="*/ 2479171 h 6858000"/>
              <a:gd name="connsiteX714" fmla="*/ 0 w 7467600"/>
              <a:gd name="connsiteY714" fmla="*/ 2476398 h 6858000"/>
              <a:gd name="connsiteX715" fmla="*/ 0 w 7467600"/>
              <a:gd name="connsiteY715" fmla="*/ 2389189 h 6858000"/>
              <a:gd name="connsiteX716" fmla="*/ 103062 w 7467600"/>
              <a:gd name="connsiteY716" fmla="*/ 2389518 h 6858000"/>
              <a:gd name="connsiteX717" fmla="*/ 510734 w 7467600"/>
              <a:gd name="connsiteY717" fmla="*/ 2416201 h 6858000"/>
              <a:gd name="connsiteX718" fmla="*/ 279257 w 7467600"/>
              <a:gd name="connsiteY718" fmla="*/ 2092102 h 6858000"/>
              <a:gd name="connsiteX719" fmla="*/ 65265 w 7467600"/>
              <a:gd name="connsiteY719" fmla="*/ 2006049 h 6858000"/>
              <a:gd name="connsiteX720" fmla="*/ 0 w 7467600"/>
              <a:gd name="connsiteY720" fmla="*/ 1982532 h 6858000"/>
              <a:gd name="connsiteX721" fmla="*/ 0 w 7467600"/>
              <a:gd name="connsiteY721" fmla="*/ 1912789 h 6858000"/>
              <a:gd name="connsiteX722" fmla="*/ 97460 w 7467600"/>
              <a:gd name="connsiteY722" fmla="*/ 1953725 h 6858000"/>
              <a:gd name="connsiteX723" fmla="*/ 221272 w 7467600"/>
              <a:gd name="connsiteY723" fmla="*/ 1980766 h 6858000"/>
              <a:gd name="connsiteX724" fmla="*/ 116765 w 7467600"/>
              <a:gd name="connsiteY724" fmla="*/ 1911033 h 6858000"/>
              <a:gd name="connsiteX725" fmla="*/ 16405 w 7467600"/>
              <a:gd name="connsiteY725" fmla="*/ 1803412 h 6858000"/>
              <a:gd name="connsiteX726" fmla="*/ 0 w 7467600"/>
              <a:gd name="connsiteY726" fmla="*/ 1784777 h 6858000"/>
              <a:gd name="connsiteX727" fmla="*/ 0 w 7467600"/>
              <a:gd name="connsiteY727" fmla="*/ 1740082 h 6858000"/>
              <a:gd name="connsiteX728" fmla="*/ 39394 w 7467600"/>
              <a:gd name="connsiteY728" fmla="*/ 1784856 h 6858000"/>
              <a:gd name="connsiteX729" fmla="*/ 135813 w 7467600"/>
              <a:gd name="connsiteY729" fmla="*/ 1888838 h 6858000"/>
              <a:gd name="connsiteX730" fmla="*/ 242575 w 7467600"/>
              <a:gd name="connsiteY730" fmla="*/ 1958841 h 6858000"/>
              <a:gd name="connsiteX731" fmla="*/ 82197 w 7467600"/>
              <a:gd name="connsiteY731" fmla="*/ 1754826 h 6858000"/>
              <a:gd name="connsiteX732" fmla="*/ 0 w 7467600"/>
              <a:gd name="connsiteY732" fmla="*/ 1679650 h 6858000"/>
              <a:gd name="connsiteX733" fmla="*/ 0 w 7467600"/>
              <a:gd name="connsiteY733" fmla="*/ 1602463 h 6858000"/>
              <a:gd name="connsiteX734" fmla="*/ 84689 w 7467600"/>
              <a:gd name="connsiteY734" fmla="*/ 1677442 h 6858000"/>
              <a:gd name="connsiteX735" fmla="*/ 298437 w 7467600"/>
              <a:gd name="connsiteY735" fmla="*/ 1968019 h 6858000"/>
              <a:gd name="connsiteX736" fmla="*/ 227269 w 7467600"/>
              <a:gd name="connsiteY736" fmla="*/ 1114064 h 6858000"/>
              <a:gd name="connsiteX737" fmla="*/ 248003 w 7467600"/>
              <a:gd name="connsiteY737" fmla="*/ 1089613 h 6858000"/>
              <a:gd name="connsiteX738" fmla="*/ 427020 w 7467600"/>
              <a:gd name="connsiteY738" fmla="*/ 1619803 h 6858000"/>
              <a:gd name="connsiteX739" fmla="*/ 340345 w 7467600"/>
              <a:gd name="connsiteY739" fmla="*/ 2027739 h 6858000"/>
              <a:gd name="connsiteX740" fmla="*/ 360865 w 7467600"/>
              <a:gd name="connsiteY740" fmla="*/ 2044827 h 6858000"/>
              <a:gd name="connsiteX741" fmla="*/ 560414 w 7467600"/>
              <a:gd name="connsiteY741" fmla="*/ 2421457 h 6858000"/>
              <a:gd name="connsiteX742" fmla="*/ 1359703 w 7467600"/>
              <a:gd name="connsiteY742" fmla="*/ 2578554 h 6858000"/>
              <a:gd name="connsiteX743" fmla="*/ 1359422 w 7467600"/>
              <a:gd name="connsiteY743" fmla="*/ 2577994 h 6858000"/>
              <a:gd name="connsiteX744" fmla="*/ 828701 w 7467600"/>
              <a:gd name="connsiteY744" fmla="*/ 1839520 h 6858000"/>
              <a:gd name="connsiteX745" fmla="*/ 494427 w 7467600"/>
              <a:gd name="connsiteY745" fmla="*/ 1092333 h 6858000"/>
              <a:gd name="connsiteX746" fmla="*/ 506322 w 7467600"/>
              <a:gd name="connsiteY746" fmla="*/ 1020997 h 6858000"/>
              <a:gd name="connsiteX747" fmla="*/ 4570198 w 7467600"/>
              <a:gd name="connsiteY747" fmla="*/ 978081 h 6858000"/>
              <a:gd name="connsiteX748" fmla="*/ 4523691 w 7467600"/>
              <a:gd name="connsiteY748" fmla="*/ 1127776 h 6858000"/>
              <a:gd name="connsiteX749" fmla="*/ 4509875 w 7467600"/>
              <a:gd name="connsiteY749" fmla="*/ 1167552 h 6858000"/>
              <a:gd name="connsiteX750" fmla="*/ 4478168 w 7467600"/>
              <a:gd name="connsiteY750" fmla="*/ 1260735 h 6858000"/>
              <a:gd name="connsiteX751" fmla="*/ 4409309 w 7467600"/>
              <a:gd name="connsiteY751" fmla="*/ 1666996 h 6858000"/>
              <a:gd name="connsiteX752" fmla="*/ 4370031 w 7467600"/>
              <a:gd name="connsiteY752" fmla="*/ 1955666 h 6858000"/>
              <a:gd name="connsiteX753" fmla="*/ 4570198 w 7467600"/>
              <a:gd name="connsiteY753" fmla="*/ 978081 h 6858000"/>
              <a:gd name="connsiteX754" fmla="*/ 4557898 w 7467600"/>
              <a:gd name="connsiteY754" fmla="*/ 900011 h 6858000"/>
              <a:gd name="connsiteX755" fmla="*/ 4344840 w 7467600"/>
              <a:gd name="connsiteY755" fmla="*/ 1922038 h 6858000"/>
              <a:gd name="connsiteX756" fmla="*/ 4378710 w 7467600"/>
              <a:gd name="connsiteY756" fmla="*/ 1665516 h 6858000"/>
              <a:gd name="connsiteX757" fmla="*/ 4448798 w 7467600"/>
              <a:gd name="connsiteY757" fmla="*/ 1253024 h 6858000"/>
              <a:gd name="connsiteX758" fmla="*/ 4480315 w 7467600"/>
              <a:gd name="connsiteY758" fmla="*/ 1158454 h 6858000"/>
              <a:gd name="connsiteX759" fmla="*/ 4494133 w 7467600"/>
              <a:gd name="connsiteY759" fmla="*/ 1118676 h 6858000"/>
              <a:gd name="connsiteX760" fmla="*/ 4557898 w 7467600"/>
              <a:gd name="connsiteY760" fmla="*/ 900011 h 6858000"/>
              <a:gd name="connsiteX761" fmla="*/ 5870151 w 7467600"/>
              <a:gd name="connsiteY761" fmla="*/ 898890 h 6858000"/>
              <a:gd name="connsiteX762" fmla="*/ 5861335 w 7467600"/>
              <a:gd name="connsiteY762" fmla="*/ 899177 h 6858000"/>
              <a:gd name="connsiteX763" fmla="*/ 5843702 w 7467600"/>
              <a:gd name="connsiteY763" fmla="*/ 899748 h 6858000"/>
              <a:gd name="connsiteX764" fmla="*/ 5651107 w 7467600"/>
              <a:gd name="connsiteY764" fmla="*/ 920306 h 6858000"/>
              <a:gd name="connsiteX765" fmla="*/ 5459407 w 7467600"/>
              <a:gd name="connsiteY765" fmla="*/ 940975 h 6858000"/>
              <a:gd name="connsiteX766" fmla="*/ 5374846 w 7467600"/>
              <a:gd name="connsiteY766" fmla="*/ 941988 h 6858000"/>
              <a:gd name="connsiteX767" fmla="*/ 5256105 w 7467600"/>
              <a:gd name="connsiteY767" fmla="*/ 945632 h 6858000"/>
              <a:gd name="connsiteX768" fmla="*/ 5107071 w 7467600"/>
              <a:gd name="connsiteY768" fmla="*/ 969720 h 6858000"/>
              <a:gd name="connsiteX769" fmla="*/ 4998681 w 7467600"/>
              <a:gd name="connsiteY769" fmla="*/ 988771 h 6858000"/>
              <a:gd name="connsiteX770" fmla="*/ 5870151 w 7467600"/>
              <a:gd name="connsiteY770" fmla="*/ 898890 h 6858000"/>
              <a:gd name="connsiteX771" fmla="*/ 5504425 w 7467600"/>
              <a:gd name="connsiteY771" fmla="*/ 848067 h 6858000"/>
              <a:gd name="connsiteX772" fmla="*/ 4968849 w 7467600"/>
              <a:gd name="connsiteY772" fmla="*/ 962318 h 6858000"/>
              <a:gd name="connsiteX773" fmla="*/ 5104039 w 7467600"/>
              <a:gd name="connsiteY773" fmla="*/ 940634 h 6858000"/>
              <a:gd name="connsiteX774" fmla="*/ 5256311 w 7467600"/>
              <a:gd name="connsiteY774" fmla="*/ 916490 h 6858000"/>
              <a:gd name="connsiteX775" fmla="*/ 5377381 w 7467600"/>
              <a:gd name="connsiteY775" fmla="*/ 912671 h 6858000"/>
              <a:gd name="connsiteX776" fmla="*/ 5460148 w 7467600"/>
              <a:gd name="connsiteY776" fmla="*/ 911442 h 6858000"/>
              <a:gd name="connsiteX777" fmla="*/ 5648971 w 7467600"/>
              <a:gd name="connsiteY777" fmla="*/ 891331 h 6858000"/>
              <a:gd name="connsiteX778" fmla="*/ 5844807 w 7467600"/>
              <a:gd name="connsiteY778" fmla="*/ 870718 h 6858000"/>
              <a:gd name="connsiteX779" fmla="*/ 5862975 w 7467600"/>
              <a:gd name="connsiteY779" fmla="*/ 869756 h 6858000"/>
              <a:gd name="connsiteX780" fmla="*/ 5920887 w 7467600"/>
              <a:gd name="connsiteY780" fmla="*/ 865929 h 6858000"/>
              <a:gd name="connsiteX781" fmla="*/ 5504425 w 7467600"/>
              <a:gd name="connsiteY781" fmla="*/ 848067 h 6858000"/>
              <a:gd name="connsiteX782" fmla="*/ 3607114 w 7467600"/>
              <a:gd name="connsiteY782" fmla="*/ 467441 h 6858000"/>
              <a:gd name="connsiteX783" fmla="*/ 3296242 w 7467600"/>
              <a:gd name="connsiteY783" fmla="*/ 807991 h 6858000"/>
              <a:gd name="connsiteX784" fmla="*/ 3174674 w 7467600"/>
              <a:gd name="connsiteY784" fmla="*/ 919759 h 6858000"/>
              <a:gd name="connsiteX785" fmla="*/ 3042978 w 7467600"/>
              <a:gd name="connsiteY785" fmla="*/ 1054894 h 6858000"/>
              <a:gd name="connsiteX786" fmla="*/ 2968914 w 7467600"/>
              <a:gd name="connsiteY786" fmla="*/ 1133756 h 6858000"/>
              <a:gd name="connsiteX787" fmla="*/ 3103823 w 7467600"/>
              <a:gd name="connsiteY787" fmla="*/ 1026814 h 6858000"/>
              <a:gd name="connsiteX788" fmla="*/ 3607114 w 7467600"/>
              <a:gd name="connsiteY788" fmla="*/ 467441 h 6858000"/>
              <a:gd name="connsiteX789" fmla="*/ 3744487 w 7467600"/>
              <a:gd name="connsiteY789" fmla="*/ 383136 h 6858000"/>
              <a:gd name="connsiteX790" fmla="*/ 3970213 w 7467600"/>
              <a:gd name="connsiteY790" fmla="*/ 995559 h 6858000"/>
              <a:gd name="connsiteX791" fmla="*/ 3744487 w 7467600"/>
              <a:gd name="connsiteY791" fmla="*/ 383136 h 6858000"/>
              <a:gd name="connsiteX792" fmla="*/ 3624562 w 7467600"/>
              <a:gd name="connsiteY792" fmla="*/ 367041 h 6858000"/>
              <a:gd name="connsiteX793" fmla="*/ 3489712 w 7467600"/>
              <a:gd name="connsiteY793" fmla="*/ 485386 h 6858000"/>
              <a:gd name="connsiteX794" fmla="*/ 3182994 w 7467600"/>
              <a:gd name="connsiteY794" fmla="*/ 828265 h 6858000"/>
              <a:gd name="connsiteX795" fmla="*/ 2892114 w 7467600"/>
              <a:gd name="connsiteY795" fmla="*/ 1172635 h 6858000"/>
              <a:gd name="connsiteX796" fmla="*/ 3021459 w 7467600"/>
              <a:gd name="connsiteY796" fmla="*/ 1035385 h 6858000"/>
              <a:gd name="connsiteX797" fmla="*/ 3153873 w 7467600"/>
              <a:gd name="connsiteY797" fmla="*/ 898971 h 6858000"/>
              <a:gd name="connsiteX798" fmla="*/ 3276511 w 7467600"/>
              <a:gd name="connsiteY798" fmla="*/ 786423 h 6858000"/>
              <a:gd name="connsiteX799" fmla="*/ 3584154 w 7467600"/>
              <a:gd name="connsiteY799" fmla="*/ 448218 h 6858000"/>
              <a:gd name="connsiteX800" fmla="*/ 3624562 w 7467600"/>
              <a:gd name="connsiteY800" fmla="*/ 367041 h 6858000"/>
              <a:gd name="connsiteX801" fmla="*/ 3766672 w 7467600"/>
              <a:gd name="connsiteY801" fmla="*/ 359429 h 6858000"/>
              <a:gd name="connsiteX802" fmla="*/ 3996338 w 7467600"/>
              <a:gd name="connsiteY802" fmla="*/ 968237 h 6858000"/>
              <a:gd name="connsiteX803" fmla="*/ 3766672 w 7467600"/>
              <a:gd name="connsiteY803" fmla="*/ 359429 h 6858000"/>
              <a:gd name="connsiteX804" fmla="*/ 5805386 w 7467600"/>
              <a:gd name="connsiteY804" fmla="*/ 239240 h 6858000"/>
              <a:gd name="connsiteX805" fmla="*/ 5736947 w 7467600"/>
              <a:gd name="connsiteY805" fmla="*/ 261367 h 6858000"/>
              <a:gd name="connsiteX806" fmla="*/ 5427012 w 7467600"/>
              <a:gd name="connsiteY806" fmla="*/ 311272 h 6858000"/>
              <a:gd name="connsiteX807" fmla="*/ 5147818 w 7467600"/>
              <a:gd name="connsiteY807" fmla="*/ 322112 h 6858000"/>
              <a:gd name="connsiteX808" fmla="*/ 5060854 w 7467600"/>
              <a:gd name="connsiteY808" fmla="*/ 311882 h 6858000"/>
              <a:gd name="connsiteX809" fmla="*/ 4945989 w 7467600"/>
              <a:gd name="connsiteY809" fmla="*/ 300516 h 6858000"/>
              <a:gd name="connsiteX810" fmla="*/ 5410479 w 7467600"/>
              <a:gd name="connsiteY810" fmla="*/ 348434 h 6858000"/>
              <a:gd name="connsiteX811" fmla="*/ 5805386 w 7467600"/>
              <a:gd name="connsiteY811" fmla="*/ 239240 h 6858000"/>
              <a:gd name="connsiteX812" fmla="*/ 5905192 w 7467600"/>
              <a:gd name="connsiteY812" fmla="*/ 163079 h 6858000"/>
              <a:gd name="connsiteX813" fmla="*/ 5865655 w 7467600"/>
              <a:gd name="connsiteY813" fmla="*/ 171901 h 6858000"/>
              <a:gd name="connsiteX814" fmla="*/ 5259740 w 7467600"/>
              <a:gd name="connsiteY814" fmla="*/ 257013 h 6858000"/>
              <a:gd name="connsiteX815" fmla="*/ 5208466 w 7467600"/>
              <a:gd name="connsiteY815" fmla="*/ 257550 h 6858000"/>
              <a:gd name="connsiteX816" fmla="*/ 4980204 w 7467600"/>
              <a:gd name="connsiteY816" fmla="*/ 271903 h 6858000"/>
              <a:gd name="connsiteX817" fmla="*/ 5068068 w 7467600"/>
              <a:gd name="connsiteY817" fmla="*/ 282244 h 6858000"/>
              <a:gd name="connsiteX818" fmla="*/ 5153231 w 7467600"/>
              <a:gd name="connsiteY818" fmla="*/ 292240 h 6858000"/>
              <a:gd name="connsiteX819" fmla="*/ 5426491 w 7467600"/>
              <a:gd name="connsiteY819" fmla="*/ 281128 h 6858000"/>
              <a:gd name="connsiteX820" fmla="*/ 5731212 w 7467600"/>
              <a:gd name="connsiteY820" fmla="*/ 231951 h 6858000"/>
              <a:gd name="connsiteX821" fmla="*/ 5905192 w 7467600"/>
              <a:gd name="connsiteY821" fmla="*/ 163079 h 6858000"/>
              <a:gd name="connsiteX822" fmla="*/ 5944437 w 7467600"/>
              <a:gd name="connsiteY822" fmla="*/ 113829 h 6858000"/>
              <a:gd name="connsiteX823" fmla="*/ 5825032 w 7467600"/>
              <a:gd name="connsiteY823" fmla="*/ 146405 h 6858000"/>
              <a:gd name="connsiteX824" fmla="*/ 4955599 w 7467600"/>
              <a:gd name="connsiteY824" fmla="*/ 247008 h 6858000"/>
              <a:gd name="connsiteX825" fmla="*/ 5210104 w 7467600"/>
              <a:gd name="connsiteY825" fmla="*/ 228123 h 6858000"/>
              <a:gd name="connsiteX826" fmla="*/ 5261015 w 7467600"/>
              <a:gd name="connsiteY826" fmla="*/ 227087 h 6858000"/>
              <a:gd name="connsiteX827" fmla="*/ 5861181 w 7467600"/>
              <a:gd name="connsiteY827" fmla="*/ 143093 h 6858000"/>
              <a:gd name="connsiteX828" fmla="*/ 5961252 w 7467600"/>
              <a:gd name="connsiteY828" fmla="*/ 114820 h 6858000"/>
              <a:gd name="connsiteX829" fmla="*/ 5944437 w 7467600"/>
              <a:gd name="connsiteY829" fmla="*/ 113829 h 6858000"/>
              <a:gd name="connsiteX830" fmla="*/ 3882765 w 7467600"/>
              <a:gd name="connsiteY830" fmla="*/ 0 h 6858000"/>
              <a:gd name="connsiteX831" fmla="*/ 3995099 w 7467600"/>
              <a:gd name="connsiteY831" fmla="*/ 0 h 6858000"/>
              <a:gd name="connsiteX832" fmla="*/ 4163818 w 7467600"/>
              <a:gd name="connsiteY832" fmla="*/ 234104 h 6858000"/>
              <a:gd name="connsiteX833" fmla="*/ 4172099 w 7467600"/>
              <a:gd name="connsiteY833" fmla="*/ 234207 h 6858000"/>
              <a:gd name="connsiteX834" fmla="*/ 4784282 w 7467600"/>
              <a:gd name="connsiteY834" fmla="*/ 276561 h 6858000"/>
              <a:gd name="connsiteX835" fmla="*/ 4801687 w 7467600"/>
              <a:gd name="connsiteY835" fmla="*/ 267764 h 6858000"/>
              <a:gd name="connsiteX836" fmla="*/ 6082788 w 7467600"/>
              <a:gd name="connsiteY836" fmla="*/ 64119 h 6858000"/>
              <a:gd name="connsiteX837" fmla="*/ 6099442 w 7467600"/>
              <a:gd name="connsiteY837" fmla="*/ 82568 h 6858000"/>
              <a:gd name="connsiteX838" fmla="*/ 4804137 w 7467600"/>
              <a:gd name="connsiteY838" fmla="*/ 320931 h 6858000"/>
              <a:gd name="connsiteX839" fmla="*/ 4227047 w 7467600"/>
              <a:gd name="connsiteY839" fmla="*/ 313415 h 6858000"/>
              <a:gd name="connsiteX840" fmla="*/ 4346041 w 7467600"/>
              <a:gd name="connsiteY840" fmla="*/ 456086 h 6858000"/>
              <a:gd name="connsiteX841" fmla="*/ 4870967 w 7467600"/>
              <a:gd name="connsiteY841" fmla="*/ 963061 h 6858000"/>
              <a:gd name="connsiteX842" fmla="*/ 4889647 w 7467600"/>
              <a:gd name="connsiteY842" fmla="*/ 957147 h 6858000"/>
              <a:gd name="connsiteX843" fmla="*/ 5422504 w 7467600"/>
              <a:gd name="connsiteY843" fmla="*/ 805191 h 6858000"/>
              <a:gd name="connsiteX844" fmla="*/ 6087656 w 7467600"/>
              <a:gd name="connsiteY844" fmla="*/ 826703 h 6858000"/>
              <a:gd name="connsiteX845" fmla="*/ 6058717 w 7467600"/>
              <a:gd name="connsiteY845" fmla="*/ 865992 h 6858000"/>
              <a:gd name="connsiteX846" fmla="*/ 4974153 w 7467600"/>
              <a:gd name="connsiteY846" fmla="*/ 1045456 h 6858000"/>
              <a:gd name="connsiteX847" fmla="*/ 5627835 w 7467600"/>
              <a:gd name="connsiteY847" fmla="*/ 1472077 h 6858000"/>
              <a:gd name="connsiteX848" fmla="*/ 5629817 w 7467600"/>
              <a:gd name="connsiteY848" fmla="*/ 1471412 h 6858000"/>
              <a:gd name="connsiteX849" fmla="*/ 5634124 w 7467600"/>
              <a:gd name="connsiteY849" fmla="*/ 1470572 h 6858000"/>
              <a:gd name="connsiteX850" fmla="*/ 5755832 w 7467600"/>
              <a:gd name="connsiteY850" fmla="*/ 1383886 h 6858000"/>
              <a:gd name="connsiteX851" fmla="*/ 6014186 w 7467600"/>
              <a:gd name="connsiteY851" fmla="*/ 1279799 h 6858000"/>
              <a:gd name="connsiteX852" fmla="*/ 6901619 w 7467600"/>
              <a:gd name="connsiteY852" fmla="*/ 1047874 h 6858000"/>
              <a:gd name="connsiteX853" fmla="*/ 6931566 w 7467600"/>
              <a:gd name="connsiteY853" fmla="*/ 1062034 h 6858000"/>
              <a:gd name="connsiteX854" fmla="*/ 5790982 w 7467600"/>
              <a:gd name="connsiteY854" fmla="*/ 1561380 h 6858000"/>
              <a:gd name="connsiteX855" fmla="*/ 6188971 w 7467600"/>
              <a:gd name="connsiteY855" fmla="*/ 1755168 h 6858000"/>
              <a:gd name="connsiteX856" fmla="*/ 6202446 w 7467600"/>
              <a:gd name="connsiteY856" fmla="*/ 1752268 h 6858000"/>
              <a:gd name="connsiteX857" fmla="*/ 7179560 w 7467600"/>
              <a:gd name="connsiteY857" fmla="*/ 1467551 h 6858000"/>
              <a:gd name="connsiteX858" fmla="*/ 7158730 w 7467600"/>
              <a:gd name="connsiteY858" fmla="*/ 1507835 h 6858000"/>
              <a:gd name="connsiteX859" fmla="*/ 6326959 w 7467600"/>
              <a:gd name="connsiteY859" fmla="*/ 1817686 h 6858000"/>
              <a:gd name="connsiteX860" fmla="*/ 6537433 w 7467600"/>
              <a:gd name="connsiteY860" fmla="*/ 1907790 h 6858000"/>
              <a:gd name="connsiteX861" fmla="*/ 6550221 w 7467600"/>
              <a:gd name="connsiteY861" fmla="*/ 1910729 h 6858000"/>
              <a:gd name="connsiteX862" fmla="*/ 6964438 w 7467600"/>
              <a:gd name="connsiteY862" fmla="*/ 2209505 h 6858000"/>
              <a:gd name="connsiteX863" fmla="*/ 7367862 w 7467600"/>
              <a:gd name="connsiteY863" fmla="*/ 2806833 h 6858000"/>
              <a:gd name="connsiteX864" fmla="*/ 7364329 w 7467600"/>
              <a:gd name="connsiteY864" fmla="*/ 2826907 h 6858000"/>
              <a:gd name="connsiteX865" fmla="*/ 7290545 w 7467600"/>
              <a:gd name="connsiteY865" fmla="*/ 2850663 h 6858000"/>
              <a:gd name="connsiteX866" fmla="*/ 6472036 w 7467600"/>
              <a:gd name="connsiteY866" fmla="*/ 1959003 h 6858000"/>
              <a:gd name="connsiteX867" fmla="*/ 5792897 w 7467600"/>
              <a:gd name="connsiteY867" fmla="*/ 1647747 h 6858000"/>
              <a:gd name="connsiteX868" fmla="*/ 5842751 w 7467600"/>
              <a:gd name="connsiteY868" fmla="*/ 1816112 h 6858000"/>
              <a:gd name="connsiteX869" fmla="*/ 5847424 w 7467600"/>
              <a:gd name="connsiteY869" fmla="*/ 1815776 h 6858000"/>
              <a:gd name="connsiteX870" fmla="*/ 6399821 w 7467600"/>
              <a:gd name="connsiteY870" fmla="*/ 2344799 h 6858000"/>
              <a:gd name="connsiteX871" fmla="*/ 6323232 w 7467600"/>
              <a:gd name="connsiteY871" fmla="*/ 2389634 h 6858000"/>
              <a:gd name="connsiteX872" fmla="*/ 5942958 w 7467600"/>
              <a:gd name="connsiteY872" fmla="*/ 2077708 h 6858000"/>
              <a:gd name="connsiteX873" fmla="*/ 5921559 w 7467600"/>
              <a:gd name="connsiteY873" fmla="*/ 2378596 h 6858000"/>
              <a:gd name="connsiteX874" fmla="*/ 5817651 w 7467600"/>
              <a:gd name="connsiteY874" fmla="*/ 3023919 h 6858000"/>
              <a:gd name="connsiteX875" fmla="*/ 5729634 w 7467600"/>
              <a:gd name="connsiteY875" fmla="*/ 3051849 h 6858000"/>
              <a:gd name="connsiteX876" fmla="*/ 5611018 w 7467600"/>
              <a:gd name="connsiteY876" fmla="*/ 2316769 h 6858000"/>
              <a:gd name="connsiteX877" fmla="*/ 5687608 w 7467600"/>
              <a:gd name="connsiteY877" fmla="*/ 2039972 h 6858000"/>
              <a:gd name="connsiteX878" fmla="*/ 5657554 w 7467600"/>
              <a:gd name="connsiteY878" fmla="*/ 1576445 h 6858000"/>
              <a:gd name="connsiteX879" fmla="*/ 5150475 w 7467600"/>
              <a:gd name="connsiteY879" fmla="*/ 1274012 h 6858000"/>
              <a:gd name="connsiteX880" fmla="*/ 5349142 w 7467600"/>
              <a:gd name="connsiteY880" fmla="*/ 2204405 h 6858000"/>
              <a:gd name="connsiteX881" fmla="*/ 5262214 w 7467600"/>
              <a:gd name="connsiteY881" fmla="*/ 2233836 h 6858000"/>
              <a:gd name="connsiteX882" fmla="*/ 4981539 w 7467600"/>
              <a:gd name="connsiteY882" fmla="*/ 1542201 h 6858000"/>
              <a:gd name="connsiteX883" fmla="*/ 4958461 w 7467600"/>
              <a:gd name="connsiteY883" fmla="*/ 1136957 h 6858000"/>
              <a:gd name="connsiteX884" fmla="*/ 4655015 w 7467600"/>
              <a:gd name="connsiteY884" fmla="*/ 891426 h 6858000"/>
              <a:gd name="connsiteX885" fmla="*/ 4348002 w 7467600"/>
              <a:gd name="connsiteY885" fmla="*/ 2205895 h 6858000"/>
              <a:gd name="connsiteX886" fmla="*/ 4262250 w 7467600"/>
              <a:gd name="connsiteY886" fmla="*/ 2219972 h 6858000"/>
              <a:gd name="connsiteX887" fmla="*/ 4550611 w 7467600"/>
              <a:gd name="connsiteY887" fmla="*/ 817540 h 6858000"/>
              <a:gd name="connsiteX888" fmla="*/ 4564418 w 7467600"/>
              <a:gd name="connsiteY888" fmla="*/ 808293 h 6858000"/>
              <a:gd name="connsiteX889" fmla="*/ 4266388 w 7467600"/>
              <a:gd name="connsiteY889" fmla="*/ 500083 h 6858000"/>
              <a:gd name="connsiteX890" fmla="*/ 4032842 w 7467600"/>
              <a:gd name="connsiteY890" fmla="*/ 211809 h 6858000"/>
              <a:gd name="connsiteX891" fmla="*/ 3882765 w 7467600"/>
              <a:gd name="connsiteY891" fmla="*/ 0 h 6858000"/>
              <a:gd name="connsiteX892" fmla="*/ 3721337 w 7467600"/>
              <a:gd name="connsiteY892" fmla="*/ 0 h 6858000"/>
              <a:gd name="connsiteX893" fmla="*/ 3797544 w 7467600"/>
              <a:gd name="connsiteY893" fmla="*/ 0 h 6858000"/>
              <a:gd name="connsiteX894" fmla="*/ 3775734 w 7467600"/>
              <a:gd name="connsiteY894" fmla="*/ 95131 h 6858000"/>
              <a:gd name="connsiteX895" fmla="*/ 3724807 w 7467600"/>
              <a:gd name="connsiteY895" fmla="*/ 272257 h 6858000"/>
              <a:gd name="connsiteX896" fmla="*/ 3726844 w 7467600"/>
              <a:gd name="connsiteY896" fmla="*/ 282988 h 6858000"/>
              <a:gd name="connsiteX897" fmla="*/ 3742664 w 7467600"/>
              <a:gd name="connsiteY897" fmla="*/ 279918 h 6858000"/>
              <a:gd name="connsiteX898" fmla="*/ 4103910 w 7467600"/>
              <a:gd name="connsiteY898" fmla="*/ 1161917 h 6858000"/>
              <a:gd name="connsiteX899" fmla="*/ 4020269 w 7467600"/>
              <a:gd name="connsiteY899" fmla="*/ 1200406 h 6858000"/>
              <a:gd name="connsiteX900" fmla="*/ 3674882 w 7467600"/>
              <a:gd name="connsiteY900" fmla="*/ 488524 h 6858000"/>
              <a:gd name="connsiteX901" fmla="*/ 3132682 w 7467600"/>
              <a:gd name="connsiteY901" fmla="*/ 1072284 h 6858000"/>
              <a:gd name="connsiteX902" fmla="*/ 2716346 w 7467600"/>
              <a:gd name="connsiteY902" fmla="*/ 1276376 h 6858000"/>
              <a:gd name="connsiteX903" fmla="*/ 2716772 w 7467600"/>
              <a:gd name="connsiteY903" fmla="*/ 1255462 h 6858000"/>
              <a:gd name="connsiteX904" fmla="*/ 3471096 w 7467600"/>
              <a:gd name="connsiteY904" fmla="*/ 437072 h 6858000"/>
              <a:gd name="connsiteX905" fmla="*/ 3639057 w 7467600"/>
              <a:gd name="connsiteY905" fmla="*/ 286334 h 6858000"/>
              <a:gd name="connsiteX906" fmla="*/ 3640309 w 7467600"/>
              <a:gd name="connsiteY906" fmla="*/ 284664 h 6858000"/>
              <a:gd name="connsiteX907" fmla="*/ 3646022 w 7467600"/>
              <a:gd name="connsiteY907" fmla="*/ 276711 h 6858000"/>
              <a:gd name="connsiteX908" fmla="*/ 3707943 w 7467600"/>
              <a:gd name="connsiteY908" fmla="*/ 65958 h 6858000"/>
              <a:gd name="connsiteX909" fmla="*/ 3721337 w 7467600"/>
              <a:gd name="connsiteY909" fmla="*/ 0 h 6858000"/>
              <a:gd name="connsiteX910" fmla="*/ 2867960 w 7467600"/>
              <a:gd name="connsiteY910" fmla="*/ 0 h 6858000"/>
              <a:gd name="connsiteX911" fmla="*/ 2926351 w 7467600"/>
              <a:gd name="connsiteY911" fmla="*/ 0 h 6858000"/>
              <a:gd name="connsiteX912" fmla="*/ 2902823 w 7467600"/>
              <a:gd name="connsiteY912" fmla="*/ 262929 h 6858000"/>
              <a:gd name="connsiteX913" fmla="*/ 2940663 w 7467600"/>
              <a:gd name="connsiteY913" fmla="*/ 140884 h 6858000"/>
              <a:gd name="connsiteX914" fmla="*/ 2947039 w 7467600"/>
              <a:gd name="connsiteY914" fmla="*/ 122524 h 6858000"/>
              <a:gd name="connsiteX915" fmla="*/ 2984316 w 7467600"/>
              <a:gd name="connsiteY915" fmla="*/ 0 h 6858000"/>
              <a:gd name="connsiteX916" fmla="*/ 3016114 w 7467600"/>
              <a:gd name="connsiteY916" fmla="*/ 0 h 6858000"/>
              <a:gd name="connsiteX917" fmla="*/ 2979949 w 7467600"/>
              <a:gd name="connsiteY917" fmla="*/ 119274 h 6858000"/>
              <a:gd name="connsiteX918" fmla="*/ 3023879 w 7467600"/>
              <a:gd name="connsiteY918" fmla="*/ 0 h 6858000"/>
              <a:gd name="connsiteX919" fmla="*/ 3105400 w 7467600"/>
              <a:gd name="connsiteY919" fmla="*/ 0 h 6858000"/>
              <a:gd name="connsiteX920" fmla="*/ 3094669 w 7467600"/>
              <a:gd name="connsiteY920" fmla="*/ 30308 h 6858000"/>
              <a:gd name="connsiteX921" fmla="*/ 2901945 w 7467600"/>
              <a:gd name="connsiteY921" fmla="*/ 466538 h 6858000"/>
              <a:gd name="connsiteX922" fmla="*/ 2815209 w 7467600"/>
              <a:gd name="connsiteY922" fmla="*/ 497361 h 6858000"/>
              <a:gd name="connsiteX923" fmla="*/ 2844845 w 7467600"/>
              <a:gd name="connsiteY923" fmla="*/ 127638 h 6858000"/>
              <a:gd name="connsiteX924" fmla="*/ 2867960 w 7467600"/>
              <a:gd name="connsiteY924" fmla="*/ 0 h 6858000"/>
              <a:gd name="connsiteX925" fmla="*/ 1057230 w 7467600"/>
              <a:gd name="connsiteY925" fmla="*/ 0 h 6858000"/>
              <a:gd name="connsiteX926" fmla="*/ 1111003 w 7467600"/>
              <a:gd name="connsiteY926" fmla="*/ 0 h 6858000"/>
              <a:gd name="connsiteX927" fmla="*/ 1125553 w 7467600"/>
              <a:gd name="connsiteY927" fmla="*/ 52588 h 6858000"/>
              <a:gd name="connsiteX928" fmla="*/ 1304276 w 7467600"/>
              <a:gd name="connsiteY928" fmla="*/ 476275 h 6858000"/>
              <a:gd name="connsiteX929" fmla="*/ 1492066 w 7467600"/>
              <a:gd name="connsiteY929" fmla="*/ 886333 h 6858000"/>
              <a:gd name="connsiteX930" fmla="*/ 1423698 w 7467600"/>
              <a:gd name="connsiteY930" fmla="*/ 710817 h 6858000"/>
              <a:gd name="connsiteX931" fmla="*/ 1357609 w 7467600"/>
              <a:gd name="connsiteY931" fmla="*/ 532892 h 6858000"/>
              <a:gd name="connsiteX932" fmla="*/ 1309550 w 7467600"/>
              <a:gd name="connsiteY932" fmla="*/ 374031 h 6858000"/>
              <a:gd name="connsiteX933" fmla="*/ 1193673 w 7467600"/>
              <a:gd name="connsiteY933" fmla="*/ 49533 h 6858000"/>
              <a:gd name="connsiteX934" fmla="*/ 1164391 w 7467600"/>
              <a:gd name="connsiteY934" fmla="*/ 0 h 6858000"/>
              <a:gd name="connsiteX935" fmla="*/ 1200666 w 7467600"/>
              <a:gd name="connsiteY935" fmla="*/ 0 h 6858000"/>
              <a:gd name="connsiteX936" fmla="*/ 1223408 w 7467600"/>
              <a:gd name="connsiteY936" fmla="*/ 38996 h 6858000"/>
              <a:gd name="connsiteX937" fmla="*/ 1339635 w 7467600"/>
              <a:gd name="connsiteY937" fmla="*/ 365517 h 6858000"/>
              <a:gd name="connsiteX938" fmla="*/ 1387469 w 7467600"/>
              <a:gd name="connsiteY938" fmla="*/ 523079 h 6858000"/>
              <a:gd name="connsiteX939" fmla="*/ 1452685 w 7467600"/>
              <a:gd name="connsiteY939" fmla="*/ 699806 h 6858000"/>
              <a:gd name="connsiteX940" fmla="*/ 1492092 w 7467600"/>
              <a:gd name="connsiteY940" fmla="*/ 800424 h 6858000"/>
              <a:gd name="connsiteX941" fmla="*/ 1455302 w 7467600"/>
              <a:gd name="connsiteY941" fmla="*/ 632913 h 6858000"/>
              <a:gd name="connsiteX942" fmla="*/ 1222336 w 7467600"/>
              <a:gd name="connsiteY942" fmla="*/ 9480 h 6858000"/>
              <a:gd name="connsiteX943" fmla="*/ 1214634 w 7467600"/>
              <a:gd name="connsiteY943" fmla="*/ 0 h 6858000"/>
              <a:gd name="connsiteX944" fmla="*/ 1289827 w 7467600"/>
              <a:gd name="connsiteY944" fmla="*/ 0 h 6858000"/>
              <a:gd name="connsiteX945" fmla="*/ 1321076 w 7467600"/>
              <a:gd name="connsiteY945" fmla="*/ 59722 h 6858000"/>
              <a:gd name="connsiteX946" fmla="*/ 1512579 w 7467600"/>
              <a:gd name="connsiteY946" fmla="*/ 626441 h 6858000"/>
              <a:gd name="connsiteX947" fmla="*/ 1506076 w 7467600"/>
              <a:gd name="connsiteY947" fmla="*/ 1089289 h 6858000"/>
              <a:gd name="connsiteX948" fmla="*/ 1486346 w 7467600"/>
              <a:gd name="connsiteY948" fmla="*/ 1079919 h 6858000"/>
              <a:gd name="connsiteX949" fmla="*/ 1070511 w 7467600"/>
              <a:gd name="connsiteY949" fmla="*/ 48609 h 6858000"/>
              <a:gd name="connsiteX950" fmla="*/ 1057230 w 7467600"/>
              <a:gd name="connsiteY950" fmla="*/ 0 h 6858000"/>
              <a:gd name="connsiteX951" fmla="*/ 43151 w 7467600"/>
              <a:gd name="connsiteY951" fmla="*/ 0 h 6858000"/>
              <a:gd name="connsiteX952" fmla="*/ 95283 w 7467600"/>
              <a:gd name="connsiteY952" fmla="*/ 0 h 6858000"/>
              <a:gd name="connsiteX953" fmla="*/ 300708 w 7467600"/>
              <a:gd name="connsiteY953" fmla="*/ 154571 h 6858000"/>
              <a:gd name="connsiteX954" fmla="*/ 530414 w 7467600"/>
              <a:gd name="connsiteY954" fmla="*/ 354673 h 6858000"/>
              <a:gd name="connsiteX955" fmla="*/ 333785 w 7467600"/>
              <a:gd name="connsiteY955" fmla="*/ 161564 h 6858000"/>
              <a:gd name="connsiteX956" fmla="*/ 147005 w 7467600"/>
              <a:gd name="connsiteY956" fmla="*/ 0 h 6858000"/>
              <a:gd name="connsiteX957" fmla="*/ 272509 w 7467600"/>
              <a:gd name="connsiteY957" fmla="*/ 0 h 6858000"/>
              <a:gd name="connsiteX958" fmla="*/ 326276 w 7467600"/>
              <a:gd name="connsiteY958" fmla="*/ 45847 h 6858000"/>
              <a:gd name="connsiteX959" fmla="*/ 823759 w 7467600"/>
              <a:gd name="connsiteY959" fmla="*/ 574145 h 6858000"/>
              <a:gd name="connsiteX960" fmla="*/ 811254 w 7467600"/>
              <a:gd name="connsiteY960" fmla="*/ 665546 h 6858000"/>
              <a:gd name="connsiteX961" fmla="*/ 154042 w 7467600"/>
              <a:gd name="connsiteY961" fmla="*/ 261522 h 6858000"/>
              <a:gd name="connsiteX962" fmla="*/ 13550 w 7467600"/>
              <a:gd name="connsiteY962" fmla="*/ 158423 h 6858000"/>
              <a:gd name="connsiteX963" fmla="*/ 0 w 7467600"/>
              <a:gd name="connsiteY963" fmla="*/ 146618 h 6858000"/>
              <a:gd name="connsiteX964" fmla="*/ 0 w 7467600"/>
              <a:gd name="connsiteY964" fmla="*/ 59161 h 6858000"/>
              <a:gd name="connsiteX965" fmla="*/ 45427 w 7467600"/>
              <a:gd name="connsiteY965" fmla="*/ 101078 h 6858000"/>
              <a:gd name="connsiteX966" fmla="*/ 630103 w 7467600"/>
              <a:gd name="connsiteY966" fmla="*/ 485885 h 6858000"/>
              <a:gd name="connsiteX967" fmla="*/ 532040 w 7467600"/>
              <a:gd name="connsiteY967" fmla="*/ 399359 h 6858000"/>
              <a:gd name="connsiteX968" fmla="*/ 517618 w 7467600"/>
              <a:gd name="connsiteY968" fmla="*/ 385726 h 6858000"/>
              <a:gd name="connsiteX969" fmla="*/ 285074 w 7467600"/>
              <a:gd name="connsiteY969" fmla="*/ 182755 h 6858000"/>
              <a:gd name="connsiteX970" fmla="*/ 43151 w 7467600"/>
              <a:gd name="connsiteY970"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7454976 w 7467600"/>
              <a:gd name="connsiteY74" fmla="*/ 6318297 h 6858000"/>
              <a:gd name="connsiteX75" fmla="*/ 7379510 w 7467600"/>
              <a:gd name="connsiteY75" fmla="*/ 5755454 h 6858000"/>
              <a:gd name="connsiteX76" fmla="*/ 7467600 w 7467600"/>
              <a:gd name="connsiteY76" fmla="*/ 5845526 h 6858000"/>
              <a:gd name="connsiteX77" fmla="*/ 7271900 w 7467600"/>
              <a:gd name="connsiteY77" fmla="*/ 5734551 h 6858000"/>
              <a:gd name="connsiteX78" fmla="*/ 7259646 w 7467600"/>
              <a:gd name="connsiteY78" fmla="*/ 5765985 h 6858000"/>
              <a:gd name="connsiteX79" fmla="*/ 7467600 w 7467600"/>
              <a:gd name="connsiteY79" fmla="*/ 6012219 h 6858000"/>
              <a:gd name="connsiteX80" fmla="*/ 7105827 w 7467600"/>
              <a:gd name="connsiteY80" fmla="*/ 5718700 h 6858000"/>
              <a:gd name="connsiteX81" fmla="*/ 7356878 w 7467600"/>
              <a:gd name="connsiteY81" fmla="*/ 5981332 h 6858000"/>
              <a:gd name="connsiteX82" fmla="*/ 7467600 w 7467600"/>
              <a:gd name="connsiteY82" fmla="*/ 6117703 h 6858000"/>
              <a:gd name="connsiteX83" fmla="*/ 7467600 w 7467600"/>
              <a:gd name="connsiteY83" fmla="*/ 6163634 h 6858000"/>
              <a:gd name="connsiteX84" fmla="*/ 7403637 w 7467600"/>
              <a:gd name="connsiteY84" fmla="*/ 6083957 h 6858000"/>
              <a:gd name="connsiteX85" fmla="*/ 7254615 w 7467600"/>
              <a:gd name="connsiteY85" fmla="*/ 5911918 h 6858000"/>
              <a:gd name="connsiteX86" fmla="*/ 7312589 w 7467600"/>
              <a:gd name="connsiteY86" fmla="*/ 5982309 h 6858000"/>
              <a:gd name="connsiteX87" fmla="*/ 7448321 w 7467600"/>
              <a:gd name="connsiteY87" fmla="*/ 6190991 h 6858000"/>
              <a:gd name="connsiteX88" fmla="*/ 7467600 w 7467600"/>
              <a:gd name="connsiteY88" fmla="*/ 6221686 h 6858000"/>
              <a:gd name="connsiteX89" fmla="*/ 7467600 w 7467600"/>
              <a:gd name="connsiteY89" fmla="*/ 6334256 h 6858000"/>
              <a:gd name="connsiteX90" fmla="*/ 7454976 w 7467600"/>
              <a:gd name="connsiteY90" fmla="*/ 6318297 h 6858000"/>
              <a:gd name="connsiteX91" fmla="*/ 1456157 w 7467600"/>
              <a:gd name="connsiteY91" fmla="*/ 5371404 h 6858000"/>
              <a:gd name="connsiteX92" fmla="*/ 1244432 w 7467600"/>
              <a:gd name="connsiteY92" fmla="*/ 5385601 h 6858000"/>
              <a:gd name="connsiteX93" fmla="*/ 973990 w 7467600"/>
              <a:gd name="connsiteY93" fmla="*/ 5424940 h 6858000"/>
              <a:gd name="connsiteX94" fmla="*/ 1103809 w 7467600"/>
              <a:gd name="connsiteY94" fmla="*/ 5433720 h 6858000"/>
              <a:gd name="connsiteX95" fmla="*/ 1123454 w 7467600"/>
              <a:gd name="connsiteY95" fmla="*/ 5435727 h 6858000"/>
              <a:gd name="connsiteX96" fmla="*/ 1737017 w 7467600"/>
              <a:gd name="connsiteY96" fmla="*/ 5452183 h 6858000"/>
              <a:gd name="connsiteX97" fmla="*/ 1824397 w 7467600"/>
              <a:gd name="connsiteY97" fmla="*/ 5447757 h 6858000"/>
              <a:gd name="connsiteX98" fmla="*/ 2070059 w 7467600"/>
              <a:gd name="connsiteY98" fmla="*/ 5441660 h 6858000"/>
              <a:gd name="connsiteX99" fmla="*/ 1456157 w 7467600"/>
              <a:gd name="connsiteY99" fmla="*/ 5371404 h 6858000"/>
              <a:gd name="connsiteX100" fmla="*/ 4988186 w 7467600"/>
              <a:gd name="connsiteY100" fmla="*/ 5216467 h 6858000"/>
              <a:gd name="connsiteX101" fmla="*/ 4777334 w 7467600"/>
              <a:gd name="connsiteY101" fmla="*/ 5406072 h 6858000"/>
              <a:gd name="connsiteX102" fmla="*/ 4718341 w 7467600"/>
              <a:gd name="connsiteY102" fmla="*/ 5468043 h 6858000"/>
              <a:gd name="connsiteX103" fmla="*/ 4604655 w 7467600"/>
              <a:gd name="connsiteY103" fmla="*/ 5583434 h 6858000"/>
              <a:gd name="connsiteX104" fmla="*/ 4565074 w 7467600"/>
              <a:gd name="connsiteY104" fmla="*/ 5618550 h 6858000"/>
              <a:gd name="connsiteX105" fmla="*/ 4988186 w 7467600"/>
              <a:gd name="connsiteY105" fmla="*/ 5216467 h 6858000"/>
              <a:gd name="connsiteX106" fmla="*/ 4978032 w 7467600"/>
              <a:gd name="connsiteY106" fmla="*/ 5183809 h 6858000"/>
              <a:gd name="connsiteX107" fmla="*/ 4463413 w 7467600"/>
              <a:gd name="connsiteY107" fmla="*/ 5615162 h 6858000"/>
              <a:gd name="connsiteX108" fmla="*/ 4358134 w 7467600"/>
              <a:gd name="connsiteY108" fmla="*/ 5742791 h 6858000"/>
              <a:gd name="connsiteX109" fmla="*/ 4376219 w 7467600"/>
              <a:gd name="connsiteY109" fmla="*/ 5729027 h 6858000"/>
              <a:gd name="connsiteX110" fmla="*/ 4582340 w 7467600"/>
              <a:gd name="connsiteY110" fmla="*/ 5561037 h 6858000"/>
              <a:gd name="connsiteX111" fmla="*/ 4694684 w 7467600"/>
              <a:gd name="connsiteY111" fmla="*/ 5447098 h 6858000"/>
              <a:gd name="connsiteX112" fmla="*/ 4754123 w 7467600"/>
              <a:gd name="connsiteY112" fmla="*/ 5384643 h 6858000"/>
              <a:gd name="connsiteX113" fmla="*/ 4978032 w 7467600"/>
              <a:gd name="connsiteY113" fmla="*/ 5183809 h 6858000"/>
              <a:gd name="connsiteX114" fmla="*/ 1903353 w 7467600"/>
              <a:gd name="connsiteY114" fmla="*/ 5044827 h 6858000"/>
              <a:gd name="connsiteX115" fmla="*/ 1936931 w 7467600"/>
              <a:gd name="connsiteY115" fmla="*/ 5093954 h 6858000"/>
              <a:gd name="connsiteX116" fmla="*/ 2195868 w 7467600"/>
              <a:gd name="connsiteY116" fmla="*/ 5396574 h 6858000"/>
              <a:gd name="connsiteX117" fmla="*/ 2088852 w 7467600"/>
              <a:gd name="connsiteY117" fmla="*/ 5166123 h 6858000"/>
              <a:gd name="connsiteX118" fmla="*/ 1958241 w 7467600"/>
              <a:gd name="connsiteY118" fmla="*/ 5067955 h 6858000"/>
              <a:gd name="connsiteX119" fmla="*/ 1903353 w 7467600"/>
              <a:gd name="connsiteY119" fmla="*/ 5044827 h 6858000"/>
              <a:gd name="connsiteX120" fmla="*/ 1979378 w 7467600"/>
              <a:gd name="connsiteY120" fmla="*/ 4769504 h 6858000"/>
              <a:gd name="connsiteX121" fmla="*/ 2882120 w 7467600"/>
              <a:gd name="connsiteY121" fmla="*/ 5064547 h 6858000"/>
              <a:gd name="connsiteX122" fmla="*/ 2793103 w 7467600"/>
              <a:gd name="connsiteY122" fmla="*/ 5039699 h 6858000"/>
              <a:gd name="connsiteX123" fmla="*/ 2770041 w 7467600"/>
              <a:gd name="connsiteY123" fmla="*/ 5033634 h 6858000"/>
              <a:gd name="connsiteX124" fmla="*/ 1979378 w 7467600"/>
              <a:gd name="connsiteY124" fmla="*/ 4769504 h 6858000"/>
              <a:gd name="connsiteX125" fmla="*/ 1927410 w 7467600"/>
              <a:gd name="connsiteY125" fmla="*/ 4716164 h 6858000"/>
              <a:gd name="connsiteX126" fmla="*/ 1959587 w 7467600"/>
              <a:gd name="connsiteY126" fmla="*/ 4728849 h 6858000"/>
              <a:gd name="connsiteX127" fmla="*/ 2777707 w 7467600"/>
              <a:gd name="connsiteY127" fmla="*/ 5003991 h 6858000"/>
              <a:gd name="connsiteX128" fmla="*/ 2800768 w 7467600"/>
              <a:gd name="connsiteY128" fmla="*/ 5010056 h 6858000"/>
              <a:gd name="connsiteX129" fmla="*/ 2879408 w 7467600"/>
              <a:gd name="connsiteY129" fmla="*/ 5031590 h 6858000"/>
              <a:gd name="connsiteX130" fmla="*/ 2862295 w 7467600"/>
              <a:gd name="connsiteY130" fmla="*/ 5022958 h 6858000"/>
              <a:gd name="connsiteX131" fmla="*/ 2813343 w 7467600"/>
              <a:gd name="connsiteY131" fmla="*/ 4998369 h 6858000"/>
              <a:gd name="connsiteX132" fmla="*/ 2646245 w 7467600"/>
              <a:gd name="connsiteY132" fmla="*/ 4930999 h 6858000"/>
              <a:gd name="connsiteX133" fmla="*/ 1999243 w 7467600"/>
              <a:gd name="connsiteY133" fmla="*/ 4730524 h 6858000"/>
              <a:gd name="connsiteX134" fmla="*/ 1979527 w 7467600"/>
              <a:gd name="connsiteY134" fmla="*/ 4726651 h 6858000"/>
              <a:gd name="connsiteX135" fmla="*/ 1927410 w 7467600"/>
              <a:gd name="connsiteY135" fmla="*/ 4716164 h 6858000"/>
              <a:gd name="connsiteX136" fmla="*/ 1997014 w 7467600"/>
              <a:gd name="connsiteY136" fmla="*/ 4698007 h 6858000"/>
              <a:gd name="connsiteX137" fmla="*/ 2005458 w 7467600"/>
              <a:gd name="connsiteY137" fmla="*/ 4699540 h 6858000"/>
              <a:gd name="connsiteX138" fmla="*/ 2657186 w 7467600"/>
              <a:gd name="connsiteY138" fmla="*/ 4901687 h 6858000"/>
              <a:gd name="connsiteX139" fmla="*/ 2826662 w 7467600"/>
              <a:gd name="connsiteY139" fmla="*/ 4970362 h 6858000"/>
              <a:gd name="connsiteX140" fmla="*/ 2876100 w 7467600"/>
              <a:gd name="connsiteY140" fmla="*/ 4995397 h 6858000"/>
              <a:gd name="connsiteX141" fmla="*/ 3042600 w 7467600"/>
              <a:gd name="connsiteY141" fmla="*/ 5059532 h 6858000"/>
              <a:gd name="connsiteX142" fmla="*/ 1997014 w 7467600"/>
              <a:gd name="connsiteY142" fmla="*/ 4698007 h 6858000"/>
              <a:gd name="connsiteX143" fmla="*/ 2305292 w 7467600"/>
              <a:gd name="connsiteY143" fmla="*/ 4219492 h 6858000"/>
              <a:gd name="connsiteX144" fmla="*/ 3360922 w 7467600"/>
              <a:gd name="connsiteY144" fmla="*/ 4529373 h 6858000"/>
              <a:gd name="connsiteX145" fmla="*/ 3492420 w 7467600"/>
              <a:gd name="connsiteY145" fmla="*/ 4510145 h 6858000"/>
              <a:gd name="connsiteX146" fmla="*/ 3364086 w 7467600"/>
              <a:gd name="connsiteY146" fmla="*/ 4480340 h 6858000"/>
              <a:gd name="connsiteX147" fmla="*/ 3225818 w 7467600"/>
              <a:gd name="connsiteY147" fmla="*/ 4411822 h 6858000"/>
              <a:gd name="connsiteX148" fmla="*/ 3129696 w 7467600"/>
              <a:gd name="connsiteY148" fmla="*/ 4360704 h 6858000"/>
              <a:gd name="connsiteX149" fmla="*/ 2814545 w 7467600"/>
              <a:gd name="connsiteY149" fmla="*/ 4282955 h 6858000"/>
              <a:gd name="connsiteX150" fmla="*/ 2305292 w 7467600"/>
              <a:gd name="connsiteY150" fmla="*/ 4219492 h 6858000"/>
              <a:gd name="connsiteX151" fmla="*/ 2626982 w 7467600"/>
              <a:gd name="connsiteY151" fmla="*/ 4206450 h 6858000"/>
              <a:gd name="connsiteX152" fmla="*/ 2490617 w 7467600"/>
              <a:gd name="connsiteY152" fmla="*/ 4206951 h 6858000"/>
              <a:gd name="connsiteX153" fmla="*/ 2819869 w 7467600"/>
              <a:gd name="connsiteY153" fmla="*/ 4252936 h 6858000"/>
              <a:gd name="connsiteX154" fmla="*/ 3143018 w 7467600"/>
              <a:gd name="connsiteY154" fmla="*/ 4332698 h 6858000"/>
              <a:gd name="connsiteX155" fmla="*/ 3241520 w 7467600"/>
              <a:gd name="connsiteY155" fmla="*/ 4385112 h 6858000"/>
              <a:gd name="connsiteX156" fmla="*/ 3374575 w 7467600"/>
              <a:gd name="connsiteY156" fmla="*/ 4451517 h 6858000"/>
              <a:gd name="connsiteX157" fmla="*/ 3505221 w 7467600"/>
              <a:gd name="connsiteY157" fmla="*/ 4480757 h 6858000"/>
              <a:gd name="connsiteX158" fmla="*/ 2626982 w 7467600"/>
              <a:gd name="connsiteY158" fmla="*/ 4206450 h 6858000"/>
              <a:gd name="connsiteX159" fmla="*/ 1310106 w 7467600"/>
              <a:gd name="connsiteY159" fmla="*/ 3943217 h 6858000"/>
              <a:gd name="connsiteX160" fmla="*/ 854994 w 7467600"/>
              <a:gd name="connsiteY160" fmla="*/ 4399136 h 6858000"/>
              <a:gd name="connsiteX161" fmla="*/ 742462 w 7467600"/>
              <a:gd name="connsiteY161" fmla="*/ 4594648 h 6858000"/>
              <a:gd name="connsiteX162" fmla="*/ 820602 w 7467600"/>
              <a:gd name="connsiteY162" fmla="*/ 4485915 h 6858000"/>
              <a:gd name="connsiteX163" fmla="*/ 878295 w 7467600"/>
              <a:gd name="connsiteY163" fmla="*/ 4403594 h 6858000"/>
              <a:gd name="connsiteX164" fmla="*/ 1240607 w 7467600"/>
              <a:gd name="connsiteY164" fmla="*/ 4010401 h 6858000"/>
              <a:gd name="connsiteX165" fmla="*/ 1310106 w 7467600"/>
              <a:gd name="connsiteY165" fmla="*/ 3943217 h 6858000"/>
              <a:gd name="connsiteX166" fmla="*/ 1423113 w 7467600"/>
              <a:gd name="connsiteY166" fmla="*/ 3874565 h 6858000"/>
              <a:gd name="connsiteX167" fmla="*/ 1260565 w 7467600"/>
              <a:gd name="connsiteY167" fmla="*/ 4031982 h 6858000"/>
              <a:gd name="connsiteX168" fmla="*/ 901900 w 7467600"/>
              <a:gd name="connsiteY168" fmla="*/ 4421236 h 6858000"/>
              <a:gd name="connsiteX169" fmla="*/ 845044 w 7467600"/>
              <a:gd name="connsiteY169" fmla="*/ 4502436 h 6858000"/>
              <a:gd name="connsiteX170" fmla="*/ 685926 w 7467600"/>
              <a:gd name="connsiteY170" fmla="*/ 4703069 h 6858000"/>
              <a:gd name="connsiteX171" fmla="*/ 684248 w 7467600"/>
              <a:gd name="connsiteY171" fmla="*/ 4706721 h 6858000"/>
              <a:gd name="connsiteX172" fmla="*/ 1423113 w 7467600"/>
              <a:gd name="connsiteY172" fmla="*/ 3874565 h 6858000"/>
              <a:gd name="connsiteX173" fmla="*/ 3316479 w 7467600"/>
              <a:gd name="connsiteY173" fmla="*/ 3872136 h 6858000"/>
              <a:gd name="connsiteX174" fmla="*/ 3546806 w 7467600"/>
              <a:gd name="connsiteY174" fmla="*/ 4356139 h 6858000"/>
              <a:gd name="connsiteX175" fmla="*/ 3364433 w 7467600"/>
              <a:gd name="connsiteY175" fmla="*/ 3953121 h 6858000"/>
              <a:gd name="connsiteX176" fmla="*/ 3316479 w 7467600"/>
              <a:gd name="connsiteY176" fmla="*/ 3872136 h 6858000"/>
              <a:gd name="connsiteX177" fmla="*/ 3291335 w 7467600"/>
              <a:gd name="connsiteY177" fmla="*/ 3767420 h 6858000"/>
              <a:gd name="connsiteX178" fmla="*/ 3390805 w 7467600"/>
              <a:gd name="connsiteY178" fmla="*/ 3937163 h 6858000"/>
              <a:gd name="connsiteX179" fmla="*/ 3579062 w 7467600"/>
              <a:gd name="connsiteY179" fmla="*/ 4359040 h 6858000"/>
              <a:gd name="connsiteX180" fmla="*/ 3467355 w 7467600"/>
              <a:gd name="connsiteY180" fmla="*/ 3988130 h 6858000"/>
              <a:gd name="connsiteX181" fmla="*/ 3310753 w 7467600"/>
              <a:gd name="connsiteY181" fmla="*/ 3787140 h 6858000"/>
              <a:gd name="connsiteX182" fmla="*/ 3291335 w 7467600"/>
              <a:gd name="connsiteY182" fmla="*/ 3767420 h 6858000"/>
              <a:gd name="connsiteX183" fmla="*/ 1635889 w 7467600"/>
              <a:gd name="connsiteY183" fmla="*/ 3709494 h 6858000"/>
              <a:gd name="connsiteX184" fmla="*/ 1634800 w 7467600"/>
              <a:gd name="connsiteY184" fmla="*/ 3731111 h 6858000"/>
              <a:gd name="connsiteX185" fmla="*/ 1635889 w 7467600"/>
              <a:gd name="connsiteY185" fmla="*/ 3709494 h 6858000"/>
              <a:gd name="connsiteX186" fmla="*/ 1510397 w 7467600"/>
              <a:gd name="connsiteY186" fmla="*/ 3684705 h 6858000"/>
              <a:gd name="connsiteX187" fmla="*/ 1146550 w 7467600"/>
              <a:gd name="connsiteY187" fmla="*/ 3802012 h 6858000"/>
              <a:gd name="connsiteX188" fmla="*/ 698834 w 7467600"/>
              <a:gd name="connsiteY188" fmla="*/ 3952272 h 6858000"/>
              <a:gd name="connsiteX189" fmla="*/ 34256 w 7467600"/>
              <a:gd name="connsiteY189" fmla="*/ 4347603 h 6858000"/>
              <a:gd name="connsiteX190" fmla="*/ 527241 w 7467600"/>
              <a:gd name="connsiteY190" fmla="*/ 4065078 h 6858000"/>
              <a:gd name="connsiteX191" fmla="*/ 1510397 w 7467600"/>
              <a:gd name="connsiteY191" fmla="*/ 3684705 h 6858000"/>
              <a:gd name="connsiteX192" fmla="*/ 1313114 w 7467600"/>
              <a:gd name="connsiteY192" fmla="*/ 3655216 h 6858000"/>
              <a:gd name="connsiteX193" fmla="*/ 1109304 w 7467600"/>
              <a:gd name="connsiteY193" fmla="*/ 3669030 h 6858000"/>
              <a:gd name="connsiteX194" fmla="*/ 8129 w 7467600"/>
              <a:gd name="connsiteY194" fmla="*/ 4330519 h 6858000"/>
              <a:gd name="connsiteX195" fmla="*/ 687572 w 7467600"/>
              <a:gd name="connsiteY195" fmla="*/ 3925629 h 6858000"/>
              <a:gd name="connsiteX196" fmla="*/ 1138365 w 7467600"/>
              <a:gd name="connsiteY196" fmla="*/ 3774515 h 6858000"/>
              <a:gd name="connsiteX197" fmla="*/ 1505579 w 7467600"/>
              <a:gd name="connsiteY197" fmla="*/ 3655526 h 6858000"/>
              <a:gd name="connsiteX198" fmla="*/ 1313114 w 7467600"/>
              <a:gd name="connsiteY198" fmla="*/ 3655216 h 6858000"/>
              <a:gd name="connsiteX199" fmla="*/ 3655073 w 7467600"/>
              <a:gd name="connsiteY199" fmla="*/ 3650884 h 6858000"/>
              <a:gd name="connsiteX200" fmla="*/ 3989938 w 7467600"/>
              <a:gd name="connsiteY200" fmla="*/ 3991685 h 6858000"/>
              <a:gd name="connsiteX201" fmla="*/ 4393907 w 7467600"/>
              <a:gd name="connsiteY201" fmla="*/ 4261258 h 6858000"/>
              <a:gd name="connsiteX202" fmla="*/ 4648051 w 7467600"/>
              <a:gd name="connsiteY202" fmla="*/ 4374051 h 6858000"/>
              <a:gd name="connsiteX203" fmla="*/ 4383389 w 7467600"/>
              <a:gd name="connsiteY203" fmla="*/ 4184369 h 6858000"/>
              <a:gd name="connsiteX204" fmla="*/ 4165508 w 7467600"/>
              <a:gd name="connsiteY204" fmla="*/ 4035196 h 6858000"/>
              <a:gd name="connsiteX205" fmla="*/ 4068162 w 7467600"/>
              <a:gd name="connsiteY205" fmla="*/ 3953394 h 6858000"/>
              <a:gd name="connsiteX206" fmla="*/ 3981416 w 7467600"/>
              <a:gd name="connsiteY206" fmla="*/ 3880482 h 6858000"/>
              <a:gd name="connsiteX207" fmla="*/ 3800147 w 7467600"/>
              <a:gd name="connsiteY207" fmla="*/ 3749872 h 6858000"/>
              <a:gd name="connsiteX208" fmla="*/ 3655073 w 7467600"/>
              <a:gd name="connsiteY208" fmla="*/ 3650884 h 6858000"/>
              <a:gd name="connsiteX209" fmla="*/ 3670252 w 7467600"/>
              <a:gd name="connsiteY209" fmla="*/ 3622798 h 6858000"/>
              <a:gd name="connsiteX210" fmla="*/ 3817258 w 7467600"/>
              <a:gd name="connsiteY210" fmla="*/ 3723577 h 6858000"/>
              <a:gd name="connsiteX211" fmla="*/ 4000461 w 7467600"/>
              <a:gd name="connsiteY211" fmla="*/ 3855966 h 6858000"/>
              <a:gd name="connsiteX212" fmla="*/ 4088180 w 7467600"/>
              <a:gd name="connsiteY212" fmla="*/ 3929774 h 6858000"/>
              <a:gd name="connsiteX213" fmla="*/ 4184555 w 7467600"/>
              <a:gd name="connsiteY213" fmla="*/ 4010683 h 6858000"/>
              <a:gd name="connsiteX214" fmla="*/ 4399563 w 7467600"/>
              <a:gd name="connsiteY214" fmla="*/ 4158106 h 6858000"/>
              <a:gd name="connsiteX215" fmla="*/ 4684469 w 7467600"/>
              <a:gd name="connsiteY215" fmla="*/ 4364680 h 6858000"/>
              <a:gd name="connsiteX216" fmla="*/ 4690271 w 7467600"/>
              <a:gd name="connsiteY216" fmla="*/ 4370034 h 6858000"/>
              <a:gd name="connsiteX217" fmla="*/ 4136093 w 7467600"/>
              <a:gd name="connsiteY217" fmla="*/ 3858466 h 6858000"/>
              <a:gd name="connsiteX218" fmla="*/ 3670252 w 7467600"/>
              <a:gd name="connsiteY218" fmla="*/ 3622798 h 6858000"/>
              <a:gd name="connsiteX219" fmla="*/ 4440129 w 7467600"/>
              <a:gd name="connsiteY219" fmla="*/ 3448571 h 6858000"/>
              <a:gd name="connsiteX220" fmla="*/ 4856525 w 7467600"/>
              <a:gd name="connsiteY220" fmla="*/ 3915351 h 6858000"/>
              <a:gd name="connsiteX221" fmla="*/ 5059055 w 7467600"/>
              <a:gd name="connsiteY221" fmla="*/ 4108918 h 6858000"/>
              <a:gd name="connsiteX222" fmla="*/ 5290070 w 7467600"/>
              <a:gd name="connsiteY222" fmla="*/ 4263619 h 6858000"/>
              <a:gd name="connsiteX223" fmla="*/ 4834991 w 7467600"/>
              <a:gd name="connsiteY223" fmla="*/ 3830985 h 6858000"/>
              <a:gd name="connsiteX224" fmla="*/ 4440129 w 7467600"/>
              <a:gd name="connsiteY224" fmla="*/ 3448571 h 6858000"/>
              <a:gd name="connsiteX225" fmla="*/ 4441737 w 7467600"/>
              <a:gd name="connsiteY225" fmla="*/ 3399734 h 6858000"/>
              <a:gd name="connsiteX226" fmla="*/ 4431236 w 7467600"/>
              <a:gd name="connsiteY226" fmla="*/ 3400954 h 6858000"/>
              <a:gd name="connsiteX227" fmla="*/ 4557150 w 7467600"/>
              <a:gd name="connsiteY227" fmla="*/ 3510023 h 6858000"/>
              <a:gd name="connsiteX228" fmla="*/ 4856936 w 7467600"/>
              <a:gd name="connsiteY228" fmla="*/ 3809146 h 6858000"/>
              <a:gd name="connsiteX229" fmla="*/ 5111996 w 7467600"/>
              <a:gd name="connsiteY229" fmla="*/ 4065759 h 6858000"/>
              <a:gd name="connsiteX230" fmla="*/ 5388878 w 7467600"/>
              <a:gd name="connsiteY230" fmla="*/ 4300185 h 6858000"/>
              <a:gd name="connsiteX231" fmla="*/ 5425556 w 7467600"/>
              <a:gd name="connsiteY231" fmla="*/ 4308967 h 6858000"/>
              <a:gd name="connsiteX232" fmla="*/ 4943646 w 7467600"/>
              <a:gd name="connsiteY232" fmla="*/ 3822916 h 6858000"/>
              <a:gd name="connsiteX233" fmla="*/ 4594837 w 7467600"/>
              <a:gd name="connsiteY233" fmla="*/ 3532274 h 6858000"/>
              <a:gd name="connsiteX234" fmla="*/ 4441737 w 7467600"/>
              <a:gd name="connsiteY234" fmla="*/ 3399734 h 6858000"/>
              <a:gd name="connsiteX235" fmla="*/ 5425834 w 7467600"/>
              <a:gd name="connsiteY235" fmla="*/ 3162785 h 6858000"/>
              <a:gd name="connsiteX236" fmla="*/ 5401644 w 7467600"/>
              <a:gd name="connsiteY236" fmla="*/ 3617847 h 6858000"/>
              <a:gd name="connsiteX237" fmla="*/ 5467256 w 7467600"/>
              <a:gd name="connsiteY237" fmla="*/ 4175494 h 6858000"/>
              <a:gd name="connsiteX238" fmla="*/ 5448069 w 7467600"/>
              <a:gd name="connsiteY238" fmla="*/ 3567554 h 6858000"/>
              <a:gd name="connsiteX239" fmla="*/ 5425834 w 7467600"/>
              <a:gd name="connsiteY239" fmla="*/ 3162785 h 6858000"/>
              <a:gd name="connsiteX240" fmla="*/ 1318687 w 7467600"/>
              <a:gd name="connsiteY240" fmla="*/ 3113840 h 6858000"/>
              <a:gd name="connsiteX241" fmla="*/ 1066793 w 7467600"/>
              <a:gd name="connsiteY241" fmla="*/ 3212171 h 6858000"/>
              <a:gd name="connsiteX242" fmla="*/ 993319 w 7467600"/>
              <a:gd name="connsiteY242" fmla="*/ 3247648 h 6858000"/>
              <a:gd name="connsiteX243" fmla="*/ 853081 w 7467600"/>
              <a:gd name="connsiteY243" fmla="*/ 3312410 h 6858000"/>
              <a:gd name="connsiteX244" fmla="*/ 805957 w 7467600"/>
              <a:gd name="connsiteY244" fmla="*/ 3330443 h 6858000"/>
              <a:gd name="connsiteX245" fmla="*/ 1318687 w 7467600"/>
              <a:gd name="connsiteY245" fmla="*/ 3113840 h 6858000"/>
              <a:gd name="connsiteX246" fmla="*/ 5453702 w 7467600"/>
              <a:gd name="connsiteY246" fmla="*/ 3090882 h 6858000"/>
              <a:gd name="connsiteX247" fmla="*/ 5480135 w 7467600"/>
              <a:gd name="connsiteY247" fmla="*/ 3565802 h 6858000"/>
              <a:gd name="connsiteX248" fmla="*/ 5499023 w 7467600"/>
              <a:gd name="connsiteY248" fmla="*/ 4166310 h 6858000"/>
              <a:gd name="connsiteX249" fmla="*/ 5547022 w 7467600"/>
              <a:gd name="connsiteY249" fmla="*/ 3607838 h 6858000"/>
              <a:gd name="connsiteX250" fmla="*/ 5515964 w 7467600"/>
              <a:gd name="connsiteY250" fmla="*/ 3378541 h 6858000"/>
              <a:gd name="connsiteX251" fmla="*/ 5453702 w 7467600"/>
              <a:gd name="connsiteY251" fmla="*/ 3090882 h 6858000"/>
              <a:gd name="connsiteX252" fmla="*/ 1238695 w 7467600"/>
              <a:gd name="connsiteY252" fmla="*/ 3076820 h 6858000"/>
              <a:gd name="connsiteX253" fmla="*/ 716371 w 7467600"/>
              <a:gd name="connsiteY253" fmla="*/ 3293249 h 6858000"/>
              <a:gd name="connsiteX254" fmla="*/ 579522 w 7467600"/>
              <a:gd name="connsiteY254" fmla="*/ 3371759 h 6858000"/>
              <a:gd name="connsiteX255" fmla="*/ 600288 w 7467600"/>
              <a:gd name="connsiteY255" fmla="*/ 3365555 h 6858000"/>
              <a:gd name="connsiteX256" fmla="*/ 840692 w 7467600"/>
              <a:gd name="connsiteY256" fmla="*/ 3284921 h 6858000"/>
              <a:gd name="connsiteX257" fmla="*/ 979248 w 7467600"/>
              <a:gd name="connsiteY257" fmla="*/ 3221003 h 6858000"/>
              <a:gd name="connsiteX258" fmla="*/ 1053282 w 7467600"/>
              <a:gd name="connsiteY258" fmla="*/ 3185247 h 6858000"/>
              <a:gd name="connsiteX259" fmla="*/ 1320603 w 7467600"/>
              <a:gd name="connsiteY259" fmla="*/ 3081281 h 6858000"/>
              <a:gd name="connsiteX260" fmla="*/ 1238695 w 7467600"/>
              <a:gd name="connsiteY260" fmla="*/ 3076820 h 6858000"/>
              <a:gd name="connsiteX261" fmla="*/ 5425627 w 7467600"/>
              <a:gd name="connsiteY261" fmla="*/ 2954192 h 6858000"/>
              <a:gd name="connsiteX262" fmla="*/ 5470770 w 7467600"/>
              <a:gd name="connsiteY262" fmla="*/ 3005435 h 6858000"/>
              <a:gd name="connsiteX263" fmla="*/ 5519779 w 7467600"/>
              <a:gd name="connsiteY263" fmla="*/ 4359223 h 6858000"/>
              <a:gd name="connsiteX264" fmla="*/ 5520293 w 7467600"/>
              <a:gd name="connsiteY264" fmla="*/ 4360602 h 6858000"/>
              <a:gd name="connsiteX265" fmla="*/ 5767221 w 7467600"/>
              <a:gd name="connsiteY265" fmla="*/ 4665564 h 6858000"/>
              <a:gd name="connsiteX266" fmla="*/ 6937169 w 7467600"/>
              <a:gd name="connsiteY266" fmla="*/ 4815941 h 6858000"/>
              <a:gd name="connsiteX267" fmla="*/ 6953922 w 7467600"/>
              <a:gd name="connsiteY267" fmla="*/ 4890068 h 6858000"/>
              <a:gd name="connsiteX268" fmla="*/ 6071359 w 7467600"/>
              <a:gd name="connsiteY268" fmla="*/ 4770770 h 6858000"/>
              <a:gd name="connsiteX269" fmla="*/ 6038839 w 7467600"/>
              <a:gd name="connsiteY269" fmla="*/ 4764474 h 6858000"/>
              <a:gd name="connsiteX270" fmla="*/ 6038706 w 7467600"/>
              <a:gd name="connsiteY270" fmla="*/ 4763847 h 6858000"/>
              <a:gd name="connsiteX271" fmla="*/ 6037784 w 7467600"/>
              <a:gd name="connsiteY271" fmla="*/ 4764270 h 6858000"/>
              <a:gd name="connsiteX272" fmla="*/ 6038839 w 7467600"/>
              <a:gd name="connsiteY272" fmla="*/ 4764474 h 6858000"/>
              <a:gd name="connsiteX273" fmla="*/ 6040338 w 7467600"/>
              <a:gd name="connsiteY273" fmla="*/ 4771418 h 6858000"/>
              <a:gd name="connsiteX274" fmla="*/ 6024488 w 7467600"/>
              <a:gd name="connsiteY274" fmla="*/ 4809903 h 6858000"/>
              <a:gd name="connsiteX275" fmla="*/ 5599771 w 7467600"/>
              <a:gd name="connsiteY275" fmla="*/ 5509652 h 6858000"/>
              <a:gd name="connsiteX276" fmla="*/ 5548843 w 7467600"/>
              <a:gd name="connsiteY276" fmla="*/ 5563845 h 6858000"/>
              <a:gd name="connsiteX277" fmla="*/ 5940952 w 7467600"/>
              <a:gd name="connsiteY277" fmla="*/ 6250028 h 6858000"/>
              <a:gd name="connsiteX278" fmla="*/ 6043441 w 7467600"/>
              <a:gd name="connsiteY278" fmla="*/ 6665847 h 6858000"/>
              <a:gd name="connsiteX279" fmla="*/ 6093432 w 7467600"/>
              <a:gd name="connsiteY279" fmla="*/ 6858000 h 6858000"/>
              <a:gd name="connsiteX280" fmla="*/ 6034344 w 7467600"/>
              <a:gd name="connsiteY280" fmla="*/ 6858000 h 6858000"/>
              <a:gd name="connsiteX281" fmla="*/ 6026679 w 7467600"/>
              <a:gd name="connsiteY281" fmla="*/ 6836959 h 6858000"/>
              <a:gd name="connsiteX282" fmla="*/ 5800441 w 7467600"/>
              <a:gd name="connsiteY282" fmla="*/ 6335286 h 6858000"/>
              <a:gd name="connsiteX283" fmla="*/ 5526562 w 7467600"/>
              <a:gd name="connsiteY283" fmla="*/ 5705388 h 6858000"/>
              <a:gd name="connsiteX284" fmla="*/ 5519640 w 7467600"/>
              <a:gd name="connsiteY284" fmla="*/ 5683774 h 6858000"/>
              <a:gd name="connsiteX285" fmla="*/ 5844559 w 7467600"/>
              <a:gd name="connsiteY285" fmla="*/ 6553349 h 6858000"/>
              <a:gd name="connsiteX286" fmla="*/ 5975994 w 7467600"/>
              <a:gd name="connsiteY286" fmla="*/ 6858000 h 6858000"/>
              <a:gd name="connsiteX287" fmla="*/ 5898547 w 7467600"/>
              <a:gd name="connsiteY287" fmla="*/ 6858000 h 6858000"/>
              <a:gd name="connsiteX288" fmla="*/ 5682041 w 7467600"/>
              <a:gd name="connsiteY288" fmla="*/ 6355860 h 6858000"/>
              <a:gd name="connsiteX289" fmla="*/ 5461758 w 7467600"/>
              <a:gd name="connsiteY289" fmla="*/ 5820220 h 6858000"/>
              <a:gd name="connsiteX290" fmla="*/ 5237282 w 7467600"/>
              <a:gd name="connsiteY290" fmla="*/ 6579086 h 6858000"/>
              <a:gd name="connsiteX291" fmla="*/ 5115009 w 7467600"/>
              <a:gd name="connsiteY291" fmla="*/ 6858000 h 6858000"/>
              <a:gd name="connsiteX292" fmla="*/ 5028074 w 7467600"/>
              <a:gd name="connsiteY292" fmla="*/ 6858000 h 6858000"/>
              <a:gd name="connsiteX293" fmla="*/ 5079508 w 7467600"/>
              <a:gd name="connsiteY293" fmla="*/ 6749074 h 6858000"/>
              <a:gd name="connsiteX294" fmla="*/ 5371846 w 7467600"/>
              <a:gd name="connsiteY294" fmla="*/ 5924413 h 6858000"/>
              <a:gd name="connsiteX295" fmla="*/ 5270512 w 7467600"/>
              <a:gd name="connsiteY295" fmla="*/ 6138975 h 6858000"/>
              <a:gd name="connsiteX296" fmla="*/ 5062409 w 7467600"/>
              <a:gd name="connsiteY296" fmla="*/ 6653544 h 6858000"/>
              <a:gd name="connsiteX297" fmla="*/ 5036628 w 7467600"/>
              <a:gd name="connsiteY297" fmla="*/ 6754247 h 6858000"/>
              <a:gd name="connsiteX298" fmla="*/ 5009112 w 7467600"/>
              <a:gd name="connsiteY298" fmla="*/ 6858000 h 6858000"/>
              <a:gd name="connsiteX299" fmla="*/ 4976679 w 7467600"/>
              <a:gd name="connsiteY299" fmla="*/ 6858000 h 6858000"/>
              <a:gd name="connsiteX300" fmla="*/ 5006537 w 7467600"/>
              <a:gd name="connsiteY300" fmla="*/ 6747068 h 6858000"/>
              <a:gd name="connsiteX301" fmla="*/ 5032723 w 7467600"/>
              <a:gd name="connsiteY301" fmla="*/ 6644957 h 6858000"/>
              <a:gd name="connsiteX302" fmla="*/ 5242949 w 7467600"/>
              <a:gd name="connsiteY302" fmla="*/ 6125175 h 6858000"/>
              <a:gd name="connsiteX303" fmla="*/ 5286321 w 7467600"/>
              <a:gd name="connsiteY303" fmla="*/ 6033555 h 6858000"/>
              <a:gd name="connsiteX304" fmla="*/ 5008210 w 7467600"/>
              <a:gd name="connsiteY304" fmla="*/ 6649194 h 6858000"/>
              <a:gd name="connsiteX305" fmla="*/ 4986321 w 7467600"/>
              <a:gd name="connsiteY305" fmla="*/ 6765687 h 6858000"/>
              <a:gd name="connsiteX306" fmla="*/ 4973474 w 7467600"/>
              <a:gd name="connsiteY306" fmla="*/ 6858000 h 6858000"/>
              <a:gd name="connsiteX307" fmla="*/ 4907178 w 7467600"/>
              <a:gd name="connsiteY307" fmla="*/ 6858000 h 6858000"/>
              <a:gd name="connsiteX308" fmla="*/ 4910810 w 7467600"/>
              <a:gd name="connsiteY308" fmla="*/ 6829660 h 6858000"/>
              <a:gd name="connsiteX309" fmla="*/ 4987461 w 7467600"/>
              <a:gd name="connsiteY309" fmla="*/ 6432994 h 6858000"/>
              <a:gd name="connsiteX310" fmla="*/ 5179262 w 7467600"/>
              <a:gd name="connsiteY310" fmla="*/ 6035044 h 6858000"/>
              <a:gd name="connsiteX311" fmla="*/ 4689678 w 7467600"/>
              <a:gd name="connsiteY311" fmla="*/ 6440241 h 6858000"/>
              <a:gd name="connsiteX312" fmla="*/ 4477543 w 7467600"/>
              <a:gd name="connsiteY312" fmla="*/ 6674836 h 6858000"/>
              <a:gd name="connsiteX313" fmla="*/ 4329957 w 7467600"/>
              <a:gd name="connsiteY313" fmla="*/ 6858000 h 6858000"/>
              <a:gd name="connsiteX314" fmla="*/ 4218595 w 7467600"/>
              <a:gd name="connsiteY314" fmla="*/ 6858000 h 6858000"/>
              <a:gd name="connsiteX315" fmla="*/ 4368888 w 7467600"/>
              <a:gd name="connsiteY315" fmla="*/ 6668412 h 6858000"/>
              <a:gd name="connsiteX316" fmla="*/ 4563091 w 7467600"/>
              <a:gd name="connsiteY316" fmla="*/ 6442508 h 6858000"/>
              <a:gd name="connsiteX317" fmla="*/ 5387324 w 7467600"/>
              <a:gd name="connsiteY317" fmla="*/ 5705830 h 6858000"/>
              <a:gd name="connsiteX318" fmla="*/ 5073620 w 7467600"/>
              <a:gd name="connsiteY318" fmla="*/ 5955437 h 6858000"/>
              <a:gd name="connsiteX319" fmla="*/ 4689789 w 7467600"/>
              <a:gd name="connsiteY319" fmla="*/ 6268382 h 6858000"/>
              <a:gd name="connsiteX320" fmla="*/ 4418722 w 7467600"/>
              <a:gd name="connsiteY320" fmla="*/ 6570886 h 6858000"/>
              <a:gd name="connsiteX321" fmla="*/ 4214944 w 7467600"/>
              <a:gd name="connsiteY321" fmla="*/ 6858000 h 6858000"/>
              <a:gd name="connsiteX322" fmla="*/ 4177898 w 7467600"/>
              <a:gd name="connsiteY322" fmla="*/ 6858000 h 6858000"/>
              <a:gd name="connsiteX323" fmla="*/ 4391597 w 7467600"/>
              <a:gd name="connsiteY323" fmla="*/ 6556370 h 6858000"/>
              <a:gd name="connsiteX324" fmla="*/ 4668889 w 7467600"/>
              <a:gd name="connsiteY324" fmla="*/ 6246399 h 6858000"/>
              <a:gd name="connsiteX325" fmla="*/ 5055427 w 7467600"/>
              <a:gd name="connsiteY325" fmla="*/ 5931476 h 6858000"/>
              <a:gd name="connsiteX326" fmla="*/ 5371814 w 7467600"/>
              <a:gd name="connsiteY326" fmla="*/ 5678975 h 6858000"/>
              <a:gd name="connsiteX327" fmla="*/ 4987918 w 7467600"/>
              <a:gd name="connsiteY327" fmla="*/ 5838701 h 6858000"/>
              <a:gd name="connsiteX328" fmla="*/ 4317146 w 7467600"/>
              <a:gd name="connsiteY328" fmla="*/ 6587716 h 6858000"/>
              <a:gd name="connsiteX329" fmla="*/ 4171627 w 7467600"/>
              <a:gd name="connsiteY329" fmla="*/ 6858000 h 6858000"/>
              <a:gd name="connsiteX330" fmla="*/ 4081585 w 7467600"/>
              <a:gd name="connsiteY330" fmla="*/ 6858000 h 6858000"/>
              <a:gd name="connsiteX331" fmla="*/ 4238603 w 7467600"/>
              <a:gd name="connsiteY331" fmla="*/ 6559341 h 6858000"/>
              <a:gd name="connsiteX332" fmla="*/ 4778333 w 7467600"/>
              <a:gd name="connsiteY332" fmla="*/ 5873626 h 6858000"/>
              <a:gd name="connsiteX333" fmla="*/ 5414185 w 7467600"/>
              <a:gd name="connsiteY333" fmla="*/ 5573882 h 6858000"/>
              <a:gd name="connsiteX334" fmla="*/ 5959648 w 7467600"/>
              <a:gd name="connsiteY334" fmla="*/ 4760797 h 6858000"/>
              <a:gd name="connsiteX335" fmla="*/ 5355019 w 7467600"/>
              <a:gd name="connsiteY335" fmla="*/ 4734672 h 6858000"/>
              <a:gd name="connsiteX336" fmla="*/ 5083565 w 7467600"/>
              <a:gd name="connsiteY336" fmla="*/ 5179121 h 6858000"/>
              <a:gd name="connsiteX337" fmla="*/ 4713577 w 7467600"/>
              <a:gd name="connsiteY337" fmla="*/ 5616803 h 6858000"/>
              <a:gd name="connsiteX338" fmla="*/ 3989559 w 7467600"/>
              <a:gd name="connsiteY338" fmla="*/ 6145945 h 6858000"/>
              <a:gd name="connsiteX339" fmla="*/ 3939824 w 7467600"/>
              <a:gd name="connsiteY339" fmla="*/ 6066900 h 6858000"/>
              <a:gd name="connsiteX340" fmla="*/ 4584537 w 7467600"/>
              <a:gd name="connsiteY340" fmla="*/ 5324826 h 6858000"/>
              <a:gd name="connsiteX341" fmla="*/ 5037105 w 7467600"/>
              <a:gd name="connsiteY341" fmla="*/ 5088765 h 6858000"/>
              <a:gd name="connsiteX342" fmla="*/ 5039930 w 7467600"/>
              <a:gd name="connsiteY342" fmla="*/ 5089585 h 6858000"/>
              <a:gd name="connsiteX343" fmla="*/ 5263764 w 7467600"/>
              <a:gd name="connsiteY343" fmla="*/ 4735525 h 6858000"/>
              <a:gd name="connsiteX344" fmla="*/ 4086300 w 7467600"/>
              <a:gd name="connsiteY344" fmla="*/ 4884599 h 6858000"/>
              <a:gd name="connsiteX345" fmla="*/ 4085485 w 7467600"/>
              <a:gd name="connsiteY345" fmla="*/ 4899070 h 6858000"/>
              <a:gd name="connsiteX346" fmla="*/ 3871915 w 7467600"/>
              <a:gd name="connsiteY346" fmla="*/ 5253645 h 6858000"/>
              <a:gd name="connsiteX347" fmla="*/ 3799374 w 7467600"/>
              <a:gd name="connsiteY347" fmla="*/ 5466127 h 6858000"/>
              <a:gd name="connsiteX348" fmla="*/ 3498850 w 7467600"/>
              <a:gd name="connsiteY348" fmla="*/ 6661888 h 6858000"/>
              <a:gd name="connsiteX349" fmla="*/ 3399216 w 7467600"/>
              <a:gd name="connsiteY349" fmla="*/ 6858000 h 6858000"/>
              <a:gd name="connsiteX350" fmla="*/ 3303688 w 7467600"/>
              <a:gd name="connsiteY350" fmla="*/ 6858000 h 6858000"/>
              <a:gd name="connsiteX351" fmla="*/ 3391774 w 7467600"/>
              <a:gd name="connsiteY351" fmla="*/ 6697181 h 6858000"/>
              <a:gd name="connsiteX352" fmla="*/ 3735540 w 7467600"/>
              <a:gd name="connsiteY352" fmla="*/ 5546923 h 6858000"/>
              <a:gd name="connsiteX353" fmla="*/ 3729438 w 7467600"/>
              <a:gd name="connsiteY353" fmla="*/ 5569058 h 6858000"/>
              <a:gd name="connsiteX354" fmla="*/ 3707782 w 7467600"/>
              <a:gd name="connsiteY354" fmla="*/ 5644908 h 6858000"/>
              <a:gd name="connsiteX355" fmla="*/ 3583827 w 7467600"/>
              <a:gd name="connsiteY355" fmla="*/ 6039215 h 6858000"/>
              <a:gd name="connsiteX356" fmla="*/ 3547861 w 7467600"/>
              <a:gd name="connsiteY356" fmla="*/ 6129609 h 6858000"/>
              <a:gd name="connsiteX357" fmla="*/ 3490905 w 7467600"/>
              <a:gd name="connsiteY357" fmla="*/ 6277660 h 6858000"/>
              <a:gd name="connsiteX358" fmla="*/ 3455859 w 7467600"/>
              <a:gd name="connsiteY358" fmla="*/ 6391301 h 6858000"/>
              <a:gd name="connsiteX359" fmla="*/ 3429112 w 7467600"/>
              <a:gd name="connsiteY359" fmla="*/ 6479469 h 6858000"/>
              <a:gd name="connsiteX360" fmla="*/ 3304862 w 7467600"/>
              <a:gd name="connsiteY360" fmla="*/ 6796476 h 6858000"/>
              <a:gd name="connsiteX361" fmla="*/ 3276071 w 7467600"/>
              <a:gd name="connsiteY361" fmla="*/ 6858000 h 6858000"/>
              <a:gd name="connsiteX362" fmla="*/ 3240805 w 7467600"/>
              <a:gd name="connsiteY362" fmla="*/ 6858000 h 6858000"/>
              <a:gd name="connsiteX363" fmla="*/ 3275917 w 7467600"/>
              <a:gd name="connsiteY363" fmla="*/ 6783192 h 6858000"/>
              <a:gd name="connsiteX364" fmla="*/ 3399358 w 7467600"/>
              <a:gd name="connsiteY364" fmla="*/ 6469011 h 6858000"/>
              <a:gd name="connsiteX365" fmla="*/ 3425650 w 7467600"/>
              <a:gd name="connsiteY365" fmla="*/ 6381333 h 6858000"/>
              <a:gd name="connsiteX366" fmla="*/ 3460661 w 7467600"/>
              <a:gd name="connsiteY366" fmla="*/ 6266763 h 6858000"/>
              <a:gd name="connsiteX367" fmla="*/ 3518021 w 7467600"/>
              <a:gd name="connsiteY367" fmla="*/ 6117298 h 6858000"/>
              <a:gd name="connsiteX368" fmla="*/ 3554035 w 7467600"/>
              <a:gd name="connsiteY368" fmla="*/ 6027832 h 6858000"/>
              <a:gd name="connsiteX369" fmla="*/ 3677174 w 7467600"/>
              <a:gd name="connsiteY369" fmla="*/ 5636351 h 6858000"/>
              <a:gd name="connsiteX370" fmla="*/ 3698819 w 7467600"/>
              <a:gd name="connsiteY370" fmla="*/ 5560503 h 6858000"/>
              <a:gd name="connsiteX371" fmla="*/ 3702094 w 7467600"/>
              <a:gd name="connsiteY371" fmla="*/ 5549194 h 6858000"/>
              <a:gd name="connsiteX372" fmla="*/ 3398355 w 7467600"/>
              <a:gd name="connsiteY372" fmla="*/ 6094603 h 6858000"/>
              <a:gd name="connsiteX373" fmla="*/ 3193941 w 7467600"/>
              <a:gd name="connsiteY373" fmla="*/ 6798775 h 6858000"/>
              <a:gd name="connsiteX374" fmla="*/ 3184140 w 7467600"/>
              <a:gd name="connsiteY374" fmla="*/ 6858000 h 6858000"/>
              <a:gd name="connsiteX375" fmla="*/ 3099978 w 7467600"/>
              <a:gd name="connsiteY375" fmla="*/ 6858000 h 6858000"/>
              <a:gd name="connsiteX376" fmla="*/ 3101556 w 7467600"/>
              <a:gd name="connsiteY376" fmla="*/ 6843337 h 6858000"/>
              <a:gd name="connsiteX377" fmla="*/ 3370162 w 7467600"/>
              <a:gd name="connsiteY377" fmla="*/ 5785550 h 6858000"/>
              <a:gd name="connsiteX378" fmla="*/ 3746477 w 7467600"/>
              <a:gd name="connsiteY378" fmla="*/ 5377889 h 6858000"/>
              <a:gd name="connsiteX379" fmla="*/ 3863399 w 7467600"/>
              <a:gd name="connsiteY379" fmla="*/ 5087257 h 6858000"/>
              <a:gd name="connsiteX380" fmla="*/ 3968712 w 7467600"/>
              <a:gd name="connsiteY380" fmla="*/ 4913989 h 6858000"/>
              <a:gd name="connsiteX381" fmla="*/ 2792390 w 7467600"/>
              <a:gd name="connsiteY381" fmla="*/ 5382974 h 6858000"/>
              <a:gd name="connsiteX382" fmla="*/ 2714982 w 7467600"/>
              <a:gd name="connsiteY382" fmla="*/ 5427051 h 6858000"/>
              <a:gd name="connsiteX383" fmla="*/ 2813361 w 7467600"/>
              <a:gd name="connsiteY383" fmla="*/ 6023912 h 6858000"/>
              <a:gd name="connsiteX384" fmla="*/ 2688430 w 7467600"/>
              <a:gd name="connsiteY384" fmla="*/ 6801564 h 6858000"/>
              <a:gd name="connsiteX385" fmla="*/ 2629626 w 7467600"/>
              <a:gd name="connsiteY385" fmla="*/ 6763394 h 6858000"/>
              <a:gd name="connsiteX386" fmla="*/ 2565328 w 7467600"/>
              <a:gd name="connsiteY386" fmla="*/ 5516399 h 6858000"/>
              <a:gd name="connsiteX387" fmla="*/ 1922999 w 7467600"/>
              <a:gd name="connsiteY387" fmla="*/ 5980343 h 6858000"/>
              <a:gd name="connsiteX388" fmla="*/ 1950261 w 7467600"/>
              <a:gd name="connsiteY388" fmla="*/ 6405858 h 6858000"/>
              <a:gd name="connsiteX389" fmla="*/ 2365554 w 7467600"/>
              <a:gd name="connsiteY389" fmla="*/ 6759107 h 6858000"/>
              <a:gd name="connsiteX390" fmla="*/ 2424142 w 7467600"/>
              <a:gd name="connsiteY390" fmla="*/ 6858000 h 6858000"/>
              <a:gd name="connsiteX391" fmla="*/ 2395994 w 7467600"/>
              <a:gd name="connsiteY391" fmla="*/ 6858000 h 6858000"/>
              <a:gd name="connsiteX392" fmla="*/ 2392863 w 7467600"/>
              <a:gd name="connsiteY392" fmla="*/ 6852964 h 6858000"/>
              <a:gd name="connsiteX393" fmla="*/ 2017589 w 7467600"/>
              <a:gd name="connsiteY393" fmla="*/ 6493982 h 6858000"/>
              <a:gd name="connsiteX394" fmla="*/ 2147336 w 7467600"/>
              <a:gd name="connsiteY394" fmla="*/ 6594052 h 6858000"/>
              <a:gd name="connsiteX395" fmla="*/ 2207047 w 7467600"/>
              <a:gd name="connsiteY395" fmla="*/ 6654540 h 6858000"/>
              <a:gd name="connsiteX396" fmla="*/ 2299106 w 7467600"/>
              <a:gd name="connsiteY396" fmla="*/ 6778931 h 6858000"/>
              <a:gd name="connsiteX397" fmla="*/ 2314430 w 7467600"/>
              <a:gd name="connsiteY397" fmla="*/ 6801144 h 6858000"/>
              <a:gd name="connsiteX398" fmla="*/ 2352406 w 7467600"/>
              <a:gd name="connsiteY398" fmla="*/ 6858000 h 6858000"/>
              <a:gd name="connsiteX399" fmla="*/ 2314492 w 7467600"/>
              <a:gd name="connsiteY399" fmla="*/ 6858000 h 6858000"/>
              <a:gd name="connsiteX400" fmla="*/ 2288095 w 7467600"/>
              <a:gd name="connsiteY400" fmla="*/ 6818030 h 6858000"/>
              <a:gd name="connsiteX401" fmla="*/ 2272768 w 7467600"/>
              <a:gd name="connsiteY401" fmla="*/ 6795822 h 6858000"/>
              <a:gd name="connsiteX402" fmla="*/ 2182715 w 7467600"/>
              <a:gd name="connsiteY402" fmla="*/ 6675071 h 6858000"/>
              <a:gd name="connsiteX403" fmla="*/ 2032061 w 7467600"/>
              <a:gd name="connsiteY403" fmla="*/ 6541380 h 6858000"/>
              <a:gd name="connsiteX404" fmla="*/ 2257220 w 7467600"/>
              <a:gd name="connsiteY404" fmla="*/ 6826257 h 6858000"/>
              <a:gd name="connsiteX405" fmla="*/ 2281324 w 7467600"/>
              <a:gd name="connsiteY405" fmla="*/ 6858000 h 6858000"/>
              <a:gd name="connsiteX406" fmla="*/ 2242860 w 7467600"/>
              <a:gd name="connsiteY406" fmla="*/ 6858000 h 6858000"/>
              <a:gd name="connsiteX407" fmla="*/ 2232818 w 7467600"/>
              <a:gd name="connsiteY407" fmla="*/ 6844926 h 6858000"/>
              <a:gd name="connsiteX408" fmla="*/ 1990172 w 7467600"/>
              <a:gd name="connsiteY408" fmla="*/ 6542121 h 6858000"/>
              <a:gd name="connsiteX409" fmla="*/ 2124090 w 7467600"/>
              <a:gd name="connsiteY409" fmla="*/ 6761017 h 6858000"/>
              <a:gd name="connsiteX410" fmla="*/ 2200380 w 7467600"/>
              <a:gd name="connsiteY410" fmla="*/ 6858000 h 6858000"/>
              <a:gd name="connsiteX411" fmla="*/ 2147507 w 7467600"/>
              <a:gd name="connsiteY411" fmla="*/ 6858000 h 6858000"/>
              <a:gd name="connsiteX412" fmla="*/ 2070668 w 7467600"/>
              <a:gd name="connsiteY412" fmla="*/ 6761520 h 6858000"/>
              <a:gd name="connsiteX413" fmla="*/ 1975142 w 7467600"/>
              <a:gd name="connsiteY413" fmla="*/ 6585570 h 6858000"/>
              <a:gd name="connsiteX414" fmla="*/ 2050035 w 7467600"/>
              <a:gd name="connsiteY414" fmla="*/ 6813345 h 6858000"/>
              <a:gd name="connsiteX415" fmla="*/ 2063025 w 7467600"/>
              <a:gd name="connsiteY415" fmla="*/ 6858000 h 6858000"/>
              <a:gd name="connsiteX416" fmla="*/ 2021675 w 7467600"/>
              <a:gd name="connsiteY416" fmla="*/ 6858000 h 6858000"/>
              <a:gd name="connsiteX417" fmla="*/ 2019308 w 7467600"/>
              <a:gd name="connsiteY417" fmla="*/ 6847118 h 6858000"/>
              <a:gd name="connsiteX418" fmla="*/ 1938835 w 7467600"/>
              <a:gd name="connsiteY418" fmla="*/ 6551160 h 6858000"/>
              <a:gd name="connsiteX419" fmla="*/ 1953230 w 7467600"/>
              <a:gd name="connsiteY419" fmla="*/ 6759699 h 6858000"/>
              <a:gd name="connsiteX420" fmla="*/ 1956763 w 7467600"/>
              <a:gd name="connsiteY420" fmla="*/ 6778191 h 6858000"/>
              <a:gd name="connsiteX421" fmla="*/ 1967925 w 7467600"/>
              <a:gd name="connsiteY421" fmla="*/ 6858000 h 6858000"/>
              <a:gd name="connsiteX422" fmla="*/ 1936622 w 7467600"/>
              <a:gd name="connsiteY422" fmla="*/ 6858000 h 6858000"/>
              <a:gd name="connsiteX423" fmla="*/ 1926261 w 7467600"/>
              <a:gd name="connsiteY423" fmla="*/ 6784064 h 6858000"/>
              <a:gd name="connsiteX424" fmla="*/ 1922724 w 7467600"/>
              <a:gd name="connsiteY424" fmla="*/ 6765577 h 6858000"/>
              <a:gd name="connsiteX425" fmla="*/ 1904650 w 7467600"/>
              <a:gd name="connsiteY425" fmla="*/ 6639616 h 6858000"/>
              <a:gd name="connsiteX426" fmla="*/ 1885273 w 7467600"/>
              <a:gd name="connsiteY426" fmla="*/ 6858000 h 6858000"/>
              <a:gd name="connsiteX427" fmla="*/ 1854363 w 7467600"/>
              <a:gd name="connsiteY427" fmla="*/ 6858000 h 6858000"/>
              <a:gd name="connsiteX428" fmla="*/ 1880391 w 7467600"/>
              <a:gd name="connsiteY428" fmla="*/ 6603796 h 6858000"/>
              <a:gd name="connsiteX429" fmla="*/ 1818273 w 7467600"/>
              <a:gd name="connsiteY429" fmla="*/ 6715729 h 6858000"/>
              <a:gd name="connsiteX430" fmla="*/ 1794691 w 7467600"/>
              <a:gd name="connsiteY430" fmla="*/ 6843239 h 6858000"/>
              <a:gd name="connsiteX431" fmla="*/ 1794914 w 7467600"/>
              <a:gd name="connsiteY431" fmla="*/ 6858000 h 6858000"/>
              <a:gd name="connsiteX432" fmla="*/ 1746128 w 7467600"/>
              <a:gd name="connsiteY432" fmla="*/ 6858000 h 6858000"/>
              <a:gd name="connsiteX433" fmla="*/ 1753934 w 7467600"/>
              <a:gd name="connsiteY433" fmla="*/ 6724796 h 6858000"/>
              <a:gd name="connsiteX434" fmla="*/ 1792053 w 7467600"/>
              <a:gd name="connsiteY434" fmla="*/ 6572396 h 6858000"/>
              <a:gd name="connsiteX435" fmla="*/ 1862248 w 7467600"/>
              <a:gd name="connsiteY435" fmla="*/ 6266397 h 6858000"/>
              <a:gd name="connsiteX436" fmla="*/ 1862250 w 7467600"/>
              <a:gd name="connsiteY436" fmla="*/ 6033531 h 6858000"/>
              <a:gd name="connsiteX437" fmla="*/ 1211999 w 7467600"/>
              <a:gd name="connsiteY437" fmla="*/ 6683610 h 6858000"/>
              <a:gd name="connsiteX438" fmla="*/ 1213266 w 7467600"/>
              <a:gd name="connsiteY438" fmla="*/ 6691947 h 6858000"/>
              <a:gd name="connsiteX439" fmla="*/ 1203370 w 7467600"/>
              <a:gd name="connsiteY439" fmla="*/ 6850676 h 6858000"/>
              <a:gd name="connsiteX440" fmla="*/ 1203671 w 7467600"/>
              <a:gd name="connsiteY440" fmla="*/ 6858000 h 6858000"/>
              <a:gd name="connsiteX441" fmla="*/ 1143180 w 7467600"/>
              <a:gd name="connsiteY441" fmla="*/ 6858000 h 6858000"/>
              <a:gd name="connsiteX442" fmla="*/ 1142176 w 7467600"/>
              <a:gd name="connsiteY442" fmla="*/ 6766045 h 6858000"/>
              <a:gd name="connsiteX443" fmla="*/ 1067484 w 7467600"/>
              <a:gd name="connsiteY443" fmla="*/ 6858000 h 6858000"/>
              <a:gd name="connsiteX444" fmla="*/ 953928 w 7467600"/>
              <a:gd name="connsiteY444" fmla="*/ 6858000 h 6858000"/>
              <a:gd name="connsiteX445" fmla="*/ 959715 w 7467600"/>
              <a:gd name="connsiteY445" fmla="*/ 6850185 h 6858000"/>
              <a:gd name="connsiteX446" fmla="*/ 1483788 w 7467600"/>
              <a:gd name="connsiteY446" fmla="*/ 6259174 h 6858000"/>
              <a:gd name="connsiteX447" fmla="*/ 1100671 w 7467600"/>
              <a:gd name="connsiteY447" fmla="*/ 6252137 h 6858000"/>
              <a:gd name="connsiteX448" fmla="*/ 1090144 w 7467600"/>
              <a:gd name="connsiteY448" fmla="*/ 6256748 h 6858000"/>
              <a:gd name="connsiteX449" fmla="*/ 1095872 w 7467600"/>
              <a:gd name="connsiteY449" fmla="*/ 6271892 h 6858000"/>
              <a:gd name="connsiteX450" fmla="*/ 262785 w 7467600"/>
              <a:gd name="connsiteY450" fmla="*/ 6845450 h 6858000"/>
              <a:gd name="connsiteX451" fmla="*/ 209968 w 7467600"/>
              <a:gd name="connsiteY451" fmla="*/ 6770713 h 6858000"/>
              <a:gd name="connsiteX452" fmla="*/ 873460 w 7467600"/>
              <a:gd name="connsiteY452" fmla="*/ 6253768 h 6858000"/>
              <a:gd name="connsiteX453" fmla="*/ 192686 w 7467600"/>
              <a:gd name="connsiteY453" fmla="*/ 5849257 h 6858000"/>
              <a:gd name="connsiteX454" fmla="*/ 4696 w 7467600"/>
              <a:gd name="connsiteY454" fmla="*/ 5697668 h 6858000"/>
              <a:gd name="connsiteX455" fmla="*/ 0 w 7467600"/>
              <a:gd name="connsiteY455" fmla="*/ 5689984 h 6858000"/>
              <a:gd name="connsiteX456" fmla="*/ 0 w 7467600"/>
              <a:gd name="connsiteY456" fmla="*/ 5513472 h 6858000"/>
              <a:gd name="connsiteX457" fmla="*/ 174101 w 7467600"/>
              <a:gd name="connsiteY457" fmla="*/ 5620277 h 6858000"/>
              <a:gd name="connsiteX458" fmla="*/ 891800 w 7467600"/>
              <a:gd name="connsiteY458" fmla="*/ 6036935 h 6858000"/>
              <a:gd name="connsiteX459" fmla="*/ 1072219 w 7467600"/>
              <a:gd name="connsiteY459" fmla="*/ 6169443 h 6858000"/>
              <a:gd name="connsiteX460" fmla="*/ 1074117 w 7467600"/>
              <a:gd name="connsiteY460" fmla="*/ 6170301 h 6858000"/>
              <a:gd name="connsiteX461" fmla="*/ 1083114 w 7467600"/>
              <a:gd name="connsiteY461" fmla="*/ 6174131 h 6858000"/>
              <a:gd name="connsiteX462" fmla="*/ 1543010 w 7467600"/>
              <a:gd name="connsiteY462" fmla="*/ 6191140 h 6858000"/>
              <a:gd name="connsiteX463" fmla="*/ 1551080 w 7467600"/>
              <a:gd name="connsiteY463" fmla="*/ 6195006 h 6858000"/>
              <a:gd name="connsiteX464" fmla="*/ 2345443 w 7467600"/>
              <a:gd name="connsiteY464" fmla="*/ 5549882 h 6858000"/>
              <a:gd name="connsiteX465" fmla="*/ 1721499 w 7467600"/>
              <a:gd name="connsiteY465" fmla="*/ 5599969 h 6858000"/>
              <a:gd name="connsiteX466" fmla="*/ 767716 w 7467600"/>
              <a:gd name="connsiteY466" fmla="*/ 5472768 h 6858000"/>
              <a:gd name="connsiteX467" fmla="*/ 722147 w 7467600"/>
              <a:gd name="connsiteY467" fmla="*/ 5393091 h 6858000"/>
              <a:gd name="connsiteX468" fmla="*/ 1485552 w 7467600"/>
              <a:gd name="connsiteY468" fmla="*/ 5313202 h 6858000"/>
              <a:gd name="connsiteX469" fmla="*/ 2143004 w 7467600"/>
              <a:gd name="connsiteY469" fmla="*/ 5402420 h 6858000"/>
              <a:gd name="connsiteX470" fmla="*/ 1933391 w 7467600"/>
              <a:gd name="connsiteY470" fmla="*/ 5156971 h 6858000"/>
              <a:gd name="connsiteX471" fmla="*/ 1827118 w 7467600"/>
              <a:gd name="connsiteY471" fmla="*/ 4968410 h 6858000"/>
              <a:gd name="connsiteX472" fmla="*/ 1837349 w 7467600"/>
              <a:gd name="connsiteY472" fmla="*/ 4956357 h 6858000"/>
              <a:gd name="connsiteX473" fmla="*/ 2162835 w 7467600"/>
              <a:gd name="connsiteY473" fmla="*/ 5187853 h 6858000"/>
              <a:gd name="connsiteX474" fmla="*/ 2257167 w 7467600"/>
              <a:gd name="connsiteY474" fmla="*/ 5462123 h 6858000"/>
              <a:gd name="connsiteX475" fmla="*/ 2261598 w 7467600"/>
              <a:gd name="connsiteY475" fmla="*/ 5467998 h 6858000"/>
              <a:gd name="connsiteX476" fmla="*/ 2437177 w 7467600"/>
              <a:gd name="connsiteY476" fmla="*/ 5479608 h 6858000"/>
              <a:gd name="connsiteX477" fmla="*/ 2445247 w 7467600"/>
              <a:gd name="connsiteY477" fmla="*/ 5483476 h 6858000"/>
              <a:gd name="connsiteX478" fmla="*/ 2743626 w 7467600"/>
              <a:gd name="connsiteY478" fmla="*/ 5304819 h 6858000"/>
              <a:gd name="connsiteX479" fmla="*/ 3048102 w 7467600"/>
              <a:gd name="connsiteY479" fmla="*/ 5150595 h 6858000"/>
              <a:gd name="connsiteX480" fmla="*/ 1799414 w 7467600"/>
              <a:gd name="connsiteY480" fmla="*/ 4694732 h 6858000"/>
              <a:gd name="connsiteX481" fmla="*/ 1771735 w 7467600"/>
              <a:gd name="connsiteY481" fmla="*/ 4619929 h 6858000"/>
              <a:gd name="connsiteX482" fmla="*/ 3104273 w 7467600"/>
              <a:gd name="connsiteY482" fmla="*/ 5076159 h 6858000"/>
              <a:gd name="connsiteX483" fmla="*/ 3113245 w 7467600"/>
              <a:gd name="connsiteY483" fmla="*/ 5090705 h 6858000"/>
              <a:gd name="connsiteX484" fmla="*/ 3126294 w 7467600"/>
              <a:gd name="connsiteY484" fmla="*/ 5114400 h 6858000"/>
              <a:gd name="connsiteX485" fmla="*/ 3937433 w 7467600"/>
              <a:gd name="connsiteY485" fmla="*/ 4830473 h 6858000"/>
              <a:gd name="connsiteX486" fmla="*/ 3590475 w 7467600"/>
              <a:gd name="connsiteY486" fmla="*/ 4597974 h 6858000"/>
              <a:gd name="connsiteX487" fmla="*/ 3100264 w 7467600"/>
              <a:gd name="connsiteY487" fmla="*/ 4579845 h 6858000"/>
              <a:gd name="connsiteX488" fmla="*/ 2183576 w 7467600"/>
              <a:gd name="connsiteY488" fmla="*/ 4227150 h 6858000"/>
              <a:gd name="connsiteX489" fmla="*/ 2151029 w 7467600"/>
              <a:gd name="connsiteY489" fmla="*/ 4146947 h 6858000"/>
              <a:gd name="connsiteX490" fmla="*/ 3563434 w 7467600"/>
              <a:gd name="connsiteY490" fmla="*/ 4469115 h 6858000"/>
              <a:gd name="connsiteX491" fmla="*/ 3177952 w 7467600"/>
              <a:gd name="connsiteY491" fmla="*/ 3657386 h 6858000"/>
              <a:gd name="connsiteX492" fmla="*/ 3189263 w 7467600"/>
              <a:gd name="connsiteY492" fmla="*/ 3625726 h 6858000"/>
              <a:gd name="connsiteX493" fmla="*/ 3560912 w 7467600"/>
              <a:gd name="connsiteY493" fmla="*/ 4079863 h 6858000"/>
              <a:gd name="connsiteX494" fmla="*/ 3626636 w 7467600"/>
              <a:gd name="connsiteY494" fmla="*/ 4512230 h 6858000"/>
              <a:gd name="connsiteX495" fmla="*/ 3653088 w 7467600"/>
              <a:gd name="connsiteY495" fmla="*/ 4521417 h 6858000"/>
              <a:gd name="connsiteX496" fmla="*/ 3988128 w 7467600"/>
              <a:gd name="connsiteY496" fmla="*/ 4817267 h 6858000"/>
              <a:gd name="connsiteX497" fmla="*/ 4830582 w 7467600"/>
              <a:gd name="connsiteY497" fmla="*/ 4676000 h 6858000"/>
              <a:gd name="connsiteX498" fmla="*/ 4830100 w 7467600"/>
              <a:gd name="connsiteY498" fmla="*/ 4675554 h 6858000"/>
              <a:gd name="connsiteX499" fmla="*/ 4036318 w 7467600"/>
              <a:gd name="connsiteY499" fmla="*/ 4147013 h 6858000"/>
              <a:gd name="connsiteX500" fmla="*/ 3432098 w 7467600"/>
              <a:gd name="connsiteY500" fmla="*/ 3537312 h 6858000"/>
              <a:gd name="connsiteX501" fmla="*/ 3446761 w 7467600"/>
              <a:gd name="connsiteY501" fmla="*/ 3461278 h 6858000"/>
              <a:gd name="connsiteX502" fmla="*/ 4419733 w 7467600"/>
              <a:gd name="connsiteY502" fmla="*/ 3963555 h 6858000"/>
              <a:gd name="connsiteX503" fmla="*/ 4781371 w 7467600"/>
              <a:gd name="connsiteY503" fmla="*/ 4458604 h 6858000"/>
              <a:gd name="connsiteX504" fmla="*/ 4780440 w 7467600"/>
              <a:gd name="connsiteY504" fmla="*/ 4470290 h 6858000"/>
              <a:gd name="connsiteX505" fmla="*/ 4898954 w 7467600"/>
              <a:gd name="connsiteY505" fmla="*/ 4662092 h 6858000"/>
              <a:gd name="connsiteX506" fmla="*/ 4900699 w 7467600"/>
              <a:gd name="connsiteY506" fmla="*/ 4670867 h 6858000"/>
              <a:gd name="connsiteX507" fmla="*/ 5714511 w 7467600"/>
              <a:gd name="connsiteY507" fmla="*/ 4663483 h 6858000"/>
              <a:gd name="connsiteX508" fmla="*/ 5464793 w 7467600"/>
              <a:gd name="connsiteY508" fmla="*/ 4393556 h 6858000"/>
              <a:gd name="connsiteX509" fmla="*/ 5461897 w 7467600"/>
              <a:gd name="connsiteY509" fmla="*/ 4390879 h 6858000"/>
              <a:gd name="connsiteX510" fmla="*/ 4294126 w 7467600"/>
              <a:gd name="connsiteY510" fmla="*/ 3303048 h 6858000"/>
              <a:gd name="connsiteX511" fmla="*/ 4305321 w 7467600"/>
              <a:gd name="connsiteY511" fmla="*/ 3256953 h 6858000"/>
              <a:gd name="connsiteX512" fmla="*/ 4949299 w 7467600"/>
              <a:gd name="connsiteY512" fmla="*/ 3766336 h 6858000"/>
              <a:gd name="connsiteX513" fmla="*/ 5291452 w 7467600"/>
              <a:gd name="connsiteY513" fmla="*/ 4076801 h 6858000"/>
              <a:gd name="connsiteX514" fmla="*/ 5434998 w 7467600"/>
              <a:gd name="connsiteY514" fmla="*/ 4254100 h 6858000"/>
              <a:gd name="connsiteX515" fmla="*/ 5351015 w 7467600"/>
              <a:gd name="connsiteY515" fmla="*/ 3760989 h 6858000"/>
              <a:gd name="connsiteX516" fmla="*/ 5413780 w 7467600"/>
              <a:gd name="connsiteY516" fmla="*/ 2966265 h 6858000"/>
              <a:gd name="connsiteX517" fmla="*/ 5425627 w 7467600"/>
              <a:gd name="connsiteY517" fmla="*/ 2954192 h 6858000"/>
              <a:gd name="connsiteX518" fmla="*/ 6604735 w 7467600"/>
              <a:gd name="connsiteY518" fmla="*/ 2041381 h 6858000"/>
              <a:gd name="connsiteX519" fmla="*/ 7204487 w 7467600"/>
              <a:gd name="connsiteY519" fmla="*/ 2742112 h 6858000"/>
              <a:gd name="connsiteX520" fmla="*/ 7131592 w 7467600"/>
              <a:gd name="connsiteY520" fmla="*/ 2672096 h 6858000"/>
              <a:gd name="connsiteX521" fmla="*/ 6996344 w 7467600"/>
              <a:gd name="connsiteY521" fmla="*/ 2518310 h 6858000"/>
              <a:gd name="connsiteX522" fmla="*/ 6735495 w 7467600"/>
              <a:gd name="connsiteY522" fmla="*/ 2196890 h 6858000"/>
              <a:gd name="connsiteX523" fmla="*/ 6721901 w 7467600"/>
              <a:gd name="connsiteY523" fmla="*/ 2179274 h 6858000"/>
              <a:gd name="connsiteX524" fmla="*/ 6604735 w 7467600"/>
              <a:gd name="connsiteY524" fmla="*/ 2041381 h 6858000"/>
              <a:gd name="connsiteX525" fmla="*/ 6591670 w 7467600"/>
              <a:gd name="connsiteY525" fmla="*/ 1988277 h 6858000"/>
              <a:gd name="connsiteX526" fmla="*/ 6747349 w 7467600"/>
              <a:gd name="connsiteY526" fmla="*/ 2160069 h 6858000"/>
              <a:gd name="connsiteX527" fmla="*/ 6760943 w 7467600"/>
              <a:gd name="connsiteY527" fmla="*/ 2177686 h 6858000"/>
              <a:gd name="connsiteX528" fmla="*/ 7021065 w 7467600"/>
              <a:gd name="connsiteY528" fmla="*/ 2498102 h 6858000"/>
              <a:gd name="connsiteX529" fmla="*/ 7155223 w 7467600"/>
              <a:gd name="connsiteY529" fmla="*/ 2650386 h 6858000"/>
              <a:gd name="connsiteX530" fmla="*/ 7203167 w 7467600"/>
              <a:gd name="connsiteY530" fmla="*/ 2697288 h 6858000"/>
              <a:gd name="connsiteX531" fmla="*/ 6937703 w 7467600"/>
              <a:gd name="connsiteY531" fmla="*/ 2321981 h 6858000"/>
              <a:gd name="connsiteX532" fmla="*/ 6591670 w 7467600"/>
              <a:gd name="connsiteY532" fmla="*/ 1988277 h 6858000"/>
              <a:gd name="connsiteX533" fmla="*/ 5798671 w 7467600"/>
              <a:gd name="connsiteY533" fmla="*/ 1981601 h 6858000"/>
              <a:gd name="connsiteX534" fmla="*/ 5754709 w 7467600"/>
              <a:gd name="connsiteY534" fmla="*/ 2071454 h 6858000"/>
              <a:gd name="connsiteX535" fmla="*/ 5763044 w 7467600"/>
              <a:gd name="connsiteY535" fmla="*/ 2842206 h 6858000"/>
              <a:gd name="connsiteX536" fmla="*/ 5764974 w 7467600"/>
              <a:gd name="connsiteY536" fmla="*/ 2799609 h 6858000"/>
              <a:gd name="connsiteX537" fmla="*/ 5767665 w 7467600"/>
              <a:gd name="connsiteY537" fmla="*/ 2666409 h 6858000"/>
              <a:gd name="connsiteX538" fmla="*/ 5763055 w 7467600"/>
              <a:gd name="connsiteY538" fmla="*/ 2579705 h 6858000"/>
              <a:gd name="connsiteX539" fmla="*/ 5758079 w 7467600"/>
              <a:gd name="connsiteY539" fmla="*/ 2492508 h 6858000"/>
              <a:gd name="connsiteX540" fmla="*/ 5779325 w 7467600"/>
              <a:gd name="connsiteY540" fmla="*/ 2197069 h 6858000"/>
              <a:gd name="connsiteX541" fmla="*/ 5798671 w 7467600"/>
              <a:gd name="connsiteY541" fmla="*/ 1981601 h 6858000"/>
              <a:gd name="connsiteX542" fmla="*/ 5829202 w 7467600"/>
              <a:gd name="connsiteY542" fmla="*/ 1971679 h 6858000"/>
              <a:gd name="connsiteX543" fmla="*/ 5809558 w 7467600"/>
              <a:gd name="connsiteY543" fmla="*/ 2198043 h 6858000"/>
              <a:gd name="connsiteX544" fmla="*/ 5788653 w 7467600"/>
              <a:gd name="connsiteY544" fmla="*/ 2489430 h 6858000"/>
              <a:gd name="connsiteX545" fmla="*/ 5793439 w 7467600"/>
              <a:gd name="connsiteY545" fmla="*/ 2575235 h 6858000"/>
              <a:gd name="connsiteX546" fmla="*/ 5796837 w 7467600"/>
              <a:gd name="connsiteY546" fmla="*/ 2637633 h 6858000"/>
              <a:gd name="connsiteX547" fmla="*/ 5818614 w 7467600"/>
              <a:gd name="connsiteY547" fmla="*/ 2473055 h 6858000"/>
              <a:gd name="connsiteX548" fmla="*/ 5829202 w 7467600"/>
              <a:gd name="connsiteY548" fmla="*/ 1971679 h 6858000"/>
              <a:gd name="connsiteX549" fmla="*/ 5911389 w 7467600"/>
              <a:gd name="connsiteY549" fmla="*/ 1898371 h 6858000"/>
              <a:gd name="connsiteX550" fmla="*/ 6237627 w 7467600"/>
              <a:gd name="connsiteY550" fmla="*/ 2231921 h 6858000"/>
              <a:gd name="connsiteX551" fmla="*/ 5911389 w 7467600"/>
              <a:gd name="connsiteY551" fmla="*/ 1898371 h 6858000"/>
              <a:gd name="connsiteX552" fmla="*/ 6944437 w 7467600"/>
              <a:gd name="connsiteY552" fmla="*/ 1575402 h 6858000"/>
              <a:gd name="connsiteX553" fmla="*/ 6304730 w 7467600"/>
              <a:gd name="connsiteY553" fmla="*/ 1766654 h 6858000"/>
              <a:gd name="connsiteX554" fmla="*/ 6944437 w 7467600"/>
              <a:gd name="connsiteY554" fmla="*/ 1575402 h 6858000"/>
              <a:gd name="connsiteX555" fmla="*/ 7019523 w 7467600"/>
              <a:gd name="connsiteY555" fmla="*/ 1519450 h 6858000"/>
              <a:gd name="connsiteX556" fmla="*/ 6298091 w 7467600"/>
              <a:gd name="connsiteY556" fmla="*/ 1737122 h 6858000"/>
              <a:gd name="connsiteX557" fmla="*/ 7019523 w 7467600"/>
              <a:gd name="connsiteY557" fmla="*/ 1519450 h 6858000"/>
              <a:gd name="connsiteX558" fmla="*/ 2399523 w 7467600"/>
              <a:gd name="connsiteY558" fmla="*/ 1428234 h 6858000"/>
              <a:gd name="connsiteX559" fmla="*/ 2224982 w 7467600"/>
              <a:gd name="connsiteY559" fmla="*/ 1826201 h 6858000"/>
              <a:gd name="connsiteX560" fmla="*/ 2096099 w 7467600"/>
              <a:gd name="connsiteY560" fmla="*/ 2345900 h 6858000"/>
              <a:gd name="connsiteX561" fmla="*/ 2283317 w 7467600"/>
              <a:gd name="connsiteY561" fmla="*/ 1796925 h 6858000"/>
              <a:gd name="connsiteX562" fmla="*/ 2399523 w 7467600"/>
              <a:gd name="connsiteY562" fmla="*/ 1428234 h 6858000"/>
              <a:gd name="connsiteX563" fmla="*/ 2448558 w 7467600"/>
              <a:gd name="connsiteY563" fmla="*/ 1373435 h 6858000"/>
              <a:gd name="connsiteX564" fmla="*/ 2312521 w 7467600"/>
              <a:gd name="connsiteY564" fmla="*/ 1806140 h 6858000"/>
              <a:gd name="connsiteX565" fmla="*/ 2127533 w 7467600"/>
              <a:gd name="connsiteY565" fmla="*/ 2348380 h 6858000"/>
              <a:gd name="connsiteX566" fmla="*/ 2358080 w 7467600"/>
              <a:gd name="connsiteY566" fmla="*/ 1866134 h 6858000"/>
              <a:gd name="connsiteX567" fmla="*/ 2407436 w 7467600"/>
              <a:gd name="connsiteY567" fmla="*/ 1651070 h 6858000"/>
              <a:gd name="connsiteX568" fmla="*/ 2448558 w 7467600"/>
              <a:gd name="connsiteY568" fmla="*/ 1373435 h 6858000"/>
              <a:gd name="connsiteX569" fmla="*/ 278707 w 7467600"/>
              <a:gd name="connsiteY569" fmla="*/ 1352270 h 6858000"/>
              <a:gd name="connsiteX570" fmla="*/ 321570 w 7467600"/>
              <a:gd name="connsiteY570" fmla="*/ 1861610 h 6858000"/>
              <a:gd name="connsiteX571" fmla="*/ 294281 w 7467600"/>
              <a:gd name="connsiteY571" fmla="*/ 1440658 h 6858000"/>
              <a:gd name="connsiteX572" fmla="*/ 278707 w 7467600"/>
              <a:gd name="connsiteY572" fmla="*/ 1352270 h 6858000"/>
              <a:gd name="connsiteX573" fmla="*/ 1423821 w 7467600"/>
              <a:gd name="connsiteY573" fmla="*/ 1351958 h 6858000"/>
              <a:gd name="connsiteX574" fmla="*/ 1638521 w 7467600"/>
              <a:gd name="connsiteY574" fmla="*/ 1908470 h 6858000"/>
              <a:gd name="connsiteX575" fmla="*/ 1754199 w 7467600"/>
              <a:gd name="connsiteY575" fmla="*/ 2149284 h 6858000"/>
              <a:gd name="connsiteX576" fmla="*/ 1908359 w 7467600"/>
              <a:gd name="connsiteY576" fmla="*/ 2364988 h 6858000"/>
              <a:gd name="connsiteX577" fmla="*/ 1647661 w 7467600"/>
              <a:gd name="connsiteY577" fmla="*/ 1825945 h 6858000"/>
              <a:gd name="connsiteX578" fmla="*/ 1423821 w 7467600"/>
              <a:gd name="connsiteY578" fmla="*/ 1351958 h 6858000"/>
              <a:gd name="connsiteX579" fmla="*/ 1431890 w 7467600"/>
              <a:gd name="connsiteY579" fmla="*/ 1306475 h 6858000"/>
              <a:gd name="connsiteX580" fmla="*/ 1507597 w 7467600"/>
              <a:gd name="connsiteY580" fmla="*/ 1446132 h 6858000"/>
              <a:gd name="connsiteX581" fmla="*/ 1674586 w 7467600"/>
              <a:gd name="connsiteY581" fmla="*/ 1813832 h 6858000"/>
              <a:gd name="connsiteX582" fmla="*/ 1815950 w 7467600"/>
              <a:gd name="connsiteY582" fmla="*/ 2128564 h 6858000"/>
              <a:gd name="connsiteX583" fmla="*/ 1984242 w 7467600"/>
              <a:gd name="connsiteY583" fmla="*/ 2430829 h 6858000"/>
              <a:gd name="connsiteX584" fmla="*/ 2014023 w 7467600"/>
              <a:gd name="connsiteY584" fmla="*/ 2450995 h 6858000"/>
              <a:gd name="connsiteX585" fmla="*/ 1747337 w 7467600"/>
              <a:gd name="connsiteY585" fmla="*/ 1855264 h 6858000"/>
              <a:gd name="connsiteX586" fmla="*/ 1533749 w 7467600"/>
              <a:gd name="connsiteY586" fmla="*/ 1478656 h 6858000"/>
              <a:gd name="connsiteX587" fmla="*/ 1431890 w 7467600"/>
              <a:gd name="connsiteY587" fmla="*/ 1306475 h 6858000"/>
              <a:gd name="connsiteX588" fmla="*/ 5052692 w 7467600"/>
              <a:gd name="connsiteY588" fmla="*/ 1292994 h 6858000"/>
              <a:gd name="connsiteX589" fmla="*/ 5200661 w 7467600"/>
              <a:gd name="connsiteY589" fmla="*/ 1635186 h 6858000"/>
              <a:gd name="connsiteX590" fmla="*/ 5297138 w 7467600"/>
              <a:gd name="connsiteY590" fmla="*/ 1906351 h 6858000"/>
              <a:gd name="connsiteX591" fmla="*/ 5052692 w 7467600"/>
              <a:gd name="connsiteY591" fmla="*/ 1292994 h 6858000"/>
              <a:gd name="connsiteX592" fmla="*/ 5009948 w 7467600"/>
              <a:gd name="connsiteY592" fmla="*/ 1273619 h 6858000"/>
              <a:gd name="connsiteX593" fmla="*/ 5121777 w 7467600"/>
              <a:gd name="connsiteY593" fmla="*/ 1654213 h 6858000"/>
              <a:gd name="connsiteX594" fmla="*/ 5293545 w 7467600"/>
              <a:gd name="connsiteY594" fmla="*/ 2072247 h 6858000"/>
              <a:gd name="connsiteX595" fmla="*/ 5294042 w 7467600"/>
              <a:gd name="connsiteY595" fmla="*/ 2065019 h 6858000"/>
              <a:gd name="connsiteX596" fmla="*/ 5171936 w 7467600"/>
              <a:gd name="connsiteY596" fmla="*/ 1647613 h 6858000"/>
              <a:gd name="connsiteX597" fmla="*/ 5009948 w 7467600"/>
              <a:gd name="connsiteY597" fmla="*/ 1273619 h 6858000"/>
              <a:gd name="connsiteX598" fmla="*/ 655236 w 7467600"/>
              <a:gd name="connsiteY598" fmla="*/ 1268632 h 6858000"/>
              <a:gd name="connsiteX599" fmla="*/ 839521 w 7467600"/>
              <a:gd name="connsiteY599" fmla="*/ 1685315 h 6858000"/>
              <a:gd name="connsiteX600" fmla="*/ 1109416 w 7467600"/>
              <a:gd name="connsiteY600" fmla="*/ 2061663 h 6858000"/>
              <a:gd name="connsiteX601" fmla="*/ 1298300 w 7467600"/>
              <a:gd name="connsiteY601" fmla="*/ 2247742 h 6858000"/>
              <a:gd name="connsiteX602" fmla="*/ 1125871 w 7467600"/>
              <a:gd name="connsiteY602" fmla="*/ 1989513 h 6858000"/>
              <a:gd name="connsiteX603" fmla="*/ 981574 w 7467600"/>
              <a:gd name="connsiteY603" fmla="*/ 1783157 h 6858000"/>
              <a:gd name="connsiteX604" fmla="*/ 922198 w 7467600"/>
              <a:gd name="connsiteY604" fmla="*/ 1677437 h 6858000"/>
              <a:gd name="connsiteX605" fmla="*/ 869293 w 7467600"/>
              <a:gd name="connsiteY605" fmla="*/ 1583214 h 6858000"/>
              <a:gd name="connsiteX606" fmla="*/ 751431 w 7467600"/>
              <a:gd name="connsiteY606" fmla="*/ 1405731 h 6858000"/>
              <a:gd name="connsiteX607" fmla="*/ 655236 w 7467600"/>
              <a:gd name="connsiteY607" fmla="*/ 1268632 h 6858000"/>
              <a:gd name="connsiteX608" fmla="*/ 6516292 w 7467600"/>
              <a:gd name="connsiteY608" fmla="*/ 1263064 h 6858000"/>
              <a:gd name="connsiteX609" fmla="*/ 5736320 w 7467600"/>
              <a:gd name="connsiteY609" fmla="*/ 1501803 h 6858000"/>
              <a:gd name="connsiteX610" fmla="*/ 6516292 w 7467600"/>
              <a:gd name="connsiteY610" fmla="*/ 1263064 h 6858000"/>
              <a:gd name="connsiteX611" fmla="*/ 291466 w 7467600"/>
              <a:gd name="connsiteY611" fmla="*/ 1250369 h 6858000"/>
              <a:gd name="connsiteX612" fmla="*/ 323180 w 7467600"/>
              <a:gd name="connsiteY612" fmla="*/ 1435283 h 6858000"/>
              <a:gd name="connsiteX613" fmla="*/ 349381 w 7467600"/>
              <a:gd name="connsiteY613" fmla="*/ 1875041 h 6858000"/>
              <a:gd name="connsiteX614" fmla="*/ 374363 w 7467600"/>
              <a:gd name="connsiteY614" fmla="*/ 1506494 h 6858000"/>
              <a:gd name="connsiteX615" fmla="*/ 302168 w 7467600"/>
              <a:gd name="connsiteY615" fmla="*/ 1274495 h 6858000"/>
              <a:gd name="connsiteX616" fmla="*/ 291466 w 7467600"/>
              <a:gd name="connsiteY616" fmla="*/ 1250369 h 6858000"/>
              <a:gd name="connsiteX617" fmla="*/ 678222 w 7467600"/>
              <a:gd name="connsiteY617" fmla="*/ 1248670 h 6858000"/>
              <a:gd name="connsiteX618" fmla="*/ 775536 w 7467600"/>
              <a:gd name="connsiteY618" fmla="*/ 1388015 h 6858000"/>
              <a:gd name="connsiteX619" fmla="*/ 894529 w 7467600"/>
              <a:gd name="connsiteY619" fmla="*/ 1567739 h 6858000"/>
              <a:gd name="connsiteX620" fmla="*/ 948000 w 7467600"/>
              <a:gd name="connsiteY620" fmla="*/ 1663088 h 6858000"/>
              <a:gd name="connsiteX621" fmla="*/ 1006812 w 7467600"/>
              <a:gd name="connsiteY621" fmla="*/ 1767683 h 6858000"/>
              <a:gd name="connsiteX622" fmla="*/ 1149133 w 7467600"/>
              <a:gd name="connsiteY622" fmla="*/ 1971513 h 6858000"/>
              <a:gd name="connsiteX623" fmla="*/ 1333952 w 7467600"/>
              <a:gd name="connsiteY623" fmla="*/ 2251620 h 6858000"/>
              <a:gd name="connsiteX624" fmla="*/ 1337329 w 7467600"/>
              <a:gd name="connsiteY624" fmla="*/ 2258350 h 6858000"/>
              <a:gd name="connsiteX625" fmla="*/ 1014726 w 7467600"/>
              <a:gd name="connsiteY625" fmla="*/ 1615556 h 6858000"/>
              <a:gd name="connsiteX626" fmla="*/ 678222 w 7467600"/>
              <a:gd name="connsiteY626" fmla="*/ 1248670 h 6858000"/>
              <a:gd name="connsiteX627" fmla="*/ 6691602 w 7467600"/>
              <a:gd name="connsiteY627" fmla="*/ 1140573 h 6858000"/>
              <a:gd name="connsiteX628" fmla="*/ 6571100 w 7467600"/>
              <a:gd name="connsiteY628" fmla="*/ 1183662 h 6858000"/>
              <a:gd name="connsiteX629" fmla="*/ 6241687 w 7467600"/>
              <a:gd name="connsiteY629" fmla="*/ 1257600 h 6858000"/>
              <a:gd name="connsiteX630" fmla="*/ 5693009 w 7467600"/>
              <a:gd name="connsiteY630" fmla="*/ 1478256 h 6858000"/>
              <a:gd name="connsiteX631" fmla="*/ 6548420 w 7467600"/>
              <a:gd name="connsiteY631" fmla="*/ 1214599 h 6858000"/>
              <a:gd name="connsiteX632" fmla="*/ 6605473 w 7467600"/>
              <a:gd name="connsiteY632" fmla="*/ 1184686 h 6858000"/>
              <a:gd name="connsiteX633" fmla="*/ 6691602 w 7467600"/>
              <a:gd name="connsiteY633" fmla="*/ 1140573 h 6858000"/>
              <a:gd name="connsiteX634" fmla="*/ 4002475 w 7467600"/>
              <a:gd name="connsiteY634" fmla="*/ 1037802 h 6858000"/>
              <a:gd name="connsiteX635" fmla="*/ 4000324 w 7467600"/>
              <a:gd name="connsiteY635" fmla="*/ 1039362 h 6858000"/>
              <a:gd name="connsiteX636" fmla="*/ 4002862 w 7467600"/>
              <a:gd name="connsiteY636" fmla="*/ 1042866 h 6858000"/>
              <a:gd name="connsiteX637" fmla="*/ 4002475 w 7467600"/>
              <a:gd name="connsiteY637" fmla="*/ 1037802 h 6858000"/>
              <a:gd name="connsiteX638" fmla="*/ 506322 w 7467600"/>
              <a:gd name="connsiteY638" fmla="*/ 1020997 h 6858000"/>
              <a:gd name="connsiteX639" fmla="*/ 533068 w 7467600"/>
              <a:gd name="connsiteY639" fmla="*/ 1029409 h 6858000"/>
              <a:gd name="connsiteX640" fmla="*/ 1232525 w 7467600"/>
              <a:gd name="connsiteY640" fmla="*/ 1804675 h 6858000"/>
              <a:gd name="connsiteX641" fmla="*/ 1388858 w 7467600"/>
              <a:gd name="connsiteY641" fmla="*/ 2368011 h 6858000"/>
              <a:gd name="connsiteX642" fmla="*/ 1384098 w 7467600"/>
              <a:gd name="connsiteY642" fmla="*/ 2378125 h 6858000"/>
              <a:gd name="connsiteX643" fmla="*/ 1425393 w 7467600"/>
              <a:gd name="connsiteY643" fmla="*/ 2589124 h 6858000"/>
              <a:gd name="connsiteX644" fmla="*/ 1424001 w 7467600"/>
              <a:gd name="connsiteY644" fmla="*/ 2597541 h 6858000"/>
              <a:gd name="connsiteX645" fmla="*/ 2152729 w 7467600"/>
              <a:gd name="connsiteY645" fmla="*/ 2864487 h 6858000"/>
              <a:gd name="connsiteX646" fmla="*/ 2020609 w 7467600"/>
              <a:gd name="connsiteY646" fmla="*/ 2539671 h 6858000"/>
              <a:gd name="connsiteX647" fmla="*/ 2018920 w 7467600"/>
              <a:gd name="connsiteY647" fmla="*/ 2536309 h 6858000"/>
              <a:gd name="connsiteX648" fmla="*/ 1342441 w 7467600"/>
              <a:gd name="connsiteY648" fmla="*/ 1173017 h 6858000"/>
              <a:gd name="connsiteX649" fmla="*/ 1367925 w 7467600"/>
              <a:gd name="connsiteY649" fmla="*/ 1135648 h 6858000"/>
              <a:gd name="connsiteX650" fmla="*/ 1771401 w 7467600"/>
              <a:gd name="connsiteY650" fmla="*/ 1806673 h 6858000"/>
              <a:gd name="connsiteX651" fmla="*/ 1972385 w 7467600"/>
              <a:gd name="connsiteY651" fmla="*/ 2198735 h 6858000"/>
              <a:gd name="connsiteX652" fmla="*/ 2040892 w 7467600"/>
              <a:gd name="connsiteY652" fmla="*/ 2405205 h 6858000"/>
              <a:gd name="connsiteX653" fmla="*/ 2131689 w 7467600"/>
              <a:gd name="connsiteY653" fmla="*/ 1936926 h 6858000"/>
              <a:gd name="connsiteX654" fmla="*/ 2454820 w 7467600"/>
              <a:gd name="connsiteY654" fmla="*/ 1248808 h 6858000"/>
              <a:gd name="connsiteX655" fmla="*/ 2492512 w 7467600"/>
              <a:gd name="connsiteY655" fmla="*/ 1302920 h 6858000"/>
              <a:gd name="connsiteX656" fmla="*/ 2081216 w 7467600"/>
              <a:gd name="connsiteY656" fmla="*/ 2527513 h 6858000"/>
              <a:gd name="connsiteX657" fmla="*/ 2081211 w 7467600"/>
              <a:gd name="connsiteY657" fmla="*/ 2528916 h 6858000"/>
              <a:gd name="connsiteX658" fmla="*/ 2199067 w 7467600"/>
              <a:gd name="connsiteY658" fmla="*/ 2884061 h 6858000"/>
              <a:gd name="connsiteX659" fmla="*/ 3192586 w 7467600"/>
              <a:gd name="connsiteY659" fmla="*/ 3411496 h 6858000"/>
              <a:gd name="connsiteX660" fmla="*/ 3182620 w 7467600"/>
              <a:gd name="connsiteY660" fmla="*/ 3483279 h 6858000"/>
              <a:gd name="connsiteX661" fmla="*/ 2435119 w 7467600"/>
              <a:gd name="connsiteY661" fmla="*/ 3080173 h 6858000"/>
              <a:gd name="connsiteX662" fmla="*/ 2410152 w 7467600"/>
              <a:gd name="connsiteY662" fmla="*/ 3063751 h 6858000"/>
              <a:gd name="connsiteX663" fmla="*/ 2408099 w 7467600"/>
              <a:gd name="connsiteY663" fmla="*/ 3064403 h 6858000"/>
              <a:gd name="connsiteX664" fmla="*/ 2407218 w 7467600"/>
              <a:gd name="connsiteY664" fmla="*/ 3070324 h 6858000"/>
              <a:gd name="connsiteX665" fmla="*/ 2380138 w 7467600"/>
              <a:gd name="connsiteY665" fmla="*/ 3099341 h 6858000"/>
              <a:gd name="connsiteX666" fmla="*/ 1765923 w 7467600"/>
              <a:gd name="connsiteY666" fmla="*/ 3581043 h 6858000"/>
              <a:gd name="connsiteX667" fmla="*/ 1702258 w 7467600"/>
              <a:gd name="connsiteY667" fmla="*/ 3612286 h 6858000"/>
              <a:gd name="connsiteX668" fmla="*/ 1538370 w 7467600"/>
              <a:gd name="connsiteY668" fmla="*/ 3811804 h 6858000"/>
              <a:gd name="connsiteX669" fmla="*/ 542867 w 7467600"/>
              <a:gd name="connsiteY669" fmla="*/ 4944092 h 6858000"/>
              <a:gd name="connsiteX670" fmla="*/ 515800 w 7467600"/>
              <a:gd name="connsiteY670" fmla="*/ 4862180 h 6858000"/>
              <a:gd name="connsiteX671" fmla="*/ 909145 w 7467600"/>
              <a:gd name="connsiteY671" fmla="*/ 4199225 h 6858000"/>
              <a:gd name="connsiteX672" fmla="*/ 1214067 w 7467600"/>
              <a:gd name="connsiteY672" fmla="*/ 3908561 h 6858000"/>
              <a:gd name="connsiteX673" fmla="*/ 640967 w 7467600"/>
              <a:gd name="connsiteY673" fmla="*/ 4105601 h 6858000"/>
              <a:gd name="connsiteX674" fmla="*/ 112563 w 7467600"/>
              <a:gd name="connsiteY674" fmla="*/ 4396952 h 6858000"/>
              <a:gd name="connsiteX675" fmla="*/ 0 w 7467600"/>
              <a:gd name="connsiteY675" fmla="*/ 4466006 h 6858000"/>
              <a:gd name="connsiteX676" fmla="*/ 0 w 7467600"/>
              <a:gd name="connsiteY676" fmla="*/ 4233763 h 6858000"/>
              <a:gd name="connsiteX677" fmla="*/ 36881 w 7467600"/>
              <a:gd name="connsiteY677" fmla="*/ 4200118 h 6858000"/>
              <a:gd name="connsiteX678" fmla="*/ 910534 w 7467600"/>
              <a:gd name="connsiteY678" fmla="*/ 3629753 h 6858000"/>
              <a:gd name="connsiteX679" fmla="*/ 1578717 w 7467600"/>
              <a:gd name="connsiteY679" fmla="*/ 3575982 h 6858000"/>
              <a:gd name="connsiteX680" fmla="*/ 2338780 w 7467600"/>
              <a:gd name="connsiteY680" fmla="*/ 3033725 h 6858000"/>
              <a:gd name="connsiteX681" fmla="*/ 1807991 w 7467600"/>
              <a:gd name="connsiteY681" fmla="*/ 2807184 h 6858000"/>
              <a:gd name="connsiteX682" fmla="*/ 1416358 w 7467600"/>
              <a:gd name="connsiteY682" fmla="*/ 3112571 h 6858000"/>
              <a:gd name="connsiteX683" fmla="*/ 939066 w 7467600"/>
              <a:gd name="connsiteY683" fmla="*/ 3378798 h 6858000"/>
              <a:gd name="connsiteX684" fmla="*/ 115099 w 7467600"/>
              <a:gd name="connsiteY684" fmla="*/ 3607650 h 6858000"/>
              <a:gd name="connsiteX685" fmla="*/ 97284 w 7467600"/>
              <a:gd name="connsiteY685" fmla="*/ 3520393 h 6858000"/>
              <a:gd name="connsiteX686" fmla="*/ 922050 w 7467600"/>
              <a:gd name="connsiteY686" fmla="*/ 3074867 h 6858000"/>
              <a:gd name="connsiteX687" fmla="*/ 1405265 w 7467600"/>
              <a:gd name="connsiteY687" fmla="*/ 3016319 h 6858000"/>
              <a:gd name="connsiteX688" fmla="*/ 1407512 w 7467600"/>
              <a:gd name="connsiteY688" fmla="*/ 3018001 h 6858000"/>
              <a:gd name="connsiteX689" fmla="*/ 1726266 w 7467600"/>
              <a:gd name="connsiteY689" fmla="*/ 2777274 h 6858000"/>
              <a:gd name="connsiteX690" fmla="*/ 625390 w 7467600"/>
              <a:gd name="connsiteY690" fmla="*/ 2514541 h 6858000"/>
              <a:gd name="connsiteX691" fmla="*/ 619799 w 7467600"/>
              <a:gd name="connsiteY691" fmla="*/ 2527180 h 6858000"/>
              <a:gd name="connsiteX692" fmla="*/ 310030 w 7467600"/>
              <a:gd name="connsiteY692" fmla="*/ 2771818 h 6858000"/>
              <a:gd name="connsiteX693" fmla="*/ 173877 w 7467600"/>
              <a:gd name="connsiteY693" fmla="*/ 2937056 h 6858000"/>
              <a:gd name="connsiteX694" fmla="*/ 77889 w 7467600"/>
              <a:gd name="connsiteY694" fmla="*/ 3138440 h 6858000"/>
              <a:gd name="connsiteX695" fmla="*/ 0 w 7467600"/>
              <a:gd name="connsiteY695" fmla="*/ 3271395 h 6858000"/>
              <a:gd name="connsiteX696" fmla="*/ 0 w 7467600"/>
              <a:gd name="connsiteY696" fmla="*/ 3153002 h 6858000"/>
              <a:gd name="connsiteX697" fmla="*/ 2386 w 7467600"/>
              <a:gd name="connsiteY697" fmla="*/ 3149203 h 6858000"/>
              <a:gd name="connsiteX698" fmla="*/ 89753 w 7467600"/>
              <a:gd name="connsiteY698" fmla="*/ 2987702 h 6858000"/>
              <a:gd name="connsiteX699" fmla="*/ 76869 w 7467600"/>
              <a:gd name="connsiteY699" fmla="*/ 3005404 h 6858000"/>
              <a:gd name="connsiteX700" fmla="*/ 32049 w 7467600"/>
              <a:gd name="connsiteY700" fmla="*/ 3065814 h 6858000"/>
              <a:gd name="connsiteX701" fmla="*/ 0 w 7467600"/>
              <a:gd name="connsiteY701" fmla="*/ 3108744 h 6858000"/>
              <a:gd name="connsiteX702" fmla="*/ 0 w 7467600"/>
              <a:gd name="connsiteY702" fmla="*/ 3058059 h 6858000"/>
              <a:gd name="connsiteX703" fmla="*/ 7610 w 7467600"/>
              <a:gd name="connsiteY703" fmla="*/ 3047889 h 6858000"/>
              <a:gd name="connsiteX704" fmla="*/ 52419 w 7467600"/>
              <a:gd name="connsiteY704" fmla="*/ 2987479 h 6858000"/>
              <a:gd name="connsiteX705" fmla="*/ 59142 w 7467600"/>
              <a:gd name="connsiteY705" fmla="*/ 2978488 h 6858000"/>
              <a:gd name="connsiteX706" fmla="*/ 0 w 7467600"/>
              <a:gd name="connsiteY706" fmla="*/ 3015334 h 6858000"/>
              <a:gd name="connsiteX707" fmla="*/ 0 w 7467600"/>
              <a:gd name="connsiteY707" fmla="*/ 2914286 h 6858000"/>
              <a:gd name="connsiteX708" fmla="*/ 36383 w 7467600"/>
              <a:gd name="connsiteY708" fmla="*/ 2901128 h 6858000"/>
              <a:gd name="connsiteX709" fmla="*/ 156329 w 7467600"/>
              <a:gd name="connsiteY709" fmla="*/ 2840533 h 6858000"/>
              <a:gd name="connsiteX710" fmla="*/ 358355 w 7467600"/>
              <a:gd name="connsiteY710" fmla="*/ 2620471 h 6858000"/>
              <a:gd name="connsiteX711" fmla="*/ 510577 w 7467600"/>
              <a:gd name="connsiteY711" fmla="*/ 2501244 h 6858000"/>
              <a:gd name="connsiteX712" fmla="*/ 211967 w 7467600"/>
              <a:gd name="connsiteY712" fmla="*/ 2479171 h 6858000"/>
              <a:gd name="connsiteX713" fmla="*/ 0 w 7467600"/>
              <a:gd name="connsiteY713" fmla="*/ 2476398 h 6858000"/>
              <a:gd name="connsiteX714" fmla="*/ 0 w 7467600"/>
              <a:gd name="connsiteY714" fmla="*/ 2389189 h 6858000"/>
              <a:gd name="connsiteX715" fmla="*/ 103062 w 7467600"/>
              <a:gd name="connsiteY715" fmla="*/ 2389518 h 6858000"/>
              <a:gd name="connsiteX716" fmla="*/ 510734 w 7467600"/>
              <a:gd name="connsiteY716" fmla="*/ 2416201 h 6858000"/>
              <a:gd name="connsiteX717" fmla="*/ 279257 w 7467600"/>
              <a:gd name="connsiteY717" fmla="*/ 2092102 h 6858000"/>
              <a:gd name="connsiteX718" fmla="*/ 65265 w 7467600"/>
              <a:gd name="connsiteY718" fmla="*/ 2006049 h 6858000"/>
              <a:gd name="connsiteX719" fmla="*/ 0 w 7467600"/>
              <a:gd name="connsiteY719" fmla="*/ 1982532 h 6858000"/>
              <a:gd name="connsiteX720" fmla="*/ 0 w 7467600"/>
              <a:gd name="connsiteY720" fmla="*/ 1912789 h 6858000"/>
              <a:gd name="connsiteX721" fmla="*/ 97460 w 7467600"/>
              <a:gd name="connsiteY721" fmla="*/ 1953725 h 6858000"/>
              <a:gd name="connsiteX722" fmla="*/ 221272 w 7467600"/>
              <a:gd name="connsiteY722" fmla="*/ 1980766 h 6858000"/>
              <a:gd name="connsiteX723" fmla="*/ 116765 w 7467600"/>
              <a:gd name="connsiteY723" fmla="*/ 1911033 h 6858000"/>
              <a:gd name="connsiteX724" fmla="*/ 16405 w 7467600"/>
              <a:gd name="connsiteY724" fmla="*/ 1803412 h 6858000"/>
              <a:gd name="connsiteX725" fmla="*/ 0 w 7467600"/>
              <a:gd name="connsiteY725" fmla="*/ 1784777 h 6858000"/>
              <a:gd name="connsiteX726" fmla="*/ 0 w 7467600"/>
              <a:gd name="connsiteY726" fmla="*/ 1740082 h 6858000"/>
              <a:gd name="connsiteX727" fmla="*/ 39394 w 7467600"/>
              <a:gd name="connsiteY727" fmla="*/ 1784856 h 6858000"/>
              <a:gd name="connsiteX728" fmla="*/ 135813 w 7467600"/>
              <a:gd name="connsiteY728" fmla="*/ 1888838 h 6858000"/>
              <a:gd name="connsiteX729" fmla="*/ 242575 w 7467600"/>
              <a:gd name="connsiteY729" fmla="*/ 1958841 h 6858000"/>
              <a:gd name="connsiteX730" fmla="*/ 82197 w 7467600"/>
              <a:gd name="connsiteY730" fmla="*/ 1754826 h 6858000"/>
              <a:gd name="connsiteX731" fmla="*/ 0 w 7467600"/>
              <a:gd name="connsiteY731" fmla="*/ 1679650 h 6858000"/>
              <a:gd name="connsiteX732" fmla="*/ 0 w 7467600"/>
              <a:gd name="connsiteY732" fmla="*/ 1602463 h 6858000"/>
              <a:gd name="connsiteX733" fmla="*/ 84689 w 7467600"/>
              <a:gd name="connsiteY733" fmla="*/ 1677442 h 6858000"/>
              <a:gd name="connsiteX734" fmla="*/ 298437 w 7467600"/>
              <a:gd name="connsiteY734" fmla="*/ 1968019 h 6858000"/>
              <a:gd name="connsiteX735" fmla="*/ 227269 w 7467600"/>
              <a:gd name="connsiteY735" fmla="*/ 1114064 h 6858000"/>
              <a:gd name="connsiteX736" fmla="*/ 248003 w 7467600"/>
              <a:gd name="connsiteY736" fmla="*/ 1089613 h 6858000"/>
              <a:gd name="connsiteX737" fmla="*/ 427020 w 7467600"/>
              <a:gd name="connsiteY737" fmla="*/ 1619803 h 6858000"/>
              <a:gd name="connsiteX738" fmla="*/ 340345 w 7467600"/>
              <a:gd name="connsiteY738" fmla="*/ 2027739 h 6858000"/>
              <a:gd name="connsiteX739" fmla="*/ 360865 w 7467600"/>
              <a:gd name="connsiteY739" fmla="*/ 2044827 h 6858000"/>
              <a:gd name="connsiteX740" fmla="*/ 560414 w 7467600"/>
              <a:gd name="connsiteY740" fmla="*/ 2421457 h 6858000"/>
              <a:gd name="connsiteX741" fmla="*/ 1359703 w 7467600"/>
              <a:gd name="connsiteY741" fmla="*/ 2578554 h 6858000"/>
              <a:gd name="connsiteX742" fmla="*/ 1359422 w 7467600"/>
              <a:gd name="connsiteY742" fmla="*/ 2577994 h 6858000"/>
              <a:gd name="connsiteX743" fmla="*/ 828701 w 7467600"/>
              <a:gd name="connsiteY743" fmla="*/ 1839520 h 6858000"/>
              <a:gd name="connsiteX744" fmla="*/ 494427 w 7467600"/>
              <a:gd name="connsiteY744" fmla="*/ 1092333 h 6858000"/>
              <a:gd name="connsiteX745" fmla="*/ 506322 w 7467600"/>
              <a:gd name="connsiteY745" fmla="*/ 1020997 h 6858000"/>
              <a:gd name="connsiteX746" fmla="*/ 4570198 w 7467600"/>
              <a:gd name="connsiteY746" fmla="*/ 978081 h 6858000"/>
              <a:gd name="connsiteX747" fmla="*/ 4523691 w 7467600"/>
              <a:gd name="connsiteY747" fmla="*/ 1127776 h 6858000"/>
              <a:gd name="connsiteX748" fmla="*/ 4509875 w 7467600"/>
              <a:gd name="connsiteY748" fmla="*/ 1167552 h 6858000"/>
              <a:gd name="connsiteX749" fmla="*/ 4478168 w 7467600"/>
              <a:gd name="connsiteY749" fmla="*/ 1260735 h 6858000"/>
              <a:gd name="connsiteX750" fmla="*/ 4409309 w 7467600"/>
              <a:gd name="connsiteY750" fmla="*/ 1666996 h 6858000"/>
              <a:gd name="connsiteX751" fmla="*/ 4370031 w 7467600"/>
              <a:gd name="connsiteY751" fmla="*/ 1955666 h 6858000"/>
              <a:gd name="connsiteX752" fmla="*/ 4570198 w 7467600"/>
              <a:gd name="connsiteY752" fmla="*/ 978081 h 6858000"/>
              <a:gd name="connsiteX753" fmla="*/ 4557898 w 7467600"/>
              <a:gd name="connsiteY753" fmla="*/ 900011 h 6858000"/>
              <a:gd name="connsiteX754" fmla="*/ 4344840 w 7467600"/>
              <a:gd name="connsiteY754" fmla="*/ 1922038 h 6858000"/>
              <a:gd name="connsiteX755" fmla="*/ 4378710 w 7467600"/>
              <a:gd name="connsiteY755" fmla="*/ 1665516 h 6858000"/>
              <a:gd name="connsiteX756" fmla="*/ 4448798 w 7467600"/>
              <a:gd name="connsiteY756" fmla="*/ 1253024 h 6858000"/>
              <a:gd name="connsiteX757" fmla="*/ 4480315 w 7467600"/>
              <a:gd name="connsiteY757" fmla="*/ 1158454 h 6858000"/>
              <a:gd name="connsiteX758" fmla="*/ 4494133 w 7467600"/>
              <a:gd name="connsiteY758" fmla="*/ 1118676 h 6858000"/>
              <a:gd name="connsiteX759" fmla="*/ 4557898 w 7467600"/>
              <a:gd name="connsiteY759" fmla="*/ 900011 h 6858000"/>
              <a:gd name="connsiteX760" fmla="*/ 5870151 w 7467600"/>
              <a:gd name="connsiteY760" fmla="*/ 898890 h 6858000"/>
              <a:gd name="connsiteX761" fmla="*/ 5861335 w 7467600"/>
              <a:gd name="connsiteY761" fmla="*/ 899177 h 6858000"/>
              <a:gd name="connsiteX762" fmla="*/ 5843702 w 7467600"/>
              <a:gd name="connsiteY762" fmla="*/ 899748 h 6858000"/>
              <a:gd name="connsiteX763" fmla="*/ 5651107 w 7467600"/>
              <a:gd name="connsiteY763" fmla="*/ 920306 h 6858000"/>
              <a:gd name="connsiteX764" fmla="*/ 5459407 w 7467600"/>
              <a:gd name="connsiteY764" fmla="*/ 940975 h 6858000"/>
              <a:gd name="connsiteX765" fmla="*/ 5374846 w 7467600"/>
              <a:gd name="connsiteY765" fmla="*/ 941988 h 6858000"/>
              <a:gd name="connsiteX766" fmla="*/ 5256105 w 7467600"/>
              <a:gd name="connsiteY766" fmla="*/ 945632 h 6858000"/>
              <a:gd name="connsiteX767" fmla="*/ 5107071 w 7467600"/>
              <a:gd name="connsiteY767" fmla="*/ 969720 h 6858000"/>
              <a:gd name="connsiteX768" fmla="*/ 4998681 w 7467600"/>
              <a:gd name="connsiteY768" fmla="*/ 988771 h 6858000"/>
              <a:gd name="connsiteX769" fmla="*/ 5870151 w 7467600"/>
              <a:gd name="connsiteY769" fmla="*/ 898890 h 6858000"/>
              <a:gd name="connsiteX770" fmla="*/ 5504425 w 7467600"/>
              <a:gd name="connsiteY770" fmla="*/ 848067 h 6858000"/>
              <a:gd name="connsiteX771" fmla="*/ 4968849 w 7467600"/>
              <a:gd name="connsiteY771" fmla="*/ 962318 h 6858000"/>
              <a:gd name="connsiteX772" fmla="*/ 5104039 w 7467600"/>
              <a:gd name="connsiteY772" fmla="*/ 940634 h 6858000"/>
              <a:gd name="connsiteX773" fmla="*/ 5256311 w 7467600"/>
              <a:gd name="connsiteY773" fmla="*/ 916490 h 6858000"/>
              <a:gd name="connsiteX774" fmla="*/ 5377381 w 7467600"/>
              <a:gd name="connsiteY774" fmla="*/ 912671 h 6858000"/>
              <a:gd name="connsiteX775" fmla="*/ 5460148 w 7467600"/>
              <a:gd name="connsiteY775" fmla="*/ 911442 h 6858000"/>
              <a:gd name="connsiteX776" fmla="*/ 5648971 w 7467600"/>
              <a:gd name="connsiteY776" fmla="*/ 891331 h 6858000"/>
              <a:gd name="connsiteX777" fmla="*/ 5844807 w 7467600"/>
              <a:gd name="connsiteY777" fmla="*/ 870718 h 6858000"/>
              <a:gd name="connsiteX778" fmla="*/ 5862975 w 7467600"/>
              <a:gd name="connsiteY778" fmla="*/ 869756 h 6858000"/>
              <a:gd name="connsiteX779" fmla="*/ 5920887 w 7467600"/>
              <a:gd name="connsiteY779" fmla="*/ 865929 h 6858000"/>
              <a:gd name="connsiteX780" fmla="*/ 5504425 w 7467600"/>
              <a:gd name="connsiteY780" fmla="*/ 848067 h 6858000"/>
              <a:gd name="connsiteX781" fmla="*/ 3607114 w 7467600"/>
              <a:gd name="connsiteY781" fmla="*/ 467441 h 6858000"/>
              <a:gd name="connsiteX782" fmla="*/ 3296242 w 7467600"/>
              <a:gd name="connsiteY782" fmla="*/ 807991 h 6858000"/>
              <a:gd name="connsiteX783" fmla="*/ 3174674 w 7467600"/>
              <a:gd name="connsiteY783" fmla="*/ 919759 h 6858000"/>
              <a:gd name="connsiteX784" fmla="*/ 3042978 w 7467600"/>
              <a:gd name="connsiteY784" fmla="*/ 1054894 h 6858000"/>
              <a:gd name="connsiteX785" fmla="*/ 2968914 w 7467600"/>
              <a:gd name="connsiteY785" fmla="*/ 1133756 h 6858000"/>
              <a:gd name="connsiteX786" fmla="*/ 3103823 w 7467600"/>
              <a:gd name="connsiteY786" fmla="*/ 1026814 h 6858000"/>
              <a:gd name="connsiteX787" fmla="*/ 3607114 w 7467600"/>
              <a:gd name="connsiteY787" fmla="*/ 467441 h 6858000"/>
              <a:gd name="connsiteX788" fmla="*/ 3744487 w 7467600"/>
              <a:gd name="connsiteY788" fmla="*/ 383136 h 6858000"/>
              <a:gd name="connsiteX789" fmla="*/ 3970213 w 7467600"/>
              <a:gd name="connsiteY789" fmla="*/ 995559 h 6858000"/>
              <a:gd name="connsiteX790" fmla="*/ 3744487 w 7467600"/>
              <a:gd name="connsiteY790" fmla="*/ 383136 h 6858000"/>
              <a:gd name="connsiteX791" fmla="*/ 3624562 w 7467600"/>
              <a:gd name="connsiteY791" fmla="*/ 367041 h 6858000"/>
              <a:gd name="connsiteX792" fmla="*/ 3489712 w 7467600"/>
              <a:gd name="connsiteY792" fmla="*/ 485386 h 6858000"/>
              <a:gd name="connsiteX793" fmla="*/ 3182994 w 7467600"/>
              <a:gd name="connsiteY793" fmla="*/ 828265 h 6858000"/>
              <a:gd name="connsiteX794" fmla="*/ 2892114 w 7467600"/>
              <a:gd name="connsiteY794" fmla="*/ 1172635 h 6858000"/>
              <a:gd name="connsiteX795" fmla="*/ 3021459 w 7467600"/>
              <a:gd name="connsiteY795" fmla="*/ 1035385 h 6858000"/>
              <a:gd name="connsiteX796" fmla="*/ 3153873 w 7467600"/>
              <a:gd name="connsiteY796" fmla="*/ 898971 h 6858000"/>
              <a:gd name="connsiteX797" fmla="*/ 3276511 w 7467600"/>
              <a:gd name="connsiteY797" fmla="*/ 786423 h 6858000"/>
              <a:gd name="connsiteX798" fmla="*/ 3584154 w 7467600"/>
              <a:gd name="connsiteY798" fmla="*/ 448218 h 6858000"/>
              <a:gd name="connsiteX799" fmla="*/ 3624562 w 7467600"/>
              <a:gd name="connsiteY799" fmla="*/ 367041 h 6858000"/>
              <a:gd name="connsiteX800" fmla="*/ 3766672 w 7467600"/>
              <a:gd name="connsiteY800" fmla="*/ 359429 h 6858000"/>
              <a:gd name="connsiteX801" fmla="*/ 3996338 w 7467600"/>
              <a:gd name="connsiteY801" fmla="*/ 968237 h 6858000"/>
              <a:gd name="connsiteX802" fmla="*/ 3766672 w 7467600"/>
              <a:gd name="connsiteY802" fmla="*/ 359429 h 6858000"/>
              <a:gd name="connsiteX803" fmla="*/ 5805386 w 7467600"/>
              <a:gd name="connsiteY803" fmla="*/ 239240 h 6858000"/>
              <a:gd name="connsiteX804" fmla="*/ 5736947 w 7467600"/>
              <a:gd name="connsiteY804" fmla="*/ 261367 h 6858000"/>
              <a:gd name="connsiteX805" fmla="*/ 5427012 w 7467600"/>
              <a:gd name="connsiteY805" fmla="*/ 311272 h 6858000"/>
              <a:gd name="connsiteX806" fmla="*/ 5147818 w 7467600"/>
              <a:gd name="connsiteY806" fmla="*/ 322112 h 6858000"/>
              <a:gd name="connsiteX807" fmla="*/ 5060854 w 7467600"/>
              <a:gd name="connsiteY807" fmla="*/ 311882 h 6858000"/>
              <a:gd name="connsiteX808" fmla="*/ 4945989 w 7467600"/>
              <a:gd name="connsiteY808" fmla="*/ 300516 h 6858000"/>
              <a:gd name="connsiteX809" fmla="*/ 5410479 w 7467600"/>
              <a:gd name="connsiteY809" fmla="*/ 348434 h 6858000"/>
              <a:gd name="connsiteX810" fmla="*/ 5805386 w 7467600"/>
              <a:gd name="connsiteY810" fmla="*/ 239240 h 6858000"/>
              <a:gd name="connsiteX811" fmla="*/ 5905192 w 7467600"/>
              <a:gd name="connsiteY811" fmla="*/ 163079 h 6858000"/>
              <a:gd name="connsiteX812" fmla="*/ 5865655 w 7467600"/>
              <a:gd name="connsiteY812" fmla="*/ 171901 h 6858000"/>
              <a:gd name="connsiteX813" fmla="*/ 5259740 w 7467600"/>
              <a:gd name="connsiteY813" fmla="*/ 257013 h 6858000"/>
              <a:gd name="connsiteX814" fmla="*/ 5208466 w 7467600"/>
              <a:gd name="connsiteY814" fmla="*/ 257550 h 6858000"/>
              <a:gd name="connsiteX815" fmla="*/ 4980204 w 7467600"/>
              <a:gd name="connsiteY815" fmla="*/ 271903 h 6858000"/>
              <a:gd name="connsiteX816" fmla="*/ 5068068 w 7467600"/>
              <a:gd name="connsiteY816" fmla="*/ 282244 h 6858000"/>
              <a:gd name="connsiteX817" fmla="*/ 5153231 w 7467600"/>
              <a:gd name="connsiteY817" fmla="*/ 292240 h 6858000"/>
              <a:gd name="connsiteX818" fmla="*/ 5426491 w 7467600"/>
              <a:gd name="connsiteY818" fmla="*/ 281128 h 6858000"/>
              <a:gd name="connsiteX819" fmla="*/ 5731212 w 7467600"/>
              <a:gd name="connsiteY819" fmla="*/ 231951 h 6858000"/>
              <a:gd name="connsiteX820" fmla="*/ 5905192 w 7467600"/>
              <a:gd name="connsiteY820" fmla="*/ 163079 h 6858000"/>
              <a:gd name="connsiteX821" fmla="*/ 5944437 w 7467600"/>
              <a:gd name="connsiteY821" fmla="*/ 113829 h 6858000"/>
              <a:gd name="connsiteX822" fmla="*/ 5825032 w 7467600"/>
              <a:gd name="connsiteY822" fmla="*/ 146405 h 6858000"/>
              <a:gd name="connsiteX823" fmla="*/ 4955599 w 7467600"/>
              <a:gd name="connsiteY823" fmla="*/ 247008 h 6858000"/>
              <a:gd name="connsiteX824" fmla="*/ 5210104 w 7467600"/>
              <a:gd name="connsiteY824" fmla="*/ 228123 h 6858000"/>
              <a:gd name="connsiteX825" fmla="*/ 5261015 w 7467600"/>
              <a:gd name="connsiteY825" fmla="*/ 227087 h 6858000"/>
              <a:gd name="connsiteX826" fmla="*/ 5861181 w 7467600"/>
              <a:gd name="connsiteY826" fmla="*/ 143093 h 6858000"/>
              <a:gd name="connsiteX827" fmla="*/ 5961252 w 7467600"/>
              <a:gd name="connsiteY827" fmla="*/ 114820 h 6858000"/>
              <a:gd name="connsiteX828" fmla="*/ 5944437 w 7467600"/>
              <a:gd name="connsiteY828" fmla="*/ 113829 h 6858000"/>
              <a:gd name="connsiteX829" fmla="*/ 3882765 w 7467600"/>
              <a:gd name="connsiteY829" fmla="*/ 0 h 6858000"/>
              <a:gd name="connsiteX830" fmla="*/ 3995099 w 7467600"/>
              <a:gd name="connsiteY830" fmla="*/ 0 h 6858000"/>
              <a:gd name="connsiteX831" fmla="*/ 4163818 w 7467600"/>
              <a:gd name="connsiteY831" fmla="*/ 234104 h 6858000"/>
              <a:gd name="connsiteX832" fmla="*/ 4172099 w 7467600"/>
              <a:gd name="connsiteY832" fmla="*/ 234207 h 6858000"/>
              <a:gd name="connsiteX833" fmla="*/ 4784282 w 7467600"/>
              <a:gd name="connsiteY833" fmla="*/ 276561 h 6858000"/>
              <a:gd name="connsiteX834" fmla="*/ 4801687 w 7467600"/>
              <a:gd name="connsiteY834" fmla="*/ 267764 h 6858000"/>
              <a:gd name="connsiteX835" fmla="*/ 6082788 w 7467600"/>
              <a:gd name="connsiteY835" fmla="*/ 64119 h 6858000"/>
              <a:gd name="connsiteX836" fmla="*/ 6099442 w 7467600"/>
              <a:gd name="connsiteY836" fmla="*/ 82568 h 6858000"/>
              <a:gd name="connsiteX837" fmla="*/ 4804137 w 7467600"/>
              <a:gd name="connsiteY837" fmla="*/ 320931 h 6858000"/>
              <a:gd name="connsiteX838" fmla="*/ 4227047 w 7467600"/>
              <a:gd name="connsiteY838" fmla="*/ 313415 h 6858000"/>
              <a:gd name="connsiteX839" fmla="*/ 4346041 w 7467600"/>
              <a:gd name="connsiteY839" fmla="*/ 456086 h 6858000"/>
              <a:gd name="connsiteX840" fmla="*/ 4870967 w 7467600"/>
              <a:gd name="connsiteY840" fmla="*/ 963061 h 6858000"/>
              <a:gd name="connsiteX841" fmla="*/ 4889647 w 7467600"/>
              <a:gd name="connsiteY841" fmla="*/ 957147 h 6858000"/>
              <a:gd name="connsiteX842" fmla="*/ 5422504 w 7467600"/>
              <a:gd name="connsiteY842" fmla="*/ 805191 h 6858000"/>
              <a:gd name="connsiteX843" fmla="*/ 6087656 w 7467600"/>
              <a:gd name="connsiteY843" fmla="*/ 826703 h 6858000"/>
              <a:gd name="connsiteX844" fmla="*/ 6058717 w 7467600"/>
              <a:gd name="connsiteY844" fmla="*/ 865992 h 6858000"/>
              <a:gd name="connsiteX845" fmla="*/ 4974153 w 7467600"/>
              <a:gd name="connsiteY845" fmla="*/ 1045456 h 6858000"/>
              <a:gd name="connsiteX846" fmla="*/ 5627835 w 7467600"/>
              <a:gd name="connsiteY846" fmla="*/ 1472077 h 6858000"/>
              <a:gd name="connsiteX847" fmla="*/ 5629817 w 7467600"/>
              <a:gd name="connsiteY847" fmla="*/ 1471412 h 6858000"/>
              <a:gd name="connsiteX848" fmla="*/ 5634124 w 7467600"/>
              <a:gd name="connsiteY848" fmla="*/ 1470572 h 6858000"/>
              <a:gd name="connsiteX849" fmla="*/ 5755832 w 7467600"/>
              <a:gd name="connsiteY849" fmla="*/ 1383886 h 6858000"/>
              <a:gd name="connsiteX850" fmla="*/ 6014186 w 7467600"/>
              <a:gd name="connsiteY850" fmla="*/ 1279799 h 6858000"/>
              <a:gd name="connsiteX851" fmla="*/ 6901619 w 7467600"/>
              <a:gd name="connsiteY851" fmla="*/ 1047874 h 6858000"/>
              <a:gd name="connsiteX852" fmla="*/ 6931566 w 7467600"/>
              <a:gd name="connsiteY852" fmla="*/ 1062034 h 6858000"/>
              <a:gd name="connsiteX853" fmla="*/ 5790982 w 7467600"/>
              <a:gd name="connsiteY853" fmla="*/ 1561380 h 6858000"/>
              <a:gd name="connsiteX854" fmla="*/ 6188971 w 7467600"/>
              <a:gd name="connsiteY854" fmla="*/ 1755168 h 6858000"/>
              <a:gd name="connsiteX855" fmla="*/ 6202446 w 7467600"/>
              <a:gd name="connsiteY855" fmla="*/ 1752268 h 6858000"/>
              <a:gd name="connsiteX856" fmla="*/ 7179560 w 7467600"/>
              <a:gd name="connsiteY856" fmla="*/ 1467551 h 6858000"/>
              <a:gd name="connsiteX857" fmla="*/ 7158730 w 7467600"/>
              <a:gd name="connsiteY857" fmla="*/ 1507835 h 6858000"/>
              <a:gd name="connsiteX858" fmla="*/ 6326959 w 7467600"/>
              <a:gd name="connsiteY858" fmla="*/ 1817686 h 6858000"/>
              <a:gd name="connsiteX859" fmla="*/ 6537433 w 7467600"/>
              <a:gd name="connsiteY859" fmla="*/ 1907790 h 6858000"/>
              <a:gd name="connsiteX860" fmla="*/ 6550221 w 7467600"/>
              <a:gd name="connsiteY860" fmla="*/ 1910729 h 6858000"/>
              <a:gd name="connsiteX861" fmla="*/ 6964438 w 7467600"/>
              <a:gd name="connsiteY861" fmla="*/ 2209505 h 6858000"/>
              <a:gd name="connsiteX862" fmla="*/ 7367862 w 7467600"/>
              <a:gd name="connsiteY862" fmla="*/ 2806833 h 6858000"/>
              <a:gd name="connsiteX863" fmla="*/ 7364329 w 7467600"/>
              <a:gd name="connsiteY863" fmla="*/ 2826907 h 6858000"/>
              <a:gd name="connsiteX864" fmla="*/ 7290545 w 7467600"/>
              <a:gd name="connsiteY864" fmla="*/ 2850663 h 6858000"/>
              <a:gd name="connsiteX865" fmla="*/ 6472036 w 7467600"/>
              <a:gd name="connsiteY865" fmla="*/ 1959003 h 6858000"/>
              <a:gd name="connsiteX866" fmla="*/ 5792897 w 7467600"/>
              <a:gd name="connsiteY866" fmla="*/ 1647747 h 6858000"/>
              <a:gd name="connsiteX867" fmla="*/ 5842751 w 7467600"/>
              <a:gd name="connsiteY867" fmla="*/ 1816112 h 6858000"/>
              <a:gd name="connsiteX868" fmla="*/ 5847424 w 7467600"/>
              <a:gd name="connsiteY868" fmla="*/ 1815776 h 6858000"/>
              <a:gd name="connsiteX869" fmla="*/ 6399821 w 7467600"/>
              <a:gd name="connsiteY869" fmla="*/ 2344799 h 6858000"/>
              <a:gd name="connsiteX870" fmla="*/ 6323232 w 7467600"/>
              <a:gd name="connsiteY870" fmla="*/ 2389634 h 6858000"/>
              <a:gd name="connsiteX871" fmla="*/ 5942958 w 7467600"/>
              <a:gd name="connsiteY871" fmla="*/ 2077708 h 6858000"/>
              <a:gd name="connsiteX872" fmla="*/ 5921559 w 7467600"/>
              <a:gd name="connsiteY872" fmla="*/ 2378596 h 6858000"/>
              <a:gd name="connsiteX873" fmla="*/ 5817651 w 7467600"/>
              <a:gd name="connsiteY873" fmla="*/ 3023919 h 6858000"/>
              <a:gd name="connsiteX874" fmla="*/ 5729634 w 7467600"/>
              <a:gd name="connsiteY874" fmla="*/ 3051849 h 6858000"/>
              <a:gd name="connsiteX875" fmla="*/ 5611018 w 7467600"/>
              <a:gd name="connsiteY875" fmla="*/ 2316769 h 6858000"/>
              <a:gd name="connsiteX876" fmla="*/ 5687608 w 7467600"/>
              <a:gd name="connsiteY876" fmla="*/ 2039972 h 6858000"/>
              <a:gd name="connsiteX877" fmla="*/ 5657554 w 7467600"/>
              <a:gd name="connsiteY877" fmla="*/ 1576445 h 6858000"/>
              <a:gd name="connsiteX878" fmla="*/ 5150475 w 7467600"/>
              <a:gd name="connsiteY878" fmla="*/ 1274012 h 6858000"/>
              <a:gd name="connsiteX879" fmla="*/ 5349142 w 7467600"/>
              <a:gd name="connsiteY879" fmla="*/ 2204405 h 6858000"/>
              <a:gd name="connsiteX880" fmla="*/ 5262214 w 7467600"/>
              <a:gd name="connsiteY880" fmla="*/ 2233836 h 6858000"/>
              <a:gd name="connsiteX881" fmla="*/ 4981539 w 7467600"/>
              <a:gd name="connsiteY881" fmla="*/ 1542201 h 6858000"/>
              <a:gd name="connsiteX882" fmla="*/ 4958461 w 7467600"/>
              <a:gd name="connsiteY882" fmla="*/ 1136957 h 6858000"/>
              <a:gd name="connsiteX883" fmla="*/ 4655015 w 7467600"/>
              <a:gd name="connsiteY883" fmla="*/ 891426 h 6858000"/>
              <a:gd name="connsiteX884" fmla="*/ 4348002 w 7467600"/>
              <a:gd name="connsiteY884" fmla="*/ 2205895 h 6858000"/>
              <a:gd name="connsiteX885" fmla="*/ 4262250 w 7467600"/>
              <a:gd name="connsiteY885" fmla="*/ 2219972 h 6858000"/>
              <a:gd name="connsiteX886" fmla="*/ 4550611 w 7467600"/>
              <a:gd name="connsiteY886" fmla="*/ 817540 h 6858000"/>
              <a:gd name="connsiteX887" fmla="*/ 4564418 w 7467600"/>
              <a:gd name="connsiteY887" fmla="*/ 808293 h 6858000"/>
              <a:gd name="connsiteX888" fmla="*/ 4266388 w 7467600"/>
              <a:gd name="connsiteY888" fmla="*/ 500083 h 6858000"/>
              <a:gd name="connsiteX889" fmla="*/ 4032842 w 7467600"/>
              <a:gd name="connsiteY889" fmla="*/ 211809 h 6858000"/>
              <a:gd name="connsiteX890" fmla="*/ 3882765 w 7467600"/>
              <a:gd name="connsiteY890" fmla="*/ 0 h 6858000"/>
              <a:gd name="connsiteX891" fmla="*/ 3721337 w 7467600"/>
              <a:gd name="connsiteY891" fmla="*/ 0 h 6858000"/>
              <a:gd name="connsiteX892" fmla="*/ 3797544 w 7467600"/>
              <a:gd name="connsiteY892" fmla="*/ 0 h 6858000"/>
              <a:gd name="connsiteX893" fmla="*/ 3775734 w 7467600"/>
              <a:gd name="connsiteY893" fmla="*/ 95131 h 6858000"/>
              <a:gd name="connsiteX894" fmla="*/ 3724807 w 7467600"/>
              <a:gd name="connsiteY894" fmla="*/ 272257 h 6858000"/>
              <a:gd name="connsiteX895" fmla="*/ 3726844 w 7467600"/>
              <a:gd name="connsiteY895" fmla="*/ 282988 h 6858000"/>
              <a:gd name="connsiteX896" fmla="*/ 3742664 w 7467600"/>
              <a:gd name="connsiteY896" fmla="*/ 279918 h 6858000"/>
              <a:gd name="connsiteX897" fmla="*/ 4103910 w 7467600"/>
              <a:gd name="connsiteY897" fmla="*/ 1161917 h 6858000"/>
              <a:gd name="connsiteX898" fmla="*/ 4020269 w 7467600"/>
              <a:gd name="connsiteY898" fmla="*/ 1200406 h 6858000"/>
              <a:gd name="connsiteX899" fmla="*/ 3674882 w 7467600"/>
              <a:gd name="connsiteY899" fmla="*/ 488524 h 6858000"/>
              <a:gd name="connsiteX900" fmla="*/ 3132682 w 7467600"/>
              <a:gd name="connsiteY900" fmla="*/ 1072284 h 6858000"/>
              <a:gd name="connsiteX901" fmla="*/ 2716346 w 7467600"/>
              <a:gd name="connsiteY901" fmla="*/ 1276376 h 6858000"/>
              <a:gd name="connsiteX902" fmla="*/ 2716772 w 7467600"/>
              <a:gd name="connsiteY902" fmla="*/ 1255462 h 6858000"/>
              <a:gd name="connsiteX903" fmla="*/ 3471096 w 7467600"/>
              <a:gd name="connsiteY903" fmla="*/ 437072 h 6858000"/>
              <a:gd name="connsiteX904" fmla="*/ 3639057 w 7467600"/>
              <a:gd name="connsiteY904" fmla="*/ 286334 h 6858000"/>
              <a:gd name="connsiteX905" fmla="*/ 3640309 w 7467600"/>
              <a:gd name="connsiteY905" fmla="*/ 284664 h 6858000"/>
              <a:gd name="connsiteX906" fmla="*/ 3646022 w 7467600"/>
              <a:gd name="connsiteY906" fmla="*/ 276711 h 6858000"/>
              <a:gd name="connsiteX907" fmla="*/ 3707943 w 7467600"/>
              <a:gd name="connsiteY907" fmla="*/ 65958 h 6858000"/>
              <a:gd name="connsiteX908" fmla="*/ 3721337 w 7467600"/>
              <a:gd name="connsiteY908" fmla="*/ 0 h 6858000"/>
              <a:gd name="connsiteX909" fmla="*/ 2867960 w 7467600"/>
              <a:gd name="connsiteY909" fmla="*/ 0 h 6858000"/>
              <a:gd name="connsiteX910" fmla="*/ 2926351 w 7467600"/>
              <a:gd name="connsiteY910" fmla="*/ 0 h 6858000"/>
              <a:gd name="connsiteX911" fmla="*/ 2902823 w 7467600"/>
              <a:gd name="connsiteY911" fmla="*/ 262929 h 6858000"/>
              <a:gd name="connsiteX912" fmla="*/ 2940663 w 7467600"/>
              <a:gd name="connsiteY912" fmla="*/ 140884 h 6858000"/>
              <a:gd name="connsiteX913" fmla="*/ 2947039 w 7467600"/>
              <a:gd name="connsiteY913" fmla="*/ 122524 h 6858000"/>
              <a:gd name="connsiteX914" fmla="*/ 2984316 w 7467600"/>
              <a:gd name="connsiteY914" fmla="*/ 0 h 6858000"/>
              <a:gd name="connsiteX915" fmla="*/ 3016114 w 7467600"/>
              <a:gd name="connsiteY915" fmla="*/ 0 h 6858000"/>
              <a:gd name="connsiteX916" fmla="*/ 2979949 w 7467600"/>
              <a:gd name="connsiteY916" fmla="*/ 119274 h 6858000"/>
              <a:gd name="connsiteX917" fmla="*/ 3023879 w 7467600"/>
              <a:gd name="connsiteY917" fmla="*/ 0 h 6858000"/>
              <a:gd name="connsiteX918" fmla="*/ 3105400 w 7467600"/>
              <a:gd name="connsiteY918" fmla="*/ 0 h 6858000"/>
              <a:gd name="connsiteX919" fmla="*/ 3094669 w 7467600"/>
              <a:gd name="connsiteY919" fmla="*/ 30308 h 6858000"/>
              <a:gd name="connsiteX920" fmla="*/ 2901945 w 7467600"/>
              <a:gd name="connsiteY920" fmla="*/ 466538 h 6858000"/>
              <a:gd name="connsiteX921" fmla="*/ 2815209 w 7467600"/>
              <a:gd name="connsiteY921" fmla="*/ 497361 h 6858000"/>
              <a:gd name="connsiteX922" fmla="*/ 2844845 w 7467600"/>
              <a:gd name="connsiteY922" fmla="*/ 127638 h 6858000"/>
              <a:gd name="connsiteX923" fmla="*/ 2867960 w 7467600"/>
              <a:gd name="connsiteY923" fmla="*/ 0 h 6858000"/>
              <a:gd name="connsiteX924" fmla="*/ 1057230 w 7467600"/>
              <a:gd name="connsiteY924" fmla="*/ 0 h 6858000"/>
              <a:gd name="connsiteX925" fmla="*/ 1111003 w 7467600"/>
              <a:gd name="connsiteY925" fmla="*/ 0 h 6858000"/>
              <a:gd name="connsiteX926" fmla="*/ 1125553 w 7467600"/>
              <a:gd name="connsiteY926" fmla="*/ 52588 h 6858000"/>
              <a:gd name="connsiteX927" fmla="*/ 1304276 w 7467600"/>
              <a:gd name="connsiteY927" fmla="*/ 476275 h 6858000"/>
              <a:gd name="connsiteX928" fmla="*/ 1492066 w 7467600"/>
              <a:gd name="connsiteY928" fmla="*/ 886333 h 6858000"/>
              <a:gd name="connsiteX929" fmla="*/ 1423698 w 7467600"/>
              <a:gd name="connsiteY929" fmla="*/ 710817 h 6858000"/>
              <a:gd name="connsiteX930" fmla="*/ 1357609 w 7467600"/>
              <a:gd name="connsiteY930" fmla="*/ 532892 h 6858000"/>
              <a:gd name="connsiteX931" fmla="*/ 1309550 w 7467600"/>
              <a:gd name="connsiteY931" fmla="*/ 374031 h 6858000"/>
              <a:gd name="connsiteX932" fmla="*/ 1193673 w 7467600"/>
              <a:gd name="connsiteY932" fmla="*/ 49533 h 6858000"/>
              <a:gd name="connsiteX933" fmla="*/ 1164391 w 7467600"/>
              <a:gd name="connsiteY933" fmla="*/ 0 h 6858000"/>
              <a:gd name="connsiteX934" fmla="*/ 1200666 w 7467600"/>
              <a:gd name="connsiteY934" fmla="*/ 0 h 6858000"/>
              <a:gd name="connsiteX935" fmla="*/ 1223408 w 7467600"/>
              <a:gd name="connsiteY935" fmla="*/ 38996 h 6858000"/>
              <a:gd name="connsiteX936" fmla="*/ 1339635 w 7467600"/>
              <a:gd name="connsiteY936" fmla="*/ 365517 h 6858000"/>
              <a:gd name="connsiteX937" fmla="*/ 1387469 w 7467600"/>
              <a:gd name="connsiteY937" fmla="*/ 523079 h 6858000"/>
              <a:gd name="connsiteX938" fmla="*/ 1452685 w 7467600"/>
              <a:gd name="connsiteY938" fmla="*/ 699806 h 6858000"/>
              <a:gd name="connsiteX939" fmla="*/ 1492092 w 7467600"/>
              <a:gd name="connsiteY939" fmla="*/ 800424 h 6858000"/>
              <a:gd name="connsiteX940" fmla="*/ 1455302 w 7467600"/>
              <a:gd name="connsiteY940" fmla="*/ 632913 h 6858000"/>
              <a:gd name="connsiteX941" fmla="*/ 1222336 w 7467600"/>
              <a:gd name="connsiteY941" fmla="*/ 9480 h 6858000"/>
              <a:gd name="connsiteX942" fmla="*/ 1214634 w 7467600"/>
              <a:gd name="connsiteY942" fmla="*/ 0 h 6858000"/>
              <a:gd name="connsiteX943" fmla="*/ 1289827 w 7467600"/>
              <a:gd name="connsiteY943" fmla="*/ 0 h 6858000"/>
              <a:gd name="connsiteX944" fmla="*/ 1321076 w 7467600"/>
              <a:gd name="connsiteY944" fmla="*/ 59722 h 6858000"/>
              <a:gd name="connsiteX945" fmla="*/ 1512579 w 7467600"/>
              <a:gd name="connsiteY945" fmla="*/ 626441 h 6858000"/>
              <a:gd name="connsiteX946" fmla="*/ 1506076 w 7467600"/>
              <a:gd name="connsiteY946" fmla="*/ 1089289 h 6858000"/>
              <a:gd name="connsiteX947" fmla="*/ 1486346 w 7467600"/>
              <a:gd name="connsiteY947" fmla="*/ 1079919 h 6858000"/>
              <a:gd name="connsiteX948" fmla="*/ 1070511 w 7467600"/>
              <a:gd name="connsiteY948" fmla="*/ 48609 h 6858000"/>
              <a:gd name="connsiteX949" fmla="*/ 1057230 w 7467600"/>
              <a:gd name="connsiteY949" fmla="*/ 0 h 6858000"/>
              <a:gd name="connsiteX950" fmla="*/ 43151 w 7467600"/>
              <a:gd name="connsiteY950" fmla="*/ 0 h 6858000"/>
              <a:gd name="connsiteX951" fmla="*/ 95283 w 7467600"/>
              <a:gd name="connsiteY951" fmla="*/ 0 h 6858000"/>
              <a:gd name="connsiteX952" fmla="*/ 300708 w 7467600"/>
              <a:gd name="connsiteY952" fmla="*/ 154571 h 6858000"/>
              <a:gd name="connsiteX953" fmla="*/ 530414 w 7467600"/>
              <a:gd name="connsiteY953" fmla="*/ 354673 h 6858000"/>
              <a:gd name="connsiteX954" fmla="*/ 333785 w 7467600"/>
              <a:gd name="connsiteY954" fmla="*/ 161564 h 6858000"/>
              <a:gd name="connsiteX955" fmla="*/ 147005 w 7467600"/>
              <a:gd name="connsiteY955" fmla="*/ 0 h 6858000"/>
              <a:gd name="connsiteX956" fmla="*/ 272509 w 7467600"/>
              <a:gd name="connsiteY956" fmla="*/ 0 h 6858000"/>
              <a:gd name="connsiteX957" fmla="*/ 326276 w 7467600"/>
              <a:gd name="connsiteY957" fmla="*/ 45847 h 6858000"/>
              <a:gd name="connsiteX958" fmla="*/ 823759 w 7467600"/>
              <a:gd name="connsiteY958" fmla="*/ 574145 h 6858000"/>
              <a:gd name="connsiteX959" fmla="*/ 811254 w 7467600"/>
              <a:gd name="connsiteY959" fmla="*/ 665546 h 6858000"/>
              <a:gd name="connsiteX960" fmla="*/ 154042 w 7467600"/>
              <a:gd name="connsiteY960" fmla="*/ 261522 h 6858000"/>
              <a:gd name="connsiteX961" fmla="*/ 13550 w 7467600"/>
              <a:gd name="connsiteY961" fmla="*/ 158423 h 6858000"/>
              <a:gd name="connsiteX962" fmla="*/ 0 w 7467600"/>
              <a:gd name="connsiteY962" fmla="*/ 146618 h 6858000"/>
              <a:gd name="connsiteX963" fmla="*/ 0 w 7467600"/>
              <a:gd name="connsiteY963" fmla="*/ 59161 h 6858000"/>
              <a:gd name="connsiteX964" fmla="*/ 45427 w 7467600"/>
              <a:gd name="connsiteY964" fmla="*/ 101078 h 6858000"/>
              <a:gd name="connsiteX965" fmla="*/ 630103 w 7467600"/>
              <a:gd name="connsiteY965" fmla="*/ 485885 h 6858000"/>
              <a:gd name="connsiteX966" fmla="*/ 532040 w 7467600"/>
              <a:gd name="connsiteY966" fmla="*/ 399359 h 6858000"/>
              <a:gd name="connsiteX967" fmla="*/ 517618 w 7467600"/>
              <a:gd name="connsiteY967" fmla="*/ 385726 h 6858000"/>
              <a:gd name="connsiteX968" fmla="*/ 285074 w 7467600"/>
              <a:gd name="connsiteY968" fmla="*/ 182755 h 6858000"/>
              <a:gd name="connsiteX969" fmla="*/ 43151 w 7467600"/>
              <a:gd name="connsiteY969"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7454976 w 7467600"/>
              <a:gd name="connsiteY74" fmla="*/ 6318297 h 6858000"/>
              <a:gd name="connsiteX75" fmla="*/ 7379510 w 7467600"/>
              <a:gd name="connsiteY75" fmla="*/ 5755454 h 6858000"/>
              <a:gd name="connsiteX76" fmla="*/ 7467600 w 7467600"/>
              <a:gd name="connsiteY76" fmla="*/ 5845526 h 6858000"/>
              <a:gd name="connsiteX77" fmla="*/ 7271900 w 7467600"/>
              <a:gd name="connsiteY77" fmla="*/ 5734551 h 6858000"/>
              <a:gd name="connsiteX78" fmla="*/ 7259646 w 7467600"/>
              <a:gd name="connsiteY78" fmla="*/ 5765985 h 6858000"/>
              <a:gd name="connsiteX79" fmla="*/ 7467600 w 7467600"/>
              <a:gd name="connsiteY79" fmla="*/ 6012219 h 6858000"/>
              <a:gd name="connsiteX80" fmla="*/ 7356878 w 7467600"/>
              <a:gd name="connsiteY80" fmla="*/ 5981332 h 6858000"/>
              <a:gd name="connsiteX81" fmla="*/ 7467600 w 7467600"/>
              <a:gd name="connsiteY81" fmla="*/ 6117703 h 6858000"/>
              <a:gd name="connsiteX82" fmla="*/ 7467600 w 7467600"/>
              <a:gd name="connsiteY82" fmla="*/ 6163634 h 6858000"/>
              <a:gd name="connsiteX83" fmla="*/ 7403637 w 7467600"/>
              <a:gd name="connsiteY83" fmla="*/ 6083957 h 6858000"/>
              <a:gd name="connsiteX84" fmla="*/ 7254615 w 7467600"/>
              <a:gd name="connsiteY84" fmla="*/ 5911918 h 6858000"/>
              <a:gd name="connsiteX85" fmla="*/ 7312589 w 7467600"/>
              <a:gd name="connsiteY85" fmla="*/ 5982309 h 6858000"/>
              <a:gd name="connsiteX86" fmla="*/ 7448321 w 7467600"/>
              <a:gd name="connsiteY86" fmla="*/ 6190991 h 6858000"/>
              <a:gd name="connsiteX87" fmla="*/ 7467600 w 7467600"/>
              <a:gd name="connsiteY87" fmla="*/ 6221686 h 6858000"/>
              <a:gd name="connsiteX88" fmla="*/ 7467600 w 7467600"/>
              <a:gd name="connsiteY88" fmla="*/ 6334256 h 6858000"/>
              <a:gd name="connsiteX89" fmla="*/ 7454976 w 7467600"/>
              <a:gd name="connsiteY89" fmla="*/ 6318297 h 6858000"/>
              <a:gd name="connsiteX90" fmla="*/ 1456157 w 7467600"/>
              <a:gd name="connsiteY90" fmla="*/ 5371404 h 6858000"/>
              <a:gd name="connsiteX91" fmla="*/ 1244432 w 7467600"/>
              <a:gd name="connsiteY91" fmla="*/ 5385601 h 6858000"/>
              <a:gd name="connsiteX92" fmla="*/ 973990 w 7467600"/>
              <a:gd name="connsiteY92" fmla="*/ 5424940 h 6858000"/>
              <a:gd name="connsiteX93" fmla="*/ 1103809 w 7467600"/>
              <a:gd name="connsiteY93" fmla="*/ 5433720 h 6858000"/>
              <a:gd name="connsiteX94" fmla="*/ 1123454 w 7467600"/>
              <a:gd name="connsiteY94" fmla="*/ 5435727 h 6858000"/>
              <a:gd name="connsiteX95" fmla="*/ 1737017 w 7467600"/>
              <a:gd name="connsiteY95" fmla="*/ 5452183 h 6858000"/>
              <a:gd name="connsiteX96" fmla="*/ 1824397 w 7467600"/>
              <a:gd name="connsiteY96" fmla="*/ 5447757 h 6858000"/>
              <a:gd name="connsiteX97" fmla="*/ 2070059 w 7467600"/>
              <a:gd name="connsiteY97" fmla="*/ 5441660 h 6858000"/>
              <a:gd name="connsiteX98" fmla="*/ 1456157 w 7467600"/>
              <a:gd name="connsiteY98" fmla="*/ 5371404 h 6858000"/>
              <a:gd name="connsiteX99" fmla="*/ 4988186 w 7467600"/>
              <a:gd name="connsiteY99" fmla="*/ 5216467 h 6858000"/>
              <a:gd name="connsiteX100" fmla="*/ 4777334 w 7467600"/>
              <a:gd name="connsiteY100" fmla="*/ 5406072 h 6858000"/>
              <a:gd name="connsiteX101" fmla="*/ 4718341 w 7467600"/>
              <a:gd name="connsiteY101" fmla="*/ 5468043 h 6858000"/>
              <a:gd name="connsiteX102" fmla="*/ 4604655 w 7467600"/>
              <a:gd name="connsiteY102" fmla="*/ 5583434 h 6858000"/>
              <a:gd name="connsiteX103" fmla="*/ 4565074 w 7467600"/>
              <a:gd name="connsiteY103" fmla="*/ 5618550 h 6858000"/>
              <a:gd name="connsiteX104" fmla="*/ 4988186 w 7467600"/>
              <a:gd name="connsiteY104" fmla="*/ 5216467 h 6858000"/>
              <a:gd name="connsiteX105" fmla="*/ 4978032 w 7467600"/>
              <a:gd name="connsiteY105" fmla="*/ 5183809 h 6858000"/>
              <a:gd name="connsiteX106" fmla="*/ 4463413 w 7467600"/>
              <a:gd name="connsiteY106" fmla="*/ 5615162 h 6858000"/>
              <a:gd name="connsiteX107" fmla="*/ 4358134 w 7467600"/>
              <a:gd name="connsiteY107" fmla="*/ 5742791 h 6858000"/>
              <a:gd name="connsiteX108" fmla="*/ 4376219 w 7467600"/>
              <a:gd name="connsiteY108" fmla="*/ 5729027 h 6858000"/>
              <a:gd name="connsiteX109" fmla="*/ 4582340 w 7467600"/>
              <a:gd name="connsiteY109" fmla="*/ 5561037 h 6858000"/>
              <a:gd name="connsiteX110" fmla="*/ 4694684 w 7467600"/>
              <a:gd name="connsiteY110" fmla="*/ 5447098 h 6858000"/>
              <a:gd name="connsiteX111" fmla="*/ 4754123 w 7467600"/>
              <a:gd name="connsiteY111" fmla="*/ 5384643 h 6858000"/>
              <a:gd name="connsiteX112" fmla="*/ 4978032 w 7467600"/>
              <a:gd name="connsiteY112" fmla="*/ 5183809 h 6858000"/>
              <a:gd name="connsiteX113" fmla="*/ 1903353 w 7467600"/>
              <a:gd name="connsiteY113" fmla="*/ 5044827 h 6858000"/>
              <a:gd name="connsiteX114" fmla="*/ 1936931 w 7467600"/>
              <a:gd name="connsiteY114" fmla="*/ 5093954 h 6858000"/>
              <a:gd name="connsiteX115" fmla="*/ 2195868 w 7467600"/>
              <a:gd name="connsiteY115" fmla="*/ 5396574 h 6858000"/>
              <a:gd name="connsiteX116" fmla="*/ 2088852 w 7467600"/>
              <a:gd name="connsiteY116" fmla="*/ 5166123 h 6858000"/>
              <a:gd name="connsiteX117" fmla="*/ 1958241 w 7467600"/>
              <a:gd name="connsiteY117" fmla="*/ 5067955 h 6858000"/>
              <a:gd name="connsiteX118" fmla="*/ 1903353 w 7467600"/>
              <a:gd name="connsiteY118" fmla="*/ 5044827 h 6858000"/>
              <a:gd name="connsiteX119" fmla="*/ 1979378 w 7467600"/>
              <a:gd name="connsiteY119" fmla="*/ 4769504 h 6858000"/>
              <a:gd name="connsiteX120" fmla="*/ 2882120 w 7467600"/>
              <a:gd name="connsiteY120" fmla="*/ 5064547 h 6858000"/>
              <a:gd name="connsiteX121" fmla="*/ 2793103 w 7467600"/>
              <a:gd name="connsiteY121" fmla="*/ 5039699 h 6858000"/>
              <a:gd name="connsiteX122" fmla="*/ 2770041 w 7467600"/>
              <a:gd name="connsiteY122" fmla="*/ 5033634 h 6858000"/>
              <a:gd name="connsiteX123" fmla="*/ 1979378 w 7467600"/>
              <a:gd name="connsiteY123" fmla="*/ 4769504 h 6858000"/>
              <a:gd name="connsiteX124" fmla="*/ 1927410 w 7467600"/>
              <a:gd name="connsiteY124" fmla="*/ 4716164 h 6858000"/>
              <a:gd name="connsiteX125" fmla="*/ 1959587 w 7467600"/>
              <a:gd name="connsiteY125" fmla="*/ 4728849 h 6858000"/>
              <a:gd name="connsiteX126" fmla="*/ 2777707 w 7467600"/>
              <a:gd name="connsiteY126" fmla="*/ 5003991 h 6858000"/>
              <a:gd name="connsiteX127" fmla="*/ 2800768 w 7467600"/>
              <a:gd name="connsiteY127" fmla="*/ 5010056 h 6858000"/>
              <a:gd name="connsiteX128" fmla="*/ 2879408 w 7467600"/>
              <a:gd name="connsiteY128" fmla="*/ 5031590 h 6858000"/>
              <a:gd name="connsiteX129" fmla="*/ 2862295 w 7467600"/>
              <a:gd name="connsiteY129" fmla="*/ 5022958 h 6858000"/>
              <a:gd name="connsiteX130" fmla="*/ 2813343 w 7467600"/>
              <a:gd name="connsiteY130" fmla="*/ 4998369 h 6858000"/>
              <a:gd name="connsiteX131" fmla="*/ 2646245 w 7467600"/>
              <a:gd name="connsiteY131" fmla="*/ 4930999 h 6858000"/>
              <a:gd name="connsiteX132" fmla="*/ 1999243 w 7467600"/>
              <a:gd name="connsiteY132" fmla="*/ 4730524 h 6858000"/>
              <a:gd name="connsiteX133" fmla="*/ 1979527 w 7467600"/>
              <a:gd name="connsiteY133" fmla="*/ 4726651 h 6858000"/>
              <a:gd name="connsiteX134" fmla="*/ 1927410 w 7467600"/>
              <a:gd name="connsiteY134" fmla="*/ 4716164 h 6858000"/>
              <a:gd name="connsiteX135" fmla="*/ 1997014 w 7467600"/>
              <a:gd name="connsiteY135" fmla="*/ 4698007 h 6858000"/>
              <a:gd name="connsiteX136" fmla="*/ 2005458 w 7467600"/>
              <a:gd name="connsiteY136" fmla="*/ 4699540 h 6858000"/>
              <a:gd name="connsiteX137" fmla="*/ 2657186 w 7467600"/>
              <a:gd name="connsiteY137" fmla="*/ 4901687 h 6858000"/>
              <a:gd name="connsiteX138" fmla="*/ 2826662 w 7467600"/>
              <a:gd name="connsiteY138" fmla="*/ 4970362 h 6858000"/>
              <a:gd name="connsiteX139" fmla="*/ 2876100 w 7467600"/>
              <a:gd name="connsiteY139" fmla="*/ 4995397 h 6858000"/>
              <a:gd name="connsiteX140" fmla="*/ 3042600 w 7467600"/>
              <a:gd name="connsiteY140" fmla="*/ 5059532 h 6858000"/>
              <a:gd name="connsiteX141" fmla="*/ 1997014 w 7467600"/>
              <a:gd name="connsiteY141" fmla="*/ 4698007 h 6858000"/>
              <a:gd name="connsiteX142" fmla="*/ 2305292 w 7467600"/>
              <a:gd name="connsiteY142" fmla="*/ 4219492 h 6858000"/>
              <a:gd name="connsiteX143" fmla="*/ 3360922 w 7467600"/>
              <a:gd name="connsiteY143" fmla="*/ 4529373 h 6858000"/>
              <a:gd name="connsiteX144" fmla="*/ 3492420 w 7467600"/>
              <a:gd name="connsiteY144" fmla="*/ 4510145 h 6858000"/>
              <a:gd name="connsiteX145" fmla="*/ 3364086 w 7467600"/>
              <a:gd name="connsiteY145" fmla="*/ 4480340 h 6858000"/>
              <a:gd name="connsiteX146" fmla="*/ 3225818 w 7467600"/>
              <a:gd name="connsiteY146" fmla="*/ 4411822 h 6858000"/>
              <a:gd name="connsiteX147" fmla="*/ 3129696 w 7467600"/>
              <a:gd name="connsiteY147" fmla="*/ 4360704 h 6858000"/>
              <a:gd name="connsiteX148" fmla="*/ 2814545 w 7467600"/>
              <a:gd name="connsiteY148" fmla="*/ 4282955 h 6858000"/>
              <a:gd name="connsiteX149" fmla="*/ 2305292 w 7467600"/>
              <a:gd name="connsiteY149" fmla="*/ 4219492 h 6858000"/>
              <a:gd name="connsiteX150" fmla="*/ 2626982 w 7467600"/>
              <a:gd name="connsiteY150" fmla="*/ 4206450 h 6858000"/>
              <a:gd name="connsiteX151" fmla="*/ 2490617 w 7467600"/>
              <a:gd name="connsiteY151" fmla="*/ 4206951 h 6858000"/>
              <a:gd name="connsiteX152" fmla="*/ 2819869 w 7467600"/>
              <a:gd name="connsiteY152" fmla="*/ 4252936 h 6858000"/>
              <a:gd name="connsiteX153" fmla="*/ 3143018 w 7467600"/>
              <a:gd name="connsiteY153" fmla="*/ 4332698 h 6858000"/>
              <a:gd name="connsiteX154" fmla="*/ 3241520 w 7467600"/>
              <a:gd name="connsiteY154" fmla="*/ 4385112 h 6858000"/>
              <a:gd name="connsiteX155" fmla="*/ 3374575 w 7467600"/>
              <a:gd name="connsiteY155" fmla="*/ 4451517 h 6858000"/>
              <a:gd name="connsiteX156" fmla="*/ 3505221 w 7467600"/>
              <a:gd name="connsiteY156" fmla="*/ 4480757 h 6858000"/>
              <a:gd name="connsiteX157" fmla="*/ 2626982 w 7467600"/>
              <a:gd name="connsiteY157" fmla="*/ 4206450 h 6858000"/>
              <a:gd name="connsiteX158" fmla="*/ 1310106 w 7467600"/>
              <a:gd name="connsiteY158" fmla="*/ 3943217 h 6858000"/>
              <a:gd name="connsiteX159" fmla="*/ 854994 w 7467600"/>
              <a:gd name="connsiteY159" fmla="*/ 4399136 h 6858000"/>
              <a:gd name="connsiteX160" fmla="*/ 742462 w 7467600"/>
              <a:gd name="connsiteY160" fmla="*/ 4594648 h 6858000"/>
              <a:gd name="connsiteX161" fmla="*/ 820602 w 7467600"/>
              <a:gd name="connsiteY161" fmla="*/ 4485915 h 6858000"/>
              <a:gd name="connsiteX162" fmla="*/ 878295 w 7467600"/>
              <a:gd name="connsiteY162" fmla="*/ 4403594 h 6858000"/>
              <a:gd name="connsiteX163" fmla="*/ 1240607 w 7467600"/>
              <a:gd name="connsiteY163" fmla="*/ 4010401 h 6858000"/>
              <a:gd name="connsiteX164" fmla="*/ 1310106 w 7467600"/>
              <a:gd name="connsiteY164" fmla="*/ 3943217 h 6858000"/>
              <a:gd name="connsiteX165" fmla="*/ 1423113 w 7467600"/>
              <a:gd name="connsiteY165" fmla="*/ 3874565 h 6858000"/>
              <a:gd name="connsiteX166" fmla="*/ 1260565 w 7467600"/>
              <a:gd name="connsiteY166" fmla="*/ 4031982 h 6858000"/>
              <a:gd name="connsiteX167" fmla="*/ 901900 w 7467600"/>
              <a:gd name="connsiteY167" fmla="*/ 4421236 h 6858000"/>
              <a:gd name="connsiteX168" fmla="*/ 845044 w 7467600"/>
              <a:gd name="connsiteY168" fmla="*/ 4502436 h 6858000"/>
              <a:gd name="connsiteX169" fmla="*/ 685926 w 7467600"/>
              <a:gd name="connsiteY169" fmla="*/ 4703069 h 6858000"/>
              <a:gd name="connsiteX170" fmla="*/ 684248 w 7467600"/>
              <a:gd name="connsiteY170" fmla="*/ 4706721 h 6858000"/>
              <a:gd name="connsiteX171" fmla="*/ 1423113 w 7467600"/>
              <a:gd name="connsiteY171" fmla="*/ 3874565 h 6858000"/>
              <a:gd name="connsiteX172" fmla="*/ 3316479 w 7467600"/>
              <a:gd name="connsiteY172" fmla="*/ 3872136 h 6858000"/>
              <a:gd name="connsiteX173" fmla="*/ 3546806 w 7467600"/>
              <a:gd name="connsiteY173" fmla="*/ 4356139 h 6858000"/>
              <a:gd name="connsiteX174" fmla="*/ 3364433 w 7467600"/>
              <a:gd name="connsiteY174" fmla="*/ 3953121 h 6858000"/>
              <a:gd name="connsiteX175" fmla="*/ 3316479 w 7467600"/>
              <a:gd name="connsiteY175" fmla="*/ 3872136 h 6858000"/>
              <a:gd name="connsiteX176" fmla="*/ 3291335 w 7467600"/>
              <a:gd name="connsiteY176" fmla="*/ 3767420 h 6858000"/>
              <a:gd name="connsiteX177" fmla="*/ 3390805 w 7467600"/>
              <a:gd name="connsiteY177" fmla="*/ 3937163 h 6858000"/>
              <a:gd name="connsiteX178" fmla="*/ 3579062 w 7467600"/>
              <a:gd name="connsiteY178" fmla="*/ 4359040 h 6858000"/>
              <a:gd name="connsiteX179" fmla="*/ 3467355 w 7467600"/>
              <a:gd name="connsiteY179" fmla="*/ 3988130 h 6858000"/>
              <a:gd name="connsiteX180" fmla="*/ 3310753 w 7467600"/>
              <a:gd name="connsiteY180" fmla="*/ 3787140 h 6858000"/>
              <a:gd name="connsiteX181" fmla="*/ 3291335 w 7467600"/>
              <a:gd name="connsiteY181" fmla="*/ 3767420 h 6858000"/>
              <a:gd name="connsiteX182" fmla="*/ 1635889 w 7467600"/>
              <a:gd name="connsiteY182" fmla="*/ 3709494 h 6858000"/>
              <a:gd name="connsiteX183" fmla="*/ 1634800 w 7467600"/>
              <a:gd name="connsiteY183" fmla="*/ 3731111 h 6858000"/>
              <a:gd name="connsiteX184" fmla="*/ 1635889 w 7467600"/>
              <a:gd name="connsiteY184" fmla="*/ 3709494 h 6858000"/>
              <a:gd name="connsiteX185" fmla="*/ 1510397 w 7467600"/>
              <a:gd name="connsiteY185" fmla="*/ 3684705 h 6858000"/>
              <a:gd name="connsiteX186" fmla="*/ 1146550 w 7467600"/>
              <a:gd name="connsiteY186" fmla="*/ 3802012 h 6858000"/>
              <a:gd name="connsiteX187" fmla="*/ 698834 w 7467600"/>
              <a:gd name="connsiteY187" fmla="*/ 3952272 h 6858000"/>
              <a:gd name="connsiteX188" fmla="*/ 34256 w 7467600"/>
              <a:gd name="connsiteY188" fmla="*/ 4347603 h 6858000"/>
              <a:gd name="connsiteX189" fmla="*/ 527241 w 7467600"/>
              <a:gd name="connsiteY189" fmla="*/ 4065078 h 6858000"/>
              <a:gd name="connsiteX190" fmla="*/ 1510397 w 7467600"/>
              <a:gd name="connsiteY190" fmla="*/ 3684705 h 6858000"/>
              <a:gd name="connsiteX191" fmla="*/ 1313114 w 7467600"/>
              <a:gd name="connsiteY191" fmla="*/ 3655216 h 6858000"/>
              <a:gd name="connsiteX192" fmla="*/ 1109304 w 7467600"/>
              <a:gd name="connsiteY192" fmla="*/ 3669030 h 6858000"/>
              <a:gd name="connsiteX193" fmla="*/ 8129 w 7467600"/>
              <a:gd name="connsiteY193" fmla="*/ 4330519 h 6858000"/>
              <a:gd name="connsiteX194" fmla="*/ 687572 w 7467600"/>
              <a:gd name="connsiteY194" fmla="*/ 3925629 h 6858000"/>
              <a:gd name="connsiteX195" fmla="*/ 1138365 w 7467600"/>
              <a:gd name="connsiteY195" fmla="*/ 3774515 h 6858000"/>
              <a:gd name="connsiteX196" fmla="*/ 1505579 w 7467600"/>
              <a:gd name="connsiteY196" fmla="*/ 3655526 h 6858000"/>
              <a:gd name="connsiteX197" fmla="*/ 1313114 w 7467600"/>
              <a:gd name="connsiteY197" fmla="*/ 3655216 h 6858000"/>
              <a:gd name="connsiteX198" fmla="*/ 3655073 w 7467600"/>
              <a:gd name="connsiteY198" fmla="*/ 3650884 h 6858000"/>
              <a:gd name="connsiteX199" fmla="*/ 3989938 w 7467600"/>
              <a:gd name="connsiteY199" fmla="*/ 3991685 h 6858000"/>
              <a:gd name="connsiteX200" fmla="*/ 4393907 w 7467600"/>
              <a:gd name="connsiteY200" fmla="*/ 4261258 h 6858000"/>
              <a:gd name="connsiteX201" fmla="*/ 4648051 w 7467600"/>
              <a:gd name="connsiteY201" fmla="*/ 4374051 h 6858000"/>
              <a:gd name="connsiteX202" fmla="*/ 4383389 w 7467600"/>
              <a:gd name="connsiteY202" fmla="*/ 4184369 h 6858000"/>
              <a:gd name="connsiteX203" fmla="*/ 4165508 w 7467600"/>
              <a:gd name="connsiteY203" fmla="*/ 4035196 h 6858000"/>
              <a:gd name="connsiteX204" fmla="*/ 4068162 w 7467600"/>
              <a:gd name="connsiteY204" fmla="*/ 3953394 h 6858000"/>
              <a:gd name="connsiteX205" fmla="*/ 3981416 w 7467600"/>
              <a:gd name="connsiteY205" fmla="*/ 3880482 h 6858000"/>
              <a:gd name="connsiteX206" fmla="*/ 3800147 w 7467600"/>
              <a:gd name="connsiteY206" fmla="*/ 3749872 h 6858000"/>
              <a:gd name="connsiteX207" fmla="*/ 3655073 w 7467600"/>
              <a:gd name="connsiteY207" fmla="*/ 3650884 h 6858000"/>
              <a:gd name="connsiteX208" fmla="*/ 3670252 w 7467600"/>
              <a:gd name="connsiteY208" fmla="*/ 3622798 h 6858000"/>
              <a:gd name="connsiteX209" fmla="*/ 3817258 w 7467600"/>
              <a:gd name="connsiteY209" fmla="*/ 3723577 h 6858000"/>
              <a:gd name="connsiteX210" fmla="*/ 4000461 w 7467600"/>
              <a:gd name="connsiteY210" fmla="*/ 3855966 h 6858000"/>
              <a:gd name="connsiteX211" fmla="*/ 4088180 w 7467600"/>
              <a:gd name="connsiteY211" fmla="*/ 3929774 h 6858000"/>
              <a:gd name="connsiteX212" fmla="*/ 4184555 w 7467600"/>
              <a:gd name="connsiteY212" fmla="*/ 4010683 h 6858000"/>
              <a:gd name="connsiteX213" fmla="*/ 4399563 w 7467600"/>
              <a:gd name="connsiteY213" fmla="*/ 4158106 h 6858000"/>
              <a:gd name="connsiteX214" fmla="*/ 4684469 w 7467600"/>
              <a:gd name="connsiteY214" fmla="*/ 4364680 h 6858000"/>
              <a:gd name="connsiteX215" fmla="*/ 4690271 w 7467600"/>
              <a:gd name="connsiteY215" fmla="*/ 4370034 h 6858000"/>
              <a:gd name="connsiteX216" fmla="*/ 4136093 w 7467600"/>
              <a:gd name="connsiteY216" fmla="*/ 3858466 h 6858000"/>
              <a:gd name="connsiteX217" fmla="*/ 3670252 w 7467600"/>
              <a:gd name="connsiteY217" fmla="*/ 3622798 h 6858000"/>
              <a:gd name="connsiteX218" fmla="*/ 4440129 w 7467600"/>
              <a:gd name="connsiteY218" fmla="*/ 3448571 h 6858000"/>
              <a:gd name="connsiteX219" fmla="*/ 4856525 w 7467600"/>
              <a:gd name="connsiteY219" fmla="*/ 3915351 h 6858000"/>
              <a:gd name="connsiteX220" fmla="*/ 5059055 w 7467600"/>
              <a:gd name="connsiteY220" fmla="*/ 4108918 h 6858000"/>
              <a:gd name="connsiteX221" fmla="*/ 5290070 w 7467600"/>
              <a:gd name="connsiteY221" fmla="*/ 4263619 h 6858000"/>
              <a:gd name="connsiteX222" fmla="*/ 4834991 w 7467600"/>
              <a:gd name="connsiteY222" fmla="*/ 3830985 h 6858000"/>
              <a:gd name="connsiteX223" fmla="*/ 4440129 w 7467600"/>
              <a:gd name="connsiteY223" fmla="*/ 3448571 h 6858000"/>
              <a:gd name="connsiteX224" fmla="*/ 4441737 w 7467600"/>
              <a:gd name="connsiteY224" fmla="*/ 3399734 h 6858000"/>
              <a:gd name="connsiteX225" fmla="*/ 4431236 w 7467600"/>
              <a:gd name="connsiteY225" fmla="*/ 3400954 h 6858000"/>
              <a:gd name="connsiteX226" fmla="*/ 4557150 w 7467600"/>
              <a:gd name="connsiteY226" fmla="*/ 3510023 h 6858000"/>
              <a:gd name="connsiteX227" fmla="*/ 4856936 w 7467600"/>
              <a:gd name="connsiteY227" fmla="*/ 3809146 h 6858000"/>
              <a:gd name="connsiteX228" fmla="*/ 5111996 w 7467600"/>
              <a:gd name="connsiteY228" fmla="*/ 4065759 h 6858000"/>
              <a:gd name="connsiteX229" fmla="*/ 5388878 w 7467600"/>
              <a:gd name="connsiteY229" fmla="*/ 4300185 h 6858000"/>
              <a:gd name="connsiteX230" fmla="*/ 5425556 w 7467600"/>
              <a:gd name="connsiteY230" fmla="*/ 4308967 h 6858000"/>
              <a:gd name="connsiteX231" fmla="*/ 4943646 w 7467600"/>
              <a:gd name="connsiteY231" fmla="*/ 3822916 h 6858000"/>
              <a:gd name="connsiteX232" fmla="*/ 4594837 w 7467600"/>
              <a:gd name="connsiteY232" fmla="*/ 3532274 h 6858000"/>
              <a:gd name="connsiteX233" fmla="*/ 4441737 w 7467600"/>
              <a:gd name="connsiteY233" fmla="*/ 3399734 h 6858000"/>
              <a:gd name="connsiteX234" fmla="*/ 5425834 w 7467600"/>
              <a:gd name="connsiteY234" fmla="*/ 3162785 h 6858000"/>
              <a:gd name="connsiteX235" fmla="*/ 5401644 w 7467600"/>
              <a:gd name="connsiteY235" fmla="*/ 3617847 h 6858000"/>
              <a:gd name="connsiteX236" fmla="*/ 5467256 w 7467600"/>
              <a:gd name="connsiteY236" fmla="*/ 4175494 h 6858000"/>
              <a:gd name="connsiteX237" fmla="*/ 5448069 w 7467600"/>
              <a:gd name="connsiteY237" fmla="*/ 3567554 h 6858000"/>
              <a:gd name="connsiteX238" fmla="*/ 5425834 w 7467600"/>
              <a:gd name="connsiteY238" fmla="*/ 3162785 h 6858000"/>
              <a:gd name="connsiteX239" fmla="*/ 1318687 w 7467600"/>
              <a:gd name="connsiteY239" fmla="*/ 3113840 h 6858000"/>
              <a:gd name="connsiteX240" fmla="*/ 1066793 w 7467600"/>
              <a:gd name="connsiteY240" fmla="*/ 3212171 h 6858000"/>
              <a:gd name="connsiteX241" fmla="*/ 993319 w 7467600"/>
              <a:gd name="connsiteY241" fmla="*/ 3247648 h 6858000"/>
              <a:gd name="connsiteX242" fmla="*/ 853081 w 7467600"/>
              <a:gd name="connsiteY242" fmla="*/ 3312410 h 6858000"/>
              <a:gd name="connsiteX243" fmla="*/ 805957 w 7467600"/>
              <a:gd name="connsiteY243" fmla="*/ 3330443 h 6858000"/>
              <a:gd name="connsiteX244" fmla="*/ 1318687 w 7467600"/>
              <a:gd name="connsiteY244" fmla="*/ 3113840 h 6858000"/>
              <a:gd name="connsiteX245" fmla="*/ 5453702 w 7467600"/>
              <a:gd name="connsiteY245" fmla="*/ 3090882 h 6858000"/>
              <a:gd name="connsiteX246" fmla="*/ 5480135 w 7467600"/>
              <a:gd name="connsiteY246" fmla="*/ 3565802 h 6858000"/>
              <a:gd name="connsiteX247" fmla="*/ 5499023 w 7467600"/>
              <a:gd name="connsiteY247" fmla="*/ 4166310 h 6858000"/>
              <a:gd name="connsiteX248" fmla="*/ 5547022 w 7467600"/>
              <a:gd name="connsiteY248" fmla="*/ 3607838 h 6858000"/>
              <a:gd name="connsiteX249" fmla="*/ 5515964 w 7467600"/>
              <a:gd name="connsiteY249" fmla="*/ 3378541 h 6858000"/>
              <a:gd name="connsiteX250" fmla="*/ 5453702 w 7467600"/>
              <a:gd name="connsiteY250" fmla="*/ 3090882 h 6858000"/>
              <a:gd name="connsiteX251" fmla="*/ 1238695 w 7467600"/>
              <a:gd name="connsiteY251" fmla="*/ 3076820 h 6858000"/>
              <a:gd name="connsiteX252" fmla="*/ 716371 w 7467600"/>
              <a:gd name="connsiteY252" fmla="*/ 3293249 h 6858000"/>
              <a:gd name="connsiteX253" fmla="*/ 579522 w 7467600"/>
              <a:gd name="connsiteY253" fmla="*/ 3371759 h 6858000"/>
              <a:gd name="connsiteX254" fmla="*/ 600288 w 7467600"/>
              <a:gd name="connsiteY254" fmla="*/ 3365555 h 6858000"/>
              <a:gd name="connsiteX255" fmla="*/ 840692 w 7467600"/>
              <a:gd name="connsiteY255" fmla="*/ 3284921 h 6858000"/>
              <a:gd name="connsiteX256" fmla="*/ 979248 w 7467600"/>
              <a:gd name="connsiteY256" fmla="*/ 3221003 h 6858000"/>
              <a:gd name="connsiteX257" fmla="*/ 1053282 w 7467600"/>
              <a:gd name="connsiteY257" fmla="*/ 3185247 h 6858000"/>
              <a:gd name="connsiteX258" fmla="*/ 1320603 w 7467600"/>
              <a:gd name="connsiteY258" fmla="*/ 3081281 h 6858000"/>
              <a:gd name="connsiteX259" fmla="*/ 1238695 w 7467600"/>
              <a:gd name="connsiteY259" fmla="*/ 3076820 h 6858000"/>
              <a:gd name="connsiteX260" fmla="*/ 5425627 w 7467600"/>
              <a:gd name="connsiteY260" fmla="*/ 2954192 h 6858000"/>
              <a:gd name="connsiteX261" fmla="*/ 5470770 w 7467600"/>
              <a:gd name="connsiteY261" fmla="*/ 3005435 h 6858000"/>
              <a:gd name="connsiteX262" fmla="*/ 5519779 w 7467600"/>
              <a:gd name="connsiteY262" fmla="*/ 4359223 h 6858000"/>
              <a:gd name="connsiteX263" fmla="*/ 5520293 w 7467600"/>
              <a:gd name="connsiteY263" fmla="*/ 4360602 h 6858000"/>
              <a:gd name="connsiteX264" fmla="*/ 5767221 w 7467600"/>
              <a:gd name="connsiteY264" fmla="*/ 4665564 h 6858000"/>
              <a:gd name="connsiteX265" fmla="*/ 6937169 w 7467600"/>
              <a:gd name="connsiteY265" fmla="*/ 4815941 h 6858000"/>
              <a:gd name="connsiteX266" fmla="*/ 6953922 w 7467600"/>
              <a:gd name="connsiteY266" fmla="*/ 4890068 h 6858000"/>
              <a:gd name="connsiteX267" fmla="*/ 6071359 w 7467600"/>
              <a:gd name="connsiteY267" fmla="*/ 4770770 h 6858000"/>
              <a:gd name="connsiteX268" fmla="*/ 6038839 w 7467600"/>
              <a:gd name="connsiteY268" fmla="*/ 4764474 h 6858000"/>
              <a:gd name="connsiteX269" fmla="*/ 6038706 w 7467600"/>
              <a:gd name="connsiteY269" fmla="*/ 4763847 h 6858000"/>
              <a:gd name="connsiteX270" fmla="*/ 6037784 w 7467600"/>
              <a:gd name="connsiteY270" fmla="*/ 4764270 h 6858000"/>
              <a:gd name="connsiteX271" fmla="*/ 6038839 w 7467600"/>
              <a:gd name="connsiteY271" fmla="*/ 4764474 h 6858000"/>
              <a:gd name="connsiteX272" fmla="*/ 6040338 w 7467600"/>
              <a:gd name="connsiteY272" fmla="*/ 4771418 h 6858000"/>
              <a:gd name="connsiteX273" fmla="*/ 6024488 w 7467600"/>
              <a:gd name="connsiteY273" fmla="*/ 4809903 h 6858000"/>
              <a:gd name="connsiteX274" fmla="*/ 5599771 w 7467600"/>
              <a:gd name="connsiteY274" fmla="*/ 5509652 h 6858000"/>
              <a:gd name="connsiteX275" fmla="*/ 5548843 w 7467600"/>
              <a:gd name="connsiteY275" fmla="*/ 5563845 h 6858000"/>
              <a:gd name="connsiteX276" fmla="*/ 5940952 w 7467600"/>
              <a:gd name="connsiteY276" fmla="*/ 6250028 h 6858000"/>
              <a:gd name="connsiteX277" fmla="*/ 6043441 w 7467600"/>
              <a:gd name="connsiteY277" fmla="*/ 6665847 h 6858000"/>
              <a:gd name="connsiteX278" fmla="*/ 6093432 w 7467600"/>
              <a:gd name="connsiteY278" fmla="*/ 6858000 h 6858000"/>
              <a:gd name="connsiteX279" fmla="*/ 6034344 w 7467600"/>
              <a:gd name="connsiteY279" fmla="*/ 6858000 h 6858000"/>
              <a:gd name="connsiteX280" fmla="*/ 6026679 w 7467600"/>
              <a:gd name="connsiteY280" fmla="*/ 6836959 h 6858000"/>
              <a:gd name="connsiteX281" fmla="*/ 5800441 w 7467600"/>
              <a:gd name="connsiteY281" fmla="*/ 6335286 h 6858000"/>
              <a:gd name="connsiteX282" fmla="*/ 5526562 w 7467600"/>
              <a:gd name="connsiteY282" fmla="*/ 5705388 h 6858000"/>
              <a:gd name="connsiteX283" fmla="*/ 5519640 w 7467600"/>
              <a:gd name="connsiteY283" fmla="*/ 5683774 h 6858000"/>
              <a:gd name="connsiteX284" fmla="*/ 5844559 w 7467600"/>
              <a:gd name="connsiteY284" fmla="*/ 6553349 h 6858000"/>
              <a:gd name="connsiteX285" fmla="*/ 5975994 w 7467600"/>
              <a:gd name="connsiteY285" fmla="*/ 6858000 h 6858000"/>
              <a:gd name="connsiteX286" fmla="*/ 5898547 w 7467600"/>
              <a:gd name="connsiteY286" fmla="*/ 6858000 h 6858000"/>
              <a:gd name="connsiteX287" fmla="*/ 5682041 w 7467600"/>
              <a:gd name="connsiteY287" fmla="*/ 6355860 h 6858000"/>
              <a:gd name="connsiteX288" fmla="*/ 5461758 w 7467600"/>
              <a:gd name="connsiteY288" fmla="*/ 5820220 h 6858000"/>
              <a:gd name="connsiteX289" fmla="*/ 5237282 w 7467600"/>
              <a:gd name="connsiteY289" fmla="*/ 6579086 h 6858000"/>
              <a:gd name="connsiteX290" fmla="*/ 5115009 w 7467600"/>
              <a:gd name="connsiteY290" fmla="*/ 6858000 h 6858000"/>
              <a:gd name="connsiteX291" fmla="*/ 5028074 w 7467600"/>
              <a:gd name="connsiteY291" fmla="*/ 6858000 h 6858000"/>
              <a:gd name="connsiteX292" fmla="*/ 5079508 w 7467600"/>
              <a:gd name="connsiteY292" fmla="*/ 6749074 h 6858000"/>
              <a:gd name="connsiteX293" fmla="*/ 5371846 w 7467600"/>
              <a:gd name="connsiteY293" fmla="*/ 5924413 h 6858000"/>
              <a:gd name="connsiteX294" fmla="*/ 5270512 w 7467600"/>
              <a:gd name="connsiteY294" fmla="*/ 6138975 h 6858000"/>
              <a:gd name="connsiteX295" fmla="*/ 5062409 w 7467600"/>
              <a:gd name="connsiteY295" fmla="*/ 6653544 h 6858000"/>
              <a:gd name="connsiteX296" fmla="*/ 5036628 w 7467600"/>
              <a:gd name="connsiteY296" fmla="*/ 6754247 h 6858000"/>
              <a:gd name="connsiteX297" fmla="*/ 5009112 w 7467600"/>
              <a:gd name="connsiteY297" fmla="*/ 6858000 h 6858000"/>
              <a:gd name="connsiteX298" fmla="*/ 4976679 w 7467600"/>
              <a:gd name="connsiteY298" fmla="*/ 6858000 h 6858000"/>
              <a:gd name="connsiteX299" fmla="*/ 5006537 w 7467600"/>
              <a:gd name="connsiteY299" fmla="*/ 6747068 h 6858000"/>
              <a:gd name="connsiteX300" fmla="*/ 5032723 w 7467600"/>
              <a:gd name="connsiteY300" fmla="*/ 6644957 h 6858000"/>
              <a:gd name="connsiteX301" fmla="*/ 5242949 w 7467600"/>
              <a:gd name="connsiteY301" fmla="*/ 6125175 h 6858000"/>
              <a:gd name="connsiteX302" fmla="*/ 5286321 w 7467600"/>
              <a:gd name="connsiteY302" fmla="*/ 6033555 h 6858000"/>
              <a:gd name="connsiteX303" fmla="*/ 5008210 w 7467600"/>
              <a:gd name="connsiteY303" fmla="*/ 6649194 h 6858000"/>
              <a:gd name="connsiteX304" fmla="*/ 4986321 w 7467600"/>
              <a:gd name="connsiteY304" fmla="*/ 6765687 h 6858000"/>
              <a:gd name="connsiteX305" fmla="*/ 4973474 w 7467600"/>
              <a:gd name="connsiteY305" fmla="*/ 6858000 h 6858000"/>
              <a:gd name="connsiteX306" fmla="*/ 4907178 w 7467600"/>
              <a:gd name="connsiteY306" fmla="*/ 6858000 h 6858000"/>
              <a:gd name="connsiteX307" fmla="*/ 4910810 w 7467600"/>
              <a:gd name="connsiteY307" fmla="*/ 6829660 h 6858000"/>
              <a:gd name="connsiteX308" fmla="*/ 4987461 w 7467600"/>
              <a:gd name="connsiteY308" fmla="*/ 6432994 h 6858000"/>
              <a:gd name="connsiteX309" fmla="*/ 5179262 w 7467600"/>
              <a:gd name="connsiteY309" fmla="*/ 6035044 h 6858000"/>
              <a:gd name="connsiteX310" fmla="*/ 4689678 w 7467600"/>
              <a:gd name="connsiteY310" fmla="*/ 6440241 h 6858000"/>
              <a:gd name="connsiteX311" fmla="*/ 4477543 w 7467600"/>
              <a:gd name="connsiteY311" fmla="*/ 6674836 h 6858000"/>
              <a:gd name="connsiteX312" fmla="*/ 4329957 w 7467600"/>
              <a:gd name="connsiteY312" fmla="*/ 6858000 h 6858000"/>
              <a:gd name="connsiteX313" fmla="*/ 4218595 w 7467600"/>
              <a:gd name="connsiteY313" fmla="*/ 6858000 h 6858000"/>
              <a:gd name="connsiteX314" fmla="*/ 4368888 w 7467600"/>
              <a:gd name="connsiteY314" fmla="*/ 6668412 h 6858000"/>
              <a:gd name="connsiteX315" fmla="*/ 4563091 w 7467600"/>
              <a:gd name="connsiteY315" fmla="*/ 6442508 h 6858000"/>
              <a:gd name="connsiteX316" fmla="*/ 5387324 w 7467600"/>
              <a:gd name="connsiteY316" fmla="*/ 5705830 h 6858000"/>
              <a:gd name="connsiteX317" fmla="*/ 5073620 w 7467600"/>
              <a:gd name="connsiteY317" fmla="*/ 5955437 h 6858000"/>
              <a:gd name="connsiteX318" fmla="*/ 4689789 w 7467600"/>
              <a:gd name="connsiteY318" fmla="*/ 6268382 h 6858000"/>
              <a:gd name="connsiteX319" fmla="*/ 4418722 w 7467600"/>
              <a:gd name="connsiteY319" fmla="*/ 6570886 h 6858000"/>
              <a:gd name="connsiteX320" fmla="*/ 4214944 w 7467600"/>
              <a:gd name="connsiteY320" fmla="*/ 6858000 h 6858000"/>
              <a:gd name="connsiteX321" fmla="*/ 4177898 w 7467600"/>
              <a:gd name="connsiteY321" fmla="*/ 6858000 h 6858000"/>
              <a:gd name="connsiteX322" fmla="*/ 4391597 w 7467600"/>
              <a:gd name="connsiteY322" fmla="*/ 6556370 h 6858000"/>
              <a:gd name="connsiteX323" fmla="*/ 4668889 w 7467600"/>
              <a:gd name="connsiteY323" fmla="*/ 6246399 h 6858000"/>
              <a:gd name="connsiteX324" fmla="*/ 5055427 w 7467600"/>
              <a:gd name="connsiteY324" fmla="*/ 5931476 h 6858000"/>
              <a:gd name="connsiteX325" fmla="*/ 5371814 w 7467600"/>
              <a:gd name="connsiteY325" fmla="*/ 5678975 h 6858000"/>
              <a:gd name="connsiteX326" fmla="*/ 4987918 w 7467600"/>
              <a:gd name="connsiteY326" fmla="*/ 5838701 h 6858000"/>
              <a:gd name="connsiteX327" fmla="*/ 4317146 w 7467600"/>
              <a:gd name="connsiteY327" fmla="*/ 6587716 h 6858000"/>
              <a:gd name="connsiteX328" fmla="*/ 4171627 w 7467600"/>
              <a:gd name="connsiteY328" fmla="*/ 6858000 h 6858000"/>
              <a:gd name="connsiteX329" fmla="*/ 4081585 w 7467600"/>
              <a:gd name="connsiteY329" fmla="*/ 6858000 h 6858000"/>
              <a:gd name="connsiteX330" fmla="*/ 4238603 w 7467600"/>
              <a:gd name="connsiteY330" fmla="*/ 6559341 h 6858000"/>
              <a:gd name="connsiteX331" fmla="*/ 4778333 w 7467600"/>
              <a:gd name="connsiteY331" fmla="*/ 5873626 h 6858000"/>
              <a:gd name="connsiteX332" fmla="*/ 5414185 w 7467600"/>
              <a:gd name="connsiteY332" fmla="*/ 5573882 h 6858000"/>
              <a:gd name="connsiteX333" fmla="*/ 5959648 w 7467600"/>
              <a:gd name="connsiteY333" fmla="*/ 4760797 h 6858000"/>
              <a:gd name="connsiteX334" fmla="*/ 5355019 w 7467600"/>
              <a:gd name="connsiteY334" fmla="*/ 4734672 h 6858000"/>
              <a:gd name="connsiteX335" fmla="*/ 5083565 w 7467600"/>
              <a:gd name="connsiteY335" fmla="*/ 5179121 h 6858000"/>
              <a:gd name="connsiteX336" fmla="*/ 4713577 w 7467600"/>
              <a:gd name="connsiteY336" fmla="*/ 5616803 h 6858000"/>
              <a:gd name="connsiteX337" fmla="*/ 3989559 w 7467600"/>
              <a:gd name="connsiteY337" fmla="*/ 6145945 h 6858000"/>
              <a:gd name="connsiteX338" fmla="*/ 3939824 w 7467600"/>
              <a:gd name="connsiteY338" fmla="*/ 6066900 h 6858000"/>
              <a:gd name="connsiteX339" fmla="*/ 4584537 w 7467600"/>
              <a:gd name="connsiteY339" fmla="*/ 5324826 h 6858000"/>
              <a:gd name="connsiteX340" fmla="*/ 5037105 w 7467600"/>
              <a:gd name="connsiteY340" fmla="*/ 5088765 h 6858000"/>
              <a:gd name="connsiteX341" fmla="*/ 5039930 w 7467600"/>
              <a:gd name="connsiteY341" fmla="*/ 5089585 h 6858000"/>
              <a:gd name="connsiteX342" fmla="*/ 5263764 w 7467600"/>
              <a:gd name="connsiteY342" fmla="*/ 4735525 h 6858000"/>
              <a:gd name="connsiteX343" fmla="*/ 4086300 w 7467600"/>
              <a:gd name="connsiteY343" fmla="*/ 4884599 h 6858000"/>
              <a:gd name="connsiteX344" fmla="*/ 4085485 w 7467600"/>
              <a:gd name="connsiteY344" fmla="*/ 4899070 h 6858000"/>
              <a:gd name="connsiteX345" fmla="*/ 3871915 w 7467600"/>
              <a:gd name="connsiteY345" fmla="*/ 5253645 h 6858000"/>
              <a:gd name="connsiteX346" fmla="*/ 3799374 w 7467600"/>
              <a:gd name="connsiteY346" fmla="*/ 5466127 h 6858000"/>
              <a:gd name="connsiteX347" fmla="*/ 3498850 w 7467600"/>
              <a:gd name="connsiteY347" fmla="*/ 6661888 h 6858000"/>
              <a:gd name="connsiteX348" fmla="*/ 3399216 w 7467600"/>
              <a:gd name="connsiteY348" fmla="*/ 6858000 h 6858000"/>
              <a:gd name="connsiteX349" fmla="*/ 3303688 w 7467600"/>
              <a:gd name="connsiteY349" fmla="*/ 6858000 h 6858000"/>
              <a:gd name="connsiteX350" fmla="*/ 3391774 w 7467600"/>
              <a:gd name="connsiteY350" fmla="*/ 6697181 h 6858000"/>
              <a:gd name="connsiteX351" fmla="*/ 3735540 w 7467600"/>
              <a:gd name="connsiteY351" fmla="*/ 5546923 h 6858000"/>
              <a:gd name="connsiteX352" fmla="*/ 3729438 w 7467600"/>
              <a:gd name="connsiteY352" fmla="*/ 5569058 h 6858000"/>
              <a:gd name="connsiteX353" fmla="*/ 3707782 w 7467600"/>
              <a:gd name="connsiteY353" fmla="*/ 5644908 h 6858000"/>
              <a:gd name="connsiteX354" fmla="*/ 3583827 w 7467600"/>
              <a:gd name="connsiteY354" fmla="*/ 6039215 h 6858000"/>
              <a:gd name="connsiteX355" fmla="*/ 3547861 w 7467600"/>
              <a:gd name="connsiteY355" fmla="*/ 6129609 h 6858000"/>
              <a:gd name="connsiteX356" fmla="*/ 3490905 w 7467600"/>
              <a:gd name="connsiteY356" fmla="*/ 6277660 h 6858000"/>
              <a:gd name="connsiteX357" fmla="*/ 3455859 w 7467600"/>
              <a:gd name="connsiteY357" fmla="*/ 6391301 h 6858000"/>
              <a:gd name="connsiteX358" fmla="*/ 3429112 w 7467600"/>
              <a:gd name="connsiteY358" fmla="*/ 6479469 h 6858000"/>
              <a:gd name="connsiteX359" fmla="*/ 3304862 w 7467600"/>
              <a:gd name="connsiteY359" fmla="*/ 6796476 h 6858000"/>
              <a:gd name="connsiteX360" fmla="*/ 3276071 w 7467600"/>
              <a:gd name="connsiteY360" fmla="*/ 6858000 h 6858000"/>
              <a:gd name="connsiteX361" fmla="*/ 3240805 w 7467600"/>
              <a:gd name="connsiteY361" fmla="*/ 6858000 h 6858000"/>
              <a:gd name="connsiteX362" fmla="*/ 3275917 w 7467600"/>
              <a:gd name="connsiteY362" fmla="*/ 6783192 h 6858000"/>
              <a:gd name="connsiteX363" fmla="*/ 3399358 w 7467600"/>
              <a:gd name="connsiteY363" fmla="*/ 6469011 h 6858000"/>
              <a:gd name="connsiteX364" fmla="*/ 3425650 w 7467600"/>
              <a:gd name="connsiteY364" fmla="*/ 6381333 h 6858000"/>
              <a:gd name="connsiteX365" fmla="*/ 3460661 w 7467600"/>
              <a:gd name="connsiteY365" fmla="*/ 6266763 h 6858000"/>
              <a:gd name="connsiteX366" fmla="*/ 3518021 w 7467600"/>
              <a:gd name="connsiteY366" fmla="*/ 6117298 h 6858000"/>
              <a:gd name="connsiteX367" fmla="*/ 3554035 w 7467600"/>
              <a:gd name="connsiteY367" fmla="*/ 6027832 h 6858000"/>
              <a:gd name="connsiteX368" fmla="*/ 3677174 w 7467600"/>
              <a:gd name="connsiteY368" fmla="*/ 5636351 h 6858000"/>
              <a:gd name="connsiteX369" fmla="*/ 3698819 w 7467600"/>
              <a:gd name="connsiteY369" fmla="*/ 5560503 h 6858000"/>
              <a:gd name="connsiteX370" fmla="*/ 3702094 w 7467600"/>
              <a:gd name="connsiteY370" fmla="*/ 5549194 h 6858000"/>
              <a:gd name="connsiteX371" fmla="*/ 3398355 w 7467600"/>
              <a:gd name="connsiteY371" fmla="*/ 6094603 h 6858000"/>
              <a:gd name="connsiteX372" fmla="*/ 3193941 w 7467600"/>
              <a:gd name="connsiteY372" fmla="*/ 6798775 h 6858000"/>
              <a:gd name="connsiteX373" fmla="*/ 3184140 w 7467600"/>
              <a:gd name="connsiteY373" fmla="*/ 6858000 h 6858000"/>
              <a:gd name="connsiteX374" fmla="*/ 3099978 w 7467600"/>
              <a:gd name="connsiteY374" fmla="*/ 6858000 h 6858000"/>
              <a:gd name="connsiteX375" fmla="*/ 3101556 w 7467600"/>
              <a:gd name="connsiteY375" fmla="*/ 6843337 h 6858000"/>
              <a:gd name="connsiteX376" fmla="*/ 3370162 w 7467600"/>
              <a:gd name="connsiteY376" fmla="*/ 5785550 h 6858000"/>
              <a:gd name="connsiteX377" fmla="*/ 3746477 w 7467600"/>
              <a:gd name="connsiteY377" fmla="*/ 5377889 h 6858000"/>
              <a:gd name="connsiteX378" fmla="*/ 3863399 w 7467600"/>
              <a:gd name="connsiteY378" fmla="*/ 5087257 h 6858000"/>
              <a:gd name="connsiteX379" fmla="*/ 3968712 w 7467600"/>
              <a:gd name="connsiteY379" fmla="*/ 4913989 h 6858000"/>
              <a:gd name="connsiteX380" fmla="*/ 2792390 w 7467600"/>
              <a:gd name="connsiteY380" fmla="*/ 5382974 h 6858000"/>
              <a:gd name="connsiteX381" fmla="*/ 2714982 w 7467600"/>
              <a:gd name="connsiteY381" fmla="*/ 5427051 h 6858000"/>
              <a:gd name="connsiteX382" fmla="*/ 2813361 w 7467600"/>
              <a:gd name="connsiteY382" fmla="*/ 6023912 h 6858000"/>
              <a:gd name="connsiteX383" fmla="*/ 2688430 w 7467600"/>
              <a:gd name="connsiteY383" fmla="*/ 6801564 h 6858000"/>
              <a:gd name="connsiteX384" fmla="*/ 2629626 w 7467600"/>
              <a:gd name="connsiteY384" fmla="*/ 6763394 h 6858000"/>
              <a:gd name="connsiteX385" fmla="*/ 2565328 w 7467600"/>
              <a:gd name="connsiteY385" fmla="*/ 5516399 h 6858000"/>
              <a:gd name="connsiteX386" fmla="*/ 1922999 w 7467600"/>
              <a:gd name="connsiteY386" fmla="*/ 5980343 h 6858000"/>
              <a:gd name="connsiteX387" fmla="*/ 1950261 w 7467600"/>
              <a:gd name="connsiteY387" fmla="*/ 6405858 h 6858000"/>
              <a:gd name="connsiteX388" fmla="*/ 2365554 w 7467600"/>
              <a:gd name="connsiteY388" fmla="*/ 6759107 h 6858000"/>
              <a:gd name="connsiteX389" fmla="*/ 2424142 w 7467600"/>
              <a:gd name="connsiteY389" fmla="*/ 6858000 h 6858000"/>
              <a:gd name="connsiteX390" fmla="*/ 2395994 w 7467600"/>
              <a:gd name="connsiteY390" fmla="*/ 6858000 h 6858000"/>
              <a:gd name="connsiteX391" fmla="*/ 2392863 w 7467600"/>
              <a:gd name="connsiteY391" fmla="*/ 6852964 h 6858000"/>
              <a:gd name="connsiteX392" fmla="*/ 2017589 w 7467600"/>
              <a:gd name="connsiteY392" fmla="*/ 6493982 h 6858000"/>
              <a:gd name="connsiteX393" fmla="*/ 2147336 w 7467600"/>
              <a:gd name="connsiteY393" fmla="*/ 6594052 h 6858000"/>
              <a:gd name="connsiteX394" fmla="*/ 2207047 w 7467600"/>
              <a:gd name="connsiteY394" fmla="*/ 6654540 h 6858000"/>
              <a:gd name="connsiteX395" fmla="*/ 2299106 w 7467600"/>
              <a:gd name="connsiteY395" fmla="*/ 6778931 h 6858000"/>
              <a:gd name="connsiteX396" fmla="*/ 2314430 w 7467600"/>
              <a:gd name="connsiteY396" fmla="*/ 6801144 h 6858000"/>
              <a:gd name="connsiteX397" fmla="*/ 2352406 w 7467600"/>
              <a:gd name="connsiteY397" fmla="*/ 6858000 h 6858000"/>
              <a:gd name="connsiteX398" fmla="*/ 2314492 w 7467600"/>
              <a:gd name="connsiteY398" fmla="*/ 6858000 h 6858000"/>
              <a:gd name="connsiteX399" fmla="*/ 2288095 w 7467600"/>
              <a:gd name="connsiteY399" fmla="*/ 6818030 h 6858000"/>
              <a:gd name="connsiteX400" fmla="*/ 2272768 w 7467600"/>
              <a:gd name="connsiteY400" fmla="*/ 6795822 h 6858000"/>
              <a:gd name="connsiteX401" fmla="*/ 2182715 w 7467600"/>
              <a:gd name="connsiteY401" fmla="*/ 6675071 h 6858000"/>
              <a:gd name="connsiteX402" fmla="*/ 2032061 w 7467600"/>
              <a:gd name="connsiteY402" fmla="*/ 6541380 h 6858000"/>
              <a:gd name="connsiteX403" fmla="*/ 2257220 w 7467600"/>
              <a:gd name="connsiteY403" fmla="*/ 6826257 h 6858000"/>
              <a:gd name="connsiteX404" fmla="*/ 2281324 w 7467600"/>
              <a:gd name="connsiteY404" fmla="*/ 6858000 h 6858000"/>
              <a:gd name="connsiteX405" fmla="*/ 2242860 w 7467600"/>
              <a:gd name="connsiteY405" fmla="*/ 6858000 h 6858000"/>
              <a:gd name="connsiteX406" fmla="*/ 2232818 w 7467600"/>
              <a:gd name="connsiteY406" fmla="*/ 6844926 h 6858000"/>
              <a:gd name="connsiteX407" fmla="*/ 1990172 w 7467600"/>
              <a:gd name="connsiteY407" fmla="*/ 6542121 h 6858000"/>
              <a:gd name="connsiteX408" fmla="*/ 2124090 w 7467600"/>
              <a:gd name="connsiteY408" fmla="*/ 6761017 h 6858000"/>
              <a:gd name="connsiteX409" fmla="*/ 2200380 w 7467600"/>
              <a:gd name="connsiteY409" fmla="*/ 6858000 h 6858000"/>
              <a:gd name="connsiteX410" fmla="*/ 2147507 w 7467600"/>
              <a:gd name="connsiteY410" fmla="*/ 6858000 h 6858000"/>
              <a:gd name="connsiteX411" fmla="*/ 2070668 w 7467600"/>
              <a:gd name="connsiteY411" fmla="*/ 6761520 h 6858000"/>
              <a:gd name="connsiteX412" fmla="*/ 1975142 w 7467600"/>
              <a:gd name="connsiteY412" fmla="*/ 6585570 h 6858000"/>
              <a:gd name="connsiteX413" fmla="*/ 2050035 w 7467600"/>
              <a:gd name="connsiteY413" fmla="*/ 6813345 h 6858000"/>
              <a:gd name="connsiteX414" fmla="*/ 2063025 w 7467600"/>
              <a:gd name="connsiteY414" fmla="*/ 6858000 h 6858000"/>
              <a:gd name="connsiteX415" fmla="*/ 2021675 w 7467600"/>
              <a:gd name="connsiteY415" fmla="*/ 6858000 h 6858000"/>
              <a:gd name="connsiteX416" fmla="*/ 2019308 w 7467600"/>
              <a:gd name="connsiteY416" fmla="*/ 6847118 h 6858000"/>
              <a:gd name="connsiteX417" fmla="*/ 1938835 w 7467600"/>
              <a:gd name="connsiteY417" fmla="*/ 6551160 h 6858000"/>
              <a:gd name="connsiteX418" fmla="*/ 1953230 w 7467600"/>
              <a:gd name="connsiteY418" fmla="*/ 6759699 h 6858000"/>
              <a:gd name="connsiteX419" fmla="*/ 1956763 w 7467600"/>
              <a:gd name="connsiteY419" fmla="*/ 6778191 h 6858000"/>
              <a:gd name="connsiteX420" fmla="*/ 1967925 w 7467600"/>
              <a:gd name="connsiteY420" fmla="*/ 6858000 h 6858000"/>
              <a:gd name="connsiteX421" fmla="*/ 1936622 w 7467600"/>
              <a:gd name="connsiteY421" fmla="*/ 6858000 h 6858000"/>
              <a:gd name="connsiteX422" fmla="*/ 1926261 w 7467600"/>
              <a:gd name="connsiteY422" fmla="*/ 6784064 h 6858000"/>
              <a:gd name="connsiteX423" fmla="*/ 1922724 w 7467600"/>
              <a:gd name="connsiteY423" fmla="*/ 6765577 h 6858000"/>
              <a:gd name="connsiteX424" fmla="*/ 1904650 w 7467600"/>
              <a:gd name="connsiteY424" fmla="*/ 6639616 h 6858000"/>
              <a:gd name="connsiteX425" fmla="*/ 1885273 w 7467600"/>
              <a:gd name="connsiteY425" fmla="*/ 6858000 h 6858000"/>
              <a:gd name="connsiteX426" fmla="*/ 1854363 w 7467600"/>
              <a:gd name="connsiteY426" fmla="*/ 6858000 h 6858000"/>
              <a:gd name="connsiteX427" fmla="*/ 1880391 w 7467600"/>
              <a:gd name="connsiteY427" fmla="*/ 6603796 h 6858000"/>
              <a:gd name="connsiteX428" fmla="*/ 1818273 w 7467600"/>
              <a:gd name="connsiteY428" fmla="*/ 6715729 h 6858000"/>
              <a:gd name="connsiteX429" fmla="*/ 1794691 w 7467600"/>
              <a:gd name="connsiteY429" fmla="*/ 6843239 h 6858000"/>
              <a:gd name="connsiteX430" fmla="*/ 1794914 w 7467600"/>
              <a:gd name="connsiteY430" fmla="*/ 6858000 h 6858000"/>
              <a:gd name="connsiteX431" fmla="*/ 1746128 w 7467600"/>
              <a:gd name="connsiteY431" fmla="*/ 6858000 h 6858000"/>
              <a:gd name="connsiteX432" fmla="*/ 1753934 w 7467600"/>
              <a:gd name="connsiteY432" fmla="*/ 6724796 h 6858000"/>
              <a:gd name="connsiteX433" fmla="*/ 1792053 w 7467600"/>
              <a:gd name="connsiteY433" fmla="*/ 6572396 h 6858000"/>
              <a:gd name="connsiteX434" fmla="*/ 1862248 w 7467600"/>
              <a:gd name="connsiteY434" fmla="*/ 6266397 h 6858000"/>
              <a:gd name="connsiteX435" fmla="*/ 1862250 w 7467600"/>
              <a:gd name="connsiteY435" fmla="*/ 6033531 h 6858000"/>
              <a:gd name="connsiteX436" fmla="*/ 1211999 w 7467600"/>
              <a:gd name="connsiteY436" fmla="*/ 6683610 h 6858000"/>
              <a:gd name="connsiteX437" fmla="*/ 1213266 w 7467600"/>
              <a:gd name="connsiteY437" fmla="*/ 6691947 h 6858000"/>
              <a:gd name="connsiteX438" fmla="*/ 1203370 w 7467600"/>
              <a:gd name="connsiteY438" fmla="*/ 6850676 h 6858000"/>
              <a:gd name="connsiteX439" fmla="*/ 1203671 w 7467600"/>
              <a:gd name="connsiteY439" fmla="*/ 6858000 h 6858000"/>
              <a:gd name="connsiteX440" fmla="*/ 1143180 w 7467600"/>
              <a:gd name="connsiteY440" fmla="*/ 6858000 h 6858000"/>
              <a:gd name="connsiteX441" fmla="*/ 1142176 w 7467600"/>
              <a:gd name="connsiteY441" fmla="*/ 6766045 h 6858000"/>
              <a:gd name="connsiteX442" fmla="*/ 1067484 w 7467600"/>
              <a:gd name="connsiteY442" fmla="*/ 6858000 h 6858000"/>
              <a:gd name="connsiteX443" fmla="*/ 953928 w 7467600"/>
              <a:gd name="connsiteY443" fmla="*/ 6858000 h 6858000"/>
              <a:gd name="connsiteX444" fmla="*/ 959715 w 7467600"/>
              <a:gd name="connsiteY444" fmla="*/ 6850185 h 6858000"/>
              <a:gd name="connsiteX445" fmla="*/ 1483788 w 7467600"/>
              <a:gd name="connsiteY445" fmla="*/ 6259174 h 6858000"/>
              <a:gd name="connsiteX446" fmla="*/ 1100671 w 7467600"/>
              <a:gd name="connsiteY446" fmla="*/ 6252137 h 6858000"/>
              <a:gd name="connsiteX447" fmla="*/ 1090144 w 7467600"/>
              <a:gd name="connsiteY447" fmla="*/ 6256748 h 6858000"/>
              <a:gd name="connsiteX448" fmla="*/ 1095872 w 7467600"/>
              <a:gd name="connsiteY448" fmla="*/ 6271892 h 6858000"/>
              <a:gd name="connsiteX449" fmla="*/ 262785 w 7467600"/>
              <a:gd name="connsiteY449" fmla="*/ 6845450 h 6858000"/>
              <a:gd name="connsiteX450" fmla="*/ 209968 w 7467600"/>
              <a:gd name="connsiteY450" fmla="*/ 6770713 h 6858000"/>
              <a:gd name="connsiteX451" fmla="*/ 873460 w 7467600"/>
              <a:gd name="connsiteY451" fmla="*/ 6253768 h 6858000"/>
              <a:gd name="connsiteX452" fmla="*/ 192686 w 7467600"/>
              <a:gd name="connsiteY452" fmla="*/ 5849257 h 6858000"/>
              <a:gd name="connsiteX453" fmla="*/ 4696 w 7467600"/>
              <a:gd name="connsiteY453" fmla="*/ 5697668 h 6858000"/>
              <a:gd name="connsiteX454" fmla="*/ 0 w 7467600"/>
              <a:gd name="connsiteY454" fmla="*/ 5689984 h 6858000"/>
              <a:gd name="connsiteX455" fmla="*/ 0 w 7467600"/>
              <a:gd name="connsiteY455" fmla="*/ 5513472 h 6858000"/>
              <a:gd name="connsiteX456" fmla="*/ 174101 w 7467600"/>
              <a:gd name="connsiteY456" fmla="*/ 5620277 h 6858000"/>
              <a:gd name="connsiteX457" fmla="*/ 891800 w 7467600"/>
              <a:gd name="connsiteY457" fmla="*/ 6036935 h 6858000"/>
              <a:gd name="connsiteX458" fmla="*/ 1072219 w 7467600"/>
              <a:gd name="connsiteY458" fmla="*/ 6169443 h 6858000"/>
              <a:gd name="connsiteX459" fmla="*/ 1074117 w 7467600"/>
              <a:gd name="connsiteY459" fmla="*/ 6170301 h 6858000"/>
              <a:gd name="connsiteX460" fmla="*/ 1083114 w 7467600"/>
              <a:gd name="connsiteY460" fmla="*/ 6174131 h 6858000"/>
              <a:gd name="connsiteX461" fmla="*/ 1543010 w 7467600"/>
              <a:gd name="connsiteY461" fmla="*/ 6191140 h 6858000"/>
              <a:gd name="connsiteX462" fmla="*/ 1551080 w 7467600"/>
              <a:gd name="connsiteY462" fmla="*/ 6195006 h 6858000"/>
              <a:gd name="connsiteX463" fmla="*/ 2345443 w 7467600"/>
              <a:gd name="connsiteY463" fmla="*/ 5549882 h 6858000"/>
              <a:gd name="connsiteX464" fmla="*/ 1721499 w 7467600"/>
              <a:gd name="connsiteY464" fmla="*/ 5599969 h 6858000"/>
              <a:gd name="connsiteX465" fmla="*/ 767716 w 7467600"/>
              <a:gd name="connsiteY465" fmla="*/ 5472768 h 6858000"/>
              <a:gd name="connsiteX466" fmla="*/ 722147 w 7467600"/>
              <a:gd name="connsiteY466" fmla="*/ 5393091 h 6858000"/>
              <a:gd name="connsiteX467" fmla="*/ 1485552 w 7467600"/>
              <a:gd name="connsiteY467" fmla="*/ 5313202 h 6858000"/>
              <a:gd name="connsiteX468" fmla="*/ 2143004 w 7467600"/>
              <a:gd name="connsiteY468" fmla="*/ 5402420 h 6858000"/>
              <a:gd name="connsiteX469" fmla="*/ 1933391 w 7467600"/>
              <a:gd name="connsiteY469" fmla="*/ 5156971 h 6858000"/>
              <a:gd name="connsiteX470" fmla="*/ 1827118 w 7467600"/>
              <a:gd name="connsiteY470" fmla="*/ 4968410 h 6858000"/>
              <a:gd name="connsiteX471" fmla="*/ 1837349 w 7467600"/>
              <a:gd name="connsiteY471" fmla="*/ 4956357 h 6858000"/>
              <a:gd name="connsiteX472" fmla="*/ 2162835 w 7467600"/>
              <a:gd name="connsiteY472" fmla="*/ 5187853 h 6858000"/>
              <a:gd name="connsiteX473" fmla="*/ 2257167 w 7467600"/>
              <a:gd name="connsiteY473" fmla="*/ 5462123 h 6858000"/>
              <a:gd name="connsiteX474" fmla="*/ 2261598 w 7467600"/>
              <a:gd name="connsiteY474" fmla="*/ 5467998 h 6858000"/>
              <a:gd name="connsiteX475" fmla="*/ 2437177 w 7467600"/>
              <a:gd name="connsiteY475" fmla="*/ 5479608 h 6858000"/>
              <a:gd name="connsiteX476" fmla="*/ 2445247 w 7467600"/>
              <a:gd name="connsiteY476" fmla="*/ 5483476 h 6858000"/>
              <a:gd name="connsiteX477" fmla="*/ 2743626 w 7467600"/>
              <a:gd name="connsiteY477" fmla="*/ 5304819 h 6858000"/>
              <a:gd name="connsiteX478" fmla="*/ 3048102 w 7467600"/>
              <a:gd name="connsiteY478" fmla="*/ 5150595 h 6858000"/>
              <a:gd name="connsiteX479" fmla="*/ 1799414 w 7467600"/>
              <a:gd name="connsiteY479" fmla="*/ 4694732 h 6858000"/>
              <a:gd name="connsiteX480" fmla="*/ 1771735 w 7467600"/>
              <a:gd name="connsiteY480" fmla="*/ 4619929 h 6858000"/>
              <a:gd name="connsiteX481" fmla="*/ 3104273 w 7467600"/>
              <a:gd name="connsiteY481" fmla="*/ 5076159 h 6858000"/>
              <a:gd name="connsiteX482" fmla="*/ 3113245 w 7467600"/>
              <a:gd name="connsiteY482" fmla="*/ 5090705 h 6858000"/>
              <a:gd name="connsiteX483" fmla="*/ 3126294 w 7467600"/>
              <a:gd name="connsiteY483" fmla="*/ 5114400 h 6858000"/>
              <a:gd name="connsiteX484" fmla="*/ 3937433 w 7467600"/>
              <a:gd name="connsiteY484" fmla="*/ 4830473 h 6858000"/>
              <a:gd name="connsiteX485" fmla="*/ 3590475 w 7467600"/>
              <a:gd name="connsiteY485" fmla="*/ 4597974 h 6858000"/>
              <a:gd name="connsiteX486" fmla="*/ 3100264 w 7467600"/>
              <a:gd name="connsiteY486" fmla="*/ 4579845 h 6858000"/>
              <a:gd name="connsiteX487" fmla="*/ 2183576 w 7467600"/>
              <a:gd name="connsiteY487" fmla="*/ 4227150 h 6858000"/>
              <a:gd name="connsiteX488" fmla="*/ 2151029 w 7467600"/>
              <a:gd name="connsiteY488" fmla="*/ 4146947 h 6858000"/>
              <a:gd name="connsiteX489" fmla="*/ 3563434 w 7467600"/>
              <a:gd name="connsiteY489" fmla="*/ 4469115 h 6858000"/>
              <a:gd name="connsiteX490" fmla="*/ 3177952 w 7467600"/>
              <a:gd name="connsiteY490" fmla="*/ 3657386 h 6858000"/>
              <a:gd name="connsiteX491" fmla="*/ 3189263 w 7467600"/>
              <a:gd name="connsiteY491" fmla="*/ 3625726 h 6858000"/>
              <a:gd name="connsiteX492" fmla="*/ 3560912 w 7467600"/>
              <a:gd name="connsiteY492" fmla="*/ 4079863 h 6858000"/>
              <a:gd name="connsiteX493" fmla="*/ 3626636 w 7467600"/>
              <a:gd name="connsiteY493" fmla="*/ 4512230 h 6858000"/>
              <a:gd name="connsiteX494" fmla="*/ 3653088 w 7467600"/>
              <a:gd name="connsiteY494" fmla="*/ 4521417 h 6858000"/>
              <a:gd name="connsiteX495" fmla="*/ 3988128 w 7467600"/>
              <a:gd name="connsiteY495" fmla="*/ 4817267 h 6858000"/>
              <a:gd name="connsiteX496" fmla="*/ 4830582 w 7467600"/>
              <a:gd name="connsiteY496" fmla="*/ 4676000 h 6858000"/>
              <a:gd name="connsiteX497" fmla="*/ 4830100 w 7467600"/>
              <a:gd name="connsiteY497" fmla="*/ 4675554 h 6858000"/>
              <a:gd name="connsiteX498" fmla="*/ 4036318 w 7467600"/>
              <a:gd name="connsiteY498" fmla="*/ 4147013 h 6858000"/>
              <a:gd name="connsiteX499" fmla="*/ 3432098 w 7467600"/>
              <a:gd name="connsiteY499" fmla="*/ 3537312 h 6858000"/>
              <a:gd name="connsiteX500" fmla="*/ 3446761 w 7467600"/>
              <a:gd name="connsiteY500" fmla="*/ 3461278 h 6858000"/>
              <a:gd name="connsiteX501" fmla="*/ 4419733 w 7467600"/>
              <a:gd name="connsiteY501" fmla="*/ 3963555 h 6858000"/>
              <a:gd name="connsiteX502" fmla="*/ 4781371 w 7467600"/>
              <a:gd name="connsiteY502" fmla="*/ 4458604 h 6858000"/>
              <a:gd name="connsiteX503" fmla="*/ 4780440 w 7467600"/>
              <a:gd name="connsiteY503" fmla="*/ 4470290 h 6858000"/>
              <a:gd name="connsiteX504" fmla="*/ 4898954 w 7467600"/>
              <a:gd name="connsiteY504" fmla="*/ 4662092 h 6858000"/>
              <a:gd name="connsiteX505" fmla="*/ 4900699 w 7467600"/>
              <a:gd name="connsiteY505" fmla="*/ 4670867 h 6858000"/>
              <a:gd name="connsiteX506" fmla="*/ 5714511 w 7467600"/>
              <a:gd name="connsiteY506" fmla="*/ 4663483 h 6858000"/>
              <a:gd name="connsiteX507" fmla="*/ 5464793 w 7467600"/>
              <a:gd name="connsiteY507" fmla="*/ 4393556 h 6858000"/>
              <a:gd name="connsiteX508" fmla="*/ 5461897 w 7467600"/>
              <a:gd name="connsiteY508" fmla="*/ 4390879 h 6858000"/>
              <a:gd name="connsiteX509" fmla="*/ 4294126 w 7467600"/>
              <a:gd name="connsiteY509" fmla="*/ 3303048 h 6858000"/>
              <a:gd name="connsiteX510" fmla="*/ 4305321 w 7467600"/>
              <a:gd name="connsiteY510" fmla="*/ 3256953 h 6858000"/>
              <a:gd name="connsiteX511" fmla="*/ 4949299 w 7467600"/>
              <a:gd name="connsiteY511" fmla="*/ 3766336 h 6858000"/>
              <a:gd name="connsiteX512" fmla="*/ 5291452 w 7467600"/>
              <a:gd name="connsiteY512" fmla="*/ 4076801 h 6858000"/>
              <a:gd name="connsiteX513" fmla="*/ 5434998 w 7467600"/>
              <a:gd name="connsiteY513" fmla="*/ 4254100 h 6858000"/>
              <a:gd name="connsiteX514" fmla="*/ 5351015 w 7467600"/>
              <a:gd name="connsiteY514" fmla="*/ 3760989 h 6858000"/>
              <a:gd name="connsiteX515" fmla="*/ 5413780 w 7467600"/>
              <a:gd name="connsiteY515" fmla="*/ 2966265 h 6858000"/>
              <a:gd name="connsiteX516" fmla="*/ 5425627 w 7467600"/>
              <a:gd name="connsiteY516" fmla="*/ 2954192 h 6858000"/>
              <a:gd name="connsiteX517" fmla="*/ 6604735 w 7467600"/>
              <a:gd name="connsiteY517" fmla="*/ 2041381 h 6858000"/>
              <a:gd name="connsiteX518" fmla="*/ 7204487 w 7467600"/>
              <a:gd name="connsiteY518" fmla="*/ 2742112 h 6858000"/>
              <a:gd name="connsiteX519" fmla="*/ 7131592 w 7467600"/>
              <a:gd name="connsiteY519" fmla="*/ 2672096 h 6858000"/>
              <a:gd name="connsiteX520" fmla="*/ 6996344 w 7467600"/>
              <a:gd name="connsiteY520" fmla="*/ 2518310 h 6858000"/>
              <a:gd name="connsiteX521" fmla="*/ 6735495 w 7467600"/>
              <a:gd name="connsiteY521" fmla="*/ 2196890 h 6858000"/>
              <a:gd name="connsiteX522" fmla="*/ 6721901 w 7467600"/>
              <a:gd name="connsiteY522" fmla="*/ 2179274 h 6858000"/>
              <a:gd name="connsiteX523" fmla="*/ 6604735 w 7467600"/>
              <a:gd name="connsiteY523" fmla="*/ 2041381 h 6858000"/>
              <a:gd name="connsiteX524" fmla="*/ 6591670 w 7467600"/>
              <a:gd name="connsiteY524" fmla="*/ 1988277 h 6858000"/>
              <a:gd name="connsiteX525" fmla="*/ 6747349 w 7467600"/>
              <a:gd name="connsiteY525" fmla="*/ 2160069 h 6858000"/>
              <a:gd name="connsiteX526" fmla="*/ 6760943 w 7467600"/>
              <a:gd name="connsiteY526" fmla="*/ 2177686 h 6858000"/>
              <a:gd name="connsiteX527" fmla="*/ 7021065 w 7467600"/>
              <a:gd name="connsiteY527" fmla="*/ 2498102 h 6858000"/>
              <a:gd name="connsiteX528" fmla="*/ 7155223 w 7467600"/>
              <a:gd name="connsiteY528" fmla="*/ 2650386 h 6858000"/>
              <a:gd name="connsiteX529" fmla="*/ 7203167 w 7467600"/>
              <a:gd name="connsiteY529" fmla="*/ 2697288 h 6858000"/>
              <a:gd name="connsiteX530" fmla="*/ 6937703 w 7467600"/>
              <a:gd name="connsiteY530" fmla="*/ 2321981 h 6858000"/>
              <a:gd name="connsiteX531" fmla="*/ 6591670 w 7467600"/>
              <a:gd name="connsiteY531" fmla="*/ 1988277 h 6858000"/>
              <a:gd name="connsiteX532" fmla="*/ 5798671 w 7467600"/>
              <a:gd name="connsiteY532" fmla="*/ 1981601 h 6858000"/>
              <a:gd name="connsiteX533" fmla="*/ 5754709 w 7467600"/>
              <a:gd name="connsiteY533" fmla="*/ 2071454 h 6858000"/>
              <a:gd name="connsiteX534" fmla="*/ 5763044 w 7467600"/>
              <a:gd name="connsiteY534" fmla="*/ 2842206 h 6858000"/>
              <a:gd name="connsiteX535" fmla="*/ 5764974 w 7467600"/>
              <a:gd name="connsiteY535" fmla="*/ 2799609 h 6858000"/>
              <a:gd name="connsiteX536" fmla="*/ 5767665 w 7467600"/>
              <a:gd name="connsiteY536" fmla="*/ 2666409 h 6858000"/>
              <a:gd name="connsiteX537" fmla="*/ 5763055 w 7467600"/>
              <a:gd name="connsiteY537" fmla="*/ 2579705 h 6858000"/>
              <a:gd name="connsiteX538" fmla="*/ 5758079 w 7467600"/>
              <a:gd name="connsiteY538" fmla="*/ 2492508 h 6858000"/>
              <a:gd name="connsiteX539" fmla="*/ 5779325 w 7467600"/>
              <a:gd name="connsiteY539" fmla="*/ 2197069 h 6858000"/>
              <a:gd name="connsiteX540" fmla="*/ 5798671 w 7467600"/>
              <a:gd name="connsiteY540" fmla="*/ 1981601 h 6858000"/>
              <a:gd name="connsiteX541" fmla="*/ 5829202 w 7467600"/>
              <a:gd name="connsiteY541" fmla="*/ 1971679 h 6858000"/>
              <a:gd name="connsiteX542" fmla="*/ 5809558 w 7467600"/>
              <a:gd name="connsiteY542" fmla="*/ 2198043 h 6858000"/>
              <a:gd name="connsiteX543" fmla="*/ 5788653 w 7467600"/>
              <a:gd name="connsiteY543" fmla="*/ 2489430 h 6858000"/>
              <a:gd name="connsiteX544" fmla="*/ 5793439 w 7467600"/>
              <a:gd name="connsiteY544" fmla="*/ 2575235 h 6858000"/>
              <a:gd name="connsiteX545" fmla="*/ 5796837 w 7467600"/>
              <a:gd name="connsiteY545" fmla="*/ 2637633 h 6858000"/>
              <a:gd name="connsiteX546" fmla="*/ 5818614 w 7467600"/>
              <a:gd name="connsiteY546" fmla="*/ 2473055 h 6858000"/>
              <a:gd name="connsiteX547" fmla="*/ 5829202 w 7467600"/>
              <a:gd name="connsiteY547" fmla="*/ 1971679 h 6858000"/>
              <a:gd name="connsiteX548" fmla="*/ 5911389 w 7467600"/>
              <a:gd name="connsiteY548" fmla="*/ 1898371 h 6858000"/>
              <a:gd name="connsiteX549" fmla="*/ 6237627 w 7467600"/>
              <a:gd name="connsiteY549" fmla="*/ 2231921 h 6858000"/>
              <a:gd name="connsiteX550" fmla="*/ 5911389 w 7467600"/>
              <a:gd name="connsiteY550" fmla="*/ 1898371 h 6858000"/>
              <a:gd name="connsiteX551" fmla="*/ 6944437 w 7467600"/>
              <a:gd name="connsiteY551" fmla="*/ 1575402 h 6858000"/>
              <a:gd name="connsiteX552" fmla="*/ 6304730 w 7467600"/>
              <a:gd name="connsiteY552" fmla="*/ 1766654 h 6858000"/>
              <a:gd name="connsiteX553" fmla="*/ 6944437 w 7467600"/>
              <a:gd name="connsiteY553" fmla="*/ 1575402 h 6858000"/>
              <a:gd name="connsiteX554" fmla="*/ 7019523 w 7467600"/>
              <a:gd name="connsiteY554" fmla="*/ 1519450 h 6858000"/>
              <a:gd name="connsiteX555" fmla="*/ 6298091 w 7467600"/>
              <a:gd name="connsiteY555" fmla="*/ 1737122 h 6858000"/>
              <a:gd name="connsiteX556" fmla="*/ 7019523 w 7467600"/>
              <a:gd name="connsiteY556" fmla="*/ 1519450 h 6858000"/>
              <a:gd name="connsiteX557" fmla="*/ 2399523 w 7467600"/>
              <a:gd name="connsiteY557" fmla="*/ 1428234 h 6858000"/>
              <a:gd name="connsiteX558" fmla="*/ 2224982 w 7467600"/>
              <a:gd name="connsiteY558" fmla="*/ 1826201 h 6858000"/>
              <a:gd name="connsiteX559" fmla="*/ 2096099 w 7467600"/>
              <a:gd name="connsiteY559" fmla="*/ 2345900 h 6858000"/>
              <a:gd name="connsiteX560" fmla="*/ 2283317 w 7467600"/>
              <a:gd name="connsiteY560" fmla="*/ 1796925 h 6858000"/>
              <a:gd name="connsiteX561" fmla="*/ 2399523 w 7467600"/>
              <a:gd name="connsiteY561" fmla="*/ 1428234 h 6858000"/>
              <a:gd name="connsiteX562" fmla="*/ 2448558 w 7467600"/>
              <a:gd name="connsiteY562" fmla="*/ 1373435 h 6858000"/>
              <a:gd name="connsiteX563" fmla="*/ 2312521 w 7467600"/>
              <a:gd name="connsiteY563" fmla="*/ 1806140 h 6858000"/>
              <a:gd name="connsiteX564" fmla="*/ 2127533 w 7467600"/>
              <a:gd name="connsiteY564" fmla="*/ 2348380 h 6858000"/>
              <a:gd name="connsiteX565" fmla="*/ 2358080 w 7467600"/>
              <a:gd name="connsiteY565" fmla="*/ 1866134 h 6858000"/>
              <a:gd name="connsiteX566" fmla="*/ 2407436 w 7467600"/>
              <a:gd name="connsiteY566" fmla="*/ 1651070 h 6858000"/>
              <a:gd name="connsiteX567" fmla="*/ 2448558 w 7467600"/>
              <a:gd name="connsiteY567" fmla="*/ 1373435 h 6858000"/>
              <a:gd name="connsiteX568" fmla="*/ 278707 w 7467600"/>
              <a:gd name="connsiteY568" fmla="*/ 1352270 h 6858000"/>
              <a:gd name="connsiteX569" fmla="*/ 321570 w 7467600"/>
              <a:gd name="connsiteY569" fmla="*/ 1861610 h 6858000"/>
              <a:gd name="connsiteX570" fmla="*/ 294281 w 7467600"/>
              <a:gd name="connsiteY570" fmla="*/ 1440658 h 6858000"/>
              <a:gd name="connsiteX571" fmla="*/ 278707 w 7467600"/>
              <a:gd name="connsiteY571" fmla="*/ 1352270 h 6858000"/>
              <a:gd name="connsiteX572" fmla="*/ 1423821 w 7467600"/>
              <a:gd name="connsiteY572" fmla="*/ 1351958 h 6858000"/>
              <a:gd name="connsiteX573" fmla="*/ 1638521 w 7467600"/>
              <a:gd name="connsiteY573" fmla="*/ 1908470 h 6858000"/>
              <a:gd name="connsiteX574" fmla="*/ 1754199 w 7467600"/>
              <a:gd name="connsiteY574" fmla="*/ 2149284 h 6858000"/>
              <a:gd name="connsiteX575" fmla="*/ 1908359 w 7467600"/>
              <a:gd name="connsiteY575" fmla="*/ 2364988 h 6858000"/>
              <a:gd name="connsiteX576" fmla="*/ 1647661 w 7467600"/>
              <a:gd name="connsiteY576" fmla="*/ 1825945 h 6858000"/>
              <a:gd name="connsiteX577" fmla="*/ 1423821 w 7467600"/>
              <a:gd name="connsiteY577" fmla="*/ 1351958 h 6858000"/>
              <a:gd name="connsiteX578" fmla="*/ 1431890 w 7467600"/>
              <a:gd name="connsiteY578" fmla="*/ 1306475 h 6858000"/>
              <a:gd name="connsiteX579" fmla="*/ 1507597 w 7467600"/>
              <a:gd name="connsiteY579" fmla="*/ 1446132 h 6858000"/>
              <a:gd name="connsiteX580" fmla="*/ 1674586 w 7467600"/>
              <a:gd name="connsiteY580" fmla="*/ 1813832 h 6858000"/>
              <a:gd name="connsiteX581" fmla="*/ 1815950 w 7467600"/>
              <a:gd name="connsiteY581" fmla="*/ 2128564 h 6858000"/>
              <a:gd name="connsiteX582" fmla="*/ 1984242 w 7467600"/>
              <a:gd name="connsiteY582" fmla="*/ 2430829 h 6858000"/>
              <a:gd name="connsiteX583" fmla="*/ 2014023 w 7467600"/>
              <a:gd name="connsiteY583" fmla="*/ 2450995 h 6858000"/>
              <a:gd name="connsiteX584" fmla="*/ 1747337 w 7467600"/>
              <a:gd name="connsiteY584" fmla="*/ 1855264 h 6858000"/>
              <a:gd name="connsiteX585" fmla="*/ 1533749 w 7467600"/>
              <a:gd name="connsiteY585" fmla="*/ 1478656 h 6858000"/>
              <a:gd name="connsiteX586" fmla="*/ 1431890 w 7467600"/>
              <a:gd name="connsiteY586" fmla="*/ 1306475 h 6858000"/>
              <a:gd name="connsiteX587" fmla="*/ 5052692 w 7467600"/>
              <a:gd name="connsiteY587" fmla="*/ 1292994 h 6858000"/>
              <a:gd name="connsiteX588" fmla="*/ 5200661 w 7467600"/>
              <a:gd name="connsiteY588" fmla="*/ 1635186 h 6858000"/>
              <a:gd name="connsiteX589" fmla="*/ 5297138 w 7467600"/>
              <a:gd name="connsiteY589" fmla="*/ 1906351 h 6858000"/>
              <a:gd name="connsiteX590" fmla="*/ 5052692 w 7467600"/>
              <a:gd name="connsiteY590" fmla="*/ 1292994 h 6858000"/>
              <a:gd name="connsiteX591" fmla="*/ 5009948 w 7467600"/>
              <a:gd name="connsiteY591" fmla="*/ 1273619 h 6858000"/>
              <a:gd name="connsiteX592" fmla="*/ 5121777 w 7467600"/>
              <a:gd name="connsiteY592" fmla="*/ 1654213 h 6858000"/>
              <a:gd name="connsiteX593" fmla="*/ 5293545 w 7467600"/>
              <a:gd name="connsiteY593" fmla="*/ 2072247 h 6858000"/>
              <a:gd name="connsiteX594" fmla="*/ 5294042 w 7467600"/>
              <a:gd name="connsiteY594" fmla="*/ 2065019 h 6858000"/>
              <a:gd name="connsiteX595" fmla="*/ 5171936 w 7467600"/>
              <a:gd name="connsiteY595" fmla="*/ 1647613 h 6858000"/>
              <a:gd name="connsiteX596" fmla="*/ 5009948 w 7467600"/>
              <a:gd name="connsiteY596" fmla="*/ 1273619 h 6858000"/>
              <a:gd name="connsiteX597" fmla="*/ 655236 w 7467600"/>
              <a:gd name="connsiteY597" fmla="*/ 1268632 h 6858000"/>
              <a:gd name="connsiteX598" fmla="*/ 839521 w 7467600"/>
              <a:gd name="connsiteY598" fmla="*/ 1685315 h 6858000"/>
              <a:gd name="connsiteX599" fmla="*/ 1109416 w 7467600"/>
              <a:gd name="connsiteY599" fmla="*/ 2061663 h 6858000"/>
              <a:gd name="connsiteX600" fmla="*/ 1298300 w 7467600"/>
              <a:gd name="connsiteY600" fmla="*/ 2247742 h 6858000"/>
              <a:gd name="connsiteX601" fmla="*/ 1125871 w 7467600"/>
              <a:gd name="connsiteY601" fmla="*/ 1989513 h 6858000"/>
              <a:gd name="connsiteX602" fmla="*/ 981574 w 7467600"/>
              <a:gd name="connsiteY602" fmla="*/ 1783157 h 6858000"/>
              <a:gd name="connsiteX603" fmla="*/ 922198 w 7467600"/>
              <a:gd name="connsiteY603" fmla="*/ 1677437 h 6858000"/>
              <a:gd name="connsiteX604" fmla="*/ 869293 w 7467600"/>
              <a:gd name="connsiteY604" fmla="*/ 1583214 h 6858000"/>
              <a:gd name="connsiteX605" fmla="*/ 751431 w 7467600"/>
              <a:gd name="connsiteY605" fmla="*/ 1405731 h 6858000"/>
              <a:gd name="connsiteX606" fmla="*/ 655236 w 7467600"/>
              <a:gd name="connsiteY606" fmla="*/ 1268632 h 6858000"/>
              <a:gd name="connsiteX607" fmla="*/ 6516292 w 7467600"/>
              <a:gd name="connsiteY607" fmla="*/ 1263064 h 6858000"/>
              <a:gd name="connsiteX608" fmla="*/ 5736320 w 7467600"/>
              <a:gd name="connsiteY608" fmla="*/ 1501803 h 6858000"/>
              <a:gd name="connsiteX609" fmla="*/ 6516292 w 7467600"/>
              <a:gd name="connsiteY609" fmla="*/ 1263064 h 6858000"/>
              <a:gd name="connsiteX610" fmla="*/ 291466 w 7467600"/>
              <a:gd name="connsiteY610" fmla="*/ 1250369 h 6858000"/>
              <a:gd name="connsiteX611" fmla="*/ 323180 w 7467600"/>
              <a:gd name="connsiteY611" fmla="*/ 1435283 h 6858000"/>
              <a:gd name="connsiteX612" fmla="*/ 349381 w 7467600"/>
              <a:gd name="connsiteY612" fmla="*/ 1875041 h 6858000"/>
              <a:gd name="connsiteX613" fmla="*/ 374363 w 7467600"/>
              <a:gd name="connsiteY613" fmla="*/ 1506494 h 6858000"/>
              <a:gd name="connsiteX614" fmla="*/ 302168 w 7467600"/>
              <a:gd name="connsiteY614" fmla="*/ 1274495 h 6858000"/>
              <a:gd name="connsiteX615" fmla="*/ 291466 w 7467600"/>
              <a:gd name="connsiteY615" fmla="*/ 1250369 h 6858000"/>
              <a:gd name="connsiteX616" fmla="*/ 678222 w 7467600"/>
              <a:gd name="connsiteY616" fmla="*/ 1248670 h 6858000"/>
              <a:gd name="connsiteX617" fmla="*/ 775536 w 7467600"/>
              <a:gd name="connsiteY617" fmla="*/ 1388015 h 6858000"/>
              <a:gd name="connsiteX618" fmla="*/ 894529 w 7467600"/>
              <a:gd name="connsiteY618" fmla="*/ 1567739 h 6858000"/>
              <a:gd name="connsiteX619" fmla="*/ 948000 w 7467600"/>
              <a:gd name="connsiteY619" fmla="*/ 1663088 h 6858000"/>
              <a:gd name="connsiteX620" fmla="*/ 1006812 w 7467600"/>
              <a:gd name="connsiteY620" fmla="*/ 1767683 h 6858000"/>
              <a:gd name="connsiteX621" fmla="*/ 1149133 w 7467600"/>
              <a:gd name="connsiteY621" fmla="*/ 1971513 h 6858000"/>
              <a:gd name="connsiteX622" fmla="*/ 1333952 w 7467600"/>
              <a:gd name="connsiteY622" fmla="*/ 2251620 h 6858000"/>
              <a:gd name="connsiteX623" fmla="*/ 1337329 w 7467600"/>
              <a:gd name="connsiteY623" fmla="*/ 2258350 h 6858000"/>
              <a:gd name="connsiteX624" fmla="*/ 1014726 w 7467600"/>
              <a:gd name="connsiteY624" fmla="*/ 1615556 h 6858000"/>
              <a:gd name="connsiteX625" fmla="*/ 678222 w 7467600"/>
              <a:gd name="connsiteY625" fmla="*/ 1248670 h 6858000"/>
              <a:gd name="connsiteX626" fmla="*/ 6691602 w 7467600"/>
              <a:gd name="connsiteY626" fmla="*/ 1140573 h 6858000"/>
              <a:gd name="connsiteX627" fmla="*/ 6571100 w 7467600"/>
              <a:gd name="connsiteY627" fmla="*/ 1183662 h 6858000"/>
              <a:gd name="connsiteX628" fmla="*/ 6241687 w 7467600"/>
              <a:gd name="connsiteY628" fmla="*/ 1257600 h 6858000"/>
              <a:gd name="connsiteX629" fmla="*/ 5693009 w 7467600"/>
              <a:gd name="connsiteY629" fmla="*/ 1478256 h 6858000"/>
              <a:gd name="connsiteX630" fmla="*/ 6548420 w 7467600"/>
              <a:gd name="connsiteY630" fmla="*/ 1214599 h 6858000"/>
              <a:gd name="connsiteX631" fmla="*/ 6605473 w 7467600"/>
              <a:gd name="connsiteY631" fmla="*/ 1184686 h 6858000"/>
              <a:gd name="connsiteX632" fmla="*/ 6691602 w 7467600"/>
              <a:gd name="connsiteY632" fmla="*/ 1140573 h 6858000"/>
              <a:gd name="connsiteX633" fmla="*/ 4002475 w 7467600"/>
              <a:gd name="connsiteY633" fmla="*/ 1037802 h 6858000"/>
              <a:gd name="connsiteX634" fmla="*/ 4000324 w 7467600"/>
              <a:gd name="connsiteY634" fmla="*/ 1039362 h 6858000"/>
              <a:gd name="connsiteX635" fmla="*/ 4002862 w 7467600"/>
              <a:gd name="connsiteY635" fmla="*/ 1042866 h 6858000"/>
              <a:gd name="connsiteX636" fmla="*/ 4002475 w 7467600"/>
              <a:gd name="connsiteY636" fmla="*/ 1037802 h 6858000"/>
              <a:gd name="connsiteX637" fmla="*/ 506322 w 7467600"/>
              <a:gd name="connsiteY637" fmla="*/ 1020997 h 6858000"/>
              <a:gd name="connsiteX638" fmla="*/ 533068 w 7467600"/>
              <a:gd name="connsiteY638" fmla="*/ 1029409 h 6858000"/>
              <a:gd name="connsiteX639" fmla="*/ 1232525 w 7467600"/>
              <a:gd name="connsiteY639" fmla="*/ 1804675 h 6858000"/>
              <a:gd name="connsiteX640" fmla="*/ 1388858 w 7467600"/>
              <a:gd name="connsiteY640" fmla="*/ 2368011 h 6858000"/>
              <a:gd name="connsiteX641" fmla="*/ 1384098 w 7467600"/>
              <a:gd name="connsiteY641" fmla="*/ 2378125 h 6858000"/>
              <a:gd name="connsiteX642" fmla="*/ 1425393 w 7467600"/>
              <a:gd name="connsiteY642" fmla="*/ 2589124 h 6858000"/>
              <a:gd name="connsiteX643" fmla="*/ 1424001 w 7467600"/>
              <a:gd name="connsiteY643" fmla="*/ 2597541 h 6858000"/>
              <a:gd name="connsiteX644" fmla="*/ 2152729 w 7467600"/>
              <a:gd name="connsiteY644" fmla="*/ 2864487 h 6858000"/>
              <a:gd name="connsiteX645" fmla="*/ 2020609 w 7467600"/>
              <a:gd name="connsiteY645" fmla="*/ 2539671 h 6858000"/>
              <a:gd name="connsiteX646" fmla="*/ 2018920 w 7467600"/>
              <a:gd name="connsiteY646" fmla="*/ 2536309 h 6858000"/>
              <a:gd name="connsiteX647" fmla="*/ 1342441 w 7467600"/>
              <a:gd name="connsiteY647" fmla="*/ 1173017 h 6858000"/>
              <a:gd name="connsiteX648" fmla="*/ 1367925 w 7467600"/>
              <a:gd name="connsiteY648" fmla="*/ 1135648 h 6858000"/>
              <a:gd name="connsiteX649" fmla="*/ 1771401 w 7467600"/>
              <a:gd name="connsiteY649" fmla="*/ 1806673 h 6858000"/>
              <a:gd name="connsiteX650" fmla="*/ 1972385 w 7467600"/>
              <a:gd name="connsiteY650" fmla="*/ 2198735 h 6858000"/>
              <a:gd name="connsiteX651" fmla="*/ 2040892 w 7467600"/>
              <a:gd name="connsiteY651" fmla="*/ 2405205 h 6858000"/>
              <a:gd name="connsiteX652" fmla="*/ 2131689 w 7467600"/>
              <a:gd name="connsiteY652" fmla="*/ 1936926 h 6858000"/>
              <a:gd name="connsiteX653" fmla="*/ 2454820 w 7467600"/>
              <a:gd name="connsiteY653" fmla="*/ 1248808 h 6858000"/>
              <a:gd name="connsiteX654" fmla="*/ 2492512 w 7467600"/>
              <a:gd name="connsiteY654" fmla="*/ 1302920 h 6858000"/>
              <a:gd name="connsiteX655" fmla="*/ 2081216 w 7467600"/>
              <a:gd name="connsiteY655" fmla="*/ 2527513 h 6858000"/>
              <a:gd name="connsiteX656" fmla="*/ 2081211 w 7467600"/>
              <a:gd name="connsiteY656" fmla="*/ 2528916 h 6858000"/>
              <a:gd name="connsiteX657" fmla="*/ 2199067 w 7467600"/>
              <a:gd name="connsiteY657" fmla="*/ 2884061 h 6858000"/>
              <a:gd name="connsiteX658" fmla="*/ 3192586 w 7467600"/>
              <a:gd name="connsiteY658" fmla="*/ 3411496 h 6858000"/>
              <a:gd name="connsiteX659" fmla="*/ 3182620 w 7467600"/>
              <a:gd name="connsiteY659" fmla="*/ 3483279 h 6858000"/>
              <a:gd name="connsiteX660" fmla="*/ 2435119 w 7467600"/>
              <a:gd name="connsiteY660" fmla="*/ 3080173 h 6858000"/>
              <a:gd name="connsiteX661" fmla="*/ 2410152 w 7467600"/>
              <a:gd name="connsiteY661" fmla="*/ 3063751 h 6858000"/>
              <a:gd name="connsiteX662" fmla="*/ 2408099 w 7467600"/>
              <a:gd name="connsiteY662" fmla="*/ 3064403 h 6858000"/>
              <a:gd name="connsiteX663" fmla="*/ 2407218 w 7467600"/>
              <a:gd name="connsiteY663" fmla="*/ 3070324 h 6858000"/>
              <a:gd name="connsiteX664" fmla="*/ 2380138 w 7467600"/>
              <a:gd name="connsiteY664" fmla="*/ 3099341 h 6858000"/>
              <a:gd name="connsiteX665" fmla="*/ 1765923 w 7467600"/>
              <a:gd name="connsiteY665" fmla="*/ 3581043 h 6858000"/>
              <a:gd name="connsiteX666" fmla="*/ 1702258 w 7467600"/>
              <a:gd name="connsiteY666" fmla="*/ 3612286 h 6858000"/>
              <a:gd name="connsiteX667" fmla="*/ 1538370 w 7467600"/>
              <a:gd name="connsiteY667" fmla="*/ 3811804 h 6858000"/>
              <a:gd name="connsiteX668" fmla="*/ 542867 w 7467600"/>
              <a:gd name="connsiteY668" fmla="*/ 4944092 h 6858000"/>
              <a:gd name="connsiteX669" fmla="*/ 515800 w 7467600"/>
              <a:gd name="connsiteY669" fmla="*/ 4862180 h 6858000"/>
              <a:gd name="connsiteX670" fmla="*/ 909145 w 7467600"/>
              <a:gd name="connsiteY670" fmla="*/ 4199225 h 6858000"/>
              <a:gd name="connsiteX671" fmla="*/ 1214067 w 7467600"/>
              <a:gd name="connsiteY671" fmla="*/ 3908561 h 6858000"/>
              <a:gd name="connsiteX672" fmla="*/ 640967 w 7467600"/>
              <a:gd name="connsiteY672" fmla="*/ 4105601 h 6858000"/>
              <a:gd name="connsiteX673" fmla="*/ 112563 w 7467600"/>
              <a:gd name="connsiteY673" fmla="*/ 4396952 h 6858000"/>
              <a:gd name="connsiteX674" fmla="*/ 0 w 7467600"/>
              <a:gd name="connsiteY674" fmla="*/ 4466006 h 6858000"/>
              <a:gd name="connsiteX675" fmla="*/ 0 w 7467600"/>
              <a:gd name="connsiteY675" fmla="*/ 4233763 h 6858000"/>
              <a:gd name="connsiteX676" fmla="*/ 36881 w 7467600"/>
              <a:gd name="connsiteY676" fmla="*/ 4200118 h 6858000"/>
              <a:gd name="connsiteX677" fmla="*/ 910534 w 7467600"/>
              <a:gd name="connsiteY677" fmla="*/ 3629753 h 6858000"/>
              <a:gd name="connsiteX678" fmla="*/ 1578717 w 7467600"/>
              <a:gd name="connsiteY678" fmla="*/ 3575982 h 6858000"/>
              <a:gd name="connsiteX679" fmla="*/ 2338780 w 7467600"/>
              <a:gd name="connsiteY679" fmla="*/ 3033725 h 6858000"/>
              <a:gd name="connsiteX680" fmla="*/ 1807991 w 7467600"/>
              <a:gd name="connsiteY680" fmla="*/ 2807184 h 6858000"/>
              <a:gd name="connsiteX681" fmla="*/ 1416358 w 7467600"/>
              <a:gd name="connsiteY681" fmla="*/ 3112571 h 6858000"/>
              <a:gd name="connsiteX682" fmla="*/ 939066 w 7467600"/>
              <a:gd name="connsiteY682" fmla="*/ 3378798 h 6858000"/>
              <a:gd name="connsiteX683" fmla="*/ 115099 w 7467600"/>
              <a:gd name="connsiteY683" fmla="*/ 3607650 h 6858000"/>
              <a:gd name="connsiteX684" fmla="*/ 97284 w 7467600"/>
              <a:gd name="connsiteY684" fmla="*/ 3520393 h 6858000"/>
              <a:gd name="connsiteX685" fmla="*/ 922050 w 7467600"/>
              <a:gd name="connsiteY685" fmla="*/ 3074867 h 6858000"/>
              <a:gd name="connsiteX686" fmla="*/ 1405265 w 7467600"/>
              <a:gd name="connsiteY686" fmla="*/ 3016319 h 6858000"/>
              <a:gd name="connsiteX687" fmla="*/ 1407512 w 7467600"/>
              <a:gd name="connsiteY687" fmla="*/ 3018001 h 6858000"/>
              <a:gd name="connsiteX688" fmla="*/ 1726266 w 7467600"/>
              <a:gd name="connsiteY688" fmla="*/ 2777274 h 6858000"/>
              <a:gd name="connsiteX689" fmla="*/ 625390 w 7467600"/>
              <a:gd name="connsiteY689" fmla="*/ 2514541 h 6858000"/>
              <a:gd name="connsiteX690" fmla="*/ 619799 w 7467600"/>
              <a:gd name="connsiteY690" fmla="*/ 2527180 h 6858000"/>
              <a:gd name="connsiteX691" fmla="*/ 310030 w 7467600"/>
              <a:gd name="connsiteY691" fmla="*/ 2771818 h 6858000"/>
              <a:gd name="connsiteX692" fmla="*/ 173877 w 7467600"/>
              <a:gd name="connsiteY692" fmla="*/ 2937056 h 6858000"/>
              <a:gd name="connsiteX693" fmla="*/ 77889 w 7467600"/>
              <a:gd name="connsiteY693" fmla="*/ 3138440 h 6858000"/>
              <a:gd name="connsiteX694" fmla="*/ 0 w 7467600"/>
              <a:gd name="connsiteY694" fmla="*/ 3271395 h 6858000"/>
              <a:gd name="connsiteX695" fmla="*/ 0 w 7467600"/>
              <a:gd name="connsiteY695" fmla="*/ 3153002 h 6858000"/>
              <a:gd name="connsiteX696" fmla="*/ 2386 w 7467600"/>
              <a:gd name="connsiteY696" fmla="*/ 3149203 h 6858000"/>
              <a:gd name="connsiteX697" fmla="*/ 89753 w 7467600"/>
              <a:gd name="connsiteY697" fmla="*/ 2987702 h 6858000"/>
              <a:gd name="connsiteX698" fmla="*/ 76869 w 7467600"/>
              <a:gd name="connsiteY698" fmla="*/ 3005404 h 6858000"/>
              <a:gd name="connsiteX699" fmla="*/ 32049 w 7467600"/>
              <a:gd name="connsiteY699" fmla="*/ 3065814 h 6858000"/>
              <a:gd name="connsiteX700" fmla="*/ 0 w 7467600"/>
              <a:gd name="connsiteY700" fmla="*/ 3108744 h 6858000"/>
              <a:gd name="connsiteX701" fmla="*/ 0 w 7467600"/>
              <a:gd name="connsiteY701" fmla="*/ 3058059 h 6858000"/>
              <a:gd name="connsiteX702" fmla="*/ 7610 w 7467600"/>
              <a:gd name="connsiteY702" fmla="*/ 3047889 h 6858000"/>
              <a:gd name="connsiteX703" fmla="*/ 52419 w 7467600"/>
              <a:gd name="connsiteY703" fmla="*/ 2987479 h 6858000"/>
              <a:gd name="connsiteX704" fmla="*/ 59142 w 7467600"/>
              <a:gd name="connsiteY704" fmla="*/ 2978488 h 6858000"/>
              <a:gd name="connsiteX705" fmla="*/ 0 w 7467600"/>
              <a:gd name="connsiteY705" fmla="*/ 3015334 h 6858000"/>
              <a:gd name="connsiteX706" fmla="*/ 0 w 7467600"/>
              <a:gd name="connsiteY706" fmla="*/ 2914286 h 6858000"/>
              <a:gd name="connsiteX707" fmla="*/ 36383 w 7467600"/>
              <a:gd name="connsiteY707" fmla="*/ 2901128 h 6858000"/>
              <a:gd name="connsiteX708" fmla="*/ 156329 w 7467600"/>
              <a:gd name="connsiteY708" fmla="*/ 2840533 h 6858000"/>
              <a:gd name="connsiteX709" fmla="*/ 358355 w 7467600"/>
              <a:gd name="connsiteY709" fmla="*/ 2620471 h 6858000"/>
              <a:gd name="connsiteX710" fmla="*/ 510577 w 7467600"/>
              <a:gd name="connsiteY710" fmla="*/ 2501244 h 6858000"/>
              <a:gd name="connsiteX711" fmla="*/ 211967 w 7467600"/>
              <a:gd name="connsiteY711" fmla="*/ 2479171 h 6858000"/>
              <a:gd name="connsiteX712" fmla="*/ 0 w 7467600"/>
              <a:gd name="connsiteY712" fmla="*/ 2476398 h 6858000"/>
              <a:gd name="connsiteX713" fmla="*/ 0 w 7467600"/>
              <a:gd name="connsiteY713" fmla="*/ 2389189 h 6858000"/>
              <a:gd name="connsiteX714" fmla="*/ 103062 w 7467600"/>
              <a:gd name="connsiteY714" fmla="*/ 2389518 h 6858000"/>
              <a:gd name="connsiteX715" fmla="*/ 510734 w 7467600"/>
              <a:gd name="connsiteY715" fmla="*/ 2416201 h 6858000"/>
              <a:gd name="connsiteX716" fmla="*/ 279257 w 7467600"/>
              <a:gd name="connsiteY716" fmla="*/ 2092102 h 6858000"/>
              <a:gd name="connsiteX717" fmla="*/ 65265 w 7467600"/>
              <a:gd name="connsiteY717" fmla="*/ 2006049 h 6858000"/>
              <a:gd name="connsiteX718" fmla="*/ 0 w 7467600"/>
              <a:gd name="connsiteY718" fmla="*/ 1982532 h 6858000"/>
              <a:gd name="connsiteX719" fmla="*/ 0 w 7467600"/>
              <a:gd name="connsiteY719" fmla="*/ 1912789 h 6858000"/>
              <a:gd name="connsiteX720" fmla="*/ 97460 w 7467600"/>
              <a:gd name="connsiteY720" fmla="*/ 1953725 h 6858000"/>
              <a:gd name="connsiteX721" fmla="*/ 221272 w 7467600"/>
              <a:gd name="connsiteY721" fmla="*/ 1980766 h 6858000"/>
              <a:gd name="connsiteX722" fmla="*/ 116765 w 7467600"/>
              <a:gd name="connsiteY722" fmla="*/ 1911033 h 6858000"/>
              <a:gd name="connsiteX723" fmla="*/ 16405 w 7467600"/>
              <a:gd name="connsiteY723" fmla="*/ 1803412 h 6858000"/>
              <a:gd name="connsiteX724" fmla="*/ 0 w 7467600"/>
              <a:gd name="connsiteY724" fmla="*/ 1784777 h 6858000"/>
              <a:gd name="connsiteX725" fmla="*/ 0 w 7467600"/>
              <a:gd name="connsiteY725" fmla="*/ 1740082 h 6858000"/>
              <a:gd name="connsiteX726" fmla="*/ 39394 w 7467600"/>
              <a:gd name="connsiteY726" fmla="*/ 1784856 h 6858000"/>
              <a:gd name="connsiteX727" fmla="*/ 135813 w 7467600"/>
              <a:gd name="connsiteY727" fmla="*/ 1888838 h 6858000"/>
              <a:gd name="connsiteX728" fmla="*/ 242575 w 7467600"/>
              <a:gd name="connsiteY728" fmla="*/ 1958841 h 6858000"/>
              <a:gd name="connsiteX729" fmla="*/ 82197 w 7467600"/>
              <a:gd name="connsiteY729" fmla="*/ 1754826 h 6858000"/>
              <a:gd name="connsiteX730" fmla="*/ 0 w 7467600"/>
              <a:gd name="connsiteY730" fmla="*/ 1679650 h 6858000"/>
              <a:gd name="connsiteX731" fmla="*/ 0 w 7467600"/>
              <a:gd name="connsiteY731" fmla="*/ 1602463 h 6858000"/>
              <a:gd name="connsiteX732" fmla="*/ 84689 w 7467600"/>
              <a:gd name="connsiteY732" fmla="*/ 1677442 h 6858000"/>
              <a:gd name="connsiteX733" fmla="*/ 298437 w 7467600"/>
              <a:gd name="connsiteY733" fmla="*/ 1968019 h 6858000"/>
              <a:gd name="connsiteX734" fmla="*/ 227269 w 7467600"/>
              <a:gd name="connsiteY734" fmla="*/ 1114064 h 6858000"/>
              <a:gd name="connsiteX735" fmla="*/ 248003 w 7467600"/>
              <a:gd name="connsiteY735" fmla="*/ 1089613 h 6858000"/>
              <a:gd name="connsiteX736" fmla="*/ 427020 w 7467600"/>
              <a:gd name="connsiteY736" fmla="*/ 1619803 h 6858000"/>
              <a:gd name="connsiteX737" fmla="*/ 340345 w 7467600"/>
              <a:gd name="connsiteY737" fmla="*/ 2027739 h 6858000"/>
              <a:gd name="connsiteX738" fmla="*/ 360865 w 7467600"/>
              <a:gd name="connsiteY738" fmla="*/ 2044827 h 6858000"/>
              <a:gd name="connsiteX739" fmla="*/ 560414 w 7467600"/>
              <a:gd name="connsiteY739" fmla="*/ 2421457 h 6858000"/>
              <a:gd name="connsiteX740" fmla="*/ 1359703 w 7467600"/>
              <a:gd name="connsiteY740" fmla="*/ 2578554 h 6858000"/>
              <a:gd name="connsiteX741" fmla="*/ 1359422 w 7467600"/>
              <a:gd name="connsiteY741" fmla="*/ 2577994 h 6858000"/>
              <a:gd name="connsiteX742" fmla="*/ 828701 w 7467600"/>
              <a:gd name="connsiteY742" fmla="*/ 1839520 h 6858000"/>
              <a:gd name="connsiteX743" fmla="*/ 494427 w 7467600"/>
              <a:gd name="connsiteY743" fmla="*/ 1092333 h 6858000"/>
              <a:gd name="connsiteX744" fmla="*/ 506322 w 7467600"/>
              <a:gd name="connsiteY744" fmla="*/ 1020997 h 6858000"/>
              <a:gd name="connsiteX745" fmla="*/ 4570198 w 7467600"/>
              <a:gd name="connsiteY745" fmla="*/ 978081 h 6858000"/>
              <a:gd name="connsiteX746" fmla="*/ 4523691 w 7467600"/>
              <a:gd name="connsiteY746" fmla="*/ 1127776 h 6858000"/>
              <a:gd name="connsiteX747" fmla="*/ 4509875 w 7467600"/>
              <a:gd name="connsiteY747" fmla="*/ 1167552 h 6858000"/>
              <a:gd name="connsiteX748" fmla="*/ 4478168 w 7467600"/>
              <a:gd name="connsiteY748" fmla="*/ 1260735 h 6858000"/>
              <a:gd name="connsiteX749" fmla="*/ 4409309 w 7467600"/>
              <a:gd name="connsiteY749" fmla="*/ 1666996 h 6858000"/>
              <a:gd name="connsiteX750" fmla="*/ 4370031 w 7467600"/>
              <a:gd name="connsiteY750" fmla="*/ 1955666 h 6858000"/>
              <a:gd name="connsiteX751" fmla="*/ 4570198 w 7467600"/>
              <a:gd name="connsiteY751" fmla="*/ 978081 h 6858000"/>
              <a:gd name="connsiteX752" fmla="*/ 4557898 w 7467600"/>
              <a:gd name="connsiteY752" fmla="*/ 900011 h 6858000"/>
              <a:gd name="connsiteX753" fmla="*/ 4344840 w 7467600"/>
              <a:gd name="connsiteY753" fmla="*/ 1922038 h 6858000"/>
              <a:gd name="connsiteX754" fmla="*/ 4378710 w 7467600"/>
              <a:gd name="connsiteY754" fmla="*/ 1665516 h 6858000"/>
              <a:gd name="connsiteX755" fmla="*/ 4448798 w 7467600"/>
              <a:gd name="connsiteY755" fmla="*/ 1253024 h 6858000"/>
              <a:gd name="connsiteX756" fmla="*/ 4480315 w 7467600"/>
              <a:gd name="connsiteY756" fmla="*/ 1158454 h 6858000"/>
              <a:gd name="connsiteX757" fmla="*/ 4494133 w 7467600"/>
              <a:gd name="connsiteY757" fmla="*/ 1118676 h 6858000"/>
              <a:gd name="connsiteX758" fmla="*/ 4557898 w 7467600"/>
              <a:gd name="connsiteY758" fmla="*/ 900011 h 6858000"/>
              <a:gd name="connsiteX759" fmla="*/ 5870151 w 7467600"/>
              <a:gd name="connsiteY759" fmla="*/ 898890 h 6858000"/>
              <a:gd name="connsiteX760" fmla="*/ 5861335 w 7467600"/>
              <a:gd name="connsiteY760" fmla="*/ 899177 h 6858000"/>
              <a:gd name="connsiteX761" fmla="*/ 5843702 w 7467600"/>
              <a:gd name="connsiteY761" fmla="*/ 899748 h 6858000"/>
              <a:gd name="connsiteX762" fmla="*/ 5651107 w 7467600"/>
              <a:gd name="connsiteY762" fmla="*/ 920306 h 6858000"/>
              <a:gd name="connsiteX763" fmla="*/ 5459407 w 7467600"/>
              <a:gd name="connsiteY763" fmla="*/ 940975 h 6858000"/>
              <a:gd name="connsiteX764" fmla="*/ 5374846 w 7467600"/>
              <a:gd name="connsiteY764" fmla="*/ 941988 h 6858000"/>
              <a:gd name="connsiteX765" fmla="*/ 5256105 w 7467600"/>
              <a:gd name="connsiteY765" fmla="*/ 945632 h 6858000"/>
              <a:gd name="connsiteX766" fmla="*/ 5107071 w 7467600"/>
              <a:gd name="connsiteY766" fmla="*/ 969720 h 6858000"/>
              <a:gd name="connsiteX767" fmla="*/ 4998681 w 7467600"/>
              <a:gd name="connsiteY767" fmla="*/ 988771 h 6858000"/>
              <a:gd name="connsiteX768" fmla="*/ 5870151 w 7467600"/>
              <a:gd name="connsiteY768" fmla="*/ 898890 h 6858000"/>
              <a:gd name="connsiteX769" fmla="*/ 5504425 w 7467600"/>
              <a:gd name="connsiteY769" fmla="*/ 848067 h 6858000"/>
              <a:gd name="connsiteX770" fmla="*/ 4968849 w 7467600"/>
              <a:gd name="connsiteY770" fmla="*/ 962318 h 6858000"/>
              <a:gd name="connsiteX771" fmla="*/ 5104039 w 7467600"/>
              <a:gd name="connsiteY771" fmla="*/ 940634 h 6858000"/>
              <a:gd name="connsiteX772" fmla="*/ 5256311 w 7467600"/>
              <a:gd name="connsiteY772" fmla="*/ 916490 h 6858000"/>
              <a:gd name="connsiteX773" fmla="*/ 5377381 w 7467600"/>
              <a:gd name="connsiteY773" fmla="*/ 912671 h 6858000"/>
              <a:gd name="connsiteX774" fmla="*/ 5460148 w 7467600"/>
              <a:gd name="connsiteY774" fmla="*/ 911442 h 6858000"/>
              <a:gd name="connsiteX775" fmla="*/ 5648971 w 7467600"/>
              <a:gd name="connsiteY775" fmla="*/ 891331 h 6858000"/>
              <a:gd name="connsiteX776" fmla="*/ 5844807 w 7467600"/>
              <a:gd name="connsiteY776" fmla="*/ 870718 h 6858000"/>
              <a:gd name="connsiteX777" fmla="*/ 5862975 w 7467600"/>
              <a:gd name="connsiteY777" fmla="*/ 869756 h 6858000"/>
              <a:gd name="connsiteX778" fmla="*/ 5920887 w 7467600"/>
              <a:gd name="connsiteY778" fmla="*/ 865929 h 6858000"/>
              <a:gd name="connsiteX779" fmla="*/ 5504425 w 7467600"/>
              <a:gd name="connsiteY779" fmla="*/ 848067 h 6858000"/>
              <a:gd name="connsiteX780" fmla="*/ 3607114 w 7467600"/>
              <a:gd name="connsiteY780" fmla="*/ 467441 h 6858000"/>
              <a:gd name="connsiteX781" fmla="*/ 3296242 w 7467600"/>
              <a:gd name="connsiteY781" fmla="*/ 807991 h 6858000"/>
              <a:gd name="connsiteX782" fmla="*/ 3174674 w 7467600"/>
              <a:gd name="connsiteY782" fmla="*/ 919759 h 6858000"/>
              <a:gd name="connsiteX783" fmla="*/ 3042978 w 7467600"/>
              <a:gd name="connsiteY783" fmla="*/ 1054894 h 6858000"/>
              <a:gd name="connsiteX784" fmla="*/ 2968914 w 7467600"/>
              <a:gd name="connsiteY784" fmla="*/ 1133756 h 6858000"/>
              <a:gd name="connsiteX785" fmla="*/ 3103823 w 7467600"/>
              <a:gd name="connsiteY785" fmla="*/ 1026814 h 6858000"/>
              <a:gd name="connsiteX786" fmla="*/ 3607114 w 7467600"/>
              <a:gd name="connsiteY786" fmla="*/ 467441 h 6858000"/>
              <a:gd name="connsiteX787" fmla="*/ 3744487 w 7467600"/>
              <a:gd name="connsiteY787" fmla="*/ 383136 h 6858000"/>
              <a:gd name="connsiteX788" fmla="*/ 3970213 w 7467600"/>
              <a:gd name="connsiteY788" fmla="*/ 995559 h 6858000"/>
              <a:gd name="connsiteX789" fmla="*/ 3744487 w 7467600"/>
              <a:gd name="connsiteY789" fmla="*/ 383136 h 6858000"/>
              <a:gd name="connsiteX790" fmla="*/ 3624562 w 7467600"/>
              <a:gd name="connsiteY790" fmla="*/ 367041 h 6858000"/>
              <a:gd name="connsiteX791" fmla="*/ 3489712 w 7467600"/>
              <a:gd name="connsiteY791" fmla="*/ 485386 h 6858000"/>
              <a:gd name="connsiteX792" fmla="*/ 3182994 w 7467600"/>
              <a:gd name="connsiteY792" fmla="*/ 828265 h 6858000"/>
              <a:gd name="connsiteX793" fmla="*/ 2892114 w 7467600"/>
              <a:gd name="connsiteY793" fmla="*/ 1172635 h 6858000"/>
              <a:gd name="connsiteX794" fmla="*/ 3021459 w 7467600"/>
              <a:gd name="connsiteY794" fmla="*/ 1035385 h 6858000"/>
              <a:gd name="connsiteX795" fmla="*/ 3153873 w 7467600"/>
              <a:gd name="connsiteY795" fmla="*/ 898971 h 6858000"/>
              <a:gd name="connsiteX796" fmla="*/ 3276511 w 7467600"/>
              <a:gd name="connsiteY796" fmla="*/ 786423 h 6858000"/>
              <a:gd name="connsiteX797" fmla="*/ 3584154 w 7467600"/>
              <a:gd name="connsiteY797" fmla="*/ 448218 h 6858000"/>
              <a:gd name="connsiteX798" fmla="*/ 3624562 w 7467600"/>
              <a:gd name="connsiteY798" fmla="*/ 367041 h 6858000"/>
              <a:gd name="connsiteX799" fmla="*/ 3766672 w 7467600"/>
              <a:gd name="connsiteY799" fmla="*/ 359429 h 6858000"/>
              <a:gd name="connsiteX800" fmla="*/ 3996338 w 7467600"/>
              <a:gd name="connsiteY800" fmla="*/ 968237 h 6858000"/>
              <a:gd name="connsiteX801" fmla="*/ 3766672 w 7467600"/>
              <a:gd name="connsiteY801" fmla="*/ 359429 h 6858000"/>
              <a:gd name="connsiteX802" fmla="*/ 5805386 w 7467600"/>
              <a:gd name="connsiteY802" fmla="*/ 239240 h 6858000"/>
              <a:gd name="connsiteX803" fmla="*/ 5736947 w 7467600"/>
              <a:gd name="connsiteY803" fmla="*/ 261367 h 6858000"/>
              <a:gd name="connsiteX804" fmla="*/ 5427012 w 7467600"/>
              <a:gd name="connsiteY804" fmla="*/ 311272 h 6858000"/>
              <a:gd name="connsiteX805" fmla="*/ 5147818 w 7467600"/>
              <a:gd name="connsiteY805" fmla="*/ 322112 h 6858000"/>
              <a:gd name="connsiteX806" fmla="*/ 5060854 w 7467600"/>
              <a:gd name="connsiteY806" fmla="*/ 311882 h 6858000"/>
              <a:gd name="connsiteX807" fmla="*/ 4945989 w 7467600"/>
              <a:gd name="connsiteY807" fmla="*/ 300516 h 6858000"/>
              <a:gd name="connsiteX808" fmla="*/ 5410479 w 7467600"/>
              <a:gd name="connsiteY808" fmla="*/ 348434 h 6858000"/>
              <a:gd name="connsiteX809" fmla="*/ 5805386 w 7467600"/>
              <a:gd name="connsiteY809" fmla="*/ 239240 h 6858000"/>
              <a:gd name="connsiteX810" fmla="*/ 5905192 w 7467600"/>
              <a:gd name="connsiteY810" fmla="*/ 163079 h 6858000"/>
              <a:gd name="connsiteX811" fmla="*/ 5865655 w 7467600"/>
              <a:gd name="connsiteY811" fmla="*/ 171901 h 6858000"/>
              <a:gd name="connsiteX812" fmla="*/ 5259740 w 7467600"/>
              <a:gd name="connsiteY812" fmla="*/ 257013 h 6858000"/>
              <a:gd name="connsiteX813" fmla="*/ 5208466 w 7467600"/>
              <a:gd name="connsiteY813" fmla="*/ 257550 h 6858000"/>
              <a:gd name="connsiteX814" fmla="*/ 4980204 w 7467600"/>
              <a:gd name="connsiteY814" fmla="*/ 271903 h 6858000"/>
              <a:gd name="connsiteX815" fmla="*/ 5068068 w 7467600"/>
              <a:gd name="connsiteY815" fmla="*/ 282244 h 6858000"/>
              <a:gd name="connsiteX816" fmla="*/ 5153231 w 7467600"/>
              <a:gd name="connsiteY816" fmla="*/ 292240 h 6858000"/>
              <a:gd name="connsiteX817" fmla="*/ 5426491 w 7467600"/>
              <a:gd name="connsiteY817" fmla="*/ 281128 h 6858000"/>
              <a:gd name="connsiteX818" fmla="*/ 5731212 w 7467600"/>
              <a:gd name="connsiteY818" fmla="*/ 231951 h 6858000"/>
              <a:gd name="connsiteX819" fmla="*/ 5905192 w 7467600"/>
              <a:gd name="connsiteY819" fmla="*/ 163079 h 6858000"/>
              <a:gd name="connsiteX820" fmla="*/ 5944437 w 7467600"/>
              <a:gd name="connsiteY820" fmla="*/ 113829 h 6858000"/>
              <a:gd name="connsiteX821" fmla="*/ 5825032 w 7467600"/>
              <a:gd name="connsiteY821" fmla="*/ 146405 h 6858000"/>
              <a:gd name="connsiteX822" fmla="*/ 4955599 w 7467600"/>
              <a:gd name="connsiteY822" fmla="*/ 247008 h 6858000"/>
              <a:gd name="connsiteX823" fmla="*/ 5210104 w 7467600"/>
              <a:gd name="connsiteY823" fmla="*/ 228123 h 6858000"/>
              <a:gd name="connsiteX824" fmla="*/ 5261015 w 7467600"/>
              <a:gd name="connsiteY824" fmla="*/ 227087 h 6858000"/>
              <a:gd name="connsiteX825" fmla="*/ 5861181 w 7467600"/>
              <a:gd name="connsiteY825" fmla="*/ 143093 h 6858000"/>
              <a:gd name="connsiteX826" fmla="*/ 5961252 w 7467600"/>
              <a:gd name="connsiteY826" fmla="*/ 114820 h 6858000"/>
              <a:gd name="connsiteX827" fmla="*/ 5944437 w 7467600"/>
              <a:gd name="connsiteY827" fmla="*/ 113829 h 6858000"/>
              <a:gd name="connsiteX828" fmla="*/ 3882765 w 7467600"/>
              <a:gd name="connsiteY828" fmla="*/ 0 h 6858000"/>
              <a:gd name="connsiteX829" fmla="*/ 3995099 w 7467600"/>
              <a:gd name="connsiteY829" fmla="*/ 0 h 6858000"/>
              <a:gd name="connsiteX830" fmla="*/ 4163818 w 7467600"/>
              <a:gd name="connsiteY830" fmla="*/ 234104 h 6858000"/>
              <a:gd name="connsiteX831" fmla="*/ 4172099 w 7467600"/>
              <a:gd name="connsiteY831" fmla="*/ 234207 h 6858000"/>
              <a:gd name="connsiteX832" fmla="*/ 4784282 w 7467600"/>
              <a:gd name="connsiteY832" fmla="*/ 276561 h 6858000"/>
              <a:gd name="connsiteX833" fmla="*/ 4801687 w 7467600"/>
              <a:gd name="connsiteY833" fmla="*/ 267764 h 6858000"/>
              <a:gd name="connsiteX834" fmla="*/ 6082788 w 7467600"/>
              <a:gd name="connsiteY834" fmla="*/ 64119 h 6858000"/>
              <a:gd name="connsiteX835" fmla="*/ 6099442 w 7467600"/>
              <a:gd name="connsiteY835" fmla="*/ 82568 h 6858000"/>
              <a:gd name="connsiteX836" fmla="*/ 4804137 w 7467600"/>
              <a:gd name="connsiteY836" fmla="*/ 320931 h 6858000"/>
              <a:gd name="connsiteX837" fmla="*/ 4227047 w 7467600"/>
              <a:gd name="connsiteY837" fmla="*/ 313415 h 6858000"/>
              <a:gd name="connsiteX838" fmla="*/ 4346041 w 7467600"/>
              <a:gd name="connsiteY838" fmla="*/ 456086 h 6858000"/>
              <a:gd name="connsiteX839" fmla="*/ 4870967 w 7467600"/>
              <a:gd name="connsiteY839" fmla="*/ 963061 h 6858000"/>
              <a:gd name="connsiteX840" fmla="*/ 4889647 w 7467600"/>
              <a:gd name="connsiteY840" fmla="*/ 957147 h 6858000"/>
              <a:gd name="connsiteX841" fmla="*/ 5422504 w 7467600"/>
              <a:gd name="connsiteY841" fmla="*/ 805191 h 6858000"/>
              <a:gd name="connsiteX842" fmla="*/ 6087656 w 7467600"/>
              <a:gd name="connsiteY842" fmla="*/ 826703 h 6858000"/>
              <a:gd name="connsiteX843" fmla="*/ 6058717 w 7467600"/>
              <a:gd name="connsiteY843" fmla="*/ 865992 h 6858000"/>
              <a:gd name="connsiteX844" fmla="*/ 4974153 w 7467600"/>
              <a:gd name="connsiteY844" fmla="*/ 1045456 h 6858000"/>
              <a:gd name="connsiteX845" fmla="*/ 5627835 w 7467600"/>
              <a:gd name="connsiteY845" fmla="*/ 1472077 h 6858000"/>
              <a:gd name="connsiteX846" fmla="*/ 5629817 w 7467600"/>
              <a:gd name="connsiteY846" fmla="*/ 1471412 h 6858000"/>
              <a:gd name="connsiteX847" fmla="*/ 5634124 w 7467600"/>
              <a:gd name="connsiteY847" fmla="*/ 1470572 h 6858000"/>
              <a:gd name="connsiteX848" fmla="*/ 5755832 w 7467600"/>
              <a:gd name="connsiteY848" fmla="*/ 1383886 h 6858000"/>
              <a:gd name="connsiteX849" fmla="*/ 6014186 w 7467600"/>
              <a:gd name="connsiteY849" fmla="*/ 1279799 h 6858000"/>
              <a:gd name="connsiteX850" fmla="*/ 6901619 w 7467600"/>
              <a:gd name="connsiteY850" fmla="*/ 1047874 h 6858000"/>
              <a:gd name="connsiteX851" fmla="*/ 6931566 w 7467600"/>
              <a:gd name="connsiteY851" fmla="*/ 1062034 h 6858000"/>
              <a:gd name="connsiteX852" fmla="*/ 5790982 w 7467600"/>
              <a:gd name="connsiteY852" fmla="*/ 1561380 h 6858000"/>
              <a:gd name="connsiteX853" fmla="*/ 6188971 w 7467600"/>
              <a:gd name="connsiteY853" fmla="*/ 1755168 h 6858000"/>
              <a:gd name="connsiteX854" fmla="*/ 6202446 w 7467600"/>
              <a:gd name="connsiteY854" fmla="*/ 1752268 h 6858000"/>
              <a:gd name="connsiteX855" fmla="*/ 7179560 w 7467600"/>
              <a:gd name="connsiteY855" fmla="*/ 1467551 h 6858000"/>
              <a:gd name="connsiteX856" fmla="*/ 7158730 w 7467600"/>
              <a:gd name="connsiteY856" fmla="*/ 1507835 h 6858000"/>
              <a:gd name="connsiteX857" fmla="*/ 6326959 w 7467600"/>
              <a:gd name="connsiteY857" fmla="*/ 1817686 h 6858000"/>
              <a:gd name="connsiteX858" fmla="*/ 6537433 w 7467600"/>
              <a:gd name="connsiteY858" fmla="*/ 1907790 h 6858000"/>
              <a:gd name="connsiteX859" fmla="*/ 6550221 w 7467600"/>
              <a:gd name="connsiteY859" fmla="*/ 1910729 h 6858000"/>
              <a:gd name="connsiteX860" fmla="*/ 6964438 w 7467600"/>
              <a:gd name="connsiteY860" fmla="*/ 2209505 h 6858000"/>
              <a:gd name="connsiteX861" fmla="*/ 7367862 w 7467600"/>
              <a:gd name="connsiteY861" fmla="*/ 2806833 h 6858000"/>
              <a:gd name="connsiteX862" fmla="*/ 7364329 w 7467600"/>
              <a:gd name="connsiteY862" fmla="*/ 2826907 h 6858000"/>
              <a:gd name="connsiteX863" fmla="*/ 7290545 w 7467600"/>
              <a:gd name="connsiteY863" fmla="*/ 2850663 h 6858000"/>
              <a:gd name="connsiteX864" fmla="*/ 6472036 w 7467600"/>
              <a:gd name="connsiteY864" fmla="*/ 1959003 h 6858000"/>
              <a:gd name="connsiteX865" fmla="*/ 5792897 w 7467600"/>
              <a:gd name="connsiteY865" fmla="*/ 1647747 h 6858000"/>
              <a:gd name="connsiteX866" fmla="*/ 5842751 w 7467600"/>
              <a:gd name="connsiteY866" fmla="*/ 1816112 h 6858000"/>
              <a:gd name="connsiteX867" fmla="*/ 5847424 w 7467600"/>
              <a:gd name="connsiteY867" fmla="*/ 1815776 h 6858000"/>
              <a:gd name="connsiteX868" fmla="*/ 6399821 w 7467600"/>
              <a:gd name="connsiteY868" fmla="*/ 2344799 h 6858000"/>
              <a:gd name="connsiteX869" fmla="*/ 6323232 w 7467600"/>
              <a:gd name="connsiteY869" fmla="*/ 2389634 h 6858000"/>
              <a:gd name="connsiteX870" fmla="*/ 5942958 w 7467600"/>
              <a:gd name="connsiteY870" fmla="*/ 2077708 h 6858000"/>
              <a:gd name="connsiteX871" fmla="*/ 5921559 w 7467600"/>
              <a:gd name="connsiteY871" fmla="*/ 2378596 h 6858000"/>
              <a:gd name="connsiteX872" fmla="*/ 5817651 w 7467600"/>
              <a:gd name="connsiteY872" fmla="*/ 3023919 h 6858000"/>
              <a:gd name="connsiteX873" fmla="*/ 5729634 w 7467600"/>
              <a:gd name="connsiteY873" fmla="*/ 3051849 h 6858000"/>
              <a:gd name="connsiteX874" fmla="*/ 5611018 w 7467600"/>
              <a:gd name="connsiteY874" fmla="*/ 2316769 h 6858000"/>
              <a:gd name="connsiteX875" fmla="*/ 5687608 w 7467600"/>
              <a:gd name="connsiteY875" fmla="*/ 2039972 h 6858000"/>
              <a:gd name="connsiteX876" fmla="*/ 5657554 w 7467600"/>
              <a:gd name="connsiteY876" fmla="*/ 1576445 h 6858000"/>
              <a:gd name="connsiteX877" fmla="*/ 5150475 w 7467600"/>
              <a:gd name="connsiteY877" fmla="*/ 1274012 h 6858000"/>
              <a:gd name="connsiteX878" fmla="*/ 5349142 w 7467600"/>
              <a:gd name="connsiteY878" fmla="*/ 2204405 h 6858000"/>
              <a:gd name="connsiteX879" fmla="*/ 5262214 w 7467600"/>
              <a:gd name="connsiteY879" fmla="*/ 2233836 h 6858000"/>
              <a:gd name="connsiteX880" fmla="*/ 4981539 w 7467600"/>
              <a:gd name="connsiteY880" fmla="*/ 1542201 h 6858000"/>
              <a:gd name="connsiteX881" fmla="*/ 4958461 w 7467600"/>
              <a:gd name="connsiteY881" fmla="*/ 1136957 h 6858000"/>
              <a:gd name="connsiteX882" fmla="*/ 4655015 w 7467600"/>
              <a:gd name="connsiteY882" fmla="*/ 891426 h 6858000"/>
              <a:gd name="connsiteX883" fmla="*/ 4348002 w 7467600"/>
              <a:gd name="connsiteY883" fmla="*/ 2205895 h 6858000"/>
              <a:gd name="connsiteX884" fmla="*/ 4262250 w 7467600"/>
              <a:gd name="connsiteY884" fmla="*/ 2219972 h 6858000"/>
              <a:gd name="connsiteX885" fmla="*/ 4550611 w 7467600"/>
              <a:gd name="connsiteY885" fmla="*/ 817540 h 6858000"/>
              <a:gd name="connsiteX886" fmla="*/ 4564418 w 7467600"/>
              <a:gd name="connsiteY886" fmla="*/ 808293 h 6858000"/>
              <a:gd name="connsiteX887" fmla="*/ 4266388 w 7467600"/>
              <a:gd name="connsiteY887" fmla="*/ 500083 h 6858000"/>
              <a:gd name="connsiteX888" fmla="*/ 4032842 w 7467600"/>
              <a:gd name="connsiteY888" fmla="*/ 211809 h 6858000"/>
              <a:gd name="connsiteX889" fmla="*/ 3882765 w 7467600"/>
              <a:gd name="connsiteY889" fmla="*/ 0 h 6858000"/>
              <a:gd name="connsiteX890" fmla="*/ 3721337 w 7467600"/>
              <a:gd name="connsiteY890" fmla="*/ 0 h 6858000"/>
              <a:gd name="connsiteX891" fmla="*/ 3797544 w 7467600"/>
              <a:gd name="connsiteY891" fmla="*/ 0 h 6858000"/>
              <a:gd name="connsiteX892" fmla="*/ 3775734 w 7467600"/>
              <a:gd name="connsiteY892" fmla="*/ 95131 h 6858000"/>
              <a:gd name="connsiteX893" fmla="*/ 3724807 w 7467600"/>
              <a:gd name="connsiteY893" fmla="*/ 272257 h 6858000"/>
              <a:gd name="connsiteX894" fmla="*/ 3726844 w 7467600"/>
              <a:gd name="connsiteY894" fmla="*/ 282988 h 6858000"/>
              <a:gd name="connsiteX895" fmla="*/ 3742664 w 7467600"/>
              <a:gd name="connsiteY895" fmla="*/ 279918 h 6858000"/>
              <a:gd name="connsiteX896" fmla="*/ 4103910 w 7467600"/>
              <a:gd name="connsiteY896" fmla="*/ 1161917 h 6858000"/>
              <a:gd name="connsiteX897" fmla="*/ 4020269 w 7467600"/>
              <a:gd name="connsiteY897" fmla="*/ 1200406 h 6858000"/>
              <a:gd name="connsiteX898" fmla="*/ 3674882 w 7467600"/>
              <a:gd name="connsiteY898" fmla="*/ 488524 h 6858000"/>
              <a:gd name="connsiteX899" fmla="*/ 3132682 w 7467600"/>
              <a:gd name="connsiteY899" fmla="*/ 1072284 h 6858000"/>
              <a:gd name="connsiteX900" fmla="*/ 2716346 w 7467600"/>
              <a:gd name="connsiteY900" fmla="*/ 1276376 h 6858000"/>
              <a:gd name="connsiteX901" fmla="*/ 2716772 w 7467600"/>
              <a:gd name="connsiteY901" fmla="*/ 1255462 h 6858000"/>
              <a:gd name="connsiteX902" fmla="*/ 3471096 w 7467600"/>
              <a:gd name="connsiteY902" fmla="*/ 437072 h 6858000"/>
              <a:gd name="connsiteX903" fmla="*/ 3639057 w 7467600"/>
              <a:gd name="connsiteY903" fmla="*/ 286334 h 6858000"/>
              <a:gd name="connsiteX904" fmla="*/ 3640309 w 7467600"/>
              <a:gd name="connsiteY904" fmla="*/ 284664 h 6858000"/>
              <a:gd name="connsiteX905" fmla="*/ 3646022 w 7467600"/>
              <a:gd name="connsiteY905" fmla="*/ 276711 h 6858000"/>
              <a:gd name="connsiteX906" fmla="*/ 3707943 w 7467600"/>
              <a:gd name="connsiteY906" fmla="*/ 65958 h 6858000"/>
              <a:gd name="connsiteX907" fmla="*/ 3721337 w 7467600"/>
              <a:gd name="connsiteY907" fmla="*/ 0 h 6858000"/>
              <a:gd name="connsiteX908" fmla="*/ 2867960 w 7467600"/>
              <a:gd name="connsiteY908" fmla="*/ 0 h 6858000"/>
              <a:gd name="connsiteX909" fmla="*/ 2926351 w 7467600"/>
              <a:gd name="connsiteY909" fmla="*/ 0 h 6858000"/>
              <a:gd name="connsiteX910" fmla="*/ 2902823 w 7467600"/>
              <a:gd name="connsiteY910" fmla="*/ 262929 h 6858000"/>
              <a:gd name="connsiteX911" fmla="*/ 2940663 w 7467600"/>
              <a:gd name="connsiteY911" fmla="*/ 140884 h 6858000"/>
              <a:gd name="connsiteX912" fmla="*/ 2947039 w 7467600"/>
              <a:gd name="connsiteY912" fmla="*/ 122524 h 6858000"/>
              <a:gd name="connsiteX913" fmla="*/ 2984316 w 7467600"/>
              <a:gd name="connsiteY913" fmla="*/ 0 h 6858000"/>
              <a:gd name="connsiteX914" fmla="*/ 3016114 w 7467600"/>
              <a:gd name="connsiteY914" fmla="*/ 0 h 6858000"/>
              <a:gd name="connsiteX915" fmla="*/ 2979949 w 7467600"/>
              <a:gd name="connsiteY915" fmla="*/ 119274 h 6858000"/>
              <a:gd name="connsiteX916" fmla="*/ 3023879 w 7467600"/>
              <a:gd name="connsiteY916" fmla="*/ 0 h 6858000"/>
              <a:gd name="connsiteX917" fmla="*/ 3105400 w 7467600"/>
              <a:gd name="connsiteY917" fmla="*/ 0 h 6858000"/>
              <a:gd name="connsiteX918" fmla="*/ 3094669 w 7467600"/>
              <a:gd name="connsiteY918" fmla="*/ 30308 h 6858000"/>
              <a:gd name="connsiteX919" fmla="*/ 2901945 w 7467600"/>
              <a:gd name="connsiteY919" fmla="*/ 466538 h 6858000"/>
              <a:gd name="connsiteX920" fmla="*/ 2815209 w 7467600"/>
              <a:gd name="connsiteY920" fmla="*/ 497361 h 6858000"/>
              <a:gd name="connsiteX921" fmla="*/ 2844845 w 7467600"/>
              <a:gd name="connsiteY921" fmla="*/ 127638 h 6858000"/>
              <a:gd name="connsiteX922" fmla="*/ 2867960 w 7467600"/>
              <a:gd name="connsiteY922" fmla="*/ 0 h 6858000"/>
              <a:gd name="connsiteX923" fmla="*/ 1057230 w 7467600"/>
              <a:gd name="connsiteY923" fmla="*/ 0 h 6858000"/>
              <a:gd name="connsiteX924" fmla="*/ 1111003 w 7467600"/>
              <a:gd name="connsiteY924" fmla="*/ 0 h 6858000"/>
              <a:gd name="connsiteX925" fmla="*/ 1125553 w 7467600"/>
              <a:gd name="connsiteY925" fmla="*/ 52588 h 6858000"/>
              <a:gd name="connsiteX926" fmla="*/ 1304276 w 7467600"/>
              <a:gd name="connsiteY926" fmla="*/ 476275 h 6858000"/>
              <a:gd name="connsiteX927" fmla="*/ 1492066 w 7467600"/>
              <a:gd name="connsiteY927" fmla="*/ 886333 h 6858000"/>
              <a:gd name="connsiteX928" fmla="*/ 1423698 w 7467600"/>
              <a:gd name="connsiteY928" fmla="*/ 710817 h 6858000"/>
              <a:gd name="connsiteX929" fmla="*/ 1357609 w 7467600"/>
              <a:gd name="connsiteY929" fmla="*/ 532892 h 6858000"/>
              <a:gd name="connsiteX930" fmla="*/ 1309550 w 7467600"/>
              <a:gd name="connsiteY930" fmla="*/ 374031 h 6858000"/>
              <a:gd name="connsiteX931" fmla="*/ 1193673 w 7467600"/>
              <a:gd name="connsiteY931" fmla="*/ 49533 h 6858000"/>
              <a:gd name="connsiteX932" fmla="*/ 1164391 w 7467600"/>
              <a:gd name="connsiteY932" fmla="*/ 0 h 6858000"/>
              <a:gd name="connsiteX933" fmla="*/ 1200666 w 7467600"/>
              <a:gd name="connsiteY933" fmla="*/ 0 h 6858000"/>
              <a:gd name="connsiteX934" fmla="*/ 1223408 w 7467600"/>
              <a:gd name="connsiteY934" fmla="*/ 38996 h 6858000"/>
              <a:gd name="connsiteX935" fmla="*/ 1339635 w 7467600"/>
              <a:gd name="connsiteY935" fmla="*/ 365517 h 6858000"/>
              <a:gd name="connsiteX936" fmla="*/ 1387469 w 7467600"/>
              <a:gd name="connsiteY936" fmla="*/ 523079 h 6858000"/>
              <a:gd name="connsiteX937" fmla="*/ 1452685 w 7467600"/>
              <a:gd name="connsiteY937" fmla="*/ 699806 h 6858000"/>
              <a:gd name="connsiteX938" fmla="*/ 1492092 w 7467600"/>
              <a:gd name="connsiteY938" fmla="*/ 800424 h 6858000"/>
              <a:gd name="connsiteX939" fmla="*/ 1455302 w 7467600"/>
              <a:gd name="connsiteY939" fmla="*/ 632913 h 6858000"/>
              <a:gd name="connsiteX940" fmla="*/ 1222336 w 7467600"/>
              <a:gd name="connsiteY940" fmla="*/ 9480 h 6858000"/>
              <a:gd name="connsiteX941" fmla="*/ 1214634 w 7467600"/>
              <a:gd name="connsiteY941" fmla="*/ 0 h 6858000"/>
              <a:gd name="connsiteX942" fmla="*/ 1289827 w 7467600"/>
              <a:gd name="connsiteY942" fmla="*/ 0 h 6858000"/>
              <a:gd name="connsiteX943" fmla="*/ 1321076 w 7467600"/>
              <a:gd name="connsiteY943" fmla="*/ 59722 h 6858000"/>
              <a:gd name="connsiteX944" fmla="*/ 1512579 w 7467600"/>
              <a:gd name="connsiteY944" fmla="*/ 626441 h 6858000"/>
              <a:gd name="connsiteX945" fmla="*/ 1506076 w 7467600"/>
              <a:gd name="connsiteY945" fmla="*/ 1089289 h 6858000"/>
              <a:gd name="connsiteX946" fmla="*/ 1486346 w 7467600"/>
              <a:gd name="connsiteY946" fmla="*/ 1079919 h 6858000"/>
              <a:gd name="connsiteX947" fmla="*/ 1070511 w 7467600"/>
              <a:gd name="connsiteY947" fmla="*/ 48609 h 6858000"/>
              <a:gd name="connsiteX948" fmla="*/ 1057230 w 7467600"/>
              <a:gd name="connsiteY948" fmla="*/ 0 h 6858000"/>
              <a:gd name="connsiteX949" fmla="*/ 43151 w 7467600"/>
              <a:gd name="connsiteY949" fmla="*/ 0 h 6858000"/>
              <a:gd name="connsiteX950" fmla="*/ 95283 w 7467600"/>
              <a:gd name="connsiteY950" fmla="*/ 0 h 6858000"/>
              <a:gd name="connsiteX951" fmla="*/ 300708 w 7467600"/>
              <a:gd name="connsiteY951" fmla="*/ 154571 h 6858000"/>
              <a:gd name="connsiteX952" fmla="*/ 530414 w 7467600"/>
              <a:gd name="connsiteY952" fmla="*/ 354673 h 6858000"/>
              <a:gd name="connsiteX953" fmla="*/ 333785 w 7467600"/>
              <a:gd name="connsiteY953" fmla="*/ 161564 h 6858000"/>
              <a:gd name="connsiteX954" fmla="*/ 147005 w 7467600"/>
              <a:gd name="connsiteY954" fmla="*/ 0 h 6858000"/>
              <a:gd name="connsiteX955" fmla="*/ 272509 w 7467600"/>
              <a:gd name="connsiteY955" fmla="*/ 0 h 6858000"/>
              <a:gd name="connsiteX956" fmla="*/ 326276 w 7467600"/>
              <a:gd name="connsiteY956" fmla="*/ 45847 h 6858000"/>
              <a:gd name="connsiteX957" fmla="*/ 823759 w 7467600"/>
              <a:gd name="connsiteY957" fmla="*/ 574145 h 6858000"/>
              <a:gd name="connsiteX958" fmla="*/ 811254 w 7467600"/>
              <a:gd name="connsiteY958" fmla="*/ 665546 h 6858000"/>
              <a:gd name="connsiteX959" fmla="*/ 154042 w 7467600"/>
              <a:gd name="connsiteY959" fmla="*/ 261522 h 6858000"/>
              <a:gd name="connsiteX960" fmla="*/ 13550 w 7467600"/>
              <a:gd name="connsiteY960" fmla="*/ 158423 h 6858000"/>
              <a:gd name="connsiteX961" fmla="*/ 0 w 7467600"/>
              <a:gd name="connsiteY961" fmla="*/ 146618 h 6858000"/>
              <a:gd name="connsiteX962" fmla="*/ 0 w 7467600"/>
              <a:gd name="connsiteY962" fmla="*/ 59161 h 6858000"/>
              <a:gd name="connsiteX963" fmla="*/ 45427 w 7467600"/>
              <a:gd name="connsiteY963" fmla="*/ 101078 h 6858000"/>
              <a:gd name="connsiteX964" fmla="*/ 630103 w 7467600"/>
              <a:gd name="connsiteY964" fmla="*/ 485885 h 6858000"/>
              <a:gd name="connsiteX965" fmla="*/ 532040 w 7467600"/>
              <a:gd name="connsiteY965" fmla="*/ 399359 h 6858000"/>
              <a:gd name="connsiteX966" fmla="*/ 517618 w 7467600"/>
              <a:gd name="connsiteY966" fmla="*/ 385726 h 6858000"/>
              <a:gd name="connsiteX967" fmla="*/ 285074 w 7467600"/>
              <a:gd name="connsiteY967" fmla="*/ 182755 h 6858000"/>
              <a:gd name="connsiteX968" fmla="*/ 43151 w 7467600"/>
              <a:gd name="connsiteY968"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7454976 w 7467600"/>
              <a:gd name="connsiteY74" fmla="*/ 6318297 h 6858000"/>
              <a:gd name="connsiteX75" fmla="*/ 7379510 w 7467600"/>
              <a:gd name="connsiteY75" fmla="*/ 5755454 h 6858000"/>
              <a:gd name="connsiteX76" fmla="*/ 7467600 w 7467600"/>
              <a:gd name="connsiteY76" fmla="*/ 5845526 h 6858000"/>
              <a:gd name="connsiteX77" fmla="*/ 7271900 w 7467600"/>
              <a:gd name="connsiteY77" fmla="*/ 5734551 h 6858000"/>
              <a:gd name="connsiteX78" fmla="*/ 7467600 w 7467600"/>
              <a:gd name="connsiteY78" fmla="*/ 6012219 h 6858000"/>
              <a:gd name="connsiteX79" fmla="*/ 7356878 w 7467600"/>
              <a:gd name="connsiteY79" fmla="*/ 5981332 h 6858000"/>
              <a:gd name="connsiteX80" fmla="*/ 7467600 w 7467600"/>
              <a:gd name="connsiteY80" fmla="*/ 6117703 h 6858000"/>
              <a:gd name="connsiteX81" fmla="*/ 7467600 w 7467600"/>
              <a:gd name="connsiteY81" fmla="*/ 6163634 h 6858000"/>
              <a:gd name="connsiteX82" fmla="*/ 7403637 w 7467600"/>
              <a:gd name="connsiteY82" fmla="*/ 6083957 h 6858000"/>
              <a:gd name="connsiteX83" fmla="*/ 7254615 w 7467600"/>
              <a:gd name="connsiteY83" fmla="*/ 5911918 h 6858000"/>
              <a:gd name="connsiteX84" fmla="*/ 7312589 w 7467600"/>
              <a:gd name="connsiteY84" fmla="*/ 5982309 h 6858000"/>
              <a:gd name="connsiteX85" fmla="*/ 7448321 w 7467600"/>
              <a:gd name="connsiteY85" fmla="*/ 6190991 h 6858000"/>
              <a:gd name="connsiteX86" fmla="*/ 7467600 w 7467600"/>
              <a:gd name="connsiteY86" fmla="*/ 6221686 h 6858000"/>
              <a:gd name="connsiteX87" fmla="*/ 7467600 w 7467600"/>
              <a:gd name="connsiteY87" fmla="*/ 6334256 h 6858000"/>
              <a:gd name="connsiteX88" fmla="*/ 7454976 w 7467600"/>
              <a:gd name="connsiteY88" fmla="*/ 6318297 h 6858000"/>
              <a:gd name="connsiteX89" fmla="*/ 1456157 w 7467600"/>
              <a:gd name="connsiteY89" fmla="*/ 5371404 h 6858000"/>
              <a:gd name="connsiteX90" fmla="*/ 1244432 w 7467600"/>
              <a:gd name="connsiteY90" fmla="*/ 5385601 h 6858000"/>
              <a:gd name="connsiteX91" fmla="*/ 973990 w 7467600"/>
              <a:gd name="connsiteY91" fmla="*/ 5424940 h 6858000"/>
              <a:gd name="connsiteX92" fmla="*/ 1103809 w 7467600"/>
              <a:gd name="connsiteY92" fmla="*/ 5433720 h 6858000"/>
              <a:gd name="connsiteX93" fmla="*/ 1123454 w 7467600"/>
              <a:gd name="connsiteY93" fmla="*/ 5435727 h 6858000"/>
              <a:gd name="connsiteX94" fmla="*/ 1737017 w 7467600"/>
              <a:gd name="connsiteY94" fmla="*/ 5452183 h 6858000"/>
              <a:gd name="connsiteX95" fmla="*/ 1824397 w 7467600"/>
              <a:gd name="connsiteY95" fmla="*/ 5447757 h 6858000"/>
              <a:gd name="connsiteX96" fmla="*/ 2070059 w 7467600"/>
              <a:gd name="connsiteY96" fmla="*/ 5441660 h 6858000"/>
              <a:gd name="connsiteX97" fmla="*/ 1456157 w 7467600"/>
              <a:gd name="connsiteY97" fmla="*/ 5371404 h 6858000"/>
              <a:gd name="connsiteX98" fmla="*/ 4988186 w 7467600"/>
              <a:gd name="connsiteY98" fmla="*/ 5216467 h 6858000"/>
              <a:gd name="connsiteX99" fmla="*/ 4777334 w 7467600"/>
              <a:gd name="connsiteY99" fmla="*/ 5406072 h 6858000"/>
              <a:gd name="connsiteX100" fmla="*/ 4718341 w 7467600"/>
              <a:gd name="connsiteY100" fmla="*/ 5468043 h 6858000"/>
              <a:gd name="connsiteX101" fmla="*/ 4604655 w 7467600"/>
              <a:gd name="connsiteY101" fmla="*/ 5583434 h 6858000"/>
              <a:gd name="connsiteX102" fmla="*/ 4565074 w 7467600"/>
              <a:gd name="connsiteY102" fmla="*/ 5618550 h 6858000"/>
              <a:gd name="connsiteX103" fmla="*/ 4988186 w 7467600"/>
              <a:gd name="connsiteY103" fmla="*/ 5216467 h 6858000"/>
              <a:gd name="connsiteX104" fmla="*/ 4978032 w 7467600"/>
              <a:gd name="connsiteY104" fmla="*/ 5183809 h 6858000"/>
              <a:gd name="connsiteX105" fmla="*/ 4463413 w 7467600"/>
              <a:gd name="connsiteY105" fmla="*/ 5615162 h 6858000"/>
              <a:gd name="connsiteX106" fmla="*/ 4358134 w 7467600"/>
              <a:gd name="connsiteY106" fmla="*/ 5742791 h 6858000"/>
              <a:gd name="connsiteX107" fmla="*/ 4376219 w 7467600"/>
              <a:gd name="connsiteY107" fmla="*/ 5729027 h 6858000"/>
              <a:gd name="connsiteX108" fmla="*/ 4582340 w 7467600"/>
              <a:gd name="connsiteY108" fmla="*/ 5561037 h 6858000"/>
              <a:gd name="connsiteX109" fmla="*/ 4694684 w 7467600"/>
              <a:gd name="connsiteY109" fmla="*/ 5447098 h 6858000"/>
              <a:gd name="connsiteX110" fmla="*/ 4754123 w 7467600"/>
              <a:gd name="connsiteY110" fmla="*/ 5384643 h 6858000"/>
              <a:gd name="connsiteX111" fmla="*/ 4978032 w 7467600"/>
              <a:gd name="connsiteY111" fmla="*/ 5183809 h 6858000"/>
              <a:gd name="connsiteX112" fmla="*/ 1903353 w 7467600"/>
              <a:gd name="connsiteY112" fmla="*/ 5044827 h 6858000"/>
              <a:gd name="connsiteX113" fmla="*/ 1936931 w 7467600"/>
              <a:gd name="connsiteY113" fmla="*/ 5093954 h 6858000"/>
              <a:gd name="connsiteX114" fmla="*/ 2195868 w 7467600"/>
              <a:gd name="connsiteY114" fmla="*/ 5396574 h 6858000"/>
              <a:gd name="connsiteX115" fmla="*/ 2088852 w 7467600"/>
              <a:gd name="connsiteY115" fmla="*/ 5166123 h 6858000"/>
              <a:gd name="connsiteX116" fmla="*/ 1958241 w 7467600"/>
              <a:gd name="connsiteY116" fmla="*/ 5067955 h 6858000"/>
              <a:gd name="connsiteX117" fmla="*/ 1903353 w 7467600"/>
              <a:gd name="connsiteY117" fmla="*/ 5044827 h 6858000"/>
              <a:gd name="connsiteX118" fmla="*/ 1979378 w 7467600"/>
              <a:gd name="connsiteY118" fmla="*/ 4769504 h 6858000"/>
              <a:gd name="connsiteX119" fmla="*/ 2882120 w 7467600"/>
              <a:gd name="connsiteY119" fmla="*/ 5064547 h 6858000"/>
              <a:gd name="connsiteX120" fmla="*/ 2793103 w 7467600"/>
              <a:gd name="connsiteY120" fmla="*/ 5039699 h 6858000"/>
              <a:gd name="connsiteX121" fmla="*/ 2770041 w 7467600"/>
              <a:gd name="connsiteY121" fmla="*/ 5033634 h 6858000"/>
              <a:gd name="connsiteX122" fmla="*/ 1979378 w 7467600"/>
              <a:gd name="connsiteY122" fmla="*/ 4769504 h 6858000"/>
              <a:gd name="connsiteX123" fmla="*/ 1927410 w 7467600"/>
              <a:gd name="connsiteY123" fmla="*/ 4716164 h 6858000"/>
              <a:gd name="connsiteX124" fmla="*/ 1959587 w 7467600"/>
              <a:gd name="connsiteY124" fmla="*/ 4728849 h 6858000"/>
              <a:gd name="connsiteX125" fmla="*/ 2777707 w 7467600"/>
              <a:gd name="connsiteY125" fmla="*/ 5003991 h 6858000"/>
              <a:gd name="connsiteX126" fmla="*/ 2800768 w 7467600"/>
              <a:gd name="connsiteY126" fmla="*/ 5010056 h 6858000"/>
              <a:gd name="connsiteX127" fmla="*/ 2879408 w 7467600"/>
              <a:gd name="connsiteY127" fmla="*/ 5031590 h 6858000"/>
              <a:gd name="connsiteX128" fmla="*/ 2862295 w 7467600"/>
              <a:gd name="connsiteY128" fmla="*/ 5022958 h 6858000"/>
              <a:gd name="connsiteX129" fmla="*/ 2813343 w 7467600"/>
              <a:gd name="connsiteY129" fmla="*/ 4998369 h 6858000"/>
              <a:gd name="connsiteX130" fmla="*/ 2646245 w 7467600"/>
              <a:gd name="connsiteY130" fmla="*/ 4930999 h 6858000"/>
              <a:gd name="connsiteX131" fmla="*/ 1999243 w 7467600"/>
              <a:gd name="connsiteY131" fmla="*/ 4730524 h 6858000"/>
              <a:gd name="connsiteX132" fmla="*/ 1979527 w 7467600"/>
              <a:gd name="connsiteY132" fmla="*/ 4726651 h 6858000"/>
              <a:gd name="connsiteX133" fmla="*/ 1927410 w 7467600"/>
              <a:gd name="connsiteY133" fmla="*/ 4716164 h 6858000"/>
              <a:gd name="connsiteX134" fmla="*/ 1997014 w 7467600"/>
              <a:gd name="connsiteY134" fmla="*/ 4698007 h 6858000"/>
              <a:gd name="connsiteX135" fmla="*/ 2005458 w 7467600"/>
              <a:gd name="connsiteY135" fmla="*/ 4699540 h 6858000"/>
              <a:gd name="connsiteX136" fmla="*/ 2657186 w 7467600"/>
              <a:gd name="connsiteY136" fmla="*/ 4901687 h 6858000"/>
              <a:gd name="connsiteX137" fmla="*/ 2826662 w 7467600"/>
              <a:gd name="connsiteY137" fmla="*/ 4970362 h 6858000"/>
              <a:gd name="connsiteX138" fmla="*/ 2876100 w 7467600"/>
              <a:gd name="connsiteY138" fmla="*/ 4995397 h 6858000"/>
              <a:gd name="connsiteX139" fmla="*/ 3042600 w 7467600"/>
              <a:gd name="connsiteY139" fmla="*/ 5059532 h 6858000"/>
              <a:gd name="connsiteX140" fmla="*/ 1997014 w 7467600"/>
              <a:gd name="connsiteY140" fmla="*/ 4698007 h 6858000"/>
              <a:gd name="connsiteX141" fmla="*/ 2305292 w 7467600"/>
              <a:gd name="connsiteY141" fmla="*/ 4219492 h 6858000"/>
              <a:gd name="connsiteX142" fmla="*/ 3360922 w 7467600"/>
              <a:gd name="connsiteY142" fmla="*/ 4529373 h 6858000"/>
              <a:gd name="connsiteX143" fmla="*/ 3492420 w 7467600"/>
              <a:gd name="connsiteY143" fmla="*/ 4510145 h 6858000"/>
              <a:gd name="connsiteX144" fmla="*/ 3364086 w 7467600"/>
              <a:gd name="connsiteY144" fmla="*/ 4480340 h 6858000"/>
              <a:gd name="connsiteX145" fmla="*/ 3225818 w 7467600"/>
              <a:gd name="connsiteY145" fmla="*/ 4411822 h 6858000"/>
              <a:gd name="connsiteX146" fmla="*/ 3129696 w 7467600"/>
              <a:gd name="connsiteY146" fmla="*/ 4360704 h 6858000"/>
              <a:gd name="connsiteX147" fmla="*/ 2814545 w 7467600"/>
              <a:gd name="connsiteY147" fmla="*/ 4282955 h 6858000"/>
              <a:gd name="connsiteX148" fmla="*/ 2305292 w 7467600"/>
              <a:gd name="connsiteY148" fmla="*/ 4219492 h 6858000"/>
              <a:gd name="connsiteX149" fmla="*/ 2626982 w 7467600"/>
              <a:gd name="connsiteY149" fmla="*/ 4206450 h 6858000"/>
              <a:gd name="connsiteX150" fmla="*/ 2490617 w 7467600"/>
              <a:gd name="connsiteY150" fmla="*/ 4206951 h 6858000"/>
              <a:gd name="connsiteX151" fmla="*/ 2819869 w 7467600"/>
              <a:gd name="connsiteY151" fmla="*/ 4252936 h 6858000"/>
              <a:gd name="connsiteX152" fmla="*/ 3143018 w 7467600"/>
              <a:gd name="connsiteY152" fmla="*/ 4332698 h 6858000"/>
              <a:gd name="connsiteX153" fmla="*/ 3241520 w 7467600"/>
              <a:gd name="connsiteY153" fmla="*/ 4385112 h 6858000"/>
              <a:gd name="connsiteX154" fmla="*/ 3374575 w 7467600"/>
              <a:gd name="connsiteY154" fmla="*/ 4451517 h 6858000"/>
              <a:gd name="connsiteX155" fmla="*/ 3505221 w 7467600"/>
              <a:gd name="connsiteY155" fmla="*/ 4480757 h 6858000"/>
              <a:gd name="connsiteX156" fmla="*/ 2626982 w 7467600"/>
              <a:gd name="connsiteY156" fmla="*/ 4206450 h 6858000"/>
              <a:gd name="connsiteX157" fmla="*/ 1310106 w 7467600"/>
              <a:gd name="connsiteY157" fmla="*/ 3943217 h 6858000"/>
              <a:gd name="connsiteX158" fmla="*/ 854994 w 7467600"/>
              <a:gd name="connsiteY158" fmla="*/ 4399136 h 6858000"/>
              <a:gd name="connsiteX159" fmla="*/ 742462 w 7467600"/>
              <a:gd name="connsiteY159" fmla="*/ 4594648 h 6858000"/>
              <a:gd name="connsiteX160" fmla="*/ 820602 w 7467600"/>
              <a:gd name="connsiteY160" fmla="*/ 4485915 h 6858000"/>
              <a:gd name="connsiteX161" fmla="*/ 878295 w 7467600"/>
              <a:gd name="connsiteY161" fmla="*/ 4403594 h 6858000"/>
              <a:gd name="connsiteX162" fmla="*/ 1240607 w 7467600"/>
              <a:gd name="connsiteY162" fmla="*/ 4010401 h 6858000"/>
              <a:gd name="connsiteX163" fmla="*/ 1310106 w 7467600"/>
              <a:gd name="connsiteY163" fmla="*/ 3943217 h 6858000"/>
              <a:gd name="connsiteX164" fmla="*/ 1423113 w 7467600"/>
              <a:gd name="connsiteY164" fmla="*/ 3874565 h 6858000"/>
              <a:gd name="connsiteX165" fmla="*/ 1260565 w 7467600"/>
              <a:gd name="connsiteY165" fmla="*/ 4031982 h 6858000"/>
              <a:gd name="connsiteX166" fmla="*/ 901900 w 7467600"/>
              <a:gd name="connsiteY166" fmla="*/ 4421236 h 6858000"/>
              <a:gd name="connsiteX167" fmla="*/ 845044 w 7467600"/>
              <a:gd name="connsiteY167" fmla="*/ 4502436 h 6858000"/>
              <a:gd name="connsiteX168" fmla="*/ 685926 w 7467600"/>
              <a:gd name="connsiteY168" fmla="*/ 4703069 h 6858000"/>
              <a:gd name="connsiteX169" fmla="*/ 684248 w 7467600"/>
              <a:gd name="connsiteY169" fmla="*/ 4706721 h 6858000"/>
              <a:gd name="connsiteX170" fmla="*/ 1423113 w 7467600"/>
              <a:gd name="connsiteY170" fmla="*/ 3874565 h 6858000"/>
              <a:gd name="connsiteX171" fmla="*/ 3316479 w 7467600"/>
              <a:gd name="connsiteY171" fmla="*/ 3872136 h 6858000"/>
              <a:gd name="connsiteX172" fmla="*/ 3546806 w 7467600"/>
              <a:gd name="connsiteY172" fmla="*/ 4356139 h 6858000"/>
              <a:gd name="connsiteX173" fmla="*/ 3364433 w 7467600"/>
              <a:gd name="connsiteY173" fmla="*/ 3953121 h 6858000"/>
              <a:gd name="connsiteX174" fmla="*/ 3316479 w 7467600"/>
              <a:gd name="connsiteY174" fmla="*/ 3872136 h 6858000"/>
              <a:gd name="connsiteX175" fmla="*/ 3291335 w 7467600"/>
              <a:gd name="connsiteY175" fmla="*/ 3767420 h 6858000"/>
              <a:gd name="connsiteX176" fmla="*/ 3390805 w 7467600"/>
              <a:gd name="connsiteY176" fmla="*/ 3937163 h 6858000"/>
              <a:gd name="connsiteX177" fmla="*/ 3579062 w 7467600"/>
              <a:gd name="connsiteY177" fmla="*/ 4359040 h 6858000"/>
              <a:gd name="connsiteX178" fmla="*/ 3467355 w 7467600"/>
              <a:gd name="connsiteY178" fmla="*/ 3988130 h 6858000"/>
              <a:gd name="connsiteX179" fmla="*/ 3310753 w 7467600"/>
              <a:gd name="connsiteY179" fmla="*/ 3787140 h 6858000"/>
              <a:gd name="connsiteX180" fmla="*/ 3291335 w 7467600"/>
              <a:gd name="connsiteY180" fmla="*/ 3767420 h 6858000"/>
              <a:gd name="connsiteX181" fmla="*/ 1635889 w 7467600"/>
              <a:gd name="connsiteY181" fmla="*/ 3709494 h 6858000"/>
              <a:gd name="connsiteX182" fmla="*/ 1634800 w 7467600"/>
              <a:gd name="connsiteY182" fmla="*/ 3731111 h 6858000"/>
              <a:gd name="connsiteX183" fmla="*/ 1635889 w 7467600"/>
              <a:gd name="connsiteY183" fmla="*/ 3709494 h 6858000"/>
              <a:gd name="connsiteX184" fmla="*/ 1510397 w 7467600"/>
              <a:gd name="connsiteY184" fmla="*/ 3684705 h 6858000"/>
              <a:gd name="connsiteX185" fmla="*/ 1146550 w 7467600"/>
              <a:gd name="connsiteY185" fmla="*/ 3802012 h 6858000"/>
              <a:gd name="connsiteX186" fmla="*/ 698834 w 7467600"/>
              <a:gd name="connsiteY186" fmla="*/ 3952272 h 6858000"/>
              <a:gd name="connsiteX187" fmla="*/ 34256 w 7467600"/>
              <a:gd name="connsiteY187" fmla="*/ 4347603 h 6858000"/>
              <a:gd name="connsiteX188" fmla="*/ 527241 w 7467600"/>
              <a:gd name="connsiteY188" fmla="*/ 4065078 h 6858000"/>
              <a:gd name="connsiteX189" fmla="*/ 1510397 w 7467600"/>
              <a:gd name="connsiteY189" fmla="*/ 3684705 h 6858000"/>
              <a:gd name="connsiteX190" fmla="*/ 1313114 w 7467600"/>
              <a:gd name="connsiteY190" fmla="*/ 3655216 h 6858000"/>
              <a:gd name="connsiteX191" fmla="*/ 1109304 w 7467600"/>
              <a:gd name="connsiteY191" fmla="*/ 3669030 h 6858000"/>
              <a:gd name="connsiteX192" fmla="*/ 8129 w 7467600"/>
              <a:gd name="connsiteY192" fmla="*/ 4330519 h 6858000"/>
              <a:gd name="connsiteX193" fmla="*/ 687572 w 7467600"/>
              <a:gd name="connsiteY193" fmla="*/ 3925629 h 6858000"/>
              <a:gd name="connsiteX194" fmla="*/ 1138365 w 7467600"/>
              <a:gd name="connsiteY194" fmla="*/ 3774515 h 6858000"/>
              <a:gd name="connsiteX195" fmla="*/ 1505579 w 7467600"/>
              <a:gd name="connsiteY195" fmla="*/ 3655526 h 6858000"/>
              <a:gd name="connsiteX196" fmla="*/ 1313114 w 7467600"/>
              <a:gd name="connsiteY196" fmla="*/ 3655216 h 6858000"/>
              <a:gd name="connsiteX197" fmla="*/ 3655073 w 7467600"/>
              <a:gd name="connsiteY197" fmla="*/ 3650884 h 6858000"/>
              <a:gd name="connsiteX198" fmla="*/ 3989938 w 7467600"/>
              <a:gd name="connsiteY198" fmla="*/ 3991685 h 6858000"/>
              <a:gd name="connsiteX199" fmla="*/ 4393907 w 7467600"/>
              <a:gd name="connsiteY199" fmla="*/ 4261258 h 6858000"/>
              <a:gd name="connsiteX200" fmla="*/ 4648051 w 7467600"/>
              <a:gd name="connsiteY200" fmla="*/ 4374051 h 6858000"/>
              <a:gd name="connsiteX201" fmla="*/ 4383389 w 7467600"/>
              <a:gd name="connsiteY201" fmla="*/ 4184369 h 6858000"/>
              <a:gd name="connsiteX202" fmla="*/ 4165508 w 7467600"/>
              <a:gd name="connsiteY202" fmla="*/ 4035196 h 6858000"/>
              <a:gd name="connsiteX203" fmla="*/ 4068162 w 7467600"/>
              <a:gd name="connsiteY203" fmla="*/ 3953394 h 6858000"/>
              <a:gd name="connsiteX204" fmla="*/ 3981416 w 7467600"/>
              <a:gd name="connsiteY204" fmla="*/ 3880482 h 6858000"/>
              <a:gd name="connsiteX205" fmla="*/ 3800147 w 7467600"/>
              <a:gd name="connsiteY205" fmla="*/ 3749872 h 6858000"/>
              <a:gd name="connsiteX206" fmla="*/ 3655073 w 7467600"/>
              <a:gd name="connsiteY206" fmla="*/ 3650884 h 6858000"/>
              <a:gd name="connsiteX207" fmla="*/ 3670252 w 7467600"/>
              <a:gd name="connsiteY207" fmla="*/ 3622798 h 6858000"/>
              <a:gd name="connsiteX208" fmla="*/ 3817258 w 7467600"/>
              <a:gd name="connsiteY208" fmla="*/ 3723577 h 6858000"/>
              <a:gd name="connsiteX209" fmla="*/ 4000461 w 7467600"/>
              <a:gd name="connsiteY209" fmla="*/ 3855966 h 6858000"/>
              <a:gd name="connsiteX210" fmla="*/ 4088180 w 7467600"/>
              <a:gd name="connsiteY210" fmla="*/ 3929774 h 6858000"/>
              <a:gd name="connsiteX211" fmla="*/ 4184555 w 7467600"/>
              <a:gd name="connsiteY211" fmla="*/ 4010683 h 6858000"/>
              <a:gd name="connsiteX212" fmla="*/ 4399563 w 7467600"/>
              <a:gd name="connsiteY212" fmla="*/ 4158106 h 6858000"/>
              <a:gd name="connsiteX213" fmla="*/ 4684469 w 7467600"/>
              <a:gd name="connsiteY213" fmla="*/ 4364680 h 6858000"/>
              <a:gd name="connsiteX214" fmla="*/ 4690271 w 7467600"/>
              <a:gd name="connsiteY214" fmla="*/ 4370034 h 6858000"/>
              <a:gd name="connsiteX215" fmla="*/ 4136093 w 7467600"/>
              <a:gd name="connsiteY215" fmla="*/ 3858466 h 6858000"/>
              <a:gd name="connsiteX216" fmla="*/ 3670252 w 7467600"/>
              <a:gd name="connsiteY216" fmla="*/ 3622798 h 6858000"/>
              <a:gd name="connsiteX217" fmla="*/ 4440129 w 7467600"/>
              <a:gd name="connsiteY217" fmla="*/ 3448571 h 6858000"/>
              <a:gd name="connsiteX218" fmla="*/ 4856525 w 7467600"/>
              <a:gd name="connsiteY218" fmla="*/ 3915351 h 6858000"/>
              <a:gd name="connsiteX219" fmla="*/ 5059055 w 7467600"/>
              <a:gd name="connsiteY219" fmla="*/ 4108918 h 6858000"/>
              <a:gd name="connsiteX220" fmla="*/ 5290070 w 7467600"/>
              <a:gd name="connsiteY220" fmla="*/ 4263619 h 6858000"/>
              <a:gd name="connsiteX221" fmla="*/ 4834991 w 7467600"/>
              <a:gd name="connsiteY221" fmla="*/ 3830985 h 6858000"/>
              <a:gd name="connsiteX222" fmla="*/ 4440129 w 7467600"/>
              <a:gd name="connsiteY222" fmla="*/ 3448571 h 6858000"/>
              <a:gd name="connsiteX223" fmla="*/ 4441737 w 7467600"/>
              <a:gd name="connsiteY223" fmla="*/ 3399734 h 6858000"/>
              <a:gd name="connsiteX224" fmla="*/ 4431236 w 7467600"/>
              <a:gd name="connsiteY224" fmla="*/ 3400954 h 6858000"/>
              <a:gd name="connsiteX225" fmla="*/ 4557150 w 7467600"/>
              <a:gd name="connsiteY225" fmla="*/ 3510023 h 6858000"/>
              <a:gd name="connsiteX226" fmla="*/ 4856936 w 7467600"/>
              <a:gd name="connsiteY226" fmla="*/ 3809146 h 6858000"/>
              <a:gd name="connsiteX227" fmla="*/ 5111996 w 7467600"/>
              <a:gd name="connsiteY227" fmla="*/ 4065759 h 6858000"/>
              <a:gd name="connsiteX228" fmla="*/ 5388878 w 7467600"/>
              <a:gd name="connsiteY228" fmla="*/ 4300185 h 6858000"/>
              <a:gd name="connsiteX229" fmla="*/ 5425556 w 7467600"/>
              <a:gd name="connsiteY229" fmla="*/ 4308967 h 6858000"/>
              <a:gd name="connsiteX230" fmla="*/ 4943646 w 7467600"/>
              <a:gd name="connsiteY230" fmla="*/ 3822916 h 6858000"/>
              <a:gd name="connsiteX231" fmla="*/ 4594837 w 7467600"/>
              <a:gd name="connsiteY231" fmla="*/ 3532274 h 6858000"/>
              <a:gd name="connsiteX232" fmla="*/ 4441737 w 7467600"/>
              <a:gd name="connsiteY232" fmla="*/ 3399734 h 6858000"/>
              <a:gd name="connsiteX233" fmla="*/ 5425834 w 7467600"/>
              <a:gd name="connsiteY233" fmla="*/ 3162785 h 6858000"/>
              <a:gd name="connsiteX234" fmla="*/ 5401644 w 7467600"/>
              <a:gd name="connsiteY234" fmla="*/ 3617847 h 6858000"/>
              <a:gd name="connsiteX235" fmla="*/ 5467256 w 7467600"/>
              <a:gd name="connsiteY235" fmla="*/ 4175494 h 6858000"/>
              <a:gd name="connsiteX236" fmla="*/ 5448069 w 7467600"/>
              <a:gd name="connsiteY236" fmla="*/ 3567554 h 6858000"/>
              <a:gd name="connsiteX237" fmla="*/ 5425834 w 7467600"/>
              <a:gd name="connsiteY237" fmla="*/ 3162785 h 6858000"/>
              <a:gd name="connsiteX238" fmla="*/ 1318687 w 7467600"/>
              <a:gd name="connsiteY238" fmla="*/ 3113840 h 6858000"/>
              <a:gd name="connsiteX239" fmla="*/ 1066793 w 7467600"/>
              <a:gd name="connsiteY239" fmla="*/ 3212171 h 6858000"/>
              <a:gd name="connsiteX240" fmla="*/ 993319 w 7467600"/>
              <a:gd name="connsiteY240" fmla="*/ 3247648 h 6858000"/>
              <a:gd name="connsiteX241" fmla="*/ 853081 w 7467600"/>
              <a:gd name="connsiteY241" fmla="*/ 3312410 h 6858000"/>
              <a:gd name="connsiteX242" fmla="*/ 805957 w 7467600"/>
              <a:gd name="connsiteY242" fmla="*/ 3330443 h 6858000"/>
              <a:gd name="connsiteX243" fmla="*/ 1318687 w 7467600"/>
              <a:gd name="connsiteY243" fmla="*/ 3113840 h 6858000"/>
              <a:gd name="connsiteX244" fmla="*/ 5453702 w 7467600"/>
              <a:gd name="connsiteY244" fmla="*/ 3090882 h 6858000"/>
              <a:gd name="connsiteX245" fmla="*/ 5480135 w 7467600"/>
              <a:gd name="connsiteY245" fmla="*/ 3565802 h 6858000"/>
              <a:gd name="connsiteX246" fmla="*/ 5499023 w 7467600"/>
              <a:gd name="connsiteY246" fmla="*/ 4166310 h 6858000"/>
              <a:gd name="connsiteX247" fmla="*/ 5547022 w 7467600"/>
              <a:gd name="connsiteY247" fmla="*/ 3607838 h 6858000"/>
              <a:gd name="connsiteX248" fmla="*/ 5515964 w 7467600"/>
              <a:gd name="connsiteY248" fmla="*/ 3378541 h 6858000"/>
              <a:gd name="connsiteX249" fmla="*/ 5453702 w 7467600"/>
              <a:gd name="connsiteY249" fmla="*/ 3090882 h 6858000"/>
              <a:gd name="connsiteX250" fmla="*/ 1238695 w 7467600"/>
              <a:gd name="connsiteY250" fmla="*/ 3076820 h 6858000"/>
              <a:gd name="connsiteX251" fmla="*/ 716371 w 7467600"/>
              <a:gd name="connsiteY251" fmla="*/ 3293249 h 6858000"/>
              <a:gd name="connsiteX252" fmla="*/ 579522 w 7467600"/>
              <a:gd name="connsiteY252" fmla="*/ 3371759 h 6858000"/>
              <a:gd name="connsiteX253" fmla="*/ 600288 w 7467600"/>
              <a:gd name="connsiteY253" fmla="*/ 3365555 h 6858000"/>
              <a:gd name="connsiteX254" fmla="*/ 840692 w 7467600"/>
              <a:gd name="connsiteY254" fmla="*/ 3284921 h 6858000"/>
              <a:gd name="connsiteX255" fmla="*/ 979248 w 7467600"/>
              <a:gd name="connsiteY255" fmla="*/ 3221003 h 6858000"/>
              <a:gd name="connsiteX256" fmla="*/ 1053282 w 7467600"/>
              <a:gd name="connsiteY256" fmla="*/ 3185247 h 6858000"/>
              <a:gd name="connsiteX257" fmla="*/ 1320603 w 7467600"/>
              <a:gd name="connsiteY257" fmla="*/ 3081281 h 6858000"/>
              <a:gd name="connsiteX258" fmla="*/ 1238695 w 7467600"/>
              <a:gd name="connsiteY258" fmla="*/ 3076820 h 6858000"/>
              <a:gd name="connsiteX259" fmla="*/ 5425627 w 7467600"/>
              <a:gd name="connsiteY259" fmla="*/ 2954192 h 6858000"/>
              <a:gd name="connsiteX260" fmla="*/ 5470770 w 7467600"/>
              <a:gd name="connsiteY260" fmla="*/ 3005435 h 6858000"/>
              <a:gd name="connsiteX261" fmla="*/ 5519779 w 7467600"/>
              <a:gd name="connsiteY261" fmla="*/ 4359223 h 6858000"/>
              <a:gd name="connsiteX262" fmla="*/ 5520293 w 7467600"/>
              <a:gd name="connsiteY262" fmla="*/ 4360602 h 6858000"/>
              <a:gd name="connsiteX263" fmla="*/ 5767221 w 7467600"/>
              <a:gd name="connsiteY263" fmla="*/ 4665564 h 6858000"/>
              <a:gd name="connsiteX264" fmla="*/ 6937169 w 7467600"/>
              <a:gd name="connsiteY264" fmla="*/ 4815941 h 6858000"/>
              <a:gd name="connsiteX265" fmla="*/ 6953922 w 7467600"/>
              <a:gd name="connsiteY265" fmla="*/ 4890068 h 6858000"/>
              <a:gd name="connsiteX266" fmla="*/ 6071359 w 7467600"/>
              <a:gd name="connsiteY266" fmla="*/ 4770770 h 6858000"/>
              <a:gd name="connsiteX267" fmla="*/ 6038839 w 7467600"/>
              <a:gd name="connsiteY267" fmla="*/ 4764474 h 6858000"/>
              <a:gd name="connsiteX268" fmla="*/ 6038706 w 7467600"/>
              <a:gd name="connsiteY268" fmla="*/ 4763847 h 6858000"/>
              <a:gd name="connsiteX269" fmla="*/ 6037784 w 7467600"/>
              <a:gd name="connsiteY269" fmla="*/ 4764270 h 6858000"/>
              <a:gd name="connsiteX270" fmla="*/ 6038839 w 7467600"/>
              <a:gd name="connsiteY270" fmla="*/ 4764474 h 6858000"/>
              <a:gd name="connsiteX271" fmla="*/ 6040338 w 7467600"/>
              <a:gd name="connsiteY271" fmla="*/ 4771418 h 6858000"/>
              <a:gd name="connsiteX272" fmla="*/ 6024488 w 7467600"/>
              <a:gd name="connsiteY272" fmla="*/ 4809903 h 6858000"/>
              <a:gd name="connsiteX273" fmla="*/ 5599771 w 7467600"/>
              <a:gd name="connsiteY273" fmla="*/ 5509652 h 6858000"/>
              <a:gd name="connsiteX274" fmla="*/ 5548843 w 7467600"/>
              <a:gd name="connsiteY274" fmla="*/ 5563845 h 6858000"/>
              <a:gd name="connsiteX275" fmla="*/ 5940952 w 7467600"/>
              <a:gd name="connsiteY275" fmla="*/ 6250028 h 6858000"/>
              <a:gd name="connsiteX276" fmla="*/ 6043441 w 7467600"/>
              <a:gd name="connsiteY276" fmla="*/ 6665847 h 6858000"/>
              <a:gd name="connsiteX277" fmla="*/ 6093432 w 7467600"/>
              <a:gd name="connsiteY277" fmla="*/ 6858000 h 6858000"/>
              <a:gd name="connsiteX278" fmla="*/ 6034344 w 7467600"/>
              <a:gd name="connsiteY278" fmla="*/ 6858000 h 6858000"/>
              <a:gd name="connsiteX279" fmla="*/ 6026679 w 7467600"/>
              <a:gd name="connsiteY279" fmla="*/ 6836959 h 6858000"/>
              <a:gd name="connsiteX280" fmla="*/ 5800441 w 7467600"/>
              <a:gd name="connsiteY280" fmla="*/ 6335286 h 6858000"/>
              <a:gd name="connsiteX281" fmla="*/ 5526562 w 7467600"/>
              <a:gd name="connsiteY281" fmla="*/ 5705388 h 6858000"/>
              <a:gd name="connsiteX282" fmla="*/ 5519640 w 7467600"/>
              <a:gd name="connsiteY282" fmla="*/ 5683774 h 6858000"/>
              <a:gd name="connsiteX283" fmla="*/ 5844559 w 7467600"/>
              <a:gd name="connsiteY283" fmla="*/ 6553349 h 6858000"/>
              <a:gd name="connsiteX284" fmla="*/ 5975994 w 7467600"/>
              <a:gd name="connsiteY284" fmla="*/ 6858000 h 6858000"/>
              <a:gd name="connsiteX285" fmla="*/ 5898547 w 7467600"/>
              <a:gd name="connsiteY285" fmla="*/ 6858000 h 6858000"/>
              <a:gd name="connsiteX286" fmla="*/ 5682041 w 7467600"/>
              <a:gd name="connsiteY286" fmla="*/ 6355860 h 6858000"/>
              <a:gd name="connsiteX287" fmla="*/ 5461758 w 7467600"/>
              <a:gd name="connsiteY287" fmla="*/ 5820220 h 6858000"/>
              <a:gd name="connsiteX288" fmla="*/ 5237282 w 7467600"/>
              <a:gd name="connsiteY288" fmla="*/ 6579086 h 6858000"/>
              <a:gd name="connsiteX289" fmla="*/ 5115009 w 7467600"/>
              <a:gd name="connsiteY289" fmla="*/ 6858000 h 6858000"/>
              <a:gd name="connsiteX290" fmla="*/ 5028074 w 7467600"/>
              <a:gd name="connsiteY290" fmla="*/ 6858000 h 6858000"/>
              <a:gd name="connsiteX291" fmla="*/ 5079508 w 7467600"/>
              <a:gd name="connsiteY291" fmla="*/ 6749074 h 6858000"/>
              <a:gd name="connsiteX292" fmla="*/ 5371846 w 7467600"/>
              <a:gd name="connsiteY292" fmla="*/ 5924413 h 6858000"/>
              <a:gd name="connsiteX293" fmla="*/ 5270512 w 7467600"/>
              <a:gd name="connsiteY293" fmla="*/ 6138975 h 6858000"/>
              <a:gd name="connsiteX294" fmla="*/ 5062409 w 7467600"/>
              <a:gd name="connsiteY294" fmla="*/ 6653544 h 6858000"/>
              <a:gd name="connsiteX295" fmla="*/ 5036628 w 7467600"/>
              <a:gd name="connsiteY295" fmla="*/ 6754247 h 6858000"/>
              <a:gd name="connsiteX296" fmla="*/ 5009112 w 7467600"/>
              <a:gd name="connsiteY296" fmla="*/ 6858000 h 6858000"/>
              <a:gd name="connsiteX297" fmla="*/ 4976679 w 7467600"/>
              <a:gd name="connsiteY297" fmla="*/ 6858000 h 6858000"/>
              <a:gd name="connsiteX298" fmla="*/ 5006537 w 7467600"/>
              <a:gd name="connsiteY298" fmla="*/ 6747068 h 6858000"/>
              <a:gd name="connsiteX299" fmla="*/ 5032723 w 7467600"/>
              <a:gd name="connsiteY299" fmla="*/ 6644957 h 6858000"/>
              <a:gd name="connsiteX300" fmla="*/ 5242949 w 7467600"/>
              <a:gd name="connsiteY300" fmla="*/ 6125175 h 6858000"/>
              <a:gd name="connsiteX301" fmla="*/ 5286321 w 7467600"/>
              <a:gd name="connsiteY301" fmla="*/ 6033555 h 6858000"/>
              <a:gd name="connsiteX302" fmla="*/ 5008210 w 7467600"/>
              <a:gd name="connsiteY302" fmla="*/ 6649194 h 6858000"/>
              <a:gd name="connsiteX303" fmla="*/ 4986321 w 7467600"/>
              <a:gd name="connsiteY303" fmla="*/ 6765687 h 6858000"/>
              <a:gd name="connsiteX304" fmla="*/ 4973474 w 7467600"/>
              <a:gd name="connsiteY304" fmla="*/ 6858000 h 6858000"/>
              <a:gd name="connsiteX305" fmla="*/ 4907178 w 7467600"/>
              <a:gd name="connsiteY305" fmla="*/ 6858000 h 6858000"/>
              <a:gd name="connsiteX306" fmla="*/ 4910810 w 7467600"/>
              <a:gd name="connsiteY306" fmla="*/ 6829660 h 6858000"/>
              <a:gd name="connsiteX307" fmla="*/ 4987461 w 7467600"/>
              <a:gd name="connsiteY307" fmla="*/ 6432994 h 6858000"/>
              <a:gd name="connsiteX308" fmla="*/ 5179262 w 7467600"/>
              <a:gd name="connsiteY308" fmla="*/ 6035044 h 6858000"/>
              <a:gd name="connsiteX309" fmla="*/ 4689678 w 7467600"/>
              <a:gd name="connsiteY309" fmla="*/ 6440241 h 6858000"/>
              <a:gd name="connsiteX310" fmla="*/ 4477543 w 7467600"/>
              <a:gd name="connsiteY310" fmla="*/ 6674836 h 6858000"/>
              <a:gd name="connsiteX311" fmla="*/ 4329957 w 7467600"/>
              <a:gd name="connsiteY311" fmla="*/ 6858000 h 6858000"/>
              <a:gd name="connsiteX312" fmla="*/ 4218595 w 7467600"/>
              <a:gd name="connsiteY312" fmla="*/ 6858000 h 6858000"/>
              <a:gd name="connsiteX313" fmla="*/ 4368888 w 7467600"/>
              <a:gd name="connsiteY313" fmla="*/ 6668412 h 6858000"/>
              <a:gd name="connsiteX314" fmla="*/ 4563091 w 7467600"/>
              <a:gd name="connsiteY314" fmla="*/ 6442508 h 6858000"/>
              <a:gd name="connsiteX315" fmla="*/ 5387324 w 7467600"/>
              <a:gd name="connsiteY315" fmla="*/ 5705830 h 6858000"/>
              <a:gd name="connsiteX316" fmla="*/ 5073620 w 7467600"/>
              <a:gd name="connsiteY316" fmla="*/ 5955437 h 6858000"/>
              <a:gd name="connsiteX317" fmla="*/ 4689789 w 7467600"/>
              <a:gd name="connsiteY317" fmla="*/ 6268382 h 6858000"/>
              <a:gd name="connsiteX318" fmla="*/ 4418722 w 7467600"/>
              <a:gd name="connsiteY318" fmla="*/ 6570886 h 6858000"/>
              <a:gd name="connsiteX319" fmla="*/ 4214944 w 7467600"/>
              <a:gd name="connsiteY319" fmla="*/ 6858000 h 6858000"/>
              <a:gd name="connsiteX320" fmla="*/ 4177898 w 7467600"/>
              <a:gd name="connsiteY320" fmla="*/ 6858000 h 6858000"/>
              <a:gd name="connsiteX321" fmla="*/ 4391597 w 7467600"/>
              <a:gd name="connsiteY321" fmla="*/ 6556370 h 6858000"/>
              <a:gd name="connsiteX322" fmla="*/ 4668889 w 7467600"/>
              <a:gd name="connsiteY322" fmla="*/ 6246399 h 6858000"/>
              <a:gd name="connsiteX323" fmla="*/ 5055427 w 7467600"/>
              <a:gd name="connsiteY323" fmla="*/ 5931476 h 6858000"/>
              <a:gd name="connsiteX324" fmla="*/ 5371814 w 7467600"/>
              <a:gd name="connsiteY324" fmla="*/ 5678975 h 6858000"/>
              <a:gd name="connsiteX325" fmla="*/ 4987918 w 7467600"/>
              <a:gd name="connsiteY325" fmla="*/ 5838701 h 6858000"/>
              <a:gd name="connsiteX326" fmla="*/ 4317146 w 7467600"/>
              <a:gd name="connsiteY326" fmla="*/ 6587716 h 6858000"/>
              <a:gd name="connsiteX327" fmla="*/ 4171627 w 7467600"/>
              <a:gd name="connsiteY327" fmla="*/ 6858000 h 6858000"/>
              <a:gd name="connsiteX328" fmla="*/ 4081585 w 7467600"/>
              <a:gd name="connsiteY328" fmla="*/ 6858000 h 6858000"/>
              <a:gd name="connsiteX329" fmla="*/ 4238603 w 7467600"/>
              <a:gd name="connsiteY329" fmla="*/ 6559341 h 6858000"/>
              <a:gd name="connsiteX330" fmla="*/ 4778333 w 7467600"/>
              <a:gd name="connsiteY330" fmla="*/ 5873626 h 6858000"/>
              <a:gd name="connsiteX331" fmla="*/ 5414185 w 7467600"/>
              <a:gd name="connsiteY331" fmla="*/ 5573882 h 6858000"/>
              <a:gd name="connsiteX332" fmla="*/ 5959648 w 7467600"/>
              <a:gd name="connsiteY332" fmla="*/ 4760797 h 6858000"/>
              <a:gd name="connsiteX333" fmla="*/ 5355019 w 7467600"/>
              <a:gd name="connsiteY333" fmla="*/ 4734672 h 6858000"/>
              <a:gd name="connsiteX334" fmla="*/ 5083565 w 7467600"/>
              <a:gd name="connsiteY334" fmla="*/ 5179121 h 6858000"/>
              <a:gd name="connsiteX335" fmla="*/ 4713577 w 7467600"/>
              <a:gd name="connsiteY335" fmla="*/ 5616803 h 6858000"/>
              <a:gd name="connsiteX336" fmla="*/ 3989559 w 7467600"/>
              <a:gd name="connsiteY336" fmla="*/ 6145945 h 6858000"/>
              <a:gd name="connsiteX337" fmla="*/ 3939824 w 7467600"/>
              <a:gd name="connsiteY337" fmla="*/ 6066900 h 6858000"/>
              <a:gd name="connsiteX338" fmla="*/ 4584537 w 7467600"/>
              <a:gd name="connsiteY338" fmla="*/ 5324826 h 6858000"/>
              <a:gd name="connsiteX339" fmla="*/ 5037105 w 7467600"/>
              <a:gd name="connsiteY339" fmla="*/ 5088765 h 6858000"/>
              <a:gd name="connsiteX340" fmla="*/ 5039930 w 7467600"/>
              <a:gd name="connsiteY340" fmla="*/ 5089585 h 6858000"/>
              <a:gd name="connsiteX341" fmla="*/ 5263764 w 7467600"/>
              <a:gd name="connsiteY341" fmla="*/ 4735525 h 6858000"/>
              <a:gd name="connsiteX342" fmla="*/ 4086300 w 7467600"/>
              <a:gd name="connsiteY342" fmla="*/ 4884599 h 6858000"/>
              <a:gd name="connsiteX343" fmla="*/ 4085485 w 7467600"/>
              <a:gd name="connsiteY343" fmla="*/ 4899070 h 6858000"/>
              <a:gd name="connsiteX344" fmla="*/ 3871915 w 7467600"/>
              <a:gd name="connsiteY344" fmla="*/ 5253645 h 6858000"/>
              <a:gd name="connsiteX345" fmla="*/ 3799374 w 7467600"/>
              <a:gd name="connsiteY345" fmla="*/ 5466127 h 6858000"/>
              <a:gd name="connsiteX346" fmla="*/ 3498850 w 7467600"/>
              <a:gd name="connsiteY346" fmla="*/ 6661888 h 6858000"/>
              <a:gd name="connsiteX347" fmla="*/ 3399216 w 7467600"/>
              <a:gd name="connsiteY347" fmla="*/ 6858000 h 6858000"/>
              <a:gd name="connsiteX348" fmla="*/ 3303688 w 7467600"/>
              <a:gd name="connsiteY348" fmla="*/ 6858000 h 6858000"/>
              <a:gd name="connsiteX349" fmla="*/ 3391774 w 7467600"/>
              <a:gd name="connsiteY349" fmla="*/ 6697181 h 6858000"/>
              <a:gd name="connsiteX350" fmla="*/ 3735540 w 7467600"/>
              <a:gd name="connsiteY350" fmla="*/ 5546923 h 6858000"/>
              <a:gd name="connsiteX351" fmla="*/ 3729438 w 7467600"/>
              <a:gd name="connsiteY351" fmla="*/ 5569058 h 6858000"/>
              <a:gd name="connsiteX352" fmla="*/ 3707782 w 7467600"/>
              <a:gd name="connsiteY352" fmla="*/ 5644908 h 6858000"/>
              <a:gd name="connsiteX353" fmla="*/ 3583827 w 7467600"/>
              <a:gd name="connsiteY353" fmla="*/ 6039215 h 6858000"/>
              <a:gd name="connsiteX354" fmla="*/ 3547861 w 7467600"/>
              <a:gd name="connsiteY354" fmla="*/ 6129609 h 6858000"/>
              <a:gd name="connsiteX355" fmla="*/ 3490905 w 7467600"/>
              <a:gd name="connsiteY355" fmla="*/ 6277660 h 6858000"/>
              <a:gd name="connsiteX356" fmla="*/ 3455859 w 7467600"/>
              <a:gd name="connsiteY356" fmla="*/ 6391301 h 6858000"/>
              <a:gd name="connsiteX357" fmla="*/ 3429112 w 7467600"/>
              <a:gd name="connsiteY357" fmla="*/ 6479469 h 6858000"/>
              <a:gd name="connsiteX358" fmla="*/ 3304862 w 7467600"/>
              <a:gd name="connsiteY358" fmla="*/ 6796476 h 6858000"/>
              <a:gd name="connsiteX359" fmla="*/ 3276071 w 7467600"/>
              <a:gd name="connsiteY359" fmla="*/ 6858000 h 6858000"/>
              <a:gd name="connsiteX360" fmla="*/ 3240805 w 7467600"/>
              <a:gd name="connsiteY360" fmla="*/ 6858000 h 6858000"/>
              <a:gd name="connsiteX361" fmla="*/ 3275917 w 7467600"/>
              <a:gd name="connsiteY361" fmla="*/ 6783192 h 6858000"/>
              <a:gd name="connsiteX362" fmla="*/ 3399358 w 7467600"/>
              <a:gd name="connsiteY362" fmla="*/ 6469011 h 6858000"/>
              <a:gd name="connsiteX363" fmla="*/ 3425650 w 7467600"/>
              <a:gd name="connsiteY363" fmla="*/ 6381333 h 6858000"/>
              <a:gd name="connsiteX364" fmla="*/ 3460661 w 7467600"/>
              <a:gd name="connsiteY364" fmla="*/ 6266763 h 6858000"/>
              <a:gd name="connsiteX365" fmla="*/ 3518021 w 7467600"/>
              <a:gd name="connsiteY365" fmla="*/ 6117298 h 6858000"/>
              <a:gd name="connsiteX366" fmla="*/ 3554035 w 7467600"/>
              <a:gd name="connsiteY366" fmla="*/ 6027832 h 6858000"/>
              <a:gd name="connsiteX367" fmla="*/ 3677174 w 7467600"/>
              <a:gd name="connsiteY367" fmla="*/ 5636351 h 6858000"/>
              <a:gd name="connsiteX368" fmla="*/ 3698819 w 7467600"/>
              <a:gd name="connsiteY368" fmla="*/ 5560503 h 6858000"/>
              <a:gd name="connsiteX369" fmla="*/ 3702094 w 7467600"/>
              <a:gd name="connsiteY369" fmla="*/ 5549194 h 6858000"/>
              <a:gd name="connsiteX370" fmla="*/ 3398355 w 7467600"/>
              <a:gd name="connsiteY370" fmla="*/ 6094603 h 6858000"/>
              <a:gd name="connsiteX371" fmla="*/ 3193941 w 7467600"/>
              <a:gd name="connsiteY371" fmla="*/ 6798775 h 6858000"/>
              <a:gd name="connsiteX372" fmla="*/ 3184140 w 7467600"/>
              <a:gd name="connsiteY372" fmla="*/ 6858000 h 6858000"/>
              <a:gd name="connsiteX373" fmla="*/ 3099978 w 7467600"/>
              <a:gd name="connsiteY373" fmla="*/ 6858000 h 6858000"/>
              <a:gd name="connsiteX374" fmla="*/ 3101556 w 7467600"/>
              <a:gd name="connsiteY374" fmla="*/ 6843337 h 6858000"/>
              <a:gd name="connsiteX375" fmla="*/ 3370162 w 7467600"/>
              <a:gd name="connsiteY375" fmla="*/ 5785550 h 6858000"/>
              <a:gd name="connsiteX376" fmla="*/ 3746477 w 7467600"/>
              <a:gd name="connsiteY376" fmla="*/ 5377889 h 6858000"/>
              <a:gd name="connsiteX377" fmla="*/ 3863399 w 7467600"/>
              <a:gd name="connsiteY377" fmla="*/ 5087257 h 6858000"/>
              <a:gd name="connsiteX378" fmla="*/ 3968712 w 7467600"/>
              <a:gd name="connsiteY378" fmla="*/ 4913989 h 6858000"/>
              <a:gd name="connsiteX379" fmla="*/ 2792390 w 7467600"/>
              <a:gd name="connsiteY379" fmla="*/ 5382974 h 6858000"/>
              <a:gd name="connsiteX380" fmla="*/ 2714982 w 7467600"/>
              <a:gd name="connsiteY380" fmla="*/ 5427051 h 6858000"/>
              <a:gd name="connsiteX381" fmla="*/ 2813361 w 7467600"/>
              <a:gd name="connsiteY381" fmla="*/ 6023912 h 6858000"/>
              <a:gd name="connsiteX382" fmla="*/ 2688430 w 7467600"/>
              <a:gd name="connsiteY382" fmla="*/ 6801564 h 6858000"/>
              <a:gd name="connsiteX383" fmla="*/ 2629626 w 7467600"/>
              <a:gd name="connsiteY383" fmla="*/ 6763394 h 6858000"/>
              <a:gd name="connsiteX384" fmla="*/ 2565328 w 7467600"/>
              <a:gd name="connsiteY384" fmla="*/ 5516399 h 6858000"/>
              <a:gd name="connsiteX385" fmla="*/ 1922999 w 7467600"/>
              <a:gd name="connsiteY385" fmla="*/ 5980343 h 6858000"/>
              <a:gd name="connsiteX386" fmla="*/ 1950261 w 7467600"/>
              <a:gd name="connsiteY386" fmla="*/ 6405858 h 6858000"/>
              <a:gd name="connsiteX387" fmla="*/ 2365554 w 7467600"/>
              <a:gd name="connsiteY387" fmla="*/ 6759107 h 6858000"/>
              <a:gd name="connsiteX388" fmla="*/ 2424142 w 7467600"/>
              <a:gd name="connsiteY388" fmla="*/ 6858000 h 6858000"/>
              <a:gd name="connsiteX389" fmla="*/ 2395994 w 7467600"/>
              <a:gd name="connsiteY389" fmla="*/ 6858000 h 6858000"/>
              <a:gd name="connsiteX390" fmla="*/ 2392863 w 7467600"/>
              <a:gd name="connsiteY390" fmla="*/ 6852964 h 6858000"/>
              <a:gd name="connsiteX391" fmla="*/ 2017589 w 7467600"/>
              <a:gd name="connsiteY391" fmla="*/ 6493982 h 6858000"/>
              <a:gd name="connsiteX392" fmla="*/ 2147336 w 7467600"/>
              <a:gd name="connsiteY392" fmla="*/ 6594052 h 6858000"/>
              <a:gd name="connsiteX393" fmla="*/ 2207047 w 7467600"/>
              <a:gd name="connsiteY393" fmla="*/ 6654540 h 6858000"/>
              <a:gd name="connsiteX394" fmla="*/ 2299106 w 7467600"/>
              <a:gd name="connsiteY394" fmla="*/ 6778931 h 6858000"/>
              <a:gd name="connsiteX395" fmla="*/ 2314430 w 7467600"/>
              <a:gd name="connsiteY395" fmla="*/ 6801144 h 6858000"/>
              <a:gd name="connsiteX396" fmla="*/ 2352406 w 7467600"/>
              <a:gd name="connsiteY396" fmla="*/ 6858000 h 6858000"/>
              <a:gd name="connsiteX397" fmla="*/ 2314492 w 7467600"/>
              <a:gd name="connsiteY397" fmla="*/ 6858000 h 6858000"/>
              <a:gd name="connsiteX398" fmla="*/ 2288095 w 7467600"/>
              <a:gd name="connsiteY398" fmla="*/ 6818030 h 6858000"/>
              <a:gd name="connsiteX399" fmla="*/ 2272768 w 7467600"/>
              <a:gd name="connsiteY399" fmla="*/ 6795822 h 6858000"/>
              <a:gd name="connsiteX400" fmla="*/ 2182715 w 7467600"/>
              <a:gd name="connsiteY400" fmla="*/ 6675071 h 6858000"/>
              <a:gd name="connsiteX401" fmla="*/ 2032061 w 7467600"/>
              <a:gd name="connsiteY401" fmla="*/ 6541380 h 6858000"/>
              <a:gd name="connsiteX402" fmla="*/ 2257220 w 7467600"/>
              <a:gd name="connsiteY402" fmla="*/ 6826257 h 6858000"/>
              <a:gd name="connsiteX403" fmla="*/ 2281324 w 7467600"/>
              <a:gd name="connsiteY403" fmla="*/ 6858000 h 6858000"/>
              <a:gd name="connsiteX404" fmla="*/ 2242860 w 7467600"/>
              <a:gd name="connsiteY404" fmla="*/ 6858000 h 6858000"/>
              <a:gd name="connsiteX405" fmla="*/ 2232818 w 7467600"/>
              <a:gd name="connsiteY405" fmla="*/ 6844926 h 6858000"/>
              <a:gd name="connsiteX406" fmla="*/ 1990172 w 7467600"/>
              <a:gd name="connsiteY406" fmla="*/ 6542121 h 6858000"/>
              <a:gd name="connsiteX407" fmla="*/ 2124090 w 7467600"/>
              <a:gd name="connsiteY407" fmla="*/ 6761017 h 6858000"/>
              <a:gd name="connsiteX408" fmla="*/ 2200380 w 7467600"/>
              <a:gd name="connsiteY408" fmla="*/ 6858000 h 6858000"/>
              <a:gd name="connsiteX409" fmla="*/ 2147507 w 7467600"/>
              <a:gd name="connsiteY409" fmla="*/ 6858000 h 6858000"/>
              <a:gd name="connsiteX410" fmla="*/ 2070668 w 7467600"/>
              <a:gd name="connsiteY410" fmla="*/ 6761520 h 6858000"/>
              <a:gd name="connsiteX411" fmla="*/ 1975142 w 7467600"/>
              <a:gd name="connsiteY411" fmla="*/ 6585570 h 6858000"/>
              <a:gd name="connsiteX412" fmla="*/ 2050035 w 7467600"/>
              <a:gd name="connsiteY412" fmla="*/ 6813345 h 6858000"/>
              <a:gd name="connsiteX413" fmla="*/ 2063025 w 7467600"/>
              <a:gd name="connsiteY413" fmla="*/ 6858000 h 6858000"/>
              <a:gd name="connsiteX414" fmla="*/ 2021675 w 7467600"/>
              <a:gd name="connsiteY414" fmla="*/ 6858000 h 6858000"/>
              <a:gd name="connsiteX415" fmla="*/ 2019308 w 7467600"/>
              <a:gd name="connsiteY415" fmla="*/ 6847118 h 6858000"/>
              <a:gd name="connsiteX416" fmla="*/ 1938835 w 7467600"/>
              <a:gd name="connsiteY416" fmla="*/ 6551160 h 6858000"/>
              <a:gd name="connsiteX417" fmla="*/ 1953230 w 7467600"/>
              <a:gd name="connsiteY417" fmla="*/ 6759699 h 6858000"/>
              <a:gd name="connsiteX418" fmla="*/ 1956763 w 7467600"/>
              <a:gd name="connsiteY418" fmla="*/ 6778191 h 6858000"/>
              <a:gd name="connsiteX419" fmla="*/ 1967925 w 7467600"/>
              <a:gd name="connsiteY419" fmla="*/ 6858000 h 6858000"/>
              <a:gd name="connsiteX420" fmla="*/ 1936622 w 7467600"/>
              <a:gd name="connsiteY420" fmla="*/ 6858000 h 6858000"/>
              <a:gd name="connsiteX421" fmla="*/ 1926261 w 7467600"/>
              <a:gd name="connsiteY421" fmla="*/ 6784064 h 6858000"/>
              <a:gd name="connsiteX422" fmla="*/ 1922724 w 7467600"/>
              <a:gd name="connsiteY422" fmla="*/ 6765577 h 6858000"/>
              <a:gd name="connsiteX423" fmla="*/ 1904650 w 7467600"/>
              <a:gd name="connsiteY423" fmla="*/ 6639616 h 6858000"/>
              <a:gd name="connsiteX424" fmla="*/ 1885273 w 7467600"/>
              <a:gd name="connsiteY424" fmla="*/ 6858000 h 6858000"/>
              <a:gd name="connsiteX425" fmla="*/ 1854363 w 7467600"/>
              <a:gd name="connsiteY425" fmla="*/ 6858000 h 6858000"/>
              <a:gd name="connsiteX426" fmla="*/ 1880391 w 7467600"/>
              <a:gd name="connsiteY426" fmla="*/ 6603796 h 6858000"/>
              <a:gd name="connsiteX427" fmla="*/ 1818273 w 7467600"/>
              <a:gd name="connsiteY427" fmla="*/ 6715729 h 6858000"/>
              <a:gd name="connsiteX428" fmla="*/ 1794691 w 7467600"/>
              <a:gd name="connsiteY428" fmla="*/ 6843239 h 6858000"/>
              <a:gd name="connsiteX429" fmla="*/ 1794914 w 7467600"/>
              <a:gd name="connsiteY429" fmla="*/ 6858000 h 6858000"/>
              <a:gd name="connsiteX430" fmla="*/ 1746128 w 7467600"/>
              <a:gd name="connsiteY430" fmla="*/ 6858000 h 6858000"/>
              <a:gd name="connsiteX431" fmla="*/ 1753934 w 7467600"/>
              <a:gd name="connsiteY431" fmla="*/ 6724796 h 6858000"/>
              <a:gd name="connsiteX432" fmla="*/ 1792053 w 7467600"/>
              <a:gd name="connsiteY432" fmla="*/ 6572396 h 6858000"/>
              <a:gd name="connsiteX433" fmla="*/ 1862248 w 7467600"/>
              <a:gd name="connsiteY433" fmla="*/ 6266397 h 6858000"/>
              <a:gd name="connsiteX434" fmla="*/ 1862250 w 7467600"/>
              <a:gd name="connsiteY434" fmla="*/ 6033531 h 6858000"/>
              <a:gd name="connsiteX435" fmla="*/ 1211999 w 7467600"/>
              <a:gd name="connsiteY435" fmla="*/ 6683610 h 6858000"/>
              <a:gd name="connsiteX436" fmla="*/ 1213266 w 7467600"/>
              <a:gd name="connsiteY436" fmla="*/ 6691947 h 6858000"/>
              <a:gd name="connsiteX437" fmla="*/ 1203370 w 7467600"/>
              <a:gd name="connsiteY437" fmla="*/ 6850676 h 6858000"/>
              <a:gd name="connsiteX438" fmla="*/ 1203671 w 7467600"/>
              <a:gd name="connsiteY438" fmla="*/ 6858000 h 6858000"/>
              <a:gd name="connsiteX439" fmla="*/ 1143180 w 7467600"/>
              <a:gd name="connsiteY439" fmla="*/ 6858000 h 6858000"/>
              <a:gd name="connsiteX440" fmla="*/ 1142176 w 7467600"/>
              <a:gd name="connsiteY440" fmla="*/ 6766045 h 6858000"/>
              <a:gd name="connsiteX441" fmla="*/ 1067484 w 7467600"/>
              <a:gd name="connsiteY441" fmla="*/ 6858000 h 6858000"/>
              <a:gd name="connsiteX442" fmla="*/ 953928 w 7467600"/>
              <a:gd name="connsiteY442" fmla="*/ 6858000 h 6858000"/>
              <a:gd name="connsiteX443" fmla="*/ 959715 w 7467600"/>
              <a:gd name="connsiteY443" fmla="*/ 6850185 h 6858000"/>
              <a:gd name="connsiteX444" fmla="*/ 1483788 w 7467600"/>
              <a:gd name="connsiteY444" fmla="*/ 6259174 h 6858000"/>
              <a:gd name="connsiteX445" fmla="*/ 1100671 w 7467600"/>
              <a:gd name="connsiteY445" fmla="*/ 6252137 h 6858000"/>
              <a:gd name="connsiteX446" fmla="*/ 1090144 w 7467600"/>
              <a:gd name="connsiteY446" fmla="*/ 6256748 h 6858000"/>
              <a:gd name="connsiteX447" fmla="*/ 1095872 w 7467600"/>
              <a:gd name="connsiteY447" fmla="*/ 6271892 h 6858000"/>
              <a:gd name="connsiteX448" fmla="*/ 262785 w 7467600"/>
              <a:gd name="connsiteY448" fmla="*/ 6845450 h 6858000"/>
              <a:gd name="connsiteX449" fmla="*/ 209968 w 7467600"/>
              <a:gd name="connsiteY449" fmla="*/ 6770713 h 6858000"/>
              <a:gd name="connsiteX450" fmla="*/ 873460 w 7467600"/>
              <a:gd name="connsiteY450" fmla="*/ 6253768 h 6858000"/>
              <a:gd name="connsiteX451" fmla="*/ 192686 w 7467600"/>
              <a:gd name="connsiteY451" fmla="*/ 5849257 h 6858000"/>
              <a:gd name="connsiteX452" fmla="*/ 4696 w 7467600"/>
              <a:gd name="connsiteY452" fmla="*/ 5697668 h 6858000"/>
              <a:gd name="connsiteX453" fmla="*/ 0 w 7467600"/>
              <a:gd name="connsiteY453" fmla="*/ 5689984 h 6858000"/>
              <a:gd name="connsiteX454" fmla="*/ 0 w 7467600"/>
              <a:gd name="connsiteY454" fmla="*/ 5513472 h 6858000"/>
              <a:gd name="connsiteX455" fmla="*/ 174101 w 7467600"/>
              <a:gd name="connsiteY455" fmla="*/ 5620277 h 6858000"/>
              <a:gd name="connsiteX456" fmla="*/ 891800 w 7467600"/>
              <a:gd name="connsiteY456" fmla="*/ 6036935 h 6858000"/>
              <a:gd name="connsiteX457" fmla="*/ 1072219 w 7467600"/>
              <a:gd name="connsiteY457" fmla="*/ 6169443 h 6858000"/>
              <a:gd name="connsiteX458" fmla="*/ 1074117 w 7467600"/>
              <a:gd name="connsiteY458" fmla="*/ 6170301 h 6858000"/>
              <a:gd name="connsiteX459" fmla="*/ 1083114 w 7467600"/>
              <a:gd name="connsiteY459" fmla="*/ 6174131 h 6858000"/>
              <a:gd name="connsiteX460" fmla="*/ 1543010 w 7467600"/>
              <a:gd name="connsiteY460" fmla="*/ 6191140 h 6858000"/>
              <a:gd name="connsiteX461" fmla="*/ 1551080 w 7467600"/>
              <a:gd name="connsiteY461" fmla="*/ 6195006 h 6858000"/>
              <a:gd name="connsiteX462" fmla="*/ 2345443 w 7467600"/>
              <a:gd name="connsiteY462" fmla="*/ 5549882 h 6858000"/>
              <a:gd name="connsiteX463" fmla="*/ 1721499 w 7467600"/>
              <a:gd name="connsiteY463" fmla="*/ 5599969 h 6858000"/>
              <a:gd name="connsiteX464" fmla="*/ 767716 w 7467600"/>
              <a:gd name="connsiteY464" fmla="*/ 5472768 h 6858000"/>
              <a:gd name="connsiteX465" fmla="*/ 722147 w 7467600"/>
              <a:gd name="connsiteY465" fmla="*/ 5393091 h 6858000"/>
              <a:gd name="connsiteX466" fmla="*/ 1485552 w 7467600"/>
              <a:gd name="connsiteY466" fmla="*/ 5313202 h 6858000"/>
              <a:gd name="connsiteX467" fmla="*/ 2143004 w 7467600"/>
              <a:gd name="connsiteY467" fmla="*/ 5402420 h 6858000"/>
              <a:gd name="connsiteX468" fmla="*/ 1933391 w 7467600"/>
              <a:gd name="connsiteY468" fmla="*/ 5156971 h 6858000"/>
              <a:gd name="connsiteX469" fmla="*/ 1827118 w 7467600"/>
              <a:gd name="connsiteY469" fmla="*/ 4968410 h 6858000"/>
              <a:gd name="connsiteX470" fmla="*/ 1837349 w 7467600"/>
              <a:gd name="connsiteY470" fmla="*/ 4956357 h 6858000"/>
              <a:gd name="connsiteX471" fmla="*/ 2162835 w 7467600"/>
              <a:gd name="connsiteY471" fmla="*/ 5187853 h 6858000"/>
              <a:gd name="connsiteX472" fmla="*/ 2257167 w 7467600"/>
              <a:gd name="connsiteY472" fmla="*/ 5462123 h 6858000"/>
              <a:gd name="connsiteX473" fmla="*/ 2261598 w 7467600"/>
              <a:gd name="connsiteY473" fmla="*/ 5467998 h 6858000"/>
              <a:gd name="connsiteX474" fmla="*/ 2437177 w 7467600"/>
              <a:gd name="connsiteY474" fmla="*/ 5479608 h 6858000"/>
              <a:gd name="connsiteX475" fmla="*/ 2445247 w 7467600"/>
              <a:gd name="connsiteY475" fmla="*/ 5483476 h 6858000"/>
              <a:gd name="connsiteX476" fmla="*/ 2743626 w 7467600"/>
              <a:gd name="connsiteY476" fmla="*/ 5304819 h 6858000"/>
              <a:gd name="connsiteX477" fmla="*/ 3048102 w 7467600"/>
              <a:gd name="connsiteY477" fmla="*/ 5150595 h 6858000"/>
              <a:gd name="connsiteX478" fmla="*/ 1799414 w 7467600"/>
              <a:gd name="connsiteY478" fmla="*/ 4694732 h 6858000"/>
              <a:gd name="connsiteX479" fmla="*/ 1771735 w 7467600"/>
              <a:gd name="connsiteY479" fmla="*/ 4619929 h 6858000"/>
              <a:gd name="connsiteX480" fmla="*/ 3104273 w 7467600"/>
              <a:gd name="connsiteY480" fmla="*/ 5076159 h 6858000"/>
              <a:gd name="connsiteX481" fmla="*/ 3113245 w 7467600"/>
              <a:gd name="connsiteY481" fmla="*/ 5090705 h 6858000"/>
              <a:gd name="connsiteX482" fmla="*/ 3126294 w 7467600"/>
              <a:gd name="connsiteY482" fmla="*/ 5114400 h 6858000"/>
              <a:gd name="connsiteX483" fmla="*/ 3937433 w 7467600"/>
              <a:gd name="connsiteY483" fmla="*/ 4830473 h 6858000"/>
              <a:gd name="connsiteX484" fmla="*/ 3590475 w 7467600"/>
              <a:gd name="connsiteY484" fmla="*/ 4597974 h 6858000"/>
              <a:gd name="connsiteX485" fmla="*/ 3100264 w 7467600"/>
              <a:gd name="connsiteY485" fmla="*/ 4579845 h 6858000"/>
              <a:gd name="connsiteX486" fmla="*/ 2183576 w 7467600"/>
              <a:gd name="connsiteY486" fmla="*/ 4227150 h 6858000"/>
              <a:gd name="connsiteX487" fmla="*/ 2151029 w 7467600"/>
              <a:gd name="connsiteY487" fmla="*/ 4146947 h 6858000"/>
              <a:gd name="connsiteX488" fmla="*/ 3563434 w 7467600"/>
              <a:gd name="connsiteY488" fmla="*/ 4469115 h 6858000"/>
              <a:gd name="connsiteX489" fmla="*/ 3177952 w 7467600"/>
              <a:gd name="connsiteY489" fmla="*/ 3657386 h 6858000"/>
              <a:gd name="connsiteX490" fmla="*/ 3189263 w 7467600"/>
              <a:gd name="connsiteY490" fmla="*/ 3625726 h 6858000"/>
              <a:gd name="connsiteX491" fmla="*/ 3560912 w 7467600"/>
              <a:gd name="connsiteY491" fmla="*/ 4079863 h 6858000"/>
              <a:gd name="connsiteX492" fmla="*/ 3626636 w 7467600"/>
              <a:gd name="connsiteY492" fmla="*/ 4512230 h 6858000"/>
              <a:gd name="connsiteX493" fmla="*/ 3653088 w 7467600"/>
              <a:gd name="connsiteY493" fmla="*/ 4521417 h 6858000"/>
              <a:gd name="connsiteX494" fmla="*/ 3988128 w 7467600"/>
              <a:gd name="connsiteY494" fmla="*/ 4817267 h 6858000"/>
              <a:gd name="connsiteX495" fmla="*/ 4830582 w 7467600"/>
              <a:gd name="connsiteY495" fmla="*/ 4676000 h 6858000"/>
              <a:gd name="connsiteX496" fmla="*/ 4830100 w 7467600"/>
              <a:gd name="connsiteY496" fmla="*/ 4675554 h 6858000"/>
              <a:gd name="connsiteX497" fmla="*/ 4036318 w 7467600"/>
              <a:gd name="connsiteY497" fmla="*/ 4147013 h 6858000"/>
              <a:gd name="connsiteX498" fmla="*/ 3432098 w 7467600"/>
              <a:gd name="connsiteY498" fmla="*/ 3537312 h 6858000"/>
              <a:gd name="connsiteX499" fmla="*/ 3446761 w 7467600"/>
              <a:gd name="connsiteY499" fmla="*/ 3461278 h 6858000"/>
              <a:gd name="connsiteX500" fmla="*/ 4419733 w 7467600"/>
              <a:gd name="connsiteY500" fmla="*/ 3963555 h 6858000"/>
              <a:gd name="connsiteX501" fmla="*/ 4781371 w 7467600"/>
              <a:gd name="connsiteY501" fmla="*/ 4458604 h 6858000"/>
              <a:gd name="connsiteX502" fmla="*/ 4780440 w 7467600"/>
              <a:gd name="connsiteY502" fmla="*/ 4470290 h 6858000"/>
              <a:gd name="connsiteX503" fmla="*/ 4898954 w 7467600"/>
              <a:gd name="connsiteY503" fmla="*/ 4662092 h 6858000"/>
              <a:gd name="connsiteX504" fmla="*/ 4900699 w 7467600"/>
              <a:gd name="connsiteY504" fmla="*/ 4670867 h 6858000"/>
              <a:gd name="connsiteX505" fmla="*/ 5714511 w 7467600"/>
              <a:gd name="connsiteY505" fmla="*/ 4663483 h 6858000"/>
              <a:gd name="connsiteX506" fmla="*/ 5464793 w 7467600"/>
              <a:gd name="connsiteY506" fmla="*/ 4393556 h 6858000"/>
              <a:gd name="connsiteX507" fmla="*/ 5461897 w 7467600"/>
              <a:gd name="connsiteY507" fmla="*/ 4390879 h 6858000"/>
              <a:gd name="connsiteX508" fmla="*/ 4294126 w 7467600"/>
              <a:gd name="connsiteY508" fmla="*/ 3303048 h 6858000"/>
              <a:gd name="connsiteX509" fmla="*/ 4305321 w 7467600"/>
              <a:gd name="connsiteY509" fmla="*/ 3256953 h 6858000"/>
              <a:gd name="connsiteX510" fmla="*/ 4949299 w 7467600"/>
              <a:gd name="connsiteY510" fmla="*/ 3766336 h 6858000"/>
              <a:gd name="connsiteX511" fmla="*/ 5291452 w 7467600"/>
              <a:gd name="connsiteY511" fmla="*/ 4076801 h 6858000"/>
              <a:gd name="connsiteX512" fmla="*/ 5434998 w 7467600"/>
              <a:gd name="connsiteY512" fmla="*/ 4254100 h 6858000"/>
              <a:gd name="connsiteX513" fmla="*/ 5351015 w 7467600"/>
              <a:gd name="connsiteY513" fmla="*/ 3760989 h 6858000"/>
              <a:gd name="connsiteX514" fmla="*/ 5413780 w 7467600"/>
              <a:gd name="connsiteY514" fmla="*/ 2966265 h 6858000"/>
              <a:gd name="connsiteX515" fmla="*/ 5425627 w 7467600"/>
              <a:gd name="connsiteY515" fmla="*/ 2954192 h 6858000"/>
              <a:gd name="connsiteX516" fmla="*/ 6604735 w 7467600"/>
              <a:gd name="connsiteY516" fmla="*/ 2041381 h 6858000"/>
              <a:gd name="connsiteX517" fmla="*/ 7204487 w 7467600"/>
              <a:gd name="connsiteY517" fmla="*/ 2742112 h 6858000"/>
              <a:gd name="connsiteX518" fmla="*/ 7131592 w 7467600"/>
              <a:gd name="connsiteY518" fmla="*/ 2672096 h 6858000"/>
              <a:gd name="connsiteX519" fmla="*/ 6996344 w 7467600"/>
              <a:gd name="connsiteY519" fmla="*/ 2518310 h 6858000"/>
              <a:gd name="connsiteX520" fmla="*/ 6735495 w 7467600"/>
              <a:gd name="connsiteY520" fmla="*/ 2196890 h 6858000"/>
              <a:gd name="connsiteX521" fmla="*/ 6721901 w 7467600"/>
              <a:gd name="connsiteY521" fmla="*/ 2179274 h 6858000"/>
              <a:gd name="connsiteX522" fmla="*/ 6604735 w 7467600"/>
              <a:gd name="connsiteY522" fmla="*/ 2041381 h 6858000"/>
              <a:gd name="connsiteX523" fmla="*/ 6591670 w 7467600"/>
              <a:gd name="connsiteY523" fmla="*/ 1988277 h 6858000"/>
              <a:gd name="connsiteX524" fmla="*/ 6747349 w 7467600"/>
              <a:gd name="connsiteY524" fmla="*/ 2160069 h 6858000"/>
              <a:gd name="connsiteX525" fmla="*/ 6760943 w 7467600"/>
              <a:gd name="connsiteY525" fmla="*/ 2177686 h 6858000"/>
              <a:gd name="connsiteX526" fmla="*/ 7021065 w 7467600"/>
              <a:gd name="connsiteY526" fmla="*/ 2498102 h 6858000"/>
              <a:gd name="connsiteX527" fmla="*/ 7155223 w 7467600"/>
              <a:gd name="connsiteY527" fmla="*/ 2650386 h 6858000"/>
              <a:gd name="connsiteX528" fmla="*/ 7203167 w 7467600"/>
              <a:gd name="connsiteY528" fmla="*/ 2697288 h 6858000"/>
              <a:gd name="connsiteX529" fmla="*/ 6937703 w 7467600"/>
              <a:gd name="connsiteY529" fmla="*/ 2321981 h 6858000"/>
              <a:gd name="connsiteX530" fmla="*/ 6591670 w 7467600"/>
              <a:gd name="connsiteY530" fmla="*/ 1988277 h 6858000"/>
              <a:gd name="connsiteX531" fmla="*/ 5798671 w 7467600"/>
              <a:gd name="connsiteY531" fmla="*/ 1981601 h 6858000"/>
              <a:gd name="connsiteX532" fmla="*/ 5754709 w 7467600"/>
              <a:gd name="connsiteY532" fmla="*/ 2071454 h 6858000"/>
              <a:gd name="connsiteX533" fmla="*/ 5763044 w 7467600"/>
              <a:gd name="connsiteY533" fmla="*/ 2842206 h 6858000"/>
              <a:gd name="connsiteX534" fmla="*/ 5764974 w 7467600"/>
              <a:gd name="connsiteY534" fmla="*/ 2799609 h 6858000"/>
              <a:gd name="connsiteX535" fmla="*/ 5767665 w 7467600"/>
              <a:gd name="connsiteY535" fmla="*/ 2666409 h 6858000"/>
              <a:gd name="connsiteX536" fmla="*/ 5763055 w 7467600"/>
              <a:gd name="connsiteY536" fmla="*/ 2579705 h 6858000"/>
              <a:gd name="connsiteX537" fmla="*/ 5758079 w 7467600"/>
              <a:gd name="connsiteY537" fmla="*/ 2492508 h 6858000"/>
              <a:gd name="connsiteX538" fmla="*/ 5779325 w 7467600"/>
              <a:gd name="connsiteY538" fmla="*/ 2197069 h 6858000"/>
              <a:gd name="connsiteX539" fmla="*/ 5798671 w 7467600"/>
              <a:gd name="connsiteY539" fmla="*/ 1981601 h 6858000"/>
              <a:gd name="connsiteX540" fmla="*/ 5829202 w 7467600"/>
              <a:gd name="connsiteY540" fmla="*/ 1971679 h 6858000"/>
              <a:gd name="connsiteX541" fmla="*/ 5809558 w 7467600"/>
              <a:gd name="connsiteY541" fmla="*/ 2198043 h 6858000"/>
              <a:gd name="connsiteX542" fmla="*/ 5788653 w 7467600"/>
              <a:gd name="connsiteY542" fmla="*/ 2489430 h 6858000"/>
              <a:gd name="connsiteX543" fmla="*/ 5793439 w 7467600"/>
              <a:gd name="connsiteY543" fmla="*/ 2575235 h 6858000"/>
              <a:gd name="connsiteX544" fmla="*/ 5796837 w 7467600"/>
              <a:gd name="connsiteY544" fmla="*/ 2637633 h 6858000"/>
              <a:gd name="connsiteX545" fmla="*/ 5818614 w 7467600"/>
              <a:gd name="connsiteY545" fmla="*/ 2473055 h 6858000"/>
              <a:gd name="connsiteX546" fmla="*/ 5829202 w 7467600"/>
              <a:gd name="connsiteY546" fmla="*/ 1971679 h 6858000"/>
              <a:gd name="connsiteX547" fmla="*/ 5911389 w 7467600"/>
              <a:gd name="connsiteY547" fmla="*/ 1898371 h 6858000"/>
              <a:gd name="connsiteX548" fmla="*/ 6237627 w 7467600"/>
              <a:gd name="connsiteY548" fmla="*/ 2231921 h 6858000"/>
              <a:gd name="connsiteX549" fmla="*/ 5911389 w 7467600"/>
              <a:gd name="connsiteY549" fmla="*/ 1898371 h 6858000"/>
              <a:gd name="connsiteX550" fmla="*/ 6944437 w 7467600"/>
              <a:gd name="connsiteY550" fmla="*/ 1575402 h 6858000"/>
              <a:gd name="connsiteX551" fmla="*/ 6304730 w 7467600"/>
              <a:gd name="connsiteY551" fmla="*/ 1766654 h 6858000"/>
              <a:gd name="connsiteX552" fmla="*/ 6944437 w 7467600"/>
              <a:gd name="connsiteY552" fmla="*/ 1575402 h 6858000"/>
              <a:gd name="connsiteX553" fmla="*/ 7019523 w 7467600"/>
              <a:gd name="connsiteY553" fmla="*/ 1519450 h 6858000"/>
              <a:gd name="connsiteX554" fmla="*/ 6298091 w 7467600"/>
              <a:gd name="connsiteY554" fmla="*/ 1737122 h 6858000"/>
              <a:gd name="connsiteX555" fmla="*/ 7019523 w 7467600"/>
              <a:gd name="connsiteY555" fmla="*/ 1519450 h 6858000"/>
              <a:gd name="connsiteX556" fmla="*/ 2399523 w 7467600"/>
              <a:gd name="connsiteY556" fmla="*/ 1428234 h 6858000"/>
              <a:gd name="connsiteX557" fmla="*/ 2224982 w 7467600"/>
              <a:gd name="connsiteY557" fmla="*/ 1826201 h 6858000"/>
              <a:gd name="connsiteX558" fmla="*/ 2096099 w 7467600"/>
              <a:gd name="connsiteY558" fmla="*/ 2345900 h 6858000"/>
              <a:gd name="connsiteX559" fmla="*/ 2283317 w 7467600"/>
              <a:gd name="connsiteY559" fmla="*/ 1796925 h 6858000"/>
              <a:gd name="connsiteX560" fmla="*/ 2399523 w 7467600"/>
              <a:gd name="connsiteY560" fmla="*/ 1428234 h 6858000"/>
              <a:gd name="connsiteX561" fmla="*/ 2448558 w 7467600"/>
              <a:gd name="connsiteY561" fmla="*/ 1373435 h 6858000"/>
              <a:gd name="connsiteX562" fmla="*/ 2312521 w 7467600"/>
              <a:gd name="connsiteY562" fmla="*/ 1806140 h 6858000"/>
              <a:gd name="connsiteX563" fmla="*/ 2127533 w 7467600"/>
              <a:gd name="connsiteY563" fmla="*/ 2348380 h 6858000"/>
              <a:gd name="connsiteX564" fmla="*/ 2358080 w 7467600"/>
              <a:gd name="connsiteY564" fmla="*/ 1866134 h 6858000"/>
              <a:gd name="connsiteX565" fmla="*/ 2407436 w 7467600"/>
              <a:gd name="connsiteY565" fmla="*/ 1651070 h 6858000"/>
              <a:gd name="connsiteX566" fmla="*/ 2448558 w 7467600"/>
              <a:gd name="connsiteY566" fmla="*/ 1373435 h 6858000"/>
              <a:gd name="connsiteX567" fmla="*/ 278707 w 7467600"/>
              <a:gd name="connsiteY567" fmla="*/ 1352270 h 6858000"/>
              <a:gd name="connsiteX568" fmla="*/ 321570 w 7467600"/>
              <a:gd name="connsiteY568" fmla="*/ 1861610 h 6858000"/>
              <a:gd name="connsiteX569" fmla="*/ 294281 w 7467600"/>
              <a:gd name="connsiteY569" fmla="*/ 1440658 h 6858000"/>
              <a:gd name="connsiteX570" fmla="*/ 278707 w 7467600"/>
              <a:gd name="connsiteY570" fmla="*/ 1352270 h 6858000"/>
              <a:gd name="connsiteX571" fmla="*/ 1423821 w 7467600"/>
              <a:gd name="connsiteY571" fmla="*/ 1351958 h 6858000"/>
              <a:gd name="connsiteX572" fmla="*/ 1638521 w 7467600"/>
              <a:gd name="connsiteY572" fmla="*/ 1908470 h 6858000"/>
              <a:gd name="connsiteX573" fmla="*/ 1754199 w 7467600"/>
              <a:gd name="connsiteY573" fmla="*/ 2149284 h 6858000"/>
              <a:gd name="connsiteX574" fmla="*/ 1908359 w 7467600"/>
              <a:gd name="connsiteY574" fmla="*/ 2364988 h 6858000"/>
              <a:gd name="connsiteX575" fmla="*/ 1647661 w 7467600"/>
              <a:gd name="connsiteY575" fmla="*/ 1825945 h 6858000"/>
              <a:gd name="connsiteX576" fmla="*/ 1423821 w 7467600"/>
              <a:gd name="connsiteY576" fmla="*/ 1351958 h 6858000"/>
              <a:gd name="connsiteX577" fmla="*/ 1431890 w 7467600"/>
              <a:gd name="connsiteY577" fmla="*/ 1306475 h 6858000"/>
              <a:gd name="connsiteX578" fmla="*/ 1507597 w 7467600"/>
              <a:gd name="connsiteY578" fmla="*/ 1446132 h 6858000"/>
              <a:gd name="connsiteX579" fmla="*/ 1674586 w 7467600"/>
              <a:gd name="connsiteY579" fmla="*/ 1813832 h 6858000"/>
              <a:gd name="connsiteX580" fmla="*/ 1815950 w 7467600"/>
              <a:gd name="connsiteY580" fmla="*/ 2128564 h 6858000"/>
              <a:gd name="connsiteX581" fmla="*/ 1984242 w 7467600"/>
              <a:gd name="connsiteY581" fmla="*/ 2430829 h 6858000"/>
              <a:gd name="connsiteX582" fmla="*/ 2014023 w 7467600"/>
              <a:gd name="connsiteY582" fmla="*/ 2450995 h 6858000"/>
              <a:gd name="connsiteX583" fmla="*/ 1747337 w 7467600"/>
              <a:gd name="connsiteY583" fmla="*/ 1855264 h 6858000"/>
              <a:gd name="connsiteX584" fmla="*/ 1533749 w 7467600"/>
              <a:gd name="connsiteY584" fmla="*/ 1478656 h 6858000"/>
              <a:gd name="connsiteX585" fmla="*/ 1431890 w 7467600"/>
              <a:gd name="connsiteY585" fmla="*/ 1306475 h 6858000"/>
              <a:gd name="connsiteX586" fmla="*/ 5052692 w 7467600"/>
              <a:gd name="connsiteY586" fmla="*/ 1292994 h 6858000"/>
              <a:gd name="connsiteX587" fmla="*/ 5200661 w 7467600"/>
              <a:gd name="connsiteY587" fmla="*/ 1635186 h 6858000"/>
              <a:gd name="connsiteX588" fmla="*/ 5297138 w 7467600"/>
              <a:gd name="connsiteY588" fmla="*/ 1906351 h 6858000"/>
              <a:gd name="connsiteX589" fmla="*/ 5052692 w 7467600"/>
              <a:gd name="connsiteY589" fmla="*/ 1292994 h 6858000"/>
              <a:gd name="connsiteX590" fmla="*/ 5009948 w 7467600"/>
              <a:gd name="connsiteY590" fmla="*/ 1273619 h 6858000"/>
              <a:gd name="connsiteX591" fmla="*/ 5121777 w 7467600"/>
              <a:gd name="connsiteY591" fmla="*/ 1654213 h 6858000"/>
              <a:gd name="connsiteX592" fmla="*/ 5293545 w 7467600"/>
              <a:gd name="connsiteY592" fmla="*/ 2072247 h 6858000"/>
              <a:gd name="connsiteX593" fmla="*/ 5294042 w 7467600"/>
              <a:gd name="connsiteY593" fmla="*/ 2065019 h 6858000"/>
              <a:gd name="connsiteX594" fmla="*/ 5171936 w 7467600"/>
              <a:gd name="connsiteY594" fmla="*/ 1647613 h 6858000"/>
              <a:gd name="connsiteX595" fmla="*/ 5009948 w 7467600"/>
              <a:gd name="connsiteY595" fmla="*/ 1273619 h 6858000"/>
              <a:gd name="connsiteX596" fmla="*/ 655236 w 7467600"/>
              <a:gd name="connsiteY596" fmla="*/ 1268632 h 6858000"/>
              <a:gd name="connsiteX597" fmla="*/ 839521 w 7467600"/>
              <a:gd name="connsiteY597" fmla="*/ 1685315 h 6858000"/>
              <a:gd name="connsiteX598" fmla="*/ 1109416 w 7467600"/>
              <a:gd name="connsiteY598" fmla="*/ 2061663 h 6858000"/>
              <a:gd name="connsiteX599" fmla="*/ 1298300 w 7467600"/>
              <a:gd name="connsiteY599" fmla="*/ 2247742 h 6858000"/>
              <a:gd name="connsiteX600" fmla="*/ 1125871 w 7467600"/>
              <a:gd name="connsiteY600" fmla="*/ 1989513 h 6858000"/>
              <a:gd name="connsiteX601" fmla="*/ 981574 w 7467600"/>
              <a:gd name="connsiteY601" fmla="*/ 1783157 h 6858000"/>
              <a:gd name="connsiteX602" fmla="*/ 922198 w 7467600"/>
              <a:gd name="connsiteY602" fmla="*/ 1677437 h 6858000"/>
              <a:gd name="connsiteX603" fmla="*/ 869293 w 7467600"/>
              <a:gd name="connsiteY603" fmla="*/ 1583214 h 6858000"/>
              <a:gd name="connsiteX604" fmla="*/ 751431 w 7467600"/>
              <a:gd name="connsiteY604" fmla="*/ 1405731 h 6858000"/>
              <a:gd name="connsiteX605" fmla="*/ 655236 w 7467600"/>
              <a:gd name="connsiteY605" fmla="*/ 1268632 h 6858000"/>
              <a:gd name="connsiteX606" fmla="*/ 6516292 w 7467600"/>
              <a:gd name="connsiteY606" fmla="*/ 1263064 h 6858000"/>
              <a:gd name="connsiteX607" fmla="*/ 5736320 w 7467600"/>
              <a:gd name="connsiteY607" fmla="*/ 1501803 h 6858000"/>
              <a:gd name="connsiteX608" fmla="*/ 6516292 w 7467600"/>
              <a:gd name="connsiteY608" fmla="*/ 1263064 h 6858000"/>
              <a:gd name="connsiteX609" fmla="*/ 291466 w 7467600"/>
              <a:gd name="connsiteY609" fmla="*/ 1250369 h 6858000"/>
              <a:gd name="connsiteX610" fmla="*/ 323180 w 7467600"/>
              <a:gd name="connsiteY610" fmla="*/ 1435283 h 6858000"/>
              <a:gd name="connsiteX611" fmla="*/ 349381 w 7467600"/>
              <a:gd name="connsiteY611" fmla="*/ 1875041 h 6858000"/>
              <a:gd name="connsiteX612" fmla="*/ 374363 w 7467600"/>
              <a:gd name="connsiteY612" fmla="*/ 1506494 h 6858000"/>
              <a:gd name="connsiteX613" fmla="*/ 302168 w 7467600"/>
              <a:gd name="connsiteY613" fmla="*/ 1274495 h 6858000"/>
              <a:gd name="connsiteX614" fmla="*/ 291466 w 7467600"/>
              <a:gd name="connsiteY614" fmla="*/ 1250369 h 6858000"/>
              <a:gd name="connsiteX615" fmla="*/ 678222 w 7467600"/>
              <a:gd name="connsiteY615" fmla="*/ 1248670 h 6858000"/>
              <a:gd name="connsiteX616" fmla="*/ 775536 w 7467600"/>
              <a:gd name="connsiteY616" fmla="*/ 1388015 h 6858000"/>
              <a:gd name="connsiteX617" fmla="*/ 894529 w 7467600"/>
              <a:gd name="connsiteY617" fmla="*/ 1567739 h 6858000"/>
              <a:gd name="connsiteX618" fmla="*/ 948000 w 7467600"/>
              <a:gd name="connsiteY618" fmla="*/ 1663088 h 6858000"/>
              <a:gd name="connsiteX619" fmla="*/ 1006812 w 7467600"/>
              <a:gd name="connsiteY619" fmla="*/ 1767683 h 6858000"/>
              <a:gd name="connsiteX620" fmla="*/ 1149133 w 7467600"/>
              <a:gd name="connsiteY620" fmla="*/ 1971513 h 6858000"/>
              <a:gd name="connsiteX621" fmla="*/ 1333952 w 7467600"/>
              <a:gd name="connsiteY621" fmla="*/ 2251620 h 6858000"/>
              <a:gd name="connsiteX622" fmla="*/ 1337329 w 7467600"/>
              <a:gd name="connsiteY622" fmla="*/ 2258350 h 6858000"/>
              <a:gd name="connsiteX623" fmla="*/ 1014726 w 7467600"/>
              <a:gd name="connsiteY623" fmla="*/ 1615556 h 6858000"/>
              <a:gd name="connsiteX624" fmla="*/ 678222 w 7467600"/>
              <a:gd name="connsiteY624" fmla="*/ 1248670 h 6858000"/>
              <a:gd name="connsiteX625" fmla="*/ 6691602 w 7467600"/>
              <a:gd name="connsiteY625" fmla="*/ 1140573 h 6858000"/>
              <a:gd name="connsiteX626" fmla="*/ 6571100 w 7467600"/>
              <a:gd name="connsiteY626" fmla="*/ 1183662 h 6858000"/>
              <a:gd name="connsiteX627" fmla="*/ 6241687 w 7467600"/>
              <a:gd name="connsiteY627" fmla="*/ 1257600 h 6858000"/>
              <a:gd name="connsiteX628" fmla="*/ 5693009 w 7467600"/>
              <a:gd name="connsiteY628" fmla="*/ 1478256 h 6858000"/>
              <a:gd name="connsiteX629" fmla="*/ 6548420 w 7467600"/>
              <a:gd name="connsiteY629" fmla="*/ 1214599 h 6858000"/>
              <a:gd name="connsiteX630" fmla="*/ 6605473 w 7467600"/>
              <a:gd name="connsiteY630" fmla="*/ 1184686 h 6858000"/>
              <a:gd name="connsiteX631" fmla="*/ 6691602 w 7467600"/>
              <a:gd name="connsiteY631" fmla="*/ 1140573 h 6858000"/>
              <a:gd name="connsiteX632" fmla="*/ 4002475 w 7467600"/>
              <a:gd name="connsiteY632" fmla="*/ 1037802 h 6858000"/>
              <a:gd name="connsiteX633" fmla="*/ 4000324 w 7467600"/>
              <a:gd name="connsiteY633" fmla="*/ 1039362 h 6858000"/>
              <a:gd name="connsiteX634" fmla="*/ 4002862 w 7467600"/>
              <a:gd name="connsiteY634" fmla="*/ 1042866 h 6858000"/>
              <a:gd name="connsiteX635" fmla="*/ 4002475 w 7467600"/>
              <a:gd name="connsiteY635" fmla="*/ 1037802 h 6858000"/>
              <a:gd name="connsiteX636" fmla="*/ 506322 w 7467600"/>
              <a:gd name="connsiteY636" fmla="*/ 1020997 h 6858000"/>
              <a:gd name="connsiteX637" fmla="*/ 533068 w 7467600"/>
              <a:gd name="connsiteY637" fmla="*/ 1029409 h 6858000"/>
              <a:gd name="connsiteX638" fmla="*/ 1232525 w 7467600"/>
              <a:gd name="connsiteY638" fmla="*/ 1804675 h 6858000"/>
              <a:gd name="connsiteX639" fmla="*/ 1388858 w 7467600"/>
              <a:gd name="connsiteY639" fmla="*/ 2368011 h 6858000"/>
              <a:gd name="connsiteX640" fmla="*/ 1384098 w 7467600"/>
              <a:gd name="connsiteY640" fmla="*/ 2378125 h 6858000"/>
              <a:gd name="connsiteX641" fmla="*/ 1425393 w 7467600"/>
              <a:gd name="connsiteY641" fmla="*/ 2589124 h 6858000"/>
              <a:gd name="connsiteX642" fmla="*/ 1424001 w 7467600"/>
              <a:gd name="connsiteY642" fmla="*/ 2597541 h 6858000"/>
              <a:gd name="connsiteX643" fmla="*/ 2152729 w 7467600"/>
              <a:gd name="connsiteY643" fmla="*/ 2864487 h 6858000"/>
              <a:gd name="connsiteX644" fmla="*/ 2020609 w 7467600"/>
              <a:gd name="connsiteY644" fmla="*/ 2539671 h 6858000"/>
              <a:gd name="connsiteX645" fmla="*/ 2018920 w 7467600"/>
              <a:gd name="connsiteY645" fmla="*/ 2536309 h 6858000"/>
              <a:gd name="connsiteX646" fmla="*/ 1342441 w 7467600"/>
              <a:gd name="connsiteY646" fmla="*/ 1173017 h 6858000"/>
              <a:gd name="connsiteX647" fmla="*/ 1367925 w 7467600"/>
              <a:gd name="connsiteY647" fmla="*/ 1135648 h 6858000"/>
              <a:gd name="connsiteX648" fmla="*/ 1771401 w 7467600"/>
              <a:gd name="connsiteY648" fmla="*/ 1806673 h 6858000"/>
              <a:gd name="connsiteX649" fmla="*/ 1972385 w 7467600"/>
              <a:gd name="connsiteY649" fmla="*/ 2198735 h 6858000"/>
              <a:gd name="connsiteX650" fmla="*/ 2040892 w 7467600"/>
              <a:gd name="connsiteY650" fmla="*/ 2405205 h 6858000"/>
              <a:gd name="connsiteX651" fmla="*/ 2131689 w 7467600"/>
              <a:gd name="connsiteY651" fmla="*/ 1936926 h 6858000"/>
              <a:gd name="connsiteX652" fmla="*/ 2454820 w 7467600"/>
              <a:gd name="connsiteY652" fmla="*/ 1248808 h 6858000"/>
              <a:gd name="connsiteX653" fmla="*/ 2492512 w 7467600"/>
              <a:gd name="connsiteY653" fmla="*/ 1302920 h 6858000"/>
              <a:gd name="connsiteX654" fmla="*/ 2081216 w 7467600"/>
              <a:gd name="connsiteY654" fmla="*/ 2527513 h 6858000"/>
              <a:gd name="connsiteX655" fmla="*/ 2081211 w 7467600"/>
              <a:gd name="connsiteY655" fmla="*/ 2528916 h 6858000"/>
              <a:gd name="connsiteX656" fmla="*/ 2199067 w 7467600"/>
              <a:gd name="connsiteY656" fmla="*/ 2884061 h 6858000"/>
              <a:gd name="connsiteX657" fmla="*/ 3192586 w 7467600"/>
              <a:gd name="connsiteY657" fmla="*/ 3411496 h 6858000"/>
              <a:gd name="connsiteX658" fmla="*/ 3182620 w 7467600"/>
              <a:gd name="connsiteY658" fmla="*/ 3483279 h 6858000"/>
              <a:gd name="connsiteX659" fmla="*/ 2435119 w 7467600"/>
              <a:gd name="connsiteY659" fmla="*/ 3080173 h 6858000"/>
              <a:gd name="connsiteX660" fmla="*/ 2410152 w 7467600"/>
              <a:gd name="connsiteY660" fmla="*/ 3063751 h 6858000"/>
              <a:gd name="connsiteX661" fmla="*/ 2408099 w 7467600"/>
              <a:gd name="connsiteY661" fmla="*/ 3064403 h 6858000"/>
              <a:gd name="connsiteX662" fmla="*/ 2407218 w 7467600"/>
              <a:gd name="connsiteY662" fmla="*/ 3070324 h 6858000"/>
              <a:gd name="connsiteX663" fmla="*/ 2380138 w 7467600"/>
              <a:gd name="connsiteY663" fmla="*/ 3099341 h 6858000"/>
              <a:gd name="connsiteX664" fmla="*/ 1765923 w 7467600"/>
              <a:gd name="connsiteY664" fmla="*/ 3581043 h 6858000"/>
              <a:gd name="connsiteX665" fmla="*/ 1702258 w 7467600"/>
              <a:gd name="connsiteY665" fmla="*/ 3612286 h 6858000"/>
              <a:gd name="connsiteX666" fmla="*/ 1538370 w 7467600"/>
              <a:gd name="connsiteY666" fmla="*/ 3811804 h 6858000"/>
              <a:gd name="connsiteX667" fmla="*/ 542867 w 7467600"/>
              <a:gd name="connsiteY667" fmla="*/ 4944092 h 6858000"/>
              <a:gd name="connsiteX668" fmla="*/ 515800 w 7467600"/>
              <a:gd name="connsiteY668" fmla="*/ 4862180 h 6858000"/>
              <a:gd name="connsiteX669" fmla="*/ 909145 w 7467600"/>
              <a:gd name="connsiteY669" fmla="*/ 4199225 h 6858000"/>
              <a:gd name="connsiteX670" fmla="*/ 1214067 w 7467600"/>
              <a:gd name="connsiteY670" fmla="*/ 3908561 h 6858000"/>
              <a:gd name="connsiteX671" fmla="*/ 640967 w 7467600"/>
              <a:gd name="connsiteY671" fmla="*/ 4105601 h 6858000"/>
              <a:gd name="connsiteX672" fmla="*/ 112563 w 7467600"/>
              <a:gd name="connsiteY672" fmla="*/ 4396952 h 6858000"/>
              <a:gd name="connsiteX673" fmla="*/ 0 w 7467600"/>
              <a:gd name="connsiteY673" fmla="*/ 4466006 h 6858000"/>
              <a:gd name="connsiteX674" fmla="*/ 0 w 7467600"/>
              <a:gd name="connsiteY674" fmla="*/ 4233763 h 6858000"/>
              <a:gd name="connsiteX675" fmla="*/ 36881 w 7467600"/>
              <a:gd name="connsiteY675" fmla="*/ 4200118 h 6858000"/>
              <a:gd name="connsiteX676" fmla="*/ 910534 w 7467600"/>
              <a:gd name="connsiteY676" fmla="*/ 3629753 h 6858000"/>
              <a:gd name="connsiteX677" fmla="*/ 1578717 w 7467600"/>
              <a:gd name="connsiteY677" fmla="*/ 3575982 h 6858000"/>
              <a:gd name="connsiteX678" fmla="*/ 2338780 w 7467600"/>
              <a:gd name="connsiteY678" fmla="*/ 3033725 h 6858000"/>
              <a:gd name="connsiteX679" fmla="*/ 1807991 w 7467600"/>
              <a:gd name="connsiteY679" fmla="*/ 2807184 h 6858000"/>
              <a:gd name="connsiteX680" fmla="*/ 1416358 w 7467600"/>
              <a:gd name="connsiteY680" fmla="*/ 3112571 h 6858000"/>
              <a:gd name="connsiteX681" fmla="*/ 939066 w 7467600"/>
              <a:gd name="connsiteY681" fmla="*/ 3378798 h 6858000"/>
              <a:gd name="connsiteX682" fmla="*/ 115099 w 7467600"/>
              <a:gd name="connsiteY682" fmla="*/ 3607650 h 6858000"/>
              <a:gd name="connsiteX683" fmla="*/ 97284 w 7467600"/>
              <a:gd name="connsiteY683" fmla="*/ 3520393 h 6858000"/>
              <a:gd name="connsiteX684" fmla="*/ 922050 w 7467600"/>
              <a:gd name="connsiteY684" fmla="*/ 3074867 h 6858000"/>
              <a:gd name="connsiteX685" fmla="*/ 1405265 w 7467600"/>
              <a:gd name="connsiteY685" fmla="*/ 3016319 h 6858000"/>
              <a:gd name="connsiteX686" fmla="*/ 1407512 w 7467600"/>
              <a:gd name="connsiteY686" fmla="*/ 3018001 h 6858000"/>
              <a:gd name="connsiteX687" fmla="*/ 1726266 w 7467600"/>
              <a:gd name="connsiteY687" fmla="*/ 2777274 h 6858000"/>
              <a:gd name="connsiteX688" fmla="*/ 625390 w 7467600"/>
              <a:gd name="connsiteY688" fmla="*/ 2514541 h 6858000"/>
              <a:gd name="connsiteX689" fmla="*/ 619799 w 7467600"/>
              <a:gd name="connsiteY689" fmla="*/ 2527180 h 6858000"/>
              <a:gd name="connsiteX690" fmla="*/ 310030 w 7467600"/>
              <a:gd name="connsiteY690" fmla="*/ 2771818 h 6858000"/>
              <a:gd name="connsiteX691" fmla="*/ 173877 w 7467600"/>
              <a:gd name="connsiteY691" fmla="*/ 2937056 h 6858000"/>
              <a:gd name="connsiteX692" fmla="*/ 77889 w 7467600"/>
              <a:gd name="connsiteY692" fmla="*/ 3138440 h 6858000"/>
              <a:gd name="connsiteX693" fmla="*/ 0 w 7467600"/>
              <a:gd name="connsiteY693" fmla="*/ 3271395 h 6858000"/>
              <a:gd name="connsiteX694" fmla="*/ 0 w 7467600"/>
              <a:gd name="connsiteY694" fmla="*/ 3153002 h 6858000"/>
              <a:gd name="connsiteX695" fmla="*/ 2386 w 7467600"/>
              <a:gd name="connsiteY695" fmla="*/ 3149203 h 6858000"/>
              <a:gd name="connsiteX696" fmla="*/ 89753 w 7467600"/>
              <a:gd name="connsiteY696" fmla="*/ 2987702 h 6858000"/>
              <a:gd name="connsiteX697" fmla="*/ 76869 w 7467600"/>
              <a:gd name="connsiteY697" fmla="*/ 3005404 h 6858000"/>
              <a:gd name="connsiteX698" fmla="*/ 32049 w 7467600"/>
              <a:gd name="connsiteY698" fmla="*/ 3065814 h 6858000"/>
              <a:gd name="connsiteX699" fmla="*/ 0 w 7467600"/>
              <a:gd name="connsiteY699" fmla="*/ 3108744 h 6858000"/>
              <a:gd name="connsiteX700" fmla="*/ 0 w 7467600"/>
              <a:gd name="connsiteY700" fmla="*/ 3058059 h 6858000"/>
              <a:gd name="connsiteX701" fmla="*/ 7610 w 7467600"/>
              <a:gd name="connsiteY701" fmla="*/ 3047889 h 6858000"/>
              <a:gd name="connsiteX702" fmla="*/ 52419 w 7467600"/>
              <a:gd name="connsiteY702" fmla="*/ 2987479 h 6858000"/>
              <a:gd name="connsiteX703" fmla="*/ 59142 w 7467600"/>
              <a:gd name="connsiteY703" fmla="*/ 2978488 h 6858000"/>
              <a:gd name="connsiteX704" fmla="*/ 0 w 7467600"/>
              <a:gd name="connsiteY704" fmla="*/ 3015334 h 6858000"/>
              <a:gd name="connsiteX705" fmla="*/ 0 w 7467600"/>
              <a:gd name="connsiteY705" fmla="*/ 2914286 h 6858000"/>
              <a:gd name="connsiteX706" fmla="*/ 36383 w 7467600"/>
              <a:gd name="connsiteY706" fmla="*/ 2901128 h 6858000"/>
              <a:gd name="connsiteX707" fmla="*/ 156329 w 7467600"/>
              <a:gd name="connsiteY707" fmla="*/ 2840533 h 6858000"/>
              <a:gd name="connsiteX708" fmla="*/ 358355 w 7467600"/>
              <a:gd name="connsiteY708" fmla="*/ 2620471 h 6858000"/>
              <a:gd name="connsiteX709" fmla="*/ 510577 w 7467600"/>
              <a:gd name="connsiteY709" fmla="*/ 2501244 h 6858000"/>
              <a:gd name="connsiteX710" fmla="*/ 211967 w 7467600"/>
              <a:gd name="connsiteY710" fmla="*/ 2479171 h 6858000"/>
              <a:gd name="connsiteX711" fmla="*/ 0 w 7467600"/>
              <a:gd name="connsiteY711" fmla="*/ 2476398 h 6858000"/>
              <a:gd name="connsiteX712" fmla="*/ 0 w 7467600"/>
              <a:gd name="connsiteY712" fmla="*/ 2389189 h 6858000"/>
              <a:gd name="connsiteX713" fmla="*/ 103062 w 7467600"/>
              <a:gd name="connsiteY713" fmla="*/ 2389518 h 6858000"/>
              <a:gd name="connsiteX714" fmla="*/ 510734 w 7467600"/>
              <a:gd name="connsiteY714" fmla="*/ 2416201 h 6858000"/>
              <a:gd name="connsiteX715" fmla="*/ 279257 w 7467600"/>
              <a:gd name="connsiteY715" fmla="*/ 2092102 h 6858000"/>
              <a:gd name="connsiteX716" fmla="*/ 65265 w 7467600"/>
              <a:gd name="connsiteY716" fmla="*/ 2006049 h 6858000"/>
              <a:gd name="connsiteX717" fmla="*/ 0 w 7467600"/>
              <a:gd name="connsiteY717" fmla="*/ 1982532 h 6858000"/>
              <a:gd name="connsiteX718" fmla="*/ 0 w 7467600"/>
              <a:gd name="connsiteY718" fmla="*/ 1912789 h 6858000"/>
              <a:gd name="connsiteX719" fmla="*/ 97460 w 7467600"/>
              <a:gd name="connsiteY719" fmla="*/ 1953725 h 6858000"/>
              <a:gd name="connsiteX720" fmla="*/ 221272 w 7467600"/>
              <a:gd name="connsiteY720" fmla="*/ 1980766 h 6858000"/>
              <a:gd name="connsiteX721" fmla="*/ 116765 w 7467600"/>
              <a:gd name="connsiteY721" fmla="*/ 1911033 h 6858000"/>
              <a:gd name="connsiteX722" fmla="*/ 16405 w 7467600"/>
              <a:gd name="connsiteY722" fmla="*/ 1803412 h 6858000"/>
              <a:gd name="connsiteX723" fmla="*/ 0 w 7467600"/>
              <a:gd name="connsiteY723" fmla="*/ 1784777 h 6858000"/>
              <a:gd name="connsiteX724" fmla="*/ 0 w 7467600"/>
              <a:gd name="connsiteY724" fmla="*/ 1740082 h 6858000"/>
              <a:gd name="connsiteX725" fmla="*/ 39394 w 7467600"/>
              <a:gd name="connsiteY725" fmla="*/ 1784856 h 6858000"/>
              <a:gd name="connsiteX726" fmla="*/ 135813 w 7467600"/>
              <a:gd name="connsiteY726" fmla="*/ 1888838 h 6858000"/>
              <a:gd name="connsiteX727" fmla="*/ 242575 w 7467600"/>
              <a:gd name="connsiteY727" fmla="*/ 1958841 h 6858000"/>
              <a:gd name="connsiteX728" fmla="*/ 82197 w 7467600"/>
              <a:gd name="connsiteY728" fmla="*/ 1754826 h 6858000"/>
              <a:gd name="connsiteX729" fmla="*/ 0 w 7467600"/>
              <a:gd name="connsiteY729" fmla="*/ 1679650 h 6858000"/>
              <a:gd name="connsiteX730" fmla="*/ 0 w 7467600"/>
              <a:gd name="connsiteY730" fmla="*/ 1602463 h 6858000"/>
              <a:gd name="connsiteX731" fmla="*/ 84689 w 7467600"/>
              <a:gd name="connsiteY731" fmla="*/ 1677442 h 6858000"/>
              <a:gd name="connsiteX732" fmla="*/ 298437 w 7467600"/>
              <a:gd name="connsiteY732" fmla="*/ 1968019 h 6858000"/>
              <a:gd name="connsiteX733" fmla="*/ 227269 w 7467600"/>
              <a:gd name="connsiteY733" fmla="*/ 1114064 h 6858000"/>
              <a:gd name="connsiteX734" fmla="*/ 248003 w 7467600"/>
              <a:gd name="connsiteY734" fmla="*/ 1089613 h 6858000"/>
              <a:gd name="connsiteX735" fmla="*/ 427020 w 7467600"/>
              <a:gd name="connsiteY735" fmla="*/ 1619803 h 6858000"/>
              <a:gd name="connsiteX736" fmla="*/ 340345 w 7467600"/>
              <a:gd name="connsiteY736" fmla="*/ 2027739 h 6858000"/>
              <a:gd name="connsiteX737" fmla="*/ 360865 w 7467600"/>
              <a:gd name="connsiteY737" fmla="*/ 2044827 h 6858000"/>
              <a:gd name="connsiteX738" fmla="*/ 560414 w 7467600"/>
              <a:gd name="connsiteY738" fmla="*/ 2421457 h 6858000"/>
              <a:gd name="connsiteX739" fmla="*/ 1359703 w 7467600"/>
              <a:gd name="connsiteY739" fmla="*/ 2578554 h 6858000"/>
              <a:gd name="connsiteX740" fmla="*/ 1359422 w 7467600"/>
              <a:gd name="connsiteY740" fmla="*/ 2577994 h 6858000"/>
              <a:gd name="connsiteX741" fmla="*/ 828701 w 7467600"/>
              <a:gd name="connsiteY741" fmla="*/ 1839520 h 6858000"/>
              <a:gd name="connsiteX742" fmla="*/ 494427 w 7467600"/>
              <a:gd name="connsiteY742" fmla="*/ 1092333 h 6858000"/>
              <a:gd name="connsiteX743" fmla="*/ 506322 w 7467600"/>
              <a:gd name="connsiteY743" fmla="*/ 1020997 h 6858000"/>
              <a:gd name="connsiteX744" fmla="*/ 4570198 w 7467600"/>
              <a:gd name="connsiteY744" fmla="*/ 978081 h 6858000"/>
              <a:gd name="connsiteX745" fmla="*/ 4523691 w 7467600"/>
              <a:gd name="connsiteY745" fmla="*/ 1127776 h 6858000"/>
              <a:gd name="connsiteX746" fmla="*/ 4509875 w 7467600"/>
              <a:gd name="connsiteY746" fmla="*/ 1167552 h 6858000"/>
              <a:gd name="connsiteX747" fmla="*/ 4478168 w 7467600"/>
              <a:gd name="connsiteY747" fmla="*/ 1260735 h 6858000"/>
              <a:gd name="connsiteX748" fmla="*/ 4409309 w 7467600"/>
              <a:gd name="connsiteY748" fmla="*/ 1666996 h 6858000"/>
              <a:gd name="connsiteX749" fmla="*/ 4370031 w 7467600"/>
              <a:gd name="connsiteY749" fmla="*/ 1955666 h 6858000"/>
              <a:gd name="connsiteX750" fmla="*/ 4570198 w 7467600"/>
              <a:gd name="connsiteY750" fmla="*/ 978081 h 6858000"/>
              <a:gd name="connsiteX751" fmla="*/ 4557898 w 7467600"/>
              <a:gd name="connsiteY751" fmla="*/ 900011 h 6858000"/>
              <a:gd name="connsiteX752" fmla="*/ 4344840 w 7467600"/>
              <a:gd name="connsiteY752" fmla="*/ 1922038 h 6858000"/>
              <a:gd name="connsiteX753" fmla="*/ 4378710 w 7467600"/>
              <a:gd name="connsiteY753" fmla="*/ 1665516 h 6858000"/>
              <a:gd name="connsiteX754" fmla="*/ 4448798 w 7467600"/>
              <a:gd name="connsiteY754" fmla="*/ 1253024 h 6858000"/>
              <a:gd name="connsiteX755" fmla="*/ 4480315 w 7467600"/>
              <a:gd name="connsiteY755" fmla="*/ 1158454 h 6858000"/>
              <a:gd name="connsiteX756" fmla="*/ 4494133 w 7467600"/>
              <a:gd name="connsiteY756" fmla="*/ 1118676 h 6858000"/>
              <a:gd name="connsiteX757" fmla="*/ 4557898 w 7467600"/>
              <a:gd name="connsiteY757" fmla="*/ 900011 h 6858000"/>
              <a:gd name="connsiteX758" fmla="*/ 5870151 w 7467600"/>
              <a:gd name="connsiteY758" fmla="*/ 898890 h 6858000"/>
              <a:gd name="connsiteX759" fmla="*/ 5861335 w 7467600"/>
              <a:gd name="connsiteY759" fmla="*/ 899177 h 6858000"/>
              <a:gd name="connsiteX760" fmla="*/ 5843702 w 7467600"/>
              <a:gd name="connsiteY760" fmla="*/ 899748 h 6858000"/>
              <a:gd name="connsiteX761" fmla="*/ 5651107 w 7467600"/>
              <a:gd name="connsiteY761" fmla="*/ 920306 h 6858000"/>
              <a:gd name="connsiteX762" fmla="*/ 5459407 w 7467600"/>
              <a:gd name="connsiteY762" fmla="*/ 940975 h 6858000"/>
              <a:gd name="connsiteX763" fmla="*/ 5374846 w 7467600"/>
              <a:gd name="connsiteY763" fmla="*/ 941988 h 6858000"/>
              <a:gd name="connsiteX764" fmla="*/ 5256105 w 7467600"/>
              <a:gd name="connsiteY764" fmla="*/ 945632 h 6858000"/>
              <a:gd name="connsiteX765" fmla="*/ 5107071 w 7467600"/>
              <a:gd name="connsiteY765" fmla="*/ 969720 h 6858000"/>
              <a:gd name="connsiteX766" fmla="*/ 4998681 w 7467600"/>
              <a:gd name="connsiteY766" fmla="*/ 988771 h 6858000"/>
              <a:gd name="connsiteX767" fmla="*/ 5870151 w 7467600"/>
              <a:gd name="connsiteY767" fmla="*/ 898890 h 6858000"/>
              <a:gd name="connsiteX768" fmla="*/ 5504425 w 7467600"/>
              <a:gd name="connsiteY768" fmla="*/ 848067 h 6858000"/>
              <a:gd name="connsiteX769" fmla="*/ 4968849 w 7467600"/>
              <a:gd name="connsiteY769" fmla="*/ 962318 h 6858000"/>
              <a:gd name="connsiteX770" fmla="*/ 5104039 w 7467600"/>
              <a:gd name="connsiteY770" fmla="*/ 940634 h 6858000"/>
              <a:gd name="connsiteX771" fmla="*/ 5256311 w 7467600"/>
              <a:gd name="connsiteY771" fmla="*/ 916490 h 6858000"/>
              <a:gd name="connsiteX772" fmla="*/ 5377381 w 7467600"/>
              <a:gd name="connsiteY772" fmla="*/ 912671 h 6858000"/>
              <a:gd name="connsiteX773" fmla="*/ 5460148 w 7467600"/>
              <a:gd name="connsiteY773" fmla="*/ 911442 h 6858000"/>
              <a:gd name="connsiteX774" fmla="*/ 5648971 w 7467600"/>
              <a:gd name="connsiteY774" fmla="*/ 891331 h 6858000"/>
              <a:gd name="connsiteX775" fmla="*/ 5844807 w 7467600"/>
              <a:gd name="connsiteY775" fmla="*/ 870718 h 6858000"/>
              <a:gd name="connsiteX776" fmla="*/ 5862975 w 7467600"/>
              <a:gd name="connsiteY776" fmla="*/ 869756 h 6858000"/>
              <a:gd name="connsiteX777" fmla="*/ 5920887 w 7467600"/>
              <a:gd name="connsiteY777" fmla="*/ 865929 h 6858000"/>
              <a:gd name="connsiteX778" fmla="*/ 5504425 w 7467600"/>
              <a:gd name="connsiteY778" fmla="*/ 848067 h 6858000"/>
              <a:gd name="connsiteX779" fmla="*/ 3607114 w 7467600"/>
              <a:gd name="connsiteY779" fmla="*/ 467441 h 6858000"/>
              <a:gd name="connsiteX780" fmla="*/ 3296242 w 7467600"/>
              <a:gd name="connsiteY780" fmla="*/ 807991 h 6858000"/>
              <a:gd name="connsiteX781" fmla="*/ 3174674 w 7467600"/>
              <a:gd name="connsiteY781" fmla="*/ 919759 h 6858000"/>
              <a:gd name="connsiteX782" fmla="*/ 3042978 w 7467600"/>
              <a:gd name="connsiteY782" fmla="*/ 1054894 h 6858000"/>
              <a:gd name="connsiteX783" fmla="*/ 2968914 w 7467600"/>
              <a:gd name="connsiteY783" fmla="*/ 1133756 h 6858000"/>
              <a:gd name="connsiteX784" fmla="*/ 3103823 w 7467600"/>
              <a:gd name="connsiteY784" fmla="*/ 1026814 h 6858000"/>
              <a:gd name="connsiteX785" fmla="*/ 3607114 w 7467600"/>
              <a:gd name="connsiteY785" fmla="*/ 467441 h 6858000"/>
              <a:gd name="connsiteX786" fmla="*/ 3744487 w 7467600"/>
              <a:gd name="connsiteY786" fmla="*/ 383136 h 6858000"/>
              <a:gd name="connsiteX787" fmla="*/ 3970213 w 7467600"/>
              <a:gd name="connsiteY787" fmla="*/ 995559 h 6858000"/>
              <a:gd name="connsiteX788" fmla="*/ 3744487 w 7467600"/>
              <a:gd name="connsiteY788" fmla="*/ 383136 h 6858000"/>
              <a:gd name="connsiteX789" fmla="*/ 3624562 w 7467600"/>
              <a:gd name="connsiteY789" fmla="*/ 367041 h 6858000"/>
              <a:gd name="connsiteX790" fmla="*/ 3489712 w 7467600"/>
              <a:gd name="connsiteY790" fmla="*/ 485386 h 6858000"/>
              <a:gd name="connsiteX791" fmla="*/ 3182994 w 7467600"/>
              <a:gd name="connsiteY791" fmla="*/ 828265 h 6858000"/>
              <a:gd name="connsiteX792" fmla="*/ 2892114 w 7467600"/>
              <a:gd name="connsiteY792" fmla="*/ 1172635 h 6858000"/>
              <a:gd name="connsiteX793" fmla="*/ 3021459 w 7467600"/>
              <a:gd name="connsiteY793" fmla="*/ 1035385 h 6858000"/>
              <a:gd name="connsiteX794" fmla="*/ 3153873 w 7467600"/>
              <a:gd name="connsiteY794" fmla="*/ 898971 h 6858000"/>
              <a:gd name="connsiteX795" fmla="*/ 3276511 w 7467600"/>
              <a:gd name="connsiteY795" fmla="*/ 786423 h 6858000"/>
              <a:gd name="connsiteX796" fmla="*/ 3584154 w 7467600"/>
              <a:gd name="connsiteY796" fmla="*/ 448218 h 6858000"/>
              <a:gd name="connsiteX797" fmla="*/ 3624562 w 7467600"/>
              <a:gd name="connsiteY797" fmla="*/ 367041 h 6858000"/>
              <a:gd name="connsiteX798" fmla="*/ 3766672 w 7467600"/>
              <a:gd name="connsiteY798" fmla="*/ 359429 h 6858000"/>
              <a:gd name="connsiteX799" fmla="*/ 3996338 w 7467600"/>
              <a:gd name="connsiteY799" fmla="*/ 968237 h 6858000"/>
              <a:gd name="connsiteX800" fmla="*/ 3766672 w 7467600"/>
              <a:gd name="connsiteY800" fmla="*/ 359429 h 6858000"/>
              <a:gd name="connsiteX801" fmla="*/ 5805386 w 7467600"/>
              <a:gd name="connsiteY801" fmla="*/ 239240 h 6858000"/>
              <a:gd name="connsiteX802" fmla="*/ 5736947 w 7467600"/>
              <a:gd name="connsiteY802" fmla="*/ 261367 h 6858000"/>
              <a:gd name="connsiteX803" fmla="*/ 5427012 w 7467600"/>
              <a:gd name="connsiteY803" fmla="*/ 311272 h 6858000"/>
              <a:gd name="connsiteX804" fmla="*/ 5147818 w 7467600"/>
              <a:gd name="connsiteY804" fmla="*/ 322112 h 6858000"/>
              <a:gd name="connsiteX805" fmla="*/ 5060854 w 7467600"/>
              <a:gd name="connsiteY805" fmla="*/ 311882 h 6858000"/>
              <a:gd name="connsiteX806" fmla="*/ 4945989 w 7467600"/>
              <a:gd name="connsiteY806" fmla="*/ 300516 h 6858000"/>
              <a:gd name="connsiteX807" fmla="*/ 5410479 w 7467600"/>
              <a:gd name="connsiteY807" fmla="*/ 348434 h 6858000"/>
              <a:gd name="connsiteX808" fmla="*/ 5805386 w 7467600"/>
              <a:gd name="connsiteY808" fmla="*/ 239240 h 6858000"/>
              <a:gd name="connsiteX809" fmla="*/ 5905192 w 7467600"/>
              <a:gd name="connsiteY809" fmla="*/ 163079 h 6858000"/>
              <a:gd name="connsiteX810" fmla="*/ 5865655 w 7467600"/>
              <a:gd name="connsiteY810" fmla="*/ 171901 h 6858000"/>
              <a:gd name="connsiteX811" fmla="*/ 5259740 w 7467600"/>
              <a:gd name="connsiteY811" fmla="*/ 257013 h 6858000"/>
              <a:gd name="connsiteX812" fmla="*/ 5208466 w 7467600"/>
              <a:gd name="connsiteY812" fmla="*/ 257550 h 6858000"/>
              <a:gd name="connsiteX813" fmla="*/ 4980204 w 7467600"/>
              <a:gd name="connsiteY813" fmla="*/ 271903 h 6858000"/>
              <a:gd name="connsiteX814" fmla="*/ 5068068 w 7467600"/>
              <a:gd name="connsiteY814" fmla="*/ 282244 h 6858000"/>
              <a:gd name="connsiteX815" fmla="*/ 5153231 w 7467600"/>
              <a:gd name="connsiteY815" fmla="*/ 292240 h 6858000"/>
              <a:gd name="connsiteX816" fmla="*/ 5426491 w 7467600"/>
              <a:gd name="connsiteY816" fmla="*/ 281128 h 6858000"/>
              <a:gd name="connsiteX817" fmla="*/ 5731212 w 7467600"/>
              <a:gd name="connsiteY817" fmla="*/ 231951 h 6858000"/>
              <a:gd name="connsiteX818" fmla="*/ 5905192 w 7467600"/>
              <a:gd name="connsiteY818" fmla="*/ 163079 h 6858000"/>
              <a:gd name="connsiteX819" fmla="*/ 5944437 w 7467600"/>
              <a:gd name="connsiteY819" fmla="*/ 113829 h 6858000"/>
              <a:gd name="connsiteX820" fmla="*/ 5825032 w 7467600"/>
              <a:gd name="connsiteY820" fmla="*/ 146405 h 6858000"/>
              <a:gd name="connsiteX821" fmla="*/ 4955599 w 7467600"/>
              <a:gd name="connsiteY821" fmla="*/ 247008 h 6858000"/>
              <a:gd name="connsiteX822" fmla="*/ 5210104 w 7467600"/>
              <a:gd name="connsiteY822" fmla="*/ 228123 h 6858000"/>
              <a:gd name="connsiteX823" fmla="*/ 5261015 w 7467600"/>
              <a:gd name="connsiteY823" fmla="*/ 227087 h 6858000"/>
              <a:gd name="connsiteX824" fmla="*/ 5861181 w 7467600"/>
              <a:gd name="connsiteY824" fmla="*/ 143093 h 6858000"/>
              <a:gd name="connsiteX825" fmla="*/ 5961252 w 7467600"/>
              <a:gd name="connsiteY825" fmla="*/ 114820 h 6858000"/>
              <a:gd name="connsiteX826" fmla="*/ 5944437 w 7467600"/>
              <a:gd name="connsiteY826" fmla="*/ 113829 h 6858000"/>
              <a:gd name="connsiteX827" fmla="*/ 3882765 w 7467600"/>
              <a:gd name="connsiteY827" fmla="*/ 0 h 6858000"/>
              <a:gd name="connsiteX828" fmla="*/ 3995099 w 7467600"/>
              <a:gd name="connsiteY828" fmla="*/ 0 h 6858000"/>
              <a:gd name="connsiteX829" fmla="*/ 4163818 w 7467600"/>
              <a:gd name="connsiteY829" fmla="*/ 234104 h 6858000"/>
              <a:gd name="connsiteX830" fmla="*/ 4172099 w 7467600"/>
              <a:gd name="connsiteY830" fmla="*/ 234207 h 6858000"/>
              <a:gd name="connsiteX831" fmla="*/ 4784282 w 7467600"/>
              <a:gd name="connsiteY831" fmla="*/ 276561 h 6858000"/>
              <a:gd name="connsiteX832" fmla="*/ 4801687 w 7467600"/>
              <a:gd name="connsiteY832" fmla="*/ 267764 h 6858000"/>
              <a:gd name="connsiteX833" fmla="*/ 6082788 w 7467600"/>
              <a:gd name="connsiteY833" fmla="*/ 64119 h 6858000"/>
              <a:gd name="connsiteX834" fmla="*/ 6099442 w 7467600"/>
              <a:gd name="connsiteY834" fmla="*/ 82568 h 6858000"/>
              <a:gd name="connsiteX835" fmla="*/ 4804137 w 7467600"/>
              <a:gd name="connsiteY835" fmla="*/ 320931 h 6858000"/>
              <a:gd name="connsiteX836" fmla="*/ 4227047 w 7467600"/>
              <a:gd name="connsiteY836" fmla="*/ 313415 h 6858000"/>
              <a:gd name="connsiteX837" fmla="*/ 4346041 w 7467600"/>
              <a:gd name="connsiteY837" fmla="*/ 456086 h 6858000"/>
              <a:gd name="connsiteX838" fmla="*/ 4870967 w 7467600"/>
              <a:gd name="connsiteY838" fmla="*/ 963061 h 6858000"/>
              <a:gd name="connsiteX839" fmla="*/ 4889647 w 7467600"/>
              <a:gd name="connsiteY839" fmla="*/ 957147 h 6858000"/>
              <a:gd name="connsiteX840" fmla="*/ 5422504 w 7467600"/>
              <a:gd name="connsiteY840" fmla="*/ 805191 h 6858000"/>
              <a:gd name="connsiteX841" fmla="*/ 6087656 w 7467600"/>
              <a:gd name="connsiteY841" fmla="*/ 826703 h 6858000"/>
              <a:gd name="connsiteX842" fmla="*/ 6058717 w 7467600"/>
              <a:gd name="connsiteY842" fmla="*/ 865992 h 6858000"/>
              <a:gd name="connsiteX843" fmla="*/ 4974153 w 7467600"/>
              <a:gd name="connsiteY843" fmla="*/ 1045456 h 6858000"/>
              <a:gd name="connsiteX844" fmla="*/ 5627835 w 7467600"/>
              <a:gd name="connsiteY844" fmla="*/ 1472077 h 6858000"/>
              <a:gd name="connsiteX845" fmla="*/ 5629817 w 7467600"/>
              <a:gd name="connsiteY845" fmla="*/ 1471412 h 6858000"/>
              <a:gd name="connsiteX846" fmla="*/ 5634124 w 7467600"/>
              <a:gd name="connsiteY846" fmla="*/ 1470572 h 6858000"/>
              <a:gd name="connsiteX847" fmla="*/ 5755832 w 7467600"/>
              <a:gd name="connsiteY847" fmla="*/ 1383886 h 6858000"/>
              <a:gd name="connsiteX848" fmla="*/ 6014186 w 7467600"/>
              <a:gd name="connsiteY848" fmla="*/ 1279799 h 6858000"/>
              <a:gd name="connsiteX849" fmla="*/ 6901619 w 7467600"/>
              <a:gd name="connsiteY849" fmla="*/ 1047874 h 6858000"/>
              <a:gd name="connsiteX850" fmla="*/ 6931566 w 7467600"/>
              <a:gd name="connsiteY850" fmla="*/ 1062034 h 6858000"/>
              <a:gd name="connsiteX851" fmla="*/ 5790982 w 7467600"/>
              <a:gd name="connsiteY851" fmla="*/ 1561380 h 6858000"/>
              <a:gd name="connsiteX852" fmla="*/ 6188971 w 7467600"/>
              <a:gd name="connsiteY852" fmla="*/ 1755168 h 6858000"/>
              <a:gd name="connsiteX853" fmla="*/ 6202446 w 7467600"/>
              <a:gd name="connsiteY853" fmla="*/ 1752268 h 6858000"/>
              <a:gd name="connsiteX854" fmla="*/ 7179560 w 7467600"/>
              <a:gd name="connsiteY854" fmla="*/ 1467551 h 6858000"/>
              <a:gd name="connsiteX855" fmla="*/ 7158730 w 7467600"/>
              <a:gd name="connsiteY855" fmla="*/ 1507835 h 6858000"/>
              <a:gd name="connsiteX856" fmla="*/ 6326959 w 7467600"/>
              <a:gd name="connsiteY856" fmla="*/ 1817686 h 6858000"/>
              <a:gd name="connsiteX857" fmla="*/ 6537433 w 7467600"/>
              <a:gd name="connsiteY857" fmla="*/ 1907790 h 6858000"/>
              <a:gd name="connsiteX858" fmla="*/ 6550221 w 7467600"/>
              <a:gd name="connsiteY858" fmla="*/ 1910729 h 6858000"/>
              <a:gd name="connsiteX859" fmla="*/ 6964438 w 7467600"/>
              <a:gd name="connsiteY859" fmla="*/ 2209505 h 6858000"/>
              <a:gd name="connsiteX860" fmla="*/ 7367862 w 7467600"/>
              <a:gd name="connsiteY860" fmla="*/ 2806833 h 6858000"/>
              <a:gd name="connsiteX861" fmla="*/ 7364329 w 7467600"/>
              <a:gd name="connsiteY861" fmla="*/ 2826907 h 6858000"/>
              <a:gd name="connsiteX862" fmla="*/ 7290545 w 7467600"/>
              <a:gd name="connsiteY862" fmla="*/ 2850663 h 6858000"/>
              <a:gd name="connsiteX863" fmla="*/ 6472036 w 7467600"/>
              <a:gd name="connsiteY863" fmla="*/ 1959003 h 6858000"/>
              <a:gd name="connsiteX864" fmla="*/ 5792897 w 7467600"/>
              <a:gd name="connsiteY864" fmla="*/ 1647747 h 6858000"/>
              <a:gd name="connsiteX865" fmla="*/ 5842751 w 7467600"/>
              <a:gd name="connsiteY865" fmla="*/ 1816112 h 6858000"/>
              <a:gd name="connsiteX866" fmla="*/ 5847424 w 7467600"/>
              <a:gd name="connsiteY866" fmla="*/ 1815776 h 6858000"/>
              <a:gd name="connsiteX867" fmla="*/ 6399821 w 7467600"/>
              <a:gd name="connsiteY867" fmla="*/ 2344799 h 6858000"/>
              <a:gd name="connsiteX868" fmla="*/ 6323232 w 7467600"/>
              <a:gd name="connsiteY868" fmla="*/ 2389634 h 6858000"/>
              <a:gd name="connsiteX869" fmla="*/ 5942958 w 7467600"/>
              <a:gd name="connsiteY869" fmla="*/ 2077708 h 6858000"/>
              <a:gd name="connsiteX870" fmla="*/ 5921559 w 7467600"/>
              <a:gd name="connsiteY870" fmla="*/ 2378596 h 6858000"/>
              <a:gd name="connsiteX871" fmla="*/ 5817651 w 7467600"/>
              <a:gd name="connsiteY871" fmla="*/ 3023919 h 6858000"/>
              <a:gd name="connsiteX872" fmla="*/ 5729634 w 7467600"/>
              <a:gd name="connsiteY872" fmla="*/ 3051849 h 6858000"/>
              <a:gd name="connsiteX873" fmla="*/ 5611018 w 7467600"/>
              <a:gd name="connsiteY873" fmla="*/ 2316769 h 6858000"/>
              <a:gd name="connsiteX874" fmla="*/ 5687608 w 7467600"/>
              <a:gd name="connsiteY874" fmla="*/ 2039972 h 6858000"/>
              <a:gd name="connsiteX875" fmla="*/ 5657554 w 7467600"/>
              <a:gd name="connsiteY875" fmla="*/ 1576445 h 6858000"/>
              <a:gd name="connsiteX876" fmla="*/ 5150475 w 7467600"/>
              <a:gd name="connsiteY876" fmla="*/ 1274012 h 6858000"/>
              <a:gd name="connsiteX877" fmla="*/ 5349142 w 7467600"/>
              <a:gd name="connsiteY877" fmla="*/ 2204405 h 6858000"/>
              <a:gd name="connsiteX878" fmla="*/ 5262214 w 7467600"/>
              <a:gd name="connsiteY878" fmla="*/ 2233836 h 6858000"/>
              <a:gd name="connsiteX879" fmla="*/ 4981539 w 7467600"/>
              <a:gd name="connsiteY879" fmla="*/ 1542201 h 6858000"/>
              <a:gd name="connsiteX880" fmla="*/ 4958461 w 7467600"/>
              <a:gd name="connsiteY880" fmla="*/ 1136957 h 6858000"/>
              <a:gd name="connsiteX881" fmla="*/ 4655015 w 7467600"/>
              <a:gd name="connsiteY881" fmla="*/ 891426 h 6858000"/>
              <a:gd name="connsiteX882" fmla="*/ 4348002 w 7467600"/>
              <a:gd name="connsiteY882" fmla="*/ 2205895 h 6858000"/>
              <a:gd name="connsiteX883" fmla="*/ 4262250 w 7467600"/>
              <a:gd name="connsiteY883" fmla="*/ 2219972 h 6858000"/>
              <a:gd name="connsiteX884" fmla="*/ 4550611 w 7467600"/>
              <a:gd name="connsiteY884" fmla="*/ 817540 h 6858000"/>
              <a:gd name="connsiteX885" fmla="*/ 4564418 w 7467600"/>
              <a:gd name="connsiteY885" fmla="*/ 808293 h 6858000"/>
              <a:gd name="connsiteX886" fmla="*/ 4266388 w 7467600"/>
              <a:gd name="connsiteY886" fmla="*/ 500083 h 6858000"/>
              <a:gd name="connsiteX887" fmla="*/ 4032842 w 7467600"/>
              <a:gd name="connsiteY887" fmla="*/ 211809 h 6858000"/>
              <a:gd name="connsiteX888" fmla="*/ 3882765 w 7467600"/>
              <a:gd name="connsiteY888" fmla="*/ 0 h 6858000"/>
              <a:gd name="connsiteX889" fmla="*/ 3721337 w 7467600"/>
              <a:gd name="connsiteY889" fmla="*/ 0 h 6858000"/>
              <a:gd name="connsiteX890" fmla="*/ 3797544 w 7467600"/>
              <a:gd name="connsiteY890" fmla="*/ 0 h 6858000"/>
              <a:gd name="connsiteX891" fmla="*/ 3775734 w 7467600"/>
              <a:gd name="connsiteY891" fmla="*/ 95131 h 6858000"/>
              <a:gd name="connsiteX892" fmla="*/ 3724807 w 7467600"/>
              <a:gd name="connsiteY892" fmla="*/ 272257 h 6858000"/>
              <a:gd name="connsiteX893" fmla="*/ 3726844 w 7467600"/>
              <a:gd name="connsiteY893" fmla="*/ 282988 h 6858000"/>
              <a:gd name="connsiteX894" fmla="*/ 3742664 w 7467600"/>
              <a:gd name="connsiteY894" fmla="*/ 279918 h 6858000"/>
              <a:gd name="connsiteX895" fmla="*/ 4103910 w 7467600"/>
              <a:gd name="connsiteY895" fmla="*/ 1161917 h 6858000"/>
              <a:gd name="connsiteX896" fmla="*/ 4020269 w 7467600"/>
              <a:gd name="connsiteY896" fmla="*/ 1200406 h 6858000"/>
              <a:gd name="connsiteX897" fmla="*/ 3674882 w 7467600"/>
              <a:gd name="connsiteY897" fmla="*/ 488524 h 6858000"/>
              <a:gd name="connsiteX898" fmla="*/ 3132682 w 7467600"/>
              <a:gd name="connsiteY898" fmla="*/ 1072284 h 6858000"/>
              <a:gd name="connsiteX899" fmla="*/ 2716346 w 7467600"/>
              <a:gd name="connsiteY899" fmla="*/ 1276376 h 6858000"/>
              <a:gd name="connsiteX900" fmla="*/ 2716772 w 7467600"/>
              <a:gd name="connsiteY900" fmla="*/ 1255462 h 6858000"/>
              <a:gd name="connsiteX901" fmla="*/ 3471096 w 7467600"/>
              <a:gd name="connsiteY901" fmla="*/ 437072 h 6858000"/>
              <a:gd name="connsiteX902" fmla="*/ 3639057 w 7467600"/>
              <a:gd name="connsiteY902" fmla="*/ 286334 h 6858000"/>
              <a:gd name="connsiteX903" fmla="*/ 3640309 w 7467600"/>
              <a:gd name="connsiteY903" fmla="*/ 284664 h 6858000"/>
              <a:gd name="connsiteX904" fmla="*/ 3646022 w 7467600"/>
              <a:gd name="connsiteY904" fmla="*/ 276711 h 6858000"/>
              <a:gd name="connsiteX905" fmla="*/ 3707943 w 7467600"/>
              <a:gd name="connsiteY905" fmla="*/ 65958 h 6858000"/>
              <a:gd name="connsiteX906" fmla="*/ 3721337 w 7467600"/>
              <a:gd name="connsiteY906" fmla="*/ 0 h 6858000"/>
              <a:gd name="connsiteX907" fmla="*/ 2867960 w 7467600"/>
              <a:gd name="connsiteY907" fmla="*/ 0 h 6858000"/>
              <a:gd name="connsiteX908" fmla="*/ 2926351 w 7467600"/>
              <a:gd name="connsiteY908" fmla="*/ 0 h 6858000"/>
              <a:gd name="connsiteX909" fmla="*/ 2902823 w 7467600"/>
              <a:gd name="connsiteY909" fmla="*/ 262929 h 6858000"/>
              <a:gd name="connsiteX910" fmla="*/ 2940663 w 7467600"/>
              <a:gd name="connsiteY910" fmla="*/ 140884 h 6858000"/>
              <a:gd name="connsiteX911" fmla="*/ 2947039 w 7467600"/>
              <a:gd name="connsiteY911" fmla="*/ 122524 h 6858000"/>
              <a:gd name="connsiteX912" fmla="*/ 2984316 w 7467600"/>
              <a:gd name="connsiteY912" fmla="*/ 0 h 6858000"/>
              <a:gd name="connsiteX913" fmla="*/ 3016114 w 7467600"/>
              <a:gd name="connsiteY913" fmla="*/ 0 h 6858000"/>
              <a:gd name="connsiteX914" fmla="*/ 2979949 w 7467600"/>
              <a:gd name="connsiteY914" fmla="*/ 119274 h 6858000"/>
              <a:gd name="connsiteX915" fmla="*/ 3023879 w 7467600"/>
              <a:gd name="connsiteY915" fmla="*/ 0 h 6858000"/>
              <a:gd name="connsiteX916" fmla="*/ 3105400 w 7467600"/>
              <a:gd name="connsiteY916" fmla="*/ 0 h 6858000"/>
              <a:gd name="connsiteX917" fmla="*/ 3094669 w 7467600"/>
              <a:gd name="connsiteY917" fmla="*/ 30308 h 6858000"/>
              <a:gd name="connsiteX918" fmla="*/ 2901945 w 7467600"/>
              <a:gd name="connsiteY918" fmla="*/ 466538 h 6858000"/>
              <a:gd name="connsiteX919" fmla="*/ 2815209 w 7467600"/>
              <a:gd name="connsiteY919" fmla="*/ 497361 h 6858000"/>
              <a:gd name="connsiteX920" fmla="*/ 2844845 w 7467600"/>
              <a:gd name="connsiteY920" fmla="*/ 127638 h 6858000"/>
              <a:gd name="connsiteX921" fmla="*/ 2867960 w 7467600"/>
              <a:gd name="connsiteY921" fmla="*/ 0 h 6858000"/>
              <a:gd name="connsiteX922" fmla="*/ 1057230 w 7467600"/>
              <a:gd name="connsiteY922" fmla="*/ 0 h 6858000"/>
              <a:gd name="connsiteX923" fmla="*/ 1111003 w 7467600"/>
              <a:gd name="connsiteY923" fmla="*/ 0 h 6858000"/>
              <a:gd name="connsiteX924" fmla="*/ 1125553 w 7467600"/>
              <a:gd name="connsiteY924" fmla="*/ 52588 h 6858000"/>
              <a:gd name="connsiteX925" fmla="*/ 1304276 w 7467600"/>
              <a:gd name="connsiteY925" fmla="*/ 476275 h 6858000"/>
              <a:gd name="connsiteX926" fmla="*/ 1492066 w 7467600"/>
              <a:gd name="connsiteY926" fmla="*/ 886333 h 6858000"/>
              <a:gd name="connsiteX927" fmla="*/ 1423698 w 7467600"/>
              <a:gd name="connsiteY927" fmla="*/ 710817 h 6858000"/>
              <a:gd name="connsiteX928" fmla="*/ 1357609 w 7467600"/>
              <a:gd name="connsiteY928" fmla="*/ 532892 h 6858000"/>
              <a:gd name="connsiteX929" fmla="*/ 1309550 w 7467600"/>
              <a:gd name="connsiteY929" fmla="*/ 374031 h 6858000"/>
              <a:gd name="connsiteX930" fmla="*/ 1193673 w 7467600"/>
              <a:gd name="connsiteY930" fmla="*/ 49533 h 6858000"/>
              <a:gd name="connsiteX931" fmla="*/ 1164391 w 7467600"/>
              <a:gd name="connsiteY931" fmla="*/ 0 h 6858000"/>
              <a:gd name="connsiteX932" fmla="*/ 1200666 w 7467600"/>
              <a:gd name="connsiteY932" fmla="*/ 0 h 6858000"/>
              <a:gd name="connsiteX933" fmla="*/ 1223408 w 7467600"/>
              <a:gd name="connsiteY933" fmla="*/ 38996 h 6858000"/>
              <a:gd name="connsiteX934" fmla="*/ 1339635 w 7467600"/>
              <a:gd name="connsiteY934" fmla="*/ 365517 h 6858000"/>
              <a:gd name="connsiteX935" fmla="*/ 1387469 w 7467600"/>
              <a:gd name="connsiteY935" fmla="*/ 523079 h 6858000"/>
              <a:gd name="connsiteX936" fmla="*/ 1452685 w 7467600"/>
              <a:gd name="connsiteY936" fmla="*/ 699806 h 6858000"/>
              <a:gd name="connsiteX937" fmla="*/ 1492092 w 7467600"/>
              <a:gd name="connsiteY937" fmla="*/ 800424 h 6858000"/>
              <a:gd name="connsiteX938" fmla="*/ 1455302 w 7467600"/>
              <a:gd name="connsiteY938" fmla="*/ 632913 h 6858000"/>
              <a:gd name="connsiteX939" fmla="*/ 1222336 w 7467600"/>
              <a:gd name="connsiteY939" fmla="*/ 9480 h 6858000"/>
              <a:gd name="connsiteX940" fmla="*/ 1214634 w 7467600"/>
              <a:gd name="connsiteY940" fmla="*/ 0 h 6858000"/>
              <a:gd name="connsiteX941" fmla="*/ 1289827 w 7467600"/>
              <a:gd name="connsiteY941" fmla="*/ 0 h 6858000"/>
              <a:gd name="connsiteX942" fmla="*/ 1321076 w 7467600"/>
              <a:gd name="connsiteY942" fmla="*/ 59722 h 6858000"/>
              <a:gd name="connsiteX943" fmla="*/ 1512579 w 7467600"/>
              <a:gd name="connsiteY943" fmla="*/ 626441 h 6858000"/>
              <a:gd name="connsiteX944" fmla="*/ 1506076 w 7467600"/>
              <a:gd name="connsiteY944" fmla="*/ 1089289 h 6858000"/>
              <a:gd name="connsiteX945" fmla="*/ 1486346 w 7467600"/>
              <a:gd name="connsiteY945" fmla="*/ 1079919 h 6858000"/>
              <a:gd name="connsiteX946" fmla="*/ 1070511 w 7467600"/>
              <a:gd name="connsiteY946" fmla="*/ 48609 h 6858000"/>
              <a:gd name="connsiteX947" fmla="*/ 1057230 w 7467600"/>
              <a:gd name="connsiteY947" fmla="*/ 0 h 6858000"/>
              <a:gd name="connsiteX948" fmla="*/ 43151 w 7467600"/>
              <a:gd name="connsiteY948" fmla="*/ 0 h 6858000"/>
              <a:gd name="connsiteX949" fmla="*/ 95283 w 7467600"/>
              <a:gd name="connsiteY949" fmla="*/ 0 h 6858000"/>
              <a:gd name="connsiteX950" fmla="*/ 300708 w 7467600"/>
              <a:gd name="connsiteY950" fmla="*/ 154571 h 6858000"/>
              <a:gd name="connsiteX951" fmla="*/ 530414 w 7467600"/>
              <a:gd name="connsiteY951" fmla="*/ 354673 h 6858000"/>
              <a:gd name="connsiteX952" fmla="*/ 333785 w 7467600"/>
              <a:gd name="connsiteY952" fmla="*/ 161564 h 6858000"/>
              <a:gd name="connsiteX953" fmla="*/ 147005 w 7467600"/>
              <a:gd name="connsiteY953" fmla="*/ 0 h 6858000"/>
              <a:gd name="connsiteX954" fmla="*/ 272509 w 7467600"/>
              <a:gd name="connsiteY954" fmla="*/ 0 h 6858000"/>
              <a:gd name="connsiteX955" fmla="*/ 326276 w 7467600"/>
              <a:gd name="connsiteY955" fmla="*/ 45847 h 6858000"/>
              <a:gd name="connsiteX956" fmla="*/ 823759 w 7467600"/>
              <a:gd name="connsiteY956" fmla="*/ 574145 h 6858000"/>
              <a:gd name="connsiteX957" fmla="*/ 811254 w 7467600"/>
              <a:gd name="connsiteY957" fmla="*/ 665546 h 6858000"/>
              <a:gd name="connsiteX958" fmla="*/ 154042 w 7467600"/>
              <a:gd name="connsiteY958" fmla="*/ 261522 h 6858000"/>
              <a:gd name="connsiteX959" fmla="*/ 13550 w 7467600"/>
              <a:gd name="connsiteY959" fmla="*/ 158423 h 6858000"/>
              <a:gd name="connsiteX960" fmla="*/ 0 w 7467600"/>
              <a:gd name="connsiteY960" fmla="*/ 146618 h 6858000"/>
              <a:gd name="connsiteX961" fmla="*/ 0 w 7467600"/>
              <a:gd name="connsiteY961" fmla="*/ 59161 h 6858000"/>
              <a:gd name="connsiteX962" fmla="*/ 45427 w 7467600"/>
              <a:gd name="connsiteY962" fmla="*/ 101078 h 6858000"/>
              <a:gd name="connsiteX963" fmla="*/ 630103 w 7467600"/>
              <a:gd name="connsiteY963" fmla="*/ 485885 h 6858000"/>
              <a:gd name="connsiteX964" fmla="*/ 532040 w 7467600"/>
              <a:gd name="connsiteY964" fmla="*/ 399359 h 6858000"/>
              <a:gd name="connsiteX965" fmla="*/ 517618 w 7467600"/>
              <a:gd name="connsiteY965" fmla="*/ 385726 h 6858000"/>
              <a:gd name="connsiteX966" fmla="*/ 285074 w 7467600"/>
              <a:gd name="connsiteY966" fmla="*/ 182755 h 6858000"/>
              <a:gd name="connsiteX967" fmla="*/ 43151 w 7467600"/>
              <a:gd name="connsiteY967"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7454976 w 7467600"/>
              <a:gd name="connsiteY74" fmla="*/ 6318297 h 6858000"/>
              <a:gd name="connsiteX75" fmla="*/ 7379510 w 7467600"/>
              <a:gd name="connsiteY75" fmla="*/ 5755454 h 6858000"/>
              <a:gd name="connsiteX76" fmla="*/ 7467600 w 7467600"/>
              <a:gd name="connsiteY76" fmla="*/ 5845526 h 6858000"/>
              <a:gd name="connsiteX77" fmla="*/ 7467600 w 7467600"/>
              <a:gd name="connsiteY77" fmla="*/ 6012219 h 6858000"/>
              <a:gd name="connsiteX78" fmla="*/ 7356878 w 7467600"/>
              <a:gd name="connsiteY78" fmla="*/ 5981332 h 6858000"/>
              <a:gd name="connsiteX79" fmla="*/ 7467600 w 7467600"/>
              <a:gd name="connsiteY79" fmla="*/ 6117703 h 6858000"/>
              <a:gd name="connsiteX80" fmla="*/ 7467600 w 7467600"/>
              <a:gd name="connsiteY80" fmla="*/ 6163634 h 6858000"/>
              <a:gd name="connsiteX81" fmla="*/ 7403637 w 7467600"/>
              <a:gd name="connsiteY81" fmla="*/ 6083957 h 6858000"/>
              <a:gd name="connsiteX82" fmla="*/ 7254615 w 7467600"/>
              <a:gd name="connsiteY82" fmla="*/ 5911918 h 6858000"/>
              <a:gd name="connsiteX83" fmla="*/ 7312589 w 7467600"/>
              <a:gd name="connsiteY83" fmla="*/ 5982309 h 6858000"/>
              <a:gd name="connsiteX84" fmla="*/ 7448321 w 7467600"/>
              <a:gd name="connsiteY84" fmla="*/ 6190991 h 6858000"/>
              <a:gd name="connsiteX85" fmla="*/ 7467600 w 7467600"/>
              <a:gd name="connsiteY85" fmla="*/ 6221686 h 6858000"/>
              <a:gd name="connsiteX86" fmla="*/ 7467600 w 7467600"/>
              <a:gd name="connsiteY86" fmla="*/ 6334256 h 6858000"/>
              <a:gd name="connsiteX87" fmla="*/ 7454976 w 7467600"/>
              <a:gd name="connsiteY87" fmla="*/ 6318297 h 6858000"/>
              <a:gd name="connsiteX88" fmla="*/ 1456157 w 7467600"/>
              <a:gd name="connsiteY88" fmla="*/ 5371404 h 6858000"/>
              <a:gd name="connsiteX89" fmla="*/ 1244432 w 7467600"/>
              <a:gd name="connsiteY89" fmla="*/ 5385601 h 6858000"/>
              <a:gd name="connsiteX90" fmla="*/ 973990 w 7467600"/>
              <a:gd name="connsiteY90" fmla="*/ 5424940 h 6858000"/>
              <a:gd name="connsiteX91" fmla="*/ 1103809 w 7467600"/>
              <a:gd name="connsiteY91" fmla="*/ 5433720 h 6858000"/>
              <a:gd name="connsiteX92" fmla="*/ 1123454 w 7467600"/>
              <a:gd name="connsiteY92" fmla="*/ 5435727 h 6858000"/>
              <a:gd name="connsiteX93" fmla="*/ 1737017 w 7467600"/>
              <a:gd name="connsiteY93" fmla="*/ 5452183 h 6858000"/>
              <a:gd name="connsiteX94" fmla="*/ 1824397 w 7467600"/>
              <a:gd name="connsiteY94" fmla="*/ 5447757 h 6858000"/>
              <a:gd name="connsiteX95" fmla="*/ 2070059 w 7467600"/>
              <a:gd name="connsiteY95" fmla="*/ 5441660 h 6858000"/>
              <a:gd name="connsiteX96" fmla="*/ 1456157 w 7467600"/>
              <a:gd name="connsiteY96" fmla="*/ 5371404 h 6858000"/>
              <a:gd name="connsiteX97" fmla="*/ 4988186 w 7467600"/>
              <a:gd name="connsiteY97" fmla="*/ 5216467 h 6858000"/>
              <a:gd name="connsiteX98" fmla="*/ 4777334 w 7467600"/>
              <a:gd name="connsiteY98" fmla="*/ 5406072 h 6858000"/>
              <a:gd name="connsiteX99" fmla="*/ 4718341 w 7467600"/>
              <a:gd name="connsiteY99" fmla="*/ 5468043 h 6858000"/>
              <a:gd name="connsiteX100" fmla="*/ 4604655 w 7467600"/>
              <a:gd name="connsiteY100" fmla="*/ 5583434 h 6858000"/>
              <a:gd name="connsiteX101" fmla="*/ 4565074 w 7467600"/>
              <a:gd name="connsiteY101" fmla="*/ 5618550 h 6858000"/>
              <a:gd name="connsiteX102" fmla="*/ 4988186 w 7467600"/>
              <a:gd name="connsiteY102" fmla="*/ 5216467 h 6858000"/>
              <a:gd name="connsiteX103" fmla="*/ 4978032 w 7467600"/>
              <a:gd name="connsiteY103" fmla="*/ 5183809 h 6858000"/>
              <a:gd name="connsiteX104" fmla="*/ 4463413 w 7467600"/>
              <a:gd name="connsiteY104" fmla="*/ 5615162 h 6858000"/>
              <a:gd name="connsiteX105" fmla="*/ 4358134 w 7467600"/>
              <a:gd name="connsiteY105" fmla="*/ 5742791 h 6858000"/>
              <a:gd name="connsiteX106" fmla="*/ 4376219 w 7467600"/>
              <a:gd name="connsiteY106" fmla="*/ 5729027 h 6858000"/>
              <a:gd name="connsiteX107" fmla="*/ 4582340 w 7467600"/>
              <a:gd name="connsiteY107" fmla="*/ 5561037 h 6858000"/>
              <a:gd name="connsiteX108" fmla="*/ 4694684 w 7467600"/>
              <a:gd name="connsiteY108" fmla="*/ 5447098 h 6858000"/>
              <a:gd name="connsiteX109" fmla="*/ 4754123 w 7467600"/>
              <a:gd name="connsiteY109" fmla="*/ 5384643 h 6858000"/>
              <a:gd name="connsiteX110" fmla="*/ 4978032 w 7467600"/>
              <a:gd name="connsiteY110" fmla="*/ 5183809 h 6858000"/>
              <a:gd name="connsiteX111" fmla="*/ 1903353 w 7467600"/>
              <a:gd name="connsiteY111" fmla="*/ 5044827 h 6858000"/>
              <a:gd name="connsiteX112" fmla="*/ 1936931 w 7467600"/>
              <a:gd name="connsiteY112" fmla="*/ 5093954 h 6858000"/>
              <a:gd name="connsiteX113" fmla="*/ 2195868 w 7467600"/>
              <a:gd name="connsiteY113" fmla="*/ 5396574 h 6858000"/>
              <a:gd name="connsiteX114" fmla="*/ 2088852 w 7467600"/>
              <a:gd name="connsiteY114" fmla="*/ 5166123 h 6858000"/>
              <a:gd name="connsiteX115" fmla="*/ 1958241 w 7467600"/>
              <a:gd name="connsiteY115" fmla="*/ 5067955 h 6858000"/>
              <a:gd name="connsiteX116" fmla="*/ 1903353 w 7467600"/>
              <a:gd name="connsiteY116" fmla="*/ 5044827 h 6858000"/>
              <a:gd name="connsiteX117" fmla="*/ 1979378 w 7467600"/>
              <a:gd name="connsiteY117" fmla="*/ 4769504 h 6858000"/>
              <a:gd name="connsiteX118" fmla="*/ 2882120 w 7467600"/>
              <a:gd name="connsiteY118" fmla="*/ 5064547 h 6858000"/>
              <a:gd name="connsiteX119" fmla="*/ 2793103 w 7467600"/>
              <a:gd name="connsiteY119" fmla="*/ 5039699 h 6858000"/>
              <a:gd name="connsiteX120" fmla="*/ 2770041 w 7467600"/>
              <a:gd name="connsiteY120" fmla="*/ 5033634 h 6858000"/>
              <a:gd name="connsiteX121" fmla="*/ 1979378 w 7467600"/>
              <a:gd name="connsiteY121" fmla="*/ 4769504 h 6858000"/>
              <a:gd name="connsiteX122" fmla="*/ 1927410 w 7467600"/>
              <a:gd name="connsiteY122" fmla="*/ 4716164 h 6858000"/>
              <a:gd name="connsiteX123" fmla="*/ 1959587 w 7467600"/>
              <a:gd name="connsiteY123" fmla="*/ 4728849 h 6858000"/>
              <a:gd name="connsiteX124" fmla="*/ 2777707 w 7467600"/>
              <a:gd name="connsiteY124" fmla="*/ 5003991 h 6858000"/>
              <a:gd name="connsiteX125" fmla="*/ 2800768 w 7467600"/>
              <a:gd name="connsiteY125" fmla="*/ 5010056 h 6858000"/>
              <a:gd name="connsiteX126" fmla="*/ 2879408 w 7467600"/>
              <a:gd name="connsiteY126" fmla="*/ 5031590 h 6858000"/>
              <a:gd name="connsiteX127" fmla="*/ 2862295 w 7467600"/>
              <a:gd name="connsiteY127" fmla="*/ 5022958 h 6858000"/>
              <a:gd name="connsiteX128" fmla="*/ 2813343 w 7467600"/>
              <a:gd name="connsiteY128" fmla="*/ 4998369 h 6858000"/>
              <a:gd name="connsiteX129" fmla="*/ 2646245 w 7467600"/>
              <a:gd name="connsiteY129" fmla="*/ 4930999 h 6858000"/>
              <a:gd name="connsiteX130" fmla="*/ 1999243 w 7467600"/>
              <a:gd name="connsiteY130" fmla="*/ 4730524 h 6858000"/>
              <a:gd name="connsiteX131" fmla="*/ 1979527 w 7467600"/>
              <a:gd name="connsiteY131" fmla="*/ 4726651 h 6858000"/>
              <a:gd name="connsiteX132" fmla="*/ 1927410 w 7467600"/>
              <a:gd name="connsiteY132" fmla="*/ 4716164 h 6858000"/>
              <a:gd name="connsiteX133" fmla="*/ 1997014 w 7467600"/>
              <a:gd name="connsiteY133" fmla="*/ 4698007 h 6858000"/>
              <a:gd name="connsiteX134" fmla="*/ 2005458 w 7467600"/>
              <a:gd name="connsiteY134" fmla="*/ 4699540 h 6858000"/>
              <a:gd name="connsiteX135" fmla="*/ 2657186 w 7467600"/>
              <a:gd name="connsiteY135" fmla="*/ 4901687 h 6858000"/>
              <a:gd name="connsiteX136" fmla="*/ 2826662 w 7467600"/>
              <a:gd name="connsiteY136" fmla="*/ 4970362 h 6858000"/>
              <a:gd name="connsiteX137" fmla="*/ 2876100 w 7467600"/>
              <a:gd name="connsiteY137" fmla="*/ 4995397 h 6858000"/>
              <a:gd name="connsiteX138" fmla="*/ 3042600 w 7467600"/>
              <a:gd name="connsiteY138" fmla="*/ 5059532 h 6858000"/>
              <a:gd name="connsiteX139" fmla="*/ 1997014 w 7467600"/>
              <a:gd name="connsiteY139" fmla="*/ 4698007 h 6858000"/>
              <a:gd name="connsiteX140" fmla="*/ 2305292 w 7467600"/>
              <a:gd name="connsiteY140" fmla="*/ 4219492 h 6858000"/>
              <a:gd name="connsiteX141" fmla="*/ 3360922 w 7467600"/>
              <a:gd name="connsiteY141" fmla="*/ 4529373 h 6858000"/>
              <a:gd name="connsiteX142" fmla="*/ 3492420 w 7467600"/>
              <a:gd name="connsiteY142" fmla="*/ 4510145 h 6858000"/>
              <a:gd name="connsiteX143" fmla="*/ 3364086 w 7467600"/>
              <a:gd name="connsiteY143" fmla="*/ 4480340 h 6858000"/>
              <a:gd name="connsiteX144" fmla="*/ 3225818 w 7467600"/>
              <a:gd name="connsiteY144" fmla="*/ 4411822 h 6858000"/>
              <a:gd name="connsiteX145" fmla="*/ 3129696 w 7467600"/>
              <a:gd name="connsiteY145" fmla="*/ 4360704 h 6858000"/>
              <a:gd name="connsiteX146" fmla="*/ 2814545 w 7467600"/>
              <a:gd name="connsiteY146" fmla="*/ 4282955 h 6858000"/>
              <a:gd name="connsiteX147" fmla="*/ 2305292 w 7467600"/>
              <a:gd name="connsiteY147" fmla="*/ 4219492 h 6858000"/>
              <a:gd name="connsiteX148" fmla="*/ 2626982 w 7467600"/>
              <a:gd name="connsiteY148" fmla="*/ 4206450 h 6858000"/>
              <a:gd name="connsiteX149" fmla="*/ 2490617 w 7467600"/>
              <a:gd name="connsiteY149" fmla="*/ 4206951 h 6858000"/>
              <a:gd name="connsiteX150" fmla="*/ 2819869 w 7467600"/>
              <a:gd name="connsiteY150" fmla="*/ 4252936 h 6858000"/>
              <a:gd name="connsiteX151" fmla="*/ 3143018 w 7467600"/>
              <a:gd name="connsiteY151" fmla="*/ 4332698 h 6858000"/>
              <a:gd name="connsiteX152" fmla="*/ 3241520 w 7467600"/>
              <a:gd name="connsiteY152" fmla="*/ 4385112 h 6858000"/>
              <a:gd name="connsiteX153" fmla="*/ 3374575 w 7467600"/>
              <a:gd name="connsiteY153" fmla="*/ 4451517 h 6858000"/>
              <a:gd name="connsiteX154" fmla="*/ 3505221 w 7467600"/>
              <a:gd name="connsiteY154" fmla="*/ 4480757 h 6858000"/>
              <a:gd name="connsiteX155" fmla="*/ 2626982 w 7467600"/>
              <a:gd name="connsiteY155" fmla="*/ 4206450 h 6858000"/>
              <a:gd name="connsiteX156" fmla="*/ 1310106 w 7467600"/>
              <a:gd name="connsiteY156" fmla="*/ 3943217 h 6858000"/>
              <a:gd name="connsiteX157" fmla="*/ 854994 w 7467600"/>
              <a:gd name="connsiteY157" fmla="*/ 4399136 h 6858000"/>
              <a:gd name="connsiteX158" fmla="*/ 742462 w 7467600"/>
              <a:gd name="connsiteY158" fmla="*/ 4594648 h 6858000"/>
              <a:gd name="connsiteX159" fmla="*/ 820602 w 7467600"/>
              <a:gd name="connsiteY159" fmla="*/ 4485915 h 6858000"/>
              <a:gd name="connsiteX160" fmla="*/ 878295 w 7467600"/>
              <a:gd name="connsiteY160" fmla="*/ 4403594 h 6858000"/>
              <a:gd name="connsiteX161" fmla="*/ 1240607 w 7467600"/>
              <a:gd name="connsiteY161" fmla="*/ 4010401 h 6858000"/>
              <a:gd name="connsiteX162" fmla="*/ 1310106 w 7467600"/>
              <a:gd name="connsiteY162" fmla="*/ 3943217 h 6858000"/>
              <a:gd name="connsiteX163" fmla="*/ 1423113 w 7467600"/>
              <a:gd name="connsiteY163" fmla="*/ 3874565 h 6858000"/>
              <a:gd name="connsiteX164" fmla="*/ 1260565 w 7467600"/>
              <a:gd name="connsiteY164" fmla="*/ 4031982 h 6858000"/>
              <a:gd name="connsiteX165" fmla="*/ 901900 w 7467600"/>
              <a:gd name="connsiteY165" fmla="*/ 4421236 h 6858000"/>
              <a:gd name="connsiteX166" fmla="*/ 845044 w 7467600"/>
              <a:gd name="connsiteY166" fmla="*/ 4502436 h 6858000"/>
              <a:gd name="connsiteX167" fmla="*/ 685926 w 7467600"/>
              <a:gd name="connsiteY167" fmla="*/ 4703069 h 6858000"/>
              <a:gd name="connsiteX168" fmla="*/ 684248 w 7467600"/>
              <a:gd name="connsiteY168" fmla="*/ 4706721 h 6858000"/>
              <a:gd name="connsiteX169" fmla="*/ 1423113 w 7467600"/>
              <a:gd name="connsiteY169" fmla="*/ 3874565 h 6858000"/>
              <a:gd name="connsiteX170" fmla="*/ 3316479 w 7467600"/>
              <a:gd name="connsiteY170" fmla="*/ 3872136 h 6858000"/>
              <a:gd name="connsiteX171" fmla="*/ 3546806 w 7467600"/>
              <a:gd name="connsiteY171" fmla="*/ 4356139 h 6858000"/>
              <a:gd name="connsiteX172" fmla="*/ 3364433 w 7467600"/>
              <a:gd name="connsiteY172" fmla="*/ 3953121 h 6858000"/>
              <a:gd name="connsiteX173" fmla="*/ 3316479 w 7467600"/>
              <a:gd name="connsiteY173" fmla="*/ 3872136 h 6858000"/>
              <a:gd name="connsiteX174" fmla="*/ 3291335 w 7467600"/>
              <a:gd name="connsiteY174" fmla="*/ 3767420 h 6858000"/>
              <a:gd name="connsiteX175" fmla="*/ 3390805 w 7467600"/>
              <a:gd name="connsiteY175" fmla="*/ 3937163 h 6858000"/>
              <a:gd name="connsiteX176" fmla="*/ 3579062 w 7467600"/>
              <a:gd name="connsiteY176" fmla="*/ 4359040 h 6858000"/>
              <a:gd name="connsiteX177" fmla="*/ 3467355 w 7467600"/>
              <a:gd name="connsiteY177" fmla="*/ 3988130 h 6858000"/>
              <a:gd name="connsiteX178" fmla="*/ 3310753 w 7467600"/>
              <a:gd name="connsiteY178" fmla="*/ 3787140 h 6858000"/>
              <a:gd name="connsiteX179" fmla="*/ 3291335 w 7467600"/>
              <a:gd name="connsiteY179" fmla="*/ 3767420 h 6858000"/>
              <a:gd name="connsiteX180" fmla="*/ 1635889 w 7467600"/>
              <a:gd name="connsiteY180" fmla="*/ 3709494 h 6858000"/>
              <a:gd name="connsiteX181" fmla="*/ 1634800 w 7467600"/>
              <a:gd name="connsiteY181" fmla="*/ 3731111 h 6858000"/>
              <a:gd name="connsiteX182" fmla="*/ 1635889 w 7467600"/>
              <a:gd name="connsiteY182" fmla="*/ 3709494 h 6858000"/>
              <a:gd name="connsiteX183" fmla="*/ 1510397 w 7467600"/>
              <a:gd name="connsiteY183" fmla="*/ 3684705 h 6858000"/>
              <a:gd name="connsiteX184" fmla="*/ 1146550 w 7467600"/>
              <a:gd name="connsiteY184" fmla="*/ 3802012 h 6858000"/>
              <a:gd name="connsiteX185" fmla="*/ 698834 w 7467600"/>
              <a:gd name="connsiteY185" fmla="*/ 3952272 h 6858000"/>
              <a:gd name="connsiteX186" fmla="*/ 34256 w 7467600"/>
              <a:gd name="connsiteY186" fmla="*/ 4347603 h 6858000"/>
              <a:gd name="connsiteX187" fmla="*/ 527241 w 7467600"/>
              <a:gd name="connsiteY187" fmla="*/ 4065078 h 6858000"/>
              <a:gd name="connsiteX188" fmla="*/ 1510397 w 7467600"/>
              <a:gd name="connsiteY188" fmla="*/ 3684705 h 6858000"/>
              <a:gd name="connsiteX189" fmla="*/ 1313114 w 7467600"/>
              <a:gd name="connsiteY189" fmla="*/ 3655216 h 6858000"/>
              <a:gd name="connsiteX190" fmla="*/ 1109304 w 7467600"/>
              <a:gd name="connsiteY190" fmla="*/ 3669030 h 6858000"/>
              <a:gd name="connsiteX191" fmla="*/ 8129 w 7467600"/>
              <a:gd name="connsiteY191" fmla="*/ 4330519 h 6858000"/>
              <a:gd name="connsiteX192" fmla="*/ 687572 w 7467600"/>
              <a:gd name="connsiteY192" fmla="*/ 3925629 h 6858000"/>
              <a:gd name="connsiteX193" fmla="*/ 1138365 w 7467600"/>
              <a:gd name="connsiteY193" fmla="*/ 3774515 h 6858000"/>
              <a:gd name="connsiteX194" fmla="*/ 1505579 w 7467600"/>
              <a:gd name="connsiteY194" fmla="*/ 3655526 h 6858000"/>
              <a:gd name="connsiteX195" fmla="*/ 1313114 w 7467600"/>
              <a:gd name="connsiteY195" fmla="*/ 3655216 h 6858000"/>
              <a:gd name="connsiteX196" fmla="*/ 3655073 w 7467600"/>
              <a:gd name="connsiteY196" fmla="*/ 3650884 h 6858000"/>
              <a:gd name="connsiteX197" fmla="*/ 3989938 w 7467600"/>
              <a:gd name="connsiteY197" fmla="*/ 3991685 h 6858000"/>
              <a:gd name="connsiteX198" fmla="*/ 4393907 w 7467600"/>
              <a:gd name="connsiteY198" fmla="*/ 4261258 h 6858000"/>
              <a:gd name="connsiteX199" fmla="*/ 4648051 w 7467600"/>
              <a:gd name="connsiteY199" fmla="*/ 4374051 h 6858000"/>
              <a:gd name="connsiteX200" fmla="*/ 4383389 w 7467600"/>
              <a:gd name="connsiteY200" fmla="*/ 4184369 h 6858000"/>
              <a:gd name="connsiteX201" fmla="*/ 4165508 w 7467600"/>
              <a:gd name="connsiteY201" fmla="*/ 4035196 h 6858000"/>
              <a:gd name="connsiteX202" fmla="*/ 4068162 w 7467600"/>
              <a:gd name="connsiteY202" fmla="*/ 3953394 h 6858000"/>
              <a:gd name="connsiteX203" fmla="*/ 3981416 w 7467600"/>
              <a:gd name="connsiteY203" fmla="*/ 3880482 h 6858000"/>
              <a:gd name="connsiteX204" fmla="*/ 3800147 w 7467600"/>
              <a:gd name="connsiteY204" fmla="*/ 3749872 h 6858000"/>
              <a:gd name="connsiteX205" fmla="*/ 3655073 w 7467600"/>
              <a:gd name="connsiteY205" fmla="*/ 3650884 h 6858000"/>
              <a:gd name="connsiteX206" fmla="*/ 3670252 w 7467600"/>
              <a:gd name="connsiteY206" fmla="*/ 3622798 h 6858000"/>
              <a:gd name="connsiteX207" fmla="*/ 3817258 w 7467600"/>
              <a:gd name="connsiteY207" fmla="*/ 3723577 h 6858000"/>
              <a:gd name="connsiteX208" fmla="*/ 4000461 w 7467600"/>
              <a:gd name="connsiteY208" fmla="*/ 3855966 h 6858000"/>
              <a:gd name="connsiteX209" fmla="*/ 4088180 w 7467600"/>
              <a:gd name="connsiteY209" fmla="*/ 3929774 h 6858000"/>
              <a:gd name="connsiteX210" fmla="*/ 4184555 w 7467600"/>
              <a:gd name="connsiteY210" fmla="*/ 4010683 h 6858000"/>
              <a:gd name="connsiteX211" fmla="*/ 4399563 w 7467600"/>
              <a:gd name="connsiteY211" fmla="*/ 4158106 h 6858000"/>
              <a:gd name="connsiteX212" fmla="*/ 4684469 w 7467600"/>
              <a:gd name="connsiteY212" fmla="*/ 4364680 h 6858000"/>
              <a:gd name="connsiteX213" fmla="*/ 4690271 w 7467600"/>
              <a:gd name="connsiteY213" fmla="*/ 4370034 h 6858000"/>
              <a:gd name="connsiteX214" fmla="*/ 4136093 w 7467600"/>
              <a:gd name="connsiteY214" fmla="*/ 3858466 h 6858000"/>
              <a:gd name="connsiteX215" fmla="*/ 3670252 w 7467600"/>
              <a:gd name="connsiteY215" fmla="*/ 3622798 h 6858000"/>
              <a:gd name="connsiteX216" fmla="*/ 4440129 w 7467600"/>
              <a:gd name="connsiteY216" fmla="*/ 3448571 h 6858000"/>
              <a:gd name="connsiteX217" fmla="*/ 4856525 w 7467600"/>
              <a:gd name="connsiteY217" fmla="*/ 3915351 h 6858000"/>
              <a:gd name="connsiteX218" fmla="*/ 5059055 w 7467600"/>
              <a:gd name="connsiteY218" fmla="*/ 4108918 h 6858000"/>
              <a:gd name="connsiteX219" fmla="*/ 5290070 w 7467600"/>
              <a:gd name="connsiteY219" fmla="*/ 4263619 h 6858000"/>
              <a:gd name="connsiteX220" fmla="*/ 4834991 w 7467600"/>
              <a:gd name="connsiteY220" fmla="*/ 3830985 h 6858000"/>
              <a:gd name="connsiteX221" fmla="*/ 4440129 w 7467600"/>
              <a:gd name="connsiteY221" fmla="*/ 3448571 h 6858000"/>
              <a:gd name="connsiteX222" fmla="*/ 4441737 w 7467600"/>
              <a:gd name="connsiteY222" fmla="*/ 3399734 h 6858000"/>
              <a:gd name="connsiteX223" fmla="*/ 4431236 w 7467600"/>
              <a:gd name="connsiteY223" fmla="*/ 3400954 h 6858000"/>
              <a:gd name="connsiteX224" fmla="*/ 4557150 w 7467600"/>
              <a:gd name="connsiteY224" fmla="*/ 3510023 h 6858000"/>
              <a:gd name="connsiteX225" fmla="*/ 4856936 w 7467600"/>
              <a:gd name="connsiteY225" fmla="*/ 3809146 h 6858000"/>
              <a:gd name="connsiteX226" fmla="*/ 5111996 w 7467600"/>
              <a:gd name="connsiteY226" fmla="*/ 4065759 h 6858000"/>
              <a:gd name="connsiteX227" fmla="*/ 5388878 w 7467600"/>
              <a:gd name="connsiteY227" fmla="*/ 4300185 h 6858000"/>
              <a:gd name="connsiteX228" fmla="*/ 5425556 w 7467600"/>
              <a:gd name="connsiteY228" fmla="*/ 4308967 h 6858000"/>
              <a:gd name="connsiteX229" fmla="*/ 4943646 w 7467600"/>
              <a:gd name="connsiteY229" fmla="*/ 3822916 h 6858000"/>
              <a:gd name="connsiteX230" fmla="*/ 4594837 w 7467600"/>
              <a:gd name="connsiteY230" fmla="*/ 3532274 h 6858000"/>
              <a:gd name="connsiteX231" fmla="*/ 4441737 w 7467600"/>
              <a:gd name="connsiteY231" fmla="*/ 3399734 h 6858000"/>
              <a:gd name="connsiteX232" fmla="*/ 5425834 w 7467600"/>
              <a:gd name="connsiteY232" fmla="*/ 3162785 h 6858000"/>
              <a:gd name="connsiteX233" fmla="*/ 5401644 w 7467600"/>
              <a:gd name="connsiteY233" fmla="*/ 3617847 h 6858000"/>
              <a:gd name="connsiteX234" fmla="*/ 5467256 w 7467600"/>
              <a:gd name="connsiteY234" fmla="*/ 4175494 h 6858000"/>
              <a:gd name="connsiteX235" fmla="*/ 5448069 w 7467600"/>
              <a:gd name="connsiteY235" fmla="*/ 3567554 h 6858000"/>
              <a:gd name="connsiteX236" fmla="*/ 5425834 w 7467600"/>
              <a:gd name="connsiteY236" fmla="*/ 3162785 h 6858000"/>
              <a:gd name="connsiteX237" fmla="*/ 1318687 w 7467600"/>
              <a:gd name="connsiteY237" fmla="*/ 3113840 h 6858000"/>
              <a:gd name="connsiteX238" fmla="*/ 1066793 w 7467600"/>
              <a:gd name="connsiteY238" fmla="*/ 3212171 h 6858000"/>
              <a:gd name="connsiteX239" fmla="*/ 993319 w 7467600"/>
              <a:gd name="connsiteY239" fmla="*/ 3247648 h 6858000"/>
              <a:gd name="connsiteX240" fmla="*/ 853081 w 7467600"/>
              <a:gd name="connsiteY240" fmla="*/ 3312410 h 6858000"/>
              <a:gd name="connsiteX241" fmla="*/ 805957 w 7467600"/>
              <a:gd name="connsiteY241" fmla="*/ 3330443 h 6858000"/>
              <a:gd name="connsiteX242" fmla="*/ 1318687 w 7467600"/>
              <a:gd name="connsiteY242" fmla="*/ 3113840 h 6858000"/>
              <a:gd name="connsiteX243" fmla="*/ 5453702 w 7467600"/>
              <a:gd name="connsiteY243" fmla="*/ 3090882 h 6858000"/>
              <a:gd name="connsiteX244" fmla="*/ 5480135 w 7467600"/>
              <a:gd name="connsiteY244" fmla="*/ 3565802 h 6858000"/>
              <a:gd name="connsiteX245" fmla="*/ 5499023 w 7467600"/>
              <a:gd name="connsiteY245" fmla="*/ 4166310 h 6858000"/>
              <a:gd name="connsiteX246" fmla="*/ 5547022 w 7467600"/>
              <a:gd name="connsiteY246" fmla="*/ 3607838 h 6858000"/>
              <a:gd name="connsiteX247" fmla="*/ 5515964 w 7467600"/>
              <a:gd name="connsiteY247" fmla="*/ 3378541 h 6858000"/>
              <a:gd name="connsiteX248" fmla="*/ 5453702 w 7467600"/>
              <a:gd name="connsiteY248" fmla="*/ 3090882 h 6858000"/>
              <a:gd name="connsiteX249" fmla="*/ 1238695 w 7467600"/>
              <a:gd name="connsiteY249" fmla="*/ 3076820 h 6858000"/>
              <a:gd name="connsiteX250" fmla="*/ 716371 w 7467600"/>
              <a:gd name="connsiteY250" fmla="*/ 3293249 h 6858000"/>
              <a:gd name="connsiteX251" fmla="*/ 579522 w 7467600"/>
              <a:gd name="connsiteY251" fmla="*/ 3371759 h 6858000"/>
              <a:gd name="connsiteX252" fmla="*/ 600288 w 7467600"/>
              <a:gd name="connsiteY252" fmla="*/ 3365555 h 6858000"/>
              <a:gd name="connsiteX253" fmla="*/ 840692 w 7467600"/>
              <a:gd name="connsiteY253" fmla="*/ 3284921 h 6858000"/>
              <a:gd name="connsiteX254" fmla="*/ 979248 w 7467600"/>
              <a:gd name="connsiteY254" fmla="*/ 3221003 h 6858000"/>
              <a:gd name="connsiteX255" fmla="*/ 1053282 w 7467600"/>
              <a:gd name="connsiteY255" fmla="*/ 3185247 h 6858000"/>
              <a:gd name="connsiteX256" fmla="*/ 1320603 w 7467600"/>
              <a:gd name="connsiteY256" fmla="*/ 3081281 h 6858000"/>
              <a:gd name="connsiteX257" fmla="*/ 1238695 w 7467600"/>
              <a:gd name="connsiteY257" fmla="*/ 3076820 h 6858000"/>
              <a:gd name="connsiteX258" fmla="*/ 5425627 w 7467600"/>
              <a:gd name="connsiteY258" fmla="*/ 2954192 h 6858000"/>
              <a:gd name="connsiteX259" fmla="*/ 5470770 w 7467600"/>
              <a:gd name="connsiteY259" fmla="*/ 3005435 h 6858000"/>
              <a:gd name="connsiteX260" fmla="*/ 5519779 w 7467600"/>
              <a:gd name="connsiteY260" fmla="*/ 4359223 h 6858000"/>
              <a:gd name="connsiteX261" fmla="*/ 5520293 w 7467600"/>
              <a:gd name="connsiteY261" fmla="*/ 4360602 h 6858000"/>
              <a:gd name="connsiteX262" fmla="*/ 5767221 w 7467600"/>
              <a:gd name="connsiteY262" fmla="*/ 4665564 h 6858000"/>
              <a:gd name="connsiteX263" fmla="*/ 6937169 w 7467600"/>
              <a:gd name="connsiteY263" fmla="*/ 4815941 h 6858000"/>
              <a:gd name="connsiteX264" fmla="*/ 6953922 w 7467600"/>
              <a:gd name="connsiteY264" fmla="*/ 4890068 h 6858000"/>
              <a:gd name="connsiteX265" fmla="*/ 6071359 w 7467600"/>
              <a:gd name="connsiteY265" fmla="*/ 4770770 h 6858000"/>
              <a:gd name="connsiteX266" fmla="*/ 6038839 w 7467600"/>
              <a:gd name="connsiteY266" fmla="*/ 4764474 h 6858000"/>
              <a:gd name="connsiteX267" fmla="*/ 6038706 w 7467600"/>
              <a:gd name="connsiteY267" fmla="*/ 4763847 h 6858000"/>
              <a:gd name="connsiteX268" fmla="*/ 6037784 w 7467600"/>
              <a:gd name="connsiteY268" fmla="*/ 4764270 h 6858000"/>
              <a:gd name="connsiteX269" fmla="*/ 6038839 w 7467600"/>
              <a:gd name="connsiteY269" fmla="*/ 4764474 h 6858000"/>
              <a:gd name="connsiteX270" fmla="*/ 6040338 w 7467600"/>
              <a:gd name="connsiteY270" fmla="*/ 4771418 h 6858000"/>
              <a:gd name="connsiteX271" fmla="*/ 6024488 w 7467600"/>
              <a:gd name="connsiteY271" fmla="*/ 4809903 h 6858000"/>
              <a:gd name="connsiteX272" fmla="*/ 5599771 w 7467600"/>
              <a:gd name="connsiteY272" fmla="*/ 5509652 h 6858000"/>
              <a:gd name="connsiteX273" fmla="*/ 5548843 w 7467600"/>
              <a:gd name="connsiteY273" fmla="*/ 5563845 h 6858000"/>
              <a:gd name="connsiteX274" fmla="*/ 5940952 w 7467600"/>
              <a:gd name="connsiteY274" fmla="*/ 6250028 h 6858000"/>
              <a:gd name="connsiteX275" fmla="*/ 6043441 w 7467600"/>
              <a:gd name="connsiteY275" fmla="*/ 6665847 h 6858000"/>
              <a:gd name="connsiteX276" fmla="*/ 6093432 w 7467600"/>
              <a:gd name="connsiteY276" fmla="*/ 6858000 h 6858000"/>
              <a:gd name="connsiteX277" fmla="*/ 6034344 w 7467600"/>
              <a:gd name="connsiteY277" fmla="*/ 6858000 h 6858000"/>
              <a:gd name="connsiteX278" fmla="*/ 6026679 w 7467600"/>
              <a:gd name="connsiteY278" fmla="*/ 6836959 h 6858000"/>
              <a:gd name="connsiteX279" fmla="*/ 5800441 w 7467600"/>
              <a:gd name="connsiteY279" fmla="*/ 6335286 h 6858000"/>
              <a:gd name="connsiteX280" fmla="*/ 5526562 w 7467600"/>
              <a:gd name="connsiteY280" fmla="*/ 5705388 h 6858000"/>
              <a:gd name="connsiteX281" fmla="*/ 5519640 w 7467600"/>
              <a:gd name="connsiteY281" fmla="*/ 5683774 h 6858000"/>
              <a:gd name="connsiteX282" fmla="*/ 5844559 w 7467600"/>
              <a:gd name="connsiteY282" fmla="*/ 6553349 h 6858000"/>
              <a:gd name="connsiteX283" fmla="*/ 5975994 w 7467600"/>
              <a:gd name="connsiteY283" fmla="*/ 6858000 h 6858000"/>
              <a:gd name="connsiteX284" fmla="*/ 5898547 w 7467600"/>
              <a:gd name="connsiteY284" fmla="*/ 6858000 h 6858000"/>
              <a:gd name="connsiteX285" fmla="*/ 5682041 w 7467600"/>
              <a:gd name="connsiteY285" fmla="*/ 6355860 h 6858000"/>
              <a:gd name="connsiteX286" fmla="*/ 5461758 w 7467600"/>
              <a:gd name="connsiteY286" fmla="*/ 5820220 h 6858000"/>
              <a:gd name="connsiteX287" fmla="*/ 5237282 w 7467600"/>
              <a:gd name="connsiteY287" fmla="*/ 6579086 h 6858000"/>
              <a:gd name="connsiteX288" fmla="*/ 5115009 w 7467600"/>
              <a:gd name="connsiteY288" fmla="*/ 6858000 h 6858000"/>
              <a:gd name="connsiteX289" fmla="*/ 5028074 w 7467600"/>
              <a:gd name="connsiteY289" fmla="*/ 6858000 h 6858000"/>
              <a:gd name="connsiteX290" fmla="*/ 5079508 w 7467600"/>
              <a:gd name="connsiteY290" fmla="*/ 6749074 h 6858000"/>
              <a:gd name="connsiteX291" fmla="*/ 5371846 w 7467600"/>
              <a:gd name="connsiteY291" fmla="*/ 5924413 h 6858000"/>
              <a:gd name="connsiteX292" fmla="*/ 5270512 w 7467600"/>
              <a:gd name="connsiteY292" fmla="*/ 6138975 h 6858000"/>
              <a:gd name="connsiteX293" fmla="*/ 5062409 w 7467600"/>
              <a:gd name="connsiteY293" fmla="*/ 6653544 h 6858000"/>
              <a:gd name="connsiteX294" fmla="*/ 5036628 w 7467600"/>
              <a:gd name="connsiteY294" fmla="*/ 6754247 h 6858000"/>
              <a:gd name="connsiteX295" fmla="*/ 5009112 w 7467600"/>
              <a:gd name="connsiteY295" fmla="*/ 6858000 h 6858000"/>
              <a:gd name="connsiteX296" fmla="*/ 4976679 w 7467600"/>
              <a:gd name="connsiteY296" fmla="*/ 6858000 h 6858000"/>
              <a:gd name="connsiteX297" fmla="*/ 5006537 w 7467600"/>
              <a:gd name="connsiteY297" fmla="*/ 6747068 h 6858000"/>
              <a:gd name="connsiteX298" fmla="*/ 5032723 w 7467600"/>
              <a:gd name="connsiteY298" fmla="*/ 6644957 h 6858000"/>
              <a:gd name="connsiteX299" fmla="*/ 5242949 w 7467600"/>
              <a:gd name="connsiteY299" fmla="*/ 6125175 h 6858000"/>
              <a:gd name="connsiteX300" fmla="*/ 5286321 w 7467600"/>
              <a:gd name="connsiteY300" fmla="*/ 6033555 h 6858000"/>
              <a:gd name="connsiteX301" fmla="*/ 5008210 w 7467600"/>
              <a:gd name="connsiteY301" fmla="*/ 6649194 h 6858000"/>
              <a:gd name="connsiteX302" fmla="*/ 4986321 w 7467600"/>
              <a:gd name="connsiteY302" fmla="*/ 6765687 h 6858000"/>
              <a:gd name="connsiteX303" fmla="*/ 4973474 w 7467600"/>
              <a:gd name="connsiteY303" fmla="*/ 6858000 h 6858000"/>
              <a:gd name="connsiteX304" fmla="*/ 4907178 w 7467600"/>
              <a:gd name="connsiteY304" fmla="*/ 6858000 h 6858000"/>
              <a:gd name="connsiteX305" fmla="*/ 4910810 w 7467600"/>
              <a:gd name="connsiteY305" fmla="*/ 6829660 h 6858000"/>
              <a:gd name="connsiteX306" fmla="*/ 4987461 w 7467600"/>
              <a:gd name="connsiteY306" fmla="*/ 6432994 h 6858000"/>
              <a:gd name="connsiteX307" fmla="*/ 5179262 w 7467600"/>
              <a:gd name="connsiteY307" fmla="*/ 6035044 h 6858000"/>
              <a:gd name="connsiteX308" fmla="*/ 4689678 w 7467600"/>
              <a:gd name="connsiteY308" fmla="*/ 6440241 h 6858000"/>
              <a:gd name="connsiteX309" fmla="*/ 4477543 w 7467600"/>
              <a:gd name="connsiteY309" fmla="*/ 6674836 h 6858000"/>
              <a:gd name="connsiteX310" fmla="*/ 4329957 w 7467600"/>
              <a:gd name="connsiteY310" fmla="*/ 6858000 h 6858000"/>
              <a:gd name="connsiteX311" fmla="*/ 4218595 w 7467600"/>
              <a:gd name="connsiteY311" fmla="*/ 6858000 h 6858000"/>
              <a:gd name="connsiteX312" fmla="*/ 4368888 w 7467600"/>
              <a:gd name="connsiteY312" fmla="*/ 6668412 h 6858000"/>
              <a:gd name="connsiteX313" fmla="*/ 4563091 w 7467600"/>
              <a:gd name="connsiteY313" fmla="*/ 6442508 h 6858000"/>
              <a:gd name="connsiteX314" fmla="*/ 5387324 w 7467600"/>
              <a:gd name="connsiteY314" fmla="*/ 5705830 h 6858000"/>
              <a:gd name="connsiteX315" fmla="*/ 5073620 w 7467600"/>
              <a:gd name="connsiteY315" fmla="*/ 5955437 h 6858000"/>
              <a:gd name="connsiteX316" fmla="*/ 4689789 w 7467600"/>
              <a:gd name="connsiteY316" fmla="*/ 6268382 h 6858000"/>
              <a:gd name="connsiteX317" fmla="*/ 4418722 w 7467600"/>
              <a:gd name="connsiteY317" fmla="*/ 6570886 h 6858000"/>
              <a:gd name="connsiteX318" fmla="*/ 4214944 w 7467600"/>
              <a:gd name="connsiteY318" fmla="*/ 6858000 h 6858000"/>
              <a:gd name="connsiteX319" fmla="*/ 4177898 w 7467600"/>
              <a:gd name="connsiteY319" fmla="*/ 6858000 h 6858000"/>
              <a:gd name="connsiteX320" fmla="*/ 4391597 w 7467600"/>
              <a:gd name="connsiteY320" fmla="*/ 6556370 h 6858000"/>
              <a:gd name="connsiteX321" fmla="*/ 4668889 w 7467600"/>
              <a:gd name="connsiteY321" fmla="*/ 6246399 h 6858000"/>
              <a:gd name="connsiteX322" fmla="*/ 5055427 w 7467600"/>
              <a:gd name="connsiteY322" fmla="*/ 5931476 h 6858000"/>
              <a:gd name="connsiteX323" fmla="*/ 5371814 w 7467600"/>
              <a:gd name="connsiteY323" fmla="*/ 5678975 h 6858000"/>
              <a:gd name="connsiteX324" fmla="*/ 4987918 w 7467600"/>
              <a:gd name="connsiteY324" fmla="*/ 5838701 h 6858000"/>
              <a:gd name="connsiteX325" fmla="*/ 4317146 w 7467600"/>
              <a:gd name="connsiteY325" fmla="*/ 6587716 h 6858000"/>
              <a:gd name="connsiteX326" fmla="*/ 4171627 w 7467600"/>
              <a:gd name="connsiteY326" fmla="*/ 6858000 h 6858000"/>
              <a:gd name="connsiteX327" fmla="*/ 4081585 w 7467600"/>
              <a:gd name="connsiteY327" fmla="*/ 6858000 h 6858000"/>
              <a:gd name="connsiteX328" fmla="*/ 4238603 w 7467600"/>
              <a:gd name="connsiteY328" fmla="*/ 6559341 h 6858000"/>
              <a:gd name="connsiteX329" fmla="*/ 4778333 w 7467600"/>
              <a:gd name="connsiteY329" fmla="*/ 5873626 h 6858000"/>
              <a:gd name="connsiteX330" fmla="*/ 5414185 w 7467600"/>
              <a:gd name="connsiteY330" fmla="*/ 5573882 h 6858000"/>
              <a:gd name="connsiteX331" fmla="*/ 5959648 w 7467600"/>
              <a:gd name="connsiteY331" fmla="*/ 4760797 h 6858000"/>
              <a:gd name="connsiteX332" fmla="*/ 5355019 w 7467600"/>
              <a:gd name="connsiteY332" fmla="*/ 4734672 h 6858000"/>
              <a:gd name="connsiteX333" fmla="*/ 5083565 w 7467600"/>
              <a:gd name="connsiteY333" fmla="*/ 5179121 h 6858000"/>
              <a:gd name="connsiteX334" fmla="*/ 4713577 w 7467600"/>
              <a:gd name="connsiteY334" fmla="*/ 5616803 h 6858000"/>
              <a:gd name="connsiteX335" fmla="*/ 3989559 w 7467600"/>
              <a:gd name="connsiteY335" fmla="*/ 6145945 h 6858000"/>
              <a:gd name="connsiteX336" fmla="*/ 3939824 w 7467600"/>
              <a:gd name="connsiteY336" fmla="*/ 6066900 h 6858000"/>
              <a:gd name="connsiteX337" fmla="*/ 4584537 w 7467600"/>
              <a:gd name="connsiteY337" fmla="*/ 5324826 h 6858000"/>
              <a:gd name="connsiteX338" fmla="*/ 5037105 w 7467600"/>
              <a:gd name="connsiteY338" fmla="*/ 5088765 h 6858000"/>
              <a:gd name="connsiteX339" fmla="*/ 5039930 w 7467600"/>
              <a:gd name="connsiteY339" fmla="*/ 5089585 h 6858000"/>
              <a:gd name="connsiteX340" fmla="*/ 5263764 w 7467600"/>
              <a:gd name="connsiteY340" fmla="*/ 4735525 h 6858000"/>
              <a:gd name="connsiteX341" fmla="*/ 4086300 w 7467600"/>
              <a:gd name="connsiteY341" fmla="*/ 4884599 h 6858000"/>
              <a:gd name="connsiteX342" fmla="*/ 4085485 w 7467600"/>
              <a:gd name="connsiteY342" fmla="*/ 4899070 h 6858000"/>
              <a:gd name="connsiteX343" fmla="*/ 3871915 w 7467600"/>
              <a:gd name="connsiteY343" fmla="*/ 5253645 h 6858000"/>
              <a:gd name="connsiteX344" fmla="*/ 3799374 w 7467600"/>
              <a:gd name="connsiteY344" fmla="*/ 5466127 h 6858000"/>
              <a:gd name="connsiteX345" fmla="*/ 3498850 w 7467600"/>
              <a:gd name="connsiteY345" fmla="*/ 6661888 h 6858000"/>
              <a:gd name="connsiteX346" fmla="*/ 3399216 w 7467600"/>
              <a:gd name="connsiteY346" fmla="*/ 6858000 h 6858000"/>
              <a:gd name="connsiteX347" fmla="*/ 3303688 w 7467600"/>
              <a:gd name="connsiteY347" fmla="*/ 6858000 h 6858000"/>
              <a:gd name="connsiteX348" fmla="*/ 3391774 w 7467600"/>
              <a:gd name="connsiteY348" fmla="*/ 6697181 h 6858000"/>
              <a:gd name="connsiteX349" fmla="*/ 3735540 w 7467600"/>
              <a:gd name="connsiteY349" fmla="*/ 5546923 h 6858000"/>
              <a:gd name="connsiteX350" fmla="*/ 3729438 w 7467600"/>
              <a:gd name="connsiteY350" fmla="*/ 5569058 h 6858000"/>
              <a:gd name="connsiteX351" fmla="*/ 3707782 w 7467600"/>
              <a:gd name="connsiteY351" fmla="*/ 5644908 h 6858000"/>
              <a:gd name="connsiteX352" fmla="*/ 3583827 w 7467600"/>
              <a:gd name="connsiteY352" fmla="*/ 6039215 h 6858000"/>
              <a:gd name="connsiteX353" fmla="*/ 3547861 w 7467600"/>
              <a:gd name="connsiteY353" fmla="*/ 6129609 h 6858000"/>
              <a:gd name="connsiteX354" fmla="*/ 3490905 w 7467600"/>
              <a:gd name="connsiteY354" fmla="*/ 6277660 h 6858000"/>
              <a:gd name="connsiteX355" fmla="*/ 3455859 w 7467600"/>
              <a:gd name="connsiteY355" fmla="*/ 6391301 h 6858000"/>
              <a:gd name="connsiteX356" fmla="*/ 3429112 w 7467600"/>
              <a:gd name="connsiteY356" fmla="*/ 6479469 h 6858000"/>
              <a:gd name="connsiteX357" fmla="*/ 3304862 w 7467600"/>
              <a:gd name="connsiteY357" fmla="*/ 6796476 h 6858000"/>
              <a:gd name="connsiteX358" fmla="*/ 3276071 w 7467600"/>
              <a:gd name="connsiteY358" fmla="*/ 6858000 h 6858000"/>
              <a:gd name="connsiteX359" fmla="*/ 3240805 w 7467600"/>
              <a:gd name="connsiteY359" fmla="*/ 6858000 h 6858000"/>
              <a:gd name="connsiteX360" fmla="*/ 3275917 w 7467600"/>
              <a:gd name="connsiteY360" fmla="*/ 6783192 h 6858000"/>
              <a:gd name="connsiteX361" fmla="*/ 3399358 w 7467600"/>
              <a:gd name="connsiteY361" fmla="*/ 6469011 h 6858000"/>
              <a:gd name="connsiteX362" fmla="*/ 3425650 w 7467600"/>
              <a:gd name="connsiteY362" fmla="*/ 6381333 h 6858000"/>
              <a:gd name="connsiteX363" fmla="*/ 3460661 w 7467600"/>
              <a:gd name="connsiteY363" fmla="*/ 6266763 h 6858000"/>
              <a:gd name="connsiteX364" fmla="*/ 3518021 w 7467600"/>
              <a:gd name="connsiteY364" fmla="*/ 6117298 h 6858000"/>
              <a:gd name="connsiteX365" fmla="*/ 3554035 w 7467600"/>
              <a:gd name="connsiteY365" fmla="*/ 6027832 h 6858000"/>
              <a:gd name="connsiteX366" fmla="*/ 3677174 w 7467600"/>
              <a:gd name="connsiteY366" fmla="*/ 5636351 h 6858000"/>
              <a:gd name="connsiteX367" fmla="*/ 3698819 w 7467600"/>
              <a:gd name="connsiteY367" fmla="*/ 5560503 h 6858000"/>
              <a:gd name="connsiteX368" fmla="*/ 3702094 w 7467600"/>
              <a:gd name="connsiteY368" fmla="*/ 5549194 h 6858000"/>
              <a:gd name="connsiteX369" fmla="*/ 3398355 w 7467600"/>
              <a:gd name="connsiteY369" fmla="*/ 6094603 h 6858000"/>
              <a:gd name="connsiteX370" fmla="*/ 3193941 w 7467600"/>
              <a:gd name="connsiteY370" fmla="*/ 6798775 h 6858000"/>
              <a:gd name="connsiteX371" fmla="*/ 3184140 w 7467600"/>
              <a:gd name="connsiteY371" fmla="*/ 6858000 h 6858000"/>
              <a:gd name="connsiteX372" fmla="*/ 3099978 w 7467600"/>
              <a:gd name="connsiteY372" fmla="*/ 6858000 h 6858000"/>
              <a:gd name="connsiteX373" fmla="*/ 3101556 w 7467600"/>
              <a:gd name="connsiteY373" fmla="*/ 6843337 h 6858000"/>
              <a:gd name="connsiteX374" fmla="*/ 3370162 w 7467600"/>
              <a:gd name="connsiteY374" fmla="*/ 5785550 h 6858000"/>
              <a:gd name="connsiteX375" fmla="*/ 3746477 w 7467600"/>
              <a:gd name="connsiteY375" fmla="*/ 5377889 h 6858000"/>
              <a:gd name="connsiteX376" fmla="*/ 3863399 w 7467600"/>
              <a:gd name="connsiteY376" fmla="*/ 5087257 h 6858000"/>
              <a:gd name="connsiteX377" fmla="*/ 3968712 w 7467600"/>
              <a:gd name="connsiteY377" fmla="*/ 4913989 h 6858000"/>
              <a:gd name="connsiteX378" fmla="*/ 2792390 w 7467600"/>
              <a:gd name="connsiteY378" fmla="*/ 5382974 h 6858000"/>
              <a:gd name="connsiteX379" fmla="*/ 2714982 w 7467600"/>
              <a:gd name="connsiteY379" fmla="*/ 5427051 h 6858000"/>
              <a:gd name="connsiteX380" fmla="*/ 2813361 w 7467600"/>
              <a:gd name="connsiteY380" fmla="*/ 6023912 h 6858000"/>
              <a:gd name="connsiteX381" fmla="*/ 2688430 w 7467600"/>
              <a:gd name="connsiteY381" fmla="*/ 6801564 h 6858000"/>
              <a:gd name="connsiteX382" fmla="*/ 2629626 w 7467600"/>
              <a:gd name="connsiteY382" fmla="*/ 6763394 h 6858000"/>
              <a:gd name="connsiteX383" fmla="*/ 2565328 w 7467600"/>
              <a:gd name="connsiteY383" fmla="*/ 5516399 h 6858000"/>
              <a:gd name="connsiteX384" fmla="*/ 1922999 w 7467600"/>
              <a:gd name="connsiteY384" fmla="*/ 5980343 h 6858000"/>
              <a:gd name="connsiteX385" fmla="*/ 1950261 w 7467600"/>
              <a:gd name="connsiteY385" fmla="*/ 6405858 h 6858000"/>
              <a:gd name="connsiteX386" fmla="*/ 2365554 w 7467600"/>
              <a:gd name="connsiteY386" fmla="*/ 6759107 h 6858000"/>
              <a:gd name="connsiteX387" fmla="*/ 2424142 w 7467600"/>
              <a:gd name="connsiteY387" fmla="*/ 6858000 h 6858000"/>
              <a:gd name="connsiteX388" fmla="*/ 2395994 w 7467600"/>
              <a:gd name="connsiteY388" fmla="*/ 6858000 h 6858000"/>
              <a:gd name="connsiteX389" fmla="*/ 2392863 w 7467600"/>
              <a:gd name="connsiteY389" fmla="*/ 6852964 h 6858000"/>
              <a:gd name="connsiteX390" fmla="*/ 2017589 w 7467600"/>
              <a:gd name="connsiteY390" fmla="*/ 6493982 h 6858000"/>
              <a:gd name="connsiteX391" fmla="*/ 2147336 w 7467600"/>
              <a:gd name="connsiteY391" fmla="*/ 6594052 h 6858000"/>
              <a:gd name="connsiteX392" fmla="*/ 2207047 w 7467600"/>
              <a:gd name="connsiteY392" fmla="*/ 6654540 h 6858000"/>
              <a:gd name="connsiteX393" fmla="*/ 2299106 w 7467600"/>
              <a:gd name="connsiteY393" fmla="*/ 6778931 h 6858000"/>
              <a:gd name="connsiteX394" fmla="*/ 2314430 w 7467600"/>
              <a:gd name="connsiteY394" fmla="*/ 6801144 h 6858000"/>
              <a:gd name="connsiteX395" fmla="*/ 2352406 w 7467600"/>
              <a:gd name="connsiteY395" fmla="*/ 6858000 h 6858000"/>
              <a:gd name="connsiteX396" fmla="*/ 2314492 w 7467600"/>
              <a:gd name="connsiteY396" fmla="*/ 6858000 h 6858000"/>
              <a:gd name="connsiteX397" fmla="*/ 2288095 w 7467600"/>
              <a:gd name="connsiteY397" fmla="*/ 6818030 h 6858000"/>
              <a:gd name="connsiteX398" fmla="*/ 2272768 w 7467600"/>
              <a:gd name="connsiteY398" fmla="*/ 6795822 h 6858000"/>
              <a:gd name="connsiteX399" fmla="*/ 2182715 w 7467600"/>
              <a:gd name="connsiteY399" fmla="*/ 6675071 h 6858000"/>
              <a:gd name="connsiteX400" fmla="*/ 2032061 w 7467600"/>
              <a:gd name="connsiteY400" fmla="*/ 6541380 h 6858000"/>
              <a:gd name="connsiteX401" fmla="*/ 2257220 w 7467600"/>
              <a:gd name="connsiteY401" fmla="*/ 6826257 h 6858000"/>
              <a:gd name="connsiteX402" fmla="*/ 2281324 w 7467600"/>
              <a:gd name="connsiteY402" fmla="*/ 6858000 h 6858000"/>
              <a:gd name="connsiteX403" fmla="*/ 2242860 w 7467600"/>
              <a:gd name="connsiteY403" fmla="*/ 6858000 h 6858000"/>
              <a:gd name="connsiteX404" fmla="*/ 2232818 w 7467600"/>
              <a:gd name="connsiteY404" fmla="*/ 6844926 h 6858000"/>
              <a:gd name="connsiteX405" fmla="*/ 1990172 w 7467600"/>
              <a:gd name="connsiteY405" fmla="*/ 6542121 h 6858000"/>
              <a:gd name="connsiteX406" fmla="*/ 2124090 w 7467600"/>
              <a:gd name="connsiteY406" fmla="*/ 6761017 h 6858000"/>
              <a:gd name="connsiteX407" fmla="*/ 2200380 w 7467600"/>
              <a:gd name="connsiteY407" fmla="*/ 6858000 h 6858000"/>
              <a:gd name="connsiteX408" fmla="*/ 2147507 w 7467600"/>
              <a:gd name="connsiteY408" fmla="*/ 6858000 h 6858000"/>
              <a:gd name="connsiteX409" fmla="*/ 2070668 w 7467600"/>
              <a:gd name="connsiteY409" fmla="*/ 6761520 h 6858000"/>
              <a:gd name="connsiteX410" fmla="*/ 1975142 w 7467600"/>
              <a:gd name="connsiteY410" fmla="*/ 6585570 h 6858000"/>
              <a:gd name="connsiteX411" fmla="*/ 2050035 w 7467600"/>
              <a:gd name="connsiteY411" fmla="*/ 6813345 h 6858000"/>
              <a:gd name="connsiteX412" fmla="*/ 2063025 w 7467600"/>
              <a:gd name="connsiteY412" fmla="*/ 6858000 h 6858000"/>
              <a:gd name="connsiteX413" fmla="*/ 2021675 w 7467600"/>
              <a:gd name="connsiteY413" fmla="*/ 6858000 h 6858000"/>
              <a:gd name="connsiteX414" fmla="*/ 2019308 w 7467600"/>
              <a:gd name="connsiteY414" fmla="*/ 6847118 h 6858000"/>
              <a:gd name="connsiteX415" fmla="*/ 1938835 w 7467600"/>
              <a:gd name="connsiteY415" fmla="*/ 6551160 h 6858000"/>
              <a:gd name="connsiteX416" fmla="*/ 1953230 w 7467600"/>
              <a:gd name="connsiteY416" fmla="*/ 6759699 h 6858000"/>
              <a:gd name="connsiteX417" fmla="*/ 1956763 w 7467600"/>
              <a:gd name="connsiteY417" fmla="*/ 6778191 h 6858000"/>
              <a:gd name="connsiteX418" fmla="*/ 1967925 w 7467600"/>
              <a:gd name="connsiteY418" fmla="*/ 6858000 h 6858000"/>
              <a:gd name="connsiteX419" fmla="*/ 1936622 w 7467600"/>
              <a:gd name="connsiteY419" fmla="*/ 6858000 h 6858000"/>
              <a:gd name="connsiteX420" fmla="*/ 1926261 w 7467600"/>
              <a:gd name="connsiteY420" fmla="*/ 6784064 h 6858000"/>
              <a:gd name="connsiteX421" fmla="*/ 1922724 w 7467600"/>
              <a:gd name="connsiteY421" fmla="*/ 6765577 h 6858000"/>
              <a:gd name="connsiteX422" fmla="*/ 1904650 w 7467600"/>
              <a:gd name="connsiteY422" fmla="*/ 6639616 h 6858000"/>
              <a:gd name="connsiteX423" fmla="*/ 1885273 w 7467600"/>
              <a:gd name="connsiteY423" fmla="*/ 6858000 h 6858000"/>
              <a:gd name="connsiteX424" fmla="*/ 1854363 w 7467600"/>
              <a:gd name="connsiteY424" fmla="*/ 6858000 h 6858000"/>
              <a:gd name="connsiteX425" fmla="*/ 1880391 w 7467600"/>
              <a:gd name="connsiteY425" fmla="*/ 6603796 h 6858000"/>
              <a:gd name="connsiteX426" fmla="*/ 1818273 w 7467600"/>
              <a:gd name="connsiteY426" fmla="*/ 6715729 h 6858000"/>
              <a:gd name="connsiteX427" fmla="*/ 1794691 w 7467600"/>
              <a:gd name="connsiteY427" fmla="*/ 6843239 h 6858000"/>
              <a:gd name="connsiteX428" fmla="*/ 1794914 w 7467600"/>
              <a:gd name="connsiteY428" fmla="*/ 6858000 h 6858000"/>
              <a:gd name="connsiteX429" fmla="*/ 1746128 w 7467600"/>
              <a:gd name="connsiteY429" fmla="*/ 6858000 h 6858000"/>
              <a:gd name="connsiteX430" fmla="*/ 1753934 w 7467600"/>
              <a:gd name="connsiteY430" fmla="*/ 6724796 h 6858000"/>
              <a:gd name="connsiteX431" fmla="*/ 1792053 w 7467600"/>
              <a:gd name="connsiteY431" fmla="*/ 6572396 h 6858000"/>
              <a:gd name="connsiteX432" fmla="*/ 1862248 w 7467600"/>
              <a:gd name="connsiteY432" fmla="*/ 6266397 h 6858000"/>
              <a:gd name="connsiteX433" fmla="*/ 1862250 w 7467600"/>
              <a:gd name="connsiteY433" fmla="*/ 6033531 h 6858000"/>
              <a:gd name="connsiteX434" fmla="*/ 1211999 w 7467600"/>
              <a:gd name="connsiteY434" fmla="*/ 6683610 h 6858000"/>
              <a:gd name="connsiteX435" fmla="*/ 1213266 w 7467600"/>
              <a:gd name="connsiteY435" fmla="*/ 6691947 h 6858000"/>
              <a:gd name="connsiteX436" fmla="*/ 1203370 w 7467600"/>
              <a:gd name="connsiteY436" fmla="*/ 6850676 h 6858000"/>
              <a:gd name="connsiteX437" fmla="*/ 1203671 w 7467600"/>
              <a:gd name="connsiteY437" fmla="*/ 6858000 h 6858000"/>
              <a:gd name="connsiteX438" fmla="*/ 1143180 w 7467600"/>
              <a:gd name="connsiteY438" fmla="*/ 6858000 h 6858000"/>
              <a:gd name="connsiteX439" fmla="*/ 1142176 w 7467600"/>
              <a:gd name="connsiteY439" fmla="*/ 6766045 h 6858000"/>
              <a:gd name="connsiteX440" fmla="*/ 1067484 w 7467600"/>
              <a:gd name="connsiteY440" fmla="*/ 6858000 h 6858000"/>
              <a:gd name="connsiteX441" fmla="*/ 953928 w 7467600"/>
              <a:gd name="connsiteY441" fmla="*/ 6858000 h 6858000"/>
              <a:gd name="connsiteX442" fmla="*/ 959715 w 7467600"/>
              <a:gd name="connsiteY442" fmla="*/ 6850185 h 6858000"/>
              <a:gd name="connsiteX443" fmla="*/ 1483788 w 7467600"/>
              <a:gd name="connsiteY443" fmla="*/ 6259174 h 6858000"/>
              <a:gd name="connsiteX444" fmla="*/ 1100671 w 7467600"/>
              <a:gd name="connsiteY444" fmla="*/ 6252137 h 6858000"/>
              <a:gd name="connsiteX445" fmla="*/ 1090144 w 7467600"/>
              <a:gd name="connsiteY445" fmla="*/ 6256748 h 6858000"/>
              <a:gd name="connsiteX446" fmla="*/ 1095872 w 7467600"/>
              <a:gd name="connsiteY446" fmla="*/ 6271892 h 6858000"/>
              <a:gd name="connsiteX447" fmla="*/ 262785 w 7467600"/>
              <a:gd name="connsiteY447" fmla="*/ 6845450 h 6858000"/>
              <a:gd name="connsiteX448" fmla="*/ 209968 w 7467600"/>
              <a:gd name="connsiteY448" fmla="*/ 6770713 h 6858000"/>
              <a:gd name="connsiteX449" fmla="*/ 873460 w 7467600"/>
              <a:gd name="connsiteY449" fmla="*/ 6253768 h 6858000"/>
              <a:gd name="connsiteX450" fmla="*/ 192686 w 7467600"/>
              <a:gd name="connsiteY450" fmla="*/ 5849257 h 6858000"/>
              <a:gd name="connsiteX451" fmla="*/ 4696 w 7467600"/>
              <a:gd name="connsiteY451" fmla="*/ 5697668 h 6858000"/>
              <a:gd name="connsiteX452" fmla="*/ 0 w 7467600"/>
              <a:gd name="connsiteY452" fmla="*/ 5689984 h 6858000"/>
              <a:gd name="connsiteX453" fmla="*/ 0 w 7467600"/>
              <a:gd name="connsiteY453" fmla="*/ 5513472 h 6858000"/>
              <a:gd name="connsiteX454" fmla="*/ 174101 w 7467600"/>
              <a:gd name="connsiteY454" fmla="*/ 5620277 h 6858000"/>
              <a:gd name="connsiteX455" fmla="*/ 891800 w 7467600"/>
              <a:gd name="connsiteY455" fmla="*/ 6036935 h 6858000"/>
              <a:gd name="connsiteX456" fmla="*/ 1072219 w 7467600"/>
              <a:gd name="connsiteY456" fmla="*/ 6169443 h 6858000"/>
              <a:gd name="connsiteX457" fmla="*/ 1074117 w 7467600"/>
              <a:gd name="connsiteY457" fmla="*/ 6170301 h 6858000"/>
              <a:gd name="connsiteX458" fmla="*/ 1083114 w 7467600"/>
              <a:gd name="connsiteY458" fmla="*/ 6174131 h 6858000"/>
              <a:gd name="connsiteX459" fmla="*/ 1543010 w 7467600"/>
              <a:gd name="connsiteY459" fmla="*/ 6191140 h 6858000"/>
              <a:gd name="connsiteX460" fmla="*/ 1551080 w 7467600"/>
              <a:gd name="connsiteY460" fmla="*/ 6195006 h 6858000"/>
              <a:gd name="connsiteX461" fmla="*/ 2345443 w 7467600"/>
              <a:gd name="connsiteY461" fmla="*/ 5549882 h 6858000"/>
              <a:gd name="connsiteX462" fmla="*/ 1721499 w 7467600"/>
              <a:gd name="connsiteY462" fmla="*/ 5599969 h 6858000"/>
              <a:gd name="connsiteX463" fmla="*/ 767716 w 7467600"/>
              <a:gd name="connsiteY463" fmla="*/ 5472768 h 6858000"/>
              <a:gd name="connsiteX464" fmla="*/ 722147 w 7467600"/>
              <a:gd name="connsiteY464" fmla="*/ 5393091 h 6858000"/>
              <a:gd name="connsiteX465" fmla="*/ 1485552 w 7467600"/>
              <a:gd name="connsiteY465" fmla="*/ 5313202 h 6858000"/>
              <a:gd name="connsiteX466" fmla="*/ 2143004 w 7467600"/>
              <a:gd name="connsiteY466" fmla="*/ 5402420 h 6858000"/>
              <a:gd name="connsiteX467" fmla="*/ 1933391 w 7467600"/>
              <a:gd name="connsiteY467" fmla="*/ 5156971 h 6858000"/>
              <a:gd name="connsiteX468" fmla="*/ 1827118 w 7467600"/>
              <a:gd name="connsiteY468" fmla="*/ 4968410 h 6858000"/>
              <a:gd name="connsiteX469" fmla="*/ 1837349 w 7467600"/>
              <a:gd name="connsiteY469" fmla="*/ 4956357 h 6858000"/>
              <a:gd name="connsiteX470" fmla="*/ 2162835 w 7467600"/>
              <a:gd name="connsiteY470" fmla="*/ 5187853 h 6858000"/>
              <a:gd name="connsiteX471" fmla="*/ 2257167 w 7467600"/>
              <a:gd name="connsiteY471" fmla="*/ 5462123 h 6858000"/>
              <a:gd name="connsiteX472" fmla="*/ 2261598 w 7467600"/>
              <a:gd name="connsiteY472" fmla="*/ 5467998 h 6858000"/>
              <a:gd name="connsiteX473" fmla="*/ 2437177 w 7467600"/>
              <a:gd name="connsiteY473" fmla="*/ 5479608 h 6858000"/>
              <a:gd name="connsiteX474" fmla="*/ 2445247 w 7467600"/>
              <a:gd name="connsiteY474" fmla="*/ 5483476 h 6858000"/>
              <a:gd name="connsiteX475" fmla="*/ 2743626 w 7467600"/>
              <a:gd name="connsiteY475" fmla="*/ 5304819 h 6858000"/>
              <a:gd name="connsiteX476" fmla="*/ 3048102 w 7467600"/>
              <a:gd name="connsiteY476" fmla="*/ 5150595 h 6858000"/>
              <a:gd name="connsiteX477" fmla="*/ 1799414 w 7467600"/>
              <a:gd name="connsiteY477" fmla="*/ 4694732 h 6858000"/>
              <a:gd name="connsiteX478" fmla="*/ 1771735 w 7467600"/>
              <a:gd name="connsiteY478" fmla="*/ 4619929 h 6858000"/>
              <a:gd name="connsiteX479" fmla="*/ 3104273 w 7467600"/>
              <a:gd name="connsiteY479" fmla="*/ 5076159 h 6858000"/>
              <a:gd name="connsiteX480" fmla="*/ 3113245 w 7467600"/>
              <a:gd name="connsiteY480" fmla="*/ 5090705 h 6858000"/>
              <a:gd name="connsiteX481" fmla="*/ 3126294 w 7467600"/>
              <a:gd name="connsiteY481" fmla="*/ 5114400 h 6858000"/>
              <a:gd name="connsiteX482" fmla="*/ 3937433 w 7467600"/>
              <a:gd name="connsiteY482" fmla="*/ 4830473 h 6858000"/>
              <a:gd name="connsiteX483" fmla="*/ 3590475 w 7467600"/>
              <a:gd name="connsiteY483" fmla="*/ 4597974 h 6858000"/>
              <a:gd name="connsiteX484" fmla="*/ 3100264 w 7467600"/>
              <a:gd name="connsiteY484" fmla="*/ 4579845 h 6858000"/>
              <a:gd name="connsiteX485" fmla="*/ 2183576 w 7467600"/>
              <a:gd name="connsiteY485" fmla="*/ 4227150 h 6858000"/>
              <a:gd name="connsiteX486" fmla="*/ 2151029 w 7467600"/>
              <a:gd name="connsiteY486" fmla="*/ 4146947 h 6858000"/>
              <a:gd name="connsiteX487" fmla="*/ 3563434 w 7467600"/>
              <a:gd name="connsiteY487" fmla="*/ 4469115 h 6858000"/>
              <a:gd name="connsiteX488" fmla="*/ 3177952 w 7467600"/>
              <a:gd name="connsiteY488" fmla="*/ 3657386 h 6858000"/>
              <a:gd name="connsiteX489" fmla="*/ 3189263 w 7467600"/>
              <a:gd name="connsiteY489" fmla="*/ 3625726 h 6858000"/>
              <a:gd name="connsiteX490" fmla="*/ 3560912 w 7467600"/>
              <a:gd name="connsiteY490" fmla="*/ 4079863 h 6858000"/>
              <a:gd name="connsiteX491" fmla="*/ 3626636 w 7467600"/>
              <a:gd name="connsiteY491" fmla="*/ 4512230 h 6858000"/>
              <a:gd name="connsiteX492" fmla="*/ 3653088 w 7467600"/>
              <a:gd name="connsiteY492" fmla="*/ 4521417 h 6858000"/>
              <a:gd name="connsiteX493" fmla="*/ 3988128 w 7467600"/>
              <a:gd name="connsiteY493" fmla="*/ 4817267 h 6858000"/>
              <a:gd name="connsiteX494" fmla="*/ 4830582 w 7467600"/>
              <a:gd name="connsiteY494" fmla="*/ 4676000 h 6858000"/>
              <a:gd name="connsiteX495" fmla="*/ 4830100 w 7467600"/>
              <a:gd name="connsiteY495" fmla="*/ 4675554 h 6858000"/>
              <a:gd name="connsiteX496" fmla="*/ 4036318 w 7467600"/>
              <a:gd name="connsiteY496" fmla="*/ 4147013 h 6858000"/>
              <a:gd name="connsiteX497" fmla="*/ 3432098 w 7467600"/>
              <a:gd name="connsiteY497" fmla="*/ 3537312 h 6858000"/>
              <a:gd name="connsiteX498" fmla="*/ 3446761 w 7467600"/>
              <a:gd name="connsiteY498" fmla="*/ 3461278 h 6858000"/>
              <a:gd name="connsiteX499" fmla="*/ 4419733 w 7467600"/>
              <a:gd name="connsiteY499" fmla="*/ 3963555 h 6858000"/>
              <a:gd name="connsiteX500" fmla="*/ 4781371 w 7467600"/>
              <a:gd name="connsiteY500" fmla="*/ 4458604 h 6858000"/>
              <a:gd name="connsiteX501" fmla="*/ 4780440 w 7467600"/>
              <a:gd name="connsiteY501" fmla="*/ 4470290 h 6858000"/>
              <a:gd name="connsiteX502" fmla="*/ 4898954 w 7467600"/>
              <a:gd name="connsiteY502" fmla="*/ 4662092 h 6858000"/>
              <a:gd name="connsiteX503" fmla="*/ 4900699 w 7467600"/>
              <a:gd name="connsiteY503" fmla="*/ 4670867 h 6858000"/>
              <a:gd name="connsiteX504" fmla="*/ 5714511 w 7467600"/>
              <a:gd name="connsiteY504" fmla="*/ 4663483 h 6858000"/>
              <a:gd name="connsiteX505" fmla="*/ 5464793 w 7467600"/>
              <a:gd name="connsiteY505" fmla="*/ 4393556 h 6858000"/>
              <a:gd name="connsiteX506" fmla="*/ 5461897 w 7467600"/>
              <a:gd name="connsiteY506" fmla="*/ 4390879 h 6858000"/>
              <a:gd name="connsiteX507" fmla="*/ 4294126 w 7467600"/>
              <a:gd name="connsiteY507" fmla="*/ 3303048 h 6858000"/>
              <a:gd name="connsiteX508" fmla="*/ 4305321 w 7467600"/>
              <a:gd name="connsiteY508" fmla="*/ 3256953 h 6858000"/>
              <a:gd name="connsiteX509" fmla="*/ 4949299 w 7467600"/>
              <a:gd name="connsiteY509" fmla="*/ 3766336 h 6858000"/>
              <a:gd name="connsiteX510" fmla="*/ 5291452 w 7467600"/>
              <a:gd name="connsiteY510" fmla="*/ 4076801 h 6858000"/>
              <a:gd name="connsiteX511" fmla="*/ 5434998 w 7467600"/>
              <a:gd name="connsiteY511" fmla="*/ 4254100 h 6858000"/>
              <a:gd name="connsiteX512" fmla="*/ 5351015 w 7467600"/>
              <a:gd name="connsiteY512" fmla="*/ 3760989 h 6858000"/>
              <a:gd name="connsiteX513" fmla="*/ 5413780 w 7467600"/>
              <a:gd name="connsiteY513" fmla="*/ 2966265 h 6858000"/>
              <a:gd name="connsiteX514" fmla="*/ 5425627 w 7467600"/>
              <a:gd name="connsiteY514" fmla="*/ 2954192 h 6858000"/>
              <a:gd name="connsiteX515" fmla="*/ 6604735 w 7467600"/>
              <a:gd name="connsiteY515" fmla="*/ 2041381 h 6858000"/>
              <a:gd name="connsiteX516" fmla="*/ 7204487 w 7467600"/>
              <a:gd name="connsiteY516" fmla="*/ 2742112 h 6858000"/>
              <a:gd name="connsiteX517" fmla="*/ 7131592 w 7467600"/>
              <a:gd name="connsiteY517" fmla="*/ 2672096 h 6858000"/>
              <a:gd name="connsiteX518" fmla="*/ 6996344 w 7467600"/>
              <a:gd name="connsiteY518" fmla="*/ 2518310 h 6858000"/>
              <a:gd name="connsiteX519" fmla="*/ 6735495 w 7467600"/>
              <a:gd name="connsiteY519" fmla="*/ 2196890 h 6858000"/>
              <a:gd name="connsiteX520" fmla="*/ 6721901 w 7467600"/>
              <a:gd name="connsiteY520" fmla="*/ 2179274 h 6858000"/>
              <a:gd name="connsiteX521" fmla="*/ 6604735 w 7467600"/>
              <a:gd name="connsiteY521" fmla="*/ 2041381 h 6858000"/>
              <a:gd name="connsiteX522" fmla="*/ 6591670 w 7467600"/>
              <a:gd name="connsiteY522" fmla="*/ 1988277 h 6858000"/>
              <a:gd name="connsiteX523" fmla="*/ 6747349 w 7467600"/>
              <a:gd name="connsiteY523" fmla="*/ 2160069 h 6858000"/>
              <a:gd name="connsiteX524" fmla="*/ 6760943 w 7467600"/>
              <a:gd name="connsiteY524" fmla="*/ 2177686 h 6858000"/>
              <a:gd name="connsiteX525" fmla="*/ 7021065 w 7467600"/>
              <a:gd name="connsiteY525" fmla="*/ 2498102 h 6858000"/>
              <a:gd name="connsiteX526" fmla="*/ 7155223 w 7467600"/>
              <a:gd name="connsiteY526" fmla="*/ 2650386 h 6858000"/>
              <a:gd name="connsiteX527" fmla="*/ 7203167 w 7467600"/>
              <a:gd name="connsiteY527" fmla="*/ 2697288 h 6858000"/>
              <a:gd name="connsiteX528" fmla="*/ 6937703 w 7467600"/>
              <a:gd name="connsiteY528" fmla="*/ 2321981 h 6858000"/>
              <a:gd name="connsiteX529" fmla="*/ 6591670 w 7467600"/>
              <a:gd name="connsiteY529" fmla="*/ 1988277 h 6858000"/>
              <a:gd name="connsiteX530" fmla="*/ 5798671 w 7467600"/>
              <a:gd name="connsiteY530" fmla="*/ 1981601 h 6858000"/>
              <a:gd name="connsiteX531" fmla="*/ 5754709 w 7467600"/>
              <a:gd name="connsiteY531" fmla="*/ 2071454 h 6858000"/>
              <a:gd name="connsiteX532" fmla="*/ 5763044 w 7467600"/>
              <a:gd name="connsiteY532" fmla="*/ 2842206 h 6858000"/>
              <a:gd name="connsiteX533" fmla="*/ 5764974 w 7467600"/>
              <a:gd name="connsiteY533" fmla="*/ 2799609 h 6858000"/>
              <a:gd name="connsiteX534" fmla="*/ 5767665 w 7467600"/>
              <a:gd name="connsiteY534" fmla="*/ 2666409 h 6858000"/>
              <a:gd name="connsiteX535" fmla="*/ 5763055 w 7467600"/>
              <a:gd name="connsiteY535" fmla="*/ 2579705 h 6858000"/>
              <a:gd name="connsiteX536" fmla="*/ 5758079 w 7467600"/>
              <a:gd name="connsiteY536" fmla="*/ 2492508 h 6858000"/>
              <a:gd name="connsiteX537" fmla="*/ 5779325 w 7467600"/>
              <a:gd name="connsiteY537" fmla="*/ 2197069 h 6858000"/>
              <a:gd name="connsiteX538" fmla="*/ 5798671 w 7467600"/>
              <a:gd name="connsiteY538" fmla="*/ 1981601 h 6858000"/>
              <a:gd name="connsiteX539" fmla="*/ 5829202 w 7467600"/>
              <a:gd name="connsiteY539" fmla="*/ 1971679 h 6858000"/>
              <a:gd name="connsiteX540" fmla="*/ 5809558 w 7467600"/>
              <a:gd name="connsiteY540" fmla="*/ 2198043 h 6858000"/>
              <a:gd name="connsiteX541" fmla="*/ 5788653 w 7467600"/>
              <a:gd name="connsiteY541" fmla="*/ 2489430 h 6858000"/>
              <a:gd name="connsiteX542" fmla="*/ 5793439 w 7467600"/>
              <a:gd name="connsiteY542" fmla="*/ 2575235 h 6858000"/>
              <a:gd name="connsiteX543" fmla="*/ 5796837 w 7467600"/>
              <a:gd name="connsiteY543" fmla="*/ 2637633 h 6858000"/>
              <a:gd name="connsiteX544" fmla="*/ 5818614 w 7467600"/>
              <a:gd name="connsiteY544" fmla="*/ 2473055 h 6858000"/>
              <a:gd name="connsiteX545" fmla="*/ 5829202 w 7467600"/>
              <a:gd name="connsiteY545" fmla="*/ 1971679 h 6858000"/>
              <a:gd name="connsiteX546" fmla="*/ 5911389 w 7467600"/>
              <a:gd name="connsiteY546" fmla="*/ 1898371 h 6858000"/>
              <a:gd name="connsiteX547" fmla="*/ 6237627 w 7467600"/>
              <a:gd name="connsiteY547" fmla="*/ 2231921 h 6858000"/>
              <a:gd name="connsiteX548" fmla="*/ 5911389 w 7467600"/>
              <a:gd name="connsiteY548" fmla="*/ 1898371 h 6858000"/>
              <a:gd name="connsiteX549" fmla="*/ 6944437 w 7467600"/>
              <a:gd name="connsiteY549" fmla="*/ 1575402 h 6858000"/>
              <a:gd name="connsiteX550" fmla="*/ 6304730 w 7467600"/>
              <a:gd name="connsiteY550" fmla="*/ 1766654 h 6858000"/>
              <a:gd name="connsiteX551" fmla="*/ 6944437 w 7467600"/>
              <a:gd name="connsiteY551" fmla="*/ 1575402 h 6858000"/>
              <a:gd name="connsiteX552" fmla="*/ 7019523 w 7467600"/>
              <a:gd name="connsiteY552" fmla="*/ 1519450 h 6858000"/>
              <a:gd name="connsiteX553" fmla="*/ 6298091 w 7467600"/>
              <a:gd name="connsiteY553" fmla="*/ 1737122 h 6858000"/>
              <a:gd name="connsiteX554" fmla="*/ 7019523 w 7467600"/>
              <a:gd name="connsiteY554" fmla="*/ 1519450 h 6858000"/>
              <a:gd name="connsiteX555" fmla="*/ 2399523 w 7467600"/>
              <a:gd name="connsiteY555" fmla="*/ 1428234 h 6858000"/>
              <a:gd name="connsiteX556" fmla="*/ 2224982 w 7467600"/>
              <a:gd name="connsiteY556" fmla="*/ 1826201 h 6858000"/>
              <a:gd name="connsiteX557" fmla="*/ 2096099 w 7467600"/>
              <a:gd name="connsiteY557" fmla="*/ 2345900 h 6858000"/>
              <a:gd name="connsiteX558" fmla="*/ 2283317 w 7467600"/>
              <a:gd name="connsiteY558" fmla="*/ 1796925 h 6858000"/>
              <a:gd name="connsiteX559" fmla="*/ 2399523 w 7467600"/>
              <a:gd name="connsiteY559" fmla="*/ 1428234 h 6858000"/>
              <a:gd name="connsiteX560" fmla="*/ 2448558 w 7467600"/>
              <a:gd name="connsiteY560" fmla="*/ 1373435 h 6858000"/>
              <a:gd name="connsiteX561" fmla="*/ 2312521 w 7467600"/>
              <a:gd name="connsiteY561" fmla="*/ 1806140 h 6858000"/>
              <a:gd name="connsiteX562" fmla="*/ 2127533 w 7467600"/>
              <a:gd name="connsiteY562" fmla="*/ 2348380 h 6858000"/>
              <a:gd name="connsiteX563" fmla="*/ 2358080 w 7467600"/>
              <a:gd name="connsiteY563" fmla="*/ 1866134 h 6858000"/>
              <a:gd name="connsiteX564" fmla="*/ 2407436 w 7467600"/>
              <a:gd name="connsiteY564" fmla="*/ 1651070 h 6858000"/>
              <a:gd name="connsiteX565" fmla="*/ 2448558 w 7467600"/>
              <a:gd name="connsiteY565" fmla="*/ 1373435 h 6858000"/>
              <a:gd name="connsiteX566" fmla="*/ 278707 w 7467600"/>
              <a:gd name="connsiteY566" fmla="*/ 1352270 h 6858000"/>
              <a:gd name="connsiteX567" fmla="*/ 321570 w 7467600"/>
              <a:gd name="connsiteY567" fmla="*/ 1861610 h 6858000"/>
              <a:gd name="connsiteX568" fmla="*/ 294281 w 7467600"/>
              <a:gd name="connsiteY568" fmla="*/ 1440658 h 6858000"/>
              <a:gd name="connsiteX569" fmla="*/ 278707 w 7467600"/>
              <a:gd name="connsiteY569" fmla="*/ 1352270 h 6858000"/>
              <a:gd name="connsiteX570" fmla="*/ 1423821 w 7467600"/>
              <a:gd name="connsiteY570" fmla="*/ 1351958 h 6858000"/>
              <a:gd name="connsiteX571" fmla="*/ 1638521 w 7467600"/>
              <a:gd name="connsiteY571" fmla="*/ 1908470 h 6858000"/>
              <a:gd name="connsiteX572" fmla="*/ 1754199 w 7467600"/>
              <a:gd name="connsiteY572" fmla="*/ 2149284 h 6858000"/>
              <a:gd name="connsiteX573" fmla="*/ 1908359 w 7467600"/>
              <a:gd name="connsiteY573" fmla="*/ 2364988 h 6858000"/>
              <a:gd name="connsiteX574" fmla="*/ 1647661 w 7467600"/>
              <a:gd name="connsiteY574" fmla="*/ 1825945 h 6858000"/>
              <a:gd name="connsiteX575" fmla="*/ 1423821 w 7467600"/>
              <a:gd name="connsiteY575" fmla="*/ 1351958 h 6858000"/>
              <a:gd name="connsiteX576" fmla="*/ 1431890 w 7467600"/>
              <a:gd name="connsiteY576" fmla="*/ 1306475 h 6858000"/>
              <a:gd name="connsiteX577" fmla="*/ 1507597 w 7467600"/>
              <a:gd name="connsiteY577" fmla="*/ 1446132 h 6858000"/>
              <a:gd name="connsiteX578" fmla="*/ 1674586 w 7467600"/>
              <a:gd name="connsiteY578" fmla="*/ 1813832 h 6858000"/>
              <a:gd name="connsiteX579" fmla="*/ 1815950 w 7467600"/>
              <a:gd name="connsiteY579" fmla="*/ 2128564 h 6858000"/>
              <a:gd name="connsiteX580" fmla="*/ 1984242 w 7467600"/>
              <a:gd name="connsiteY580" fmla="*/ 2430829 h 6858000"/>
              <a:gd name="connsiteX581" fmla="*/ 2014023 w 7467600"/>
              <a:gd name="connsiteY581" fmla="*/ 2450995 h 6858000"/>
              <a:gd name="connsiteX582" fmla="*/ 1747337 w 7467600"/>
              <a:gd name="connsiteY582" fmla="*/ 1855264 h 6858000"/>
              <a:gd name="connsiteX583" fmla="*/ 1533749 w 7467600"/>
              <a:gd name="connsiteY583" fmla="*/ 1478656 h 6858000"/>
              <a:gd name="connsiteX584" fmla="*/ 1431890 w 7467600"/>
              <a:gd name="connsiteY584" fmla="*/ 1306475 h 6858000"/>
              <a:gd name="connsiteX585" fmla="*/ 5052692 w 7467600"/>
              <a:gd name="connsiteY585" fmla="*/ 1292994 h 6858000"/>
              <a:gd name="connsiteX586" fmla="*/ 5200661 w 7467600"/>
              <a:gd name="connsiteY586" fmla="*/ 1635186 h 6858000"/>
              <a:gd name="connsiteX587" fmla="*/ 5297138 w 7467600"/>
              <a:gd name="connsiteY587" fmla="*/ 1906351 h 6858000"/>
              <a:gd name="connsiteX588" fmla="*/ 5052692 w 7467600"/>
              <a:gd name="connsiteY588" fmla="*/ 1292994 h 6858000"/>
              <a:gd name="connsiteX589" fmla="*/ 5009948 w 7467600"/>
              <a:gd name="connsiteY589" fmla="*/ 1273619 h 6858000"/>
              <a:gd name="connsiteX590" fmla="*/ 5121777 w 7467600"/>
              <a:gd name="connsiteY590" fmla="*/ 1654213 h 6858000"/>
              <a:gd name="connsiteX591" fmla="*/ 5293545 w 7467600"/>
              <a:gd name="connsiteY591" fmla="*/ 2072247 h 6858000"/>
              <a:gd name="connsiteX592" fmla="*/ 5294042 w 7467600"/>
              <a:gd name="connsiteY592" fmla="*/ 2065019 h 6858000"/>
              <a:gd name="connsiteX593" fmla="*/ 5171936 w 7467600"/>
              <a:gd name="connsiteY593" fmla="*/ 1647613 h 6858000"/>
              <a:gd name="connsiteX594" fmla="*/ 5009948 w 7467600"/>
              <a:gd name="connsiteY594" fmla="*/ 1273619 h 6858000"/>
              <a:gd name="connsiteX595" fmla="*/ 655236 w 7467600"/>
              <a:gd name="connsiteY595" fmla="*/ 1268632 h 6858000"/>
              <a:gd name="connsiteX596" fmla="*/ 839521 w 7467600"/>
              <a:gd name="connsiteY596" fmla="*/ 1685315 h 6858000"/>
              <a:gd name="connsiteX597" fmla="*/ 1109416 w 7467600"/>
              <a:gd name="connsiteY597" fmla="*/ 2061663 h 6858000"/>
              <a:gd name="connsiteX598" fmla="*/ 1298300 w 7467600"/>
              <a:gd name="connsiteY598" fmla="*/ 2247742 h 6858000"/>
              <a:gd name="connsiteX599" fmla="*/ 1125871 w 7467600"/>
              <a:gd name="connsiteY599" fmla="*/ 1989513 h 6858000"/>
              <a:gd name="connsiteX600" fmla="*/ 981574 w 7467600"/>
              <a:gd name="connsiteY600" fmla="*/ 1783157 h 6858000"/>
              <a:gd name="connsiteX601" fmla="*/ 922198 w 7467600"/>
              <a:gd name="connsiteY601" fmla="*/ 1677437 h 6858000"/>
              <a:gd name="connsiteX602" fmla="*/ 869293 w 7467600"/>
              <a:gd name="connsiteY602" fmla="*/ 1583214 h 6858000"/>
              <a:gd name="connsiteX603" fmla="*/ 751431 w 7467600"/>
              <a:gd name="connsiteY603" fmla="*/ 1405731 h 6858000"/>
              <a:gd name="connsiteX604" fmla="*/ 655236 w 7467600"/>
              <a:gd name="connsiteY604" fmla="*/ 1268632 h 6858000"/>
              <a:gd name="connsiteX605" fmla="*/ 6516292 w 7467600"/>
              <a:gd name="connsiteY605" fmla="*/ 1263064 h 6858000"/>
              <a:gd name="connsiteX606" fmla="*/ 5736320 w 7467600"/>
              <a:gd name="connsiteY606" fmla="*/ 1501803 h 6858000"/>
              <a:gd name="connsiteX607" fmla="*/ 6516292 w 7467600"/>
              <a:gd name="connsiteY607" fmla="*/ 1263064 h 6858000"/>
              <a:gd name="connsiteX608" fmla="*/ 291466 w 7467600"/>
              <a:gd name="connsiteY608" fmla="*/ 1250369 h 6858000"/>
              <a:gd name="connsiteX609" fmla="*/ 323180 w 7467600"/>
              <a:gd name="connsiteY609" fmla="*/ 1435283 h 6858000"/>
              <a:gd name="connsiteX610" fmla="*/ 349381 w 7467600"/>
              <a:gd name="connsiteY610" fmla="*/ 1875041 h 6858000"/>
              <a:gd name="connsiteX611" fmla="*/ 374363 w 7467600"/>
              <a:gd name="connsiteY611" fmla="*/ 1506494 h 6858000"/>
              <a:gd name="connsiteX612" fmla="*/ 302168 w 7467600"/>
              <a:gd name="connsiteY612" fmla="*/ 1274495 h 6858000"/>
              <a:gd name="connsiteX613" fmla="*/ 291466 w 7467600"/>
              <a:gd name="connsiteY613" fmla="*/ 1250369 h 6858000"/>
              <a:gd name="connsiteX614" fmla="*/ 678222 w 7467600"/>
              <a:gd name="connsiteY614" fmla="*/ 1248670 h 6858000"/>
              <a:gd name="connsiteX615" fmla="*/ 775536 w 7467600"/>
              <a:gd name="connsiteY615" fmla="*/ 1388015 h 6858000"/>
              <a:gd name="connsiteX616" fmla="*/ 894529 w 7467600"/>
              <a:gd name="connsiteY616" fmla="*/ 1567739 h 6858000"/>
              <a:gd name="connsiteX617" fmla="*/ 948000 w 7467600"/>
              <a:gd name="connsiteY617" fmla="*/ 1663088 h 6858000"/>
              <a:gd name="connsiteX618" fmla="*/ 1006812 w 7467600"/>
              <a:gd name="connsiteY618" fmla="*/ 1767683 h 6858000"/>
              <a:gd name="connsiteX619" fmla="*/ 1149133 w 7467600"/>
              <a:gd name="connsiteY619" fmla="*/ 1971513 h 6858000"/>
              <a:gd name="connsiteX620" fmla="*/ 1333952 w 7467600"/>
              <a:gd name="connsiteY620" fmla="*/ 2251620 h 6858000"/>
              <a:gd name="connsiteX621" fmla="*/ 1337329 w 7467600"/>
              <a:gd name="connsiteY621" fmla="*/ 2258350 h 6858000"/>
              <a:gd name="connsiteX622" fmla="*/ 1014726 w 7467600"/>
              <a:gd name="connsiteY622" fmla="*/ 1615556 h 6858000"/>
              <a:gd name="connsiteX623" fmla="*/ 678222 w 7467600"/>
              <a:gd name="connsiteY623" fmla="*/ 1248670 h 6858000"/>
              <a:gd name="connsiteX624" fmla="*/ 6691602 w 7467600"/>
              <a:gd name="connsiteY624" fmla="*/ 1140573 h 6858000"/>
              <a:gd name="connsiteX625" fmla="*/ 6571100 w 7467600"/>
              <a:gd name="connsiteY625" fmla="*/ 1183662 h 6858000"/>
              <a:gd name="connsiteX626" fmla="*/ 6241687 w 7467600"/>
              <a:gd name="connsiteY626" fmla="*/ 1257600 h 6858000"/>
              <a:gd name="connsiteX627" fmla="*/ 5693009 w 7467600"/>
              <a:gd name="connsiteY627" fmla="*/ 1478256 h 6858000"/>
              <a:gd name="connsiteX628" fmla="*/ 6548420 w 7467600"/>
              <a:gd name="connsiteY628" fmla="*/ 1214599 h 6858000"/>
              <a:gd name="connsiteX629" fmla="*/ 6605473 w 7467600"/>
              <a:gd name="connsiteY629" fmla="*/ 1184686 h 6858000"/>
              <a:gd name="connsiteX630" fmla="*/ 6691602 w 7467600"/>
              <a:gd name="connsiteY630" fmla="*/ 1140573 h 6858000"/>
              <a:gd name="connsiteX631" fmla="*/ 4002475 w 7467600"/>
              <a:gd name="connsiteY631" fmla="*/ 1037802 h 6858000"/>
              <a:gd name="connsiteX632" fmla="*/ 4000324 w 7467600"/>
              <a:gd name="connsiteY632" fmla="*/ 1039362 h 6858000"/>
              <a:gd name="connsiteX633" fmla="*/ 4002862 w 7467600"/>
              <a:gd name="connsiteY633" fmla="*/ 1042866 h 6858000"/>
              <a:gd name="connsiteX634" fmla="*/ 4002475 w 7467600"/>
              <a:gd name="connsiteY634" fmla="*/ 1037802 h 6858000"/>
              <a:gd name="connsiteX635" fmla="*/ 506322 w 7467600"/>
              <a:gd name="connsiteY635" fmla="*/ 1020997 h 6858000"/>
              <a:gd name="connsiteX636" fmla="*/ 533068 w 7467600"/>
              <a:gd name="connsiteY636" fmla="*/ 1029409 h 6858000"/>
              <a:gd name="connsiteX637" fmla="*/ 1232525 w 7467600"/>
              <a:gd name="connsiteY637" fmla="*/ 1804675 h 6858000"/>
              <a:gd name="connsiteX638" fmla="*/ 1388858 w 7467600"/>
              <a:gd name="connsiteY638" fmla="*/ 2368011 h 6858000"/>
              <a:gd name="connsiteX639" fmla="*/ 1384098 w 7467600"/>
              <a:gd name="connsiteY639" fmla="*/ 2378125 h 6858000"/>
              <a:gd name="connsiteX640" fmla="*/ 1425393 w 7467600"/>
              <a:gd name="connsiteY640" fmla="*/ 2589124 h 6858000"/>
              <a:gd name="connsiteX641" fmla="*/ 1424001 w 7467600"/>
              <a:gd name="connsiteY641" fmla="*/ 2597541 h 6858000"/>
              <a:gd name="connsiteX642" fmla="*/ 2152729 w 7467600"/>
              <a:gd name="connsiteY642" fmla="*/ 2864487 h 6858000"/>
              <a:gd name="connsiteX643" fmla="*/ 2020609 w 7467600"/>
              <a:gd name="connsiteY643" fmla="*/ 2539671 h 6858000"/>
              <a:gd name="connsiteX644" fmla="*/ 2018920 w 7467600"/>
              <a:gd name="connsiteY644" fmla="*/ 2536309 h 6858000"/>
              <a:gd name="connsiteX645" fmla="*/ 1342441 w 7467600"/>
              <a:gd name="connsiteY645" fmla="*/ 1173017 h 6858000"/>
              <a:gd name="connsiteX646" fmla="*/ 1367925 w 7467600"/>
              <a:gd name="connsiteY646" fmla="*/ 1135648 h 6858000"/>
              <a:gd name="connsiteX647" fmla="*/ 1771401 w 7467600"/>
              <a:gd name="connsiteY647" fmla="*/ 1806673 h 6858000"/>
              <a:gd name="connsiteX648" fmla="*/ 1972385 w 7467600"/>
              <a:gd name="connsiteY648" fmla="*/ 2198735 h 6858000"/>
              <a:gd name="connsiteX649" fmla="*/ 2040892 w 7467600"/>
              <a:gd name="connsiteY649" fmla="*/ 2405205 h 6858000"/>
              <a:gd name="connsiteX650" fmla="*/ 2131689 w 7467600"/>
              <a:gd name="connsiteY650" fmla="*/ 1936926 h 6858000"/>
              <a:gd name="connsiteX651" fmla="*/ 2454820 w 7467600"/>
              <a:gd name="connsiteY651" fmla="*/ 1248808 h 6858000"/>
              <a:gd name="connsiteX652" fmla="*/ 2492512 w 7467600"/>
              <a:gd name="connsiteY652" fmla="*/ 1302920 h 6858000"/>
              <a:gd name="connsiteX653" fmla="*/ 2081216 w 7467600"/>
              <a:gd name="connsiteY653" fmla="*/ 2527513 h 6858000"/>
              <a:gd name="connsiteX654" fmla="*/ 2081211 w 7467600"/>
              <a:gd name="connsiteY654" fmla="*/ 2528916 h 6858000"/>
              <a:gd name="connsiteX655" fmla="*/ 2199067 w 7467600"/>
              <a:gd name="connsiteY655" fmla="*/ 2884061 h 6858000"/>
              <a:gd name="connsiteX656" fmla="*/ 3192586 w 7467600"/>
              <a:gd name="connsiteY656" fmla="*/ 3411496 h 6858000"/>
              <a:gd name="connsiteX657" fmla="*/ 3182620 w 7467600"/>
              <a:gd name="connsiteY657" fmla="*/ 3483279 h 6858000"/>
              <a:gd name="connsiteX658" fmla="*/ 2435119 w 7467600"/>
              <a:gd name="connsiteY658" fmla="*/ 3080173 h 6858000"/>
              <a:gd name="connsiteX659" fmla="*/ 2410152 w 7467600"/>
              <a:gd name="connsiteY659" fmla="*/ 3063751 h 6858000"/>
              <a:gd name="connsiteX660" fmla="*/ 2408099 w 7467600"/>
              <a:gd name="connsiteY660" fmla="*/ 3064403 h 6858000"/>
              <a:gd name="connsiteX661" fmla="*/ 2407218 w 7467600"/>
              <a:gd name="connsiteY661" fmla="*/ 3070324 h 6858000"/>
              <a:gd name="connsiteX662" fmla="*/ 2380138 w 7467600"/>
              <a:gd name="connsiteY662" fmla="*/ 3099341 h 6858000"/>
              <a:gd name="connsiteX663" fmla="*/ 1765923 w 7467600"/>
              <a:gd name="connsiteY663" fmla="*/ 3581043 h 6858000"/>
              <a:gd name="connsiteX664" fmla="*/ 1702258 w 7467600"/>
              <a:gd name="connsiteY664" fmla="*/ 3612286 h 6858000"/>
              <a:gd name="connsiteX665" fmla="*/ 1538370 w 7467600"/>
              <a:gd name="connsiteY665" fmla="*/ 3811804 h 6858000"/>
              <a:gd name="connsiteX666" fmla="*/ 542867 w 7467600"/>
              <a:gd name="connsiteY666" fmla="*/ 4944092 h 6858000"/>
              <a:gd name="connsiteX667" fmla="*/ 515800 w 7467600"/>
              <a:gd name="connsiteY667" fmla="*/ 4862180 h 6858000"/>
              <a:gd name="connsiteX668" fmla="*/ 909145 w 7467600"/>
              <a:gd name="connsiteY668" fmla="*/ 4199225 h 6858000"/>
              <a:gd name="connsiteX669" fmla="*/ 1214067 w 7467600"/>
              <a:gd name="connsiteY669" fmla="*/ 3908561 h 6858000"/>
              <a:gd name="connsiteX670" fmla="*/ 640967 w 7467600"/>
              <a:gd name="connsiteY670" fmla="*/ 4105601 h 6858000"/>
              <a:gd name="connsiteX671" fmla="*/ 112563 w 7467600"/>
              <a:gd name="connsiteY671" fmla="*/ 4396952 h 6858000"/>
              <a:gd name="connsiteX672" fmla="*/ 0 w 7467600"/>
              <a:gd name="connsiteY672" fmla="*/ 4466006 h 6858000"/>
              <a:gd name="connsiteX673" fmla="*/ 0 w 7467600"/>
              <a:gd name="connsiteY673" fmla="*/ 4233763 h 6858000"/>
              <a:gd name="connsiteX674" fmla="*/ 36881 w 7467600"/>
              <a:gd name="connsiteY674" fmla="*/ 4200118 h 6858000"/>
              <a:gd name="connsiteX675" fmla="*/ 910534 w 7467600"/>
              <a:gd name="connsiteY675" fmla="*/ 3629753 h 6858000"/>
              <a:gd name="connsiteX676" fmla="*/ 1578717 w 7467600"/>
              <a:gd name="connsiteY676" fmla="*/ 3575982 h 6858000"/>
              <a:gd name="connsiteX677" fmla="*/ 2338780 w 7467600"/>
              <a:gd name="connsiteY677" fmla="*/ 3033725 h 6858000"/>
              <a:gd name="connsiteX678" fmla="*/ 1807991 w 7467600"/>
              <a:gd name="connsiteY678" fmla="*/ 2807184 h 6858000"/>
              <a:gd name="connsiteX679" fmla="*/ 1416358 w 7467600"/>
              <a:gd name="connsiteY679" fmla="*/ 3112571 h 6858000"/>
              <a:gd name="connsiteX680" fmla="*/ 939066 w 7467600"/>
              <a:gd name="connsiteY680" fmla="*/ 3378798 h 6858000"/>
              <a:gd name="connsiteX681" fmla="*/ 115099 w 7467600"/>
              <a:gd name="connsiteY681" fmla="*/ 3607650 h 6858000"/>
              <a:gd name="connsiteX682" fmla="*/ 97284 w 7467600"/>
              <a:gd name="connsiteY682" fmla="*/ 3520393 h 6858000"/>
              <a:gd name="connsiteX683" fmla="*/ 922050 w 7467600"/>
              <a:gd name="connsiteY683" fmla="*/ 3074867 h 6858000"/>
              <a:gd name="connsiteX684" fmla="*/ 1405265 w 7467600"/>
              <a:gd name="connsiteY684" fmla="*/ 3016319 h 6858000"/>
              <a:gd name="connsiteX685" fmla="*/ 1407512 w 7467600"/>
              <a:gd name="connsiteY685" fmla="*/ 3018001 h 6858000"/>
              <a:gd name="connsiteX686" fmla="*/ 1726266 w 7467600"/>
              <a:gd name="connsiteY686" fmla="*/ 2777274 h 6858000"/>
              <a:gd name="connsiteX687" fmla="*/ 625390 w 7467600"/>
              <a:gd name="connsiteY687" fmla="*/ 2514541 h 6858000"/>
              <a:gd name="connsiteX688" fmla="*/ 619799 w 7467600"/>
              <a:gd name="connsiteY688" fmla="*/ 2527180 h 6858000"/>
              <a:gd name="connsiteX689" fmla="*/ 310030 w 7467600"/>
              <a:gd name="connsiteY689" fmla="*/ 2771818 h 6858000"/>
              <a:gd name="connsiteX690" fmla="*/ 173877 w 7467600"/>
              <a:gd name="connsiteY690" fmla="*/ 2937056 h 6858000"/>
              <a:gd name="connsiteX691" fmla="*/ 77889 w 7467600"/>
              <a:gd name="connsiteY691" fmla="*/ 3138440 h 6858000"/>
              <a:gd name="connsiteX692" fmla="*/ 0 w 7467600"/>
              <a:gd name="connsiteY692" fmla="*/ 3271395 h 6858000"/>
              <a:gd name="connsiteX693" fmla="*/ 0 w 7467600"/>
              <a:gd name="connsiteY693" fmla="*/ 3153002 h 6858000"/>
              <a:gd name="connsiteX694" fmla="*/ 2386 w 7467600"/>
              <a:gd name="connsiteY694" fmla="*/ 3149203 h 6858000"/>
              <a:gd name="connsiteX695" fmla="*/ 89753 w 7467600"/>
              <a:gd name="connsiteY695" fmla="*/ 2987702 h 6858000"/>
              <a:gd name="connsiteX696" fmla="*/ 76869 w 7467600"/>
              <a:gd name="connsiteY696" fmla="*/ 3005404 h 6858000"/>
              <a:gd name="connsiteX697" fmla="*/ 32049 w 7467600"/>
              <a:gd name="connsiteY697" fmla="*/ 3065814 h 6858000"/>
              <a:gd name="connsiteX698" fmla="*/ 0 w 7467600"/>
              <a:gd name="connsiteY698" fmla="*/ 3108744 h 6858000"/>
              <a:gd name="connsiteX699" fmla="*/ 0 w 7467600"/>
              <a:gd name="connsiteY699" fmla="*/ 3058059 h 6858000"/>
              <a:gd name="connsiteX700" fmla="*/ 7610 w 7467600"/>
              <a:gd name="connsiteY700" fmla="*/ 3047889 h 6858000"/>
              <a:gd name="connsiteX701" fmla="*/ 52419 w 7467600"/>
              <a:gd name="connsiteY701" fmla="*/ 2987479 h 6858000"/>
              <a:gd name="connsiteX702" fmla="*/ 59142 w 7467600"/>
              <a:gd name="connsiteY702" fmla="*/ 2978488 h 6858000"/>
              <a:gd name="connsiteX703" fmla="*/ 0 w 7467600"/>
              <a:gd name="connsiteY703" fmla="*/ 3015334 h 6858000"/>
              <a:gd name="connsiteX704" fmla="*/ 0 w 7467600"/>
              <a:gd name="connsiteY704" fmla="*/ 2914286 h 6858000"/>
              <a:gd name="connsiteX705" fmla="*/ 36383 w 7467600"/>
              <a:gd name="connsiteY705" fmla="*/ 2901128 h 6858000"/>
              <a:gd name="connsiteX706" fmla="*/ 156329 w 7467600"/>
              <a:gd name="connsiteY706" fmla="*/ 2840533 h 6858000"/>
              <a:gd name="connsiteX707" fmla="*/ 358355 w 7467600"/>
              <a:gd name="connsiteY707" fmla="*/ 2620471 h 6858000"/>
              <a:gd name="connsiteX708" fmla="*/ 510577 w 7467600"/>
              <a:gd name="connsiteY708" fmla="*/ 2501244 h 6858000"/>
              <a:gd name="connsiteX709" fmla="*/ 211967 w 7467600"/>
              <a:gd name="connsiteY709" fmla="*/ 2479171 h 6858000"/>
              <a:gd name="connsiteX710" fmla="*/ 0 w 7467600"/>
              <a:gd name="connsiteY710" fmla="*/ 2476398 h 6858000"/>
              <a:gd name="connsiteX711" fmla="*/ 0 w 7467600"/>
              <a:gd name="connsiteY711" fmla="*/ 2389189 h 6858000"/>
              <a:gd name="connsiteX712" fmla="*/ 103062 w 7467600"/>
              <a:gd name="connsiteY712" fmla="*/ 2389518 h 6858000"/>
              <a:gd name="connsiteX713" fmla="*/ 510734 w 7467600"/>
              <a:gd name="connsiteY713" fmla="*/ 2416201 h 6858000"/>
              <a:gd name="connsiteX714" fmla="*/ 279257 w 7467600"/>
              <a:gd name="connsiteY714" fmla="*/ 2092102 h 6858000"/>
              <a:gd name="connsiteX715" fmla="*/ 65265 w 7467600"/>
              <a:gd name="connsiteY715" fmla="*/ 2006049 h 6858000"/>
              <a:gd name="connsiteX716" fmla="*/ 0 w 7467600"/>
              <a:gd name="connsiteY716" fmla="*/ 1982532 h 6858000"/>
              <a:gd name="connsiteX717" fmla="*/ 0 w 7467600"/>
              <a:gd name="connsiteY717" fmla="*/ 1912789 h 6858000"/>
              <a:gd name="connsiteX718" fmla="*/ 97460 w 7467600"/>
              <a:gd name="connsiteY718" fmla="*/ 1953725 h 6858000"/>
              <a:gd name="connsiteX719" fmla="*/ 221272 w 7467600"/>
              <a:gd name="connsiteY719" fmla="*/ 1980766 h 6858000"/>
              <a:gd name="connsiteX720" fmla="*/ 116765 w 7467600"/>
              <a:gd name="connsiteY720" fmla="*/ 1911033 h 6858000"/>
              <a:gd name="connsiteX721" fmla="*/ 16405 w 7467600"/>
              <a:gd name="connsiteY721" fmla="*/ 1803412 h 6858000"/>
              <a:gd name="connsiteX722" fmla="*/ 0 w 7467600"/>
              <a:gd name="connsiteY722" fmla="*/ 1784777 h 6858000"/>
              <a:gd name="connsiteX723" fmla="*/ 0 w 7467600"/>
              <a:gd name="connsiteY723" fmla="*/ 1740082 h 6858000"/>
              <a:gd name="connsiteX724" fmla="*/ 39394 w 7467600"/>
              <a:gd name="connsiteY724" fmla="*/ 1784856 h 6858000"/>
              <a:gd name="connsiteX725" fmla="*/ 135813 w 7467600"/>
              <a:gd name="connsiteY725" fmla="*/ 1888838 h 6858000"/>
              <a:gd name="connsiteX726" fmla="*/ 242575 w 7467600"/>
              <a:gd name="connsiteY726" fmla="*/ 1958841 h 6858000"/>
              <a:gd name="connsiteX727" fmla="*/ 82197 w 7467600"/>
              <a:gd name="connsiteY727" fmla="*/ 1754826 h 6858000"/>
              <a:gd name="connsiteX728" fmla="*/ 0 w 7467600"/>
              <a:gd name="connsiteY728" fmla="*/ 1679650 h 6858000"/>
              <a:gd name="connsiteX729" fmla="*/ 0 w 7467600"/>
              <a:gd name="connsiteY729" fmla="*/ 1602463 h 6858000"/>
              <a:gd name="connsiteX730" fmla="*/ 84689 w 7467600"/>
              <a:gd name="connsiteY730" fmla="*/ 1677442 h 6858000"/>
              <a:gd name="connsiteX731" fmla="*/ 298437 w 7467600"/>
              <a:gd name="connsiteY731" fmla="*/ 1968019 h 6858000"/>
              <a:gd name="connsiteX732" fmla="*/ 227269 w 7467600"/>
              <a:gd name="connsiteY732" fmla="*/ 1114064 h 6858000"/>
              <a:gd name="connsiteX733" fmla="*/ 248003 w 7467600"/>
              <a:gd name="connsiteY733" fmla="*/ 1089613 h 6858000"/>
              <a:gd name="connsiteX734" fmla="*/ 427020 w 7467600"/>
              <a:gd name="connsiteY734" fmla="*/ 1619803 h 6858000"/>
              <a:gd name="connsiteX735" fmla="*/ 340345 w 7467600"/>
              <a:gd name="connsiteY735" fmla="*/ 2027739 h 6858000"/>
              <a:gd name="connsiteX736" fmla="*/ 360865 w 7467600"/>
              <a:gd name="connsiteY736" fmla="*/ 2044827 h 6858000"/>
              <a:gd name="connsiteX737" fmla="*/ 560414 w 7467600"/>
              <a:gd name="connsiteY737" fmla="*/ 2421457 h 6858000"/>
              <a:gd name="connsiteX738" fmla="*/ 1359703 w 7467600"/>
              <a:gd name="connsiteY738" fmla="*/ 2578554 h 6858000"/>
              <a:gd name="connsiteX739" fmla="*/ 1359422 w 7467600"/>
              <a:gd name="connsiteY739" fmla="*/ 2577994 h 6858000"/>
              <a:gd name="connsiteX740" fmla="*/ 828701 w 7467600"/>
              <a:gd name="connsiteY740" fmla="*/ 1839520 h 6858000"/>
              <a:gd name="connsiteX741" fmla="*/ 494427 w 7467600"/>
              <a:gd name="connsiteY741" fmla="*/ 1092333 h 6858000"/>
              <a:gd name="connsiteX742" fmla="*/ 506322 w 7467600"/>
              <a:gd name="connsiteY742" fmla="*/ 1020997 h 6858000"/>
              <a:gd name="connsiteX743" fmla="*/ 4570198 w 7467600"/>
              <a:gd name="connsiteY743" fmla="*/ 978081 h 6858000"/>
              <a:gd name="connsiteX744" fmla="*/ 4523691 w 7467600"/>
              <a:gd name="connsiteY744" fmla="*/ 1127776 h 6858000"/>
              <a:gd name="connsiteX745" fmla="*/ 4509875 w 7467600"/>
              <a:gd name="connsiteY745" fmla="*/ 1167552 h 6858000"/>
              <a:gd name="connsiteX746" fmla="*/ 4478168 w 7467600"/>
              <a:gd name="connsiteY746" fmla="*/ 1260735 h 6858000"/>
              <a:gd name="connsiteX747" fmla="*/ 4409309 w 7467600"/>
              <a:gd name="connsiteY747" fmla="*/ 1666996 h 6858000"/>
              <a:gd name="connsiteX748" fmla="*/ 4370031 w 7467600"/>
              <a:gd name="connsiteY748" fmla="*/ 1955666 h 6858000"/>
              <a:gd name="connsiteX749" fmla="*/ 4570198 w 7467600"/>
              <a:gd name="connsiteY749" fmla="*/ 978081 h 6858000"/>
              <a:gd name="connsiteX750" fmla="*/ 4557898 w 7467600"/>
              <a:gd name="connsiteY750" fmla="*/ 900011 h 6858000"/>
              <a:gd name="connsiteX751" fmla="*/ 4344840 w 7467600"/>
              <a:gd name="connsiteY751" fmla="*/ 1922038 h 6858000"/>
              <a:gd name="connsiteX752" fmla="*/ 4378710 w 7467600"/>
              <a:gd name="connsiteY752" fmla="*/ 1665516 h 6858000"/>
              <a:gd name="connsiteX753" fmla="*/ 4448798 w 7467600"/>
              <a:gd name="connsiteY753" fmla="*/ 1253024 h 6858000"/>
              <a:gd name="connsiteX754" fmla="*/ 4480315 w 7467600"/>
              <a:gd name="connsiteY754" fmla="*/ 1158454 h 6858000"/>
              <a:gd name="connsiteX755" fmla="*/ 4494133 w 7467600"/>
              <a:gd name="connsiteY755" fmla="*/ 1118676 h 6858000"/>
              <a:gd name="connsiteX756" fmla="*/ 4557898 w 7467600"/>
              <a:gd name="connsiteY756" fmla="*/ 900011 h 6858000"/>
              <a:gd name="connsiteX757" fmla="*/ 5870151 w 7467600"/>
              <a:gd name="connsiteY757" fmla="*/ 898890 h 6858000"/>
              <a:gd name="connsiteX758" fmla="*/ 5861335 w 7467600"/>
              <a:gd name="connsiteY758" fmla="*/ 899177 h 6858000"/>
              <a:gd name="connsiteX759" fmla="*/ 5843702 w 7467600"/>
              <a:gd name="connsiteY759" fmla="*/ 899748 h 6858000"/>
              <a:gd name="connsiteX760" fmla="*/ 5651107 w 7467600"/>
              <a:gd name="connsiteY760" fmla="*/ 920306 h 6858000"/>
              <a:gd name="connsiteX761" fmla="*/ 5459407 w 7467600"/>
              <a:gd name="connsiteY761" fmla="*/ 940975 h 6858000"/>
              <a:gd name="connsiteX762" fmla="*/ 5374846 w 7467600"/>
              <a:gd name="connsiteY762" fmla="*/ 941988 h 6858000"/>
              <a:gd name="connsiteX763" fmla="*/ 5256105 w 7467600"/>
              <a:gd name="connsiteY763" fmla="*/ 945632 h 6858000"/>
              <a:gd name="connsiteX764" fmla="*/ 5107071 w 7467600"/>
              <a:gd name="connsiteY764" fmla="*/ 969720 h 6858000"/>
              <a:gd name="connsiteX765" fmla="*/ 4998681 w 7467600"/>
              <a:gd name="connsiteY765" fmla="*/ 988771 h 6858000"/>
              <a:gd name="connsiteX766" fmla="*/ 5870151 w 7467600"/>
              <a:gd name="connsiteY766" fmla="*/ 898890 h 6858000"/>
              <a:gd name="connsiteX767" fmla="*/ 5504425 w 7467600"/>
              <a:gd name="connsiteY767" fmla="*/ 848067 h 6858000"/>
              <a:gd name="connsiteX768" fmla="*/ 4968849 w 7467600"/>
              <a:gd name="connsiteY768" fmla="*/ 962318 h 6858000"/>
              <a:gd name="connsiteX769" fmla="*/ 5104039 w 7467600"/>
              <a:gd name="connsiteY769" fmla="*/ 940634 h 6858000"/>
              <a:gd name="connsiteX770" fmla="*/ 5256311 w 7467600"/>
              <a:gd name="connsiteY770" fmla="*/ 916490 h 6858000"/>
              <a:gd name="connsiteX771" fmla="*/ 5377381 w 7467600"/>
              <a:gd name="connsiteY771" fmla="*/ 912671 h 6858000"/>
              <a:gd name="connsiteX772" fmla="*/ 5460148 w 7467600"/>
              <a:gd name="connsiteY772" fmla="*/ 911442 h 6858000"/>
              <a:gd name="connsiteX773" fmla="*/ 5648971 w 7467600"/>
              <a:gd name="connsiteY773" fmla="*/ 891331 h 6858000"/>
              <a:gd name="connsiteX774" fmla="*/ 5844807 w 7467600"/>
              <a:gd name="connsiteY774" fmla="*/ 870718 h 6858000"/>
              <a:gd name="connsiteX775" fmla="*/ 5862975 w 7467600"/>
              <a:gd name="connsiteY775" fmla="*/ 869756 h 6858000"/>
              <a:gd name="connsiteX776" fmla="*/ 5920887 w 7467600"/>
              <a:gd name="connsiteY776" fmla="*/ 865929 h 6858000"/>
              <a:gd name="connsiteX777" fmla="*/ 5504425 w 7467600"/>
              <a:gd name="connsiteY777" fmla="*/ 848067 h 6858000"/>
              <a:gd name="connsiteX778" fmla="*/ 3607114 w 7467600"/>
              <a:gd name="connsiteY778" fmla="*/ 467441 h 6858000"/>
              <a:gd name="connsiteX779" fmla="*/ 3296242 w 7467600"/>
              <a:gd name="connsiteY779" fmla="*/ 807991 h 6858000"/>
              <a:gd name="connsiteX780" fmla="*/ 3174674 w 7467600"/>
              <a:gd name="connsiteY780" fmla="*/ 919759 h 6858000"/>
              <a:gd name="connsiteX781" fmla="*/ 3042978 w 7467600"/>
              <a:gd name="connsiteY781" fmla="*/ 1054894 h 6858000"/>
              <a:gd name="connsiteX782" fmla="*/ 2968914 w 7467600"/>
              <a:gd name="connsiteY782" fmla="*/ 1133756 h 6858000"/>
              <a:gd name="connsiteX783" fmla="*/ 3103823 w 7467600"/>
              <a:gd name="connsiteY783" fmla="*/ 1026814 h 6858000"/>
              <a:gd name="connsiteX784" fmla="*/ 3607114 w 7467600"/>
              <a:gd name="connsiteY784" fmla="*/ 467441 h 6858000"/>
              <a:gd name="connsiteX785" fmla="*/ 3744487 w 7467600"/>
              <a:gd name="connsiteY785" fmla="*/ 383136 h 6858000"/>
              <a:gd name="connsiteX786" fmla="*/ 3970213 w 7467600"/>
              <a:gd name="connsiteY786" fmla="*/ 995559 h 6858000"/>
              <a:gd name="connsiteX787" fmla="*/ 3744487 w 7467600"/>
              <a:gd name="connsiteY787" fmla="*/ 383136 h 6858000"/>
              <a:gd name="connsiteX788" fmla="*/ 3624562 w 7467600"/>
              <a:gd name="connsiteY788" fmla="*/ 367041 h 6858000"/>
              <a:gd name="connsiteX789" fmla="*/ 3489712 w 7467600"/>
              <a:gd name="connsiteY789" fmla="*/ 485386 h 6858000"/>
              <a:gd name="connsiteX790" fmla="*/ 3182994 w 7467600"/>
              <a:gd name="connsiteY790" fmla="*/ 828265 h 6858000"/>
              <a:gd name="connsiteX791" fmla="*/ 2892114 w 7467600"/>
              <a:gd name="connsiteY791" fmla="*/ 1172635 h 6858000"/>
              <a:gd name="connsiteX792" fmla="*/ 3021459 w 7467600"/>
              <a:gd name="connsiteY792" fmla="*/ 1035385 h 6858000"/>
              <a:gd name="connsiteX793" fmla="*/ 3153873 w 7467600"/>
              <a:gd name="connsiteY793" fmla="*/ 898971 h 6858000"/>
              <a:gd name="connsiteX794" fmla="*/ 3276511 w 7467600"/>
              <a:gd name="connsiteY794" fmla="*/ 786423 h 6858000"/>
              <a:gd name="connsiteX795" fmla="*/ 3584154 w 7467600"/>
              <a:gd name="connsiteY795" fmla="*/ 448218 h 6858000"/>
              <a:gd name="connsiteX796" fmla="*/ 3624562 w 7467600"/>
              <a:gd name="connsiteY796" fmla="*/ 367041 h 6858000"/>
              <a:gd name="connsiteX797" fmla="*/ 3766672 w 7467600"/>
              <a:gd name="connsiteY797" fmla="*/ 359429 h 6858000"/>
              <a:gd name="connsiteX798" fmla="*/ 3996338 w 7467600"/>
              <a:gd name="connsiteY798" fmla="*/ 968237 h 6858000"/>
              <a:gd name="connsiteX799" fmla="*/ 3766672 w 7467600"/>
              <a:gd name="connsiteY799" fmla="*/ 359429 h 6858000"/>
              <a:gd name="connsiteX800" fmla="*/ 5805386 w 7467600"/>
              <a:gd name="connsiteY800" fmla="*/ 239240 h 6858000"/>
              <a:gd name="connsiteX801" fmla="*/ 5736947 w 7467600"/>
              <a:gd name="connsiteY801" fmla="*/ 261367 h 6858000"/>
              <a:gd name="connsiteX802" fmla="*/ 5427012 w 7467600"/>
              <a:gd name="connsiteY802" fmla="*/ 311272 h 6858000"/>
              <a:gd name="connsiteX803" fmla="*/ 5147818 w 7467600"/>
              <a:gd name="connsiteY803" fmla="*/ 322112 h 6858000"/>
              <a:gd name="connsiteX804" fmla="*/ 5060854 w 7467600"/>
              <a:gd name="connsiteY804" fmla="*/ 311882 h 6858000"/>
              <a:gd name="connsiteX805" fmla="*/ 4945989 w 7467600"/>
              <a:gd name="connsiteY805" fmla="*/ 300516 h 6858000"/>
              <a:gd name="connsiteX806" fmla="*/ 5410479 w 7467600"/>
              <a:gd name="connsiteY806" fmla="*/ 348434 h 6858000"/>
              <a:gd name="connsiteX807" fmla="*/ 5805386 w 7467600"/>
              <a:gd name="connsiteY807" fmla="*/ 239240 h 6858000"/>
              <a:gd name="connsiteX808" fmla="*/ 5905192 w 7467600"/>
              <a:gd name="connsiteY808" fmla="*/ 163079 h 6858000"/>
              <a:gd name="connsiteX809" fmla="*/ 5865655 w 7467600"/>
              <a:gd name="connsiteY809" fmla="*/ 171901 h 6858000"/>
              <a:gd name="connsiteX810" fmla="*/ 5259740 w 7467600"/>
              <a:gd name="connsiteY810" fmla="*/ 257013 h 6858000"/>
              <a:gd name="connsiteX811" fmla="*/ 5208466 w 7467600"/>
              <a:gd name="connsiteY811" fmla="*/ 257550 h 6858000"/>
              <a:gd name="connsiteX812" fmla="*/ 4980204 w 7467600"/>
              <a:gd name="connsiteY812" fmla="*/ 271903 h 6858000"/>
              <a:gd name="connsiteX813" fmla="*/ 5068068 w 7467600"/>
              <a:gd name="connsiteY813" fmla="*/ 282244 h 6858000"/>
              <a:gd name="connsiteX814" fmla="*/ 5153231 w 7467600"/>
              <a:gd name="connsiteY814" fmla="*/ 292240 h 6858000"/>
              <a:gd name="connsiteX815" fmla="*/ 5426491 w 7467600"/>
              <a:gd name="connsiteY815" fmla="*/ 281128 h 6858000"/>
              <a:gd name="connsiteX816" fmla="*/ 5731212 w 7467600"/>
              <a:gd name="connsiteY816" fmla="*/ 231951 h 6858000"/>
              <a:gd name="connsiteX817" fmla="*/ 5905192 w 7467600"/>
              <a:gd name="connsiteY817" fmla="*/ 163079 h 6858000"/>
              <a:gd name="connsiteX818" fmla="*/ 5944437 w 7467600"/>
              <a:gd name="connsiteY818" fmla="*/ 113829 h 6858000"/>
              <a:gd name="connsiteX819" fmla="*/ 5825032 w 7467600"/>
              <a:gd name="connsiteY819" fmla="*/ 146405 h 6858000"/>
              <a:gd name="connsiteX820" fmla="*/ 4955599 w 7467600"/>
              <a:gd name="connsiteY820" fmla="*/ 247008 h 6858000"/>
              <a:gd name="connsiteX821" fmla="*/ 5210104 w 7467600"/>
              <a:gd name="connsiteY821" fmla="*/ 228123 h 6858000"/>
              <a:gd name="connsiteX822" fmla="*/ 5261015 w 7467600"/>
              <a:gd name="connsiteY822" fmla="*/ 227087 h 6858000"/>
              <a:gd name="connsiteX823" fmla="*/ 5861181 w 7467600"/>
              <a:gd name="connsiteY823" fmla="*/ 143093 h 6858000"/>
              <a:gd name="connsiteX824" fmla="*/ 5961252 w 7467600"/>
              <a:gd name="connsiteY824" fmla="*/ 114820 h 6858000"/>
              <a:gd name="connsiteX825" fmla="*/ 5944437 w 7467600"/>
              <a:gd name="connsiteY825" fmla="*/ 113829 h 6858000"/>
              <a:gd name="connsiteX826" fmla="*/ 3882765 w 7467600"/>
              <a:gd name="connsiteY826" fmla="*/ 0 h 6858000"/>
              <a:gd name="connsiteX827" fmla="*/ 3995099 w 7467600"/>
              <a:gd name="connsiteY827" fmla="*/ 0 h 6858000"/>
              <a:gd name="connsiteX828" fmla="*/ 4163818 w 7467600"/>
              <a:gd name="connsiteY828" fmla="*/ 234104 h 6858000"/>
              <a:gd name="connsiteX829" fmla="*/ 4172099 w 7467600"/>
              <a:gd name="connsiteY829" fmla="*/ 234207 h 6858000"/>
              <a:gd name="connsiteX830" fmla="*/ 4784282 w 7467600"/>
              <a:gd name="connsiteY830" fmla="*/ 276561 h 6858000"/>
              <a:gd name="connsiteX831" fmla="*/ 4801687 w 7467600"/>
              <a:gd name="connsiteY831" fmla="*/ 267764 h 6858000"/>
              <a:gd name="connsiteX832" fmla="*/ 6082788 w 7467600"/>
              <a:gd name="connsiteY832" fmla="*/ 64119 h 6858000"/>
              <a:gd name="connsiteX833" fmla="*/ 6099442 w 7467600"/>
              <a:gd name="connsiteY833" fmla="*/ 82568 h 6858000"/>
              <a:gd name="connsiteX834" fmla="*/ 4804137 w 7467600"/>
              <a:gd name="connsiteY834" fmla="*/ 320931 h 6858000"/>
              <a:gd name="connsiteX835" fmla="*/ 4227047 w 7467600"/>
              <a:gd name="connsiteY835" fmla="*/ 313415 h 6858000"/>
              <a:gd name="connsiteX836" fmla="*/ 4346041 w 7467600"/>
              <a:gd name="connsiteY836" fmla="*/ 456086 h 6858000"/>
              <a:gd name="connsiteX837" fmla="*/ 4870967 w 7467600"/>
              <a:gd name="connsiteY837" fmla="*/ 963061 h 6858000"/>
              <a:gd name="connsiteX838" fmla="*/ 4889647 w 7467600"/>
              <a:gd name="connsiteY838" fmla="*/ 957147 h 6858000"/>
              <a:gd name="connsiteX839" fmla="*/ 5422504 w 7467600"/>
              <a:gd name="connsiteY839" fmla="*/ 805191 h 6858000"/>
              <a:gd name="connsiteX840" fmla="*/ 6087656 w 7467600"/>
              <a:gd name="connsiteY840" fmla="*/ 826703 h 6858000"/>
              <a:gd name="connsiteX841" fmla="*/ 6058717 w 7467600"/>
              <a:gd name="connsiteY841" fmla="*/ 865992 h 6858000"/>
              <a:gd name="connsiteX842" fmla="*/ 4974153 w 7467600"/>
              <a:gd name="connsiteY842" fmla="*/ 1045456 h 6858000"/>
              <a:gd name="connsiteX843" fmla="*/ 5627835 w 7467600"/>
              <a:gd name="connsiteY843" fmla="*/ 1472077 h 6858000"/>
              <a:gd name="connsiteX844" fmla="*/ 5629817 w 7467600"/>
              <a:gd name="connsiteY844" fmla="*/ 1471412 h 6858000"/>
              <a:gd name="connsiteX845" fmla="*/ 5634124 w 7467600"/>
              <a:gd name="connsiteY845" fmla="*/ 1470572 h 6858000"/>
              <a:gd name="connsiteX846" fmla="*/ 5755832 w 7467600"/>
              <a:gd name="connsiteY846" fmla="*/ 1383886 h 6858000"/>
              <a:gd name="connsiteX847" fmla="*/ 6014186 w 7467600"/>
              <a:gd name="connsiteY847" fmla="*/ 1279799 h 6858000"/>
              <a:gd name="connsiteX848" fmla="*/ 6901619 w 7467600"/>
              <a:gd name="connsiteY848" fmla="*/ 1047874 h 6858000"/>
              <a:gd name="connsiteX849" fmla="*/ 6931566 w 7467600"/>
              <a:gd name="connsiteY849" fmla="*/ 1062034 h 6858000"/>
              <a:gd name="connsiteX850" fmla="*/ 5790982 w 7467600"/>
              <a:gd name="connsiteY850" fmla="*/ 1561380 h 6858000"/>
              <a:gd name="connsiteX851" fmla="*/ 6188971 w 7467600"/>
              <a:gd name="connsiteY851" fmla="*/ 1755168 h 6858000"/>
              <a:gd name="connsiteX852" fmla="*/ 6202446 w 7467600"/>
              <a:gd name="connsiteY852" fmla="*/ 1752268 h 6858000"/>
              <a:gd name="connsiteX853" fmla="*/ 7179560 w 7467600"/>
              <a:gd name="connsiteY853" fmla="*/ 1467551 h 6858000"/>
              <a:gd name="connsiteX854" fmla="*/ 7158730 w 7467600"/>
              <a:gd name="connsiteY854" fmla="*/ 1507835 h 6858000"/>
              <a:gd name="connsiteX855" fmla="*/ 6326959 w 7467600"/>
              <a:gd name="connsiteY855" fmla="*/ 1817686 h 6858000"/>
              <a:gd name="connsiteX856" fmla="*/ 6537433 w 7467600"/>
              <a:gd name="connsiteY856" fmla="*/ 1907790 h 6858000"/>
              <a:gd name="connsiteX857" fmla="*/ 6550221 w 7467600"/>
              <a:gd name="connsiteY857" fmla="*/ 1910729 h 6858000"/>
              <a:gd name="connsiteX858" fmla="*/ 6964438 w 7467600"/>
              <a:gd name="connsiteY858" fmla="*/ 2209505 h 6858000"/>
              <a:gd name="connsiteX859" fmla="*/ 7367862 w 7467600"/>
              <a:gd name="connsiteY859" fmla="*/ 2806833 h 6858000"/>
              <a:gd name="connsiteX860" fmla="*/ 7364329 w 7467600"/>
              <a:gd name="connsiteY860" fmla="*/ 2826907 h 6858000"/>
              <a:gd name="connsiteX861" fmla="*/ 7290545 w 7467600"/>
              <a:gd name="connsiteY861" fmla="*/ 2850663 h 6858000"/>
              <a:gd name="connsiteX862" fmla="*/ 6472036 w 7467600"/>
              <a:gd name="connsiteY862" fmla="*/ 1959003 h 6858000"/>
              <a:gd name="connsiteX863" fmla="*/ 5792897 w 7467600"/>
              <a:gd name="connsiteY863" fmla="*/ 1647747 h 6858000"/>
              <a:gd name="connsiteX864" fmla="*/ 5842751 w 7467600"/>
              <a:gd name="connsiteY864" fmla="*/ 1816112 h 6858000"/>
              <a:gd name="connsiteX865" fmla="*/ 5847424 w 7467600"/>
              <a:gd name="connsiteY865" fmla="*/ 1815776 h 6858000"/>
              <a:gd name="connsiteX866" fmla="*/ 6399821 w 7467600"/>
              <a:gd name="connsiteY866" fmla="*/ 2344799 h 6858000"/>
              <a:gd name="connsiteX867" fmla="*/ 6323232 w 7467600"/>
              <a:gd name="connsiteY867" fmla="*/ 2389634 h 6858000"/>
              <a:gd name="connsiteX868" fmla="*/ 5942958 w 7467600"/>
              <a:gd name="connsiteY868" fmla="*/ 2077708 h 6858000"/>
              <a:gd name="connsiteX869" fmla="*/ 5921559 w 7467600"/>
              <a:gd name="connsiteY869" fmla="*/ 2378596 h 6858000"/>
              <a:gd name="connsiteX870" fmla="*/ 5817651 w 7467600"/>
              <a:gd name="connsiteY870" fmla="*/ 3023919 h 6858000"/>
              <a:gd name="connsiteX871" fmla="*/ 5729634 w 7467600"/>
              <a:gd name="connsiteY871" fmla="*/ 3051849 h 6858000"/>
              <a:gd name="connsiteX872" fmla="*/ 5611018 w 7467600"/>
              <a:gd name="connsiteY872" fmla="*/ 2316769 h 6858000"/>
              <a:gd name="connsiteX873" fmla="*/ 5687608 w 7467600"/>
              <a:gd name="connsiteY873" fmla="*/ 2039972 h 6858000"/>
              <a:gd name="connsiteX874" fmla="*/ 5657554 w 7467600"/>
              <a:gd name="connsiteY874" fmla="*/ 1576445 h 6858000"/>
              <a:gd name="connsiteX875" fmla="*/ 5150475 w 7467600"/>
              <a:gd name="connsiteY875" fmla="*/ 1274012 h 6858000"/>
              <a:gd name="connsiteX876" fmla="*/ 5349142 w 7467600"/>
              <a:gd name="connsiteY876" fmla="*/ 2204405 h 6858000"/>
              <a:gd name="connsiteX877" fmla="*/ 5262214 w 7467600"/>
              <a:gd name="connsiteY877" fmla="*/ 2233836 h 6858000"/>
              <a:gd name="connsiteX878" fmla="*/ 4981539 w 7467600"/>
              <a:gd name="connsiteY878" fmla="*/ 1542201 h 6858000"/>
              <a:gd name="connsiteX879" fmla="*/ 4958461 w 7467600"/>
              <a:gd name="connsiteY879" fmla="*/ 1136957 h 6858000"/>
              <a:gd name="connsiteX880" fmla="*/ 4655015 w 7467600"/>
              <a:gd name="connsiteY880" fmla="*/ 891426 h 6858000"/>
              <a:gd name="connsiteX881" fmla="*/ 4348002 w 7467600"/>
              <a:gd name="connsiteY881" fmla="*/ 2205895 h 6858000"/>
              <a:gd name="connsiteX882" fmla="*/ 4262250 w 7467600"/>
              <a:gd name="connsiteY882" fmla="*/ 2219972 h 6858000"/>
              <a:gd name="connsiteX883" fmla="*/ 4550611 w 7467600"/>
              <a:gd name="connsiteY883" fmla="*/ 817540 h 6858000"/>
              <a:gd name="connsiteX884" fmla="*/ 4564418 w 7467600"/>
              <a:gd name="connsiteY884" fmla="*/ 808293 h 6858000"/>
              <a:gd name="connsiteX885" fmla="*/ 4266388 w 7467600"/>
              <a:gd name="connsiteY885" fmla="*/ 500083 h 6858000"/>
              <a:gd name="connsiteX886" fmla="*/ 4032842 w 7467600"/>
              <a:gd name="connsiteY886" fmla="*/ 211809 h 6858000"/>
              <a:gd name="connsiteX887" fmla="*/ 3882765 w 7467600"/>
              <a:gd name="connsiteY887" fmla="*/ 0 h 6858000"/>
              <a:gd name="connsiteX888" fmla="*/ 3721337 w 7467600"/>
              <a:gd name="connsiteY888" fmla="*/ 0 h 6858000"/>
              <a:gd name="connsiteX889" fmla="*/ 3797544 w 7467600"/>
              <a:gd name="connsiteY889" fmla="*/ 0 h 6858000"/>
              <a:gd name="connsiteX890" fmla="*/ 3775734 w 7467600"/>
              <a:gd name="connsiteY890" fmla="*/ 95131 h 6858000"/>
              <a:gd name="connsiteX891" fmla="*/ 3724807 w 7467600"/>
              <a:gd name="connsiteY891" fmla="*/ 272257 h 6858000"/>
              <a:gd name="connsiteX892" fmla="*/ 3726844 w 7467600"/>
              <a:gd name="connsiteY892" fmla="*/ 282988 h 6858000"/>
              <a:gd name="connsiteX893" fmla="*/ 3742664 w 7467600"/>
              <a:gd name="connsiteY893" fmla="*/ 279918 h 6858000"/>
              <a:gd name="connsiteX894" fmla="*/ 4103910 w 7467600"/>
              <a:gd name="connsiteY894" fmla="*/ 1161917 h 6858000"/>
              <a:gd name="connsiteX895" fmla="*/ 4020269 w 7467600"/>
              <a:gd name="connsiteY895" fmla="*/ 1200406 h 6858000"/>
              <a:gd name="connsiteX896" fmla="*/ 3674882 w 7467600"/>
              <a:gd name="connsiteY896" fmla="*/ 488524 h 6858000"/>
              <a:gd name="connsiteX897" fmla="*/ 3132682 w 7467600"/>
              <a:gd name="connsiteY897" fmla="*/ 1072284 h 6858000"/>
              <a:gd name="connsiteX898" fmla="*/ 2716346 w 7467600"/>
              <a:gd name="connsiteY898" fmla="*/ 1276376 h 6858000"/>
              <a:gd name="connsiteX899" fmla="*/ 2716772 w 7467600"/>
              <a:gd name="connsiteY899" fmla="*/ 1255462 h 6858000"/>
              <a:gd name="connsiteX900" fmla="*/ 3471096 w 7467600"/>
              <a:gd name="connsiteY900" fmla="*/ 437072 h 6858000"/>
              <a:gd name="connsiteX901" fmla="*/ 3639057 w 7467600"/>
              <a:gd name="connsiteY901" fmla="*/ 286334 h 6858000"/>
              <a:gd name="connsiteX902" fmla="*/ 3640309 w 7467600"/>
              <a:gd name="connsiteY902" fmla="*/ 284664 h 6858000"/>
              <a:gd name="connsiteX903" fmla="*/ 3646022 w 7467600"/>
              <a:gd name="connsiteY903" fmla="*/ 276711 h 6858000"/>
              <a:gd name="connsiteX904" fmla="*/ 3707943 w 7467600"/>
              <a:gd name="connsiteY904" fmla="*/ 65958 h 6858000"/>
              <a:gd name="connsiteX905" fmla="*/ 3721337 w 7467600"/>
              <a:gd name="connsiteY905" fmla="*/ 0 h 6858000"/>
              <a:gd name="connsiteX906" fmla="*/ 2867960 w 7467600"/>
              <a:gd name="connsiteY906" fmla="*/ 0 h 6858000"/>
              <a:gd name="connsiteX907" fmla="*/ 2926351 w 7467600"/>
              <a:gd name="connsiteY907" fmla="*/ 0 h 6858000"/>
              <a:gd name="connsiteX908" fmla="*/ 2902823 w 7467600"/>
              <a:gd name="connsiteY908" fmla="*/ 262929 h 6858000"/>
              <a:gd name="connsiteX909" fmla="*/ 2940663 w 7467600"/>
              <a:gd name="connsiteY909" fmla="*/ 140884 h 6858000"/>
              <a:gd name="connsiteX910" fmla="*/ 2947039 w 7467600"/>
              <a:gd name="connsiteY910" fmla="*/ 122524 h 6858000"/>
              <a:gd name="connsiteX911" fmla="*/ 2984316 w 7467600"/>
              <a:gd name="connsiteY911" fmla="*/ 0 h 6858000"/>
              <a:gd name="connsiteX912" fmla="*/ 3016114 w 7467600"/>
              <a:gd name="connsiteY912" fmla="*/ 0 h 6858000"/>
              <a:gd name="connsiteX913" fmla="*/ 2979949 w 7467600"/>
              <a:gd name="connsiteY913" fmla="*/ 119274 h 6858000"/>
              <a:gd name="connsiteX914" fmla="*/ 3023879 w 7467600"/>
              <a:gd name="connsiteY914" fmla="*/ 0 h 6858000"/>
              <a:gd name="connsiteX915" fmla="*/ 3105400 w 7467600"/>
              <a:gd name="connsiteY915" fmla="*/ 0 h 6858000"/>
              <a:gd name="connsiteX916" fmla="*/ 3094669 w 7467600"/>
              <a:gd name="connsiteY916" fmla="*/ 30308 h 6858000"/>
              <a:gd name="connsiteX917" fmla="*/ 2901945 w 7467600"/>
              <a:gd name="connsiteY917" fmla="*/ 466538 h 6858000"/>
              <a:gd name="connsiteX918" fmla="*/ 2815209 w 7467600"/>
              <a:gd name="connsiteY918" fmla="*/ 497361 h 6858000"/>
              <a:gd name="connsiteX919" fmla="*/ 2844845 w 7467600"/>
              <a:gd name="connsiteY919" fmla="*/ 127638 h 6858000"/>
              <a:gd name="connsiteX920" fmla="*/ 2867960 w 7467600"/>
              <a:gd name="connsiteY920" fmla="*/ 0 h 6858000"/>
              <a:gd name="connsiteX921" fmla="*/ 1057230 w 7467600"/>
              <a:gd name="connsiteY921" fmla="*/ 0 h 6858000"/>
              <a:gd name="connsiteX922" fmla="*/ 1111003 w 7467600"/>
              <a:gd name="connsiteY922" fmla="*/ 0 h 6858000"/>
              <a:gd name="connsiteX923" fmla="*/ 1125553 w 7467600"/>
              <a:gd name="connsiteY923" fmla="*/ 52588 h 6858000"/>
              <a:gd name="connsiteX924" fmla="*/ 1304276 w 7467600"/>
              <a:gd name="connsiteY924" fmla="*/ 476275 h 6858000"/>
              <a:gd name="connsiteX925" fmla="*/ 1492066 w 7467600"/>
              <a:gd name="connsiteY925" fmla="*/ 886333 h 6858000"/>
              <a:gd name="connsiteX926" fmla="*/ 1423698 w 7467600"/>
              <a:gd name="connsiteY926" fmla="*/ 710817 h 6858000"/>
              <a:gd name="connsiteX927" fmla="*/ 1357609 w 7467600"/>
              <a:gd name="connsiteY927" fmla="*/ 532892 h 6858000"/>
              <a:gd name="connsiteX928" fmla="*/ 1309550 w 7467600"/>
              <a:gd name="connsiteY928" fmla="*/ 374031 h 6858000"/>
              <a:gd name="connsiteX929" fmla="*/ 1193673 w 7467600"/>
              <a:gd name="connsiteY929" fmla="*/ 49533 h 6858000"/>
              <a:gd name="connsiteX930" fmla="*/ 1164391 w 7467600"/>
              <a:gd name="connsiteY930" fmla="*/ 0 h 6858000"/>
              <a:gd name="connsiteX931" fmla="*/ 1200666 w 7467600"/>
              <a:gd name="connsiteY931" fmla="*/ 0 h 6858000"/>
              <a:gd name="connsiteX932" fmla="*/ 1223408 w 7467600"/>
              <a:gd name="connsiteY932" fmla="*/ 38996 h 6858000"/>
              <a:gd name="connsiteX933" fmla="*/ 1339635 w 7467600"/>
              <a:gd name="connsiteY933" fmla="*/ 365517 h 6858000"/>
              <a:gd name="connsiteX934" fmla="*/ 1387469 w 7467600"/>
              <a:gd name="connsiteY934" fmla="*/ 523079 h 6858000"/>
              <a:gd name="connsiteX935" fmla="*/ 1452685 w 7467600"/>
              <a:gd name="connsiteY935" fmla="*/ 699806 h 6858000"/>
              <a:gd name="connsiteX936" fmla="*/ 1492092 w 7467600"/>
              <a:gd name="connsiteY936" fmla="*/ 800424 h 6858000"/>
              <a:gd name="connsiteX937" fmla="*/ 1455302 w 7467600"/>
              <a:gd name="connsiteY937" fmla="*/ 632913 h 6858000"/>
              <a:gd name="connsiteX938" fmla="*/ 1222336 w 7467600"/>
              <a:gd name="connsiteY938" fmla="*/ 9480 h 6858000"/>
              <a:gd name="connsiteX939" fmla="*/ 1214634 w 7467600"/>
              <a:gd name="connsiteY939" fmla="*/ 0 h 6858000"/>
              <a:gd name="connsiteX940" fmla="*/ 1289827 w 7467600"/>
              <a:gd name="connsiteY940" fmla="*/ 0 h 6858000"/>
              <a:gd name="connsiteX941" fmla="*/ 1321076 w 7467600"/>
              <a:gd name="connsiteY941" fmla="*/ 59722 h 6858000"/>
              <a:gd name="connsiteX942" fmla="*/ 1512579 w 7467600"/>
              <a:gd name="connsiteY942" fmla="*/ 626441 h 6858000"/>
              <a:gd name="connsiteX943" fmla="*/ 1506076 w 7467600"/>
              <a:gd name="connsiteY943" fmla="*/ 1089289 h 6858000"/>
              <a:gd name="connsiteX944" fmla="*/ 1486346 w 7467600"/>
              <a:gd name="connsiteY944" fmla="*/ 1079919 h 6858000"/>
              <a:gd name="connsiteX945" fmla="*/ 1070511 w 7467600"/>
              <a:gd name="connsiteY945" fmla="*/ 48609 h 6858000"/>
              <a:gd name="connsiteX946" fmla="*/ 1057230 w 7467600"/>
              <a:gd name="connsiteY946" fmla="*/ 0 h 6858000"/>
              <a:gd name="connsiteX947" fmla="*/ 43151 w 7467600"/>
              <a:gd name="connsiteY947" fmla="*/ 0 h 6858000"/>
              <a:gd name="connsiteX948" fmla="*/ 95283 w 7467600"/>
              <a:gd name="connsiteY948" fmla="*/ 0 h 6858000"/>
              <a:gd name="connsiteX949" fmla="*/ 300708 w 7467600"/>
              <a:gd name="connsiteY949" fmla="*/ 154571 h 6858000"/>
              <a:gd name="connsiteX950" fmla="*/ 530414 w 7467600"/>
              <a:gd name="connsiteY950" fmla="*/ 354673 h 6858000"/>
              <a:gd name="connsiteX951" fmla="*/ 333785 w 7467600"/>
              <a:gd name="connsiteY951" fmla="*/ 161564 h 6858000"/>
              <a:gd name="connsiteX952" fmla="*/ 147005 w 7467600"/>
              <a:gd name="connsiteY952" fmla="*/ 0 h 6858000"/>
              <a:gd name="connsiteX953" fmla="*/ 272509 w 7467600"/>
              <a:gd name="connsiteY953" fmla="*/ 0 h 6858000"/>
              <a:gd name="connsiteX954" fmla="*/ 326276 w 7467600"/>
              <a:gd name="connsiteY954" fmla="*/ 45847 h 6858000"/>
              <a:gd name="connsiteX955" fmla="*/ 823759 w 7467600"/>
              <a:gd name="connsiteY955" fmla="*/ 574145 h 6858000"/>
              <a:gd name="connsiteX956" fmla="*/ 811254 w 7467600"/>
              <a:gd name="connsiteY956" fmla="*/ 665546 h 6858000"/>
              <a:gd name="connsiteX957" fmla="*/ 154042 w 7467600"/>
              <a:gd name="connsiteY957" fmla="*/ 261522 h 6858000"/>
              <a:gd name="connsiteX958" fmla="*/ 13550 w 7467600"/>
              <a:gd name="connsiteY958" fmla="*/ 158423 h 6858000"/>
              <a:gd name="connsiteX959" fmla="*/ 0 w 7467600"/>
              <a:gd name="connsiteY959" fmla="*/ 146618 h 6858000"/>
              <a:gd name="connsiteX960" fmla="*/ 0 w 7467600"/>
              <a:gd name="connsiteY960" fmla="*/ 59161 h 6858000"/>
              <a:gd name="connsiteX961" fmla="*/ 45427 w 7467600"/>
              <a:gd name="connsiteY961" fmla="*/ 101078 h 6858000"/>
              <a:gd name="connsiteX962" fmla="*/ 630103 w 7467600"/>
              <a:gd name="connsiteY962" fmla="*/ 485885 h 6858000"/>
              <a:gd name="connsiteX963" fmla="*/ 532040 w 7467600"/>
              <a:gd name="connsiteY963" fmla="*/ 399359 h 6858000"/>
              <a:gd name="connsiteX964" fmla="*/ 517618 w 7467600"/>
              <a:gd name="connsiteY964" fmla="*/ 385726 h 6858000"/>
              <a:gd name="connsiteX965" fmla="*/ 285074 w 7467600"/>
              <a:gd name="connsiteY965" fmla="*/ 182755 h 6858000"/>
              <a:gd name="connsiteX966" fmla="*/ 43151 w 7467600"/>
              <a:gd name="connsiteY966"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7454976 w 7467600"/>
              <a:gd name="connsiteY74" fmla="*/ 6318297 h 6858000"/>
              <a:gd name="connsiteX75" fmla="*/ 7379510 w 7467600"/>
              <a:gd name="connsiteY75" fmla="*/ 5755454 h 6858000"/>
              <a:gd name="connsiteX76" fmla="*/ 7467600 w 7467600"/>
              <a:gd name="connsiteY76" fmla="*/ 6012219 h 6858000"/>
              <a:gd name="connsiteX77" fmla="*/ 7356878 w 7467600"/>
              <a:gd name="connsiteY77" fmla="*/ 5981332 h 6858000"/>
              <a:gd name="connsiteX78" fmla="*/ 7467600 w 7467600"/>
              <a:gd name="connsiteY78" fmla="*/ 6117703 h 6858000"/>
              <a:gd name="connsiteX79" fmla="*/ 7467600 w 7467600"/>
              <a:gd name="connsiteY79" fmla="*/ 6163634 h 6858000"/>
              <a:gd name="connsiteX80" fmla="*/ 7403637 w 7467600"/>
              <a:gd name="connsiteY80" fmla="*/ 6083957 h 6858000"/>
              <a:gd name="connsiteX81" fmla="*/ 7254615 w 7467600"/>
              <a:gd name="connsiteY81" fmla="*/ 5911918 h 6858000"/>
              <a:gd name="connsiteX82" fmla="*/ 7312589 w 7467600"/>
              <a:gd name="connsiteY82" fmla="*/ 5982309 h 6858000"/>
              <a:gd name="connsiteX83" fmla="*/ 7448321 w 7467600"/>
              <a:gd name="connsiteY83" fmla="*/ 6190991 h 6858000"/>
              <a:gd name="connsiteX84" fmla="*/ 7467600 w 7467600"/>
              <a:gd name="connsiteY84" fmla="*/ 6221686 h 6858000"/>
              <a:gd name="connsiteX85" fmla="*/ 7467600 w 7467600"/>
              <a:gd name="connsiteY85" fmla="*/ 6334256 h 6858000"/>
              <a:gd name="connsiteX86" fmla="*/ 7454976 w 7467600"/>
              <a:gd name="connsiteY86" fmla="*/ 6318297 h 6858000"/>
              <a:gd name="connsiteX87" fmla="*/ 1456157 w 7467600"/>
              <a:gd name="connsiteY87" fmla="*/ 5371404 h 6858000"/>
              <a:gd name="connsiteX88" fmla="*/ 1244432 w 7467600"/>
              <a:gd name="connsiteY88" fmla="*/ 5385601 h 6858000"/>
              <a:gd name="connsiteX89" fmla="*/ 973990 w 7467600"/>
              <a:gd name="connsiteY89" fmla="*/ 5424940 h 6858000"/>
              <a:gd name="connsiteX90" fmla="*/ 1103809 w 7467600"/>
              <a:gd name="connsiteY90" fmla="*/ 5433720 h 6858000"/>
              <a:gd name="connsiteX91" fmla="*/ 1123454 w 7467600"/>
              <a:gd name="connsiteY91" fmla="*/ 5435727 h 6858000"/>
              <a:gd name="connsiteX92" fmla="*/ 1737017 w 7467600"/>
              <a:gd name="connsiteY92" fmla="*/ 5452183 h 6858000"/>
              <a:gd name="connsiteX93" fmla="*/ 1824397 w 7467600"/>
              <a:gd name="connsiteY93" fmla="*/ 5447757 h 6858000"/>
              <a:gd name="connsiteX94" fmla="*/ 2070059 w 7467600"/>
              <a:gd name="connsiteY94" fmla="*/ 5441660 h 6858000"/>
              <a:gd name="connsiteX95" fmla="*/ 1456157 w 7467600"/>
              <a:gd name="connsiteY95" fmla="*/ 5371404 h 6858000"/>
              <a:gd name="connsiteX96" fmla="*/ 4988186 w 7467600"/>
              <a:gd name="connsiteY96" fmla="*/ 5216467 h 6858000"/>
              <a:gd name="connsiteX97" fmla="*/ 4777334 w 7467600"/>
              <a:gd name="connsiteY97" fmla="*/ 5406072 h 6858000"/>
              <a:gd name="connsiteX98" fmla="*/ 4718341 w 7467600"/>
              <a:gd name="connsiteY98" fmla="*/ 5468043 h 6858000"/>
              <a:gd name="connsiteX99" fmla="*/ 4604655 w 7467600"/>
              <a:gd name="connsiteY99" fmla="*/ 5583434 h 6858000"/>
              <a:gd name="connsiteX100" fmla="*/ 4565074 w 7467600"/>
              <a:gd name="connsiteY100" fmla="*/ 5618550 h 6858000"/>
              <a:gd name="connsiteX101" fmla="*/ 4988186 w 7467600"/>
              <a:gd name="connsiteY101" fmla="*/ 5216467 h 6858000"/>
              <a:gd name="connsiteX102" fmla="*/ 4978032 w 7467600"/>
              <a:gd name="connsiteY102" fmla="*/ 5183809 h 6858000"/>
              <a:gd name="connsiteX103" fmla="*/ 4463413 w 7467600"/>
              <a:gd name="connsiteY103" fmla="*/ 5615162 h 6858000"/>
              <a:gd name="connsiteX104" fmla="*/ 4358134 w 7467600"/>
              <a:gd name="connsiteY104" fmla="*/ 5742791 h 6858000"/>
              <a:gd name="connsiteX105" fmla="*/ 4376219 w 7467600"/>
              <a:gd name="connsiteY105" fmla="*/ 5729027 h 6858000"/>
              <a:gd name="connsiteX106" fmla="*/ 4582340 w 7467600"/>
              <a:gd name="connsiteY106" fmla="*/ 5561037 h 6858000"/>
              <a:gd name="connsiteX107" fmla="*/ 4694684 w 7467600"/>
              <a:gd name="connsiteY107" fmla="*/ 5447098 h 6858000"/>
              <a:gd name="connsiteX108" fmla="*/ 4754123 w 7467600"/>
              <a:gd name="connsiteY108" fmla="*/ 5384643 h 6858000"/>
              <a:gd name="connsiteX109" fmla="*/ 4978032 w 7467600"/>
              <a:gd name="connsiteY109" fmla="*/ 5183809 h 6858000"/>
              <a:gd name="connsiteX110" fmla="*/ 1903353 w 7467600"/>
              <a:gd name="connsiteY110" fmla="*/ 5044827 h 6858000"/>
              <a:gd name="connsiteX111" fmla="*/ 1936931 w 7467600"/>
              <a:gd name="connsiteY111" fmla="*/ 5093954 h 6858000"/>
              <a:gd name="connsiteX112" fmla="*/ 2195868 w 7467600"/>
              <a:gd name="connsiteY112" fmla="*/ 5396574 h 6858000"/>
              <a:gd name="connsiteX113" fmla="*/ 2088852 w 7467600"/>
              <a:gd name="connsiteY113" fmla="*/ 5166123 h 6858000"/>
              <a:gd name="connsiteX114" fmla="*/ 1958241 w 7467600"/>
              <a:gd name="connsiteY114" fmla="*/ 5067955 h 6858000"/>
              <a:gd name="connsiteX115" fmla="*/ 1903353 w 7467600"/>
              <a:gd name="connsiteY115" fmla="*/ 5044827 h 6858000"/>
              <a:gd name="connsiteX116" fmla="*/ 1979378 w 7467600"/>
              <a:gd name="connsiteY116" fmla="*/ 4769504 h 6858000"/>
              <a:gd name="connsiteX117" fmla="*/ 2882120 w 7467600"/>
              <a:gd name="connsiteY117" fmla="*/ 5064547 h 6858000"/>
              <a:gd name="connsiteX118" fmla="*/ 2793103 w 7467600"/>
              <a:gd name="connsiteY118" fmla="*/ 5039699 h 6858000"/>
              <a:gd name="connsiteX119" fmla="*/ 2770041 w 7467600"/>
              <a:gd name="connsiteY119" fmla="*/ 5033634 h 6858000"/>
              <a:gd name="connsiteX120" fmla="*/ 1979378 w 7467600"/>
              <a:gd name="connsiteY120" fmla="*/ 4769504 h 6858000"/>
              <a:gd name="connsiteX121" fmla="*/ 1927410 w 7467600"/>
              <a:gd name="connsiteY121" fmla="*/ 4716164 h 6858000"/>
              <a:gd name="connsiteX122" fmla="*/ 1959587 w 7467600"/>
              <a:gd name="connsiteY122" fmla="*/ 4728849 h 6858000"/>
              <a:gd name="connsiteX123" fmla="*/ 2777707 w 7467600"/>
              <a:gd name="connsiteY123" fmla="*/ 5003991 h 6858000"/>
              <a:gd name="connsiteX124" fmla="*/ 2800768 w 7467600"/>
              <a:gd name="connsiteY124" fmla="*/ 5010056 h 6858000"/>
              <a:gd name="connsiteX125" fmla="*/ 2879408 w 7467600"/>
              <a:gd name="connsiteY125" fmla="*/ 5031590 h 6858000"/>
              <a:gd name="connsiteX126" fmla="*/ 2862295 w 7467600"/>
              <a:gd name="connsiteY126" fmla="*/ 5022958 h 6858000"/>
              <a:gd name="connsiteX127" fmla="*/ 2813343 w 7467600"/>
              <a:gd name="connsiteY127" fmla="*/ 4998369 h 6858000"/>
              <a:gd name="connsiteX128" fmla="*/ 2646245 w 7467600"/>
              <a:gd name="connsiteY128" fmla="*/ 4930999 h 6858000"/>
              <a:gd name="connsiteX129" fmla="*/ 1999243 w 7467600"/>
              <a:gd name="connsiteY129" fmla="*/ 4730524 h 6858000"/>
              <a:gd name="connsiteX130" fmla="*/ 1979527 w 7467600"/>
              <a:gd name="connsiteY130" fmla="*/ 4726651 h 6858000"/>
              <a:gd name="connsiteX131" fmla="*/ 1927410 w 7467600"/>
              <a:gd name="connsiteY131" fmla="*/ 4716164 h 6858000"/>
              <a:gd name="connsiteX132" fmla="*/ 1997014 w 7467600"/>
              <a:gd name="connsiteY132" fmla="*/ 4698007 h 6858000"/>
              <a:gd name="connsiteX133" fmla="*/ 2005458 w 7467600"/>
              <a:gd name="connsiteY133" fmla="*/ 4699540 h 6858000"/>
              <a:gd name="connsiteX134" fmla="*/ 2657186 w 7467600"/>
              <a:gd name="connsiteY134" fmla="*/ 4901687 h 6858000"/>
              <a:gd name="connsiteX135" fmla="*/ 2826662 w 7467600"/>
              <a:gd name="connsiteY135" fmla="*/ 4970362 h 6858000"/>
              <a:gd name="connsiteX136" fmla="*/ 2876100 w 7467600"/>
              <a:gd name="connsiteY136" fmla="*/ 4995397 h 6858000"/>
              <a:gd name="connsiteX137" fmla="*/ 3042600 w 7467600"/>
              <a:gd name="connsiteY137" fmla="*/ 5059532 h 6858000"/>
              <a:gd name="connsiteX138" fmla="*/ 1997014 w 7467600"/>
              <a:gd name="connsiteY138" fmla="*/ 4698007 h 6858000"/>
              <a:gd name="connsiteX139" fmla="*/ 2305292 w 7467600"/>
              <a:gd name="connsiteY139" fmla="*/ 4219492 h 6858000"/>
              <a:gd name="connsiteX140" fmla="*/ 3360922 w 7467600"/>
              <a:gd name="connsiteY140" fmla="*/ 4529373 h 6858000"/>
              <a:gd name="connsiteX141" fmla="*/ 3492420 w 7467600"/>
              <a:gd name="connsiteY141" fmla="*/ 4510145 h 6858000"/>
              <a:gd name="connsiteX142" fmla="*/ 3364086 w 7467600"/>
              <a:gd name="connsiteY142" fmla="*/ 4480340 h 6858000"/>
              <a:gd name="connsiteX143" fmla="*/ 3225818 w 7467600"/>
              <a:gd name="connsiteY143" fmla="*/ 4411822 h 6858000"/>
              <a:gd name="connsiteX144" fmla="*/ 3129696 w 7467600"/>
              <a:gd name="connsiteY144" fmla="*/ 4360704 h 6858000"/>
              <a:gd name="connsiteX145" fmla="*/ 2814545 w 7467600"/>
              <a:gd name="connsiteY145" fmla="*/ 4282955 h 6858000"/>
              <a:gd name="connsiteX146" fmla="*/ 2305292 w 7467600"/>
              <a:gd name="connsiteY146" fmla="*/ 4219492 h 6858000"/>
              <a:gd name="connsiteX147" fmla="*/ 2626982 w 7467600"/>
              <a:gd name="connsiteY147" fmla="*/ 4206450 h 6858000"/>
              <a:gd name="connsiteX148" fmla="*/ 2490617 w 7467600"/>
              <a:gd name="connsiteY148" fmla="*/ 4206951 h 6858000"/>
              <a:gd name="connsiteX149" fmla="*/ 2819869 w 7467600"/>
              <a:gd name="connsiteY149" fmla="*/ 4252936 h 6858000"/>
              <a:gd name="connsiteX150" fmla="*/ 3143018 w 7467600"/>
              <a:gd name="connsiteY150" fmla="*/ 4332698 h 6858000"/>
              <a:gd name="connsiteX151" fmla="*/ 3241520 w 7467600"/>
              <a:gd name="connsiteY151" fmla="*/ 4385112 h 6858000"/>
              <a:gd name="connsiteX152" fmla="*/ 3374575 w 7467600"/>
              <a:gd name="connsiteY152" fmla="*/ 4451517 h 6858000"/>
              <a:gd name="connsiteX153" fmla="*/ 3505221 w 7467600"/>
              <a:gd name="connsiteY153" fmla="*/ 4480757 h 6858000"/>
              <a:gd name="connsiteX154" fmla="*/ 2626982 w 7467600"/>
              <a:gd name="connsiteY154" fmla="*/ 4206450 h 6858000"/>
              <a:gd name="connsiteX155" fmla="*/ 1310106 w 7467600"/>
              <a:gd name="connsiteY155" fmla="*/ 3943217 h 6858000"/>
              <a:gd name="connsiteX156" fmla="*/ 854994 w 7467600"/>
              <a:gd name="connsiteY156" fmla="*/ 4399136 h 6858000"/>
              <a:gd name="connsiteX157" fmla="*/ 742462 w 7467600"/>
              <a:gd name="connsiteY157" fmla="*/ 4594648 h 6858000"/>
              <a:gd name="connsiteX158" fmla="*/ 820602 w 7467600"/>
              <a:gd name="connsiteY158" fmla="*/ 4485915 h 6858000"/>
              <a:gd name="connsiteX159" fmla="*/ 878295 w 7467600"/>
              <a:gd name="connsiteY159" fmla="*/ 4403594 h 6858000"/>
              <a:gd name="connsiteX160" fmla="*/ 1240607 w 7467600"/>
              <a:gd name="connsiteY160" fmla="*/ 4010401 h 6858000"/>
              <a:gd name="connsiteX161" fmla="*/ 1310106 w 7467600"/>
              <a:gd name="connsiteY161" fmla="*/ 3943217 h 6858000"/>
              <a:gd name="connsiteX162" fmla="*/ 1423113 w 7467600"/>
              <a:gd name="connsiteY162" fmla="*/ 3874565 h 6858000"/>
              <a:gd name="connsiteX163" fmla="*/ 1260565 w 7467600"/>
              <a:gd name="connsiteY163" fmla="*/ 4031982 h 6858000"/>
              <a:gd name="connsiteX164" fmla="*/ 901900 w 7467600"/>
              <a:gd name="connsiteY164" fmla="*/ 4421236 h 6858000"/>
              <a:gd name="connsiteX165" fmla="*/ 845044 w 7467600"/>
              <a:gd name="connsiteY165" fmla="*/ 4502436 h 6858000"/>
              <a:gd name="connsiteX166" fmla="*/ 685926 w 7467600"/>
              <a:gd name="connsiteY166" fmla="*/ 4703069 h 6858000"/>
              <a:gd name="connsiteX167" fmla="*/ 684248 w 7467600"/>
              <a:gd name="connsiteY167" fmla="*/ 4706721 h 6858000"/>
              <a:gd name="connsiteX168" fmla="*/ 1423113 w 7467600"/>
              <a:gd name="connsiteY168" fmla="*/ 3874565 h 6858000"/>
              <a:gd name="connsiteX169" fmla="*/ 3316479 w 7467600"/>
              <a:gd name="connsiteY169" fmla="*/ 3872136 h 6858000"/>
              <a:gd name="connsiteX170" fmla="*/ 3546806 w 7467600"/>
              <a:gd name="connsiteY170" fmla="*/ 4356139 h 6858000"/>
              <a:gd name="connsiteX171" fmla="*/ 3364433 w 7467600"/>
              <a:gd name="connsiteY171" fmla="*/ 3953121 h 6858000"/>
              <a:gd name="connsiteX172" fmla="*/ 3316479 w 7467600"/>
              <a:gd name="connsiteY172" fmla="*/ 3872136 h 6858000"/>
              <a:gd name="connsiteX173" fmla="*/ 3291335 w 7467600"/>
              <a:gd name="connsiteY173" fmla="*/ 3767420 h 6858000"/>
              <a:gd name="connsiteX174" fmla="*/ 3390805 w 7467600"/>
              <a:gd name="connsiteY174" fmla="*/ 3937163 h 6858000"/>
              <a:gd name="connsiteX175" fmla="*/ 3579062 w 7467600"/>
              <a:gd name="connsiteY175" fmla="*/ 4359040 h 6858000"/>
              <a:gd name="connsiteX176" fmla="*/ 3467355 w 7467600"/>
              <a:gd name="connsiteY176" fmla="*/ 3988130 h 6858000"/>
              <a:gd name="connsiteX177" fmla="*/ 3310753 w 7467600"/>
              <a:gd name="connsiteY177" fmla="*/ 3787140 h 6858000"/>
              <a:gd name="connsiteX178" fmla="*/ 3291335 w 7467600"/>
              <a:gd name="connsiteY178" fmla="*/ 3767420 h 6858000"/>
              <a:gd name="connsiteX179" fmla="*/ 1635889 w 7467600"/>
              <a:gd name="connsiteY179" fmla="*/ 3709494 h 6858000"/>
              <a:gd name="connsiteX180" fmla="*/ 1634800 w 7467600"/>
              <a:gd name="connsiteY180" fmla="*/ 3731111 h 6858000"/>
              <a:gd name="connsiteX181" fmla="*/ 1635889 w 7467600"/>
              <a:gd name="connsiteY181" fmla="*/ 3709494 h 6858000"/>
              <a:gd name="connsiteX182" fmla="*/ 1510397 w 7467600"/>
              <a:gd name="connsiteY182" fmla="*/ 3684705 h 6858000"/>
              <a:gd name="connsiteX183" fmla="*/ 1146550 w 7467600"/>
              <a:gd name="connsiteY183" fmla="*/ 3802012 h 6858000"/>
              <a:gd name="connsiteX184" fmla="*/ 698834 w 7467600"/>
              <a:gd name="connsiteY184" fmla="*/ 3952272 h 6858000"/>
              <a:gd name="connsiteX185" fmla="*/ 34256 w 7467600"/>
              <a:gd name="connsiteY185" fmla="*/ 4347603 h 6858000"/>
              <a:gd name="connsiteX186" fmla="*/ 527241 w 7467600"/>
              <a:gd name="connsiteY186" fmla="*/ 4065078 h 6858000"/>
              <a:gd name="connsiteX187" fmla="*/ 1510397 w 7467600"/>
              <a:gd name="connsiteY187" fmla="*/ 3684705 h 6858000"/>
              <a:gd name="connsiteX188" fmla="*/ 1313114 w 7467600"/>
              <a:gd name="connsiteY188" fmla="*/ 3655216 h 6858000"/>
              <a:gd name="connsiteX189" fmla="*/ 1109304 w 7467600"/>
              <a:gd name="connsiteY189" fmla="*/ 3669030 h 6858000"/>
              <a:gd name="connsiteX190" fmla="*/ 8129 w 7467600"/>
              <a:gd name="connsiteY190" fmla="*/ 4330519 h 6858000"/>
              <a:gd name="connsiteX191" fmla="*/ 687572 w 7467600"/>
              <a:gd name="connsiteY191" fmla="*/ 3925629 h 6858000"/>
              <a:gd name="connsiteX192" fmla="*/ 1138365 w 7467600"/>
              <a:gd name="connsiteY192" fmla="*/ 3774515 h 6858000"/>
              <a:gd name="connsiteX193" fmla="*/ 1505579 w 7467600"/>
              <a:gd name="connsiteY193" fmla="*/ 3655526 h 6858000"/>
              <a:gd name="connsiteX194" fmla="*/ 1313114 w 7467600"/>
              <a:gd name="connsiteY194" fmla="*/ 3655216 h 6858000"/>
              <a:gd name="connsiteX195" fmla="*/ 3655073 w 7467600"/>
              <a:gd name="connsiteY195" fmla="*/ 3650884 h 6858000"/>
              <a:gd name="connsiteX196" fmla="*/ 3989938 w 7467600"/>
              <a:gd name="connsiteY196" fmla="*/ 3991685 h 6858000"/>
              <a:gd name="connsiteX197" fmla="*/ 4393907 w 7467600"/>
              <a:gd name="connsiteY197" fmla="*/ 4261258 h 6858000"/>
              <a:gd name="connsiteX198" fmla="*/ 4648051 w 7467600"/>
              <a:gd name="connsiteY198" fmla="*/ 4374051 h 6858000"/>
              <a:gd name="connsiteX199" fmla="*/ 4383389 w 7467600"/>
              <a:gd name="connsiteY199" fmla="*/ 4184369 h 6858000"/>
              <a:gd name="connsiteX200" fmla="*/ 4165508 w 7467600"/>
              <a:gd name="connsiteY200" fmla="*/ 4035196 h 6858000"/>
              <a:gd name="connsiteX201" fmla="*/ 4068162 w 7467600"/>
              <a:gd name="connsiteY201" fmla="*/ 3953394 h 6858000"/>
              <a:gd name="connsiteX202" fmla="*/ 3981416 w 7467600"/>
              <a:gd name="connsiteY202" fmla="*/ 3880482 h 6858000"/>
              <a:gd name="connsiteX203" fmla="*/ 3800147 w 7467600"/>
              <a:gd name="connsiteY203" fmla="*/ 3749872 h 6858000"/>
              <a:gd name="connsiteX204" fmla="*/ 3655073 w 7467600"/>
              <a:gd name="connsiteY204" fmla="*/ 3650884 h 6858000"/>
              <a:gd name="connsiteX205" fmla="*/ 3670252 w 7467600"/>
              <a:gd name="connsiteY205" fmla="*/ 3622798 h 6858000"/>
              <a:gd name="connsiteX206" fmla="*/ 3817258 w 7467600"/>
              <a:gd name="connsiteY206" fmla="*/ 3723577 h 6858000"/>
              <a:gd name="connsiteX207" fmla="*/ 4000461 w 7467600"/>
              <a:gd name="connsiteY207" fmla="*/ 3855966 h 6858000"/>
              <a:gd name="connsiteX208" fmla="*/ 4088180 w 7467600"/>
              <a:gd name="connsiteY208" fmla="*/ 3929774 h 6858000"/>
              <a:gd name="connsiteX209" fmla="*/ 4184555 w 7467600"/>
              <a:gd name="connsiteY209" fmla="*/ 4010683 h 6858000"/>
              <a:gd name="connsiteX210" fmla="*/ 4399563 w 7467600"/>
              <a:gd name="connsiteY210" fmla="*/ 4158106 h 6858000"/>
              <a:gd name="connsiteX211" fmla="*/ 4684469 w 7467600"/>
              <a:gd name="connsiteY211" fmla="*/ 4364680 h 6858000"/>
              <a:gd name="connsiteX212" fmla="*/ 4690271 w 7467600"/>
              <a:gd name="connsiteY212" fmla="*/ 4370034 h 6858000"/>
              <a:gd name="connsiteX213" fmla="*/ 4136093 w 7467600"/>
              <a:gd name="connsiteY213" fmla="*/ 3858466 h 6858000"/>
              <a:gd name="connsiteX214" fmla="*/ 3670252 w 7467600"/>
              <a:gd name="connsiteY214" fmla="*/ 3622798 h 6858000"/>
              <a:gd name="connsiteX215" fmla="*/ 4440129 w 7467600"/>
              <a:gd name="connsiteY215" fmla="*/ 3448571 h 6858000"/>
              <a:gd name="connsiteX216" fmla="*/ 4856525 w 7467600"/>
              <a:gd name="connsiteY216" fmla="*/ 3915351 h 6858000"/>
              <a:gd name="connsiteX217" fmla="*/ 5059055 w 7467600"/>
              <a:gd name="connsiteY217" fmla="*/ 4108918 h 6858000"/>
              <a:gd name="connsiteX218" fmla="*/ 5290070 w 7467600"/>
              <a:gd name="connsiteY218" fmla="*/ 4263619 h 6858000"/>
              <a:gd name="connsiteX219" fmla="*/ 4834991 w 7467600"/>
              <a:gd name="connsiteY219" fmla="*/ 3830985 h 6858000"/>
              <a:gd name="connsiteX220" fmla="*/ 4440129 w 7467600"/>
              <a:gd name="connsiteY220" fmla="*/ 3448571 h 6858000"/>
              <a:gd name="connsiteX221" fmla="*/ 4441737 w 7467600"/>
              <a:gd name="connsiteY221" fmla="*/ 3399734 h 6858000"/>
              <a:gd name="connsiteX222" fmla="*/ 4431236 w 7467600"/>
              <a:gd name="connsiteY222" fmla="*/ 3400954 h 6858000"/>
              <a:gd name="connsiteX223" fmla="*/ 4557150 w 7467600"/>
              <a:gd name="connsiteY223" fmla="*/ 3510023 h 6858000"/>
              <a:gd name="connsiteX224" fmla="*/ 4856936 w 7467600"/>
              <a:gd name="connsiteY224" fmla="*/ 3809146 h 6858000"/>
              <a:gd name="connsiteX225" fmla="*/ 5111996 w 7467600"/>
              <a:gd name="connsiteY225" fmla="*/ 4065759 h 6858000"/>
              <a:gd name="connsiteX226" fmla="*/ 5388878 w 7467600"/>
              <a:gd name="connsiteY226" fmla="*/ 4300185 h 6858000"/>
              <a:gd name="connsiteX227" fmla="*/ 5425556 w 7467600"/>
              <a:gd name="connsiteY227" fmla="*/ 4308967 h 6858000"/>
              <a:gd name="connsiteX228" fmla="*/ 4943646 w 7467600"/>
              <a:gd name="connsiteY228" fmla="*/ 3822916 h 6858000"/>
              <a:gd name="connsiteX229" fmla="*/ 4594837 w 7467600"/>
              <a:gd name="connsiteY229" fmla="*/ 3532274 h 6858000"/>
              <a:gd name="connsiteX230" fmla="*/ 4441737 w 7467600"/>
              <a:gd name="connsiteY230" fmla="*/ 3399734 h 6858000"/>
              <a:gd name="connsiteX231" fmla="*/ 5425834 w 7467600"/>
              <a:gd name="connsiteY231" fmla="*/ 3162785 h 6858000"/>
              <a:gd name="connsiteX232" fmla="*/ 5401644 w 7467600"/>
              <a:gd name="connsiteY232" fmla="*/ 3617847 h 6858000"/>
              <a:gd name="connsiteX233" fmla="*/ 5467256 w 7467600"/>
              <a:gd name="connsiteY233" fmla="*/ 4175494 h 6858000"/>
              <a:gd name="connsiteX234" fmla="*/ 5448069 w 7467600"/>
              <a:gd name="connsiteY234" fmla="*/ 3567554 h 6858000"/>
              <a:gd name="connsiteX235" fmla="*/ 5425834 w 7467600"/>
              <a:gd name="connsiteY235" fmla="*/ 3162785 h 6858000"/>
              <a:gd name="connsiteX236" fmla="*/ 1318687 w 7467600"/>
              <a:gd name="connsiteY236" fmla="*/ 3113840 h 6858000"/>
              <a:gd name="connsiteX237" fmla="*/ 1066793 w 7467600"/>
              <a:gd name="connsiteY237" fmla="*/ 3212171 h 6858000"/>
              <a:gd name="connsiteX238" fmla="*/ 993319 w 7467600"/>
              <a:gd name="connsiteY238" fmla="*/ 3247648 h 6858000"/>
              <a:gd name="connsiteX239" fmla="*/ 853081 w 7467600"/>
              <a:gd name="connsiteY239" fmla="*/ 3312410 h 6858000"/>
              <a:gd name="connsiteX240" fmla="*/ 805957 w 7467600"/>
              <a:gd name="connsiteY240" fmla="*/ 3330443 h 6858000"/>
              <a:gd name="connsiteX241" fmla="*/ 1318687 w 7467600"/>
              <a:gd name="connsiteY241" fmla="*/ 3113840 h 6858000"/>
              <a:gd name="connsiteX242" fmla="*/ 5453702 w 7467600"/>
              <a:gd name="connsiteY242" fmla="*/ 3090882 h 6858000"/>
              <a:gd name="connsiteX243" fmla="*/ 5480135 w 7467600"/>
              <a:gd name="connsiteY243" fmla="*/ 3565802 h 6858000"/>
              <a:gd name="connsiteX244" fmla="*/ 5499023 w 7467600"/>
              <a:gd name="connsiteY244" fmla="*/ 4166310 h 6858000"/>
              <a:gd name="connsiteX245" fmla="*/ 5547022 w 7467600"/>
              <a:gd name="connsiteY245" fmla="*/ 3607838 h 6858000"/>
              <a:gd name="connsiteX246" fmla="*/ 5515964 w 7467600"/>
              <a:gd name="connsiteY246" fmla="*/ 3378541 h 6858000"/>
              <a:gd name="connsiteX247" fmla="*/ 5453702 w 7467600"/>
              <a:gd name="connsiteY247" fmla="*/ 3090882 h 6858000"/>
              <a:gd name="connsiteX248" fmla="*/ 1238695 w 7467600"/>
              <a:gd name="connsiteY248" fmla="*/ 3076820 h 6858000"/>
              <a:gd name="connsiteX249" fmla="*/ 716371 w 7467600"/>
              <a:gd name="connsiteY249" fmla="*/ 3293249 h 6858000"/>
              <a:gd name="connsiteX250" fmla="*/ 579522 w 7467600"/>
              <a:gd name="connsiteY250" fmla="*/ 3371759 h 6858000"/>
              <a:gd name="connsiteX251" fmla="*/ 600288 w 7467600"/>
              <a:gd name="connsiteY251" fmla="*/ 3365555 h 6858000"/>
              <a:gd name="connsiteX252" fmla="*/ 840692 w 7467600"/>
              <a:gd name="connsiteY252" fmla="*/ 3284921 h 6858000"/>
              <a:gd name="connsiteX253" fmla="*/ 979248 w 7467600"/>
              <a:gd name="connsiteY253" fmla="*/ 3221003 h 6858000"/>
              <a:gd name="connsiteX254" fmla="*/ 1053282 w 7467600"/>
              <a:gd name="connsiteY254" fmla="*/ 3185247 h 6858000"/>
              <a:gd name="connsiteX255" fmla="*/ 1320603 w 7467600"/>
              <a:gd name="connsiteY255" fmla="*/ 3081281 h 6858000"/>
              <a:gd name="connsiteX256" fmla="*/ 1238695 w 7467600"/>
              <a:gd name="connsiteY256" fmla="*/ 3076820 h 6858000"/>
              <a:gd name="connsiteX257" fmla="*/ 5425627 w 7467600"/>
              <a:gd name="connsiteY257" fmla="*/ 2954192 h 6858000"/>
              <a:gd name="connsiteX258" fmla="*/ 5470770 w 7467600"/>
              <a:gd name="connsiteY258" fmla="*/ 3005435 h 6858000"/>
              <a:gd name="connsiteX259" fmla="*/ 5519779 w 7467600"/>
              <a:gd name="connsiteY259" fmla="*/ 4359223 h 6858000"/>
              <a:gd name="connsiteX260" fmla="*/ 5520293 w 7467600"/>
              <a:gd name="connsiteY260" fmla="*/ 4360602 h 6858000"/>
              <a:gd name="connsiteX261" fmla="*/ 5767221 w 7467600"/>
              <a:gd name="connsiteY261" fmla="*/ 4665564 h 6858000"/>
              <a:gd name="connsiteX262" fmla="*/ 6937169 w 7467600"/>
              <a:gd name="connsiteY262" fmla="*/ 4815941 h 6858000"/>
              <a:gd name="connsiteX263" fmla="*/ 6953922 w 7467600"/>
              <a:gd name="connsiteY263" fmla="*/ 4890068 h 6858000"/>
              <a:gd name="connsiteX264" fmla="*/ 6071359 w 7467600"/>
              <a:gd name="connsiteY264" fmla="*/ 4770770 h 6858000"/>
              <a:gd name="connsiteX265" fmla="*/ 6038839 w 7467600"/>
              <a:gd name="connsiteY265" fmla="*/ 4764474 h 6858000"/>
              <a:gd name="connsiteX266" fmla="*/ 6038706 w 7467600"/>
              <a:gd name="connsiteY266" fmla="*/ 4763847 h 6858000"/>
              <a:gd name="connsiteX267" fmla="*/ 6037784 w 7467600"/>
              <a:gd name="connsiteY267" fmla="*/ 4764270 h 6858000"/>
              <a:gd name="connsiteX268" fmla="*/ 6038839 w 7467600"/>
              <a:gd name="connsiteY268" fmla="*/ 4764474 h 6858000"/>
              <a:gd name="connsiteX269" fmla="*/ 6040338 w 7467600"/>
              <a:gd name="connsiteY269" fmla="*/ 4771418 h 6858000"/>
              <a:gd name="connsiteX270" fmla="*/ 6024488 w 7467600"/>
              <a:gd name="connsiteY270" fmla="*/ 4809903 h 6858000"/>
              <a:gd name="connsiteX271" fmla="*/ 5599771 w 7467600"/>
              <a:gd name="connsiteY271" fmla="*/ 5509652 h 6858000"/>
              <a:gd name="connsiteX272" fmla="*/ 5548843 w 7467600"/>
              <a:gd name="connsiteY272" fmla="*/ 5563845 h 6858000"/>
              <a:gd name="connsiteX273" fmla="*/ 5940952 w 7467600"/>
              <a:gd name="connsiteY273" fmla="*/ 6250028 h 6858000"/>
              <a:gd name="connsiteX274" fmla="*/ 6043441 w 7467600"/>
              <a:gd name="connsiteY274" fmla="*/ 6665847 h 6858000"/>
              <a:gd name="connsiteX275" fmla="*/ 6093432 w 7467600"/>
              <a:gd name="connsiteY275" fmla="*/ 6858000 h 6858000"/>
              <a:gd name="connsiteX276" fmla="*/ 6034344 w 7467600"/>
              <a:gd name="connsiteY276" fmla="*/ 6858000 h 6858000"/>
              <a:gd name="connsiteX277" fmla="*/ 6026679 w 7467600"/>
              <a:gd name="connsiteY277" fmla="*/ 6836959 h 6858000"/>
              <a:gd name="connsiteX278" fmla="*/ 5800441 w 7467600"/>
              <a:gd name="connsiteY278" fmla="*/ 6335286 h 6858000"/>
              <a:gd name="connsiteX279" fmla="*/ 5526562 w 7467600"/>
              <a:gd name="connsiteY279" fmla="*/ 5705388 h 6858000"/>
              <a:gd name="connsiteX280" fmla="*/ 5519640 w 7467600"/>
              <a:gd name="connsiteY280" fmla="*/ 5683774 h 6858000"/>
              <a:gd name="connsiteX281" fmla="*/ 5844559 w 7467600"/>
              <a:gd name="connsiteY281" fmla="*/ 6553349 h 6858000"/>
              <a:gd name="connsiteX282" fmla="*/ 5975994 w 7467600"/>
              <a:gd name="connsiteY282" fmla="*/ 6858000 h 6858000"/>
              <a:gd name="connsiteX283" fmla="*/ 5898547 w 7467600"/>
              <a:gd name="connsiteY283" fmla="*/ 6858000 h 6858000"/>
              <a:gd name="connsiteX284" fmla="*/ 5682041 w 7467600"/>
              <a:gd name="connsiteY284" fmla="*/ 6355860 h 6858000"/>
              <a:gd name="connsiteX285" fmla="*/ 5461758 w 7467600"/>
              <a:gd name="connsiteY285" fmla="*/ 5820220 h 6858000"/>
              <a:gd name="connsiteX286" fmla="*/ 5237282 w 7467600"/>
              <a:gd name="connsiteY286" fmla="*/ 6579086 h 6858000"/>
              <a:gd name="connsiteX287" fmla="*/ 5115009 w 7467600"/>
              <a:gd name="connsiteY287" fmla="*/ 6858000 h 6858000"/>
              <a:gd name="connsiteX288" fmla="*/ 5028074 w 7467600"/>
              <a:gd name="connsiteY288" fmla="*/ 6858000 h 6858000"/>
              <a:gd name="connsiteX289" fmla="*/ 5079508 w 7467600"/>
              <a:gd name="connsiteY289" fmla="*/ 6749074 h 6858000"/>
              <a:gd name="connsiteX290" fmla="*/ 5371846 w 7467600"/>
              <a:gd name="connsiteY290" fmla="*/ 5924413 h 6858000"/>
              <a:gd name="connsiteX291" fmla="*/ 5270512 w 7467600"/>
              <a:gd name="connsiteY291" fmla="*/ 6138975 h 6858000"/>
              <a:gd name="connsiteX292" fmla="*/ 5062409 w 7467600"/>
              <a:gd name="connsiteY292" fmla="*/ 6653544 h 6858000"/>
              <a:gd name="connsiteX293" fmla="*/ 5036628 w 7467600"/>
              <a:gd name="connsiteY293" fmla="*/ 6754247 h 6858000"/>
              <a:gd name="connsiteX294" fmla="*/ 5009112 w 7467600"/>
              <a:gd name="connsiteY294" fmla="*/ 6858000 h 6858000"/>
              <a:gd name="connsiteX295" fmla="*/ 4976679 w 7467600"/>
              <a:gd name="connsiteY295" fmla="*/ 6858000 h 6858000"/>
              <a:gd name="connsiteX296" fmla="*/ 5006537 w 7467600"/>
              <a:gd name="connsiteY296" fmla="*/ 6747068 h 6858000"/>
              <a:gd name="connsiteX297" fmla="*/ 5032723 w 7467600"/>
              <a:gd name="connsiteY297" fmla="*/ 6644957 h 6858000"/>
              <a:gd name="connsiteX298" fmla="*/ 5242949 w 7467600"/>
              <a:gd name="connsiteY298" fmla="*/ 6125175 h 6858000"/>
              <a:gd name="connsiteX299" fmla="*/ 5286321 w 7467600"/>
              <a:gd name="connsiteY299" fmla="*/ 6033555 h 6858000"/>
              <a:gd name="connsiteX300" fmla="*/ 5008210 w 7467600"/>
              <a:gd name="connsiteY300" fmla="*/ 6649194 h 6858000"/>
              <a:gd name="connsiteX301" fmla="*/ 4986321 w 7467600"/>
              <a:gd name="connsiteY301" fmla="*/ 6765687 h 6858000"/>
              <a:gd name="connsiteX302" fmla="*/ 4973474 w 7467600"/>
              <a:gd name="connsiteY302" fmla="*/ 6858000 h 6858000"/>
              <a:gd name="connsiteX303" fmla="*/ 4907178 w 7467600"/>
              <a:gd name="connsiteY303" fmla="*/ 6858000 h 6858000"/>
              <a:gd name="connsiteX304" fmla="*/ 4910810 w 7467600"/>
              <a:gd name="connsiteY304" fmla="*/ 6829660 h 6858000"/>
              <a:gd name="connsiteX305" fmla="*/ 4987461 w 7467600"/>
              <a:gd name="connsiteY305" fmla="*/ 6432994 h 6858000"/>
              <a:gd name="connsiteX306" fmla="*/ 5179262 w 7467600"/>
              <a:gd name="connsiteY306" fmla="*/ 6035044 h 6858000"/>
              <a:gd name="connsiteX307" fmla="*/ 4689678 w 7467600"/>
              <a:gd name="connsiteY307" fmla="*/ 6440241 h 6858000"/>
              <a:gd name="connsiteX308" fmla="*/ 4477543 w 7467600"/>
              <a:gd name="connsiteY308" fmla="*/ 6674836 h 6858000"/>
              <a:gd name="connsiteX309" fmla="*/ 4329957 w 7467600"/>
              <a:gd name="connsiteY309" fmla="*/ 6858000 h 6858000"/>
              <a:gd name="connsiteX310" fmla="*/ 4218595 w 7467600"/>
              <a:gd name="connsiteY310" fmla="*/ 6858000 h 6858000"/>
              <a:gd name="connsiteX311" fmla="*/ 4368888 w 7467600"/>
              <a:gd name="connsiteY311" fmla="*/ 6668412 h 6858000"/>
              <a:gd name="connsiteX312" fmla="*/ 4563091 w 7467600"/>
              <a:gd name="connsiteY312" fmla="*/ 6442508 h 6858000"/>
              <a:gd name="connsiteX313" fmla="*/ 5387324 w 7467600"/>
              <a:gd name="connsiteY313" fmla="*/ 5705830 h 6858000"/>
              <a:gd name="connsiteX314" fmla="*/ 5073620 w 7467600"/>
              <a:gd name="connsiteY314" fmla="*/ 5955437 h 6858000"/>
              <a:gd name="connsiteX315" fmla="*/ 4689789 w 7467600"/>
              <a:gd name="connsiteY315" fmla="*/ 6268382 h 6858000"/>
              <a:gd name="connsiteX316" fmla="*/ 4418722 w 7467600"/>
              <a:gd name="connsiteY316" fmla="*/ 6570886 h 6858000"/>
              <a:gd name="connsiteX317" fmla="*/ 4214944 w 7467600"/>
              <a:gd name="connsiteY317" fmla="*/ 6858000 h 6858000"/>
              <a:gd name="connsiteX318" fmla="*/ 4177898 w 7467600"/>
              <a:gd name="connsiteY318" fmla="*/ 6858000 h 6858000"/>
              <a:gd name="connsiteX319" fmla="*/ 4391597 w 7467600"/>
              <a:gd name="connsiteY319" fmla="*/ 6556370 h 6858000"/>
              <a:gd name="connsiteX320" fmla="*/ 4668889 w 7467600"/>
              <a:gd name="connsiteY320" fmla="*/ 6246399 h 6858000"/>
              <a:gd name="connsiteX321" fmla="*/ 5055427 w 7467600"/>
              <a:gd name="connsiteY321" fmla="*/ 5931476 h 6858000"/>
              <a:gd name="connsiteX322" fmla="*/ 5371814 w 7467600"/>
              <a:gd name="connsiteY322" fmla="*/ 5678975 h 6858000"/>
              <a:gd name="connsiteX323" fmla="*/ 4987918 w 7467600"/>
              <a:gd name="connsiteY323" fmla="*/ 5838701 h 6858000"/>
              <a:gd name="connsiteX324" fmla="*/ 4317146 w 7467600"/>
              <a:gd name="connsiteY324" fmla="*/ 6587716 h 6858000"/>
              <a:gd name="connsiteX325" fmla="*/ 4171627 w 7467600"/>
              <a:gd name="connsiteY325" fmla="*/ 6858000 h 6858000"/>
              <a:gd name="connsiteX326" fmla="*/ 4081585 w 7467600"/>
              <a:gd name="connsiteY326" fmla="*/ 6858000 h 6858000"/>
              <a:gd name="connsiteX327" fmla="*/ 4238603 w 7467600"/>
              <a:gd name="connsiteY327" fmla="*/ 6559341 h 6858000"/>
              <a:gd name="connsiteX328" fmla="*/ 4778333 w 7467600"/>
              <a:gd name="connsiteY328" fmla="*/ 5873626 h 6858000"/>
              <a:gd name="connsiteX329" fmla="*/ 5414185 w 7467600"/>
              <a:gd name="connsiteY329" fmla="*/ 5573882 h 6858000"/>
              <a:gd name="connsiteX330" fmla="*/ 5959648 w 7467600"/>
              <a:gd name="connsiteY330" fmla="*/ 4760797 h 6858000"/>
              <a:gd name="connsiteX331" fmla="*/ 5355019 w 7467600"/>
              <a:gd name="connsiteY331" fmla="*/ 4734672 h 6858000"/>
              <a:gd name="connsiteX332" fmla="*/ 5083565 w 7467600"/>
              <a:gd name="connsiteY332" fmla="*/ 5179121 h 6858000"/>
              <a:gd name="connsiteX333" fmla="*/ 4713577 w 7467600"/>
              <a:gd name="connsiteY333" fmla="*/ 5616803 h 6858000"/>
              <a:gd name="connsiteX334" fmla="*/ 3989559 w 7467600"/>
              <a:gd name="connsiteY334" fmla="*/ 6145945 h 6858000"/>
              <a:gd name="connsiteX335" fmla="*/ 3939824 w 7467600"/>
              <a:gd name="connsiteY335" fmla="*/ 6066900 h 6858000"/>
              <a:gd name="connsiteX336" fmla="*/ 4584537 w 7467600"/>
              <a:gd name="connsiteY336" fmla="*/ 5324826 h 6858000"/>
              <a:gd name="connsiteX337" fmla="*/ 5037105 w 7467600"/>
              <a:gd name="connsiteY337" fmla="*/ 5088765 h 6858000"/>
              <a:gd name="connsiteX338" fmla="*/ 5039930 w 7467600"/>
              <a:gd name="connsiteY338" fmla="*/ 5089585 h 6858000"/>
              <a:gd name="connsiteX339" fmla="*/ 5263764 w 7467600"/>
              <a:gd name="connsiteY339" fmla="*/ 4735525 h 6858000"/>
              <a:gd name="connsiteX340" fmla="*/ 4086300 w 7467600"/>
              <a:gd name="connsiteY340" fmla="*/ 4884599 h 6858000"/>
              <a:gd name="connsiteX341" fmla="*/ 4085485 w 7467600"/>
              <a:gd name="connsiteY341" fmla="*/ 4899070 h 6858000"/>
              <a:gd name="connsiteX342" fmla="*/ 3871915 w 7467600"/>
              <a:gd name="connsiteY342" fmla="*/ 5253645 h 6858000"/>
              <a:gd name="connsiteX343" fmla="*/ 3799374 w 7467600"/>
              <a:gd name="connsiteY343" fmla="*/ 5466127 h 6858000"/>
              <a:gd name="connsiteX344" fmla="*/ 3498850 w 7467600"/>
              <a:gd name="connsiteY344" fmla="*/ 6661888 h 6858000"/>
              <a:gd name="connsiteX345" fmla="*/ 3399216 w 7467600"/>
              <a:gd name="connsiteY345" fmla="*/ 6858000 h 6858000"/>
              <a:gd name="connsiteX346" fmla="*/ 3303688 w 7467600"/>
              <a:gd name="connsiteY346" fmla="*/ 6858000 h 6858000"/>
              <a:gd name="connsiteX347" fmla="*/ 3391774 w 7467600"/>
              <a:gd name="connsiteY347" fmla="*/ 6697181 h 6858000"/>
              <a:gd name="connsiteX348" fmla="*/ 3735540 w 7467600"/>
              <a:gd name="connsiteY348" fmla="*/ 5546923 h 6858000"/>
              <a:gd name="connsiteX349" fmla="*/ 3729438 w 7467600"/>
              <a:gd name="connsiteY349" fmla="*/ 5569058 h 6858000"/>
              <a:gd name="connsiteX350" fmla="*/ 3707782 w 7467600"/>
              <a:gd name="connsiteY350" fmla="*/ 5644908 h 6858000"/>
              <a:gd name="connsiteX351" fmla="*/ 3583827 w 7467600"/>
              <a:gd name="connsiteY351" fmla="*/ 6039215 h 6858000"/>
              <a:gd name="connsiteX352" fmla="*/ 3547861 w 7467600"/>
              <a:gd name="connsiteY352" fmla="*/ 6129609 h 6858000"/>
              <a:gd name="connsiteX353" fmla="*/ 3490905 w 7467600"/>
              <a:gd name="connsiteY353" fmla="*/ 6277660 h 6858000"/>
              <a:gd name="connsiteX354" fmla="*/ 3455859 w 7467600"/>
              <a:gd name="connsiteY354" fmla="*/ 6391301 h 6858000"/>
              <a:gd name="connsiteX355" fmla="*/ 3429112 w 7467600"/>
              <a:gd name="connsiteY355" fmla="*/ 6479469 h 6858000"/>
              <a:gd name="connsiteX356" fmla="*/ 3304862 w 7467600"/>
              <a:gd name="connsiteY356" fmla="*/ 6796476 h 6858000"/>
              <a:gd name="connsiteX357" fmla="*/ 3276071 w 7467600"/>
              <a:gd name="connsiteY357" fmla="*/ 6858000 h 6858000"/>
              <a:gd name="connsiteX358" fmla="*/ 3240805 w 7467600"/>
              <a:gd name="connsiteY358" fmla="*/ 6858000 h 6858000"/>
              <a:gd name="connsiteX359" fmla="*/ 3275917 w 7467600"/>
              <a:gd name="connsiteY359" fmla="*/ 6783192 h 6858000"/>
              <a:gd name="connsiteX360" fmla="*/ 3399358 w 7467600"/>
              <a:gd name="connsiteY360" fmla="*/ 6469011 h 6858000"/>
              <a:gd name="connsiteX361" fmla="*/ 3425650 w 7467600"/>
              <a:gd name="connsiteY361" fmla="*/ 6381333 h 6858000"/>
              <a:gd name="connsiteX362" fmla="*/ 3460661 w 7467600"/>
              <a:gd name="connsiteY362" fmla="*/ 6266763 h 6858000"/>
              <a:gd name="connsiteX363" fmla="*/ 3518021 w 7467600"/>
              <a:gd name="connsiteY363" fmla="*/ 6117298 h 6858000"/>
              <a:gd name="connsiteX364" fmla="*/ 3554035 w 7467600"/>
              <a:gd name="connsiteY364" fmla="*/ 6027832 h 6858000"/>
              <a:gd name="connsiteX365" fmla="*/ 3677174 w 7467600"/>
              <a:gd name="connsiteY365" fmla="*/ 5636351 h 6858000"/>
              <a:gd name="connsiteX366" fmla="*/ 3698819 w 7467600"/>
              <a:gd name="connsiteY366" fmla="*/ 5560503 h 6858000"/>
              <a:gd name="connsiteX367" fmla="*/ 3702094 w 7467600"/>
              <a:gd name="connsiteY367" fmla="*/ 5549194 h 6858000"/>
              <a:gd name="connsiteX368" fmla="*/ 3398355 w 7467600"/>
              <a:gd name="connsiteY368" fmla="*/ 6094603 h 6858000"/>
              <a:gd name="connsiteX369" fmla="*/ 3193941 w 7467600"/>
              <a:gd name="connsiteY369" fmla="*/ 6798775 h 6858000"/>
              <a:gd name="connsiteX370" fmla="*/ 3184140 w 7467600"/>
              <a:gd name="connsiteY370" fmla="*/ 6858000 h 6858000"/>
              <a:gd name="connsiteX371" fmla="*/ 3099978 w 7467600"/>
              <a:gd name="connsiteY371" fmla="*/ 6858000 h 6858000"/>
              <a:gd name="connsiteX372" fmla="*/ 3101556 w 7467600"/>
              <a:gd name="connsiteY372" fmla="*/ 6843337 h 6858000"/>
              <a:gd name="connsiteX373" fmla="*/ 3370162 w 7467600"/>
              <a:gd name="connsiteY373" fmla="*/ 5785550 h 6858000"/>
              <a:gd name="connsiteX374" fmla="*/ 3746477 w 7467600"/>
              <a:gd name="connsiteY374" fmla="*/ 5377889 h 6858000"/>
              <a:gd name="connsiteX375" fmla="*/ 3863399 w 7467600"/>
              <a:gd name="connsiteY375" fmla="*/ 5087257 h 6858000"/>
              <a:gd name="connsiteX376" fmla="*/ 3968712 w 7467600"/>
              <a:gd name="connsiteY376" fmla="*/ 4913989 h 6858000"/>
              <a:gd name="connsiteX377" fmla="*/ 2792390 w 7467600"/>
              <a:gd name="connsiteY377" fmla="*/ 5382974 h 6858000"/>
              <a:gd name="connsiteX378" fmla="*/ 2714982 w 7467600"/>
              <a:gd name="connsiteY378" fmla="*/ 5427051 h 6858000"/>
              <a:gd name="connsiteX379" fmla="*/ 2813361 w 7467600"/>
              <a:gd name="connsiteY379" fmla="*/ 6023912 h 6858000"/>
              <a:gd name="connsiteX380" fmla="*/ 2688430 w 7467600"/>
              <a:gd name="connsiteY380" fmla="*/ 6801564 h 6858000"/>
              <a:gd name="connsiteX381" fmla="*/ 2629626 w 7467600"/>
              <a:gd name="connsiteY381" fmla="*/ 6763394 h 6858000"/>
              <a:gd name="connsiteX382" fmla="*/ 2565328 w 7467600"/>
              <a:gd name="connsiteY382" fmla="*/ 5516399 h 6858000"/>
              <a:gd name="connsiteX383" fmla="*/ 1922999 w 7467600"/>
              <a:gd name="connsiteY383" fmla="*/ 5980343 h 6858000"/>
              <a:gd name="connsiteX384" fmla="*/ 1950261 w 7467600"/>
              <a:gd name="connsiteY384" fmla="*/ 6405858 h 6858000"/>
              <a:gd name="connsiteX385" fmla="*/ 2365554 w 7467600"/>
              <a:gd name="connsiteY385" fmla="*/ 6759107 h 6858000"/>
              <a:gd name="connsiteX386" fmla="*/ 2424142 w 7467600"/>
              <a:gd name="connsiteY386" fmla="*/ 6858000 h 6858000"/>
              <a:gd name="connsiteX387" fmla="*/ 2395994 w 7467600"/>
              <a:gd name="connsiteY387" fmla="*/ 6858000 h 6858000"/>
              <a:gd name="connsiteX388" fmla="*/ 2392863 w 7467600"/>
              <a:gd name="connsiteY388" fmla="*/ 6852964 h 6858000"/>
              <a:gd name="connsiteX389" fmla="*/ 2017589 w 7467600"/>
              <a:gd name="connsiteY389" fmla="*/ 6493982 h 6858000"/>
              <a:gd name="connsiteX390" fmla="*/ 2147336 w 7467600"/>
              <a:gd name="connsiteY390" fmla="*/ 6594052 h 6858000"/>
              <a:gd name="connsiteX391" fmla="*/ 2207047 w 7467600"/>
              <a:gd name="connsiteY391" fmla="*/ 6654540 h 6858000"/>
              <a:gd name="connsiteX392" fmla="*/ 2299106 w 7467600"/>
              <a:gd name="connsiteY392" fmla="*/ 6778931 h 6858000"/>
              <a:gd name="connsiteX393" fmla="*/ 2314430 w 7467600"/>
              <a:gd name="connsiteY393" fmla="*/ 6801144 h 6858000"/>
              <a:gd name="connsiteX394" fmla="*/ 2352406 w 7467600"/>
              <a:gd name="connsiteY394" fmla="*/ 6858000 h 6858000"/>
              <a:gd name="connsiteX395" fmla="*/ 2314492 w 7467600"/>
              <a:gd name="connsiteY395" fmla="*/ 6858000 h 6858000"/>
              <a:gd name="connsiteX396" fmla="*/ 2288095 w 7467600"/>
              <a:gd name="connsiteY396" fmla="*/ 6818030 h 6858000"/>
              <a:gd name="connsiteX397" fmla="*/ 2272768 w 7467600"/>
              <a:gd name="connsiteY397" fmla="*/ 6795822 h 6858000"/>
              <a:gd name="connsiteX398" fmla="*/ 2182715 w 7467600"/>
              <a:gd name="connsiteY398" fmla="*/ 6675071 h 6858000"/>
              <a:gd name="connsiteX399" fmla="*/ 2032061 w 7467600"/>
              <a:gd name="connsiteY399" fmla="*/ 6541380 h 6858000"/>
              <a:gd name="connsiteX400" fmla="*/ 2257220 w 7467600"/>
              <a:gd name="connsiteY400" fmla="*/ 6826257 h 6858000"/>
              <a:gd name="connsiteX401" fmla="*/ 2281324 w 7467600"/>
              <a:gd name="connsiteY401" fmla="*/ 6858000 h 6858000"/>
              <a:gd name="connsiteX402" fmla="*/ 2242860 w 7467600"/>
              <a:gd name="connsiteY402" fmla="*/ 6858000 h 6858000"/>
              <a:gd name="connsiteX403" fmla="*/ 2232818 w 7467600"/>
              <a:gd name="connsiteY403" fmla="*/ 6844926 h 6858000"/>
              <a:gd name="connsiteX404" fmla="*/ 1990172 w 7467600"/>
              <a:gd name="connsiteY404" fmla="*/ 6542121 h 6858000"/>
              <a:gd name="connsiteX405" fmla="*/ 2124090 w 7467600"/>
              <a:gd name="connsiteY405" fmla="*/ 6761017 h 6858000"/>
              <a:gd name="connsiteX406" fmla="*/ 2200380 w 7467600"/>
              <a:gd name="connsiteY406" fmla="*/ 6858000 h 6858000"/>
              <a:gd name="connsiteX407" fmla="*/ 2147507 w 7467600"/>
              <a:gd name="connsiteY407" fmla="*/ 6858000 h 6858000"/>
              <a:gd name="connsiteX408" fmla="*/ 2070668 w 7467600"/>
              <a:gd name="connsiteY408" fmla="*/ 6761520 h 6858000"/>
              <a:gd name="connsiteX409" fmla="*/ 1975142 w 7467600"/>
              <a:gd name="connsiteY409" fmla="*/ 6585570 h 6858000"/>
              <a:gd name="connsiteX410" fmla="*/ 2050035 w 7467600"/>
              <a:gd name="connsiteY410" fmla="*/ 6813345 h 6858000"/>
              <a:gd name="connsiteX411" fmla="*/ 2063025 w 7467600"/>
              <a:gd name="connsiteY411" fmla="*/ 6858000 h 6858000"/>
              <a:gd name="connsiteX412" fmla="*/ 2021675 w 7467600"/>
              <a:gd name="connsiteY412" fmla="*/ 6858000 h 6858000"/>
              <a:gd name="connsiteX413" fmla="*/ 2019308 w 7467600"/>
              <a:gd name="connsiteY413" fmla="*/ 6847118 h 6858000"/>
              <a:gd name="connsiteX414" fmla="*/ 1938835 w 7467600"/>
              <a:gd name="connsiteY414" fmla="*/ 6551160 h 6858000"/>
              <a:gd name="connsiteX415" fmla="*/ 1953230 w 7467600"/>
              <a:gd name="connsiteY415" fmla="*/ 6759699 h 6858000"/>
              <a:gd name="connsiteX416" fmla="*/ 1956763 w 7467600"/>
              <a:gd name="connsiteY416" fmla="*/ 6778191 h 6858000"/>
              <a:gd name="connsiteX417" fmla="*/ 1967925 w 7467600"/>
              <a:gd name="connsiteY417" fmla="*/ 6858000 h 6858000"/>
              <a:gd name="connsiteX418" fmla="*/ 1936622 w 7467600"/>
              <a:gd name="connsiteY418" fmla="*/ 6858000 h 6858000"/>
              <a:gd name="connsiteX419" fmla="*/ 1926261 w 7467600"/>
              <a:gd name="connsiteY419" fmla="*/ 6784064 h 6858000"/>
              <a:gd name="connsiteX420" fmla="*/ 1922724 w 7467600"/>
              <a:gd name="connsiteY420" fmla="*/ 6765577 h 6858000"/>
              <a:gd name="connsiteX421" fmla="*/ 1904650 w 7467600"/>
              <a:gd name="connsiteY421" fmla="*/ 6639616 h 6858000"/>
              <a:gd name="connsiteX422" fmla="*/ 1885273 w 7467600"/>
              <a:gd name="connsiteY422" fmla="*/ 6858000 h 6858000"/>
              <a:gd name="connsiteX423" fmla="*/ 1854363 w 7467600"/>
              <a:gd name="connsiteY423" fmla="*/ 6858000 h 6858000"/>
              <a:gd name="connsiteX424" fmla="*/ 1880391 w 7467600"/>
              <a:gd name="connsiteY424" fmla="*/ 6603796 h 6858000"/>
              <a:gd name="connsiteX425" fmla="*/ 1818273 w 7467600"/>
              <a:gd name="connsiteY425" fmla="*/ 6715729 h 6858000"/>
              <a:gd name="connsiteX426" fmla="*/ 1794691 w 7467600"/>
              <a:gd name="connsiteY426" fmla="*/ 6843239 h 6858000"/>
              <a:gd name="connsiteX427" fmla="*/ 1794914 w 7467600"/>
              <a:gd name="connsiteY427" fmla="*/ 6858000 h 6858000"/>
              <a:gd name="connsiteX428" fmla="*/ 1746128 w 7467600"/>
              <a:gd name="connsiteY428" fmla="*/ 6858000 h 6858000"/>
              <a:gd name="connsiteX429" fmla="*/ 1753934 w 7467600"/>
              <a:gd name="connsiteY429" fmla="*/ 6724796 h 6858000"/>
              <a:gd name="connsiteX430" fmla="*/ 1792053 w 7467600"/>
              <a:gd name="connsiteY430" fmla="*/ 6572396 h 6858000"/>
              <a:gd name="connsiteX431" fmla="*/ 1862248 w 7467600"/>
              <a:gd name="connsiteY431" fmla="*/ 6266397 h 6858000"/>
              <a:gd name="connsiteX432" fmla="*/ 1862250 w 7467600"/>
              <a:gd name="connsiteY432" fmla="*/ 6033531 h 6858000"/>
              <a:gd name="connsiteX433" fmla="*/ 1211999 w 7467600"/>
              <a:gd name="connsiteY433" fmla="*/ 6683610 h 6858000"/>
              <a:gd name="connsiteX434" fmla="*/ 1213266 w 7467600"/>
              <a:gd name="connsiteY434" fmla="*/ 6691947 h 6858000"/>
              <a:gd name="connsiteX435" fmla="*/ 1203370 w 7467600"/>
              <a:gd name="connsiteY435" fmla="*/ 6850676 h 6858000"/>
              <a:gd name="connsiteX436" fmla="*/ 1203671 w 7467600"/>
              <a:gd name="connsiteY436" fmla="*/ 6858000 h 6858000"/>
              <a:gd name="connsiteX437" fmla="*/ 1143180 w 7467600"/>
              <a:gd name="connsiteY437" fmla="*/ 6858000 h 6858000"/>
              <a:gd name="connsiteX438" fmla="*/ 1142176 w 7467600"/>
              <a:gd name="connsiteY438" fmla="*/ 6766045 h 6858000"/>
              <a:gd name="connsiteX439" fmla="*/ 1067484 w 7467600"/>
              <a:gd name="connsiteY439" fmla="*/ 6858000 h 6858000"/>
              <a:gd name="connsiteX440" fmla="*/ 953928 w 7467600"/>
              <a:gd name="connsiteY440" fmla="*/ 6858000 h 6858000"/>
              <a:gd name="connsiteX441" fmla="*/ 959715 w 7467600"/>
              <a:gd name="connsiteY441" fmla="*/ 6850185 h 6858000"/>
              <a:gd name="connsiteX442" fmla="*/ 1483788 w 7467600"/>
              <a:gd name="connsiteY442" fmla="*/ 6259174 h 6858000"/>
              <a:gd name="connsiteX443" fmla="*/ 1100671 w 7467600"/>
              <a:gd name="connsiteY443" fmla="*/ 6252137 h 6858000"/>
              <a:gd name="connsiteX444" fmla="*/ 1090144 w 7467600"/>
              <a:gd name="connsiteY444" fmla="*/ 6256748 h 6858000"/>
              <a:gd name="connsiteX445" fmla="*/ 1095872 w 7467600"/>
              <a:gd name="connsiteY445" fmla="*/ 6271892 h 6858000"/>
              <a:gd name="connsiteX446" fmla="*/ 262785 w 7467600"/>
              <a:gd name="connsiteY446" fmla="*/ 6845450 h 6858000"/>
              <a:gd name="connsiteX447" fmla="*/ 209968 w 7467600"/>
              <a:gd name="connsiteY447" fmla="*/ 6770713 h 6858000"/>
              <a:gd name="connsiteX448" fmla="*/ 873460 w 7467600"/>
              <a:gd name="connsiteY448" fmla="*/ 6253768 h 6858000"/>
              <a:gd name="connsiteX449" fmla="*/ 192686 w 7467600"/>
              <a:gd name="connsiteY449" fmla="*/ 5849257 h 6858000"/>
              <a:gd name="connsiteX450" fmla="*/ 4696 w 7467600"/>
              <a:gd name="connsiteY450" fmla="*/ 5697668 h 6858000"/>
              <a:gd name="connsiteX451" fmla="*/ 0 w 7467600"/>
              <a:gd name="connsiteY451" fmla="*/ 5689984 h 6858000"/>
              <a:gd name="connsiteX452" fmla="*/ 0 w 7467600"/>
              <a:gd name="connsiteY452" fmla="*/ 5513472 h 6858000"/>
              <a:gd name="connsiteX453" fmla="*/ 174101 w 7467600"/>
              <a:gd name="connsiteY453" fmla="*/ 5620277 h 6858000"/>
              <a:gd name="connsiteX454" fmla="*/ 891800 w 7467600"/>
              <a:gd name="connsiteY454" fmla="*/ 6036935 h 6858000"/>
              <a:gd name="connsiteX455" fmla="*/ 1072219 w 7467600"/>
              <a:gd name="connsiteY455" fmla="*/ 6169443 h 6858000"/>
              <a:gd name="connsiteX456" fmla="*/ 1074117 w 7467600"/>
              <a:gd name="connsiteY456" fmla="*/ 6170301 h 6858000"/>
              <a:gd name="connsiteX457" fmla="*/ 1083114 w 7467600"/>
              <a:gd name="connsiteY457" fmla="*/ 6174131 h 6858000"/>
              <a:gd name="connsiteX458" fmla="*/ 1543010 w 7467600"/>
              <a:gd name="connsiteY458" fmla="*/ 6191140 h 6858000"/>
              <a:gd name="connsiteX459" fmla="*/ 1551080 w 7467600"/>
              <a:gd name="connsiteY459" fmla="*/ 6195006 h 6858000"/>
              <a:gd name="connsiteX460" fmla="*/ 2345443 w 7467600"/>
              <a:gd name="connsiteY460" fmla="*/ 5549882 h 6858000"/>
              <a:gd name="connsiteX461" fmla="*/ 1721499 w 7467600"/>
              <a:gd name="connsiteY461" fmla="*/ 5599969 h 6858000"/>
              <a:gd name="connsiteX462" fmla="*/ 767716 w 7467600"/>
              <a:gd name="connsiteY462" fmla="*/ 5472768 h 6858000"/>
              <a:gd name="connsiteX463" fmla="*/ 722147 w 7467600"/>
              <a:gd name="connsiteY463" fmla="*/ 5393091 h 6858000"/>
              <a:gd name="connsiteX464" fmla="*/ 1485552 w 7467600"/>
              <a:gd name="connsiteY464" fmla="*/ 5313202 h 6858000"/>
              <a:gd name="connsiteX465" fmla="*/ 2143004 w 7467600"/>
              <a:gd name="connsiteY465" fmla="*/ 5402420 h 6858000"/>
              <a:gd name="connsiteX466" fmla="*/ 1933391 w 7467600"/>
              <a:gd name="connsiteY466" fmla="*/ 5156971 h 6858000"/>
              <a:gd name="connsiteX467" fmla="*/ 1827118 w 7467600"/>
              <a:gd name="connsiteY467" fmla="*/ 4968410 h 6858000"/>
              <a:gd name="connsiteX468" fmla="*/ 1837349 w 7467600"/>
              <a:gd name="connsiteY468" fmla="*/ 4956357 h 6858000"/>
              <a:gd name="connsiteX469" fmla="*/ 2162835 w 7467600"/>
              <a:gd name="connsiteY469" fmla="*/ 5187853 h 6858000"/>
              <a:gd name="connsiteX470" fmla="*/ 2257167 w 7467600"/>
              <a:gd name="connsiteY470" fmla="*/ 5462123 h 6858000"/>
              <a:gd name="connsiteX471" fmla="*/ 2261598 w 7467600"/>
              <a:gd name="connsiteY471" fmla="*/ 5467998 h 6858000"/>
              <a:gd name="connsiteX472" fmla="*/ 2437177 w 7467600"/>
              <a:gd name="connsiteY472" fmla="*/ 5479608 h 6858000"/>
              <a:gd name="connsiteX473" fmla="*/ 2445247 w 7467600"/>
              <a:gd name="connsiteY473" fmla="*/ 5483476 h 6858000"/>
              <a:gd name="connsiteX474" fmla="*/ 2743626 w 7467600"/>
              <a:gd name="connsiteY474" fmla="*/ 5304819 h 6858000"/>
              <a:gd name="connsiteX475" fmla="*/ 3048102 w 7467600"/>
              <a:gd name="connsiteY475" fmla="*/ 5150595 h 6858000"/>
              <a:gd name="connsiteX476" fmla="*/ 1799414 w 7467600"/>
              <a:gd name="connsiteY476" fmla="*/ 4694732 h 6858000"/>
              <a:gd name="connsiteX477" fmla="*/ 1771735 w 7467600"/>
              <a:gd name="connsiteY477" fmla="*/ 4619929 h 6858000"/>
              <a:gd name="connsiteX478" fmla="*/ 3104273 w 7467600"/>
              <a:gd name="connsiteY478" fmla="*/ 5076159 h 6858000"/>
              <a:gd name="connsiteX479" fmla="*/ 3113245 w 7467600"/>
              <a:gd name="connsiteY479" fmla="*/ 5090705 h 6858000"/>
              <a:gd name="connsiteX480" fmla="*/ 3126294 w 7467600"/>
              <a:gd name="connsiteY480" fmla="*/ 5114400 h 6858000"/>
              <a:gd name="connsiteX481" fmla="*/ 3937433 w 7467600"/>
              <a:gd name="connsiteY481" fmla="*/ 4830473 h 6858000"/>
              <a:gd name="connsiteX482" fmla="*/ 3590475 w 7467600"/>
              <a:gd name="connsiteY482" fmla="*/ 4597974 h 6858000"/>
              <a:gd name="connsiteX483" fmla="*/ 3100264 w 7467600"/>
              <a:gd name="connsiteY483" fmla="*/ 4579845 h 6858000"/>
              <a:gd name="connsiteX484" fmla="*/ 2183576 w 7467600"/>
              <a:gd name="connsiteY484" fmla="*/ 4227150 h 6858000"/>
              <a:gd name="connsiteX485" fmla="*/ 2151029 w 7467600"/>
              <a:gd name="connsiteY485" fmla="*/ 4146947 h 6858000"/>
              <a:gd name="connsiteX486" fmla="*/ 3563434 w 7467600"/>
              <a:gd name="connsiteY486" fmla="*/ 4469115 h 6858000"/>
              <a:gd name="connsiteX487" fmla="*/ 3177952 w 7467600"/>
              <a:gd name="connsiteY487" fmla="*/ 3657386 h 6858000"/>
              <a:gd name="connsiteX488" fmla="*/ 3189263 w 7467600"/>
              <a:gd name="connsiteY488" fmla="*/ 3625726 h 6858000"/>
              <a:gd name="connsiteX489" fmla="*/ 3560912 w 7467600"/>
              <a:gd name="connsiteY489" fmla="*/ 4079863 h 6858000"/>
              <a:gd name="connsiteX490" fmla="*/ 3626636 w 7467600"/>
              <a:gd name="connsiteY490" fmla="*/ 4512230 h 6858000"/>
              <a:gd name="connsiteX491" fmla="*/ 3653088 w 7467600"/>
              <a:gd name="connsiteY491" fmla="*/ 4521417 h 6858000"/>
              <a:gd name="connsiteX492" fmla="*/ 3988128 w 7467600"/>
              <a:gd name="connsiteY492" fmla="*/ 4817267 h 6858000"/>
              <a:gd name="connsiteX493" fmla="*/ 4830582 w 7467600"/>
              <a:gd name="connsiteY493" fmla="*/ 4676000 h 6858000"/>
              <a:gd name="connsiteX494" fmla="*/ 4830100 w 7467600"/>
              <a:gd name="connsiteY494" fmla="*/ 4675554 h 6858000"/>
              <a:gd name="connsiteX495" fmla="*/ 4036318 w 7467600"/>
              <a:gd name="connsiteY495" fmla="*/ 4147013 h 6858000"/>
              <a:gd name="connsiteX496" fmla="*/ 3432098 w 7467600"/>
              <a:gd name="connsiteY496" fmla="*/ 3537312 h 6858000"/>
              <a:gd name="connsiteX497" fmla="*/ 3446761 w 7467600"/>
              <a:gd name="connsiteY497" fmla="*/ 3461278 h 6858000"/>
              <a:gd name="connsiteX498" fmla="*/ 4419733 w 7467600"/>
              <a:gd name="connsiteY498" fmla="*/ 3963555 h 6858000"/>
              <a:gd name="connsiteX499" fmla="*/ 4781371 w 7467600"/>
              <a:gd name="connsiteY499" fmla="*/ 4458604 h 6858000"/>
              <a:gd name="connsiteX500" fmla="*/ 4780440 w 7467600"/>
              <a:gd name="connsiteY500" fmla="*/ 4470290 h 6858000"/>
              <a:gd name="connsiteX501" fmla="*/ 4898954 w 7467600"/>
              <a:gd name="connsiteY501" fmla="*/ 4662092 h 6858000"/>
              <a:gd name="connsiteX502" fmla="*/ 4900699 w 7467600"/>
              <a:gd name="connsiteY502" fmla="*/ 4670867 h 6858000"/>
              <a:gd name="connsiteX503" fmla="*/ 5714511 w 7467600"/>
              <a:gd name="connsiteY503" fmla="*/ 4663483 h 6858000"/>
              <a:gd name="connsiteX504" fmla="*/ 5464793 w 7467600"/>
              <a:gd name="connsiteY504" fmla="*/ 4393556 h 6858000"/>
              <a:gd name="connsiteX505" fmla="*/ 5461897 w 7467600"/>
              <a:gd name="connsiteY505" fmla="*/ 4390879 h 6858000"/>
              <a:gd name="connsiteX506" fmla="*/ 4294126 w 7467600"/>
              <a:gd name="connsiteY506" fmla="*/ 3303048 h 6858000"/>
              <a:gd name="connsiteX507" fmla="*/ 4305321 w 7467600"/>
              <a:gd name="connsiteY507" fmla="*/ 3256953 h 6858000"/>
              <a:gd name="connsiteX508" fmla="*/ 4949299 w 7467600"/>
              <a:gd name="connsiteY508" fmla="*/ 3766336 h 6858000"/>
              <a:gd name="connsiteX509" fmla="*/ 5291452 w 7467600"/>
              <a:gd name="connsiteY509" fmla="*/ 4076801 h 6858000"/>
              <a:gd name="connsiteX510" fmla="*/ 5434998 w 7467600"/>
              <a:gd name="connsiteY510" fmla="*/ 4254100 h 6858000"/>
              <a:gd name="connsiteX511" fmla="*/ 5351015 w 7467600"/>
              <a:gd name="connsiteY511" fmla="*/ 3760989 h 6858000"/>
              <a:gd name="connsiteX512" fmla="*/ 5413780 w 7467600"/>
              <a:gd name="connsiteY512" fmla="*/ 2966265 h 6858000"/>
              <a:gd name="connsiteX513" fmla="*/ 5425627 w 7467600"/>
              <a:gd name="connsiteY513" fmla="*/ 2954192 h 6858000"/>
              <a:gd name="connsiteX514" fmla="*/ 6604735 w 7467600"/>
              <a:gd name="connsiteY514" fmla="*/ 2041381 h 6858000"/>
              <a:gd name="connsiteX515" fmla="*/ 7204487 w 7467600"/>
              <a:gd name="connsiteY515" fmla="*/ 2742112 h 6858000"/>
              <a:gd name="connsiteX516" fmla="*/ 7131592 w 7467600"/>
              <a:gd name="connsiteY516" fmla="*/ 2672096 h 6858000"/>
              <a:gd name="connsiteX517" fmla="*/ 6996344 w 7467600"/>
              <a:gd name="connsiteY517" fmla="*/ 2518310 h 6858000"/>
              <a:gd name="connsiteX518" fmla="*/ 6735495 w 7467600"/>
              <a:gd name="connsiteY518" fmla="*/ 2196890 h 6858000"/>
              <a:gd name="connsiteX519" fmla="*/ 6721901 w 7467600"/>
              <a:gd name="connsiteY519" fmla="*/ 2179274 h 6858000"/>
              <a:gd name="connsiteX520" fmla="*/ 6604735 w 7467600"/>
              <a:gd name="connsiteY520" fmla="*/ 2041381 h 6858000"/>
              <a:gd name="connsiteX521" fmla="*/ 6591670 w 7467600"/>
              <a:gd name="connsiteY521" fmla="*/ 1988277 h 6858000"/>
              <a:gd name="connsiteX522" fmla="*/ 6747349 w 7467600"/>
              <a:gd name="connsiteY522" fmla="*/ 2160069 h 6858000"/>
              <a:gd name="connsiteX523" fmla="*/ 6760943 w 7467600"/>
              <a:gd name="connsiteY523" fmla="*/ 2177686 h 6858000"/>
              <a:gd name="connsiteX524" fmla="*/ 7021065 w 7467600"/>
              <a:gd name="connsiteY524" fmla="*/ 2498102 h 6858000"/>
              <a:gd name="connsiteX525" fmla="*/ 7155223 w 7467600"/>
              <a:gd name="connsiteY525" fmla="*/ 2650386 h 6858000"/>
              <a:gd name="connsiteX526" fmla="*/ 7203167 w 7467600"/>
              <a:gd name="connsiteY526" fmla="*/ 2697288 h 6858000"/>
              <a:gd name="connsiteX527" fmla="*/ 6937703 w 7467600"/>
              <a:gd name="connsiteY527" fmla="*/ 2321981 h 6858000"/>
              <a:gd name="connsiteX528" fmla="*/ 6591670 w 7467600"/>
              <a:gd name="connsiteY528" fmla="*/ 1988277 h 6858000"/>
              <a:gd name="connsiteX529" fmla="*/ 5798671 w 7467600"/>
              <a:gd name="connsiteY529" fmla="*/ 1981601 h 6858000"/>
              <a:gd name="connsiteX530" fmla="*/ 5754709 w 7467600"/>
              <a:gd name="connsiteY530" fmla="*/ 2071454 h 6858000"/>
              <a:gd name="connsiteX531" fmla="*/ 5763044 w 7467600"/>
              <a:gd name="connsiteY531" fmla="*/ 2842206 h 6858000"/>
              <a:gd name="connsiteX532" fmla="*/ 5764974 w 7467600"/>
              <a:gd name="connsiteY532" fmla="*/ 2799609 h 6858000"/>
              <a:gd name="connsiteX533" fmla="*/ 5767665 w 7467600"/>
              <a:gd name="connsiteY533" fmla="*/ 2666409 h 6858000"/>
              <a:gd name="connsiteX534" fmla="*/ 5763055 w 7467600"/>
              <a:gd name="connsiteY534" fmla="*/ 2579705 h 6858000"/>
              <a:gd name="connsiteX535" fmla="*/ 5758079 w 7467600"/>
              <a:gd name="connsiteY535" fmla="*/ 2492508 h 6858000"/>
              <a:gd name="connsiteX536" fmla="*/ 5779325 w 7467600"/>
              <a:gd name="connsiteY536" fmla="*/ 2197069 h 6858000"/>
              <a:gd name="connsiteX537" fmla="*/ 5798671 w 7467600"/>
              <a:gd name="connsiteY537" fmla="*/ 1981601 h 6858000"/>
              <a:gd name="connsiteX538" fmla="*/ 5829202 w 7467600"/>
              <a:gd name="connsiteY538" fmla="*/ 1971679 h 6858000"/>
              <a:gd name="connsiteX539" fmla="*/ 5809558 w 7467600"/>
              <a:gd name="connsiteY539" fmla="*/ 2198043 h 6858000"/>
              <a:gd name="connsiteX540" fmla="*/ 5788653 w 7467600"/>
              <a:gd name="connsiteY540" fmla="*/ 2489430 h 6858000"/>
              <a:gd name="connsiteX541" fmla="*/ 5793439 w 7467600"/>
              <a:gd name="connsiteY541" fmla="*/ 2575235 h 6858000"/>
              <a:gd name="connsiteX542" fmla="*/ 5796837 w 7467600"/>
              <a:gd name="connsiteY542" fmla="*/ 2637633 h 6858000"/>
              <a:gd name="connsiteX543" fmla="*/ 5818614 w 7467600"/>
              <a:gd name="connsiteY543" fmla="*/ 2473055 h 6858000"/>
              <a:gd name="connsiteX544" fmla="*/ 5829202 w 7467600"/>
              <a:gd name="connsiteY544" fmla="*/ 1971679 h 6858000"/>
              <a:gd name="connsiteX545" fmla="*/ 5911389 w 7467600"/>
              <a:gd name="connsiteY545" fmla="*/ 1898371 h 6858000"/>
              <a:gd name="connsiteX546" fmla="*/ 6237627 w 7467600"/>
              <a:gd name="connsiteY546" fmla="*/ 2231921 h 6858000"/>
              <a:gd name="connsiteX547" fmla="*/ 5911389 w 7467600"/>
              <a:gd name="connsiteY547" fmla="*/ 1898371 h 6858000"/>
              <a:gd name="connsiteX548" fmla="*/ 6944437 w 7467600"/>
              <a:gd name="connsiteY548" fmla="*/ 1575402 h 6858000"/>
              <a:gd name="connsiteX549" fmla="*/ 6304730 w 7467600"/>
              <a:gd name="connsiteY549" fmla="*/ 1766654 h 6858000"/>
              <a:gd name="connsiteX550" fmla="*/ 6944437 w 7467600"/>
              <a:gd name="connsiteY550" fmla="*/ 1575402 h 6858000"/>
              <a:gd name="connsiteX551" fmla="*/ 7019523 w 7467600"/>
              <a:gd name="connsiteY551" fmla="*/ 1519450 h 6858000"/>
              <a:gd name="connsiteX552" fmla="*/ 6298091 w 7467600"/>
              <a:gd name="connsiteY552" fmla="*/ 1737122 h 6858000"/>
              <a:gd name="connsiteX553" fmla="*/ 7019523 w 7467600"/>
              <a:gd name="connsiteY553" fmla="*/ 1519450 h 6858000"/>
              <a:gd name="connsiteX554" fmla="*/ 2399523 w 7467600"/>
              <a:gd name="connsiteY554" fmla="*/ 1428234 h 6858000"/>
              <a:gd name="connsiteX555" fmla="*/ 2224982 w 7467600"/>
              <a:gd name="connsiteY555" fmla="*/ 1826201 h 6858000"/>
              <a:gd name="connsiteX556" fmla="*/ 2096099 w 7467600"/>
              <a:gd name="connsiteY556" fmla="*/ 2345900 h 6858000"/>
              <a:gd name="connsiteX557" fmla="*/ 2283317 w 7467600"/>
              <a:gd name="connsiteY557" fmla="*/ 1796925 h 6858000"/>
              <a:gd name="connsiteX558" fmla="*/ 2399523 w 7467600"/>
              <a:gd name="connsiteY558" fmla="*/ 1428234 h 6858000"/>
              <a:gd name="connsiteX559" fmla="*/ 2448558 w 7467600"/>
              <a:gd name="connsiteY559" fmla="*/ 1373435 h 6858000"/>
              <a:gd name="connsiteX560" fmla="*/ 2312521 w 7467600"/>
              <a:gd name="connsiteY560" fmla="*/ 1806140 h 6858000"/>
              <a:gd name="connsiteX561" fmla="*/ 2127533 w 7467600"/>
              <a:gd name="connsiteY561" fmla="*/ 2348380 h 6858000"/>
              <a:gd name="connsiteX562" fmla="*/ 2358080 w 7467600"/>
              <a:gd name="connsiteY562" fmla="*/ 1866134 h 6858000"/>
              <a:gd name="connsiteX563" fmla="*/ 2407436 w 7467600"/>
              <a:gd name="connsiteY563" fmla="*/ 1651070 h 6858000"/>
              <a:gd name="connsiteX564" fmla="*/ 2448558 w 7467600"/>
              <a:gd name="connsiteY564" fmla="*/ 1373435 h 6858000"/>
              <a:gd name="connsiteX565" fmla="*/ 278707 w 7467600"/>
              <a:gd name="connsiteY565" fmla="*/ 1352270 h 6858000"/>
              <a:gd name="connsiteX566" fmla="*/ 321570 w 7467600"/>
              <a:gd name="connsiteY566" fmla="*/ 1861610 h 6858000"/>
              <a:gd name="connsiteX567" fmla="*/ 294281 w 7467600"/>
              <a:gd name="connsiteY567" fmla="*/ 1440658 h 6858000"/>
              <a:gd name="connsiteX568" fmla="*/ 278707 w 7467600"/>
              <a:gd name="connsiteY568" fmla="*/ 1352270 h 6858000"/>
              <a:gd name="connsiteX569" fmla="*/ 1423821 w 7467600"/>
              <a:gd name="connsiteY569" fmla="*/ 1351958 h 6858000"/>
              <a:gd name="connsiteX570" fmla="*/ 1638521 w 7467600"/>
              <a:gd name="connsiteY570" fmla="*/ 1908470 h 6858000"/>
              <a:gd name="connsiteX571" fmla="*/ 1754199 w 7467600"/>
              <a:gd name="connsiteY571" fmla="*/ 2149284 h 6858000"/>
              <a:gd name="connsiteX572" fmla="*/ 1908359 w 7467600"/>
              <a:gd name="connsiteY572" fmla="*/ 2364988 h 6858000"/>
              <a:gd name="connsiteX573" fmla="*/ 1647661 w 7467600"/>
              <a:gd name="connsiteY573" fmla="*/ 1825945 h 6858000"/>
              <a:gd name="connsiteX574" fmla="*/ 1423821 w 7467600"/>
              <a:gd name="connsiteY574" fmla="*/ 1351958 h 6858000"/>
              <a:gd name="connsiteX575" fmla="*/ 1431890 w 7467600"/>
              <a:gd name="connsiteY575" fmla="*/ 1306475 h 6858000"/>
              <a:gd name="connsiteX576" fmla="*/ 1507597 w 7467600"/>
              <a:gd name="connsiteY576" fmla="*/ 1446132 h 6858000"/>
              <a:gd name="connsiteX577" fmla="*/ 1674586 w 7467600"/>
              <a:gd name="connsiteY577" fmla="*/ 1813832 h 6858000"/>
              <a:gd name="connsiteX578" fmla="*/ 1815950 w 7467600"/>
              <a:gd name="connsiteY578" fmla="*/ 2128564 h 6858000"/>
              <a:gd name="connsiteX579" fmla="*/ 1984242 w 7467600"/>
              <a:gd name="connsiteY579" fmla="*/ 2430829 h 6858000"/>
              <a:gd name="connsiteX580" fmla="*/ 2014023 w 7467600"/>
              <a:gd name="connsiteY580" fmla="*/ 2450995 h 6858000"/>
              <a:gd name="connsiteX581" fmla="*/ 1747337 w 7467600"/>
              <a:gd name="connsiteY581" fmla="*/ 1855264 h 6858000"/>
              <a:gd name="connsiteX582" fmla="*/ 1533749 w 7467600"/>
              <a:gd name="connsiteY582" fmla="*/ 1478656 h 6858000"/>
              <a:gd name="connsiteX583" fmla="*/ 1431890 w 7467600"/>
              <a:gd name="connsiteY583" fmla="*/ 1306475 h 6858000"/>
              <a:gd name="connsiteX584" fmla="*/ 5052692 w 7467600"/>
              <a:gd name="connsiteY584" fmla="*/ 1292994 h 6858000"/>
              <a:gd name="connsiteX585" fmla="*/ 5200661 w 7467600"/>
              <a:gd name="connsiteY585" fmla="*/ 1635186 h 6858000"/>
              <a:gd name="connsiteX586" fmla="*/ 5297138 w 7467600"/>
              <a:gd name="connsiteY586" fmla="*/ 1906351 h 6858000"/>
              <a:gd name="connsiteX587" fmla="*/ 5052692 w 7467600"/>
              <a:gd name="connsiteY587" fmla="*/ 1292994 h 6858000"/>
              <a:gd name="connsiteX588" fmla="*/ 5009948 w 7467600"/>
              <a:gd name="connsiteY588" fmla="*/ 1273619 h 6858000"/>
              <a:gd name="connsiteX589" fmla="*/ 5121777 w 7467600"/>
              <a:gd name="connsiteY589" fmla="*/ 1654213 h 6858000"/>
              <a:gd name="connsiteX590" fmla="*/ 5293545 w 7467600"/>
              <a:gd name="connsiteY590" fmla="*/ 2072247 h 6858000"/>
              <a:gd name="connsiteX591" fmla="*/ 5294042 w 7467600"/>
              <a:gd name="connsiteY591" fmla="*/ 2065019 h 6858000"/>
              <a:gd name="connsiteX592" fmla="*/ 5171936 w 7467600"/>
              <a:gd name="connsiteY592" fmla="*/ 1647613 h 6858000"/>
              <a:gd name="connsiteX593" fmla="*/ 5009948 w 7467600"/>
              <a:gd name="connsiteY593" fmla="*/ 1273619 h 6858000"/>
              <a:gd name="connsiteX594" fmla="*/ 655236 w 7467600"/>
              <a:gd name="connsiteY594" fmla="*/ 1268632 h 6858000"/>
              <a:gd name="connsiteX595" fmla="*/ 839521 w 7467600"/>
              <a:gd name="connsiteY595" fmla="*/ 1685315 h 6858000"/>
              <a:gd name="connsiteX596" fmla="*/ 1109416 w 7467600"/>
              <a:gd name="connsiteY596" fmla="*/ 2061663 h 6858000"/>
              <a:gd name="connsiteX597" fmla="*/ 1298300 w 7467600"/>
              <a:gd name="connsiteY597" fmla="*/ 2247742 h 6858000"/>
              <a:gd name="connsiteX598" fmla="*/ 1125871 w 7467600"/>
              <a:gd name="connsiteY598" fmla="*/ 1989513 h 6858000"/>
              <a:gd name="connsiteX599" fmla="*/ 981574 w 7467600"/>
              <a:gd name="connsiteY599" fmla="*/ 1783157 h 6858000"/>
              <a:gd name="connsiteX600" fmla="*/ 922198 w 7467600"/>
              <a:gd name="connsiteY600" fmla="*/ 1677437 h 6858000"/>
              <a:gd name="connsiteX601" fmla="*/ 869293 w 7467600"/>
              <a:gd name="connsiteY601" fmla="*/ 1583214 h 6858000"/>
              <a:gd name="connsiteX602" fmla="*/ 751431 w 7467600"/>
              <a:gd name="connsiteY602" fmla="*/ 1405731 h 6858000"/>
              <a:gd name="connsiteX603" fmla="*/ 655236 w 7467600"/>
              <a:gd name="connsiteY603" fmla="*/ 1268632 h 6858000"/>
              <a:gd name="connsiteX604" fmla="*/ 6516292 w 7467600"/>
              <a:gd name="connsiteY604" fmla="*/ 1263064 h 6858000"/>
              <a:gd name="connsiteX605" fmla="*/ 5736320 w 7467600"/>
              <a:gd name="connsiteY605" fmla="*/ 1501803 h 6858000"/>
              <a:gd name="connsiteX606" fmla="*/ 6516292 w 7467600"/>
              <a:gd name="connsiteY606" fmla="*/ 1263064 h 6858000"/>
              <a:gd name="connsiteX607" fmla="*/ 291466 w 7467600"/>
              <a:gd name="connsiteY607" fmla="*/ 1250369 h 6858000"/>
              <a:gd name="connsiteX608" fmla="*/ 323180 w 7467600"/>
              <a:gd name="connsiteY608" fmla="*/ 1435283 h 6858000"/>
              <a:gd name="connsiteX609" fmla="*/ 349381 w 7467600"/>
              <a:gd name="connsiteY609" fmla="*/ 1875041 h 6858000"/>
              <a:gd name="connsiteX610" fmla="*/ 374363 w 7467600"/>
              <a:gd name="connsiteY610" fmla="*/ 1506494 h 6858000"/>
              <a:gd name="connsiteX611" fmla="*/ 302168 w 7467600"/>
              <a:gd name="connsiteY611" fmla="*/ 1274495 h 6858000"/>
              <a:gd name="connsiteX612" fmla="*/ 291466 w 7467600"/>
              <a:gd name="connsiteY612" fmla="*/ 1250369 h 6858000"/>
              <a:gd name="connsiteX613" fmla="*/ 678222 w 7467600"/>
              <a:gd name="connsiteY613" fmla="*/ 1248670 h 6858000"/>
              <a:gd name="connsiteX614" fmla="*/ 775536 w 7467600"/>
              <a:gd name="connsiteY614" fmla="*/ 1388015 h 6858000"/>
              <a:gd name="connsiteX615" fmla="*/ 894529 w 7467600"/>
              <a:gd name="connsiteY615" fmla="*/ 1567739 h 6858000"/>
              <a:gd name="connsiteX616" fmla="*/ 948000 w 7467600"/>
              <a:gd name="connsiteY616" fmla="*/ 1663088 h 6858000"/>
              <a:gd name="connsiteX617" fmla="*/ 1006812 w 7467600"/>
              <a:gd name="connsiteY617" fmla="*/ 1767683 h 6858000"/>
              <a:gd name="connsiteX618" fmla="*/ 1149133 w 7467600"/>
              <a:gd name="connsiteY618" fmla="*/ 1971513 h 6858000"/>
              <a:gd name="connsiteX619" fmla="*/ 1333952 w 7467600"/>
              <a:gd name="connsiteY619" fmla="*/ 2251620 h 6858000"/>
              <a:gd name="connsiteX620" fmla="*/ 1337329 w 7467600"/>
              <a:gd name="connsiteY620" fmla="*/ 2258350 h 6858000"/>
              <a:gd name="connsiteX621" fmla="*/ 1014726 w 7467600"/>
              <a:gd name="connsiteY621" fmla="*/ 1615556 h 6858000"/>
              <a:gd name="connsiteX622" fmla="*/ 678222 w 7467600"/>
              <a:gd name="connsiteY622" fmla="*/ 1248670 h 6858000"/>
              <a:gd name="connsiteX623" fmla="*/ 6691602 w 7467600"/>
              <a:gd name="connsiteY623" fmla="*/ 1140573 h 6858000"/>
              <a:gd name="connsiteX624" fmla="*/ 6571100 w 7467600"/>
              <a:gd name="connsiteY624" fmla="*/ 1183662 h 6858000"/>
              <a:gd name="connsiteX625" fmla="*/ 6241687 w 7467600"/>
              <a:gd name="connsiteY625" fmla="*/ 1257600 h 6858000"/>
              <a:gd name="connsiteX626" fmla="*/ 5693009 w 7467600"/>
              <a:gd name="connsiteY626" fmla="*/ 1478256 h 6858000"/>
              <a:gd name="connsiteX627" fmla="*/ 6548420 w 7467600"/>
              <a:gd name="connsiteY627" fmla="*/ 1214599 h 6858000"/>
              <a:gd name="connsiteX628" fmla="*/ 6605473 w 7467600"/>
              <a:gd name="connsiteY628" fmla="*/ 1184686 h 6858000"/>
              <a:gd name="connsiteX629" fmla="*/ 6691602 w 7467600"/>
              <a:gd name="connsiteY629" fmla="*/ 1140573 h 6858000"/>
              <a:gd name="connsiteX630" fmla="*/ 4002475 w 7467600"/>
              <a:gd name="connsiteY630" fmla="*/ 1037802 h 6858000"/>
              <a:gd name="connsiteX631" fmla="*/ 4000324 w 7467600"/>
              <a:gd name="connsiteY631" fmla="*/ 1039362 h 6858000"/>
              <a:gd name="connsiteX632" fmla="*/ 4002862 w 7467600"/>
              <a:gd name="connsiteY632" fmla="*/ 1042866 h 6858000"/>
              <a:gd name="connsiteX633" fmla="*/ 4002475 w 7467600"/>
              <a:gd name="connsiteY633" fmla="*/ 1037802 h 6858000"/>
              <a:gd name="connsiteX634" fmla="*/ 506322 w 7467600"/>
              <a:gd name="connsiteY634" fmla="*/ 1020997 h 6858000"/>
              <a:gd name="connsiteX635" fmla="*/ 533068 w 7467600"/>
              <a:gd name="connsiteY635" fmla="*/ 1029409 h 6858000"/>
              <a:gd name="connsiteX636" fmla="*/ 1232525 w 7467600"/>
              <a:gd name="connsiteY636" fmla="*/ 1804675 h 6858000"/>
              <a:gd name="connsiteX637" fmla="*/ 1388858 w 7467600"/>
              <a:gd name="connsiteY637" fmla="*/ 2368011 h 6858000"/>
              <a:gd name="connsiteX638" fmla="*/ 1384098 w 7467600"/>
              <a:gd name="connsiteY638" fmla="*/ 2378125 h 6858000"/>
              <a:gd name="connsiteX639" fmla="*/ 1425393 w 7467600"/>
              <a:gd name="connsiteY639" fmla="*/ 2589124 h 6858000"/>
              <a:gd name="connsiteX640" fmla="*/ 1424001 w 7467600"/>
              <a:gd name="connsiteY640" fmla="*/ 2597541 h 6858000"/>
              <a:gd name="connsiteX641" fmla="*/ 2152729 w 7467600"/>
              <a:gd name="connsiteY641" fmla="*/ 2864487 h 6858000"/>
              <a:gd name="connsiteX642" fmla="*/ 2020609 w 7467600"/>
              <a:gd name="connsiteY642" fmla="*/ 2539671 h 6858000"/>
              <a:gd name="connsiteX643" fmla="*/ 2018920 w 7467600"/>
              <a:gd name="connsiteY643" fmla="*/ 2536309 h 6858000"/>
              <a:gd name="connsiteX644" fmla="*/ 1342441 w 7467600"/>
              <a:gd name="connsiteY644" fmla="*/ 1173017 h 6858000"/>
              <a:gd name="connsiteX645" fmla="*/ 1367925 w 7467600"/>
              <a:gd name="connsiteY645" fmla="*/ 1135648 h 6858000"/>
              <a:gd name="connsiteX646" fmla="*/ 1771401 w 7467600"/>
              <a:gd name="connsiteY646" fmla="*/ 1806673 h 6858000"/>
              <a:gd name="connsiteX647" fmla="*/ 1972385 w 7467600"/>
              <a:gd name="connsiteY647" fmla="*/ 2198735 h 6858000"/>
              <a:gd name="connsiteX648" fmla="*/ 2040892 w 7467600"/>
              <a:gd name="connsiteY648" fmla="*/ 2405205 h 6858000"/>
              <a:gd name="connsiteX649" fmla="*/ 2131689 w 7467600"/>
              <a:gd name="connsiteY649" fmla="*/ 1936926 h 6858000"/>
              <a:gd name="connsiteX650" fmla="*/ 2454820 w 7467600"/>
              <a:gd name="connsiteY650" fmla="*/ 1248808 h 6858000"/>
              <a:gd name="connsiteX651" fmla="*/ 2492512 w 7467600"/>
              <a:gd name="connsiteY651" fmla="*/ 1302920 h 6858000"/>
              <a:gd name="connsiteX652" fmla="*/ 2081216 w 7467600"/>
              <a:gd name="connsiteY652" fmla="*/ 2527513 h 6858000"/>
              <a:gd name="connsiteX653" fmla="*/ 2081211 w 7467600"/>
              <a:gd name="connsiteY653" fmla="*/ 2528916 h 6858000"/>
              <a:gd name="connsiteX654" fmla="*/ 2199067 w 7467600"/>
              <a:gd name="connsiteY654" fmla="*/ 2884061 h 6858000"/>
              <a:gd name="connsiteX655" fmla="*/ 3192586 w 7467600"/>
              <a:gd name="connsiteY655" fmla="*/ 3411496 h 6858000"/>
              <a:gd name="connsiteX656" fmla="*/ 3182620 w 7467600"/>
              <a:gd name="connsiteY656" fmla="*/ 3483279 h 6858000"/>
              <a:gd name="connsiteX657" fmla="*/ 2435119 w 7467600"/>
              <a:gd name="connsiteY657" fmla="*/ 3080173 h 6858000"/>
              <a:gd name="connsiteX658" fmla="*/ 2410152 w 7467600"/>
              <a:gd name="connsiteY658" fmla="*/ 3063751 h 6858000"/>
              <a:gd name="connsiteX659" fmla="*/ 2408099 w 7467600"/>
              <a:gd name="connsiteY659" fmla="*/ 3064403 h 6858000"/>
              <a:gd name="connsiteX660" fmla="*/ 2407218 w 7467600"/>
              <a:gd name="connsiteY660" fmla="*/ 3070324 h 6858000"/>
              <a:gd name="connsiteX661" fmla="*/ 2380138 w 7467600"/>
              <a:gd name="connsiteY661" fmla="*/ 3099341 h 6858000"/>
              <a:gd name="connsiteX662" fmla="*/ 1765923 w 7467600"/>
              <a:gd name="connsiteY662" fmla="*/ 3581043 h 6858000"/>
              <a:gd name="connsiteX663" fmla="*/ 1702258 w 7467600"/>
              <a:gd name="connsiteY663" fmla="*/ 3612286 h 6858000"/>
              <a:gd name="connsiteX664" fmla="*/ 1538370 w 7467600"/>
              <a:gd name="connsiteY664" fmla="*/ 3811804 h 6858000"/>
              <a:gd name="connsiteX665" fmla="*/ 542867 w 7467600"/>
              <a:gd name="connsiteY665" fmla="*/ 4944092 h 6858000"/>
              <a:gd name="connsiteX666" fmla="*/ 515800 w 7467600"/>
              <a:gd name="connsiteY666" fmla="*/ 4862180 h 6858000"/>
              <a:gd name="connsiteX667" fmla="*/ 909145 w 7467600"/>
              <a:gd name="connsiteY667" fmla="*/ 4199225 h 6858000"/>
              <a:gd name="connsiteX668" fmla="*/ 1214067 w 7467600"/>
              <a:gd name="connsiteY668" fmla="*/ 3908561 h 6858000"/>
              <a:gd name="connsiteX669" fmla="*/ 640967 w 7467600"/>
              <a:gd name="connsiteY669" fmla="*/ 4105601 h 6858000"/>
              <a:gd name="connsiteX670" fmla="*/ 112563 w 7467600"/>
              <a:gd name="connsiteY670" fmla="*/ 4396952 h 6858000"/>
              <a:gd name="connsiteX671" fmla="*/ 0 w 7467600"/>
              <a:gd name="connsiteY671" fmla="*/ 4466006 h 6858000"/>
              <a:gd name="connsiteX672" fmla="*/ 0 w 7467600"/>
              <a:gd name="connsiteY672" fmla="*/ 4233763 h 6858000"/>
              <a:gd name="connsiteX673" fmla="*/ 36881 w 7467600"/>
              <a:gd name="connsiteY673" fmla="*/ 4200118 h 6858000"/>
              <a:gd name="connsiteX674" fmla="*/ 910534 w 7467600"/>
              <a:gd name="connsiteY674" fmla="*/ 3629753 h 6858000"/>
              <a:gd name="connsiteX675" fmla="*/ 1578717 w 7467600"/>
              <a:gd name="connsiteY675" fmla="*/ 3575982 h 6858000"/>
              <a:gd name="connsiteX676" fmla="*/ 2338780 w 7467600"/>
              <a:gd name="connsiteY676" fmla="*/ 3033725 h 6858000"/>
              <a:gd name="connsiteX677" fmla="*/ 1807991 w 7467600"/>
              <a:gd name="connsiteY677" fmla="*/ 2807184 h 6858000"/>
              <a:gd name="connsiteX678" fmla="*/ 1416358 w 7467600"/>
              <a:gd name="connsiteY678" fmla="*/ 3112571 h 6858000"/>
              <a:gd name="connsiteX679" fmla="*/ 939066 w 7467600"/>
              <a:gd name="connsiteY679" fmla="*/ 3378798 h 6858000"/>
              <a:gd name="connsiteX680" fmla="*/ 115099 w 7467600"/>
              <a:gd name="connsiteY680" fmla="*/ 3607650 h 6858000"/>
              <a:gd name="connsiteX681" fmla="*/ 97284 w 7467600"/>
              <a:gd name="connsiteY681" fmla="*/ 3520393 h 6858000"/>
              <a:gd name="connsiteX682" fmla="*/ 922050 w 7467600"/>
              <a:gd name="connsiteY682" fmla="*/ 3074867 h 6858000"/>
              <a:gd name="connsiteX683" fmla="*/ 1405265 w 7467600"/>
              <a:gd name="connsiteY683" fmla="*/ 3016319 h 6858000"/>
              <a:gd name="connsiteX684" fmla="*/ 1407512 w 7467600"/>
              <a:gd name="connsiteY684" fmla="*/ 3018001 h 6858000"/>
              <a:gd name="connsiteX685" fmla="*/ 1726266 w 7467600"/>
              <a:gd name="connsiteY685" fmla="*/ 2777274 h 6858000"/>
              <a:gd name="connsiteX686" fmla="*/ 625390 w 7467600"/>
              <a:gd name="connsiteY686" fmla="*/ 2514541 h 6858000"/>
              <a:gd name="connsiteX687" fmla="*/ 619799 w 7467600"/>
              <a:gd name="connsiteY687" fmla="*/ 2527180 h 6858000"/>
              <a:gd name="connsiteX688" fmla="*/ 310030 w 7467600"/>
              <a:gd name="connsiteY688" fmla="*/ 2771818 h 6858000"/>
              <a:gd name="connsiteX689" fmla="*/ 173877 w 7467600"/>
              <a:gd name="connsiteY689" fmla="*/ 2937056 h 6858000"/>
              <a:gd name="connsiteX690" fmla="*/ 77889 w 7467600"/>
              <a:gd name="connsiteY690" fmla="*/ 3138440 h 6858000"/>
              <a:gd name="connsiteX691" fmla="*/ 0 w 7467600"/>
              <a:gd name="connsiteY691" fmla="*/ 3271395 h 6858000"/>
              <a:gd name="connsiteX692" fmla="*/ 0 w 7467600"/>
              <a:gd name="connsiteY692" fmla="*/ 3153002 h 6858000"/>
              <a:gd name="connsiteX693" fmla="*/ 2386 w 7467600"/>
              <a:gd name="connsiteY693" fmla="*/ 3149203 h 6858000"/>
              <a:gd name="connsiteX694" fmla="*/ 89753 w 7467600"/>
              <a:gd name="connsiteY694" fmla="*/ 2987702 h 6858000"/>
              <a:gd name="connsiteX695" fmla="*/ 76869 w 7467600"/>
              <a:gd name="connsiteY695" fmla="*/ 3005404 h 6858000"/>
              <a:gd name="connsiteX696" fmla="*/ 32049 w 7467600"/>
              <a:gd name="connsiteY696" fmla="*/ 3065814 h 6858000"/>
              <a:gd name="connsiteX697" fmla="*/ 0 w 7467600"/>
              <a:gd name="connsiteY697" fmla="*/ 3108744 h 6858000"/>
              <a:gd name="connsiteX698" fmla="*/ 0 w 7467600"/>
              <a:gd name="connsiteY698" fmla="*/ 3058059 h 6858000"/>
              <a:gd name="connsiteX699" fmla="*/ 7610 w 7467600"/>
              <a:gd name="connsiteY699" fmla="*/ 3047889 h 6858000"/>
              <a:gd name="connsiteX700" fmla="*/ 52419 w 7467600"/>
              <a:gd name="connsiteY700" fmla="*/ 2987479 h 6858000"/>
              <a:gd name="connsiteX701" fmla="*/ 59142 w 7467600"/>
              <a:gd name="connsiteY701" fmla="*/ 2978488 h 6858000"/>
              <a:gd name="connsiteX702" fmla="*/ 0 w 7467600"/>
              <a:gd name="connsiteY702" fmla="*/ 3015334 h 6858000"/>
              <a:gd name="connsiteX703" fmla="*/ 0 w 7467600"/>
              <a:gd name="connsiteY703" fmla="*/ 2914286 h 6858000"/>
              <a:gd name="connsiteX704" fmla="*/ 36383 w 7467600"/>
              <a:gd name="connsiteY704" fmla="*/ 2901128 h 6858000"/>
              <a:gd name="connsiteX705" fmla="*/ 156329 w 7467600"/>
              <a:gd name="connsiteY705" fmla="*/ 2840533 h 6858000"/>
              <a:gd name="connsiteX706" fmla="*/ 358355 w 7467600"/>
              <a:gd name="connsiteY706" fmla="*/ 2620471 h 6858000"/>
              <a:gd name="connsiteX707" fmla="*/ 510577 w 7467600"/>
              <a:gd name="connsiteY707" fmla="*/ 2501244 h 6858000"/>
              <a:gd name="connsiteX708" fmla="*/ 211967 w 7467600"/>
              <a:gd name="connsiteY708" fmla="*/ 2479171 h 6858000"/>
              <a:gd name="connsiteX709" fmla="*/ 0 w 7467600"/>
              <a:gd name="connsiteY709" fmla="*/ 2476398 h 6858000"/>
              <a:gd name="connsiteX710" fmla="*/ 0 w 7467600"/>
              <a:gd name="connsiteY710" fmla="*/ 2389189 h 6858000"/>
              <a:gd name="connsiteX711" fmla="*/ 103062 w 7467600"/>
              <a:gd name="connsiteY711" fmla="*/ 2389518 h 6858000"/>
              <a:gd name="connsiteX712" fmla="*/ 510734 w 7467600"/>
              <a:gd name="connsiteY712" fmla="*/ 2416201 h 6858000"/>
              <a:gd name="connsiteX713" fmla="*/ 279257 w 7467600"/>
              <a:gd name="connsiteY713" fmla="*/ 2092102 h 6858000"/>
              <a:gd name="connsiteX714" fmla="*/ 65265 w 7467600"/>
              <a:gd name="connsiteY714" fmla="*/ 2006049 h 6858000"/>
              <a:gd name="connsiteX715" fmla="*/ 0 w 7467600"/>
              <a:gd name="connsiteY715" fmla="*/ 1982532 h 6858000"/>
              <a:gd name="connsiteX716" fmla="*/ 0 w 7467600"/>
              <a:gd name="connsiteY716" fmla="*/ 1912789 h 6858000"/>
              <a:gd name="connsiteX717" fmla="*/ 97460 w 7467600"/>
              <a:gd name="connsiteY717" fmla="*/ 1953725 h 6858000"/>
              <a:gd name="connsiteX718" fmla="*/ 221272 w 7467600"/>
              <a:gd name="connsiteY718" fmla="*/ 1980766 h 6858000"/>
              <a:gd name="connsiteX719" fmla="*/ 116765 w 7467600"/>
              <a:gd name="connsiteY719" fmla="*/ 1911033 h 6858000"/>
              <a:gd name="connsiteX720" fmla="*/ 16405 w 7467600"/>
              <a:gd name="connsiteY720" fmla="*/ 1803412 h 6858000"/>
              <a:gd name="connsiteX721" fmla="*/ 0 w 7467600"/>
              <a:gd name="connsiteY721" fmla="*/ 1784777 h 6858000"/>
              <a:gd name="connsiteX722" fmla="*/ 0 w 7467600"/>
              <a:gd name="connsiteY722" fmla="*/ 1740082 h 6858000"/>
              <a:gd name="connsiteX723" fmla="*/ 39394 w 7467600"/>
              <a:gd name="connsiteY723" fmla="*/ 1784856 h 6858000"/>
              <a:gd name="connsiteX724" fmla="*/ 135813 w 7467600"/>
              <a:gd name="connsiteY724" fmla="*/ 1888838 h 6858000"/>
              <a:gd name="connsiteX725" fmla="*/ 242575 w 7467600"/>
              <a:gd name="connsiteY725" fmla="*/ 1958841 h 6858000"/>
              <a:gd name="connsiteX726" fmla="*/ 82197 w 7467600"/>
              <a:gd name="connsiteY726" fmla="*/ 1754826 h 6858000"/>
              <a:gd name="connsiteX727" fmla="*/ 0 w 7467600"/>
              <a:gd name="connsiteY727" fmla="*/ 1679650 h 6858000"/>
              <a:gd name="connsiteX728" fmla="*/ 0 w 7467600"/>
              <a:gd name="connsiteY728" fmla="*/ 1602463 h 6858000"/>
              <a:gd name="connsiteX729" fmla="*/ 84689 w 7467600"/>
              <a:gd name="connsiteY729" fmla="*/ 1677442 h 6858000"/>
              <a:gd name="connsiteX730" fmla="*/ 298437 w 7467600"/>
              <a:gd name="connsiteY730" fmla="*/ 1968019 h 6858000"/>
              <a:gd name="connsiteX731" fmla="*/ 227269 w 7467600"/>
              <a:gd name="connsiteY731" fmla="*/ 1114064 h 6858000"/>
              <a:gd name="connsiteX732" fmla="*/ 248003 w 7467600"/>
              <a:gd name="connsiteY732" fmla="*/ 1089613 h 6858000"/>
              <a:gd name="connsiteX733" fmla="*/ 427020 w 7467600"/>
              <a:gd name="connsiteY733" fmla="*/ 1619803 h 6858000"/>
              <a:gd name="connsiteX734" fmla="*/ 340345 w 7467600"/>
              <a:gd name="connsiteY734" fmla="*/ 2027739 h 6858000"/>
              <a:gd name="connsiteX735" fmla="*/ 360865 w 7467600"/>
              <a:gd name="connsiteY735" fmla="*/ 2044827 h 6858000"/>
              <a:gd name="connsiteX736" fmla="*/ 560414 w 7467600"/>
              <a:gd name="connsiteY736" fmla="*/ 2421457 h 6858000"/>
              <a:gd name="connsiteX737" fmla="*/ 1359703 w 7467600"/>
              <a:gd name="connsiteY737" fmla="*/ 2578554 h 6858000"/>
              <a:gd name="connsiteX738" fmla="*/ 1359422 w 7467600"/>
              <a:gd name="connsiteY738" fmla="*/ 2577994 h 6858000"/>
              <a:gd name="connsiteX739" fmla="*/ 828701 w 7467600"/>
              <a:gd name="connsiteY739" fmla="*/ 1839520 h 6858000"/>
              <a:gd name="connsiteX740" fmla="*/ 494427 w 7467600"/>
              <a:gd name="connsiteY740" fmla="*/ 1092333 h 6858000"/>
              <a:gd name="connsiteX741" fmla="*/ 506322 w 7467600"/>
              <a:gd name="connsiteY741" fmla="*/ 1020997 h 6858000"/>
              <a:gd name="connsiteX742" fmla="*/ 4570198 w 7467600"/>
              <a:gd name="connsiteY742" fmla="*/ 978081 h 6858000"/>
              <a:gd name="connsiteX743" fmla="*/ 4523691 w 7467600"/>
              <a:gd name="connsiteY743" fmla="*/ 1127776 h 6858000"/>
              <a:gd name="connsiteX744" fmla="*/ 4509875 w 7467600"/>
              <a:gd name="connsiteY744" fmla="*/ 1167552 h 6858000"/>
              <a:gd name="connsiteX745" fmla="*/ 4478168 w 7467600"/>
              <a:gd name="connsiteY745" fmla="*/ 1260735 h 6858000"/>
              <a:gd name="connsiteX746" fmla="*/ 4409309 w 7467600"/>
              <a:gd name="connsiteY746" fmla="*/ 1666996 h 6858000"/>
              <a:gd name="connsiteX747" fmla="*/ 4370031 w 7467600"/>
              <a:gd name="connsiteY747" fmla="*/ 1955666 h 6858000"/>
              <a:gd name="connsiteX748" fmla="*/ 4570198 w 7467600"/>
              <a:gd name="connsiteY748" fmla="*/ 978081 h 6858000"/>
              <a:gd name="connsiteX749" fmla="*/ 4557898 w 7467600"/>
              <a:gd name="connsiteY749" fmla="*/ 900011 h 6858000"/>
              <a:gd name="connsiteX750" fmla="*/ 4344840 w 7467600"/>
              <a:gd name="connsiteY750" fmla="*/ 1922038 h 6858000"/>
              <a:gd name="connsiteX751" fmla="*/ 4378710 w 7467600"/>
              <a:gd name="connsiteY751" fmla="*/ 1665516 h 6858000"/>
              <a:gd name="connsiteX752" fmla="*/ 4448798 w 7467600"/>
              <a:gd name="connsiteY752" fmla="*/ 1253024 h 6858000"/>
              <a:gd name="connsiteX753" fmla="*/ 4480315 w 7467600"/>
              <a:gd name="connsiteY753" fmla="*/ 1158454 h 6858000"/>
              <a:gd name="connsiteX754" fmla="*/ 4494133 w 7467600"/>
              <a:gd name="connsiteY754" fmla="*/ 1118676 h 6858000"/>
              <a:gd name="connsiteX755" fmla="*/ 4557898 w 7467600"/>
              <a:gd name="connsiteY755" fmla="*/ 900011 h 6858000"/>
              <a:gd name="connsiteX756" fmla="*/ 5870151 w 7467600"/>
              <a:gd name="connsiteY756" fmla="*/ 898890 h 6858000"/>
              <a:gd name="connsiteX757" fmla="*/ 5861335 w 7467600"/>
              <a:gd name="connsiteY757" fmla="*/ 899177 h 6858000"/>
              <a:gd name="connsiteX758" fmla="*/ 5843702 w 7467600"/>
              <a:gd name="connsiteY758" fmla="*/ 899748 h 6858000"/>
              <a:gd name="connsiteX759" fmla="*/ 5651107 w 7467600"/>
              <a:gd name="connsiteY759" fmla="*/ 920306 h 6858000"/>
              <a:gd name="connsiteX760" fmla="*/ 5459407 w 7467600"/>
              <a:gd name="connsiteY760" fmla="*/ 940975 h 6858000"/>
              <a:gd name="connsiteX761" fmla="*/ 5374846 w 7467600"/>
              <a:gd name="connsiteY761" fmla="*/ 941988 h 6858000"/>
              <a:gd name="connsiteX762" fmla="*/ 5256105 w 7467600"/>
              <a:gd name="connsiteY762" fmla="*/ 945632 h 6858000"/>
              <a:gd name="connsiteX763" fmla="*/ 5107071 w 7467600"/>
              <a:gd name="connsiteY763" fmla="*/ 969720 h 6858000"/>
              <a:gd name="connsiteX764" fmla="*/ 4998681 w 7467600"/>
              <a:gd name="connsiteY764" fmla="*/ 988771 h 6858000"/>
              <a:gd name="connsiteX765" fmla="*/ 5870151 w 7467600"/>
              <a:gd name="connsiteY765" fmla="*/ 898890 h 6858000"/>
              <a:gd name="connsiteX766" fmla="*/ 5504425 w 7467600"/>
              <a:gd name="connsiteY766" fmla="*/ 848067 h 6858000"/>
              <a:gd name="connsiteX767" fmla="*/ 4968849 w 7467600"/>
              <a:gd name="connsiteY767" fmla="*/ 962318 h 6858000"/>
              <a:gd name="connsiteX768" fmla="*/ 5104039 w 7467600"/>
              <a:gd name="connsiteY768" fmla="*/ 940634 h 6858000"/>
              <a:gd name="connsiteX769" fmla="*/ 5256311 w 7467600"/>
              <a:gd name="connsiteY769" fmla="*/ 916490 h 6858000"/>
              <a:gd name="connsiteX770" fmla="*/ 5377381 w 7467600"/>
              <a:gd name="connsiteY770" fmla="*/ 912671 h 6858000"/>
              <a:gd name="connsiteX771" fmla="*/ 5460148 w 7467600"/>
              <a:gd name="connsiteY771" fmla="*/ 911442 h 6858000"/>
              <a:gd name="connsiteX772" fmla="*/ 5648971 w 7467600"/>
              <a:gd name="connsiteY772" fmla="*/ 891331 h 6858000"/>
              <a:gd name="connsiteX773" fmla="*/ 5844807 w 7467600"/>
              <a:gd name="connsiteY773" fmla="*/ 870718 h 6858000"/>
              <a:gd name="connsiteX774" fmla="*/ 5862975 w 7467600"/>
              <a:gd name="connsiteY774" fmla="*/ 869756 h 6858000"/>
              <a:gd name="connsiteX775" fmla="*/ 5920887 w 7467600"/>
              <a:gd name="connsiteY775" fmla="*/ 865929 h 6858000"/>
              <a:gd name="connsiteX776" fmla="*/ 5504425 w 7467600"/>
              <a:gd name="connsiteY776" fmla="*/ 848067 h 6858000"/>
              <a:gd name="connsiteX777" fmla="*/ 3607114 w 7467600"/>
              <a:gd name="connsiteY777" fmla="*/ 467441 h 6858000"/>
              <a:gd name="connsiteX778" fmla="*/ 3296242 w 7467600"/>
              <a:gd name="connsiteY778" fmla="*/ 807991 h 6858000"/>
              <a:gd name="connsiteX779" fmla="*/ 3174674 w 7467600"/>
              <a:gd name="connsiteY779" fmla="*/ 919759 h 6858000"/>
              <a:gd name="connsiteX780" fmla="*/ 3042978 w 7467600"/>
              <a:gd name="connsiteY780" fmla="*/ 1054894 h 6858000"/>
              <a:gd name="connsiteX781" fmla="*/ 2968914 w 7467600"/>
              <a:gd name="connsiteY781" fmla="*/ 1133756 h 6858000"/>
              <a:gd name="connsiteX782" fmla="*/ 3103823 w 7467600"/>
              <a:gd name="connsiteY782" fmla="*/ 1026814 h 6858000"/>
              <a:gd name="connsiteX783" fmla="*/ 3607114 w 7467600"/>
              <a:gd name="connsiteY783" fmla="*/ 467441 h 6858000"/>
              <a:gd name="connsiteX784" fmla="*/ 3744487 w 7467600"/>
              <a:gd name="connsiteY784" fmla="*/ 383136 h 6858000"/>
              <a:gd name="connsiteX785" fmla="*/ 3970213 w 7467600"/>
              <a:gd name="connsiteY785" fmla="*/ 995559 h 6858000"/>
              <a:gd name="connsiteX786" fmla="*/ 3744487 w 7467600"/>
              <a:gd name="connsiteY786" fmla="*/ 383136 h 6858000"/>
              <a:gd name="connsiteX787" fmla="*/ 3624562 w 7467600"/>
              <a:gd name="connsiteY787" fmla="*/ 367041 h 6858000"/>
              <a:gd name="connsiteX788" fmla="*/ 3489712 w 7467600"/>
              <a:gd name="connsiteY788" fmla="*/ 485386 h 6858000"/>
              <a:gd name="connsiteX789" fmla="*/ 3182994 w 7467600"/>
              <a:gd name="connsiteY789" fmla="*/ 828265 h 6858000"/>
              <a:gd name="connsiteX790" fmla="*/ 2892114 w 7467600"/>
              <a:gd name="connsiteY790" fmla="*/ 1172635 h 6858000"/>
              <a:gd name="connsiteX791" fmla="*/ 3021459 w 7467600"/>
              <a:gd name="connsiteY791" fmla="*/ 1035385 h 6858000"/>
              <a:gd name="connsiteX792" fmla="*/ 3153873 w 7467600"/>
              <a:gd name="connsiteY792" fmla="*/ 898971 h 6858000"/>
              <a:gd name="connsiteX793" fmla="*/ 3276511 w 7467600"/>
              <a:gd name="connsiteY793" fmla="*/ 786423 h 6858000"/>
              <a:gd name="connsiteX794" fmla="*/ 3584154 w 7467600"/>
              <a:gd name="connsiteY794" fmla="*/ 448218 h 6858000"/>
              <a:gd name="connsiteX795" fmla="*/ 3624562 w 7467600"/>
              <a:gd name="connsiteY795" fmla="*/ 367041 h 6858000"/>
              <a:gd name="connsiteX796" fmla="*/ 3766672 w 7467600"/>
              <a:gd name="connsiteY796" fmla="*/ 359429 h 6858000"/>
              <a:gd name="connsiteX797" fmla="*/ 3996338 w 7467600"/>
              <a:gd name="connsiteY797" fmla="*/ 968237 h 6858000"/>
              <a:gd name="connsiteX798" fmla="*/ 3766672 w 7467600"/>
              <a:gd name="connsiteY798" fmla="*/ 359429 h 6858000"/>
              <a:gd name="connsiteX799" fmla="*/ 5805386 w 7467600"/>
              <a:gd name="connsiteY799" fmla="*/ 239240 h 6858000"/>
              <a:gd name="connsiteX800" fmla="*/ 5736947 w 7467600"/>
              <a:gd name="connsiteY800" fmla="*/ 261367 h 6858000"/>
              <a:gd name="connsiteX801" fmla="*/ 5427012 w 7467600"/>
              <a:gd name="connsiteY801" fmla="*/ 311272 h 6858000"/>
              <a:gd name="connsiteX802" fmla="*/ 5147818 w 7467600"/>
              <a:gd name="connsiteY802" fmla="*/ 322112 h 6858000"/>
              <a:gd name="connsiteX803" fmla="*/ 5060854 w 7467600"/>
              <a:gd name="connsiteY803" fmla="*/ 311882 h 6858000"/>
              <a:gd name="connsiteX804" fmla="*/ 4945989 w 7467600"/>
              <a:gd name="connsiteY804" fmla="*/ 300516 h 6858000"/>
              <a:gd name="connsiteX805" fmla="*/ 5410479 w 7467600"/>
              <a:gd name="connsiteY805" fmla="*/ 348434 h 6858000"/>
              <a:gd name="connsiteX806" fmla="*/ 5805386 w 7467600"/>
              <a:gd name="connsiteY806" fmla="*/ 239240 h 6858000"/>
              <a:gd name="connsiteX807" fmla="*/ 5905192 w 7467600"/>
              <a:gd name="connsiteY807" fmla="*/ 163079 h 6858000"/>
              <a:gd name="connsiteX808" fmla="*/ 5865655 w 7467600"/>
              <a:gd name="connsiteY808" fmla="*/ 171901 h 6858000"/>
              <a:gd name="connsiteX809" fmla="*/ 5259740 w 7467600"/>
              <a:gd name="connsiteY809" fmla="*/ 257013 h 6858000"/>
              <a:gd name="connsiteX810" fmla="*/ 5208466 w 7467600"/>
              <a:gd name="connsiteY810" fmla="*/ 257550 h 6858000"/>
              <a:gd name="connsiteX811" fmla="*/ 4980204 w 7467600"/>
              <a:gd name="connsiteY811" fmla="*/ 271903 h 6858000"/>
              <a:gd name="connsiteX812" fmla="*/ 5068068 w 7467600"/>
              <a:gd name="connsiteY812" fmla="*/ 282244 h 6858000"/>
              <a:gd name="connsiteX813" fmla="*/ 5153231 w 7467600"/>
              <a:gd name="connsiteY813" fmla="*/ 292240 h 6858000"/>
              <a:gd name="connsiteX814" fmla="*/ 5426491 w 7467600"/>
              <a:gd name="connsiteY814" fmla="*/ 281128 h 6858000"/>
              <a:gd name="connsiteX815" fmla="*/ 5731212 w 7467600"/>
              <a:gd name="connsiteY815" fmla="*/ 231951 h 6858000"/>
              <a:gd name="connsiteX816" fmla="*/ 5905192 w 7467600"/>
              <a:gd name="connsiteY816" fmla="*/ 163079 h 6858000"/>
              <a:gd name="connsiteX817" fmla="*/ 5944437 w 7467600"/>
              <a:gd name="connsiteY817" fmla="*/ 113829 h 6858000"/>
              <a:gd name="connsiteX818" fmla="*/ 5825032 w 7467600"/>
              <a:gd name="connsiteY818" fmla="*/ 146405 h 6858000"/>
              <a:gd name="connsiteX819" fmla="*/ 4955599 w 7467600"/>
              <a:gd name="connsiteY819" fmla="*/ 247008 h 6858000"/>
              <a:gd name="connsiteX820" fmla="*/ 5210104 w 7467600"/>
              <a:gd name="connsiteY820" fmla="*/ 228123 h 6858000"/>
              <a:gd name="connsiteX821" fmla="*/ 5261015 w 7467600"/>
              <a:gd name="connsiteY821" fmla="*/ 227087 h 6858000"/>
              <a:gd name="connsiteX822" fmla="*/ 5861181 w 7467600"/>
              <a:gd name="connsiteY822" fmla="*/ 143093 h 6858000"/>
              <a:gd name="connsiteX823" fmla="*/ 5961252 w 7467600"/>
              <a:gd name="connsiteY823" fmla="*/ 114820 h 6858000"/>
              <a:gd name="connsiteX824" fmla="*/ 5944437 w 7467600"/>
              <a:gd name="connsiteY824" fmla="*/ 113829 h 6858000"/>
              <a:gd name="connsiteX825" fmla="*/ 3882765 w 7467600"/>
              <a:gd name="connsiteY825" fmla="*/ 0 h 6858000"/>
              <a:gd name="connsiteX826" fmla="*/ 3995099 w 7467600"/>
              <a:gd name="connsiteY826" fmla="*/ 0 h 6858000"/>
              <a:gd name="connsiteX827" fmla="*/ 4163818 w 7467600"/>
              <a:gd name="connsiteY827" fmla="*/ 234104 h 6858000"/>
              <a:gd name="connsiteX828" fmla="*/ 4172099 w 7467600"/>
              <a:gd name="connsiteY828" fmla="*/ 234207 h 6858000"/>
              <a:gd name="connsiteX829" fmla="*/ 4784282 w 7467600"/>
              <a:gd name="connsiteY829" fmla="*/ 276561 h 6858000"/>
              <a:gd name="connsiteX830" fmla="*/ 4801687 w 7467600"/>
              <a:gd name="connsiteY830" fmla="*/ 267764 h 6858000"/>
              <a:gd name="connsiteX831" fmla="*/ 6082788 w 7467600"/>
              <a:gd name="connsiteY831" fmla="*/ 64119 h 6858000"/>
              <a:gd name="connsiteX832" fmla="*/ 6099442 w 7467600"/>
              <a:gd name="connsiteY832" fmla="*/ 82568 h 6858000"/>
              <a:gd name="connsiteX833" fmla="*/ 4804137 w 7467600"/>
              <a:gd name="connsiteY833" fmla="*/ 320931 h 6858000"/>
              <a:gd name="connsiteX834" fmla="*/ 4227047 w 7467600"/>
              <a:gd name="connsiteY834" fmla="*/ 313415 h 6858000"/>
              <a:gd name="connsiteX835" fmla="*/ 4346041 w 7467600"/>
              <a:gd name="connsiteY835" fmla="*/ 456086 h 6858000"/>
              <a:gd name="connsiteX836" fmla="*/ 4870967 w 7467600"/>
              <a:gd name="connsiteY836" fmla="*/ 963061 h 6858000"/>
              <a:gd name="connsiteX837" fmla="*/ 4889647 w 7467600"/>
              <a:gd name="connsiteY837" fmla="*/ 957147 h 6858000"/>
              <a:gd name="connsiteX838" fmla="*/ 5422504 w 7467600"/>
              <a:gd name="connsiteY838" fmla="*/ 805191 h 6858000"/>
              <a:gd name="connsiteX839" fmla="*/ 6087656 w 7467600"/>
              <a:gd name="connsiteY839" fmla="*/ 826703 h 6858000"/>
              <a:gd name="connsiteX840" fmla="*/ 6058717 w 7467600"/>
              <a:gd name="connsiteY840" fmla="*/ 865992 h 6858000"/>
              <a:gd name="connsiteX841" fmla="*/ 4974153 w 7467600"/>
              <a:gd name="connsiteY841" fmla="*/ 1045456 h 6858000"/>
              <a:gd name="connsiteX842" fmla="*/ 5627835 w 7467600"/>
              <a:gd name="connsiteY842" fmla="*/ 1472077 h 6858000"/>
              <a:gd name="connsiteX843" fmla="*/ 5629817 w 7467600"/>
              <a:gd name="connsiteY843" fmla="*/ 1471412 h 6858000"/>
              <a:gd name="connsiteX844" fmla="*/ 5634124 w 7467600"/>
              <a:gd name="connsiteY844" fmla="*/ 1470572 h 6858000"/>
              <a:gd name="connsiteX845" fmla="*/ 5755832 w 7467600"/>
              <a:gd name="connsiteY845" fmla="*/ 1383886 h 6858000"/>
              <a:gd name="connsiteX846" fmla="*/ 6014186 w 7467600"/>
              <a:gd name="connsiteY846" fmla="*/ 1279799 h 6858000"/>
              <a:gd name="connsiteX847" fmla="*/ 6901619 w 7467600"/>
              <a:gd name="connsiteY847" fmla="*/ 1047874 h 6858000"/>
              <a:gd name="connsiteX848" fmla="*/ 6931566 w 7467600"/>
              <a:gd name="connsiteY848" fmla="*/ 1062034 h 6858000"/>
              <a:gd name="connsiteX849" fmla="*/ 5790982 w 7467600"/>
              <a:gd name="connsiteY849" fmla="*/ 1561380 h 6858000"/>
              <a:gd name="connsiteX850" fmla="*/ 6188971 w 7467600"/>
              <a:gd name="connsiteY850" fmla="*/ 1755168 h 6858000"/>
              <a:gd name="connsiteX851" fmla="*/ 6202446 w 7467600"/>
              <a:gd name="connsiteY851" fmla="*/ 1752268 h 6858000"/>
              <a:gd name="connsiteX852" fmla="*/ 7179560 w 7467600"/>
              <a:gd name="connsiteY852" fmla="*/ 1467551 h 6858000"/>
              <a:gd name="connsiteX853" fmla="*/ 7158730 w 7467600"/>
              <a:gd name="connsiteY853" fmla="*/ 1507835 h 6858000"/>
              <a:gd name="connsiteX854" fmla="*/ 6326959 w 7467600"/>
              <a:gd name="connsiteY854" fmla="*/ 1817686 h 6858000"/>
              <a:gd name="connsiteX855" fmla="*/ 6537433 w 7467600"/>
              <a:gd name="connsiteY855" fmla="*/ 1907790 h 6858000"/>
              <a:gd name="connsiteX856" fmla="*/ 6550221 w 7467600"/>
              <a:gd name="connsiteY856" fmla="*/ 1910729 h 6858000"/>
              <a:gd name="connsiteX857" fmla="*/ 6964438 w 7467600"/>
              <a:gd name="connsiteY857" fmla="*/ 2209505 h 6858000"/>
              <a:gd name="connsiteX858" fmla="*/ 7367862 w 7467600"/>
              <a:gd name="connsiteY858" fmla="*/ 2806833 h 6858000"/>
              <a:gd name="connsiteX859" fmla="*/ 7364329 w 7467600"/>
              <a:gd name="connsiteY859" fmla="*/ 2826907 h 6858000"/>
              <a:gd name="connsiteX860" fmla="*/ 7290545 w 7467600"/>
              <a:gd name="connsiteY860" fmla="*/ 2850663 h 6858000"/>
              <a:gd name="connsiteX861" fmla="*/ 6472036 w 7467600"/>
              <a:gd name="connsiteY861" fmla="*/ 1959003 h 6858000"/>
              <a:gd name="connsiteX862" fmla="*/ 5792897 w 7467600"/>
              <a:gd name="connsiteY862" fmla="*/ 1647747 h 6858000"/>
              <a:gd name="connsiteX863" fmla="*/ 5842751 w 7467600"/>
              <a:gd name="connsiteY863" fmla="*/ 1816112 h 6858000"/>
              <a:gd name="connsiteX864" fmla="*/ 5847424 w 7467600"/>
              <a:gd name="connsiteY864" fmla="*/ 1815776 h 6858000"/>
              <a:gd name="connsiteX865" fmla="*/ 6399821 w 7467600"/>
              <a:gd name="connsiteY865" fmla="*/ 2344799 h 6858000"/>
              <a:gd name="connsiteX866" fmla="*/ 6323232 w 7467600"/>
              <a:gd name="connsiteY866" fmla="*/ 2389634 h 6858000"/>
              <a:gd name="connsiteX867" fmla="*/ 5942958 w 7467600"/>
              <a:gd name="connsiteY867" fmla="*/ 2077708 h 6858000"/>
              <a:gd name="connsiteX868" fmla="*/ 5921559 w 7467600"/>
              <a:gd name="connsiteY868" fmla="*/ 2378596 h 6858000"/>
              <a:gd name="connsiteX869" fmla="*/ 5817651 w 7467600"/>
              <a:gd name="connsiteY869" fmla="*/ 3023919 h 6858000"/>
              <a:gd name="connsiteX870" fmla="*/ 5729634 w 7467600"/>
              <a:gd name="connsiteY870" fmla="*/ 3051849 h 6858000"/>
              <a:gd name="connsiteX871" fmla="*/ 5611018 w 7467600"/>
              <a:gd name="connsiteY871" fmla="*/ 2316769 h 6858000"/>
              <a:gd name="connsiteX872" fmla="*/ 5687608 w 7467600"/>
              <a:gd name="connsiteY872" fmla="*/ 2039972 h 6858000"/>
              <a:gd name="connsiteX873" fmla="*/ 5657554 w 7467600"/>
              <a:gd name="connsiteY873" fmla="*/ 1576445 h 6858000"/>
              <a:gd name="connsiteX874" fmla="*/ 5150475 w 7467600"/>
              <a:gd name="connsiteY874" fmla="*/ 1274012 h 6858000"/>
              <a:gd name="connsiteX875" fmla="*/ 5349142 w 7467600"/>
              <a:gd name="connsiteY875" fmla="*/ 2204405 h 6858000"/>
              <a:gd name="connsiteX876" fmla="*/ 5262214 w 7467600"/>
              <a:gd name="connsiteY876" fmla="*/ 2233836 h 6858000"/>
              <a:gd name="connsiteX877" fmla="*/ 4981539 w 7467600"/>
              <a:gd name="connsiteY877" fmla="*/ 1542201 h 6858000"/>
              <a:gd name="connsiteX878" fmla="*/ 4958461 w 7467600"/>
              <a:gd name="connsiteY878" fmla="*/ 1136957 h 6858000"/>
              <a:gd name="connsiteX879" fmla="*/ 4655015 w 7467600"/>
              <a:gd name="connsiteY879" fmla="*/ 891426 h 6858000"/>
              <a:gd name="connsiteX880" fmla="*/ 4348002 w 7467600"/>
              <a:gd name="connsiteY880" fmla="*/ 2205895 h 6858000"/>
              <a:gd name="connsiteX881" fmla="*/ 4262250 w 7467600"/>
              <a:gd name="connsiteY881" fmla="*/ 2219972 h 6858000"/>
              <a:gd name="connsiteX882" fmla="*/ 4550611 w 7467600"/>
              <a:gd name="connsiteY882" fmla="*/ 817540 h 6858000"/>
              <a:gd name="connsiteX883" fmla="*/ 4564418 w 7467600"/>
              <a:gd name="connsiteY883" fmla="*/ 808293 h 6858000"/>
              <a:gd name="connsiteX884" fmla="*/ 4266388 w 7467600"/>
              <a:gd name="connsiteY884" fmla="*/ 500083 h 6858000"/>
              <a:gd name="connsiteX885" fmla="*/ 4032842 w 7467600"/>
              <a:gd name="connsiteY885" fmla="*/ 211809 h 6858000"/>
              <a:gd name="connsiteX886" fmla="*/ 3882765 w 7467600"/>
              <a:gd name="connsiteY886" fmla="*/ 0 h 6858000"/>
              <a:gd name="connsiteX887" fmla="*/ 3721337 w 7467600"/>
              <a:gd name="connsiteY887" fmla="*/ 0 h 6858000"/>
              <a:gd name="connsiteX888" fmla="*/ 3797544 w 7467600"/>
              <a:gd name="connsiteY888" fmla="*/ 0 h 6858000"/>
              <a:gd name="connsiteX889" fmla="*/ 3775734 w 7467600"/>
              <a:gd name="connsiteY889" fmla="*/ 95131 h 6858000"/>
              <a:gd name="connsiteX890" fmla="*/ 3724807 w 7467600"/>
              <a:gd name="connsiteY890" fmla="*/ 272257 h 6858000"/>
              <a:gd name="connsiteX891" fmla="*/ 3726844 w 7467600"/>
              <a:gd name="connsiteY891" fmla="*/ 282988 h 6858000"/>
              <a:gd name="connsiteX892" fmla="*/ 3742664 w 7467600"/>
              <a:gd name="connsiteY892" fmla="*/ 279918 h 6858000"/>
              <a:gd name="connsiteX893" fmla="*/ 4103910 w 7467600"/>
              <a:gd name="connsiteY893" fmla="*/ 1161917 h 6858000"/>
              <a:gd name="connsiteX894" fmla="*/ 4020269 w 7467600"/>
              <a:gd name="connsiteY894" fmla="*/ 1200406 h 6858000"/>
              <a:gd name="connsiteX895" fmla="*/ 3674882 w 7467600"/>
              <a:gd name="connsiteY895" fmla="*/ 488524 h 6858000"/>
              <a:gd name="connsiteX896" fmla="*/ 3132682 w 7467600"/>
              <a:gd name="connsiteY896" fmla="*/ 1072284 h 6858000"/>
              <a:gd name="connsiteX897" fmla="*/ 2716346 w 7467600"/>
              <a:gd name="connsiteY897" fmla="*/ 1276376 h 6858000"/>
              <a:gd name="connsiteX898" fmla="*/ 2716772 w 7467600"/>
              <a:gd name="connsiteY898" fmla="*/ 1255462 h 6858000"/>
              <a:gd name="connsiteX899" fmla="*/ 3471096 w 7467600"/>
              <a:gd name="connsiteY899" fmla="*/ 437072 h 6858000"/>
              <a:gd name="connsiteX900" fmla="*/ 3639057 w 7467600"/>
              <a:gd name="connsiteY900" fmla="*/ 286334 h 6858000"/>
              <a:gd name="connsiteX901" fmla="*/ 3640309 w 7467600"/>
              <a:gd name="connsiteY901" fmla="*/ 284664 h 6858000"/>
              <a:gd name="connsiteX902" fmla="*/ 3646022 w 7467600"/>
              <a:gd name="connsiteY902" fmla="*/ 276711 h 6858000"/>
              <a:gd name="connsiteX903" fmla="*/ 3707943 w 7467600"/>
              <a:gd name="connsiteY903" fmla="*/ 65958 h 6858000"/>
              <a:gd name="connsiteX904" fmla="*/ 3721337 w 7467600"/>
              <a:gd name="connsiteY904" fmla="*/ 0 h 6858000"/>
              <a:gd name="connsiteX905" fmla="*/ 2867960 w 7467600"/>
              <a:gd name="connsiteY905" fmla="*/ 0 h 6858000"/>
              <a:gd name="connsiteX906" fmla="*/ 2926351 w 7467600"/>
              <a:gd name="connsiteY906" fmla="*/ 0 h 6858000"/>
              <a:gd name="connsiteX907" fmla="*/ 2902823 w 7467600"/>
              <a:gd name="connsiteY907" fmla="*/ 262929 h 6858000"/>
              <a:gd name="connsiteX908" fmla="*/ 2940663 w 7467600"/>
              <a:gd name="connsiteY908" fmla="*/ 140884 h 6858000"/>
              <a:gd name="connsiteX909" fmla="*/ 2947039 w 7467600"/>
              <a:gd name="connsiteY909" fmla="*/ 122524 h 6858000"/>
              <a:gd name="connsiteX910" fmla="*/ 2984316 w 7467600"/>
              <a:gd name="connsiteY910" fmla="*/ 0 h 6858000"/>
              <a:gd name="connsiteX911" fmla="*/ 3016114 w 7467600"/>
              <a:gd name="connsiteY911" fmla="*/ 0 h 6858000"/>
              <a:gd name="connsiteX912" fmla="*/ 2979949 w 7467600"/>
              <a:gd name="connsiteY912" fmla="*/ 119274 h 6858000"/>
              <a:gd name="connsiteX913" fmla="*/ 3023879 w 7467600"/>
              <a:gd name="connsiteY913" fmla="*/ 0 h 6858000"/>
              <a:gd name="connsiteX914" fmla="*/ 3105400 w 7467600"/>
              <a:gd name="connsiteY914" fmla="*/ 0 h 6858000"/>
              <a:gd name="connsiteX915" fmla="*/ 3094669 w 7467600"/>
              <a:gd name="connsiteY915" fmla="*/ 30308 h 6858000"/>
              <a:gd name="connsiteX916" fmla="*/ 2901945 w 7467600"/>
              <a:gd name="connsiteY916" fmla="*/ 466538 h 6858000"/>
              <a:gd name="connsiteX917" fmla="*/ 2815209 w 7467600"/>
              <a:gd name="connsiteY917" fmla="*/ 497361 h 6858000"/>
              <a:gd name="connsiteX918" fmla="*/ 2844845 w 7467600"/>
              <a:gd name="connsiteY918" fmla="*/ 127638 h 6858000"/>
              <a:gd name="connsiteX919" fmla="*/ 2867960 w 7467600"/>
              <a:gd name="connsiteY919" fmla="*/ 0 h 6858000"/>
              <a:gd name="connsiteX920" fmla="*/ 1057230 w 7467600"/>
              <a:gd name="connsiteY920" fmla="*/ 0 h 6858000"/>
              <a:gd name="connsiteX921" fmla="*/ 1111003 w 7467600"/>
              <a:gd name="connsiteY921" fmla="*/ 0 h 6858000"/>
              <a:gd name="connsiteX922" fmla="*/ 1125553 w 7467600"/>
              <a:gd name="connsiteY922" fmla="*/ 52588 h 6858000"/>
              <a:gd name="connsiteX923" fmla="*/ 1304276 w 7467600"/>
              <a:gd name="connsiteY923" fmla="*/ 476275 h 6858000"/>
              <a:gd name="connsiteX924" fmla="*/ 1492066 w 7467600"/>
              <a:gd name="connsiteY924" fmla="*/ 886333 h 6858000"/>
              <a:gd name="connsiteX925" fmla="*/ 1423698 w 7467600"/>
              <a:gd name="connsiteY925" fmla="*/ 710817 h 6858000"/>
              <a:gd name="connsiteX926" fmla="*/ 1357609 w 7467600"/>
              <a:gd name="connsiteY926" fmla="*/ 532892 h 6858000"/>
              <a:gd name="connsiteX927" fmla="*/ 1309550 w 7467600"/>
              <a:gd name="connsiteY927" fmla="*/ 374031 h 6858000"/>
              <a:gd name="connsiteX928" fmla="*/ 1193673 w 7467600"/>
              <a:gd name="connsiteY928" fmla="*/ 49533 h 6858000"/>
              <a:gd name="connsiteX929" fmla="*/ 1164391 w 7467600"/>
              <a:gd name="connsiteY929" fmla="*/ 0 h 6858000"/>
              <a:gd name="connsiteX930" fmla="*/ 1200666 w 7467600"/>
              <a:gd name="connsiteY930" fmla="*/ 0 h 6858000"/>
              <a:gd name="connsiteX931" fmla="*/ 1223408 w 7467600"/>
              <a:gd name="connsiteY931" fmla="*/ 38996 h 6858000"/>
              <a:gd name="connsiteX932" fmla="*/ 1339635 w 7467600"/>
              <a:gd name="connsiteY932" fmla="*/ 365517 h 6858000"/>
              <a:gd name="connsiteX933" fmla="*/ 1387469 w 7467600"/>
              <a:gd name="connsiteY933" fmla="*/ 523079 h 6858000"/>
              <a:gd name="connsiteX934" fmla="*/ 1452685 w 7467600"/>
              <a:gd name="connsiteY934" fmla="*/ 699806 h 6858000"/>
              <a:gd name="connsiteX935" fmla="*/ 1492092 w 7467600"/>
              <a:gd name="connsiteY935" fmla="*/ 800424 h 6858000"/>
              <a:gd name="connsiteX936" fmla="*/ 1455302 w 7467600"/>
              <a:gd name="connsiteY936" fmla="*/ 632913 h 6858000"/>
              <a:gd name="connsiteX937" fmla="*/ 1222336 w 7467600"/>
              <a:gd name="connsiteY937" fmla="*/ 9480 h 6858000"/>
              <a:gd name="connsiteX938" fmla="*/ 1214634 w 7467600"/>
              <a:gd name="connsiteY938" fmla="*/ 0 h 6858000"/>
              <a:gd name="connsiteX939" fmla="*/ 1289827 w 7467600"/>
              <a:gd name="connsiteY939" fmla="*/ 0 h 6858000"/>
              <a:gd name="connsiteX940" fmla="*/ 1321076 w 7467600"/>
              <a:gd name="connsiteY940" fmla="*/ 59722 h 6858000"/>
              <a:gd name="connsiteX941" fmla="*/ 1512579 w 7467600"/>
              <a:gd name="connsiteY941" fmla="*/ 626441 h 6858000"/>
              <a:gd name="connsiteX942" fmla="*/ 1506076 w 7467600"/>
              <a:gd name="connsiteY942" fmla="*/ 1089289 h 6858000"/>
              <a:gd name="connsiteX943" fmla="*/ 1486346 w 7467600"/>
              <a:gd name="connsiteY943" fmla="*/ 1079919 h 6858000"/>
              <a:gd name="connsiteX944" fmla="*/ 1070511 w 7467600"/>
              <a:gd name="connsiteY944" fmla="*/ 48609 h 6858000"/>
              <a:gd name="connsiteX945" fmla="*/ 1057230 w 7467600"/>
              <a:gd name="connsiteY945" fmla="*/ 0 h 6858000"/>
              <a:gd name="connsiteX946" fmla="*/ 43151 w 7467600"/>
              <a:gd name="connsiteY946" fmla="*/ 0 h 6858000"/>
              <a:gd name="connsiteX947" fmla="*/ 95283 w 7467600"/>
              <a:gd name="connsiteY947" fmla="*/ 0 h 6858000"/>
              <a:gd name="connsiteX948" fmla="*/ 300708 w 7467600"/>
              <a:gd name="connsiteY948" fmla="*/ 154571 h 6858000"/>
              <a:gd name="connsiteX949" fmla="*/ 530414 w 7467600"/>
              <a:gd name="connsiteY949" fmla="*/ 354673 h 6858000"/>
              <a:gd name="connsiteX950" fmla="*/ 333785 w 7467600"/>
              <a:gd name="connsiteY950" fmla="*/ 161564 h 6858000"/>
              <a:gd name="connsiteX951" fmla="*/ 147005 w 7467600"/>
              <a:gd name="connsiteY951" fmla="*/ 0 h 6858000"/>
              <a:gd name="connsiteX952" fmla="*/ 272509 w 7467600"/>
              <a:gd name="connsiteY952" fmla="*/ 0 h 6858000"/>
              <a:gd name="connsiteX953" fmla="*/ 326276 w 7467600"/>
              <a:gd name="connsiteY953" fmla="*/ 45847 h 6858000"/>
              <a:gd name="connsiteX954" fmla="*/ 823759 w 7467600"/>
              <a:gd name="connsiteY954" fmla="*/ 574145 h 6858000"/>
              <a:gd name="connsiteX955" fmla="*/ 811254 w 7467600"/>
              <a:gd name="connsiteY955" fmla="*/ 665546 h 6858000"/>
              <a:gd name="connsiteX956" fmla="*/ 154042 w 7467600"/>
              <a:gd name="connsiteY956" fmla="*/ 261522 h 6858000"/>
              <a:gd name="connsiteX957" fmla="*/ 13550 w 7467600"/>
              <a:gd name="connsiteY957" fmla="*/ 158423 h 6858000"/>
              <a:gd name="connsiteX958" fmla="*/ 0 w 7467600"/>
              <a:gd name="connsiteY958" fmla="*/ 146618 h 6858000"/>
              <a:gd name="connsiteX959" fmla="*/ 0 w 7467600"/>
              <a:gd name="connsiteY959" fmla="*/ 59161 h 6858000"/>
              <a:gd name="connsiteX960" fmla="*/ 45427 w 7467600"/>
              <a:gd name="connsiteY960" fmla="*/ 101078 h 6858000"/>
              <a:gd name="connsiteX961" fmla="*/ 630103 w 7467600"/>
              <a:gd name="connsiteY961" fmla="*/ 485885 h 6858000"/>
              <a:gd name="connsiteX962" fmla="*/ 532040 w 7467600"/>
              <a:gd name="connsiteY962" fmla="*/ 399359 h 6858000"/>
              <a:gd name="connsiteX963" fmla="*/ 517618 w 7467600"/>
              <a:gd name="connsiteY963" fmla="*/ 385726 h 6858000"/>
              <a:gd name="connsiteX964" fmla="*/ 285074 w 7467600"/>
              <a:gd name="connsiteY964" fmla="*/ 182755 h 6858000"/>
              <a:gd name="connsiteX965" fmla="*/ 43151 w 7467600"/>
              <a:gd name="connsiteY965" fmla="*/ 0 h 6858000"/>
              <a:gd name="connsiteX0" fmla="*/ 369702 w 7472601"/>
              <a:gd name="connsiteY0" fmla="*/ 6712169 h 6858000"/>
              <a:gd name="connsiteX1" fmla="*/ 366575 w 7472601"/>
              <a:gd name="connsiteY1" fmla="*/ 6715556 h 6858000"/>
              <a:gd name="connsiteX2" fmla="*/ 371637 w 7472601"/>
              <a:gd name="connsiteY2" fmla="*/ 6713954 h 6858000"/>
              <a:gd name="connsiteX3" fmla="*/ 369702 w 7472601"/>
              <a:gd name="connsiteY3" fmla="*/ 6712169 h 6858000"/>
              <a:gd name="connsiteX4" fmla="*/ 7088673 w 7472601"/>
              <a:gd name="connsiteY4" fmla="*/ 6610396 h 6858000"/>
              <a:gd name="connsiteX5" fmla="*/ 7440138 w 7472601"/>
              <a:gd name="connsiteY5" fmla="*/ 6622648 h 6858000"/>
              <a:gd name="connsiteX6" fmla="*/ 7467600 w 7472601"/>
              <a:gd name="connsiteY6" fmla="*/ 6628217 h 6858000"/>
              <a:gd name="connsiteX7" fmla="*/ 7467600 w 7472601"/>
              <a:gd name="connsiteY7" fmla="*/ 6668575 h 6858000"/>
              <a:gd name="connsiteX8" fmla="*/ 7392322 w 7472601"/>
              <a:gd name="connsiteY8" fmla="*/ 6658238 h 6858000"/>
              <a:gd name="connsiteX9" fmla="*/ 7467600 w 7472601"/>
              <a:gd name="connsiteY9" fmla="*/ 6683873 h 6858000"/>
              <a:gd name="connsiteX10" fmla="*/ 7467600 w 7472601"/>
              <a:gd name="connsiteY10" fmla="*/ 6714215 h 6858000"/>
              <a:gd name="connsiteX11" fmla="*/ 7447383 w 7472601"/>
              <a:gd name="connsiteY11" fmla="*/ 6707202 h 6858000"/>
              <a:gd name="connsiteX12" fmla="*/ 7289862 w 7472601"/>
              <a:gd name="connsiteY12" fmla="*/ 6659827 h 6858000"/>
              <a:gd name="connsiteX13" fmla="*/ 7434024 w 7472601"/>
              <a:gd name="connsiteY13" fmla="*/ 6722130 h 6858000"/>
              <a:gd name="connsiteX14" fmla="*/ 7467600 w 7472601"/>
              <a:gd name="connsiteY14" fmla="*/ 6736157 h 6858000"/>
              <a:gd name="connsiteX15" fmla="*/ 7467600 w 7472601"/>
              <a:gd name="connsiteY15" fmla="*/ 6767913 h 6858000"/>
              <a:gd name="connsiteX16" fmla="*/ 7392158 w 7472601"/>
              <a:gd name="connsiteY16" fmla="*/ 6771365 h 6858000"/>
              <a:gd name="connsiteX17" fmla="*/ 7467600 w 7472601"/>
              <a:gd name="connsiteY17" fmla="*/ 6805948 h 6858000"/>
              <a:gd name="connsiteX18" fmla="*/ 7467600 w 7472601"/>
              <a:gd name="connsiteY18" fmla="*/ 6831490 h 6858000"/>
              <a:gd name="connsiteX19" fmla="*/ 7410696 w 7472601"/>
              <a:gd name="connsiteY19" fmla="*/ 6803861 h 6858000"/>
              <a:gd name="connsiteX20" fmla="*/ 7088673 w 7472601"/>
              <a:gd name="connsiteY20" fmla="*/ 6610396 h 6858000"/>
              <a:gd name="connsiteX21" fmla="*/ 1019354 w 7472601"/>
              <a:gd name="connsiteY21" fmla="*/ 6315006 h 6858000"/>
              <a:gd name="connsiteX22" fmla="*/ 441046 w 7472601"/>
              <a:gd name="connsiteY22" fmla="*/ 6691153 h 6858000"/>
              <a:gd name="connsiteX23" fmla="*/ 1019354 w 7472601"/>
              <a:gd name="connsiteY23" fmla="*/ 6315006 h 6858000"/>
              <a:gd name="connsiteX24" fmla="*/ 991680 w 7472601"/>
              <a:gd name="connsiteY24" fmla="*/ 6298413 h 6858000"/>
              <a:gd name="connsiteX25" fmla="*/ 409060 w 7472601"/>
              <a:gd name="connsiteY25" fmla="*/ 6671470 h 6858000"/>
              <a:gd name="connsiteX26" fmla="*/ 991680 w 7472601"/>
              <a:gd name="connsiteY26" fmla="*/ 6298413 h 6858000"/>
              <a:gd name="connsiteX27" fmla="*/ 103333 w 7472601"/>
              <a:gd name="connsiteY27" fmla="*/ 5699602 h 6858000"/>
              <a:gd name="connsiteX28" fmla="*/ 233938 w 7472601"/>
              <a:gd name="connsiteY28" fmla="*/ 5809416 h 6858000"/>
              <a:gd name="connsiteX29" fmla="*/ 883580 w 7472601"/>
              <a:gd name="connsiteY29" fmla="*/ 6180710 h 6858000"/>
              <a:gd name="connsiteX30" fmla="*/ 487337 w 7472601"/>
              <a:gd name="connsiteY30" fmla="*/ 5950182 h 6858000"/>
              <a:gd name="connsiteX31" fmla="*/ 354051 w 7472601"/>
              <a:gd name="connsiteY31" fmla="*/ 5854912 h 6858000"/>
              <a:gd name="connsiteX32" fmla="*/ 195436 w 7472601"/>
              <a:gd name="connsiteY32" fmla="*/ 5755068 h 6858000"/>
              <a:gd name="connsiteX33" fmla="*/ 103333 w 7472601"/>
              <a:gd name="connsiteY33" fmla="*/ 5699602 h 6858000"/>
              <a:gd name="connsiteX34" fmla="*/ 5539432 w 7472601"/>
              <a:gd name="connsiteY34" fmla="*/ 5642928 h 6858000"/>
              <a:gd name="connsiteX35" fmla="*/ 5555462 w 7472601"/>
              <a:gd name="connsiteY35" fmla="*/ 5694454 h 6858000"/>
              <a:gd name="connsiteX36" fmla="*/ 5828270 w 7472601"/>
              <a:gd name="connsiteY36" fmla="*/ 6320663 h 6858000"/>
              <a:gd name="connsiteX37" fmla="*/ 5947416 w 7472601"/>
              <a:gd name="connsiteY37" fmla="*/ 6574846 h 6858000"/>
              <a:gd name="connsiteX38" fmla="*/ 5539432 w 7472601"/>
              <a:gd name="connsiteY38" fmla="*/ 5642928 h 6858000"/>
              <a:gd name="connsiteX39" fmla="*/ 51253 w 7472601"/>
              <a:gd name="connsiteY39" fmla="*/ 5631825 h 6858000"/>
              <a:gd name="connsiteX40" fmla="*/ 211622 w 7472601"/>
              <a:gd name="connsiteY40" fmla="*/ 5728803 h 6858000"/>
              <a:gd name="connsiteX41" fmla="*/ 371652 w 7472601"/>
              <a:gd name="connsiteY41" fmla="*/ 5829062 h 6858000"/>
              <a:gd name="connsiteX42" fmla="*/ 505903 w 7472601"/>
              <a:gd name="connsiteY42" fmla="*/ 5925221 h 6858000"/>
              <a:gd name="connsiteX43" fmla="*/ 899240 w 7472601"/>
              <a:gd name="connsiteY43" fmla="*/ 6153068 h 6858000"/>
              <a:gd name="connsiteX44" fmla="*/ 988114 w 7472601"/>
              <a:gd name="connsiteY44" fmla="*/ 6174204 h 6858000"/>
              <a:gd name="connsiteX45" fmla="*/ 845971 w 7472601"/>
              <a:gd name="connsiteY45" fmla="*/ 6067177 h 6858000"/>
              <a:gd name="connsiteX46" fmla="*/ 448057 w 7472601"/>
              <a:gd name="connsiteY46" fmla="*/ 5841376 h 6858000"/>
              <a:gd name="connsiteX47" fmla="*/ 51253 w 7472601"/>
              <a:gd name="connsiteY47" fmla="*/ 5631825 h 6858000"/>
              <a:gd name="connsiteX48" fmla="*/ 2606687 w 7472601"/>
              <a:gd name="connsiteY48" fmla="*/ 5630718 h 6858000"/>
              <a:gd name="connsiteX49" fmla="*/ 2645658 w 7472601"/>
              <a:gd name="connsiteY49" fmla="*/ 6640259 h 6858000"/>
              <a:gd name="connsiteX50" fmla="*/ 2606687 w 7472601"/>
              <a:gd name="connsiteY50" fmla="*/ 5630718 h 6858000"/>
              <a:gd name="connsiteX51" fmla="*/ 3642057 w 7472601"/>
              <a:gd name="connsiteY51" fmla="*/ 5573487 h 6858000"/>
              <a:gd name="connsiteX52" fmla="*/ 3632981 w 7472601"/>
              <a:gd name="connsiteY52" fmla="*/ 5579437 h 6858000"/>
              <a:gd name="connsiteX53" fmla="*/ 3382436 w 7472601"/>
              <a:gd name="connsiteY53" fmla="*/ 5952726 h 6858000"/>
              <a:gd name="connsiteX54" fmla="*/ 3191929 w 7472601"/>
              <a:gd name="connsiteY54" fmla="*/ 6662669 h 6858000"/>
              <a:gd name="connsiteX55" fmla="*/ 3369898 w 7472601"/>
              <a:gd name="connsiteY55" fmla="*/ 6081771 h 6858000"/>
              <a:gd name="connsiteX56" fmla="*/ 3642057 w 7472601"/>
              <a:gd name="connsiteY56" fmla="*/ 5573487 h 6858000"/>
              <a:gd name="connsiteX57" fmla="*/ 2650666 w 7472601"/>
              <a:gd name="connsiteY57" fmla="*/ 5530686 h 6858000"/>
              <a:gd name="connsiteX58" fmla="*/ 2650249 w 7472601"/>
              <a:gd name="connsiteY58" fmla="*/ 5532101 h 6858000"/>
              <a:gd name="connsiteX59" fmla="*/ 2663808 w 7472601"/>
              <a:gd name="connsiteY59" fmla="*/ 6535215 h 6858000"/>
              <a:gd name="connsiteX60" fmla="*/ 2665418 w 7472601"/>
              <a:gd name="connsiteY60" fmla="*/ 6132756 h 6858000"/>
              <a:gd name="connsiteX61" fmla="*/ 2650666 w 7472601"/>
              <a:gd name="connsiteY61" fmla="*/ 5530686 h 6858000"/>
              <a:gd name="connsiteX62" fmla="*/ 2680277 w 7472601"/>
              <a:gd name="connsiteY62" fmla="*/ 5479204 h 6858000"/>
              <a:gd name="connsiteX63" fmla="*/ 2678972 w 7472601"/>
              <a:gd name="connsiteY63" fmla="*/ 5481582 h 6858000"/>
              <a:gd name="connsiteX64" fmla="*/ 2696666 w 7472601"/>
              <a:gd name="connsiteY64" fmla="*/ 6133836 h 6858000"/>
              <a:gd name="connsiteX65" fmla="*/ 2695769 w 7472601"/>
              <a:gd name="connsiteY65" fmla="*/ 6390955 h 6858000"/>
              <a:gd name="connsiteX66" fmla="*/ 2739893 w 7472601"/>
              <a:gd name="connsiteY66" fmla="*/ 6108357 h 6858000"/>
              <a:gd name="connsiteX67" fmla="*/ 2680277 w 7472601"/>
              <a:gd name="connsiteY67" fmla="*/ 5479204 h 6858000"/>
              <a:gd name="connsiteX68" fmla="*/ 1132195 w 7472601"/>
              <a:gd name="connsiteY68" fmla="*/ 5467980 h 6858000"/>
              <a:gd name="connsiteX69" fmla="*/ 1679056 w 7472601"/>
              <a:gd name="connsiteY69" fmla="*/ 5516907 h 6858000"/>
              <a:gd name="connsiteX70" fmla="*/ 2128648 w 7472601"/>
              <a:gd name="connsiteY70" fmla="*/ 5474249 h 6858000"/>
              <a:gd name="connsiteX71" fmla="*/ 1825619 w 7472601"/>
              <a:gd name="connsiteY71" fmla="*/ 5478447 h 6858000"/>
              <a:gd name="connsiteX72" fmla="*/ 1737798 w 7472601"/>
              <a:gd name="connsiteY72" fmla="*/ 5483353 h 6858000"/>
              <a:gd name="connsiteX73" fmla="*/ 1132195 w 7472601"/>
              <a:gd name="connsiteY73" fmla="*/ 5467980 h 6858000"/>
              <a:gd name="connsiteX74" fmla="*/ 7454976 w 7472601"/>
              <a:gd name="connsiteY74" fmla="*/ 6318297 h 6858000"/>
              <a:gd name="connsiteX75" fmla="*/ 7467600 w 7472601"/>
              <a:gd name="connsiteY75" fmla="*/ 6012219 h 6858000"/>
              <a:gd name="connsiteX76" fmla="*/ 7356878 w 7472601"/>
              <a:gd name="connsiteY76" fmla="*/ 5981332 h 6858000"/>
              <a:gd name="connsiteX77" fmla="*/ 7467600 w 7472601"/>
              <a:gd name="connsiteY77" fmla="*/ 6117703 h 6858000"/>
              <a:gd name="connsiteX78" fmla="*/ 7467600 w 7472601"/>
              <a:gd name="connsiteY78" fmla="*/ 6163634 h 6858000"/>
              <a:gd name="connsiteX79" fmla="*/ 7403637 w 7472601"/>
              <a:gd name="connsiteY79" fmla="*/ 6083957 h 6858000"/>
              <a:gd name="connsiteX80" fmla="*/ 7254615 w 7472601"/>
              <a:gd name="connsiteY80" fmla="*/ 5911918 h 6858000"/>
              <a:gd name="connsiteX81" fmla="*/ 7312589 w 7472601"/>
              <a:gd name="connsiteY81" fmla="*/ 5982309 h 6858000"/>
              <a:gd name="connsiteX82" fmla="*/ 7448321 w 7472601"/>
              <a:gd name="connsiteY82" fmla="*/ 6190991 h 6858000"/>
              <a:gd name="connsiteX83" fmla="*/ 7467600 w 7472601"/>
              <a:gd name="connsiteY83" fmla="*/ 6221686 h 6858000"/>
              <a:gd name="connsiteX84" fmla="*/ 7467600 w 7472601"/>
              <a:gd name="connsiteY84" fmla="*/ 6334256 h 6858000"/>
              <a:gd name="connsiteX85" fmla="*/ 7454976 w 7472601"/>
              <a:gd name="connsiteY85" fmla="*/ 6318297 h 6858000"/>
              <a:gd name="connsiteX86" fmla="*/ 1456157 w 7472601"/>
              <a:gd name="connsiteY86" fmla="*/ 5371404 h 6858000"/>
              <a:gd name="connsiteX87" fmla="*/ 1244432 w 7472601"/>
              <a:gd name="connsiteY87" fmla="*/ 5385601 h 6858000"/>
              <a:gd name="connsiteX88" fmla="*/ 973990 w 7472601"/>
              <a:gd name="connsiteY88" fmla="*/ 5424940 h 6858000"/>
              <a:gd name="connsiteX89" fmla="*/ 1103809 w 7472601"/>
              <a:gd name="connsiteY89" fmla="*/ 5433720 h 6858000"/>
              <a:gd name="connsiteX90" fmla="*/ 1123454 w 7472601"/>
              <a:gd name="connsiteY90" fmla="*/ 5435727 h 6858000"/>
              <a:gd name="connsiteX91" fmla="*/ 1737017 w 7472601"/>
              <a:gd name="connsiteY91" fmla="*/ 5452183 h 6858000"/>
              <a:gd name="connsiteX92" fmla="*/ 1824397 w 7472601"/>
              <a:gd name="connsiteY92" fmla="*/ 5447757 h 6858000"/>
              <a:gd name="connsiteX93" fmla="*/ 2070059 w 7472601"/>
              <a:gd name="connsiteY93" fmla="*/ 5441660 h 6858000"/>
              <a:gd name="connsiteX94" fmla="*/ 1456157 w 7472601"/>
              <a:gd name="connsiteY94" fmla="*/ 5371404 h 6858000"/>
              <a:gd name="connsiteX95" fmla="*/ 4988186 w 7472601"/>
              <a:gd name="connsiteY95" fmla="*/ 5216467 h 6858000"/>
              <a:gd name="connsiteX96" fmla="*/ 4777334 w 7472601"/>
              <a:gd name="connsiteY96" fmla="*/ 5406072 h 6858000"/>
              <a:gd name="connsiteX97" fmla="*/ 4718341 w 7472601"/>
              <a:gd name="connsiteY97" fmla="*/ 5468043 h 6858000"/>
              <a:gd name="connsiteX98" fmla="*/ 4604655 w 7472601"/>
              <a:gd name="connsiteY98" fmla="*/ 5583434 h 6858000"/>
              <a:gd name="connsiteX99" fmla="*/ 4565074 w 7472601"/>
              <a:gd name="connsiteY99" fmla="*/ 5618550 h 6858000"/>
              <a:gd name="connsiteX100" fmla="*/ 4988186 w 7472601"/>
              <a:gd name="connsiteY100" fmla="*/ 5216467 h 6858000"/>
              <a:gd name="connsiteX101" fmla="*/ 4978032 w 7472601"/>
              <a:gd name="connsiteY101" fmla="*/ 5183809 h 6858000"/>
              <a:gd name="connsiteX102" fmla="*/ 4463413 w 7472601"/>
              <a:gd name="connsiteY102" fmla="*/ 5615162 h 6858000"/>
              <a:gd name="connsiteX103" fmla="*/ 4358134 w 7472601"/>
              <a:gd name="connsiteY103" fmla="*/ 5742791 h 6858000"/>
              <a:gd name="connsiteX104" fmla="*/ 4376219 w 7472601"/>
              <a:gd name="connsiteY104" fmla="*/ 5729027 h 6858000"/>
              <a:gd name="connsiteX105" fmla="*/ 4582340 w 7472601"/>
              <a:gd name="connsiteY105" fmla="*/ 5561037 h 6858000"/>
              <a:gd name="connsiteX106" fmla="*/ 4694684 w 7472601"/>
              <a:gd name="connsiteY106" fmla="*/ 5447098 h 6858000"/>
              <a:gd name="connsiteX107" fmla="*/ 4754123 w 7472601"/>
              <a:gd name="connsiteY107" fmla="*/ 5384643 h 6858000"/>
              <a:gd name="connsiteX108" fmla="*/ 4978032 w 7472601"/>
              <a:gd name="connsiteY108" fmla="*/ 5183809 h 6858000"/>
              <a:gd name="connsiteX109" fmla="*/ 1903353 w 7472601"/>
              <a:gd name="connsiteY109" fmla="*/ 5044827 h 6858000"/>
              <a:gd name="connsiteX110" fmla="*/ 1936931 w 7472601"/>
              <a:gd name="connsiteY110" fmla="*/ 5093954 h 6858000"/>
              <a:gd name="connsiteX111" fmla="*/ 2195868 w 7472601"/>
              <a:gd name="connsiteY111" fmla="*/ 5396574 h 6858000"/>
              <a:gd name="connsiteX112" fmla="*/ 2088852 w 7472601"/>
              <a:gd name="connsiteY112" fmla="*/ 5166123 h 6858000"/>
              <a:gd name="connsiteX113" fmla="*/ 1958241 w 7472601"/>
              <a:gd name="connsiteY113" fmla="*/ 5067955 h 6858000"/>
              <a:gd name="connsiteX114" fmla="*/ 1903353 w 7472601"/>
              <a:gd name="connsiteY114" fmla="*/ 5044827 h 6858000"/>
              <a:gd name="connsiteX115" fmla="*/ 1979378 w 7472601"/>
              <a:gd name="connsiteY115" fmla="*/ 4769504 h 6858000"/>
              <a:gd name="connsiteX116" fmla="*/ 2882120 w 7472601"/>
              <a:gd name="connsiteY116" fmla="*/ 5064547 h 6858000"/>
              <a:gd name="connsiteX117" fmla="*/ 2793103 w 7472601"/>
              <a:gd name="connsiteY117" fmla="*/ 5039699 h 6858000"/>
              <a:gd name="connsiteX118" fmla="*/ 2770041 w 7472601"/>
              <a:gd name="connsiteY118" fmla="*/ 5033634 h 6858000"/>
              <a:gd name="connsiteX119" fmla="*/ 1979378 w 7472601"/>
              <a:gd name="connsiteY119" fmla="*/ 4769504 h 6858000"/>
              <a:gd name="connsiteX120" fmla="*/ 1927410 w 7472601"/>
              <a:gd name="connsiteY120" fmla="*/ 4716164 h 6858000"/>
              <a:gd name="connsiteX121" fmla="*/ 1959587 w 7472601"/>
              <a:gd name="connsiteY121" fmla="*/ 4728849 h 6858000"/>
              <a:gd name="connsiteX122" fmla="*/ 2777707 w 7472601"/>
              <a:gd name="connsiteY122" fmla="*/ 5003991 h 6858000"/>
              <a:gd name="connsiteX123" fmla="*/ 2800768 w 7472601"/>
              <a:gd name="connsiteY123" fmla="*/ 5010056 h 6858000"/>
              <a:gd name="connsiteX124" fmla="*/ 2879408 w 7472601"/>
              <a:gd name="connsiteY124" fmla="*/ 5031590 h 6858000"/>
              <a:gd name="connsiteX125" fmla="*/ 2862295 w 7472601"/>
              <a:gd name="connsiteY125" fmla="*/ 5022958 h 6858000"/>
              <a:gd name="connsiteX126" fmla="*/ 2813343 w 7472601"/>
              <a:gd name="connsiteY126" fmla="*/ 4998369 h 6858000"/>
              <a:gd name="connsiteX127" fmla="*/ 2646245 w 7472601"/>
              <a:gd name="connsiteY127" fmla="*/ 4930999 h 6858000"/>
              <a:gd name="connsiteX128" fmla="*/ 1999243 w 7472601"/>
              <a:gd name="connsiteY128" fmla="*/ 4730524 h 6858000"/>
              <a:gd name="connsiteX129" fmla="*/ 1979527 w 7472601"/>
              <a:gd name="connsiteY129" fmla="*/ 4726651 h 6858000"/>
              <a:gd name="connsiteX130" fmla="*/ 1927410 w 7472601"/>
              <a:gd name="connsiteY130" fmla="*/ 4716164 h 6858000"/>
              <a:gd name="connsiteX131" fmla="*/ 1997014 w 7472601"/>
              <a:gd name="connsiteY131" fmla="*/ 4698007 h 6858000"/>
              <a:gd name="connsiteX132" fmla="*/ 2005458 w 7472601"/>
              <a:gd name="connsiteY132" fmla="*/ 4699540 h 6858000"/>
              <a:gd name="connsiteX133" fmla="*/ 2657186 w 7472601"/>
              <a:gd name="connsiteY133" fmla="*/ 4901687 h 6858000"/>
              <a:gd name="connsiteX134" fmla="*/ 2826662 w 7472601"/>
              <a:gd name="connsiteY134" fmla="*/ 4970362 h 6858000"/>
              <a:gd name="connsiteX135" fmla="*/ 2876100 w 7472601"/>
              <a:gd name="connsiteY135" fmla="*/ 4995397 h 6858000"/>
              <a:gd name="connsiteX136" fmla="*/ 3042600 w 7472601"/>
              <a:gd name="connsiteY136" fmla="*/ 5059532 h 6858000"/>
              <a:gd name="connsiteX137" fmla="*/ 1997014 w 7472601"/>
              <a:gd name="connsiteY137" fmla="*/ 4698007 h 6858000"/>
              <a:gd name="connsiteX138" fmla="*/ 2305292 w 7472601"/>
              <a:gd name="connsiteY138" fmla="*/ 4219492 h 6858000"/>
              <a:gd name="connsiteX139" fmla="*/ 3360922 w 7472601"/>
              <a:gd name="connsiteY139" fmla="*/ 4529373 h 6858000"/>
              <a:gd name="connsiteX140" fmla="*/ 3492420 w 7472601"/>
              <a:gd name="connsiteY140" fmla="*/ 4510145 h 6858000"/>
              <a:gd name="connsiteX141" fmla="*/ 3364086 w 7472601"/>
              <a:gd name="connsiteY141" fmla="*/ 4480340 h 6858000"/>
              <a:gd name="connsiteX142" fmla="*/ 3225818 w 7472601"/>
              <a:gd name="connsiteY142" fmla="*/ 4411822 h 6858000"/>
              <a:gd name="connsiteX143" fmla="*/ 3129696 w 7472601"/>
              <a:gd name="connsiteY143" fmla="*/ 4360704 h 6858000"/>
              <a:gd name="connsiteX144" fmla="*/ 2814545 w 7472601"/>
              <a:gd name="connsiteY144" fmla="*/ 4282955 h 6858000"/>
              <a:gd name="connsiteX145" fmla="*/ 2305292 w 7472601"/>
              <a:gd name="connsiteY145" fmla="*/ 4219492 h 6858000"/>
              <a:gd name="connsiteX146" fmla="*/ 2626982 w 7472601"/>
              <a:gd name="connsiteY146" fmla="*/ 4206450 h 6858000"/>
              <a:gd name="connsiteX147" fmla="*/ 2490617 w 7472601"/>
              <a:gd name="connsiteY147" fmla="*/ 4206951 h 6858000"/>
              <a:gd name="connsiteX148" fmla="*/ 2819869 w 7472601"/>
              <a:gd name="connsiteY148" fmla="*/ 4252936 h 6858000"/>
              <a:gd name="connsiteX149" fmla="*/ 3143018 w 7472601"/>
              <a:gd name="connsiteY149" fmla="*/ 4332698 h 6858000"/>
              <a:gd name="connsiteX150" fmla="*/ 3241520 w 7472601"/>
              <a:gd name="connsiteY150" fmla="*/ 4385112 h 6858000"/>
              <a:gd name="connsiteX151" fmla="*/ 3374575 w 7472601"/>
              <a:gd name="connsiteY151" fmla="*/ 4451517 h 6858000"/>
              <a:gd name="connsiteX152" fmla="*/ 3505221 w 7472601"/>
              <a:gd name="connsiteY152" fmla="*/ 4480757 h 6858000"/>
              <a:gd name="connsiteX153" fmla="*/ 2626982 w 7472601"/>
              <a:gd name="connsiteY153" fmla="*/ 4206450 h 6858000"/>
              <a:gd name="connsiteX154" fmla="*/ 1310106 w 7472601"/>
              <a:gd name="connsiteY154" fmla="*/ 3943217 h 6858000"/>
              <a:gd name="connsiteX155" fmla="*/ 854994 w 7472601"/>
              <a:gd name="connsiteY155" fmla="*/ 4399136 h 6858000"/>
              <a:gd name="connsiteX156" fmla="*/ 742462 w 7472601"/>
              <a:gd name="connsiteY156" fmla="*/ 4594648 h 6858000"/>
              <a:gd name="connsiteX157" fmla="*/ 820602 w 7472601"/>
              <a:gd name="connsiteY157" fmla="*/ 4485915 h 6858000"/>
              <a:gd name="connsiteX158" fmla="*/ 878295 w 7472601"/>
              <a:gd name="connsiteY158" fmla="*/ 4403594 h 6858000"/>
              <a:gd name="connsiteX159" fmla="*/ 1240607 w 7472601"/>
              <a:gd name="connsiteY159" fmla="*/ 4010401 h 6858000"/>
              <a:gd name="connsiteX160" fmla="*/ 1310106 w 7472601"/>
              <a:gd name="connsiteY160" fmla="*/ 3943217 h 6858000"/>
              <a:gd name="connsiteX161" fmla="*/ 1423113 w 7472601"/>
              <a:gd name="connsiteY161" fmla="*/ 3874565 h 6858000"/>
              <a:gd name="connsiteX162" fmla="*/ 1260565 w 7472601"/>
              <a:gd name="connsiteY162" fmla="*/ 4031982 h 6858000"/>
              <a:gd name="connsiteX163" fmla="*/ 901900 w 7472601"/>
              <a:gd name="connsiteY163" fmla="*/ 4421236 h 6858000"/>
              <a:gd name="connsiteX164" fmla="*/ 845044 w 7472601"/>
              <a:gd name="connsiteY164" fmla="*/ 4502436 h 6858000"/>
              <a:gd name="connsiteX165" fmla="*/ 685926 w 7472601"/>
              <a:gd name="connsiteY165" fmla="*/ 4703069 h 6858000"/>
              <a:gd name="connsiteX166" fmla="*/ 684248 w 7472601"/>
              <a:gd name="connsiteY166" fmla="*/ 4706721 h 6858000"/>
              <a:gd name="connsiteX167" fmla="*/ 1423113 w 7472601"/>
              <a:gd name="connsiteY167" fmla="*/ 3874565 h 6858000"/>
              <a:gd name="connsiteX168" fmla="*/ 3316479 w 7472601"/>
              <a:gd name="connsiteY168" fmla="*/ 3872136 h 6858000"/>
              <a:gd name="connsiteX169" fmla="*/ 3546806 w 7472601"/>
              <a:gd name="connsiteY169" fmla="*/ 4356139 h 6858000"/>
              <a:gd name="connsiteX170" fmla="*/ 3364433 w 7472601"/>
              <a:gd name="connsiteY170" fmla="*/ 3953121 h 6858000"/>
              <a:gd name="connsiteX171" fmla="*/ 3316479 w 7472601"/>
              <a:gd name="connsiteY171" fmla="*/ 3872136 h 6858000"/>
              <a:gd name="connsiteX172" fmla="*/ 3291335 w 7472601"/>
              <a:gd name="connsiteY172" fmla="*/ 3767420 h 6858000"/>
              <a:gd name="connsiteX173" fmla="*/ 3390805 w 7472601"/>
              <a:gd name="connsiteY173" fmla="*/ 3937163 h 6858000"/>
              <a:gd name="connsiteX174" fmla="*/ 3579062 w 7472601"/>
              <a:gd name="connsiteY174" fmla="*/ 4359040 h 6858000"/>
              <a:gd name="connsiteX175" fmla="*/ 3467355 w 7472601"/>
              <a:gd name="connsiteY175" fmla="*/ 3988130 h 6858000"/>
              <a:gd name="connsiteX176" fmla="*/ 3310753 w 7472601"/>
              <a:gd name="connsiteY176" fmla="*/ 3787140 h 6858000"/>
              <a:gd name="connsiteX177" fmla="*/ 3291335 w 7472601"/>
              <a:gd name="connsiteY177" fmla="*/ 3767420 h 6858000"/>
              <a:gd name="connsiteX178" fmla="*/ 1635889 w 7472601"/>
              <a:gd name="connsiteY178" fmla="*/ 3709494 h 6858000"/>
              <a:gd name="connsiteX179" fmla="*/ 1634800 w 7472601"/>
              <a:gd name="connsiteY179" fmla="*/ 3731111 h 6858000"/>
              <a:gd name="connsiteX180" fmla="*/ 1635889 w 7472601"/>
              <a:gd name="connsiteY180" fmla="*/ 3709494 h 6858000"/>
              <a:gd name="connsiteX181" fmla="*/ 1510397 w 7472601"/>
              <a:gd name="connsiteY181" fmla="*/ 3684705 h 6858000"/>
              <a:gd name="connsiteX182" fmla="*/ 1146550 w 7472601"/>
              <a:gd name="connsiteY182" fmla="*/ 3802012 h 6858000"/>
              <a:gd name="connsiteX183" fmla="*/ 698834 w 7472601"/>
              <a:gd name="connsiteY183" fmla="*/ 3952272 h 6858000"/>
              <a:gd name="connsiteX184" fmla="*/ 34256 w 7472601"/>
              <a:gd name="connsiteY184" fmla="*/ 4347603 h 6858000"/>
              <a:gd name="connsiteX185" fmla="*/ 527241 w 7472601"/>
              <a:gd name="connsiteY185" fmla="*/ 4065078 h 6858000"/>
              <a:gd name="connsiteX186" fmla="*/ 1510397 w 7472601"/>
              <a:gd name="connsiteY186" fmla="*/ 3684705 h 6858000"/>
              <a:gd name="connsiteX187" fmla="*/ 1313114 w 7472601"/>
              <a:gd name="connsiteY187" fmla="*/ 3655216 h 6858000"/>
              <a:gd name="connsiteX188" fmla="*/ 1109304 w 7472601"/>
              <a:gd name="connsiteY188" fmla="*/ 3669030 h 6858000"/>
              <a:gd name="connsiteX189" fmla="*/ 8129 w 7472601"/>
              <a:gd name="connsiteY189" fmla="*/ 4330519 h 6858000"/>
              <a:gd name="connsiteX190" fmla="*/ 687572 w 7472601"/>
              <a:gd name="connsiteY190" fmla="*/ 3925629 h 6858000"/>
              <a:gd name="connsiteX191" fmla="*/ 1138365 w 7472601"/>
              <a:gd name="connsiteY191" fmla="*/ 3774515 h 6858000"/>
              <a:gd name="connsiteX192" fmla="*/ 1505579 w 7472601"/>
              <a:gd name="connsiteY192" fmla="*/ 3655526 h 6858000"/>
              <a:gd name="connsiteX193" fmla="*/ 1313114 w 7472601"/>
              <a:gd name="connsiteY193" fmla="*/ 3655216 h 6858000"/>
              <a:gd name="connsiteX194" fmla="*/ 3655073 w 7472601"/>
              <a:gd name="connsiteY194" fmla="*/ 3650884 h 6858000"/>
              <a:gd name="connsiteX195" fmla="*/ 3989938 w 7472601"/>
              <a:gd name="connsiteY195" fmla="*/ 3991685 h 6858000"/>
              <a:gd name="connsiteX196" fmla="*/ 4393907 w 7472601"/>
              <a:gd name="connsiteY196" fmla="*/ 4261258 h 6858000"/>
              <a:gd name="connsiteX197" fmla="*/ 4648051 w 7472601"/>
              <a:gd name="connsiteY197" fmla="*/ 4374051 h 6858000"/>
              <a:gd name="connsiteX198" fmla="*/ 4383389 w 7472601"/>
              <a:gd name="connsiteY198" fmla="*/ 4184369 h 6858000"/>
              <a:gd name="connsiteX199" fmla="*/ 4165508 w 7472601"/>
              <a:gd name="connsiteY199" fmla="*/ 4035196 h 6858000"/>
              <a:gd name="connsiteX200" fmla="*/ 4068162 w 7472601"/>
              <a:gd name="connsiteY200" fmla="*/ 3953394 h 6858000"/>
              <a:gd name="connsiteX201" fmla="*/ 3981416 w 7472601"/>
              <a:gd name="connsiteY201" fmla="*/ 3880482 h 6858000"/>
              <a:gd name="connsiteX202" fmla="*/ 3800147 w 7472601"/>
              <a:gd name="connsiteY202" fmla="*/ 3749872 h 6858000"/>
              <a:gd name="connsiteX203" fmla="*/ 3655073 w 7472601"/>
              <a:gd name="connsiteY203" fmla="*/ 3650884 h 6858000"/>
              <a:gd name="connsiteX204" fmla="*/ 3670252 w 7472601"/>
              <a:gd name="connsiteY204" fmla="*/ 3622798 h 6858000"/>
              <a:gd name="connsiteX205" fmla="*/ 3817258 w 7472601"/>
              <a:gd name="connsiteY205" fmla="*/ 3723577 h 6858000"/>
              <a:gd name="connsiteX206" fmla="*/ 4000461 w 7472601"/>
              <a:gd name="connsiteY206" fmla="*/ 3855966 h 6858000"/>
              <a:gd name="connsiteX207" fmla="*/ 4088180 w 7472601"/>
              <a:gd name="connsiteY207" fmla="*/ 3929774 h 6858000"/>
              <a:gd name="connsiteX208" fmla="*/ 4184555 w 7472601"/>
              <a:gd name="connsiteY208" fmla="*/ 4010683 h 6858000"/>
              <a:gd name="connsiteX209" fmla="*/ 4399563 w 7472601"/>
              <a:gd name="connsiteY209" fmla="*/ 4158106 h 6858000"/>
              <a:gd name="connsiteX210" fmla="*/ 4684469 w 7472601"/>
              <a:gd name="connsiteY210" fmla="*/ 4364680 h 6858000"/>
              <a:gd name="connsiteX211" fmla="*/ 4690271 w 7472601"/>
              <a:gd name="connsiteY211" fmla="*/ 4370034 h 6858000"/>
              <a:gd name="connsiteX212" fmla="*/ 4136093 w 7472601"/>
              <a:gd name="connsiteY212" fmla="*/ 3858466 h 6858000"/>
              <a:gd name="connsiteX213" fmla="*/ 3670252 w 7472601"/>
              <a:gd name="connsiteY213" fmla="*/ 3622798 h 6858000"/>
              <a:gd name="connsiteX214" fmla="*/ 4440129 w 7472601"/>
              <a:gd name="connsiteY214" fmla="*/ 3448571 h 6858000"/>
              <a:gd name="connsiteX215" fmla="*/ 4856525 w 7472601"/>
              <a:gd name="connsiteY215" fmla="*/ 3915351 h 6858000"/>
              <a:gd name="connsiteX216" fmla="*/ 5059055 w 7472601"/>
              <a:gd name="connsiteY216" fmla="*/ 4108918 h 6858000"/>
              <a:gd name="connsiteX217" fmla="*/ 5290070 w 7472601"/>
              <a:gd name="connsiteY217" fmla="*/ 4263619 h 6858000"/>
              <a:gd name="connsiteX218" fmla="*/ 4834991 w 7472601"/>
              <a:gd name="connsiteY218" fmla="*/ 3830985 h 6858000"/>
              <a:gd name="connsiteX219" fmla="*/ 4440129 w 7472601"/>
              <a:gd name="connsiteY219" fmla="*/ 3448571 h 6858000"/>
              <a:gd name="connsiteX220" fmla="*/ 4441737 w 7472601"/>
              <a:gd name="connsiteY220" fmla="*/ 3399734 h 6858000"/>
              <a:gd name="connsiteX221" fmla="*/ 4431236 w 7472601"/>
              <a:gd name="connsiteY221" fmla="*/ 3400954 h 6858000"/>
              <a:gd name="connsiteX222" fmla="*/ 4557150 w 7472601"/>
              <a:gd name="connsiteY222" fmla="*/ 3510023 h 6858000"/>
              <a:gd name="connsiteX223" fmla="*/ 4856936 w 7472601"/>
              <a:gd name="connsiteY223" fmla="*/ 3809146 h 6858000"/>
              <a:gd name="connsiteX224" fmla="*/ 5111996 w 7472601"/>
              <a:gd name="connsiteY224" fmla="*/ 4065759 h 6858000"/>
              <a:gd name="connsiteX225" fmla="*/ 5388878 w 7472601"/>
              <a:gd name="connsiteY225" fmla="*/ 4300185 h 6858000"/>
              <a:gd name="connsiteX226" fmla="*/ 5425556 w 7472601"/>
              <a:gd name="connsiteY226" fmla="*/ 4308967 h 6858000"/>
              <a:gd name="connsiteX227" fmla="*/ 4943646 w 7472601"/>
              <a:gd name="connsiteY227" fmla="*/ 3822916 h 6858000"/>
              <a:gd name="connsiteX228" fmla="*/ 4594837 w 7472601"/>
              <a:gd name="connsiteY228" fmla="*/ 3532274 h 6858000"/>
              <a:gd name="connsiteX229" fmla="*/ 4441737 w 7472601"/>
              <a:gd name="connsiteY229" fmla="*/ 3399734 h 6858000"/>
              <a:gd name="connsiteX230" fmla="*/ 5425834 w 7472601"/>
              <a:gd name="connsiteY230" fmla="*/ 3162785 h 6858000"/>
              <a:gd name="connsiteX231" fmla="*/ 5401644 w 7472601"/>
              <a:gd name="connsiteY231" fmla="*/ 3617847 h 6858000"/>
              <a:gd name="connsiteX232" fmla="*/ 5467256 w 7472601"/>
              <a:gd name="connsiteY232" fmla="*/ 4175494 h 6858000"/>
              <a:gd name="connsiteX233" fmla="*/ 5448069 w 7472601"/>
              <a:gd name="connsiteY233" fmla="*/ 3567554 h 6858000"/>
              <a:gd name="connsiteX234" fmla="*/ 5425834 w 7472601"/>
              <a:gd name="connsiteY234" fmla="*/ 3162785 h 6858000"/>
              <a:gd name="connsiteX235" fmla="*/ 1318687 w 7472601"/>
              <a:gd name="connsiteY235" fmla="*/ 3113840 h 6858000"/>
              <a:gd name="connsiteX236" fmla="*/ 1066793 w 7472601"/>
              <a:gd name="connsiteY236" fmla="*/ 3212171 h 6858000"/>
              <a:gd name="connsiteX237" fmla="*/ 993319 w 7472601"/>
              <a:gd name="connsiteY237" fmla="*/ 3247648 h 6858000"/>
              <a:gd name="connsiteX238" fmla="*/ 853081 w 7472601"/>
              <a:gd name="connsiteY238" fmla="*/ 3312410 h 6858000"/>
              <a:gd name="connsiteX239" fmla="*/ 805957 w 7472601"/>
              <a:gd name="connsiteY239" fmla="*/ 3330443 h 6858000"/>
              <a:gd name="connsiteX240" fmla="*/ 1318687 w 7472601"/>
              <a:gd name="connsiteY240" fmla="*/ 3113840 h 6858000"/>
              <a:gd name="connsiteX241" fmla="*/ 5453702 w 7472601"/>
              <a:gd name="connsiteY241" fmla="*/ 3090882 h 6858000"/>
              <a:gd name="connsiteX242" fmla="*/ 5480135 w 7472601"/>
              <a:gd name="connsiteY242" fmla="*/ 3565802 h 6858000"/>
              <a:gd name="connsiteX243" fmla="*/ 5499023 w 7472601"/>
              <a:gd name="connsiteY243" fmla="*/ 4166310 h 6858000"/>
              <a:gd name="connsiteX244" fmla="*/ 5547022 w 7472601"/>
              <a:gd name="connsiteY244" fmla="*/ 3607838 h 6858000"/>
              <a:gd name="connsiteX245" fmla="*/ 5515964 w 7472601"/>
              <a:gd name="connsiteY245" fmla="*/ 3378541 h 6858000"/>
              <a:gd name="connsiteX246" fmla="*/ 5453702 w 7472601"/>
              <a:gd name="connsiteY246" fmla="*/ 3090882 h 6858000"/>
              <a:gd name="connsiteX247" fmla="*/ 1238695 w 7472601"/>
              <a:gd name="connsiteY247" fmla="*/ 3076820 h 6858000"/>
              <a:gd name="connsiteX248" fmla="*/ 716371 w 7472601"/>
              <a:gd name="connsiteY248" fmla="*/ 3293249 h 6858000"/>
              <a:gd name="connsiteX249" fmla="*/ 579522 w 7472601"/>
              <a:gd name="connsiteY249" fmla="*/ 3371759 h 6858000"/>
              <a:gd name="connsiteX250" fmla="*/ 600288 w 7472601"/>
              <a:gd name="connsiteY250" fmla="*/ 3365555 h 6858000"/>
              <a:gd name="connsiteX251" fmla="*/ 840692 w 7472601"/>
              <a:gd name="connsiteY251" fmla="*/ 3284921 h 6858000"/>
              <a:gd name="connsiteX252" fmla="*/ 979248 w 7472601"/>
              <a:gd name="connsiteY252" fmla="*/ 3221003 h 6858000"/>
              <a:gd name="connsiteX253" fmla="*/ 1053282 w 7472601"/>
              <a:gd name="connsiteY253" fmla="*/ 3185247 h 6858000"/>
              <a:gd name="connsiteX254" fmla="*/ 1320603 w 7472601"/>
              <a:gd name="connsiteY254" fmla="*/ 3081281 h 6858000"/>
              <a:gd name="connsiteX255" fmla="*/ 1238695 w 7472601"/>
              <a:gd name="connsiteY255" fmla="*/ 3076820 h 6858000"/>
              <a:gd name="connsiteX256" fmla="*/ 5425627 w 7472601"/>
              <a:gd name="connsiteY256" fmla="*/ 2954192 h 6858000"/>
              <a:gd name="connsiteX257" fmla="*/ 5470770 w 7472601"/>
              <a:gd name="connsiteY257" fmla="*/ 3005435 h 6858000"/>
              <a:gd name="connsiteX258" fmla="*/ 5519779 w 7472601"/>
              <a:gd name="connsiteY258" fmla="*/ 4359223 h 6858000"/>
              <a:gd name="connsiteX259" fmla="*/ 5520293 w 7472601"/>
              <a:gd name="connsiteY259" fmla="*/ 4360602 h 6858000"/>
              <a:gd name="connsiteX260" fmla="*/ 5767221 w 7472601"/>
              <a:gd name="connsiteY260" fmla="*/ 4665564 h 6858000"/>
              <a:gd name="connsiteX261" fmla="*/ 6937169 w 7472601"/>
              <a:gd name="connsiteY261" fmla="*/ 4815941 h 6858000"/>
              <a:gd name="connsiteX262" fmla="*/ 6953922 w 7472601"/>
              <a:gd name="connsiteY262" fmla="*/ 4890068 h 6858000"/>
              <a:gd name="connsiteX263" fmla="*/ 6071359 w 7472601"/>
              <a:gd name="connsiteY263" fmla="*/ 4770770 h 6858000"/>
              <a:gd name="connsiteX264" fmla="*/ 6038839 w 7472601"/>
              <a:gd name="connsiteY264" fmla="*/ 4764474 h 6858000"/>
              <a:gd name="connsiteX265" fmla="*/ 6038706 w 7472601"/>
              <a:gd name="connsiteY265" fmla="*/ 4763847 h 6858000"/>
              <a:gd name="connsiteX266" fmla="*/ 6037784 w 7472601"/>
              <a:gd name="connsiteY266" fmla="*/ 4764270 h 6858000"/>
              <a:gd name="connsiteX267" fmla="*/ 6038839 w 7472601"/>
              <a:gd name="connsiteY267" fmla="*/ 4764474 h 6858000"/>
              <a:gd name="connsiteX268" fmla="*/ 6040338 w 7472601"/>
              <a:gd name="connsiteY268" fmla="*/ 4771418 h 6858000"/>
              <a:gd name="connsiteX269" fmla="*/ 6024488 w 7472601"/>
              <a:gd name="connsiteY269" fmla="*/ 4809903 h 6858000"/>
              <a:gd name="connsiteX270" fmla="*/ 5599771 w 7472601"/>
              <a:gd name="connsiteY270" fmla="*/ 5509652 h 6858000"/>
              <a:gd name="connsiteX271" fmla="*/ 5548843 w 7472601"/>
              <a:gd name="connsiteY271" fmla="*/ 5563845 h 6858000"/>
              <a:gd name="connsiteX272" fmla="*/ 5940952 w 7472601"/>
              <a:gd name="connsiteY272" fmla="*/ 6250028 h 6858000"/>
              <a:gd name="connsiteX273" fmla="*/ 6043441 w 7472601"/>
              <a:gd name="connsiteY273" fmla="*/ 6665847 h 6858000"/>
              <a:gd name="connsiteX274" fmla="*/ 6093432 w 7472601"/>
              <a:gd name="connsiteY274" fmla="*/ 6858000 h 6858000"/>
              <a:gd name="connsiteX275" fmla="*/ 6034344 w 7472601"/>
              <a:gd name="connsiteY275" fmla="*/ 6858000 h 6858000"/>
              <a:gd name="connsiteX276" fmla="*/ 6026679 w 7472601"/>
              <a:gd name="connsiteY276" fmla="*/ 6836959 h 6858000"/>
              <a:gd name="connsiteX277" fmla="*/ 5800441 w 7472601"/>
              <a:gd name="connsiteY277" fmla="*/ 6335286 h 6858000"/>
              <a:gd name="connsiteX278" fmla="*/ 5526562 w 7472601"/>
              <a:gd name="connsiteY278" fmla="*/ 5705388 h 6858000"/>
              <a:gd name="connsiteX279" fmla="*/ 5519640 w 7472601"/>
              <a:gd name="connsiteY279" fmla="*/ 5683774 h 6858000"/>
              <a:gd name="connsiteX280" fmla="*/ 5844559 w 7472601"/>
              <a:gd name="connsiteY280" fmla="*/ 6553349 h 6858000"/>
              <a:gd name="connsiteX281" fmla="*/ 5975994 w 7472601"/>
              <a:gd name="connsiteY281" fmla="*/ 6858000 h 6858000"/>
              <a:gd name="connsiteX282" fmla="*/ 5898547 w 7472601"/>
              <a:gd name="connsiteY282" fmla="*/ 6858000 h 6858000"/>
              <a:gd name="connsiteX283" fmla="*/ 5682041 w 7472601"/>
              <a:gd name="connsiteY283" fmla="*/ 6355860 h 6858000"/>
              <a:gd name="connsiteX284" fmla="*/ 5461758 w 7472601"/>
              <a:gd name="connsiteY284" fmla="*/ 5820220 h 6858000"/>
              <a:gd name="connsiteX285" fmla="*/ 5237282 w 7472601"/>
              <a:gd name="connsiteY285" fmla="*/ 6579086 h 6858000"/>
              <a:gd name="connsiteX286" fmla="*/ 5115009 w 7472601"/>
              <a:gd name="connsiteY286" fmla="*/ 6858000 h 6858000"/>
              <a:gd name="connsiteX287" fmla="*/ 5028074 w 7472601"/>
              <a:gd name="connsiteY287" fmla="*/ 6858000 h 6858000"/>
              <a:gd name="connsiteX288" fmla="*/ 5079508 w 7472601"/>
              <a:gd name="connsiteY288" fmla="*/ 6749074 h 6858000"/>
              <a:gd name="connsiteX289" fmla="*/ 5371846 w 7472601"/>
              <a:gd name="connsiteY289" fmla="*/ 5924413 h 6858000"/>
              <a:gd name="connsiteX290" fmla="*/ 5270512 w 7472601"/>
              <a:gd name="connsiteY290" fmla="*/ 6138975 h 6858000"/>
              <a:gd name="connsiteX291" fmla="*/ 5062409 w 7472601"/>
              <a:gd name="connsiteY291" fmla="*/ 6653544 h 6858000"/>
              <a:gd name="connsiteX292" fmla="*/ 5036628 w 7472601"/>
              <a:gd name="connsiteY292" fmla="*/ 6754247 h 6858000"/>
              <a:gd name="connsiteX293" fmla="*/ 5009112 w 7472601"/>
              <a:gd name="connsiteY293" fmla="*/ 6858000 h 6858000"/>
              <a:gd name="connsiteX294" fmla="*/ 4976679 w 7472601"/>
              <a:gd name="connsiteY294" fmla="*/ 6858000 h 6858000"/>
              <a:gd name="connsiteX295" fmla="*/ 5006537 w 7472601"/>
              <a:gd name="connsiteY295" fmla="*/ 6747068 h 6858000"/>
              <a:gd name="connsiteX296" fmla="*/ 5032723 w 7472601"/>
              <a:gd name="connsiteY296" fmla="*/ 6644957 h 6858000"/>
              <a:gd name="connsiteX297" fmla="*/ 5242949 w 7472601"/>
              <a:gd name="connsiteY297" fmla="*/ 6125175 h 6858000"/>
              <a:gd name="connsiteX298" fmla="*/ 5286321 w 7472601"/>
              <a:gd name="connsiteY298" fmla="*/ 6033555 h 6858000"/>
              <a:gd name="connsiteX299" fmla="*/ 5008210 w 7472601"/>
              <a:gd name="connsiteY299" fmla="*/ 6649194 h 6858000"/>
              <a:gd name="connsiteX300" fmla="*/ 4986321 w 7472601"/>
              <a:gd name="connsiteY300" fmla="*/ 6765687 h 6858000"/>
              <a:gd name="connsiteX301" fmla="*/ 4973474 w 7472601"/>
              <a:gd name="connsiteY301" fmla="*/ 6858000 h 6858000"/>
              <a:gd name="connsiteX302" fmla="*/ 4907178 w 7472601"/>
              <a:gd name="connsiteY302" fmla="*/ 6858000 h 6858000"/>
              <a:gd name="connsiteX303" fmla="*/ 4910810 w 7472601"/>
              <a:gd name="connsiteY303" fmla="*/ 6829660 h 6858000"/>
              <a:gd name="connsiteX304" fmla="*/ 4987461 w 7472601"/>
              <a:gd name="connsiteY304" fmla="*/ 6432994 h 6858000"/>
              <a:gd name="connsiteX305" fmla="*/ 5179262 w 7472601"/>
              <a:gd name="connsiteY305" fmla="*/ 6035044 h 6858000"/>
              <a:gd name="connsiteX306" fmla="*/ 4689678 w 7472601"/>
              <a:gd name="connsiteY306" fmla="*/ 6440241 h 6858000"/>
              <a:gd name="connsiteX307" fmla="*/ 4477543 w 7472601"/>
              <a:gd name="connsiteY307" fmla="*/ 6674836 h 6858000"/>
              <a:gd name="connsiteX308" fmla="*/ 4329957 w 7472601"/>
              <a:gd name="connsiteY308" fmla="*/ 6858000 h 6858000"/>
              <a:gd name="connsiteX309" fmla="*/ 4218595 w 7472601"/>
              <a:gd name="connsiteY309" fmla="*/ 6858000 h 6858000"/>
              <a:gd name="connsiteX310" fmla="*/ 4368888 w 7472601"/>
              <a:gd name="connsiteY310" fmla="*/ 6668412 h 6858000"/>
              <a:gd name="connsiteX311" fmla="*/ 4563091 w 7472601"/>
              <a:gd name="connsiteY311" fmla="*/ 6442508 h 6858000"/>
              <a:gd name="connsiteX312" fmla="*/ 5387324 w 7472601"/>
              <a:gd name="connsiteY312" fmla="*/ 5705830 h 6858000"/>
              <a:gd name="connsiteX313" fmla="*/ 5073620 w 7472601"/>
              <a:gd name="connsiteY313" fmla="*/ 5955437 h 6858000"/>
              <a:gd name="connsiteX314" fmla="*/ 4689789 w 7472601"/>
              <a:gd name="connsiteY314" fmla="*/ 6268382 h 6858000"/>
              <a:gd name="connsiteX315" fmla="*/ 4418722 w 7472601"/>
              <a:gd name="connsiteY315" fmla="*/ 6570886 h 6858000"/>
              <a:gd name="connsiteX316" fmla="*/ 4214944 w 7472601"/>
              <a:gd name="connsiteY316" fmla="*/ 6858000 h 6858000"/>
              <a:gd name="connsiteX317" fmla="*/ 4177898 w 7472601"/>
              <a:gd name="connsiteY317" fmla="*/ 6858000 h 6858000"/>
              <a:gd name="connsiteX318" fmla="*/ 4391597 w 7472601"/>
              <a:gd name="connsiteY318" fmla="*/ 6556370 h 6858000"/>
              <a:gd name="connsiteX319" fmla="*/ 4668889 w 7472601"/>
              <a:gd name="connsiteY319" fmla="*/ 6246399 h 6858000"/>
              <a:gd name="connsiteX320" fmla="*/ 5055427 w 7472601"/>
              <a:gd name="connsiteY320" fmla="*/ 5931476 h 6858000"/>
              <a:gd name="connsiteX321" fmla="*/ 5371814 w 7472601"/>
              <a:gd name="connsiteY321" fmla="*/ 5678975 h 6858000"/>
              <a:gd name="connsiteX322" fmla="*/ 4987918 w 7472601"/>
              <a:gd name="connsiteY322" fmla="*/ 5838701 h 6858000"/>
              <a:gd name="connsiteX323" fmla="*/ 4317146 w 7472601"/>
              <a:gd name="connsiteY323" fmla="*/ 6587716 h 6858000"/>
              <a:gd name="connsiteX324" fmla="*/ 4171627 w 7472601"/>
              <a:gd name="connsiteY324" fmla="*/ 6858000 h 6858000"/>
              <a:gd name="connsiteX325" fmla="*/ 4081585 w 7472601"/>
              <a:gd name="connsiteY325" fmla="*/ 6858000 h 6858000"/>
              <a:gd name="connsiteX326" fmla="*/ 4238603 w 7472601"/>
              <a:gd name="connsiteY326" fmla="*/ 6559341 h 6858000"/>
              <a:gd name="connsiteX327" fmla="*/ 4778333 w 7472601"/>
              <a:gd name="connsiteY327" fmla="*/ 5873626 h 6858000"/>
              <a:gd name="connsiteX328" fmla="*/ 5414185 w 7472601"/>
              <a:gd name="connsiteY328" fmla="*/ 5573882 h 6858000"/>
              <a:gd name="connsiteX329" fmla="*/ 5959648 w 7472601"/>
              <a:gd name="connsiteY329" fmla="*/ 4760797 h 6858000"/>
              <a:gd name="connsiteX330" fmla="*/ 5355019 w 7472601"/>
              <a:gd name="connsiteY330" fmla="*/ 4734672 h 6858000"/>
              <a:gd name="connsiteX331" fmla="*/ 5083565 w 7472601"/>
              <a:gd name="connsiteY331" fmla="*/ 5179121 h 6858000"/>
              <a:gd name="connsiteX332" fmla="*/ 4713577 w 7472601"/>
              <a:gd name="connsiteY332" fmla="*/ 5616803 h 6858000"/>
              <a:gd name="connsiteX333" fmla="*/ 3989559 w 7472601"/>
              <a:gd name="connsiteY333" fmla="*/ 6145945 h 6858000"/>
              <a:gd name="connsiteX334" fmla="*/ 3939824 w 7472601"/>
              <a:gd name="connsiteY334" fmla="*/ 6066900 h 6858000"/>
              <a:gd name="connsiteX335" fmla="*/ 4584537 w 7472601"/>
              <a:gd name="connsiteY335" fmla="*/ 5324826 h 6858000"/>
              <a:gd name="connsiteX336" fmla="*/ 5037105 w 7472601"/>
              <a:gd name="connsiteY336" fmla="*/ 5088765 h 6858000"/>
              <a:gd name="connsiteX337" fmla="*/ 5039930 w 7472601"/>
              <a:gd name="connsiteY337" fmla="*/ 5089585 h 6858000"/>
              <a:gd name="connsiteX338" fmla="*/ 5263764 w 7472601"/>
              <a:gd name="connsiteY338" fmla="*/ 4735525 h 6858000"/>
              <a:gd name="connsiteX339" fmla="*/ 4086300 w 7472601"/>
              <a:gd name="connsiteY339" fmla="*/ 4884599 h 6858000"/>
              <a:gd name="connsiteX340" fmla="*/ 4085485 w 7472601"/>
              <a:gd name="connsiteY340" fmla="*/ 4899070 h 6858000"/>
              <a:gd name="connsiteX341" fmla="*/ 3871915 w 7472601"/>
              <a:gd name="connsiteY341" fmla="*/ 5253645 h 6858000"/>
              <a:gd name="connsiteX342" fmla="*/ 3799374 w 7472601"/>
              <a:gd name="connsiteY342" fmla="*/ 5466127 h 6858000"/>
              <a:gd name="connsiteX343" fmla="*/ 3498850 w 7472601"/>
              <a:gd name="connsiteY343" fmla="*/ 6661888 h 6858000"/>
              <a:gd name="connsiteX344" fmla="*/ 3399216 w 7472601"/>
              <a:gd name="connsiteY344" fmla="*/ 6858000 h 6858000"/>
              <a:gd name="connsiteX345" fmla="*/ 3303688 w 7472601"/>
              <a:gd name="connsiteY345" fmla="*/ 6858000 h 6858000"/>
              <a:gd name="connsiteX346" fmla="*/ 3391774 w 7472601"/>
              <a:gd name="connsiteY346" fmla="*/ 6697181 h 6858000"/>
              <a:gd name="connsiteX347" fmla="*/ 3735540 w 7472601"/>
              <a:gd name="connsiteY347" fmla="*/ 5546923 h 6858000"/>
              <a:gd name="connsiteX348" fmla="*/ 3729438 w 7472601"/>
              <a:gd name="connsiteY348" fmla="*/ 5569058 h 6858000"/>
              <a:gd name="connsiteX349" fmla="*/ 3707782 w 7472601"/>
              <a:gd name="connsiteY349" fmla="*/ 5644908 h 6858000"/>
              <a:gd name="connsiteX350" fmla="*/ 3583827 w 7472601"/>
              <a:gd name="connsiteY350" fmla="*/ 6039215 h 6858000"/>
              <a:gd name="connsiteX351" fmla="*/ 3547861 w 7472601"/>
              <a:gd name="connsiteY351" fmla="*/ 6129609 h 6858000"/>
              <a:gd name="connsiteX352" fmla="*/ 3490905 w 7472601"/>
              <a:gd name="connsiteY352" fmla="*/ 6277660 h 6858000"/>
              <a:gd name="connsiteX353" fmla="*/ 3455859 w 7472601"/>
              <a:gd name="connsiteY353" fmla="*/ 6391301 h 6858000"/>
              <a:gd name="connsiteX354" fmla="*/ 3429112 w 7472601"/>
              <a:gd name="connsiteY354" fmla="*/ 6479469 h 6858000"/>
              <a:gd name="connsiteX355" fmla="*/ 3304862 w 7472601"/>
              <a:gd name="connsiteY355" fmla="*/ 6796476 h 6858000"/>
              <a:gd name="connsiteX356" fmla="*/ 3276071 w 7472601"/>
              <a:gd name="connsiteY356" fmla="*/ 6858000 h 6858000"/>
              <a:gd name="connsiteX357" fmla="*/ 3240805 w 7472601"/>
              <a:gd name="connsiteY357" fmla="*/ 6858000 h 6858000"/>
              <a:gd name="connsiteX358" fmla="*/ 3275917 w 7472601"/>
              <a:gd name="connsiteY358" fmla="*/ 6783192 h 6858000"/>
              <a:gd name="connsiteX359" fmla="*/ 3399358 w 7472601"/>
              <a:gd name="connsiteY359" fmla="*/ 6469011 h 6858000"/>
              <a:gd name="connsiteX360" fmla="*/ 3425650 w 7472601"/>
              <a:gd name="connsiteY360" fmla="*/ 6381333 h 6858000"/>
              <a:gd name="connsiteX361" fmla="*/ 3460661 w 7472601"/>
              <a:gd name="connsiteY361" fmla="*/ 6266763 h 6858000"/>
              <a:gd name="connsiteX362" fmla="*/ 3518021 w 7472601"/>
              <a:gd name="connsiteY362" fmla="*/ 6117298 h 6858000"/>
              <a:gd name="connsiteX363" fmla="*/ 3554035 w 7472601"/>
              <a:gd name="connsiteY363" fmla="*/ 6027832 h 6858000"/>
              <a:gd name="connsiteX364" fmla="*/ 3677174 w 7472601"/>
              <a:gd name="connsiteY364" fmla="*/ 5636351 h 6858000"/>
              <a:gd name="connsiteX365" fmla="*/ 3698819 w 7472601"/>
              <a:gd name="connsiteY365" fmla="*/ 5560503 h 6858000"/>
              <a:gd name="connsiteX366" fmla="*/ 3702094 w 7472601"/>
              <a:gd name="connsiteY366" fmla="*/ 5549194 h 6858000"/>
              <a:gd name="connsiteX367" fmla="*/ 3398355 w 7472601"/>
              <a:gd name="connsiteY367" fmla="*/ 6094603 h 6858000"/>
              <a:gd name="connsiteX368" fmla="*/ 3193941 w 7472601"/>
              <a:gd name="connsiteY368" fmla="*/ 6798775 h 6858000"/>
              <a:gd name="connsiteX369" fmla="*/ 3184140 w 7472601"/>
              <a:gd name="connsiteY369" fmla="*/ 6858000 h 6858000"/>
              <a:gd name="connsiteX370" fmla="*/ 3099978 w 7472601"/>
              <a:gd name="connsiteY370" fmla="*/ 6858000 h 6858000"/>
              <a:gd name="connsiteX371" fmla="*/ 3101556 w 7472601"/>
              <a:gd name="connsiteY371" fmla="*/ 6843337 h 6858000"/>
              <a:gd name="connsiteX372" fmla="*/ 3370162 w 7472601"/>
              <a:gd name="connsiteY372" fmla="*/ 5785550 h 6858000"/>
              <a:gd name="connsiteX373" fmla="*/ 3746477 w 7472601"/>
              <a:gd name="connsiteY373" fmla="*/ 5377889 h 6858000"/>
              <a:gd name="connsiteX374" fmla="*/ 3863399 w 7472601"/>
              <a:gd name="connsiteY374" fmla="*/ 5087257 h 6858000"/>
              <a:gd name="connsiteX375" fmla="*/ 3968712 w 7472601"/>
              <a:gd name="connsiteY375" fmla="*/ 4913989 h 6858000"/>
              <a:gd name="connsiteX376" fmla="*/ 2792390 w 7472601"/>
              <a:gd name="connsiteY376" fmla="*/ 5382974 h 6858000"/>
              <a:gd name="connsiteX377" fmla="*/ 2714982 w 7472601"/>
              <a:gd name="connsiteY377" fmla="*/ 5427051 h 6858000"/>
              <a:gd name="connsiteX378" fmla="*/ 2813361 w 7472601"/>
              <a:gd name="connsiteY378" fmla="*/ 6023912 h 6858000"/>
              <a:gd name="connsiteX379" fmla="*/ 2688430 w 7472601"/>
              <a:gd name="connsiteY379" fmla="*/ 6801564 h 6858000"/>
              <a:gd name="connsiteX380" fmla="*/ 2629626 w 7472601"/>
              <a:gd name="connsiteY380" fmla="*/ 6763394 h 6858000"/>
              <a:gd name="connsiteX381" fmla="*/ 2565328 w 7472601"/>
              <a:gd name="connsiteY381" fmla="*/ 5516399 h 6858000"/>
              <a:gd name="connsiteX382" fmla="*/ 1922999 w 7472601"/>
              <a:gd name="connsiteY382" fmla="*/ 5980343 h 6858000"/>
              <a:gd name="connsiteX383" fmla="*/ 1950261 w 7472601"/>
              <a:gd name="connsiteY383" fmla="*/ 6405858 h 6858000"/>
              <a:gd name="connsiteX384" fmla="*/ 2365554 w 7472601"/>
              <a:gd name="connsiteY384" fmla="*/ 6759107 h 6858000"/>
              <a:gd name="connsiteX385" fmla="*/ 2424142 w 7472601"/>
              <a:gd name="connsiteY385" fmla="*/ 6858000 h 6858000"/>
              <a:gd name="connsiteX386" fmla="*/ 2395994 w 7472601"/>
              <a:gd name="connsiteY386" fmla="*/ 6858000 h 6858000"/>
              <a:gd name="connsiteX387" fmla="*/ 2392863 w 7472601"/>
              <a:gd name="connsiteY387" fmla="*/ 6852964 h 6858000"/>
              <a:gd name="connsiteX388" fmla="*/ 2017589 w 7472601"/>
              <a:gd name="connsiteY388" fmla="*/ 6493982 h 6858000"/>
              <a:gd name="connsiteX389" fmla="*/ 2147336 w 7472601"/>
              <a:gd name="connsiteY389" fmla="*/ 6594052 h 6858000"/>
              <a:gd name="connsiteX390" fmla="*/ 2207047 w 7472601"/>
              <a:gd name="connsiteY390" fmla="*/ 6654540 h 6858000"/>
              <a:gd name="connsiteX391" fmla="*/ 2299106 w 7472601"/>
              <a:gd name="connsiteY391" fmla="*/ 6778931 h 6858000"/>
              <a:gd name="connsiteX392" fmla="*/ 2314430 w 7472601"/>
              <a:gd name="connsiteY392" fmla="*/ 6801144 h 6858000"/>
              <a:gd name="connsiteX393" fmla="*/ 2352406 w 7472601"/>
              <a:gd name="connsiteY393" fmla="*/ 6858000 h 6858000"/>
              <a:gd name="connsiteX394" fmla="*/ 2314492 w 7472601"/>
              <a:gd name="connsiteY394" fmla="*/ 6858000 h 6858000"/>
              <a:gd name="connsiteX395" fmla="*/ 2288095 w 7472601"/>
              <a:gd name="connsiteY395" fmla="*/ 6818030 h 6858000"/>
              <a:gd name="connsiteX396" fmla="*/ 2272768 w 7472601"/>
              <a:gd name="connsiteY396" fmla="*/ 6795822 h 6858000"/>
              <a:gd name="connsiteX397" fmla="*/ 2182715 w 7472601"/>
              <a:gd name="connsiteY397" fmla="*/ 6675071 h 6858000"/>
              <a:gd name="connsiteX398" fmla="*/ 2032061 w 7472601"/>
              <a:gd name="connsiteY398" fmla="*/ 6541380 h 6858000"/>
              <a:gd name="connsiteX399" fmla="*/ 2257220 w 7472601"/>
              <a:gd name="connsiteY399" fmla="*/ 6826257 h 6858000"/>
              <a:gd name="connsiteX400" fmla="*/ 2281324 w 7472601"/>
              <a:gd name="connsiteY400" fmla="*/ 6858000 h 6858000"/>
              <a:gd name="connsiteX401" fmla="*/ 2242860 w 7472601"/>
              <a:gd name="connsiteY401" fmla="*/ 6858000 h 6858000"/>
              <a:gd name="connsiteX402" fmla="*/ 2232818 w 7472601"/>
              <a:gd name="connsiteY402" fmla="*/ 6844926 h 6858000"/>
              <a:gd name="connsiteX403" fmla="*/ 1990172 w 7472601"/>
              <a:gd name="connsiteY403" fmla="*/ 6542121 h 6858000"/>
              <a:gd name="connsiteX404" fmla="*/ 2124090 w 7472601"/>
              <a:gd name="connsiteY404" fmla="*/ 6761017 h 6858000"/>
              <a:gd name="connsiteX405" fmla="*/ 2200380 w 7472601"/>
              <a:gd name="connsiteY405" fmla="*/ 6858000 h 6858000"/>
              <a:gd name="connsiteX406" fmla="*/ 2147507 w 7472601"/>
              <a:gd name="connsiteY406" fmla="*/ 6858000 h 6858000"/>
              <a:gd name="connsiteX407" fmla="*/ 2070668 w 7472601"/>
              <a:gd name="connsiteY407" fmla="*/ 6761520 h 6858000"/>
              <a:gd name="connsiteX408" fmla="*/ 1975142 w 7472601"/>
              <a:gd name="connsiteY408" fmla="*/ 6585570 h 6858000"/>
              <a:gd name="connsiteX409" fmla="*/ 2050035 w 7472601"/>
              <a:gd name="connsiteY409" fmla="*/ 6813345 h 6858000"/>
              <a:gd name="connsiteX410" fmla="*/ 2063025 w 7472601"/>
              <a:gd name="connsiteY410" fmla="*/ 6858000 h 6858000"/>
              <a:gd name="connsiteX411" fmla="*/ 2021675 w 7472601"/>
              <a:gd name="connsiteY411" fmla="*/ 6858000 h 6858000"/>
              <a:gd name="connsiteX412" fmla="*/ 2019308 w 7472601"/>
              <a:gd name="connsiteY412" fmla="*/ 6847118 h 6858000"/>
              <a:gd name="connsiteX413" fmla="*/ 1938835 w 7472601"/>
              <a:gd name="connsiteY413" fmla="*/ 6551160 h 6858000"/>
              <a:gd name="connsiteX414" fmla="*/ 1953230 w 7472601"/>
              <a:gd name="connsiteY414" fmla="*/ 6759699 h 6858000"/>
              <a:gd name="connsiteX415" fmla="*/ 1956763 w 7472601"/>
              <a:gd name="connsiteY415" fmla="*/ 6778191 h 6858000"/>
              <a:gd name="connsiteX416" fmla="*/ 1967925 w 7472601"/>
              <a:gd name="connsiteY416" fmla="*/ 6858000 h 6858000"/>
              <a:gd name="connsiteX417" fmla="*/ 1936622 w 7472601"/>
              <a:gd name="connsiteY417" fmla="*/ 6858000 h 6858000"/>
              <a:gd name="connsiteX418" fmla="*/ 1926261 w 7472601"/>
              <a:gd name="connsiteY418" fmla="*/ 6784064 h 6858000"/>
              <a:gd name="connsiteX419" fmla="*/ 1922724 w 7472601"/>
              <a:gd name="connsiteY419" fmla="*/ 6765577 h 6858000"/>
              <a:gd name="connsiteX420" fmla="*/ 1904650 w 7472601"/>
              <a:gd name="connsiteY420" fmla="*/ 6639616 h 6858000"/>
              <a:gd name="connsiteX421" fmla="*/ 1885273 w 7472601"/>
              <a:gd name="connsiteY421" fmla="*/ 6858000 h 6858000"/>
              <a:gd name="connsiteX422" fmla="*/ 1854363 w 7472601"/>
              <a:gd name="connsiteY422" fmla="*/ 6858000 h 6858000"/>
              <a:gd name="connsiteX423" fmla="*/ 1880391 w 7472601"/>
              <a:gd name="connsiteY423" fmla="*/ 6603796 h 6858000"/>
              <a:gd name="connsiteX424" fmla="*/ 1818273 w 7472601"/>
              <a:gd name="connsiteY424" fmla="*/ 6715729 h 6858000"/>
              <a:gd name="connsiteX425" fmla="*/ 1794691 w 7472601"/>
              <a:gd name="connsiteY425" fmla="*/ 6843239 h 6858000"/>
              <a:gd name="connsiteX426" fmla="*/ 1794914 w 7472601"/>
              <a:gd name="connsiteY426" fmla="*/ 6858000 h 6858000"/>
              <a:gd name="connsiteX427" fmla="*/ 1746128 w 7472601"/>
              <a:gd name="connsiteY427" fmla="*/ 6858000 h 6858000"/>
              <a:gd name="connsiteX428" fmla="*/ 1753934 w 7472601"/>
              <a:gd name="connsiteY428" fmla="*/ 6724796 h 6858000"/>
              <a:gd name="connsiteX429" fmla="*/ 1792053 w 7472601"/>
              <a:gd name="connsiteY429" fmla="*/ 6572396 h 6858000"/>
              <a:gd name="connsiteX430" fmla="*/ 1862248 w 7472601"/>
              <a:gd name="connsiteY430" fmla="*/ 6266397 h 6858000"/>
              <a:gd name="connsiteX431" fmla="*/ 1862250 w 7472601"/>
              <a:gd name="connsiteY431" fmla="*/ 6033531 h 6858000"/>
              <a:gd name="connsiteX432" fmla="*/ 1211999 w 7472601"/>
              <a:gd name="connsiteY432" fmla="*/ 6683610 h 6858000"/>
              <a:gd name="connsiteX433" fmla="*/ 1213266 w 7472601"/>
              <a:gd name="connsiteY433" fmla="*/ 6691947 h 6858000"/>
              <a:gd name="connsiteX434" fmla="*/ 1203370 w 7472601"/>
              <a:gd name="connsiteY434" fmla="*/ 6850676 h 6858000"/>
              <a:gd name="connsiteX435" fmla="*/ 1203671 w 7472601"/>
              <a:gd name="connsiteY435" fmla="*/ 6858000 h 6858000"/>
              <a:gd name="connsiteX436" fmla="*/ 1143180 w 7472601"/>
              <a:gd name="connsiteY436" fmla="*/ 6858000 h 6858000"/>
              <a:gd name="connsiteX437" fmla="*/ 1142176 w 7472601"/>
              <a:gd name="connsiteY437" fmla="*/ 6766045 h 6858000"/>
              <a:gd name="connsiteX438" fmla="*/ 1067484 w 7472601"/>
              <a:gd name="connsiteY438" fmla="*/ 6858000 h 6858000"/>
              <a:gd name="connsiteX439" fmla="*/ 953928 w 7472601"/>
              <a:gd name="connsiteY439" fmla="*/ 6858000 h 6858000"/>
              <a:gd name="connsiteX440" fmla="*/ 959715 w 7472601"/>
              <a:gd name="connsiteY440" fmla="*/ 6850185 h 6858000"/>
              <a:gd name="connsiteX441" fmla="*/ 1483788 w 7472601"/>
              <a:gd name="connsiteY441" fmla="*/ 6259174 h 6858000"/>
              <a:gd name="connsiteX442" fmla="*/ 1100671 w 7472601"/>
              <a:gd name="connsiteY442" fmla="*/ 6252137 h 6858000"/>
              <a:gd name="connsiteX443" fmla="*/ 1090144 w 7472601"/>
              <a:gd name="connsiteY443" fmla="*/ 6256748 h 6858000"/>
              <a:gd name="connsiteX444" fmla="*/ 1095872 w 7472601"/>
              <a:gd name="connsiteY444" fmla="*/ 6271892 h 6858000"/>
              <a:gd name="connsiteX445" fmla="*/ 262785 w 7472601"/>
              <a:gd name="connsiteY445" fmla="*/ 6845450 h 6858000"/>
              <a:gd name="connsiteX446" fmla="*/ 209968 w 7472601"/>
              <a:gd name="connsiteY446" fmla="*/ 6770713 h 6858000"/>
              <a:gd name="connsiteX447" fmla="*/ 873460 w 7472601"/>
              <a:gd name="connsiteY447" fmla="*/ 6253768 h 6858000"/>
              <a:gd name="connsiteX448" fmla="*/ 192686 w 7472601"/>
              <a:gd name="connsiteY448" fmla="*/ 5849257 h 6858000"/>
              <a:gd name="connsiteX449" fmla="*/ 4696 w 7472601"/>
              <a:gd name="connsiteY449" fmla="*/ 5697668 h 6858000"/>
              <a:gd name="connsiteX450" fmla="*/ 0 w 7472601"/>
              <a:gd name="connsiteY450" fmla="*/ 5689984 h 6858000"/>
              <a:gd name="connsiteX451" fmla="*/ 0 w 7472601"/>
              <a:gd name="connsiteY451" fmla="*/ 5513472 h 6858000"/>
              <a:gd name="connsiteX452" fmla="*/ 174101 w 7472601"/>
              <a:gd name="connsiteY452" fmla="*/ 5620277 h 6858000"/>
              <a:gd name="connsiteX453" fmla="*/ 891800 w 7472601"/>
              <a:gd name="connsiteY453" fmla="*/ 6036935 h 6858000"/>
              <a:gd name="connsiteX454" fmla="*/ 1072219 w 7472601"/>
              <a:gd name="connsiteY454" fmla="*/ 6169443 h 6858000"/>
              <a:gd name="connsiteX455" fmla="*/ 1074117 w 7472601"/>
              <a:gd name="connsiteY455" fmla="*/ 6170301 h 6858000"/>
              <a:gd name="connsiteX456" fmla="*/ 1083114 w 7472601"/>
              <a:gd name="connsiteY456" fmla="*/ 6174131 h 6858000"/>
              <a:gd name="connsiteX457" fmla="*/ 1543010 w 7472601"/>
              <a:gd name="connsiteY457" fmla="*/ 6191140 h 6858000"/>
              <a:gd name="connsiteX458" fmla="*/ 1551080 w 7472601"/>
              <a:gd name="connsiteY458" fmla="*/ 6195006 h 6858000"/>
              <a:gd name="connsiteX459" fmla="*/ 2345443 w 7472601"/>
              <a:gd name="connsiteY459" fmla="*/ 5549882 h 6858000"/>
              <a:gd name="connsiteX460" fmla="*/ 1721499 w 7472601"/>
              <a:gd name="connsiteY460" fmla="*/ 5599969 h 6858000"/>
              <a:gd name="connsiteX461" fmla="*/ 767716 w 7472601"/>
              <a:gd name="connsiteY461" fmla="*/ 5472768 h 6858000"/>
              <a:gd name="connsiteX462" fmla="*/ 722147 w 7472601"/>
              <a:gd name="connsiteY462" fmla="*/ 5393091 h 6858000"/>
              <a:gd name="connsiteX463" fmla="*/ 1485552 w 7472601"/>
              <a:gd name="connsiteY463" fmla="*/ 5313202 h 6858000"/>
              <a:gd name="connsiteX464" fmla="*/ 2143004 w 7472601"/>
              <a:gd name="connsiteY464" fmla="*/ 5402420 h 6858000"/>
              <a:gd name="connsiteX465" fmla="*/ 1933391 w 7472601"/>
              <a:gd name="connsiteY465" fmla="*/ 5156971 h 6858000"/>
              <a:gd name="connsiteX466" fmla="*/ 1827118 w 7472601"/>
              <a:gd name="connsiteY466" fmla="*/ 4968410 h 6858000"/>
              <a:gd name="connsiteX467" fmla="*/ 1837349 w 7472601"/>
              <a:gd name="connsiteY467" fmla="*/ 4956357 h 6858000"/>
              <a:gd name="connsiteX468" fmla="*/ 2162835 w 7472601"/>
              <a:gd name="connsiteY468" fmla="*/ 5187853 h 6858000"/>
              <a:gd name="connsiteX469" fmla="*/ 2257167 w 7472601"/>
              <a:gd name="connsiteY469" fmla="*/ 5462123 h 6858000"/>
              <a:gd name="connsiteX470" fmla="*/ 2261598 w 7472601"/>
              <a:gd name="connsiteY470" fmla="*/ 5467998 h 6858000"/>
              <a:gd name="connsiteX471" fmla="*/ 2437177 w 7472601"/>
              <a:gd name="connsiteY471" fmla="*/ 5479608 h 6858000"/>
              <a:gd name="connsiteX472" fmla="*/ 2445247 w 7472601"/>
              <a:gd name="connsiteY472" fmla="*/ 5483476 h 6858000"/>
              <a:gd name="connsiteX473" fmla="*/ 2743626 w 7472601"/>
              <a:gd name="connsiteY473" fmla="*/ 5304819 h 6858000"/>
              <a:gd name="connsiteX474" fmla="*/ 3048102 w 7472601"/>
              <a:gd name="connsiteY474" fmla="*/ 5150595 h 6858000"/>
              <a:gd name="connsiteX475" fmla="*/ 1799414 w 7472601"/>
              <a:gd name="connsiteY475" fmla="*/ 4694732 h 6858000"/>
              <a:gd name="connsiteX476" fmla="*/ 1771735 w 7472601"/>
              <a:gd name="connsiteY476" fmla="*/ 4619929 h 6858000"/>
              <a:gd name="connsiteX477" fmla="*/ 3104273 w 7472601"/>
              <a:gd name="connsiteY477" fmla="*/ 5076159 h 6858000"/>
              <a:gd name="connsiteX478" fmla="*/ 3113245 w 7472601"/>
              <a:gd name="connsiteY478" fmla="*/ 5090705 h 6858000"/>
              <a:gd name="connsiteX479" fmla="*/ 3126294 w 7472601"/>
              <a:gd name="connsiteY479" fmla="*/ 5114400 h 6858000"/>
              <a:gd name="connsiteX480" fmla="*/ 3937433 w 7472601"/>
              <a:gd name="connsiteY480" fmla="*/ 4830473 h 6858000"/>
              <a:gd name="connsiteX481" fmla="*/ 3590475 w 7472601"/>
              <a:gd name="connsiteY481" fmla="*/ 4597974 h 6858000"/>
              <a:gd name="connsiteX482" fmla="*/ 3100264 w 7472601"/>
              <a:gd name="connsiteY482" fmla="*/ 4579845 h 6858000"/>
              <a:gd name="connsiteX483" fmla="*/ 2183576 w 7472601"/>
              <a:gd name="connsiteY483" fmla="*/ 4227150 h 6858000"/>
              <a:gd name="connsiteX484" fmla="*/ 2151029 w 7472601"/>
              <a:gd name="connsiteY484" fmla="*/ 4146947 h 6858000"/>
              <a:gd name="connsiteX485" fmla="*/ 3563434 w 7472601"/>
              <a:gd name="connsiteY485" fmla="*/ 4469115 h 6858000"/>
              <a:gd name="connsiteX486" fmla="*/ 3177952 w 7472601"/>
              <a:gd name="connsiteY486" fmla="*/ 3657386 h 6858000"/>
              <a:gd name="connsiteX487" fmla="*/ 3189263 w 7472601"/>
              <a:gd name="connsiteY487" fmla="*/ 3625726 h 6858000"/>
              <a:gd name="connsiteX488" fmla="*/ 3560912 w 7472601"/>
              <a:gd name="connsiteY488" fmla="*/ 4079863 h 6858000"/>
              <a:gd name="connsiteX489" fmla="*/ 3626636 w 7472601"/>
              <a:gd name="connsiteY489" fmla="*/ 4512230 h 6858000"/>
              <a:gd name="connsiteX490" fmla="*/ 3653088 w 7472601"/>
              <a:gd name="connsiteY490" fmla="*/ 4521417 h 6858000"/>
              <a:gd name="connsiteX491" fmla="*/ 3988128 w 7472601"/>
              <a:gd name="connsiteY491" fmla="*/ 4817267 h 6858000"/>
              <a:gd name="connsiteX492" fmla="*/ 4830582 w 7472601"/>
              <a:gd name="connsiteY492" fmla="*/ 4676000 h 6858000"/>
              <a:gd name="connsiteX493" fmla="*/ 4830100 w 7472601"/>
              <a:gd name="connsiteY493" fmla="*/ 4675554 h 6858000"/>
              <a:gd name="connsiteX494" fmla="*/ 4036318 w 7472601"/>
              <a:gd name="connsiteY494" fmla="*/ 4147013 h 6858000"/>
              <a:gd name="connsiteX495" fmla="*/ 3432098 w 7472601"/>
              <a:gd name="connsiteY495" fmla="*/ 3537312 h 6858000"/>
              <a:gd name="connsiteX496" fmla="*/ 3446761 w 7472601"/>
              <a:gd name="connsiteY496" fmla="*/ 3461278 h 6858000"/>
              <a:gd name="connsiteX497" fmla="*/ 4419733 w 7472601"/>
              <a:gd name="connsiteY497" fmla="*/ 3963555 h 6858000"/>
              <a:gd name="connsiteX498" fmla="*/ 4781371 w 7472601"/>
              <a:gd name="connsiteY498" fmla="*/ 4458604 h 6858000"/>
              <a:gd name="connsiteX499" fmla="*/ 4780440 w 7472601"/>
              <a:gd name="connsiteY499" fmla="*/ 4470290 h 6858000"/>
              <a:gd name="connsiteX500" fmla="*/ 4898954 w 7472601"/>
              <a:gd name="connsiteY500" fmla="*/ 4662092 h 6858000"/>
              <a:gd name="connsiteX501" fmla="*/ 4900699 w 7472601"/>
              <a:gd name="connsiteY501" fmla="*/ 4670867 h 6858000"/>
              <a:gd name="connsiteX502" fmla="*/ 5714511 w 7472601"/>
              <a:gd name="connsiteY502" fmla="*/ 4663483 h 6858000"/>
              <a:gd name="connsiteX503" fmla="*/ 5464793 w 7472601"/>
              <a:gd name="connsiteY503" fmla="*/ 4393556 h 6858000"/>
              <a:gd name="connsiteX504" fmla="*/ 5461897 w 7472601"/>
              <a:gd name="connsiteY504" fmla="*/ 4390879 h 6858000"/>
              <a:gd name="connsiteX505" fmla="*/ 4294126 w 7472601"/>
              <a:gd name="connsiteY505" fmla="*/ 3303048 h 6858000"/>
              <a:gd name="connsiteX506" fmla="*/ 4305321 w 7472601"/>
              <a:gd name="connsiteY506" fmla="*/ 3256953 h 6858000"/>
              <a:gd name="connsiteX507" fmla="*/ 4949299 w 7472601"/>
              <a:gd name="connsiteY507" fmla="*/ 3766336 h 6858000"/>
              <a:gd name="connsiteX508" fmla="*/ 5291452 w 7472601"/>
              <a:gd name="connsiteY508" fmla="*/ 4076801 h 6858000"/>
              <a:gd name="connsiteX509" fmla="*/ 5434998 w 7472601"/>
              <a:gd name="connsiteY509" fmla="*/ 4254100 h 6858000"/>
              <a:gd name="connsiteX510" fmla="*/ 5351015 w 7472601"/>
              <a:gd name="connsiteY510" fmla="*/ 3760989 h 6858000"/>
              <a:gd name="connsiteX511" fmla="*/ 5413780 w 7472601"/>
              <a:gd name="connsiteY511" fmla="*/ 2966265 h 6858000"/>
              <a:gd name="connsiteX512" fmla="*/ 5425627 w 7472601"/>
              <a:gd name="connsiteY512" fmla="*/ 2954192 h 6858000"/>
              <a:gd name="connsiteX513" fmla="*/ 6604735 w 7472601"/>
              <a:gd name="connsiteY513" fmla="*/ 2041381 h 6858000"/>
              <a:gd name="connsiteX514" fmla="*/ 7204487 w 7472601"/>
              <a:gd name="connsiteY514" fmla="*/ 2742112 h 6858000"/>
              <a:gd name="connsiteX515" fmla="*/ 7131592 w 7472601"/>
              <a:gd name="connsiteY515" fmla="*/ 2672096 h 6858000"/>
              <a:gd name="connsiteX516" fmla="*/ 6996344 w 7472601"/>
              <a:gd name="connsiteY516" fmla="*/ 2518310 h 6858000"/>
              <a:gd name="connsiteX517" fmla="*/ 6735495 w 7472601"/>
              <a:gd name="connsiteY517" fmla="*/ 2196890 h 6858000"/>
              <a:gd name="connsiteX518" fmla="*/ 6721901 w 7472601"/>
              <a:gd name="connsiteY518" fmla="*/ 2179274 h 6858000"/>
              <a:gd name="connsiteX519" fmla="*/ 6604735 w 7472601"/>
              <a:gd name="connsiteY519" fmla="*/ 2041381 h 6858000"/>
              <a:gd name="connsiteX520" fmla="*/ 6591670 w 7472601"/>
              <a:gd name="connsiteY520" fmla="*/ 1988277 h 6858000"/>
              <a:gd name="connsiteX521" fmla="*/ 6747349 w 7472601"/>
              <a:gd name="connsiteY521" fmla="*/ 2160069 h 6858000"/>
              <a:gd name="connsiteX522" fmla="*/ 6760943 w 7472601"/>
              <a:gd name="connsiteY522" fmla="*/ 2177686 h 6858000"/>
              <a:gd name="connsiteX523" fmla="*/ 7021065 w 7472601"/>
              <a:gd name="connsiteY523" fmla="*/ 2498102 h 6858000"/>
              <a:gd name="connsiteX524" fmla="*/ 7155223 w 7472601"/>
              <a:gd name="connsiteY524" fmla="*/ 2650386 h 6858000"/>
              <a:gd name="connsiteX525" fmla="*/ 7203167 w 7472601"/>
              <a:gd name="connsiteY525" fmla="*/ 2697288 h 6858000"/>
              <a:gd name="connsiteX526" fmla="*/ 6937703 w 7472601"/>
              <a:gd name="connsiteY526" fmla="*/ 2321981 h 6858000"/>
              <a:gd name="connsiteX527" fmla="*/ 6591670 w 7472601"/>
              <a:gd name="connsiteY527" fmla="*/ 1988277 h 6858000"/>
              <a:gd name="connsiteX528" fmla="*/ 5798671 w 7472601"/>
              <a:gd name="connsiteY528" fmla="*/ 1981601 h 6858000"/>
              <a:gd name="connsiteX529" fmla="*/ 5754709 w 7472601"/>
              <a:gd name="connsiteY529" fmla="*/ 2071454 h 6858000"/>
              <a:gd name="connsiteX530" fmla="*/ 5763044 w 7472601"/>
              <a:gd name="connsiteY530" fmla="*/ 2842206 h 6858000"/>
              <a:gd name="connsiteX531" fmla="*/ 5764974 w 7472601"/>
              <a:gd name="connsiteY531" fmla="*/ 2799609 h 6858000"/>
              <a:gd name="connsiteX532" fmla="*/ 5767665 w 7472601"/>
              <a:gd name="connsiteY532" fmla="*/ 2666409 h 6858000"/>
              <a:gd name="connsiteX533" fmla="*/ 5763055 w 7472601"/>
              <a:gd name="connsiteY533" fmla="*/ 2579705 h 6858000"/>
              <a:gd name="connsiteX534" fmla="*/ 5758079 w 7472601"/>
              <a:gd name="connsiteY534" fmla="*/ 2492508 h 6858000"/>
              <a:gd name="connsiteX535" fmla="*/ 5779325 w 7472601"/>
              <a:gd name="connsiteY535" fmla="*/ 2197069 h 6858000"/>
              <a:gd name="connsiteX536" fmla="*/ 5798671 w 7472601"/>
              <a:gd name="connsiteY536" fmla="*/ 1981601 h 6858000"/>
              <a:gd name="connsiteX537" fmla="*/ 5829202 w 7472601"/>
              <a:gd name="connsiteY537" fmla="*/ 1971679 h 6858000"/>
              <a:gd name="connsiteX538" fmla="*/ 5809558 w 7472601"/>
              <a:gd name="connsiteY538" fmla="*/ 2198043 h 6858000"/>
              <a:gd name="connsiteX539" fmla="*/ 5788653 w 7472601"/>
              <a:gd name="connsiteY539" fmla="*/ 2489430 h 6858000"/>
              <a:gd name="connsiteX540" fmla="*/ 5793439 w 7472601"/>
              <a:gd name="connsiteY540" fmla="*/ 2575235 h 6858000"/>
              <a:gd name="connsiteX541" fmla="*/ 5796837 w 7472601"/>
              <a:gd name="connsiteY541" fmla="*/ 2637633 h 6858000"/>
              <a:gd name="connsiteX542" fmla="*/ 5818614 w 7472601"/>
              <a:gd name="connsiteY542" fmla="*/ 2473055 h 6858000"/>
              <a:gd name="connsiteX543" fmla="*/ 5829202 w 7472601"/>
              <a:gd name="connsiteY543" fmla="*/ 1971679 h 6858000"/>
              <a:gd name="connsiteX544" fmla="*/ 5911389 w 7472601"/>
              <a:gd name="connsiteY544" fmla="*/ 1898371 h 6858000"/>
              <a:gd name="connsiteX545" fmla="*/ 6237627 w 7472601"/>
              <a:gd name="connsiteY545" fmla="*/ 2231921 h 6858000"/>
              <a:gd name="connsiteX546" fmla="*/ 5911389 w 7472601"/>
              <a:gd name="connsiteY546" fmla="*/ 1898371 h 6858000"/>
              <a:gd name="connsiteX547" fmla="*/ 6944437 w 7472601"/>
              <a:gd name="connsiteY547" fmla="*/ 1575402 h 6858000"/>
              <a:gd name="connsiteX548" fmla="*/ 6304730 w 7472601"/>
              <a:gd name="connsiteY548" fmla="*/ 1766654 h 6858000"/>
              <a:gd name="connsiteX549" fmla="*/ 6944437 w 7472601"/>
              <a:gd name="connsiteY549" fmla="*/ 1575402 h 6858000"/>
              <a:gd name="connsiteX550" fmla="*/ 7019523 w 7472601"/>
              <a:gd name="connsiteY550" fmla="*/ 1519450 h 6858000"/>
              <a:gd name="connsiteX551" fmla="*/ 6298091 w 7472601"/>
              <a:gd name="connsiteY551" fmla="*/ 1737122 h 6858000"/>
              <a:gd name="connsiteX552" fmla="*/ 7019523 w 7472601"/>
              <a:gd name="connsiteY552" fmla="*/ 1519450 h 6858000"/>
              <a:gd name="connsiteX553" fmla="*/ 2399523 w 7472601"/>
              <a:gd name="connsiteY553" fmla="*/ 1428234 h 6858000"/>
              <a:gd name="connsiteX554" fmla="*/ 2224982 w 7472601"/>
              <a:gd name="connsiteY554" fmla="*/ 1826201 h 6858000"/>
              <a:gd name="connsiteX555" fmla="*/ 2096099 w 7472601"/>
              <a:gd name="connsiteY555" fmla="*/ 2345900 h 6858000"/>
              <a:gd name="connsiteX556" fmla="*/ 2283317 w 7472601"/>
              <a:gd name="connsiteY556" fmla="*/ 1796925 h 6858000"/>
              <a:gd name="connsiteX557" fmla="*/ 2399523 w 7472601"/>
              <a:gd name="connsiteY557" fmla="*/ 1428234 h 6858000"/>
              <a:gd name="connsiteX558" fmla="*/ 2448558 w 7472601"/>
              <a:gd name="connsiteY558" fmla="*/ 1373435 h 6858000"/>
              <a:gd name="connsiteX559" fmla="*/ 2312521 w 7472601"/>
              <a:gd name="connsiteY559" fmla="*/ 1806140 h 6858000"/>
              <a:gd name="connsiteX560" fmla="*/ 2127533 w 7472601"/>
              <a:gd name="connsiteY560" fmla="*/ 2348380 h 6858000"/>
              <a:gd name="connsiteX561" fmla="*/ 2358080 w 7472601"/>
              <a:gd name="connsiteY561" fmla="*/ 1866134 h 6858000"/>
              <a:gd name="connsiteX562" fmla="*/ 2407436 w 7472601"/>
              <a:gd name="connsiteY562" fmla="*/ 1651070 h 6858000"/>
              <a:gd name="connsiteX563" fmla="*/ 2448558 w 7472601"/>
              <a:gd name="connsiteY563" fmla="*/ 1373435 h 6858000"/>
              <a:gd name="connsiteX564" fmla="*/ 278707 w 7472601"/>
              <a:gd name="connsiteY564" fmla="*/ 1352270 h 6858000"/>
              <a:gd name="connsiteX565" fmla="*/ 321570 w 7472601"/>
              <a:gd name="connsiteY565" fmla="*/ 1861610 h 6858000"/>
              <a:gd name="connsiteX566" fmla="*/ 294281 w 7472601"/>
              <a:gd name="connsiteY566" fmla="*/ 1440658 h 6858000"/>
              <a:gd name="connsiteX567" fmla="*/ 278707 w 7472601"/>
              <a:gd name="connsiteY567" fmla="*/ 1352270 h 6858000"/>
              <a:gd name="connsiteX568" fmla="*/ 1423821 w 7472601"/>
              <a:gd name="connsiteY568" fmla="*/ 1351958 h 6858000"/>
              <a:gd name="connsiteX569" fmla="*/ 1638521 w 7472601"/>
              <a:gd name="connsiteY569" fmla="*/ 1908470 h 6858000"/>
              <a:gd name="connsiteX570" fmla="*/ 1754199 w 7472601"/>
              <a:gd name="connsiteY570" fmla="*/ 2149284 h 6858000"/>
              <a:gd name="connsiteX571" fmla="*/ 1908359 w 7472601"/>
              <a:gd name="connsiteY571" fmla="*/ 2364988 h 6858000"/>
              <a:gd name="connsiteX572" fmla="*/ 1647661 w 7472601"/>
              <a:gd name="connsiteY572" fmla="*/ 1825945 h 6858000"/>
              <a:gd name="connsiteX573" fmla="*/ 1423821 w 7472601"/>
              <a:gd name="connsiteY573" fmla="*/ 1351958 h 6858000"/>
              <a:gd name="connsiteX574" fmla="*/ 1431890 w 7472601"/>
              <a:gd name="connsiteY574" fmla="*/ 1306475 h 6858000"/>
              <a:gd name="connsiteX575" fmla="*/ 1507597 w 7472601"/>
              <a:gd name="connsiteY575" fmla="*/ 1446132 h 6858000"/>
              <a:gd name="connsiteX576" fmla="*/ 1674586 w 7472601"/>
              <a:gd name="connsiteY576" fmla="*/ 1813832 h 6858000"/>
              <a:gd name="connsiteX577" fmla="*/ 1815950 w 7472601"/>
              <a:gd name="connsiteY577" fmla="*/ 2128564 h 6858000"/>
              <a:gd name="connsiteX578" fmla="*/ 1984242 w 7472601"/>
              <a:gd name="connsiteY578" fmla="*/ 2430829 h 6858000"/>
              <a:gd name="connsiteX579" fmla="*/ 2014023 w 7472601"/>
              <a:gd name="connsiteY579" fmla="*/ 2450995 h 6858000"/>
              <a:gd name="connsiteX580" fmla="*/ 1747337 w 7472601"/>
              <a:gd name="connsiteY580" fmla="*/ 1855264 h 6858000"/>
              <a:gd name="connsiteX581" fmla="*/ 1533749 w 7472601"/>
              <a:gd name="connsiteY581" fmla="*/ 1478656 h 6858000"/>
              <a:gd name="connsiteX582" fmla="*/ 1431890 w 7472601"/>
              <a:gd name="connsiteY582" fmla="*/ 1306475 h 6858000"/>
              <a:gd name="connsiteX583" fmla="*/ 5052692 w 7472601"/>
              <a:gd name="connsiteY583" fmla="*/ 1292994 h 6858000"/>
              <a:gd name="connsiteX584" fmla="*/ 5200661 w 7472601"/>
              <a:gd name="connsiteY584" fmla="*/ 1635186 h 6858000"/>
              <a:gd name="connsiteX585" fmla="*/ 5297138 w 7472601"/>
              <a:gd name="connsiteY585" fmla="*/ 1906351 h 6858000"/>
              <a:gd name="connsiteX586" fmla="*/ 5052692 w 7472601"/>
              <a:gd name="connsiteY586" fmla="*/ 1292994 h 6858000"/>
              <a:gd name="connsiteX587" fmla="*/ 5009948 w 7472601"/>
              <a:gd name="connsiteY587" fmla="*/ 1273619 h 6858000"/>
              <a:gd name="connsiteX588" fmla="*/ 5121777 w 7472601"/>
              <a:gd name="connsiteY588" fmla="*/ 1654213 h 6858000"/>
              <a:gd name="connsiteX589" fmla="*/ 5293545 w 7472601"/>
              <a:gd name="connsiteY589" fmla="*/ 2072247 h 6858000"/>
              <a:gd name="connsiteX590" fmla="*/ 5294042 w 7472601"/>
              <a:gd name="connsiteY590" fmla="*/ 2065019 h 6858000"/>
              <a:gd name="connsiteX591" fmla="*/ 5171936 w 7472601"/>
              <a:gd name="connsiteY591" fmla="*/ 1647613 h 6858000"/>
              <a:gd name="connsiteX592" fmla="*/ 5009948 w 7472601"/>
              <a:gd name="connsiteY592" fmla="*/ 1273619 h 6858000"/>
              <a:gd name="connsiteX593" fmla="*/ 655236 w 7472601"/>
              <a:gd name="connsiteY593" fmla="*/ 1268632 h 6858000"/>
              <a:gd name="connsiteX594" fmla="*/ 839521 w 7472601"/>
              <a:gd name="connsiteY594" fmla="*/ 1685315 h 6858000"/>
              <a:gd name="connsiteX595" fmla="*/ 1109416 w 7472601"/>
              <a:gd name="connsiteY595" fmla="*/ 2061663 h 6858000"/>
              <a:gd name="connsiteX596" fmla="*/ 1298300 w 7472601"/>
              <a:gd name="connsiteY596" fmla="*/ 2247742 h 6858000"/>
              <a:gd name="connsiteX597" fmla="*/ 1125871 w 7472601"/>
              <a:gd name="connsiteY597" fmla="*/ 1989513 h 6858000"/>
              <a:gd name="connsiteX598" fmla="*/ 981574 w 7472601"/>
              <a:gd name="connsiteY598" fmla="*/ 1783157 h 6858000"/>
              <a:gd name="connsiteX599" fmla="*/ 922198 w 7472601"/>
              <a:gd name="connsiteY599" fmla="*/ 1677437 h 6858000"/>
              <a:gd name="connsiteX600" fmla="*/ 869293 w 7472601"/>
              <a:gd name="connsiteY600" fmla="*/ 1583214 h 6858000"/>
              <a:gd name="connsiteX601" fmla="*/ 751431 w 7472601"/>
              <a:gd name="connsiteY601" fmla="*/ 1405731 h 6858000"/>
              <a:gd name="connsiteX602" fmla="*/ 655236 w 7472601"/>
              <a:gd name="connsiteY602" fmla="*/ 1268632 h 6858000"/>
              <a:gd name="connsiteX603" fmla="*/ 6516292 w 7472601"/>
              <a:gd name="connsiteY603" fmla="*/ 1263064 h 6858000"/>
              <a:gd name="connsiteX604" fmla="*/ 5736320 w 7472601"/>
              <a:gd name="connsiteY604" fmla="*/ 1501803 h 6858000"/>
              <a:gd name="connsiteX605" fmla="*/ 6516292 w 7472601"/>
              <a:gd name="connsiteY605" fmla="*/ 1263064 h 6858000"/>
              <a:gd name="connsiteX606" fmla="*/ 291466 w 7472601"/>
              <a:gd name="connsiteY606" fmla="*/ 1250369 h 6858000"/>
              <a:gd name="connsiteX607" fmla="*/ 323180 w 7472601"/>
              <a:gd name="connsiteY607" fmla="*/ 1435283 h 6858000"/>
              <a:gd name="connsiteX608" fmla="*/ 349381 w 7472601"/>
              <a:gd name="connsiteY608" fmla="*/ 1875041 h 6858000"/>
              <a:gd name="connsiteX609" fmla="*/ 374363 w 7472601"/>
              <a:gd name="connsiteY609" fmla="*/ 1506494 h 6858000"/>
              <a:gd name="connsiteX610" fmla="*/ 302168 w 7472601"/>
              <a:gd name="connsiteY610" fmla="*/ 1274495 h 6858000"/>
              <a:gd name="connsiteX611" fmla="*/ 291466 w 7472601"/>
              <a:gd name="connsiteY611" fmla="*/ 1250369 h 6858000"/>
              <a:gd name="connsiteX612" fmla="*/ 678222 w 7472601"/>
              <a:gd name="connsiteY612" fmla="*/ 1248670 h 6858000"/>
              <a:gd name="connsiteX613" fmla="*/ 775536 w 7472601"/>
              <a:gd name="connsiteY613" fmla="*/ 1388015 h 6858000"/>
              <a:gd name="connsiteX614" fmla="*/ 894529 w 7472601"/>
              <a:gd name="connsiteY614" fmla="*/ 1567739 h 6858000"/>
              <a:gd name="connsiteX615" fmla="*/ 948000 w 7472601"/>
              <a:gd name="connsiteY615" fmla="*/ 1663088 h 6858000"/>
              <a:gd name="connsiteX616" fmla="*/ 1006812 w 7472601"/>
              <a:gd name="connsiteY616" fmla="*/ 1767683 h 6858000"/>
              <a:gd name="connsiteX617" fmla="*/ 1149133 w 7472601"/>
              <a:gd name="connsiteY617" fmla="*/ 1971513 h 6858000"/>
              <a:gd name="connsiteX618" fmla="*/ 1333952 w 7472601"/>
              <a:gd name="connsiteY618" fmla="*/ 2251620 h 6858000"/>
              <a:gd name="connsiteX619" fmla="*/ 1337329 w 7472601"/>
              <a:gd name="connsiteY619" fmla="*/ 2258350 h 6858000"/>
              <a:gd name="connsiteX620" fmla="*/ 1014726 w 7472601"/>
              <a:gd name="connsiteY620" fmla="*/ 1615556 h 6858000"/>
              <a:gd name="connsiteX621" fmla="*/ 678222 w 7472601"/>
              <a:gd name="connsiteY621" fmla="*/ 1248670 h 6858000"/>
              <a:gd name="connsiteX622" fmla="*/ 6691602 w 7472601"/>
              <a:gd name="connsiteY622" fmla="*/ 1140573 h 6858000"/>
              <a:gd name="connsiteX623" fmla="*/ 6571100 w 7472601"/>
              <a:gd name="connsiteY623" fmla="*/ 1183662 h 6858000"/>
              <a:gd name="connsiteX624" fmla="*/ 6241687 w 7472601"/>
              <a:gd name="connsiteY624" fmla="*/ 1257600 h 6858000"/>
              <a:gd name="connsiteX625" fmla="*/ 5693009 w 7472601"/>
              <a:gd name="connsiteY625" fmla="*/ 1478256 h 6858000"/>
              <a:gd name="connsiteX626" fmla="*/ 6548420 w 7472601"/>
              <a:gd name="connsiteY626" fmla="*/ 1214599 h 6858000"/>
              <a:gd name="connsiteX627" fmla="*/ 6605473 w 7472601"/>
              <a:gd name="connsiteY627" fmla="*/ 1184686 h 6858000"/>
              <a:gd name="connsiteX628" fmla="*/ 6691602 w 7472601"/>
              <a:gd name="connsiteY628" fmla="*/ 1140573 h 6858000"/>
              <a:gd name="connsiteX629" fmla="*/ 4002475 w 7472601"/>
              <a:gd name="connsiteY629" fmla="*/ 1037802 h 6858000"/>
              <a:gd name="connsiteX630" fmla="*/ 4000324 w 7472601"/>
              <a:gd name="connsiteY630" fmla="*/ 1039362 h 6858000"/>
              <a:gd name="connsiteX631" fmla="*/ 4002862 w 7472601"/>
              <a:gd name="connsiteY631" fmla="*/ 1042866 h 6858000"/>
              <a:gd name="connsiteX632" fmla="*/ 4002475 w 7472601"/>
              <a:gd name="connsiteY632" fmla="*/ 1037802 h 6858000"/>
              <a:gd name="connsiteX633" fmla="*/ 506322 w 7472601"/>
              <a:gd name="connsiteY633" fmla="*/ 1020997 h 6858000"/>
              <a:gd name="connsiteX634" fmla="*/ 533068 w 7472601"/>
              <a:gd name="connsiteY634" fmla="*/ 1029409 h 6858000"/>
              <a:gd name="connsiteX635" fmla="*/ 1232525 w 7472601"/>
              <a:gd name="connsiteY635" fmla="*/ 1804675 h 6858000"/>
              <a:gd name="connsiteX636" fmla="*/ 1388858 w 7472601"/>
              <a:gd name="connsiteY636" fmla="*/ 2368011 h 6858000"/>
              <a:gd name="connsiteX637" fmla="*/ 1384098 w 7472601"/>
              <a:gd name="connsiteY637" fmla="*/ 2378125 h 6858000"/>
              <a:gd name="connsiteX638" fmla="*/ 1425393 w 7472601"/>
              <a:gd name="connsiteY638" fmla="*/ 2589124 h 6858000"/>
              <a:gd name="connsiteX639" fmla="*/ 1424001 w 7472601"/>
              <a:gd name="connsiteY639" fmla="*/ 2597541 h 6858000"/>
              <a:gd name="connsiteX640" fmla="*/ 2152729 w 7472601"/>
              <a:gd name="connsiteY640" fmla="*/ 2864487 h 6858000"/>
              <a:gd name="connsiteX641" fmla="*/ 2020609 w 7472601"/>
              <a:gd name="connsiteY641" fmla="*/ 2539671 h 6858000"/>
              <a:gd name="connsiteX642" fmla="*/ 2018920 w 7472601"/>
              <a:gd name="connsiteY642" fmla="*/ 2536309 h 6858000"/>
              <a:gd name="connsiteX643" fmla="*/ 1342441 w 7472601"/>
              <a:gd name="connsiteY643" fmla="*/ 1173017 h 6858000"/>
              <a:gd name="connsiteX644" fmla="*/ 1367925 w 7472601"/>
              <a:gd name="connsiteY644" fmla="*/ 1135648 h 6858000"/>
              <a:gd name="connsiteX645" fmla="*/ 1771401 w 7472601"/>
              <a:gd name="connsiteY645" fmla="*/ 1806673 h 6858000"/>
              <a:gd name="connsiteX646" fmla="*/ 1972385 w 7472601"/>
              <a:gd name="connsiteY646" fmla="*/ 2198735 h 6858000"/>
              <a:gd name="connsiteX647" fmla="*/ 2040892 w 7472601"/>
              <a:gd name="connsiteY647" fmla="*/ 2405205 h 6858000"/>
              <a:gd name="connsiteX648" fmla="*/ 2131689 w 7472601"/>
              <a:gd name="connsiteY648" fmla="*/ 1936926 h 6858000"/>
              <a:gd name="connsiteX649" fmla="*/ 2454820 w 7472601"/>
              <a:gd name="connsiteY649" fmla="*/ 1248808 h 6858000"/>
              <a:gd name="connsiteX650" fmla="*/ 2492512 w 7472601"/>
              <a:gd name="connsiteY650" fmla="*/ 1302920 h 6858000"/>
              <a:gd name="connsiteX651" fmla="*/ 2081216 w 7472601"/>
              <a:gd name="connsiteY651" fmla="*/ 2527513 h 6858000"/>
              <a:gd name="connsiteX652" fmla="*/ 2081211 w 7472601"/>
              <a:gd name="connsiteY652" fmla="*/ 2528916 h 6858000"/>
              <a:gd name="connsiteX653" fmla="*/ 2199067 w 7472601"/>
              <a:gd name="connsiteY653" fmla="*/ 2884061 h 6858000"/>
              <a:gd name="connsiteX654" fmla="*/ 3192586 w 7472601"/>
              <a:gd name="connsiteY654" fmla="*/ 3411496 h 6858000"/>
              <a:gd name="connsiteX655" fmla="*/ 3182620 w 7472601"/>
              <a:gd name="connsiteY655" fmla="*/ 3483279 h 6858000"/>
              <a:gd name="connsiteX656" fmla="*/ 2435119 w 7472601"/>
              <a:gd name="connsiteY656" fmla="*/ 3080173 h 6858000"/>
              <a:gd name="connsiteX657" fmla="*/ 2410152 w 7472601"/>
              <a:gd name="connsiteY657" fmla="*/ 3063751 h 6858000"/>
              <a:gd name="connsiteX658" fmla="*/ 2408099 w 7472601"/>
              <a:gd name="connsiteY658" fmla="*/ 3064403 h 6858000"/>
              <a:gd name="connsiteX659" fmla="*/ 2407218 w 7472601"/>
              <a:gd name="connsiteY659" fmla="*/ 3070324 h 6858000"/>
              <a:gd name="connsiteX660" fmla="*/ 2380138 w 7472601"/>
              <a:gd name="connsiteY660" fmla="*/ 3099341 h 6858000"/>
              <a:gd name="connsiteX661" fmla="*/ 1765923 w 7472601"/>
              <a:gd name="connsiteY661" fmla="*/ 3581043 h 6858000"/>
              <a:gd name="connsiteX662" fmla="*/ 1702258 w 7472601"/>
              <a:gd name="connsiteY662" fmla="*/ 3612286 h 6858000"/>
              <a:gd name="connsiteX663" fmla="*/ 1538370 w 7472601"/>
              <a:gd name="connsiteY663" fmla="*/ 3811804 h 6858000"/>
              <a:gd name="connsiteX664" fmla="*/ 542867 w 7472601"/>
              <a:gd name="connsiteY664" fmla="*/ 4944092 h 6858000"/>
              <a:gd name="connsiteX665" fmla="*/ 515800 w 7472601"/>
              <a:gd name="connsiteY665" fmla="*/ 4862180 h 6858000"/>
              <a:gd name="connsiteX666" fmla="*/ 909145 w 7472601"/>
              <a:gd name="connsiteY666" fmla="*/ 4199225 h 6858000"/>
              <a:gd name="connsiteX667" fmla="*/ 1214067 w 7472601"/>
              <a:gd name="connsiteY667" fmla="*/ 3908561 h 6858000"/>
              <a:gd name="connsiteX668" fmla="*/ 640967 w 7472601"/>
              <a:gd name="connsiteY668" fmla="*/ 4105601 h 6858000"/>
              <a:gd name="connsiteX669" fmla="*/ 112563 w 7472601"/>
              <a:gd name="connsiteY669" fmla="*/ 4396952 h 6858000"/>
              <a:gd name="connsiteX670" fmla="*/ 0 w 7472601"/>
              <a:gd name="connsiteY670" fmla="*/ 4466006 h 6858000"/>
              <a:gd name="connsiteX671" fmla="*/ 0 w 7472601"/>
              <a:gd name="connsiteY671" fmla="*/ 4233763 h 6858000"/>
              <a:gd name="connsiteX672" fmla="*/ 36881 w 7472601"/>
              <a:gd name="connsiteY672" fmla="*/ 4200118 h 6858000"/>
              <a:gd name="connsiteX673" fmla="*/ 910534 w 7472601"/>
              <a:gd name="connsiteY673" fmla="*/ 3629753 h 6858000"/>
              <a:gd name="connsiteX674" fmla="*/ 1578717 w 7472601"/>
              <a:gd name="connsiteY674" fmla="*/ 3575982 h 6858000"/>
              <a:gd name="connsiteX675" fmla="*/ 2338780 w 7472601"/>
              <a:gd name="connsiteY675" fmla="*/ 3033725 h 6858000"/>
              <a:gd name="connsiteX676" fmla="*/ 1807991 w 7472601"/>
              <a:gd name="connsiteY676" fmla="*/ 2807184 h 6858000"/>
              <a:gd name="connsiteX677" fmla="*/ 1416358 w 7472601"/>
              <a:gd name="connsiteY677" fmla="*/ 3112571 h 6858000"/>
              <a:gd name="connsiteX678" fmla="*/ 939066 w 7472601"/>
              <a:gd name="connsiteY678" fmla="*/ 3378798 h 6858000"/>
              <a:gd name="connsiteX679" fmla="*/ 115099 w 7472601"/>
              <a:gd name="connsiteY679" fmla="*/ 3607650 h 6858000"/>
              <a:gd name="connsiteX680" fmla="*/ 97284 w 7472601"/>
              <a:gd name="connsiteY680" fmla="*/ 3520393 h 6858000"/>
              <a:gd name="connsiteX681" fmla="*/ 922050 w 7472601"/>
              <a:gd name="connsiteY681" fmla="*/ 3074867 h 6858000"/>
              <a:gd name="connsiteX682" fmla="*/ 1405265 w 7472601"/>
              <a:gd name="connsiteY682" fmla="*/ 3016319 h 6858000"/>
              <a:gd name="connsiteX683" fmla="*/ 1407512 w 7472601"/>
              <a:gd name="connsiteY683" fmla="*/ 3018001 h 6858000"/>
              <a:gd name="connsiteX684" fmla="*/ 1726266 w 7472601"/>
              <a:gd name="connsiteY684" fmla="*/ 2777274 h 6858000"/>
              <a:gd name="connsiteX685" fmla="*/ 625390 w 7472601"/>
              <a:gd name="connsiteY685" fmla="*/ 2514541 h 6858000"/>
              <a:gd name="connsiteX686" fmla="*/ 619799 w 7472601"/>
              <a:gd name="connsiteY686" fmla="*/ 2527180 h 6858000"/>
              <a:gd name="connsiteX687" fmla="*/ 310030 w 7472601"/>
              <a:gd name="connsiteY687" fmla="*/ 2771818 h 6858000"/>
              <a:gd name="connsiteX688" fmla="*/ 173877 w 7472601"/>
              <a:gd name="connsiteY688" fmla="*/ 2937056 h 6858000"/>
              <a:gd name="connsiteX689" fmla="*/ 77889 w 7472601"/>
              <a:gd name="connsiteY689" fmla="*/ 3138440 h 6858000"/>
              <a:gd name="connsiteX690" fmla="*/ 0 w 7472601"/>
              <a:gd name="connsiteY690" fmla="*/ 3271395 h 6858000"/>
              <a:gd name="connsiteX691" fmla="*/ 0 w 7472601"/>
              <a:gd name="connsiteY691" fmla="*/ 3153002 h 6858000"/>
              <a:gd name="connsiteX692" fmla="*/ 2386 w 7472601"/>
              <a:gd name="connsiteY692" fmla="*/ 3149203 h 6858000"/>
              <a:gd name="connsiteX693" fmla="*/ 89753 w 7472601"/>
              <a:gd name="connsiteY693" fmla="*/ 2987702 h 6858000"/>
              <a:gd name="connsiteX694" fmla="*/ 76869 w 7472601"/>
              <a:gd name="connsiteY694" fmla="*/ 3005404 h 6858000"/>
              <a:gd name="connsiteX695" fmla="*/ 32049 w 7472601"/>
              <a:gd name="connsiteY695" fmla="*/ 3065814 h 6858000"/>
              <a:gd name="connsiteX696" fmla="*/ 0 w 7472601"/>
              <a:gd name="connsiteY696" fmla="*/ 3108744 h 6858000"/>
              <a:gd name="connsiteX697" fmla="*/ 0 w 7472601"/>
              <a:gd name="connsiteY697" fmla="*/ 3058059 h 6858000"/>
              <a:gd name="connsiteX698" fmla="*/ 7610 w 7472601"/>
              <a:gd name="connsiteY698" fmla="*/ 3047889 h 6858000"/>
              <a:gd name="connsiteX699" fmla="*/ 52419 w 7472601"/>
              <a:gd name="connsiteY699" fmla="*/ 2987479 h 6858000"/>
              <a:gd name="connsiteX700" fmla="*/ 59142 w 7472601"/>
              <a:gd name="connsiteY700" fmla="*/ 2978488 h 6858000"/>
              <a:gd name="connsiteX701" fmla="*/ 0 w 7472601"/>
              <a:gd name="connsiteY701" fmla="*/ 3015334 h 6858000"/>
              <a:gd name="connsiteX702" fmla="*/ 0 w 7472601"/>
              <a:gd name="connsiteY702" fmla="*/ 2914286 h 6858000"/>
              <a:gd name="connsiteX703" fmla="*/ 36383 w 7472601"/>
              <a:gd name="connsiteY703" fmla="*/ 2901128 h 6858000"/>
              <a:gd name="connsiteX704" fmla="*/ 156329 w 7472601"/>
              <a:gd name="connsiteY704" fmla="*/ 2840533 h 6858000"/>
              <a:gd name="connsiteX705" fmla="*/ 358355 w 7472601"/>
              <a:gd name="connsiteY705" fmla="*/ 2620471 h 6858000"/>
              <a:gd name="connsiteX706" fmla="*/ 510577 w 7472601"/>
              <a:gd name="connsiteY706" fmla="*/ 2501244 h 6858000"/>
              <a:gd name="connsiteX707" fmla="*/ 211967 w 7472601"/>
              <a:gd name="connsiteY707" fmla="*/ 2479171 h 6858000"/>
              <a:gd name="connsiteX708" fmla="*/ 0 w 7472601"/>
              <a:gd name="connsiteY708" fmla="*/ 2476398 h 6858000"/>
              <a:gd name="connsiteX709" fmla="*/ 0 w 7472601"/>
              <a:gd name="connsiteY709" fmla="*/ 2389189 h 6858000"/>
              <a:gd name="connsiteX710" fmla="*/ 103062 w 7472601"/>
              <a:gd name="connsiteY710" fmla="*/ 2389518 h 6858000"/>
              <a:gd name="connsiteX711" fmla="*/ 510734 w 7472601"/>
              <a:gd name="connsiteY711" fmla="*/ 2416201 h 6858000"/>
              <a:gd name="connsiteX712" fmla="*/ 279257 w 7472601"/>
              <a:gd name="connsiteY712" fmla="*/ 2092102 h 6858000"/>
              <a:gd name="connsiteX713" fmla="*/ 65265 w 7472601"/>
              <a:gd name="connsiteY713" fmla="*/ 2006049 h 6858000"/>
              <a:gd name="connsiteX714" fmla="*/ 0 w 7472601"/>
              <a:gd name="connsiteY714" fmla="*/ 1982532 h 6858000"/>
              <a:gd name="connsiteX715" fmla="*/ 0 w 7472601"/>
              <a:gd name="connsiteY715" fmla="*/ 1912789 h 6858000"/>
              <a:gd name="connsiteX716" fmla="*/ 97460 w 7472601"/>
              <a:gd name="connsiteY716" fmla="*/ 1953725 h 6858000"/>
              <a:gd name="connsiteX717" fmla="*/ 221272 w 7472601"/>
              <a:gd name="connsiteY717" fmla="*/ 1980766 h 6858000"/>
              <a:gd name="connsiteX718" fmla="*/ 116765 w 7472601"/>
              <a:gd name="connsiteY718" fmla="*/ 1911033 h 6858000"/>
              <a:gd name="connsiteX719" fmla="*/ 16405 w 7472601"/>
              <a:gd name="connsiteY719" fmla="*/ 1803412 h 6858000"/>
              <a:gd name="connsiteX720" fmla="*/ 0 w 7472601"/>
              <a:gd name="connsiteY720" fmla="*/ 1784777 h 6858000"/>
              <a:gd name="connsiteX721" fmla="*/ 0 w 7472601"/>
              <a:gd name="connsiteY721" fmla="*/ 1740082 h 6858000"/>
              <a:gd name="connsiteX722" fmla="*/ 39394 w 7472601"/>
              <a:gd name="connsiteY722" fmla="*/ 1784856 h 6858000"/>
              <a:gd name="connsiteX723" fmla="*/ 135813 w 7472601"/>
              <a:gd name="connsiteY723" fmla="*/ 1888838 h 6858000"/>
              <a:gd name="connsiteX724" fmla="*/ 242575 w 7472601"/>
              <a:gd name="connsiteY724" fmla="*/ 1958841 h 6858000"/>
              <a:gd name="connsiteX725" fmla="*/ 82197 w 7472601"/>
              <a:gd name="connsiteY725" fmla="*/ 1754826 h 6858000"/>
              <a:gd name="connsiteX726" fmla="*/ 0 w 7472601"/>
              <a:gd name="connsiteY726" fmla="*/ 1679650 h 6858000"/>
              <a:gd name="connsiteX727" fmla="*/ 0 w 7472601"/>
              <a:gd name="connsiteY727" fmla="*/ 1602463 h 6858000"/>
              <a:gd name="connsiteX728" fmla="*/ 84689 w 7472601"/>
              <a:gd name="connsiteY728" fmla="*/ 1677442 h 6858000"/>
              <a:gd name="connsiteX729" fmla="*/ 298437 w 7472601"/>
              <a:gd name="connsiteY729" fmla="*/ 1968019 h 6858000"/>
              <a:gd name="connsiteX730" fmla="*/ 227269 w 7472601"/>
              <a:gd name="connsiteY730" fmla="*/ 1114064 h 6858000"/>
              <a:gd name="connsiteX731" fmla="*/ 248003 w 7472601"/>
              <a:gd name="connsiteY731" fmla="*/ 1089613 h 6858000"/>
              <a:gd name="connsiteX732" fmla="*/ 427020 w 7472601"/>
              <a:gd name="connsiteY732" fmla="*/ 1619803 h 6858000"/>
              <a:gd name="connsiteX733" fmla="*/ 340345 w 7472601"/>
              <a:gd name="connsiteY733" fmla="*/ 2027739 h 6858000"/>
              <a:gd name="connsiteX734" fmla="*/ 360865 w 7472601"/>
              <a:gd name="connsiteY734" fmla="*/ 2044827 h 6858000"/>
              <a:gd name="connsiteX735" fmla="*/ 560414 w 7472601"/>
              <a:gd name="connsiteY735" fmla="*/ 2421457 h 6858000"/>
              <a:gd name="connsiteX736" fmla="*/ 1359703 w 7472601"/>
              <a:gd name="connsiteY736" fmla="*/ 2578554 h 6858000"/>
              <a:gd name="connsiteX737" fmla="*/ 1359422 w 7472601"/>
              <a:gd name="connsiteY737" fmla="*/ 2577994 h 6858000"/>
              <a:gd name="connsiteX738" fmla="*/ 828701 w 7472601"/>
              <a:gd name="connsiteY738" fmla="*/ 1839520 h 6858000"/>
              <a:gd name="connsiteX739" fmla="*/ 494427 w 7472601"/>
              <a:gd name="connsiteY739" fmla="*/ 1092333 h 6858000"/>
              <a:gd name="connsiteX740" fmla="*/ 506322 w 7472601"/>
              <a:gd name="connsiteY740" fmla="*/ 1020997 h 6858000"/>
              <a:gd name="connsiteX741" fmla="*/ 4570198 w 7472601"/>
              <a:gd name="connsiteY741" fmla="*/ 978081 h 6858000"/>
              <a:gd name="connsiteX742" fmla="*/ 4523691 w 7472601"/>
              <a:gd name="connsiteY742" fmla="*/ 1127776 h 6858000"/>
              <a:gd name="connsiteX743" fmla="*/ 4509875 w 7472601"/>
              <a:gd name="connsiteY743" fmla="*/ 1167552 h 6858000"/>
              <a:gd name="connsiteX744" fmla="*/ 4478168 w 7472601"/>
              <a:gd name="connsiteY744" fmla="*/ 1260735 h 6858000"/>
              <a:gd name="connsiteX745" fmla="*/ 4409309 w 7472601"/>
              <a:gd name="connsiteY745" fmla="*/ 1666996 h 6858000"/>
              <a:gd name="connsiteX746" fmla="*/ 4370031 w 7472601"/>
              <a:gd name="connsiteY746" fmla="*/ 1955666 h 6858000"/>
              <a:gd name="connsiteX747" fmla="*/ 4570198 w 7472601"/>
              <a:gd name="connsiteY747" fmla="*/ 978081 h 6858000"/>
              <a:gd name="connsiteX748" fmla="*/ 4557898 w 7472601"/>
              <a:gd name="connsiteY748" fmla="*/ 900011 h 6858000"/>
              <a:gd name="connsiteX749" fmla="*/ 4344840 w 7472601"/>
              <a:gd name="connsiteY749" fmla="*/ 1922038 h 6858000"/>
              <a:gd name="connsiteX750" fmla="*/ 4378710 w 7472601"/>
              <a:gd name="connsiteY750" fmla="*/ 1665516 h 6858000"/>
              <a:gd name="connsiteX751" fmla="*/ 4448798 w 7472601"/>
              <a:gd name="connsiteY751" fmla="*/ 1253024 h 6858000"/>
              <a:gd name="connsiteX752" fmla="*/ 4480315 w 7472601"/>
              <a:gd name="connsiteY752" fmla="*/ 1158454 h 6858000"/>
              <a:gd name="connsiteX753" fmla="*/ 4494133 w 7472601"/>
              <a:gd name="connsiteY753" fmla="*/ 1118676 h 6858000"/>
              <a:gd name="connsiteX754" fmla="*/ 4557898 w 7472601"/>
              <a:gd name="connsiteY754" fmla="*/ 900011 h 6858000"/>
              <a:gd name="connsiteX755" fmla="*/ 5870151 w 7472601"/>
              <a:gd name="connsiteY755" fmla="*/ 898890 h 6858000"/>
              <a:gd name="connsiteX756" fmla="*/ 5861335 w 7472601"/>
              <a:gd name="connsiteY756" fmla="*/ 899177 h 6858000"/>
              <a:gd name="connsiteX757" fmla="*/ 5843702 w 7472601"/>
              <a:gd name="connsiteY757" fmla="*/ 899748 h 6858000"/>
              <a:gd name="connsiteX758" fmla="*/ 5651107 w 7472601"/>
              <a:gd name="connsiteY758" fmla="*/ 920306 h 6858000"/>
              <a:gd name="connsiteX759" fmla="*/ 5459407 w 7472601"/>
              <a:gd name="connsiteY759" fmla="*/ 940975 h 6858000"/>
              <a:gd name="connsiteX760" fmla="*/ 5374846 w 7472601"/>
              <a:gd name="connsiteY760" fmla="*/ 941988 h 6858000"/>
              <a:gd name="connsiteX761" fmla="*/ 5256105 w 7472601"/>
              <a:gd name="connsiteY761" fmla="*/ 945632 h 6858000"/>
              <a:gd name="connsiteX762" fmla="*/ 5107071 w 7472601"/>
              <a:gd name="connsiteY762" fmla="*/ 969720 h 6858000"/>
              <a:gd name="connsiteX763" fmla="*/ 4998681 w 7472601"/>
              <a:gd name="connsiteY763" fmla="*/ 988771 h 6858000"/>
              <a:gd name="connsiteX764" fmla="*/ 5870151 w 7472601"/>
              <a:gd name="connsiteY764" fmla="*/ 898890 h 6858000"/>
              <a:gd name="connsiteX765" fmla="*/ 5504425 w 7472601"/>
              <a:gd name="connsiteY765" fmla="*/ 848067 h 6858000"/>
              <a:gd name="connsiteX766" fmla="*/ 4968849 w 7472601"/>
              <a:gd name="connsiteY766" fmla="*/ 962318 h 6858000"/>
              <a:gd name="connsiteX767" fmla="*/ 5104039 w 7472601"/>
              <a:gd name="connsiteY767" fmla="*/ 940634 h 6858000"/>
              <a:gd name="connsiteX768" fmla="*/ 5256311 w 7472601"/>
              <a:gd name="connsiteY768" fmla="*/ 916490 h 6858000"/>
              <a:gd name="connsiteX769" fmla="*/ 5377381 w 7472601"/>
              <a:gd name="connsiteY769" fmla="*/ 912671 h 6858000"/>
              <a:gd name="connsiteX770" fmla="*/ 5460148 w 7472601"/>
              <a:gd name="connsiteY770" fmla="*/ 911442 h 6858000"/>
              <a:gd name="connsiteX771" fmla="*/ 5648971 w 7472601"/>
              <a:gd name="connsiteY771" fmla="*/ 891331 h 6858000"/>
              <a:gd name="connsiteX772" fmla="*/ 5844807 w 7472601"/>
              <a:gd name="connsiteY772" fmla="*/ 870718 h 6858000"/>
              <a:gd name="connsiteX773" fmla="*/ 5862975 w 7472601"/>
              <a:gd name="connsiteY773" fmla="*/ 869756 h 6858000"/>
              <a:gd name="connsiteX774" fmla="*/ 5920887 w 7472601"/>
              <a:gd name="connsiteY774" fmla="*/ 865929 h 6858000"/>
              <a:gd name="connsiteX775" fmla="*/ 5504425 w 7472601"/>
              <a:gd name="connsiteY775" fmla="*/ 848067 h 6858000"/>
              <a:gd name="connsiteX776" fmla="*/ 3607114 w 7472601"/>
              <a:gd name="connsiteY776" fmla="*/ 467441 h 6858000"/>
              <a:gd name="connsiteX777" fmla="*/ 3296242 w 7472601"/>
              <a:gd name="connsiteY777" fmla="*/ 807991 h 6858000"/>
              <a:gd name="connsiteX778" fmla="*/ 3174674 w 7472601"/>
              <a:gd name="connsiteY778" fmla="*/ 919759 h 6858000"/>
              <a:gd name="connsiteX779" fmla="*/ 3042978 w 7472601"/>
              <a:gd name="connsiteY779" fmla="*/ 1054894 h 6858000"/>
              <a:gd name="connsiteX780" fmla="*/ 2968914 w 7472601"/>
              <a:gd name="connsiteY780" fmla="*/ 1133756 h 6858000"/>
              <a:gd name="connsiteX781" fmla="*/ 3103823 w 7472601"/>
              <a:gd name="connsiteY781" fmla="*/ 1026814 h 6858000"/>
              <a:gd name="connsiteX782" fmla="*/ 3607114 w 7472601"/>
              <a:gd name="connsiteY782" fmla="*/ 467441 h 6858000"/>
              <a:gd name="connsiteX783" fmla="*/ 3744487 w 7472601"/>
              <a:gd name="connsiteY783" fmla="*/ 383136 h 6858000"/>
              <a:gd name="connsiteX784" fmla="*/ 3970213 w 7472601"/>
              <a:gd name="connsiteY784" fmla="*/ 995559 h 6858000"/>
              <a:gd name="connsiteX785" fmla="*/ 3744487 w 7472601"/>
              <a:gd name="connsiteY785" fmla="*/ 383136 h 6858000"/>
              <a:gd name="connsiteX786" fmla="*/ 3624562 w 7472601"/>
              <a:gd name="connsiteY786" fmla="*/ 367041 h 6858000"/>
              <a:gd name="connsiteX787" fmla="*/ 3489712 w 7472601"/>
              <a:gd name="connsiteY787" fmla="*/ 485386 h 6858000"/>
              <a:gd name="connsiteX788" fmla="*/ 3182994 w 7472601"/>
              <a:gd name="connsiteY788" fmla="*/ 828265 h 6858000"/>
              <a:gd name="connsiteX789" fmla="*/ 2892114 w 7472601"/>
              <a:gd name="connsiteY789" fmla="*/ 1172635 h 6858000"/>
              <a:gd name="connsiteX790" fmla="*/ 3021459 w 7472601"/>
              <a:gd name="connsiteY790" fmla="*/ 1035385 h 6858000"/>
              <a:gd name="connsiteX791" fmla="*/ 3153873 w 7472601"/>
              <a:gd name="connsiteY791" fmla="*/ 898971 h 6858000"/>
              <a:gd name="connsiteX792" fmla="*/ 3276511 w 7472601"/>
              <a:gd name="connsiteY792" fmla="*/ 786423 h 6858000"/>
              <a:gd name="connsiteX793" fmla="*/ 3584154 w 7472601"/>
              <a:gd name="connsiteY793" fmla="*/ 448218 h 6858000"/>
              <a:gd name="connsiteX794" fmla="*/ 3624562 w 7472601"/>
              <a:gd name="connsiteY794" fmla="*/ 367041 h 6858000"/>
              <a:gd name="connsiteX795" fmla="*/ 3766672 w 7472601"/>
              <a:gd name="connsiteY795" fmla="*/ 359429 h 6858000"/>
              <a:gd name="connsiteX796" fmla="*/ 3996338 w 7472601"/>
              <a:gd name="connsiteY796" fmla="*/ 968237 h 6858000"/>
              <a:gd name="connsiteX797" fmla="*/ 3766672 w 7472601"/>
              <a:gd name="connsiteY797" fmla="*/ 359429 h 6858000"/>
              <a:gd name="connsiteX798" fmla="*/ 5805386 w 7472601"/>
              <a:gd name="connsiteY798" fmla="*/ 239240 h 6858000"/>
              <a:gd name="connsiteX799" fmla="*/ 5736947 w 7472601"/>
              <a:gd name="connsiteY799" fmla="*/ 261367 h 6858000"/>
              <a:gd name="connsiteX800" fmla="*/ 5427012 w 7472601"/>
              <a:gd name="connsiteY800" fmla="*/ 311272 h 6858000"/>
              <a:gd name="connsiteX801" fmla="*/ 5147818 w 7472601"/>
              <a:gd name="connsiteY801" fmla="*/ 322112 h 6858000"/>
              <a:gd name="connsiteX802" fmla="*/ 5060854 w 7472601"/>
              <a:gd name="connsiteY802" fmla="*/ 311882 h 6858000"/>
              <a:gd name="connsiteX803" fmla="*/ 4945989 w 7472601"/>
              <a:gd name="connsiteY803" fmla="*/ 300516 h 6858000"/>
              <a:gd name="connsiteX804" fmla="*/ 5410479 w 7472601"/>
              <a:gd name="connsiteY804" fmla="*/ 348434 h 6858000"/>
              <a:gd name="connsiteX805" fmla="*/ 5805386 w 7472601"/>
              <a:gd name="connsiteY805" fmla="*/ 239240 h 6858000"/>
              <a:gd name="connsiteX806" fmla="*/ 5905192 w 7472601"/>
              <a:gd name="connsiteY806" fmla="*/ 163079 h 6858000"/>
              <a:gd name="connsiteX807" fmla="*/ 5865655 w 7472601"/>
              <a:gd name="connsiteY807" fmla="*/ 171901 h 6858000"/>
              <a:gd name="connsiteX808" fmla="*/ 5259740 w 7472601"/>
              <a:gd name="connsiteY808" fmla="*/ 257013 h 6858000"/>
              <a:gd name="connsiteX809" fmla="*/ 5208466 w 7472601"/>
              <a:gd name="connsiteY809" fmla="*/ 257550 h 6858000"/>
              <a:gd name="connsiteX810" fmla="*/ 4980204 w 7472601"/>
              <a:gd name="connsiteY810" fmla="*/ 271903 h 6858000"/>
              <a:gd name="connsiteX811" fmla="*/ 5068068 w 7472601"/>
              <a:gd name="connsiteY811" fmla="*/ 282244 h 6858000"/>
              <a:gd name="connsiteX812" fmla="*/ 5153231 w 7472601"/>
              <a:gd name="connsiteY812" fmla="*/ 292240 h 6858000"/>
              <a:gd name="connsiteX813" fmla="*/ 5426491 w 7472601"/>
              <a:gd name="connsiteY813" fmla="*/ 281128 h 6858000"/>
              <a:gd name="connsiteX814" fmla="*/ 5731212 w 7472601"/>
              <a:gd name="connsiteY814" fmla="*/ 231951 h 6858000"/>
              <a:gd name="connsiteX815" fmla="*/ 5905192 w 7472601"/>
              <a:gd name="connsiteY815" fmla="*/ 163079 h 6858000"/>
              <a:gd name="connsiteX816" fmla="*/ 5944437 w 7472601"/>
              <a:gd name="connsiteY816" fmla="*/ 113829 h 6858000"/>
              <a:gd name="connsiteX817" fmla="*/ 5825032 w 7472601"/>
              <a:gd name="connsiteY817" fmla="*/ 146405 h 6858000"/>
              <a:gd name="connsiteX818" fmla="*/ 4955599 w 7472601"/>
              <a:gd name="connsiteY818" fmla="*/ 247008 h 6858000"/>
              <a:gd name="connsiteX819" fmla="*/ 5210104 w 7472601"/>
              <a:gd name="connsiteY819" fmla="*/ 228123 h 6858000"/>
              <a:gd name="connsiteX820" fmla="*/ 5261015 w 7472601"/>
              <a:gd name="connsiteY820" fmla="*/ 227087 h 6858000"/>
              <a:gd name="connsiteX821" fmla="*/ 5861181 w 7472601"/>
              <a:gd name="connsiteY821" fmla="*/ 143093 h 6858000"/>
              <a:gd name="connsiteX822" fmla="*/ 5961252 w 7472601"/>
              <a:gd name="connsiteY822" fmla="*/ 114820 h 6858000"/>
              <a:gd name="connsiteX823" fmla="*/ 5944437 w 7472601"/>
              <a:gd name="connsiteY823" fmla="*/ 113829 h 6858000"/>
              <a:gd name="connsiteX824" fmla="*/ 3882765 w 7472601"/>
              <a:gd name="connsiteY824" fmla="*/ 0 h 6858000"/>
              <a:gd name="connsiteX825" fmla="*/ 3995099 w 7472601"/>
              <a:gd name="connsiteY825" fmla="*/ 0 h 6858000"/>
              <a:gd name="connsiteX826" fmla="*/ 4163818 w 7472601"/>
              <a:gd name="connsiteY826" fmla="*/ 234104 h 6858000"/>
              <a:gd name="connsiteX827" fmla="*/ 4172099 w 7472601"/>
              <a:gd name="connsiteY827" fmla="*/ 234207 h 6858000"/>
              <a:gd name="connsiteX828" fmla="*/ 4784282 w 7472601"/>
              <a:gd name="connsiteY828" fmla="*/ 276561 h 6858000"/>
              <a:gd name="connsiteX829" fmla="*/ 4801687 w 7472601"/>
              <a:gd name="connsiteY829" fmla="*/ 267764 h 6858000"/>
              <a:gd name="connsiteX830" fmla="*/ 6082788 w 7472601"/>
              <a:gd name="connsiteY830" fmla="*/ 64119 h 6858000"/>
              <a:gd name="connsiteX831" fmla="*/ 6099442 w 7472601"/>
              <a:gd name="connsiteY831" fmla="*/ 82568 h 6858000"/>
              <a:gd name="connsiteX832" fmla="*/ 4804137 w 7472601"/>
              <a:gd name="connsiteY832" fmla="*/ 320931 h 6858000"/>
              <a:gd name="connsiteX833" fmla="*/ 4227047 w 7472601"/>
              <a:gd name="connsiteY833" fmla="*/ 313415 h 6858000"/>
              <a:gd name="connsiteX834" fmla="*/ 4346041 w 7472601"/>
              <a:gd name="connsiteY834" fmla="*/ 456086 h 6858000"/>
              <a:gd name="connsiteX835" fmla="*/ 4870967 w 7472601"/>
              <a:gd name="connsiteY835" fmla="*/ 963061 h 6858000"/>
              <a:gd name="connsiteX836" fmla="*/ 4889647 w 7472601"/>
              <a:gd name="connsiteY836" fmla="*/ 957147 h 6858000"/>
              <a:gd name="connsiteX837" fmla="*/ 5422504 w 7472601"/>
              <a:gd name="connsiteY837" fmla="*/ 805191 h 6858000"/>
              <a:gd name="connsiteX838" fmla="*/ 6087656 w 7472601"/>
              <a:gd name="connsiteY838" fmla="*/ 826703 h 6858000"/>
              <a:gd name="connsiteX839" fmla="*/ 6058717 w 7472601"/>
              <a:gd name="connsiteY839" fmla="*/ 865992 h 6858000"/>
              <a:gd name="connsiteX840" fmla="*/ 4974153 w 7472601"/>
              <a:gd name="connsiteY840" fmla="*/ 1045456 h 6858000"/>
              <a:gd name="connsiteX841" fmla="*/ 5627835 w 7472601"/>
              <a:gd name="connsiteY841" fmla="*/ 1472077 h 6858000"/>
              <a:gd name="connsiteX842" fmla="*/ 5629817 w 7472601"/>
              <a:gd name="connsiteY842" fmla="*/ 1471412 h 6858000"/>
              <a:gd name="connsiteX843" fmla="*/ 5634124 w 7472601"/>
              <a:gd name="connsiteY843" fmla="*/ 1470572 h 6858000"/>
              <a:gd name="connsiteX844" fmla="*/ 5755832 w 7472601"/>
              <a:gd name="connsiteY844" fmla="*/ 1383886 h 6858000"/>
              <a:gd name="connsiteX845" fmla="*/ 6014186 w 7472601"/>
              <a:gd name="connsiteY845" fmla="*/ 1279799 h 6858000"/>
              <a:gd name="connsiteX846" fmla="*/ 6901619 w 7472601"/>
              <a:gd name="connsiteY846" fmla="*/ 1047874 h 6858000"/>
              <a:gd name="connsiteX847" fmla="*/ 6931566 w 7472601"/>
              <a:gd name="connsiteY847" fmla="*/ 1062034 h 6858000"/>
              <a:gd name="connsiteX848" fmla="*/ 5790982 w 7472601"/>
              <a:gd name="connsiteY848" fmla="*/ 1561380 h 6858000"/>
              <a:gd name="connsiteX849" fmla="*/ 6188971 w 7472601"/>
              <a:gd name="connsiteY849" fmla="*/ 1755168 h 6858000"/>
              <a:gd name="connsiteX850" fmla="*/ 6202446 w 7472601"/>
              <a:gd name="connsiteY850" fmla="*/ 1752268 h 6858000"/>
              <a:gd name="connsiteX851" fmla="*/ 7179560 w 7472601"/>
              <a:gd name="connsiteY851" fmla="*/ 1467551 h 6858000"/>
              <a:gd name="connsiteX852" fmla="*/ 7158730 w 7472601"/>
              <a:gd name="connsiteY852" fmla="*/ 1507835 h 6858000"/>
              <a:gd name="connsiteX853" fmla="*/ 6326959 w 7472601"/>
              <a:gd name="connsiteY853" fmla="*/ 1817686 h 6858000"/>
              <a:gd name="connsiteX854" fmla="*/ 6537433 w 7472601"/>
              <a:gd name="connsiteY854" fmla="*/ 1907790 h 6858000"/>
              <a:gd name="connsiteX855" fmla="*/ 6550221 w 7472601"/>
              <a:gd name="connsiteY855" fmla="*/ 1910729 h 6858000"/>
              <a:gd name="connsiteX856" fmla="*/ 6964438 w 7472601"/>
              <a:gd name="connsiteY856" fmla="*/ 2209505 h 6858000"/>
              <a:gd name="connsiteX857" fmla="*/ 7367862 w 7472601"/>
              <a:gd name="connsiteY857" fmla="*/ 2806833 h 6858000"/>
              <a:gd name="connsiteX858" fmla="*/ 7364329 w 7472601"/>
              <a:gd name="connsiteY858" fmla="*/ 2826907 h 6858000"/>
              <a:gd name="connsiteX859" fmla="*/ 7290545 w 7472601"/>
              <a:gd name="connsiteY859" fmla="*/ 2850663 h 6858000"/>
              <a:gd name="connsiteX860" fmla="*/ 6472036 w 7472601"/>
              <a:gd name="connsiteY860" fmla="*/ 1959003 h 6858000"/>
              <a:gd name="connsiteX861" fmla="*/ 5792897 w 7472601"/>
              <a:gd name="connsiteY861" fmla="*/ 1647747 h 6858000"/>
              <a:gd name="connsiteX862" fmla="*/ 5842751 w 7472601"/>
              <a:gd name="connsiteY862" fmla="*/ 1816112 h 6858000"/>
              <a:gd name="connsiteX863" fmla="*/ 5847424 w 7472601"/>
              <a:gd name="connsiteY863" fmla="*/ 1815776 h 6858000"/>
              <a:gd name="connsiteX864" fmla="*/ 6399821 w 7472601"/>
              <a:gd name="connsiteY864" fmla="*/ 2344799 h 6858000"/>
              <a:gd name="connsiteX865" fmla="*/ 6323232 w 7472601"/>
              <a:gd name="connsiteY865" fmla="*/ 2389634 h 6858000"/>
              <a:gd name="connsiteX866" fmla="*/ 5942958 w 7472601"/>
              <a:gd name="connsiteY866" fmla="*/ 2077708 h 6858000"/>
              <a:gd name="connsiteX867" fmla="*/ 5921559 w 7472601"/>
              <a:gd name="connsiteY867" fmla="*/ 2378596 h 6858000"/>
              <a:gd name="connsiteX868" fmla="*/ 5817651 w 7472601"/>
              <a:gd name="connsiteY868" fmla="*/ 3023919 h 6858000"/>
              <a:gd name="connsiteX869" fmla="*/ 5729634 w 7472601"/>
              <a:gd name="connsiteY869" fmla="*/ 3051849 h 6858000"/>
              <a:gd name="connsiteX870" fmla="*/ 5611018 w 7472601"/>
              <a:gd name="connsiteY870" fmla="*/ 2316769 h 6858000"/>
              <a:gd name="connsiteX871" fmla="*/ 5687608 w 7472601"/>
              <a:gd name="connsiteY871" fmla="*/ 2039972 h 6858000"/>
              <a:gd name="connsiteX872" fmla="*/ 5657554 w 7472601"/>
              <a:gd name="connsiteY872" fmla="*/ 1576445 h 6858000"/>
              <a:gd name="connsiteX873" fmla="*/ 5150475 w 7472601"/>
              <a:gd name="connsiteY873" fmla="*/ 1274012 h 6858000"/>
              <a:gd name="connsiteX874" fmla="*/ 5349142 w 7472601"/>
              <a:gd name="connsiteY874" fmla="*/ 2204405 h 6858000"/>
              <a:gd name="connsiteX875" fmla="*/ 5262214 w 7472601"/>
              <a:gd name="connsiteY875" fmla="*/ 2233836 h 6858000"/>
              <a:gd name="connsiteX876" fmla="*/ 4981539 w 7472601"/>
              <a:gd name="connsiteY876" fmla="*/ 1542201 h 6858000"/>
              <a:gd name="connsiteX877" fmla="*/ 4958461 w 7472601"/>
              <a:gd name="connsiteY877" fmla="*/ 1136957 h 6858000"/>
              <a:gd name="connsiteX878" fmla="*/ 4655015 w 7472601"/>
              <a:gd name="connsiteY878" fmla="*/ 891426 h 6858000"/>
              <a:gd name="connsiteX879" fmla="*/ 4348002 w 7472601"/>
              <a:gd name="connsiteY879" fmla="*/ 2205895 h 6858000"/>
              <a:gd name="connsiteX880" fmla="*/ 4262250 w 7472601"/>
              <a:gd name="connsiteY880" fmla="*/ 2219972 h 6858000"/>
              <a:gd name="connsiteX881" fmla="*/ 4550611 w 7472601"/>
              <a:gd name="connsiteY881" fmla="*/ 817540 h 6858000"/>
              <a:gd name="connsiteX882" fmla="*/ 4564418 w 7472601"/>
              <a:gd name="connsiteY882" fmla="*/ 808293 h 6858000"/>
              <a:gd name="connsiteX883" fmla="*/ 4266388 w 7472601"/>
              <a:gd name="connsiteY883" fmla="*/ 500083 h 6858000"/>
              <a:gd name="connsiteX884" fmla="*/ 4032842 w 7472601"/>
              <a:gd name="connsiteY884" fmla="*/ 211809 h 6858000"/>
              <a:gd name="connsiteX885" fmla="*/ 3882765 w 7472601"/>
              <a:gd name="connsiteY885" fmla="*/ 0 h 6858000"/>
              <a:gd name="connsiteX886" fmla="*/ 3721337 w 7472601"/>
              <a:gd name="connsiteY886" fmla="*/ 0 h 6858000"/>
              <a:gd name="connsiteX887" fmla="*/ 3797544 w 7472601"/>
              <a:gd name="connsiteY887" fmla="*/ 0 h 6858000"/>
              <a:gd name="connsiteX888" fmla="*/ 3775734 w 7472601"/>
              <a:gd name="connsiteY888" fmla="*/ 95131 h 6858000"/>
              <a:gd name="connsiteX889" fmla="*/ 3724807 w 7472601"/>
              <a:gd name="connsiteY889" fmla="*/ 272257 h 6858000"/>
              <a:gd name="connsiteX890" fmla="*/ 3726844 w 7472601"/>
              <a:gd name="connsiteY890" fmla="*/ 282988 h 6858000"/>
              <a:gd name="connsiteX891" fmla="*/ 3742664 w 7472601"/>
              <a:gd name="connsiteY891" fmla="*/ 279918 h 6858000"/>
              <a:gd name="connsiteX892" fmla="*/ 4103910 w 7472601"/>
              <a:gd name="connsiteY892" fmla="*/ 1161917 h 6858000"/>
              <a:gd name="connsiteX893" fmla="*/ 4020269 w 7472601"/>
              <a:gd name="connsiteY893" fmla="*/ 1200406 h 6858000"/>
              <a:gd name="connsiteX894" fmla="*/ 3674882 w 7472601"/>
              <a:gd name="connsiteY894" fmla="*/ 488524 h 6858000"/>
              <a:gd name="connsiteX895" fmla="*/ 3132682 w 7472601"/>
              <a:gd name="connsiteY895" fmla="*/ 1072284 h 6858000"/>
              <a:gd name="connsiteX896" fmla="*/ 2716346 w 7472601"/>
              <a:gd name="connsiteY896" fmla="*/ 1276376 h 6858000"/>
              <a:gd name="connsiteX897" fmla="*/ 2716772 w 7472601"/>
              <a:gd name="connsiteY897" fmla="*/ 1255462 h 6858000"/>
              <a:gd name="connsiteX898" fmla="*/ 3471096 w 7472601"/>
              <a:gd name="connsiteY898" fmla="*/ 437072 h 6858000"/>
              <a:gd name="connsiteX899" fmla="*/ 3639057 w 7472601"/>
              <a:gd name="connsiteY899" fmla="*/ 286334 h 6858000"/>
              <a:gd name="connsiteX900" fmla="*/ 3640309 w 7472601"/>
              <a:gd name="connsiteY900" fmla="*/ 284664 h 6858000"/>
              <a:gd name="connsiteX901" fmla="*/ 3646022 w 7472601"/>
              <a:gd name="connsiteY901" fmla="*/ 276711 h 6858000"/>
              <a:gd name="connsiteX902" fmla="*/ 3707943 w 7472601"/>
              <a:gd name="connsiteY902" fmla="*/ 65958 h 6858000"/>
              <a:gd name="connsiteX903" fmla="*/ 3721337 w 7472601"/>
              <a:gd name="connsiteY903" fmla="*/ 0 h 6858000"/>
              <a:gd name="connsiteX904" fmla="*/ 2867960 w 7472601"/>
              <a:gd name="connsiteY904" fmla="*/ 0 h 6858000"/>
              <a:gd name="connsiteX905" fmla="*/ 2926351 w 7472601"/>
              <a:gd name="connsiteY905" fmla="*/ 0 h 6858000"/>
              <a:gd name="connsiteX906" fmla="*/ 2902823 w 7472601"/>
              <a:gd name="connsiteY906" fmla="*/ 262929 h 6858000"/>
              <a:gd name="connsiteX907" fmla="*/ 2940663 w 7472601"/>
              <a:gd name="connsiteY907" fmla="*/ 140884 h 6858000"/>
              <a:gd name="connsiteX908" fmla="*/ 2947039 w 7472601"/>
              <a:gd name="connsiteY908" fmla="*/ 122524 h 6858000"/>
              <a:gd name="connsiteX909" fmla="*/ 2984316 w 7472601"/>
              <a:gd name="connsiteY909" fmla="*/ 0 h 6858000"/>
              <a:gd name="connsiteX910" fmla="*/ 3016114 w 7472601"/>
              <a:gd name="connsiteY910" fmla="*/ 0 h 6858000"/>
              <a:gd name="connsiteX911" fmla="*/ 2979949 w 7472601"/>
              <a:gd name="connsiteY911" fmla="*/ 119274 h 6858000"/>
              <a:gd name="connsiteX912" fmla="*/ 3023879 w 7472601"/>
              <a:gd name="connsiteY912" fmla="*/ 0 h 6858000"/>
              <a:gd name="connsiteX913" fmla="*/ 3105400 w 7472601"/>
              <a:gd name="connsiteY913" fmla="*/ 0 h 6858000"/>
              <a:gd name="connsiteX914" fmla="*/ 3094669 w 7472601"/>
              <a:gd name="connsiteY914" fmla="*/ 30308 h 6858000"/>
              <a:gd name="connsiteX915" fmla="*/ 2901945 w 7472601"/>
              <a:gd name="connsiteY915" fmla="*/ 466538 h 6858000"/>
              <a:gd name="connsiteX916" fmla="*/ 2815209 w 7472601"/>
              <a:gd name="connsiteY916" fmla="*/ 497361 h 6858000"/>
              <a:gd name="connsiteX917" fmla="*/ 2844845 w 7472601"/>
              <a:gd name="connsiteY917" fmla="*/ 127638 h 6858000"/>
              <a:gd name="connsiteX918" fmla="*/ 2867960 w 7472601"/>
              <a:gd name="connsiteY918" fmla="*/ 0 h 6858000"/>
              <a:gd name="connsiteX919" fmla="*/ 1057230 w 7472601"/>
              <a:gd name="connsiteY919" fmla="*/ 0 h 6858000"/>
              <a:gd name="connsiteX920" fmla="*/ 1111003 w 7472601"/>
              <a:gd name="connsiteY920" fmla="*/ 0 h 6858000"/>
              <a:gd name="connsiteX921" fmla="*/ 1125553 w 7472601"/>
              <a:gd name="connsiteY921" fmla="*/ 52588 h 6858000"/>
              <a:gd name="connsiteX922" fmla="*/ 1304276 w 7472601"/>
              <a:gd name="connsiteY922" fmla="*/ 476275 h 6858000"/>
              <a:gd name="connsiteX923" fmla="*/ 1492066 w 7472601"/>
              <a:gd name="connsiteY923" fmla="*/ 886333 h 6858000"/>
              <a:gd name="connsiteX924" fmla="*/ 1423698 w 7472601"/>
              <a:gd name="connsiteY924" fmla="*/ 710817 h 6858000"/>
              <a:gd name="connsiteX925" fmla="*/ 1357609 w 7472601"/>
              <a:gd name="connsiteY925" fmla="*/ 532892 h 6858000"/>
              <a:gd name="connsiteX926" fmla="*/ 1309550 w 7472601"/>
              <a:gd name="connsiteY926" fmla="*/ 374031 h 6858000"/>
              <a:gd name="connsiteX927" fmla="*/ 1193673 w 7472601"/>
              <a:gd name="connsiteY927" fmla="*/ 49533 h 6858000"/>
              <a:gd name="connsiteX928" fmla="*/ 1164391 w 7472601"/>
              <a:gd name="connsiteY928" fmla="*/ 0 h 6858000"/>
              <a:gd name="connsiteX929" fmla="*/ 1200666 w 7472601"/>
              <a:gd name="connsiteY929" fmla="*/ 0 h 6858000"/>
              <a:gd name="connsiteX930" fmla="*/ 1223408 w 7472601"/>
              <a:gd name="connsiteY930" fmla="*/ 38996 h 6858000"/>
              <a:gd name="connsiteX931" fmla="*/ 1339635 w 7472601"/>
              <a:gd name="connsiteY931" fmla="*/ 365517 h 6858000"/>
              <a:gd name="connsiteX932" fmla="*/ 1387469 w 7472601"/>
              <a:gd name="connsiteY932" fmla="*/ 523079 h 6858000"/>
              <a:gd name="connsiteX933" fmla="*/ 1452685 w 7472601"/>
              <a:gd name="connsiteY933" fmla="*/ 699806 h 6858000"/>
              <a:gd name="connsiteX934" fmla="*/ 1492092 w 7472601"/>
              <a:gd name="connsiteY934" fmla="*/ 800424 h 6858000"/>
              <a:gd name="connsiteX935" fmla="*/ 1455302 w 7472601"/>
              <a:gd name="connsiteY935" fmla="*/ 632913 h 6858000"/>
              <a:gd name="connsiteX936" fmla="*/ 1222336 w 7472601"/>
              <a:gd name="connsiteY936" fmla="*/ 9480 h 6858000"/>
              <a:gd name="connsiteX937" fmla="*/ 1214634 w 7472601"/>
              <a:gd name="connsiteY937" fmla="*/ 0 h 6858000"/>
              <a:gd name="connsiteX938" fmla="*/ 1289827 w 7472601"/>
              <a:gd name="connsiteY938" fmla="*/ 0 h 6858000"/>
              <a:gd name="connsiteX939" fmla="*/ 1321076 w 7472601"/>
              <a:gd name="connsiteY939" fmla="*/ 59722 h 6858000"/>
              <a:gd name="connsiteX940" fmla="*/ 1512579 w 7472601"/>
              <a:gd name="connsiteY940" fmla="*/ 626441 h 6858000"/>
              <a:gd name="connsiteX941" fmla="*/ 1506076 w 7472601"/>
              <a:gd name="connsiteY941" fmla="*/ 1089289 h 6858000"/>
              <a:gd name="connsiteX942" fmla="*/ 1486346 w 7472601"/>
              <a:gd name="connsiteY942" fmla="*/ 1079919 h 6858000"/>
              <a:gd name="connsiteX943" fmla="*/ 1070511 w 7472601"/>
              <a:gd name="connsiteY943" fmla="*/ 48609 h 6858000"/>
              <a:gd name="connsiteX944" fmla="*/ 1057230 w 7472601"/>
              <a:gd name="connsiteY944" fmla="*/ 0 h 6858000"/>
              <a:gd name="connsiteX945" fmla="*/ 43151 w 7472601"/>
              <a:gd name="connsiteY945" fmla="*/ 0 h 6858000"/>
              <a:gd name="connsiteX946" fmla="*/ 95283 w 7472601"/>
              <a:gd name="connsiteY946" fmla="*/ 0 h 6858000"/>
              <a:gd name="connsiteX947" fmla="*/ 300708 w 7472601"/>
              <a:gd name="connsiteY947" fmla="*/ 154571 h 6858000"/>
              <a:gd name="connsiteX948" fmla="*/ 530414 w 7472601"/>
              <a:gd name="connsiteY948" fmla="*/ 354673 h 6858000"/>
              <a:gd name="connsiteX949" fmla="*/ 333785 w 7472601"/>
              <a:gd name="connsiteY949" fmla="*/ 161564 h 6858000"/>
              <a:gd name="connsiteX950" fmla="*/ 147005 w 7472601"/>
              <a:gd name="connsiteY950" fmla="*/ 0 h 6858000"/>
              <a:gd name="connsiteX951" fmla="*/ 272509 w 7472601"/>
              <a:gd name="connsiteY951" fmla="*/ 0 h 6858000"/>
              <a:gd name="connsiteX952" fmla="*/ 326276 w 7472601"/>
              <a:gd name="connsiteY952" fmla="*/ 45847 h 6858000"/>
              <a:gd name="connsiteX953" fmla="*/ 823759 w 7472601"/>
              <a:gd name="connsiteY953" fmla="*/ 574145 h 6858000"/>
              <a:gd name="connsiteX954" fmla="*/ 811254 w 7472601"/>
              <a:gd name="connsiteY954" fmla="*/ 665546 h 6858000"/>
              <a:gd name="connsiteX955" fmla="*/ 154042 w 7472601"/>
              <a:gd name="connsiteY955" fmla="*/ 261522 h 6858000"/>
              <a:gd name="connsiteX956" fmla="*/ 13550 w 7472601"/>
              <a:gd name="connsiteY956" fmla="*/ 158423 h 6858000"/>
              <a:gd name="connsiteX957" fmla="*/ 0 w 7472601"/>
              <a:gd name="connsiteY957" fmla="*/ 146618 h 6858000"/>
              <a:gd name="connsiteX958" fmla="*/ 0 w 7472601"/>
              <a:gd name="connsiteY958" fmla="*/ 59161 h 6858000"/>
              <a:gd name="connsiteX959" fmla="*/ 45427 w 7472601"/>
              <a:gd name="connsiteY959" fmla="*/ 101078 h 6858000"/>
              <a:gd name="connsiteX960" fmla="*/ 630103 w 7472601"/>
              <a:gd name="connsiteY960" fmla="*/ 485885 h 6858000"/>
              <a:gd name="connsiteX961" fmla="*/ 532040 w 7472601"/>
              <a:gd name="connsiteY961" fmla="*/ 399359 h 6858000"/>
              <a:gd name="connsiteX962" fmla="*/ 517618 w 7472601"/>
              <a:gd name="connsiteY962" fmla="*/ 385726 h 6858000"/>
              <a:gd name="connsiteX963" fmla="*/ 285074 w 7472601"/>
              <a:gd name="connsiteY963" fmla="*/ 182755 h 6858000"/>
              <a:gd name="connsiteX964" fmla="*/ 43151 w 7472601"/>
              <a:gd name="connsiteY964" fmla="*/ 0 h 6858000"/>
              <a:gd name="connsiteX0" fmla="*/ 369702 w 7472601"/>
              <a:gd name="connsiteY0" fmla="*/ 6712169 h 6858000"/>
              <a:gd name="connsiteX1" fmla="*/ 366575 w 7472601"/>
              <a:gd name="connsiteY1" fmla="*/ 6715556 h 6858000"/>
              <a:gd name="connsiteX2" fmla="*/ 371637 w 7472601"/>
              <a:gd name="connsiteY2" fmla="*/ 6713954 h 6858000"/>
              <a:gd name="connsiteX3" fmla="*/ 369702 w 7472601"/>
              <a:gd name="connsiteY3" fmla="*/ 6712169 h 6858000"/>
              <a:gd name="connsiteX4" fmla="*/ 7088673 w 7472601"/>
              <a:gd name="connsiteY4" fmla="*/ 6610396 h 6858000"/>
              <a:gd name="connsiteX5" fmla="*/ 7440138 w 7472601"/>
              <a:gd name="connsiteY5" fmla="*/ 6622648 h 6858000"/>
              <a:gd name="connsiteX6" fmla="*/ 7467600 w 7472601"/>
              <a:gd name="connsiteY6" fmla="*/ 6628217 h 6858000"/>
              <a:gd name="connsiteX7" fmla="*/ 7467600 w 7472601"/>
              <a:gd name="connsiteY7" fmla="*/ 6668575 h 6858000"/>
              <a:gd name="connsiteX8" fmla="*/ 7392322 w 7472601"/>
              <a:gd name="connsiteY8" fmla="*/ 6658238 h 6858000"/>
              <a:gd name="connsiteX9" fmla="*/ 7467600 w 7472601"/>
              <a:gd name="connsiteY9" fmla="*/ 6683873 h 6858000"/>
              <a:gd name="connsiteX10" fmla="*/ 7467600 w 7472601"/>
              <a:gd name="connsiteY10" fmla="*/ 6714215 h 6858000"/>
              <a:gd name="connsiteX11" fmla="*/ 7447383 w 7472601"/>
              <a:gd name="connsiteY11" fmla="*/ 6707202 h 6858000"/>
              <a:gd name="connsiteX12" fmla="*/ 7289862 w 7472601"/>
              <a:gd name="connsiteY12" fmla="*/ 6659827 h 6858000"/>
              <a:gd name="connsiteX13" fmla="*/ 7434024 w 7472601"/>
              <a:gd name="connsiteY13" fmla="*/ 6722130 h 6858000"/>
              <a:gd name="connsiteX14" fmla="*/ 7467600 w 7472601"/>
              <a:gd name="connsiteY14" fmla="*/ 6736157 h 6858000"/>
              <a:gd name="connsiteX15" fmla="*/ 7467600 w 7472601"/>
              <a:gd name="connsiteY15" fmla="*/ 6767913 h 6858000"/>
              <a:gd name="connsiteX16" fmla="*/ 7392158 w 7472601"/>
              <a:gd name="connsiteY16" fmla="*/ 6771365 h 6858000"/>
              <a:gd name="connsiteX17" fmla="*/ 7467600 w 7472601"/>
              <a:gd name="connsiteY17" fmla="*/ 6805948 h 6858000"/>
              <a:gd name="connsiteX18" fmla="*/ 7467600 w 7472601"/>
              <a:gd name="connsiteY18" fmla="*/ 6831490 h 6858000"/>
              <a:gd name="connsiteX19" fmla="*/ 7410696 w 7472601"/>
              <a:gd name="connsiteY19" fmla="*/ 6803861 h 6858000"/>
              <a:gd name="connsiteX20" fmla="*/ 7088673 w 7472601"/>
              <a:gd name="connsiteY20" fmla="*/ 6610396 h 6858000"/>
              <a:gd name="connsiteX21" fmla="*/ 1019354 w 7472601"/>
              <a:gd name="connsiteY21" fmla="*/ 6315006 h 6858000"/>
              <a:gd name="connsiteX22" fmla="*/ 441046 w 7472601"/>
              <a:gd name="connsiteY22" fmla="*/ 6691153 h 6858000"/>
              <a:gd name="connsiteX23" fmla="*/ 1019354 w 7472601"/>
              <a:gd name="connsiteY23" fmla="*/ 6315006 h 6858000"/>
              <a:gd name="connsiteX24" fmla="*/ 991680 w 7472601"/>
              <a:gd name="connsiteY24" fmla="*/ 6298413 h 6858000"/>
              <a:gd name="connsiteX25" fmla="*/ 409060 w 7472601"/>
              <a:gd name="connsiteY25" fmla="*/ 6671470 h 6858000"/>
              <a:gd name="connsiteX26" fmla="*/ 991680 w 7472601"/>
              <a:gd name="connsiteY26" fmla="*/ 6298413 h 6858000"/>
              <a:gd name="connsiteX27" fmla="*/ 103333 w 7472601"/>
              <a:gd name="connsiteY27" fmla="*/ 5699602 h 6858000"/>
              <a:gd name="connsiteX28" fmla="*/ 233938 w 7472601"/>
              <a:gd name="connsiteY28" fmla="*/ 5809416 h 6858000"/>
              <a:gd name="connsiteX29" fmla="*/ 883580 w 7472601"/>
              <a:gd name="connsiteY29" fmla="*/ 6180710 h 6858000"/>
              <a:gd name="connsiteX30" fmla="*/ 487337 w 7472601"/>
              <a:gd name="connsiteY30" fmla="*/ 5950182 h 6858000"/>
              <a:gd name="connsiteX31" fmla="*/ 354051 w 7472601"/>
              <a:gd name="connsiteY31" fmla="*/ 5854912 h 6858000"/>
              <a:gd name="connsiteX32" fmla="*/ 195436 w 7472601"/>
              <a:gd name="connsiteY32" fmla="*/ 5755068 h 6858000"/>
              <a:gd name="connsiteX33" fmla="*/ 103333 w 7472601"/>
              <a:gd name="connsiteY33" fmla="*/ 5699602 h 6858000"/>
              <a:gd name="connsiteX34" fmla="*/ 5539432 w 7472601"/>
              <a:gd name="connsiteY34" fmla="*/ 5642928 h 6858000"/>
              <a:gd name="connsiteX35" fmla="*/ 5555462 w 7472601"/>
              <a:gd name="connsiteY35" fmla="*/ 5694454 h 6858000"/>
              <a:gd name="connsiteX36" fmla="*/ 5828270 w 7472601"/>
              <a:gd name="connsiteY36" fmla="*/ 6320663 h 6858000"/>
              <a:gd name="connsiteX37" fmla="*/ 5947416 w 7472601"/>
              <a:gd name="connsiteY37" fmla="*/ 6574846 h 6858000"/>
              <a:gd name="connsiteX38" fmla="*/ 5539432 w 7472601"/>
              <a:gd name="connsiteY38" fmla="*/ 5642928 h 6858000"/>
              <a:gd name="connsiteX39" fmla="*/ 51253 w 7472601"/>
              <a:gd name="connsiteY39" fmla="*/ 5631825 h 6858000"/>
              <a:gd name="connsiteX40" fmla="*/ 211622 w 7472601"/>
              <a:gd name="connsiteY40" fmla="*/ 5728803 h 6858000"/>
              <a:gd name="connsiteX41" fmla="*/ 371652 w 7472601"/>
              <a:gd name="connsiteY41" fmla="*/ 5829062 h 6858000"/>
              <a:gd name="connsiteX42" fmla="*/ 505903 w 7472601"/>
              <a:gd name="connsiteY42" fmla="*/ 5925221 h 6858000"/>
              <a:gd name="connsiteX43" fmla="*/ 899240 w 7472601"/>
              <a:gd name="connsiteY43" fmla="*/ 6153068 h 6858000"/>
              <a:gd name="connsiteX44" fmla="*/ 988114 w 7472601"/>
              <a:gd name="connsiteY44" fmla="*/ 6174204 h 6858000"/>
              <a:gd name="connsiteX45" fmla="*/ 845971 w 7472601"/>
              <a:gd name="connsiteY45" fmla="*/ 6067177 h 6858000"/>
              <a:gd name="connsiteX46" fmla="*/ 448057 w 7472601"/>
              <a:gd name="connsiteY46" fmla="*/ 5841376 h 6858000"/>
              <a:gd name="connsiteX47" fmla="*/ 51253 w 7472601"/>
              <a:gd name="connsiteY47" fmla="*/ 5631825 h 6858000"/>
              <a:gd name="connsiteX48" fmla="*/ 2606687 w 7472601"/>
              <a:gd name="connsiteY48" fmla="*/ 5630718 h 6858000"/>
              <a:gd name="connsiteX49" fmla="*/ 2645658 w 7472601"/>
              <a:gd name="connsiteY49" fmla="*/ 6640259 h 6858000"/>
              <a:gd name="connsiteX50" fmla="*/ 2606687 w 7472601"/>
              <a:gd name="connsiteY50" fmla="*/ 5630718 h 6858000"/>
              <a:gd name="connsiteX51" fmla="*/ 3642057 w 7472601"/>
              <a:gd name="connsiteY51" fmla="*/ 5573487 h 6858000"/>
              <a:gd name="connsiteX52" fmla="*/ 3632981 w 7472601"/>
              <a:gd name="connsiteY52" fmla="*/ 5579437 h 6858000"/>
              <a:gd name="connsiteX53" fmla="*/ 3382436 w 7472601"/>
              <a:gd name="connsiteY53" fmla="*/ 5952726 h 6858000"/>
              <a:gd name="connsiteX54" fmla="*/ 3191929 w 7472601"/>
              <a:gd name="connsiteY54" fmla="*/ 6662669 h 6858000"/>
              <a:gd name="connsiteX55" fmla="*/ 3369898 w 7472601"/>
              <a:gd name="connsiteY55" fmla="*/ 6081771 h 6858000"/>
              <a:gd name="connsiteX56" fmla="*/ 3642057 w 7472601"/>
              <a:gd name="connsiteY56" fmla="*/ 5573487 h 6858000"/>
              <a:gd name="connsiteX57" fmla="*/ 2650666 w 7472601"/>
              <a:gd name="connsiteY57" fmla="*/ 5530686 h 6858000"/>
              <a:gd name="connsiteX58" fmla="*/ 2650249 w 7472601"/>
              <a:gd name="connsiteY58" fmla="*/ 5532101 h 6858000"/>
              <a:gd name="connsiteX59" fmla="*/ 2663808 w 7472601"/>
              <a:gd name="connsiteY59" fmla="*/ 6535215 h 6858000"/>
              <a:gd name="connsiteX60" fmla="*/ 2665418 w 7472601"/>
              <a:gd name="connsiteY60" fmla="*/ 6132756 h 6858000"/>
              <a:gd name="connsiteX61" fmla="*/ 2650666 w 7472601"/>
              <a:gd name="connsiteY61" fmla="*/ 5530686 h 6858000"/>
              <a:gd name="connsiteX62" fmla="*/ 2680277 w 7472601"/>
              <a:gd name="connsiteY62" fmla="*/ 5479204 h 6858000"/>
              <a:gd name="connsiteX63" fmla="*/ 2678972 w 7472601"/>
              <a:gd name="connsiteY63" fmla="*/ 5481582 h 6858000"/>
              <a:gd name="connsiteX64" fmla="*/ 2696666 w 7472601"/>
              <a:gd name="connsiteY64" fmla="*/ 6133836 h 6858000"/>
              <a:gd name="connsiteX65" fmla="*/ 2695769 w 7472601"/>
              <a:gd name="connsiteY65" fmla="*/ 6390955 h 6858000"/>
              <a:gd name="connsiteX66" fmla="*/ 2739893 w 7472601"/>
              <a:gd name="connsiteY66" fmla="*/ 6108357 h 6858000"/>
              <a:gd name="connsiteX67" fmla="*/ 2680277 w 7472601"/>
              <a:gd name="connsiteY67" fmla="*/ 5479204 h 6858000"/>
              <a:gd name="connsiteX68" fmla="*/ 1132195 w 7472601"/>
              <a:gd name="connsiteY68" fmla="*/ 5467980 h 6858000"/>
              <a:gd name="connsiteX69" fmla="*/ 1679056 w 7472601"/>
              <a:gd name="connsiteY69" fmla="*/ 5516907 h 6858000"/>
              <a:gd name="connsiteX70" fmla="*/ 2128648 w 7472601"/>
              <a:gd name="connsiteY70" fmla="*/ 5474249 h 6858000"/>
              <a:gd name="connsiteX71" fmla="*/ 1825619 w 7472601"/>
              <a:gd name="connsiteY71" fmla="*/ 5478447 h 6858000"/>
              <a:gd name="connsiteX72" fmla="*/ 1737798 w 7472601"/>
              <a:gd name="connsiteY72" fmla="*/ 5483353 h 6858000"/>
              <a:gd name="connsiteX73" fmla="*/ 1132195 w 7472601"/>
              <a:gd name="connsiteY73" fmla="*/ 5467980 h 6858000"/>
              <a:gd name="connsiteX74" fmla="*/ 7454976 w 7472601"/>
              <a:gd name="connsiteY74" fmla="*/ 6318297 h 6858000"/>
              <a:gd name="connsiteX75" fmla="*/ 7467600 w 7472601"/>
              <a:gd name="connsiteY75" fmla="*/ 6012219 h 6858000"/>
              <a:gd name="connsiteX76" fmla="*/ 7356878 w 7472601"/>
              <a:gd name="connsiteY76" fmla="*/ 5981332 h 6858000"/>
              <a:gd name="connsiteX77" fmla="*/ 7467600 w 7472601"/>
              <a:gd name="connsiteY77" fmla="*/ 6117703 h 6858000"/>
              <a:gd name="connsiteX78" fmla="*/ 7467600 w 7472601"/>
              <a:gd name="connsiteY78" fmla="*/ 6163634 h 6858000"/>
              <a:gd name="connsiteX79" fmla="*/ 7403637 w 7472601"/>
              <a:gd name="connsiteY79" fmla="*/ 6083957 h 6858000"/>
              <a:gd name="connsiteX80" fmla="*/ 7312589 w 7472601"/>
              <a:gd name="connsiteY80" fmla="*/ 5982309 h 6858000"/>
              <a:gd name="connsiteX81" fmla="*/ 7448321 w 7472601"/>
              <a:gd name="connsiteY81" fmla="*/ 6190991 h 6858000"/>
              <a:gd name="connsiteX82" fmla="*/ 7467600 w 7472601"/>
              <a:gd name="connsiteY82" fmla="*/ 6221686 h 6858000"/>
              <a:gd name="connsiteX83" fmla="*/ 7467600 w 7472601"/>
              <a:gd name="connsiteY83" fmla="*/ 6334256 h 6858000"/>
              <a:gd name="connsiteX84" fmla="*/ 7454976 w 7472601"/>
              <a:gd name="connsiteY84" fmla="*/ 6318297 h 6858000"/>
              <a:gd name="connsiteX85" fmla="*/ 1456157 w 7472601"/>
              <a:gd name="connsiteY85" fmla="*/ 5371404 h 6858000"/>
              <a:gd name="connsiteX86" fmla="*/ 1244432 w 7472601"/>
              <a:gd name="connsiteY86" fmla="*/ 5385601 h 6858000"/>
              <a:gd name="connsiteX87" fmla="*/ 973990 w 7472601"/>
              <a:gd name="connsiteY87" fmla="*/ 5424940 h 6858000"/>
              <a:gd name="connsiteX88" fmla="*/ 1103809 w 7472601"/>
              <a:gd name="connsiteY88" fmla="*/ 5433720 h 6858000"/>
              <a:gd name="connsiteX89" fmla="*/ 1123454 w 7472601"/>
              <a:gd name="connsiteY89" fmla="*/ 5435727 h 6858000"/>
              <a:gd name="connsiteX90" fmla="*/ 1737017 w 7472601"/>
              <a:gd name="connsiteY90" fmla="*/ 5452183 h 6858000"/>
              <a:gd name="connsiteX91" fmla="*/ 1824397 w 7472601"/>
              <a:gd name="connsiteY91" fmla="*/ 5447757 h 6858000"/>
              <a:gd name="connsiteX92" fmla="*/ 2070059 w 7472601"/>
              <a:gd name="connsiteY92" fmla="*/ 5441660 h 6858000"/>
              <a:gd name="connsiteX93" fmla="*/ 1456157 w 7472601"/>
              <a:gd name="connsiteY93" fmla="*/ 5371404 h 6858000"/>
              <a:gd name="connsiteX94" fmla="*/ 4988186 w 7472601"/>
              <a:gd name="connsiteY94" fmla="*/ 5216467 h 6858000"/>
              <a:gd name="connsiteX95" fmla="*/ 4777334 w 7472601"/>
              <a:gd name="connsiteY95" fmla="*/ 5406072 h 6858000"/>
              <a:gd name="connsiteX96" fmla="*/ 4718341 w 7472601"/>
              <a:gd name="connsiteY96" fmla="*/ 5468043 h 6858000"/>
              <a:gd name="connsiteX97" fmla="*/ 4604655 w 7472601"/>
              <a:gd name="connsiteY97" fmla="*/ 5583434 h 6858000"/>
              <a:gd name="connsiteX98" fmla="*/ 4565074 w 7472601"/>
              <a:gd name="connsiteY98" fmla="*/ 5618550 h 6858000"/>
              <a:gd name="connsiteX99" fmla="*/ 4988186 w 7472601"/>
              <a:gd name="connsiteY99" fmla="*/ 5216467 h 6858000"/>
              <a:gd name="connsiteX100" fmla="*/ 4978032 w 7472601"/>
              <a:gd name="connsiteY100" fmla="*/ 5183809 h 6858000"/>
              <a:gd name="connsiteX101" fmla="*/ 4463413 w 7472601"/>
              <a:gd name="connsiteY101" fmla="*/ 5615162 h 6858000"/>
              <a:gd name="connsiteX102" fmla="*/ 4358134 w 7472601"/>
              <a:gd name="connsiteY102" fmla="*/ 5742791 h 6858000"/>
              <a:gd name="connsiteX103" fmla="*/ 4376219 w 7472601"/>
              <a:gd name="connsiteY103" fmla="*/ 5729027 h 6858000"/>
              <a:gd name="connsiteX104" fmla="*/ 4582340 w 7472601"/>
              <a:gd name="connsiteY104" fmla="*/ 5561037 h 6858000"/>
              <a:gd name="connsiteX105" fmla="*/ 4694684 w 7472601"/>
              <a:gd name="connsiteY105" fmla="*/ 5447098 h 6858000"/>
              <a:gd name="connsiteX106" fmla="*/ 4754123 w 7472601"/>
              <a:gd name="connsiteY106" fmla="*/ 5384643 h 6858000"/>
              <a:gd name="connsiteX107" fmla="*/ 4978032 w 7472601"/>
              <a:gd name="connsiteY107" fmla="*/ 5183809 h 6858000"/>
              <a:gd name="connsiteX108" fmla="*/ 1903353 w 7472601"/>
              <a:gd name="connsiteY108" fmla="*/ 5044827 h 6858000"/>
              <a:gd name="connsiteX109" fmla="*/ 1936931 w 7472601"/>
              <a:gd name="connsiteY109" fmla="*/ 5093954 h 6858000"/>
              <a:gd name="connsiteX110" fmla="*/ 2195868 w 7472601"/>
              <a:gd name="connsiteY110" fmla="*/ 5396574 h 6858000"/>
              <a:gd name="connsiteX111" fmla="*/ 2088852 w 7472601"/>
              <a:gd name="connsiteY111" fmla="*/ 5166123 h 6858000"/>
              <a:gd name="connsiteX112" fmla="*/ 1958241 w 7472601"/>
              <a:gd name="connsiteY112" fmla="*/ 5067955 h 6858000"/>
              <a:gd name="connsiteX113" fmla="*/ 1903353 w 7472601"/>
              <a:gd name="connsiteY113" fmla="*/ 5044827 h 6858000"/>
              <a:gd name="connsiteX114" fmla="*/ 1979378 w 7472601"/>
              <a:gd name="connsiteY114" fmla="*/ 4769504 h 6858000"/>
              <a:gd name="connsiteX115" fmla="*/ 2882120 w 7472601"/>
              <a:gd name="connsiteY115" fmla="*/ 5064547 h 6858000"/>
              <a:gd name="connsiteX116" fmla="*/ 2793103 w 7472601"/>
              <a:gd name="connsiteY116" fmla="*/ 5039699 h 6858000"/>
              <a:gd name="connsiteX117" fmla="*/ 2770041 w 7472601"/>
              <a:gd name="connsiteY117" fmla="*/ 5033634 h 6858000"/>
              <a:gd name="connsiteX118" fmla="*/ 1979378 w 7472601"/>
              <a:gd name="connsiteY118" fmla="*/ 4769504 h 6858000"/>
              <a:gd name="connsiteX119" fmla="*/ 1927410 w 7472601"/>
              <a:gd name="connsiteY119" fmla="*/ 4716164 h 6858000"/>
              <a:gd name="connsiteX120" fmla="*/ 1959587 w 7472601"/>
              <a:gd name="connsiteY120" fmla="*/ 4728849 h 6858000"/>
              <a:gd name="connsiteX121" fmla="*/ 2777707 w 7472601"/>
              <a:gd name="connsiteY121" fmla="*/ 5003991 h 6858000"/>
              <a:gd name="connsiteX122" fmla="*/ 2800768 w 7472601"/>
              <a:gd name="connsiteY122" fmla="*/ 5010056 h 6858000"/>
              <a:gd name="connsiteX123" fmla="*/ 2879408 w 7472601"/>
              <a:gd name="connsiteY123" fmla="*/ 5031590 h 6858000"/>
              <a:gd name="connsiteX124" fmla="*/ 2862295 w 7472601"/>
              <a:gd name="connsiteY124" fmla="*/ 5022958 h 6858000"/>
              <a:gd name="connsiteX125" fmla="*/ 2813343 w 7472601"/>
              <a:gd name="connsiteY125" fmla="*/ 4998369 h 6858000"/>
              <a:gd name="connsiteX126" fmla="*/ 2646245 w 7472601"/>
              <a:gd name="connsiteY126" fmla="*/ 4930999 h 6858000"/>
              <a:gd name="connsiteX127" fmla="*/ 1999243 w 7472601"/>
              <a:gd name="connsiteY127" fmla="*/ 4730524 h 6858000"/>
              <a:gd name="connsiteX128" fmla="*/ 1979527 w 7472601"/>
              <a:gd name="connsiteY128" fmla="*/ 4726651 h 6858000"/>
              <a:gd name="connsiteX129" fmla="*/ 1927410 w 7472601"/>
              <a:gd name="connsiteY129" fmla="*/ 4716164 h 6858000"/>
              <a:gd name="connsiteX130" fmla="*/ 1997014 w 7472601"/>
              <a:gd name="connsiteY130" fmla="*/ 4698007 h 6858000"/>
              <a:gd name="connsiteX131" fmla="*/ 2005458 w 7472601"/>
              <a:gd name="connsiteY131" fmla="*/ 4699540 h 6858000"/>
              <a:gd name="connsiteX132" fmla="*/ 2657186 w 7472601"/>
              <a:gd name="connsiteY132" fmla="*/ 4901687 h 6858000"/>
              <a:gd name="connsiteX133" fmla="*/ 2826662 w 7472601"/>
              <a:gd name="connsiteY133" fmla="*/ 4970362 h 6858000"/>
              <a:gd name="connsiteX134" fmla="*/ 2876100 w 7472601"/>
              <a:gd name="connsiteY134" fmla="*/ 4995397 h 6858000"/>
              <a:gd name="connsiteX135" fmla="*/ 3042600 w 7472601"/>
              <a:gd name="connsiteY135" fmla="*/ 5059532 h 6858000"/>
              <a:gd name="connsiteX136" fmla="*/ 1997014 w 7472601"/>
              <a:gd name="connsiteY136" fmla="*/ 4698007 h 6858000"/>
              <a:gd name="connsiteX137" fmla="*/ 2305292 w 7472601"/>
              <a:gd name="connsiteY137" fmla="*/ 4219492 h 6858000"/>
              <a:gd name="connsiteX138" fmla="*/ 3360922 w 7472601"/>
              <a:gd name="connsiteY138" fmla="*/ 4529373 h 6858000"/>
              <a:gd name="connsiteX139" fmla="*/ 3492420 w 7472601"/>
              <a:gd name="connsiteY139" fmla="*/ 4510145 h 6858000"/>
              <a:gd name="connsiteX140" fmla="*/ 3364086 w 7472601"/>
              <a:gd name="connsiteY140" fmla="*/ 4480340 h 6858000"/>
              <a:gd name="connsiteX141" fmla="*/ 3225818 w 7472601"/>
              <a:gd name="connsiteY141" fmla="*/ 4411822 h 6858000"/>
              <a:gd name="connsiteX142" fmla="*/ 3129696 w 7472601"/>
              <a:gd name="connsiteY142" fmla="*/ 4360704 h 6858000"/>
              <a:gd name="connsiteX143" fmla="*/ 2814545 w 7472601"/>
              <a:gd name="connsiteY143" fmla="*/ 4282955 h 6858000"/>
              <a:gd name="connsiteX144" fmla="*/ 2305292 w 7472601"/>
              <a:gd name="connsiteY144" fmla="*/ 4219492 h 6858000"/>
              <a:gd name="connsiteX145" fmla="*/ 2626982 w 7472601"/>
              <a:gd name="connsiteY145" fmla="*/ 4206450 h 6858000"/>
              <a:gd name="connsiteX146" fmla="*/ 2490617 w 7472601"/>
              <a:gd name="connsiteY146" fmla="*/ 4206951 h 6858000"/>
              <a:gd name="connsiteX147" fmla="*/ 2819869 w 7472601"/>
              <a:gd name="connsiteY147" fmla="*/ 4252936 h 6858000"/>
              <a:gd name="connsiteX148" fmla="*/ 3143018 w 7472601"/>
              <a:gd name="connsiteY148" fmla="*/ 4332698 h 6858000"/>
              <a:gd name="connsiteX149" fmla="*/ 3241520 w 7472601"/>
              <a:gd name="connsiteY149" fmla="*/ 4385112 h 6858000"/>
              <a:gd name="connsiteX150" fmla="*/ 3374575 w 7472601"/>
              <a:gd name="connsiteY150" fmla="*/ 4451517 h 6858000"/>
              <a:gd name="connsiteX151" fmla="*/ 3505221 w 7472601"/>
              <a:gd name="connsiteY151" fmla="*/ 4480757 h 6858000"/>
              <a:gd name="connsiteX152" fmla="*/ 2626982 w 7472601"/>
              <a:gd name="connsiteY152" fmla="*/ 4206450 h 6858000"/>
              <a:gd name="connsiteX153" fmla="*/ 1310106 w 7472601"/>
              <a:gd name="connsiteY153" fmla="*/ 3943217 h 6858000"/>
              <a:gd name="connsiteX154" fmla="*/ 854994 w 7472601"/>
              <a:gd name="connsiteY154" fmla="*/ 4399136 h 6858000"/>
              <a:gd name="connsiteX155" fmla="*/ 742462 w 7472601"/>
              <a:gd name="connsiteY155" fmla="*/ 4594648 h 6858000"/>
              <a:gd name="connsiteX156" fmla="*/ 820602 w 7472601"/>
              <a:gd name="connsiteY156" fmla="*/ 4485915 h 6858000"/>
              <a:gd name="connsiteX157" fmla="*/ 878295 w 7472601"/>
              <a:gd name="connsiteY157" fmla="*/ 4403594 h 6858000"/>
              <a:gd name="connsiteX158" fmla="*/ 1240607 w 7472601"/>
              <a:gd name="connsiteY158" fmla="*/ 4010401 h 6858000"/>
              <a:gd name="connsiteX159" fmla="*/ 1310106 w 7472601"/>
              <a:gd name="connsiteY159" fmla="*/ 3943217 h 6858000"/>
              <a:gd name="connsiteX160" fmla="*/ 1423113 w 7472601"/>
              <a:gd name="connsiteY160" fmla="*/ 3874565 h 6858000"/>
              <a:gd name="connsiteX161" fmla="*/ 1260565 w 7472601"/>
              <a:gd name="connsiteY161" fmla="*/ 4031982 h 6858000"/>
              <a:gd name="connsiteX162" fmla="*/ 901900 w 7472601"/>
              <a:gd name="connsiteY162" fmla="*/ 4421236 h 6858000"/>
              <a:gd name="connsiteX163" fmla="*/ 845044 w 7472601"/>
              <a:gd name="connsiteY163" fmla="*/ 4502436 h 6858000"/>
              <a:gd name="connsiteX164" fmla="*/ 685926 w 7472601"/>
              <a:gd name="connsiteY164" fmla="*/ 4703069 h 6858000"/>
              <a:gd name="connsiteX165" fmla="*/ 684248 w 7472601"/>
              <a:gd name="connsiteY165" fmla="*/ 4706721 h 6858000"/>
              <a:gd name="connsiteX166" fmla="*/ 1423113 w 7472601"/>
              <a:gd name="connsiteY166" fmla="*/ 3874565 h 6858000"/>
              <a:gd name="connsiteX167" fmla="*/ 3316479 w 7472601"/>
              <a:gd name="connsiteY167" fmla="*/ 3872136 h 6858000"/>
              <a:gd name="connsiteX168" fmla="*/ 3546806 w 7472601"/>
              <a:gd name="connsiteY168" fmla="*/ 4356139 h 6858000"/>
              <a:gd name="connsiteX169" fmla="*/ 3364433 w 7472601"/>
              <a:gd name="connsiteY169" fmla="*/ 3953121 h 6858000"/>
              <a:gd name="connsiteX170" fmla="*/ 3316479 w 7472601"/>
              <a:gd name="connsiteY170" fmla="*/ 3872136 h 6858000"/>
              <a:gd name="connsiteX171" fmla="*/ 3291335 w 7472601"/>
              <a:gd name="connsiteY171" fmla="*/ 3767420 h 6858000"/>
              <a:gd name="connsiteX172" fmla="*/ 3390805 w 7472601"/>
              <a:gd name="connsiteY172" fmla="*/ 3937163 h 6858000"/>
              <a:gd name="connsiteX173" fmla="*/ 3579062 w 7472601"/>
              <a:gd name="connsiteY173" fmla="*/ 4359040 h 6858000"/>
              <a:gd name="connsiteX174" fmla="*/ 3467355 w 7472601"/>
              <a:gd name="connsiteY174" fmla="*/ 3988130 h 6858000"/>
              <a:gd name="connsiteX175" fmla="*/ 3310753 w 7472601"/>
              <a:gd name="connsiteY175" fmla="*/ 3787140 h 6858000"/>
              <a:gd name="connsiteX176" fmla="*/ 3291335 w 7472601"/>
              <a:gd name="connsiteY176" fmla="*/ 3767420 h 6858000"/>
              <a:gd name="connsiteX177" fmla="*/ 1635889 w 7472601"/>
              <a:gd name="connsiteY177" fmla="*/ 3709494 h 6858000"/>
              <a:gd name="connsiteX178" fmla="*/ 1634800 w 7472601"/>
              <a:gd name="connsiteY178" fmla="*/ 3731111 h 6858000"/>
              <a:gd name="connsiteX179" fmla="*/ 1635889 w 7472601"/>
              <a:gd name="connsiteY179" fmla="*/ 3709494 h 6858000"/>
              <a:gd name="connsiteX180" fmla="*/ 1510397 w 7472601"/>
              <a:gd name="connsiteY180" fmla="*/ 3684705 h 6858000"/>
              <a:gd name="connsiteX181" fmla="*/ 1146550 w 7472601"/>
              <a:gd name="connsiteY181" fmla="*/ 3802012 h 6858000"/>
              <a:gd name="connsiteX182" fmla="*/ 698834 w 7472601"/>
              <a:gd name="connsiteY182" fmla="*/ 3952272 h 6858000"/>
              <a:gd name="connsiteX183" fmla="*/ 34256 w 7472601"/>
              <a:gd name="connsiteY183" fmla="*/ 4347603 h 6858000"/>
              <a:gd name="connsiteX184" fmla="*/ 527241 w 7472601"/>
              <a:gd name="connsiteY184" fmla="*/ 4065078 h 6858000"/>
              <a:gd name="connsiteX185" fmla="*/ 1510397 w 7472601"/>
              <a:gd name="connsiteY185" fmla="*/ 3684705 h 6858000"/>
              <a:gd name="connsiteX186" fmla="*/ 1313114 w 7472601"/>
              <a:gd name="connsiteY186" fmla="*/ 3655216 h 6858000"/>
              <a:gd name="connsiteX187" fmla="*/ 1109304 w 7472601"/>
              <a:gd name="connsiteY187" fmla="*/ 3669030 h 6858000"/>
              <a:gd name="connsiteX188" fmla="*/ 8129 w 7472601"/>
              <a:gd name="connsiteY188" fmla="*/ 4330519 h 6858000"/>
              <a:gd name="connsiteX189" fmla="*/ 687572 w 7472601"/>
              <a:gd name="connsiteY189" fmla="*/ 3925629 h 6858000"/>
              <a:gd name="connsiteX190" fmla="*/ 1138365 w 7472601"/>
              <a:gd name="connsiteY190" fmla="*/ 3774515 h 6858000"/>
              <a:gd name="connsiteX191" fmla="*/ 1505579 w 7472601"/>
              <a:gd name="connsiteY191" fmla="*/ 3655526 h 6858000"/>
              <a:gd name="connsiteX192" fmla="*/ 1313114 w 7472601"/>
              <a:gd name="connsiteY192" fmla="*/ 3655216 h 6858000"/>
              <a:gd name="connsiteX193" fmla="*/ 3655073 w 7472601"/>
              <a:gd name="connsiteY193" fmla="*/ 3650884 h 6858000"/>
              <a:gd name="connsiteX194" fmla="*/ 3989938 w 7472601"/>
              <a:gd name="connsiteY194" fmla="*/ 3991685 h 6858000"/>
              <a:gd name="connsiteX195" fmla="*/ 4393907 w 7472601"/>
              <a:gd name="connsiteY195" fmla="*/ 4261258 h 6858000"/>
              <a:gd name="connsiteX196" fmla="*/ 4648051 w 7472601"/>
              <a:gd name="connsiteY196" fmla="*/ 4374051 h 6858000"/>
              <a:gd name="connsiteX197" fmla="*/ 4383389 w 7472601"/>
              <a:gd name="connsiteY197" fmla="*/ 4184369 h 6858000"/>
              <a:gd name="connsiteX198" fmla="*/ 4165508 w 7472601"/>
              <a:gd name="connsiteY198" fmla="*/ 4035196 h 6858000"/>
              <a:gd name="connsiteX199" fmla="*/ 4068162 w 7472601"/>
              <a:gd name="connsiteY199" fmla="*/ 3953394 h 6858000"/>
              <a:gd name="connsiteX200" fmla="*/ 3981416 w 7472601"/>
              <a:gd name="connsiteY200" fmla="*/ 3880482 h 6858000"/>
              <a:gd name="connsiteX201" fmla="*/ 3800147 w 7472601"/>
              <a:gd name="connsiteY201" fmla="*/ 3749872 h 6858000"/>
              <a:gd name="connsiteX202" fmla="*/ 3655073 w 7472601"/>
              <a:gd name="connsiteY202" fmla="*/ 3650884 h 6858000"/>
              <a:gd name="connsiteX203" fmla="*/ 3670252 w 7472601"/>
              <a:gd name="connsiteY203" fmla="*/ 3622798 h 6858000"/>
              <a:gd name="connsiteX204" fmla="*/ 3817258 w 7472601"/>
              <a:gd name="connsiteY204" fmla="*/ 3723577 h 6858000"/>
              <a:gd name="connsiteX205" fmla="*/ 4000461 w 7472601"/>
              <a:gd name="connsiteY205" fmla="*/ 3855966 h 6858000"/>
              <a:gd name="connsiteX206" fmla="*/ 4088180 w 7472601"/>
              <a:gd name="connsiteY206" fmla="*/ 3929774 h 6858000"/>
              <a:gd name="connsiteX207" fmla="*/ 4184555 w 7472601"/>
              <a:gd name="connsiteY207" fmla="*/ 4010683 h 6858000"/>
              <a:gd name="connsiteX208" fmla="*/ 4399563 w 7472601"/>
              <a:gd name="connsiteY208" fmla="*/ 4158106 h 6858000"/>
              <a:gd name="connsiteX209" fmla="*/ 4684469 w 7472601"/>
              <a:gd name="connsiteY209" fmla="*/ 4364680 h 6858000"/>
              <a:gd name="connsiteX210" fmla="*/ 4690271 w 7472601"/>
              <a:gd name="connsiteY210" fmla="*/ 4370034 h 6858000"/>
              <a:gd name="connsiteX211" fmla="*/ 4136093 w 7472601"/>
              <a:gd name="connsiteY211" fmla="*/ 3858466 h 6858000"/>
              <a:gd name="connsiteX212" fmla="*/ 3670252 w 7472601"/>
              <a:gd name="connsiteY212" fmla="*/ 3622798 h 6858000"/>
              <a:gd name="connsiteX213" fmla="*/ 4440129 w 7472601"/>
              <a:gd name="connsiteY213" fmla="*/ 3448571 h 6858000"/>
              <a:gd name="connsiteX214" fmla="*/ 4856525 w 7472601"/>
              <a:gd name="connsiteY214" fmla="*/ 3915351 h 6858000"/>
              <a:gd name="connsiteX215" fmla="*/ 5059055 w 7472601"/>
              <a:gd name="connsiteY215" fmla="*/ 4108918 h 6858000"/>
              <a:gd name="connsiteX216" fmla="*/ 5290070 w 7472601"/>
              <a:gd name="connsiteY216" fmla="*/ 4263619 h 6858000"/>
              <a:gd name="connsiteX217" fmla="*/ 4834991 w 7472601"/>
              <a:gd name="connsiteY217" fmla="*/ 3830985 h 6858000"/>
              <a:gd name="connsiteX218" fmla="*/ 4440129 w 7472601"/>
              <a:gd name="connsiteY218" fmla="*/ 3448571 h 6858000"/>
              <a:gd name="connsiteX219" fmla="*/ 4441737 w 7472601"/>
              <a:gd name="connsiteY219" fmla="*/ 3399734 h 6858000"/>
              <a:gd name="connsiteX220" fmla="*/ 4431236 w 7472601"/>
              <a:gd name="connsiteY220" fmla="*/ 3400954 h 6858000"/>
              <a:gd name="connsiteX221" fmla="*/ 4557150 w 7472601"/>
              <a:gd name="connsiteY221" fmla="*/ 3510023 h 6858000"/>
              <a:gd name="connsiteX222" fmla="*/ 4856936 w 7472601"/>
              <a:gd name="connsiteY222" fmla="*/ 3809146 h 6858000"/>
              <a:gd name="connsiteX223" fmla="*/ 5111996 w 7472601"/>
              <a:gd name="connsiteY223" fmla="*/ 4065759 h 6858000"/>
              <a:gd name="connsiteX224" fmla="*/ 5388878 w 7472601"/>
              <a:gd name="connsiteY224" fmla="*/ 4300185 h 6858000"/>
              <a:gd name="connsiteX225" fmla="*/ 5425556 w 7472601"/>
              <a:gd name="connsiteY225" fmla="*/ 4308967 h 6858000"/>
              <a:gd name="connsiteX226" fmla="*/ 4943646 w 7472601"/>
              <a:gd name="connsiteY226" fmla="*/ 3822916 h 6858000"/>
              <a:gd name="connsiteX227" fmla="*/ 4594837 w 7472601"/>
              <a:gd name="connsiteY227" fmla="*/ 3532274 h 6858000"/>
              <a:gd name="connsiteX228" fmla="*/ 4441737 w 7472601"/>
              <a:gd name="connsiteY228" fmla="*/ 3399734 h 6858000"/>
              <a:gd name="connsiteX229" fmla="*/ 5425834 w 7472601"/>
              <a:gd name="connsiteY229" fmla="*/ 3162785 h 6858000"/>
              <a:gd name="connsiteX230" fmla="*/ 5401644 w 7472601"/>
              <a:gd name="connsiteY230" fmla="*/ 3617847 h 6858000"/>
              <a:gd name="connsiteX231" fmla="*/ 5467256 w 7472601"/>
              <a:gd name="connsiteY231" fmla="*/ 4175494 h 6858000"/>
              <a:gd name="connsiteX232" fmla="*/ 5448069 w 7472601"/>
              <a:gd name="connsiteY232" fmla="*/ 3567554 h 6858000"/>
              <a:gd name="connsiteX233" fmla="*/ 5425834 w 7472601"/>
              <a:gd name="connsiteY233" fmla="*/ 3162785 h 6858000"/>
              <a:gd name="connsiteX234" fmla="*/ 1318687 w 7472601"/>
              <a:gd name="connsiteY234" fmla="*/ 3113840 h 6858000"/>
              <a:gd name="connsiteX235" fmla="*/ 1066793 w 7472601"/>
              <a:gd name="connsiteY235" fmla="*/ 3212171 h 6858000"/>
              <a:gd name="connsiteX236" fmla="*/ 993319 w 7472601"/>
              <a:gd name="connsiteY236" fmla="*/ 3247648 h 6858000"/>
              <a:gd name="connsiteX237" fmla="*/ 853081 w 7472601"/>
              <a:gd name="connsiteY237" fmla="*/ 3312410 h 6858000"/>
              <a:gd name="connsiteX238" fmla="*/ 805957 w 7472601"/>
              <a:gd name="connsiteY238" fmla="*/ 3330443 h 6858000"/>
              <a:gd name="connsiteX239" fmla="*/ 1318687 w 7472601"/>
              <a:gd name="connsiteY239" fmla="*/ 3113840 h 6858000"/>
              <a:gd name="connsiteX240" fmla="*/ 5453702 w 7472601"/>
              <a:gd name="connsiteY240" fmla="*/ 3090882 h 6858000"/>
              <a:gd name="connsiteX241" fmla="*/ 5480135 w 7472601"/>
              <a:gd name="connsiteY241" fmla="*/ 3565802 h 6858000"/>
              <a:gd name="connsiteX242" fmla="*/ 5499023 w 7472601"/>
              <a:gd name="connsiteY242" fmla="*/ 4166310 h 6858000"/>
              <a:gd name="connsiteX243" fmla="*/ 5547022 w 7472601"/>
              <a:gd name="connsiteY243" fmla="*/ 3607838 h 6858000"/>
              <a:gd name="connsiteX244" fmla="*/ 5515964 w 7472601"/>
              <a:gd name="connsiteY244" fmla="*/ 3378541 h 6858000"/>
              <a:gd name="connsiteX245" fmla="*/ 5453702 w 7472601"/>
              <a:gd name="connsiteY245" fmla="*/ 3090882 h 6858000"/>
              <a:gd name="connsiteX246" fmla="*/ 1238695 w 7472601"/>
              <a:gd name="connsiteY246" fmla="*/ 3076820 h 6858000"/>
              <a:gd name="connsiteX247" fmla="*/ 716371 w 7472601"/>
              <a:gd name="connsiteY247" fmla="*/ 3293249 h 6858000"/>
              <a:gd name="connsiteX248" fmla="*/ 579522 w 7472601"/>
              <a:gd name="connsiteY248" fmla="*/ 3371759 h 6858000"/>
              <a:gd name="connsiteX249" fmla="*/ 600288 w 7472601"/>
              <a:gd name="connsiteY249" fmla="*/ 3365555 h 6858000"/>
              <a:gd name="connsiteX250" fmla="*/ 840692 w 7472601"/>
              <a:gd name="connsiteY250" fmla="*/ 3284921 h 6858000"/>
              <a:gd name="connsiteX251" fmla="*/ 979248 w 7472601"/>
              <a:gd name="connsiteY251" fmla="*/ 3221003 h 6858000"/>
              <a:gd name="connsiteX252" fmla="*/ 1053282 w 7472601"/>
              <a:gd name="connsiteY252" fmla="*/ 3185247 h 6858000"/>
              <a:gd name="connsiteX253" fmla="*/ 1320603 w 7472601"/>
              <a:gd name="connsiteY253" fmla="*/ 3081281 h 6858000"/>
              <a:gd name="connsiteX254" fmla="*/ 1238695 w 7472601"/>
              <a:gd name="connsiteY254" fmla="*/ 3076820 h 6858000"/>
              <a:gd name="connsiteX255" fmla="*/ 5425627 w 7472601"/>
              <a:gd name="connsiteY255" fmla="*/ 2954192 h 6858000"/>
              <a:gd name="connsiteX256" fmla="*/ 5470770 w 7472601"/>
              <a:gd name="connsiteY256" fmla="*/ 3005435 h 6858000"/>
              <a:gd name="connsiteX257" fmla="*/ 5519779 w 7472601"/>
              <a:gd name="connsiteY257" fmla="*/ 4359223 h 6858000"/>
              <a:gd name="connsiteX258" fmla="*/ 5520293 w 7472601"/>
              <a:gd name="connsiteY258" fmla="*/ 4360602 h 6858000"/>
              <a:gd name="connsiteX259" fmla="*/ 5767221 w 7472601"/>
              <a:gd name="connsiteY259" fmla="*/ 4665564 h 6858000"/>
              <a:gd name="connsiteX260" fmla="*/ 6937169 w 7472601"/>
              <a:gd name="connsiteY260" fmla="*/ 4815941 h 6858000"/>
              <a:gd name="connsiteX261" fmla="*/ 6953922 w 7472601"/>
              <a:gd name="connsiteY261" fmla="*/ 4890068 h 6858000"/>
              <a:gd name="connsiteX262" fmla="*/ 6071359 w 7472601"/>
              <a:gd name="connsiteY262" fmla="*/ 4770770 h 6858000"/>
              <a:gd name="connsiteX263" fmla="*/ 6038839 w 7472601"/>
              <a:gd name="connsiteY263" fmla="*/ 4764474 h 6858000"/>
              <a:gd name="connsiteX264" fmla="*/ 6038706 w 7472601"/>
              <a:gd name="connsiteY264" fmla="*/ 4763847 h 6858000"/>
              <a:gd name="connsiteX265" fmla="*/ 6037784 w 7472601"/>
              <a:gd name="connsiteY265" fmla="*/ 4764270 h 6858000"/>
              <a:gd name="connsiteX266" fmla="*/ 6038839 w 7472601"/>
              <a:gd name="connsiteY266" fmla="*/ 4764474 h 6858000"/>
              <a:gd name="connsiteX267" fmla="*/ 6040338 w 7472601"/>
              <a:gd name="connsiteY267" fmla="*/ 4771418 h 6858000"/>
              <a:gd name="connsiteX268" fmla="*/ 6024488 w 7472601"/>
              <a:gd name="connsiteY268" fmla="*/ 4809903 h 6858000"/>
              <a:gd name="connsiteX269" fmla="*/ 5599771 w 7472601"/>
              <a:gd name="connsiteY269" fmla="*/ 5509652 h 6858000"/>
              <a:gd name="connsiteX270" fmla="*/ 5548843 w 7472601"/>
              <a:gd name="connsiteY270" fmla="*/ 5563845 h 6858000"/>
              <a:gd name="connsiteX271" fmla="*/ 5940952 w 7472601"/>
              <a:gd name="connsiteY271" fmla="*/ 6250028 h 6858000"/>
              <a:gd name="connsiteX272" fmla="*/ 6043441 w 7472601"/>
              <a:gd name="connsiteY272" fmla="*/ 6665847 h 6858000"/>
              <a:gd name="connsiteX273" fmla="*/ 6093432 w 7472601"/>
              <a:gd name="connsiteY273" fmla="*/ 6858000 h 6858000"/>
              <a:gd name="connsiteX274" fmla="*/ 6034344 w 7472601"/>
              <a:gd name="connsiteY274" fmla="*/ 6858000 h 6858000"/>
              <a:gd name="connsiteX275" fmla="*/ 6026679 w 7472601"/>
              <a:gd name="connsiteY275" fmla="*/ 6836959 h 6858000"/>
              <a:gd name="connsiteX276" fmla="*/ 5800441 w 7472601"/>
              <a:gd name="connsiteY276" fmla="*/ 6335286 h 6858000"/>
              <a:gd name="connsiteX277" fmla="*/ 5526562 w 7472601"/>
              <a:gd name="connsiteY277" fmla="*/ 5705388 h 6858000"/>
              <a:gd name="connsiteX278" fmla="*/ 5519640 w 7472601"/>
              <a:gd name="connsiteY278" fmla="*/ 5683774 h 6858000"/>
              <a:gd name="connsiteX279" fmla="*/ 5844559 w 7472601"/>
              <a:gd name="connsiteY279" fmla="*/ 6553349 h 6858000"/>
              <a:gd name="connsiteX280" fmla="*/ 5975994 w 7472601"/>
              <a:gd name="connsiteY280" fmla="*/ 6858000 h 6858000"/>
              <a:gd name="connsiteX281" fmla="*/ 5898547 w 7472601"/>
              <a:gd name="connsiteY281" fmla="*/ 6858000 h 6858000"/>
              <a:gd name="connsiteX282" fmla="*/ 5682041 w 7472601"/>
              <a:gd name="connsiteY282" fmla="*/ 6355860 h 6858000"/>
              <a:gd name="connsiteX283" fmla="*/ 5461758 w 7472601"/>
              <a:gd name="connsiteY283" fmla="*/ 5820220 h 6858000"/>
              <a:gd name="connsiteX284" fmla="*/ 5237282 w 7472601"/>
              <a:gd name="connsiteY284" fmla="*/ 6579086 h 6858000"/>
              <a:gd name="connsiteX285" fmla="*/ 5115009 w 7472601"/>
              <a:gd name="connsiteY285" fmla="*/ 6858000 h 6858000"/>
              <a:gd name="connsiteX286" fmla="*/ 5028074 w 7472601"/>
              <a:gd name="connsiteY286" fmla="*/ 6858000 h 6858000"/>
              <a:gd name="connsiteX287" fmla="*/ 5079508 w 7472601"/>
              <a:gd name="connsiteY287" fmla="*/ 6749074 h 6858000"/>
              <a:gd name="connsiteX288" fmla="*/ 5371846 w 7472601"/>
              <a:gd name="connsiteY288" fmla="*/ 5924413 h 6858000"/>
              <a:gd name="connsiteX289" fmla="*/ 5270512 w 7472601"/>
              <a:gd name="connsiteY289" fmla="*/ 6138975 h 6858000"/>
              <a:gd name="connsiteX290" fmla="*/ 5062409 w 7472601"/>
              <a:gd name="connsiteY290" fmla="*/ 6653544 h 6858000"/>
              <a:gd name="connsiteX291" fmla="*/ 5036628 w 7472601"/>
              <a:gd name="connsiteY291" fmla="*/ 6754247 h 6858000"/>
              <a:gd name="connsiteX292" fmla="*/ 5009112 w 7472601"/>
              <a:gd name="connsiteY292" fmla="*/ 6858000 h 6858000"/>
              <a:gd name="connsiteX293" fmla="*/ 4976679 w 7472601"/>
              <a:gd name="connsiteY293" fmla="*/ 6858000 h 6858000"/>
              <a:gd name="connsiteX294" fmla="*/ 5006537 w 7472601"/>
              <a:gd name="connsiteY294" fmla="*/ 6747068 h 6858000"/>
              <a:gd name="connsiteX295" fmla="*/ 5032723 w 7472601"/>
              <a:gd name="connsiteY295" fmla="*/ 6644957 h 6858000"/>
              <a:gd name="connsiteX296" fmla="*/ 5242949 w 7472601"/>
              <a:gd name="connsiteY296" fmla="*/ 6125175 h 6858000"/>
              <a:gd name="connsiteX297" fmla="*/ 5286321 w 7472601"/>
              <a:gd name="connsiteY297" fmla="*/ 6033555 h 6858000"/>
              <a:gd name="connsiteX298" fmla="*/ 5008210 w 7472601"/>
              <a:gd name="connsiteY298" fmla="*/ 6649194 h 6858000"/>
              <a:gd name="connsiteX299" fmla="*/ 4986321 w 7472601"/>
              <a:gd name="connsiteY299" fmla="*/ 6765687 h 6858000"/>
              <a:gd name="connsiteX300" fmla="*/ 4973474 w 7472601"/>
              <a:gd name="connsiteY300" fmla="*/ 6858000 h 6858000"/>
              <a:gd name="connsiteX301" fmla="*/ 4907178 w 7472601"/>
              <a:gd name="connsiteY301" fmla="*/ 6858000 h 6858000"/>
              <a:gd name="connsiteX302" fmla="*/ 4910810 w 7472601"/>
              <a:gd name="connsiteY302" fmla="*/ 6829660 h 6858000"/>
              <a:gd name="connsiteX303" fmla="*/ 4987461 w 7472601"/>
              <a:gd name="connsiteY303" fmla="*/ 6432994 h 6858000"/>
              <a:gd name="connsiteX304" fmla="*/ 5179262 w 7472601"/>
              <a:gd name="connsiteY304" fmla="*/ 6035044 h 6858000"/>
              <a:gd name="connsiteX305" fmla="*/ 4689678 w 7472601"/>
              <a:gd name="connsiteY305" fmla="*/ 6440241 h 6858000"/>
              <a:gd name="connsiteX306" fmla="*/ 4477543 w 7472601"/>
              <a:gd name="connsiteY306" fmla="*/ 6674836 h 6858000"/>
              <a:gd name="connsiteX307" fmla="*/ 4329957 w 7472601"/>
              <a:gd name="connsiteY307" fmla="*/ 6858000 h 6858000"/>
              <a:gd name="connsiteX308" fmla="*/ 4218595 w 7472601"/>
              <a:gd name="connsiteY308" fmla="*/ 6858000 h 6858000"/>
              <a:gd name="connsiteX309" fmla="*/ 4368888 w 7472601"/>
              <a:gd name="connsiteY309" fmla="*/ 6668412 h 6858000"/>
              <a:gd name="connsiteX310" fmla="*/ 4563091 w 7472601"/>
              <a:gd name="connsiteY310" fmla="*/ 6442508 h 6858000"/>
              <a:gd name="connsiteX311" fmla="*/ 5387324 w 7472601"/>
              <a:gd name="connsiteY311" fmla="*/ 5705830 h 6858000"/>
              <a:gd name="connsiteX312" fmla="*/ 5073620 w 7472601"/>
              <a:gd name="connsiteY312" fmla="*/ 5955437 h 6858000"/>
              <a:gd name="connsiteX313" fmla="*/ 4689789 w 7472601"/>
              <a:gd name="connsiteY313" fmla="*/ 6268382 h 6858000"/>
              <a:gd name="connsiteX314" fmla="*/ 4418722 w 7472601"/>
              <a:gd name="connsiteY314" fmla="*/ 6570886 h 6858000"/>
              <a:gd name="connsiteX315" fmla="*/ 4214944 w 7472601"/>
              <a:gd name="connsiteY315" fmla="*/ 6858000 h 6858000"/>
              <a:gd name="connsiteX316" fmla="*/ 4177898 w 7472601"/>
              <a:gd name="connsiteY316" fmla="*/ 6858000 h 6858000"/>
              <a:gd name="connsiteX317" fmla="*/ 4391597 w 7472601"/>
              <a:gd name="connsiteY317" fmla="*/ 6556370 h 6858000"/>
              <a:gd name="connsiteX318" fmla="*/ 4668889 w 7472601"/>
              <a:gd name="connsiteY318" fmla="*/ 6246399 h 6858000"/>
              <a:gd name="connsiteX319" fmla="*/ 5055427 w 7472601"/>
              <a:gd name="connsiteY319" fmla="*/ 5931476 h 6858000"/>
              <a:gd name="connsiteX320" fmla="*/ 5371814 w 7472601"/>
              <a:gd name="connsiteY320" fmla="*/ 5678975 h 6858000"/>
              <a:gd name="connsiteX321" fmla="*/ 4987918 w 7472601"/>
              <a:gd name="connsiteY321" fmla="*/ 5838701 h 6858000"/>
              <a:gd name="connsiteX322" fmla="*/ 4317146 w 7472601"/>
              <a:gd name="connsiteY322" fmla="*/ 6587716 h 6858000"/>
              <a:gd name="connsiteX323" fmla="*/ 4171627 w 7472601"/>
              <a:gd name="connsiteY323" fmla="*/ 6858000 h 6858000"/>
              <a:gd name="connsiteX324" fmla="*/ 4081585 w 7472601"/>
              <a:gd name="connsiteY324" fmla="*/ 6858000 h 6858000"/>
              <a:gd name="connsiteX325" fmla="*/ 4238603 w 7472601"/>
              <a:gd name="connsiteY325" fmla="*/ 6559341 h 6858000"/>
              <a:gd name="connsiteX326" fmla="*/ 4778333 w 7472601"/>
              <a:gd name="connsiteY326" fmla="*/ 5873626 h 6858000"/>
              <a:gd name="connsiteX327" fmla="*/ 5414185 w 7472601"/>
              <a:gd name="connsiteY327" fmla="*/ 5573882 h 6858000"/>
              <a:gd name="connsiteX328" fmla="*/ 5959648 w 7472601"/>
              <a:gd name="connsiteY328" fmla="*/ 4760797 h 6858000"/>
              <a:gd name="connsiteX329" fmla="*/ 5355019 w 7472601"/>
              <a:gd name="connsiteY329" fmla="*/ 4734672 h 6858000"/>
              <a:gd name="connsiteX330" fmla="*/ 5083565 w 7472601"/>
              <a:gd name="connsiteY330" fmla="*/ 5179121 h 6858000"/>
              <a:gd name="connsiteX331" fmla="*/ 4713577 w 7472601"/>
              <a:gd name="connsiteY331" fmla="*/ 5616803 h 6858000"/>
              <a:gd name="connsiteX332" fmla="*/ 3989559 w 7472601"/>
              <a:gd name="connsiteY332" fmla="*/ 6145945 h 6858000"/>
              <a:gd name="connsiteX333" fmla="*/ 3939824 w 7472601"/>
              <a:gd name="connsiteY333" fmla="*/ 6066900 h 6858000"/>
              <a:gd name="connsiteX334" fmla="*/ 4584537 w 7472601"/>
              <a:gd name="connsiteY334" fmla="*/ 5324826 h 6858000"/>
              <a:gd name="connsiteX335" fmla="*/ 5037105 w 7472601"/>
              <a:gd name="connsiteY335" fmla="*/ 5088765 h 6858000"/>
              <a:gd name="connsiteX336" fmla="*/ 5039930 w 7472601"/>
              <a:gd name="connsiteY336" fmla="*/ 5089585 h 6858000"/>
              <a:gd name="connsiteX337" fmla="*/ 5263764 w 7472601"/>
              <a:gd name="connsiteY337" fmla="*/ 4735525 h 6858000"/>
              <a:gd name="connsiteX338" fmla="*/ 4086300 w 7472601"/>
              <a:gd name="connsiteY338" fmla="*/ 4884599 h 6858000"/>
              <a:gd name="connsiteX339" fmla="*/ 4085485 w 7472601"/>
              <a:gd name="connsiteY339" fmla="*/ 4899070 h 6858000"/>
              <a:gd name="connsiteX340" fmla="*/ 3871915 w 7472601"/>
              <a:gd name="connsiteY340" fmla="*/ 5253645 h 6858000"/>
              <a:gd name="connsiteX341" fmla="*/ 3799374 w 7472601"/>
              <a:gd name="connsiteY341" fmla="*/ 5466127 h 6858000"/>
              <a:gd name="connsiteX342" fmla="*/ 3498850 w 7472601"/>
              <a:gd name="connsiteY342" fmla="*/ 6661888 h 6858000"/>
              <a:gd name="connsiteX343" fmla="*/ 3399216 w 7472601"/>
              <a:gd name="connsiteY343" fmla="*/ 6858000 h 6858000"/>
              <a:gd name="connsiteX344" fmla="*/ 3303688 w 7472601"/>
              <a:gd name="connsiteY344" fmla="*/ 6858000 h 6858000"/>
              <a:gd name="connsiteX345" fmla="*/ 3391774 w 7472601"/>
              <a:gd name="connsiteY345" fmla="*/ 6697181 h 6858000"/>
              <a:gd name="connsiteX346" fmla="*/ 3735540 w 7472601"/>
              <a:gd name="connsiteY346" fmla="*/ 5546923 h 6858000"/>
              <a:gd name="connsiteX347" fmla="*/ 3729438 w 7472601"/>
              <a:gd name="connsiteY347" fmla="*/ 5569058 h 6858000"/>
              <a:gd name="connsiteX348" fmla="*/ 3707782 w 7472601"/>
              <a:gd name="connsiteY348" fmla="*/ 5644908 h 6858000"/>
              <a:gd name="connsiteX349" fmla="*/ 3583827 w 7472601"/>
              <a:gd name="connsiteY349" fmla="*/ 6039215 h 6858000"/>
              <a:gd name="connsiteX350" fmla="*/ 3547861 w 7472601"/>
              <a:gd name="connsiteY350" fmla="*/ 6129609 h 6858000"/>
              <a:gd name="connsiteX351" fmla="*/ 3490905 w 7472601"/>
              <a:gd name="connsiteY351" fmla="*/ 6277660 h 6858000"/>
              <a:gd name="connsiteX352" fmla="*/ 3455859 w 7472601"/>
              <a:gd name="connsiteY352" fmla="*/ 6391301 h 6858000"/>
              <a:gd name="connsiteX353" fmla="*/ 3429112 w 7472601"/>
              <a:gd name="connsiteY353" fmla="*/ 6479469 h 6858000"/>
              <a:gd name="connsiteX354" fmla="*/ 3304862 w 7472601"/>
              <a:gd name="connsiteY354" fmla="*/ 6796476 h 6858000"/>
              <a:gd name="connsiteX355" fmla="*/ 3276071 w 7472601"/>
              <a:gd name="connsiteY355" fmla="*/ 6858000 h 6858000"/>
              <a:gd name="connsiteX356" fmla="*/ 3240805 w 7472601"/>
              <a:gd name="connsiteY356" fmla="*/ 6858000 h 6858000"/>
              <a:gd name="connsiteX357" fmla="*/ 3275917 w 7472601"/>
              <a:gd name="connsiteY357" fmla="*/ 6783192 h 6858000"/>
              <a:gd name="connsiteX358" fmla="*/ 3399358 w 7472601"/>
              <a:gd name="connsiteY358" fmla="*/ 6469011 h 6858000"/>
              <a:gd name="connsiteX359" fmla="*/ 3425650 w 7472601"/>
              <a:gd name="connsiteY359" fmla="*/ 6381333 h 6858000"/>
              <a:gd name="connsiteX360" fmla="*/ 3460661 w 7472601"/>
              <a:gd name="connsiteY360" fmla="*/ 6266763 h 6858000"/>
              <a:gd name="connsiteX361" fmla="*/ 3518021 w 7472601"/>
              <a:gd name="connsiteY361" fmla="*/ 6117298 h 6858000"/>
              <a:gd name="connsiteX362" fmla="*/ 3554035 w 7472601"/>
              <a:gd name="connsiteY362" fmla="*/ 6027832 h 6858000"/>
              <a:gd name="connsiteX363" fmla="*/ 3677174 w 7472601"/>
              <a:gd name="connsiteY363" fmla="*/ 5636351 h 6858000"/>
              <a:gd name="connsiteX364" fmla="*/ 3698819 w 7472601"/>
              <a:gd name="connsiteY364" fmla="*/ 5560503 h 6858000"/>
              <a:gd name="connsiteX365" fmla="*/ 3702094 w 7472601"/>
              <a:gd name="connsiteY365" fmla="*/ 5549194 h 6858000"/>
              <a:gd name="connsiteX366" fmla="*/ 3398355 w 7472601"/>
              <a:gd name="connsiteY366" fmla="*/ 6094603 h 6858000"/>
              <a:gd name="connsiteX367" fmla="*/ 3193941 w 7472601"/>
              <a:gd name="connsiteY367" fmla="*/ 6798775 h 6858000"/>
              <a:gd name="connsiteX368" fmla="*/ 3184140 w 7472601"/>
              <a:gd name="connsiteY368" fmla="*/ 6858000 h 6858000"/>
              <a:gd name="connsiteX369" fmla="*/ 3099978 w 7472601"/>
              <a:gd name="connsiteY369" fmla="*/ 6858000 h 6858000"/>
              <a:gd name="connsiteX370" fmla="*/ 3101556 w 7472601"/>
              <a:gd name="connsiteY370" fmla="*/ 6843337 h 6858000"/>
              <a:gd name="connsiteX371" fmla="*/ 3370162 w 7472601"/>
              <a:gd name="connsiteY371" fmla="*/ 5785550 h 6858000"/>
              <a:gd name="connsiteX372" fmla="*/ 3746477 w 7472601"/>
              <a:gd name="connsiteY372" fmla="*/ 5377889 h 6858000"/>
              <a:gd name="connsiteX373" fmla="*/ 3863399 w 7472601"/>
              <a:gd name="connsiteY373" fmla="*/ 5087257 h 6858000"/>
              <a:gd name="connsiteX374" fmla="*/ 3968712 w 7472601"/>
              <a:gd name="connsiteY374" fmla="*/ 4913989 h 6858000"/>
              <a:gd name="connsiteX375" fmla="*/ 2792390 w 7472601"/>
              <a:gd name="connsiteY375" fmla="*/ 5382974 h 6858000"/>
              <a:gd name="connsiteX376" fmla="*/ 2714982 w 7472601"/>
              <a:gd name="connsiteY376" fmla="*/ 5427051 h 6858000"/>
              <a:gd name="connsiteX377" fmla="*/ 2813361 w 7472601"/>
              <a:gd name="connsiteY377" fmla="*/ 6023912 h 6858000"/>
              <a:gd name="connsiteX378" fmla="*/ 2688430 w 7472601"/>
              <a:gd name="connsiteY378" fmla="*/ 6801564 h 6858000"/>
              <a:gd name="connsiteX379" fmla="*/ 2629626 w 7472601"/>
              <a:gd name="connsiteY379" fmla="*/ 6763394 h 6858000"/>
              <a:gd name="connsiteX380" fmla="*/ 2565328 w 7472601"/>
              <a:gd name="connsiteY380" fmla="*/ 5516399 h 6858000"/>
              <a:gd name="connsiteX381" fmla="*/ 1922999 w 7472601"/>
              <a:gd name="connsiteY381" fmla="*/ 5980343 h 6858000"/>
              <a:gd name="connsiteX382" fmla="*/ 1950261 w 7472601"/>
              <a:gd name="connsiteY382" fmla="*/ 6405858 h 6858000"/>
              <a:gd name="connsiteX383" fmla="*/ 2365554 w 7472601"/>
              <a:gd name="connsiteY383" fmla="*/ 6759107 h 6858000"/>
              <a:gd name="connsiteX384" fmla="*/ 2424142 w 7472601"/>
              <a:gd name="connsiteY384" fmla="*/ 6858000 h 6858000"/>
              <a:gd name="connsiteX385" fmla="*/ 2395994 w 7472601"/>
              <a:gd name="connsiteY385" fmla="*/ 6858000 h 6858000"/>
              <a:gd name="connsiteX386" fmla="*/ 2392863 w 7472601"/>
              <a:gd name="connsiteY386" fmla="*/ 6852964 h 6858000"/>
              <a:gd name="connsiteX387" fmla="*/ 2017589 w 7472601"/>
              <a:gd name="connsiteY387" fmla="*/ 6493982 h 6858000"/>
              <a:gd name="connsiteX388" fmla="*/ 2147336 w 7472601"/>
              <a:gd name="connsiteY388" fmla="*/ 6594052 h 6858000"/>
              <a:gd name="connsiteX389" fmla="*/ 2207047 w 7472601"/>
              <a:gd name="connsiteY389" fmla="*/ 6654540 h 6858000"/>
              <a:gd name="connsiteX390" fmla="*/ 2299106 w 7472601"/>
              <a:gd name="connsiteY390" fmla="*/ 6778931 h 6858000"/>
              <a:gd name="connsiteX391" fmla="*/ 2314430 w 7472601"/>
              <a:gd name="connsiteY391" fmla="*/ 6801144 h 6858000"/>
              <a:gd name="connsiteX392" fmla="*/ 2352406 w 7472601"/>
              <a:gd name="connsiteY392" fmla="*/ 6858000 h 6858000"/>
              <a:gd name="connsiteX393" fmla="*/ 2314492 w 7472601"/>
              <a:gd name="connsiteY393" fmla="*/ 6858000 h 6858000"/>
              <a:gd name="connsiteX394" fmla="*/ 2288095 w 7472601"/>
              <a:gd name="connsiteY394" fmla="*/ 6818030 h 6858000"/>
              <a:gd name="connsiteX395" fmla="*/ 2272768 w 7472601"/>
              <a:gd name="connsiteY395" fmla="*/ 6795822 h 6858000"/>
              <a:gd name="connsiteX396" fmla="*/ 2182715 w 7472601"/>
              <a:gd name="connsiteY396" fmla="*/ 6675071 h 6858000"/>
              <a:gd name="connsiteX397" fmla="*/ 2032061 w 7472601"/>
              <a:gd name="connsiteY397" fmla="*/ 6541380 h 6858000"/>
              <a:gd name="connsiteX398" fmla="*/ 2257220 w 7472601"/>
              <a:gd name="connsiteY398" fmla="*/ 6826257 h 6858000"/>
              <a:gd name="connsiteX399" fmla="*/ 2281324 w 7472601"/>
              <a:gd name="connsiteY399" fmla="*/ 6858000 h 6858000"/>
              <a:gd name="connsiteX400" fmla="*/ 2242860 w 7472601"/>
              <a:gd name="connsiteY400" fmla="*/ 6858000 h 6858000"/>
              <a:gd name="connsiteX401" fmla="*/ 2232818 w 7472601"/>
              <a:gd name="connsiteY401" fmla="*/ 6844926 h 6858000"/>
              <a:gd name="connsiteX402" fmla="*/ 1990172 w 7472601"/>
              <a:gd name="connsiteY402" fmla="*/ 6542121 h 6858000"/>
              <a:gd name="connsiteX403" fmla="*/ 2124090 w 7472601"/>
              <a:gd name="connsiteY403" fmla="*/ 6761017 h 6858000"/>
              <a:gd name="connsiteX404" fmla="*/ 2200380 w 7472601"/>
              <a:gd name="connsiteY404" fmla="*/ 6858000 h 6858000"/>
              <a:gd name="connsiteX405" fmla="*/ 2147507 w 7472601"/>
              <a:gd name="connsiteY405" fmla="*/ 6858000 h 6858000"/>
              <a:gd name="connsiteX406" fmla="*/ 2070668 w 7472601"/>
              <a:gd name="connsiteY406" fmla="*/ 6761520 h 6858000"/>
              <a:gd name="connsiteX407" fmla="*/ 1975142 w 7472601"/>
              <a:gd name="connsiteY407" fmla="*/ 6585570 h 6858000"/>
              <a:gd name="connsiteX408" fmla="*/ 2050035 w 7472601"/>
              <a:gd name="connsiteY408" fmla="*/ 6813345 h 6858000"/>
              <a:gd name="connsiteX409" fmla="*/ 2063025 w 7472601"/>
              <a:gd name="connsiteY409" fmla="*/ 6858000 h 6858000"/>
              <a:gd name="connsiteX410" fmla="*/ 2021675 w 7472601"/>
              <a:gd name="connsiteY410" fmla="*/ 6858000 h 6858000"/>
              <a:gd name="connsiteX411" fmla="*/ 2019308 w 7472601"/>
              <a:gd name="connsiteY411" fmla="*/ 6847118 h 6858000"/>
              <a:gd name="connsiteX412" fmla="*/ 1938835 w 7472601"/>
              <a:gd name="connsiteY412" fmla="*/ 6551160 h 6858000"/>
              <a:gd name="connsiteX413" fmla="*/ 1953230 w 7472601"/>
              <a:gd name="connsiteY413" fmla="*/ 6759699 h 6858000"/>
              <a:gd name="connsiteX414" fmla="*/ 1956763 w 7472601"/>
              <a:gd name="connsiteY414" fmla="*/ 6778191 h 6858000"/>
              <a:gd name="connsiteX415" fmla="*/ 1967925 w 7472601"/>
              <a:gd name="connsiteY415" fmla="*/ 6858000 h 6858000"/>
              <a:gd name="connsiteX416" fmla="*/ 1936622 w 7472601"/>
              <a:gd name="connsiteY416" fmla="*/ 6858000 h 6858000"/>
              <a:gd name="connsiteX417" fmla="*/ 1926261 w 7472601"/>
              <a:gd name="connsiteY417" fmla="*/ 6784064 h 6858000"/>
              <a:gd name="connsiteX418" fmla="*/ 1922724 w 7472601"/>
              <a:gd name="connsiteY418" fmla="*/ 6765577 h 6858000"/>
              <a:gd name="connsiteX419" fmla="*/ 1904650 w 7472601"/>
              <a:gd name="connsiteY419" fmla="*/ 6639616 h 6858000"/>
              <a:gd name="connsiteX420" fmla="*/ 1885273 w 7472601"/>
              <a:gd name="connsiteY420" fmla="*/ 6858000 h 6858000"/>
              <a:gd name="connsiteX421" fmla="*/ 1854363 w 7472601"/>
              <a:gd name="connsiteY421" fmla="*/ 6858000 h 6858000"/>
              <a:gd name="connsiteX422" fmla="*/ 1880391 w 7472601"/>
              <a:gd name="connsiteY422" fmla="*/ 6603796 h 6858000"/>
              <a:gd name="connsiteX423" fmla="*/ 1818273 w 7472601"/>
              <a:gd name="connsiteY423" fmla="*/ 6715729 h 6858000"/>
              <a:gd name="connsiteX424" fmla="*/ 1794691 w 7472601"/>
              <a:gd name="connsiteY424" fmla="*/ 6843239 h 6858000"/>
              <a:gd name="connsiteX425" fmla="*/ 1794914 w 7472601"/>
              <a:gd name="connsiteY425" fmla="*/ 6858000 h 6858000"/>
              <a:gd name="connsiteX426" fmla="*/ 1746128 w 7472601"/>
              <a:gd name="connsiteY426" fmla="*/ 6858000 h 6858000"/>
              <a:gd name="connsiteX427" fmla="*/ 1753934 w 7472601"/>
              <a:gd name="connsiteY427" fmla="*/ 6724796 h 6858000"/>
              <a:gd name="connsiteX428" fmla="*/ 1792053 w 7472601"/>
              <a:gd name="connsiteY428" fmla="*/ 6572396 h 6858000"/>
              <a:gd name="connsiteX429" fmla="*/ 1862248 w 7472601"/>
              <a:gd name="connsiteY429" fmla="*/ 6266397 h 6858000"/>
              <a:gd name="connsiteX430" fmla="*/ 1862250 w 7472601"/>
              <a:gd name="connsiteY430" fmla="*/ 6033531 h 6858000"/>
              <a:gd name="connsiteX431" fmla="*/ 1211999 w 7472601"/>
              <a:gd name="connsiteY431" fmla="*/ 6683610 h 6858000"/>
              <a:gd name="connsiteX432" fmla="*/ 1213266 w 7472601"/>
              <a:gd name="connsiteY432" fmla="*/ 6691947 h 6858000"/>
              <a:gd name="connsiteX433" fmla="*/ 1203370 w 7472601"/>
              <a:gd name="connsiteY433" fmla="*/ 6850676 h 6858000"/>
              <a:gd name="connsiteX434" fmla="*/ 1203671 w 7472601"/>
              <a:gd name="connsiteY434" fmla="*/ 6858000 h 6858000"/>
              <a:gd name="connsiteX435" fmla="*/ 1143180 w 7472601"/>
              <a:gd name="connsiteY435" fmla="*/ 6858000 h 6858000"/>
              <a:gd name="connsiteX436" fmla="*/ 1142176 w 7472601"/>
              <a:gd name="connsiteY436" fmla="*/ 6766045 h 6858000"/>
              <a:gd name="connsiteX437" fmla="*/ 1067484 w 7472601"/>
              <a:gd name="connsiteY437" fmla="*/ 6858000 h 6858000"/>
              <a:gd name="connsiteX438" fmla="*/ 953928 w 7472601"/>
              <a:gd name="connsiteY438" fmla="*/ 6858000 h 6858000"/>
              <a:gd name="connsiteX439" fmla="*/ 959715 w 7472601"/>
              <a:gd name="connsiteY439" fmla="*/ 6850185 h 6858000"/>
              <a:gd name="connsiteX440" fmla="*/ 1483788 w 7472601"/>
              <a:gd name="connsiteY440" fmla="*/ 6259174 h 6858000"/>
              <a:gd name="connsiteX441" fmla="*/ 1100671 w 7472601"/>
              <a:gd name="connsiteY441" fmla="*/ 6252137 h 6858000"/>
              <a:gd name="connsiteX442" fmla="*/ 1090144 w 7472601"/>
              <a:gd name="connsiteY442" fmla="*/ 6256748 h 6858000"/>
              <a:gd name="connsiteX443" fmla="*/ 1095872 w 7472601"/>
              <a:gd name="connsiteY443" fmla="*/ 6271892 h 6858000"/>
              <a:gd name="connsiteX444" fmla="*/ 262785 w 7472601"/>
              <a:gd name="connsiteY444" fmla="*/ 6845450 h 6858000"/>
              <a:gd name="connsiteX445" fmla="*/ 209968 w 7472601"/>
              <a:gd name="connsiteY445" fmla="*/ 6770713 h 6858000"/>
              <a:gd name="connsiteX446" fmla="*/ 873460 w 7472601"/>
              <a:gd name="connsiteY446" fmla="*/ 6253768 h 6858000"/>
              <a:gd name="connsiteX447" fmla="*/ 192686 w 7472601"/>
              <a:gd name="connsiteY447" fmla="*/ 5849257 h 6858000"/>
              <a:gd name="connsiteX448" fmla="*/ 4696 w 7472601"/>
              <a:gd name="connsiteY448" fmla="*/ 5697668 h 6858000"/>
              <a:gd name="connsiteX449" fmla="*/ 0 w 7472601"/>
              <a:gd name="connsiteY449" fmla="*/ 5689984 h 6858000"/>
              <a:gd name="connsiteX450" fmla="*/ 0 w 7472601"/>
              <a:gd name="connsiteY450" fmla="*/ 5513472 h 6858000"/>
              <a:gd name="connsiteX451" fmla="*/ 174101 w 7472601"/>
              <a:gd name="connsiteY451" fmla="*/ 5620277 h 6858000"/>
              <a:gd name="connsiteX452" fmla="*/ 891800 w 7472601"/>
              <a:gd name="connsiteY452" fmla="*/ 6036935 h 6858000"/>
              <a:gd name="connsiteX453" fmla="*/ 1072219 w 7472601"/>
              <a:gd name="connsiteY453" fmla="*/ 6169443 h 6858000"/>
              <a:gd name="connsiteX454" fmla="*/ 1074117 w 7472601"/>
              <a:gd name="connsiteY454" fmla="*/ 6170301 h 6858000"/>
              <a:gd name="connsiteX455" fmla="*/ 1083114 w 7472601"/>
              <a:gd name="connsiteY455" fmla="*/ 6174131 h 6858000"/>
              <a:gd name="connsiteX456" fmla="*/ 1543010 w 7472601"/>
              <a:gd name="connsiteY456" fmla="*/ 6191140 h 6858000"/>
              <a:gd name="connsiteX457" fmla="*/ 1551080 w 7472601"/>
              <a:gd name="connsiteY457" fmla="*/ 6195006 h 6858000"/>
              <a:gd name="connsiteX458" fmla="*/ 2345443 w 7472601"/>
              <a:gd name="connsiteY458" fmla="*/ 5549882 h 6858000"/>
              <a:gd name="connsiteX459" fmla="*/ 1721499 w 7472601"/>
              <a:gd name="connsiteY459" fmla="*/ 5599969 h 6858000"/>
              <a:gd name="connsiteX460" fmla="*/ 767716 w 7472601"/>
              <a:gd name="connsiteY460" fmla="*/ 5472768 h 6858000"/>
              <a:gd name="connsiteX461" fmla="*/ 722147 w 7472601"/>
              <a:gd name="connsiteY461" fmla="*/ 5393091 h 6858000"/>
              <a:gd name="connsiteX462" fmla="*/ 1485552 w 7472601"/>
              <a:gd name="connsiteY462" fmla="*/ 5313202 h 6858000"/>
              <a:gd name="connsiteX463" fmla="*/ 2143004 w 7472601"/>
              <a:gd name="connsiteY463" fmla="*/ 5402420 h 6858000"/>
              <a:gd name="connsiteX464" fmla="*/ 1933391 w 7472601"/>
              <a:gd name="connsiteY464" fmla="*/ 5156971 h 6858000"/>
              <a:gd name="connsiteX465" fmla="*/ 1827118 w 7472601"/>
              <a:gd name="connsiteY465" fmla="*/ 4968410 h 6858000"/>
              <a:gd name="connsiteX466" fmla="*/ 1837349 w 7472601"/>
              <a:gd name="connsiteY466" fmla="*/ 4956357 h 6858000"/>
              <a:gd name="connsiteX467" fmla="*/ 2162835 w 7472601"/>
              <a:gd name="connsiteY467" fmla="*/ 5187853 h 6858000"/>
              <a:gd name="connsiteX468" fmla="*/ 2257167 w 7472601"/>
              <a:gd name="connsiteY468" fmla="*/ 5462123 h 6858000"/>
              <a:gd name="connsiteX469" fmla="*/ 2261598 w 7472601"/>
              <a:gd name="connsiteY469" fmla="*/ 5467998 h 6858000"/>
              <a:gd name="connsiteX470" fmla="*/ 2437177 w 7472601"/>
              <a:gd name="connsiteY470" fmla="*/ 5479608 h 6858000"/>
              <a:gd name="connsiteX471" fmla="*/ 2445247 w 7472601"/>
              <a:gd name="connsiteY471" fmla="*/ 5483476 h 6858000"/>
              <a:gd name="connsiteX472" fmla="*/ 2743626 w 7472601"/>
              <a:gd name="connsiteY472" fmla="*/ 5304819 h 6858000"/>
              <a:gd name="connsiteX473" fmla="*/ 3048102 w 7472601"/>
              <a:gd name="connsiteY473" fmla="*/ 5150595 h 6858000"/>
              <a:gd name="connsiteX474" fmla="*/ 1799414 w 7472601"/>
              <a:gd name="connsiteY474" fmla="*/ 4694732 h 6858000"/>
              <a:gd name="connsiteX475" fmla="*/ 1771735 w 7472601"/>
              <a:gd name="connsiteY475" fmla="*/ 4619929 h 6858000"/>
              <a:gd name="connsiteX476" fmla="*/ 3104273 w 7472601"/>
              <a:gd name="connsiteY476" fmla="*/ 5076159 h 6858000"/>
              <a:gd name="connsiteX477" fmla="*/ 3113245 w 7472601"/>
              <a:gd name="connsiteY477" fmla="*/ 5090705 h 6858000"/>
              <a:gd name="connsiteX478" fmla="*/ 3126294 w 7472601"/>
              <a:gd name="connsiteY478" fmla="*/ 5114400 h 6858000"/>
              <a:gd name="connsiteX479" fmla="*/ 3937433 w 7472601"/>
              <a:gd name="connsiteY479" fmla="*/ 4830473 h 6858000"/>
              <a:gd name="connsiteX480" fmla="*/ 3590475 w 7472601"/>
              <a:gd name="connsiteY480" fmla="*/ 4597974 h 6858000"/>
              <a:gd name="connsiteX481" fmla="*/ 3100264 w 7472601"/>
              <a:gd name="connsiteY481" fmla="*/ 4579845 h 6858000"/>
              <a:gd name="connsiteX482" fmla="*/ 2183576 w 7472601"/>
              <a:gd name="connsiteY482" fmla="*/ 4227150 h 6858000"/>
              <a:gd name="connsiteX483" fmla="*/ 2151029 w 7472601"/>
              <a:gd name="connsiteY483" fmla="*/ 4146947 h 6858000"/>
              <a:gd name="connsiteX484" fmla="*/ 3563434 w 7472601"/>
              <a:gd name="connsiteY484" fmla="*/ 4469115 h 6858000"/>
              <a:gd name="connsiteX485" fmla="*/ 3177952 w 7472601"/>
              <a:gd name="connsiteY485" fmla="*/ 3657386 h 6858000"/>
              <a:gd name="connsiteX486" fmla="*/ 3189263 w 7472601"/>
              <a:gd name="connsiteY486" fmla="*/ 3625726 h 6858000"/>
              <a:gd name="connsiteX487" fmla="*/ 3560912 w 7472601"/>
              <a:gd name="connsiteY487" fmla="*/ 4079863 h 6858000"/>
              <a:gd name="connsiteX488" fmla="*/ 3626636 w 7472601"/>
              <a:gd name="connsiteY488" fmla="*/ 4512230 h 6858000"/>
              <a:gd name="connsiteX489" fmla="*/ 3653088 w 7472601"/>
              <a:gd name="connsiteY489" fmla="*/ 4521417 h 6858000"/>
              <a:gd name="connsiteX490" fmla="*/ 3988128 w 7472601"/>
              <a:gd name="connsiteY490" fmla="*/ 4817267 h 6858000"/>
              <a:gd name="connsiteX491" fmla="*/ 4830582 w 7472601"/>
              <a:gd name="connsiteY491" fmla="*/ 4676000 h 6858000"/>
              <a:gd name="connsiteX492" fmla="*/ 4830100 w 7472601"/>
              <a:gd name="connsiteY492" fmla="*/ 4675554 h 6858000"/>
              <a:gd name="connsiteX493" fmla="*/ 4036318 w 7472601"/>
              <a:gd name="connsiteY493" fmla="*/ 4147013 h 6858000"/>
              <a:gd name="connsiteX494" fmla="*/ 3432098 w 7472601"/>
              <a:gd name="connsiteY494" fmla="*/ 3537312 h 6858000"/>
              <a:gd name="connsiteX495" fmla="*/ 3446761 w 7472601"/>
              <a:gd name="connsiteY495" fmla="*/ 3461278 h 6858000"/>
              <a:gd name="connsiteX496" fmla="*/ 4419733 w 7472601"/>
              <a:gd name="connsiteY496" fmla="*/ 3963555 h 6858000"/>
              <a:gd name="connsiteX497" fmla="*/ 4781371 w 7472601"/>
              <a:gd name="connsiteY497" fmla="*/ 4458604 h 6858000"/>
              <a:gd name="connsiteX498" fmla="*/ 4780440 w 7472601"/>
              <a:gd name="connsiteY498" fmla="*/ 4470290 h 6858000"/>
              <a:gd name="connsiteX499" fmla="*/ 4898954 w 7472601"/>
              <a:gd name="connsiteY499" fmla="*/ 4662092 h 6858000"/>
              <a:gd name="connsiteX500" fmla="*/ 4900699 w 7472601"/>
              <a:gd name="connsiteY500" fmla="*/ 4670867 h 6858000"/>
              <a:gd name="connsiteX501" fmla="*/ 5714511 w 7472601"/>
              <a:gd name="connsiteY501" fmla="*/ 4663483 h 6858000"/>
              <a:gd name="connsiteX502" fmla="*/ 5464793 w 7472601"/>
              <a:gd name="connsiteY502" fmla="*/ 4393556 h 6858000"/>
              <a:gd name="connsiteX503" fmla="*/ 5461897 w 7472601"/>
              <a:gd name="connsiteY503" fmla="*/ 4390879 h 6858000"/>
              <a:gd name="connsiteX504" fmla="*/ 4294126 w 7472601"/>
              <a:gd name="connsiteY504" fmla="*/ 3303048 h 6858000"/>
              <a:gd name="connsiteX505" fmla="*/ 4305321 w 7472601"/>
              <a:gd name="connsiteY505" fmla="*/ 3256953 h 6858000"/>
              <a:gd name="connsiteX506" fmla="*/ 4949299 w 7472601"/>
              <a:gd name="connsiteY506" fmla="*/ 3766336 h 6858000"/>
              <a:gd name="connsiteX507" fmla="*/ 5291452 w 7472601"/>
              <a:gd name="connsiteY507" fmla="*/ 4076801 h 6858000"/>
              <a:gd name="connsiteX508" fmla="*/ 5434998 w 7472601"/>
              <a:gd name="connsiteY508" fmla="*/ 4254100 h 6858000"/>
              <a:gd name="connsiteX509" fmla="*/ 5351015 w 7472601"/>
              <a:gd name="connsiteY509" fmla="*/ 3760989 h 6858000"/>
              <a:gd name="connsiteX510" fmla="*/ 5413780 w 7472601"/>
              <a:gd name="connsiteY510" fmla="*/ 2966265 h 6858000"/>
              <a:gd name="connsiteX511" fmla="*/ 5425627 w 7472601"/>
              <a:gd name="connsiteY511" fmla="*/ 2954192 h 6858000"/>
              <a:gd name="connsiteX512" fmla="*/ 6604735 w 7472601"/>
              <a:gd name="connsiteY512" fmla="*/ 2041381 h 6858000"/>
              <a:gd name="connsiteX513" fmla="*/ 7204487 w 7472601"/>
              <a:gd name="connsiteY513" fmla="*/ 2742112 h 6858000"/>
              <a:gd name="connsiteX514" fmla="*/ 7131592 w 7472601"/>
              <a:gd name="connsiteY514" fmla="*/ 2672096 h 6858000"/>
              <a:gd name="connsiteX515" fmla="*/ 6996344 w 7472601"/>
              <a:gd name="connsiteY515" fmla="*/ 2518310 h 6858000"/>
              <a:gd name="connsiteX516" fmla="*/ 6735495 w 7472601"/>
              <a:gd name="connsiteY516" fmla="*/ 2196890 h 6858000"/>
              <a:gd name="connsiteX517" fmla="*/ 6721901 w 7472601"/>
              <a:gd name="connsiteY517" fmla="*/ 2179274 h 6858000"/>
              <a:gd name="connsiteX518" fmla="*/ 6604735 w 7472601"/>
              <a:gd name="connsiteY518" fmla="*/ 2041381 h 6858000"/>
              <a:gd name="connsiteX519" fmla="*/ 6591670 w 7472601"/>
              <a:gd name="connsiteY519" fmla="*/ 1988277 h 6858000"/>
              <a:gd name="connsiteX520" fmla="*/ 6747349 w 7472601"/>
              <a:gd name="connsiteY520" fmla="*/ 2160069 h 6858000"/>
              <a:gd name="connsiteX521" fmla="*/ 6760943 w 7472601"/>
              <a:gd name="connsiteY521" fmla="*/ 2177686 h 6858000"/>
              <a:gd name="connsiteX522" fmla="*/ 7021065 w 7472601"/>
              <a:gd name="connsiteY522" fmla="*/ 2498102 h 6858000"/>
              <a:gd name="connsiteX523" fmla="*/ 7155223 w 7472601"/>
              <a:gd name="connsiteY523" fmla="*/ 2650386 h 6858000"/>
              <a:gd name="connsiteX524" fmla="*/ 7203167 w 7472601"/>
              <a:gd name="connsiteY524" fmla="*/ 2697288 h 6858000"/>
              <a:gd name="connsiteX525" fmla="*/ 6937703 w 7472601"/>
              <a:gd name="connsiteY525" fmla="*/ 2321981 h 6858000"/>
              <a:gd name="connsiteX526" fmla="*/ 6591670 w 7472601"/>
              <a:gd name="connsiteY526" fmla="*/ 1988277 h 6858000"/>
              <a:gd name="connsiteX527" fmla="*/ 5798671 w 7472601"/>
              <a:gd name="connsiteY527" fmla="*/ 1981601 h 6858000"/>
              <a:gd name="connsiteX528" fmla="*/ 5754709 w 7472601"/>
              <a:gd name="connsiteY528" fmla="*/ 2071454 h 6858000"/>
              <a:gd name="connsiteX529" fmla="*/ 5763044 w 7472601"/>
              <a:gd name="connsiteY529" fmla="*/ 2842206 h 6858000"/>
              <a:gd name="connsiteX530" fmla="*/ 5764974 w 7472601"/>
              <a:gd name="connsiteY530" fmla="*/ 2799609 h 6858000"/>
              <a:gd name="connsiteX531" fmla="*/ 5767665 w 7472601"/>
              <a:gd name="connsiteY531" fmla="*/ 2666409 h 6858000"/>
              <a:gd name="connsiteX532" fmla="*/ 5763055 w 7472601"/>
              <a:gd name="connsiteY532" fmla="*/ 2579705 h 6858000"/>
              <a:gd name="connsiteX533" fmla="*/ 5758079 w 7472601"/>
              <a:gd name="connsiteY533" fmla="*/ 2492508 h 6858000"/>
              <a:gd name="connsiteX534" fmla="*/ 5779325 w 7472601"/>
              <a:gd name="connsiteY534" fmla="*/ 2197069 h 6858000"/>
              <a:gd name="connsiteX535" fmla="*/ 5798671 w 7472601"/>
              <a:gd name="connsiteY535" fmla="*/ 1981601 h 6858000"/>
              <a:gd name="connsiteX536" fmla="*/ 5829202 w 7472601"/>
              <a:gd name="connsiteY536" fmla="*/ 1971679 h 6858000"/>
              <a:gd name="connsiteX537" fmla="*/ 5809558 w 7472601"/>
              <a:gd name="connsiteY537" fmla="*/ 2198043 h 6858000"/>
              <a:gd name="connsiteX538" fmla="*/ 5788653 w 7472601"/>
              <a:gd name="connsiteY538" fmla="*/ 2489430 h 6858000"/>
              <a:gd name="connsiteX539" fmla="*/ 5793439 w 7472601"/>
              <a:gd name="connsiteY539" fmla="*/ 2575235 h 6858000"/>
              <a:gd name="connsiteX540" fmla="*/ 5796837 w 7472601"/>
              <a:gd name="connsiteY540" fmla="*/ 2637633 h 6858000"/>
              <a:gd name="connsiteX541" fmla="*/ 5818614 w 7472601"/>
              <a:gd name="connsiteY541" fmla="*/ 2473055 h 6858000"/>
              <a:gd name="connsiteX542" fmla="*/ 5829202 w 7472601"/>
              <a:gd name="connsiteY542" fmla="*/ 1971679 h 6858000"/>
              <a:gd name="connsiteX543" fmla="*/ 5911389 w 7472601"/>
              <a:gd name="connsiteY543" fmla="*/ 1898371 h 6858000"/>
              <a:gd name="connsiteX544" fmla="*/ 6237627 w 7472601"/>
              <a:gd name="connsiteY544" fmla="*/ 2231921 h 6858000"/>
              <a:gd name="connsiteX545" fmla="*/ 5911389 w 7472601"/>
              <a:gd name="connsiteY545" fmla="*/ 1898371 h 6858000"/>
              <a:gd name="connsiteX546" fmla="*/ 6944437 w 7472601"/>
              <a:gd name="connsiteY546" fmla="*/ 1575402 h 6858000"/>
              <a:gd name="connsiteX547" fmla="*/ 6304730 w 7472601"/>
              <a:gd name="connsiteY547" fmla="*/ 1766654 h 6858000"/>
              <a:gd name="connsiteX548" fmla="*/ 6944437 w 7472601"/>
              <a:gd name="connsiteY548" fmla="*/ 1575402 h 6858000"/>
              <a:gd name="connsiteX549" fmla="*/ 7019523 w 7472601"/>
              <a:gd name="connsiteY549" fmla="*/ 1519450 h 6858000"/>
              <a:gd name="connsiteX550" fmla="*/ 6298091 w 7472601"/>
              <a:gd name="connsiteY550" fmla="*/ 1737122 h 6858000"/>
              <a:gd name="connsiteX551" fmla="*/ 7019523 w 7472601"/>
              <a:gd name="connsiteY551" fmla="*/ 1519450 h 6858000"/>
              <a:gd name="connsiteX552" fmla="*/ 2399523 w 7472601"/>
              <a:gd name="connsiteY552" fmla="*/ 1428234 h 6858000"/>
              <a:gd name="connsiteX553" fmla="*/ 2224982 w 7472601"/>
              <a:gd name="connsiteY553" fmla="*/ 1826201 h 6858000"/>
              <a:gd name="connsiteX554" fmla="*/ 2096099 w 7472601"/>
              <a:gd name="connsiteY554" fmla="*/ 2345900 h 6858000"/>
              <a:gd name="connsiteX555" fmla="*/ 2283317 w 7472601"/>
              <a:gd name="connsiteY555" fmla="*/ 1796925 h 6858000"/>
              <a:gd name="connsiteX556" fmla="*/ 2399523 w 7472601"/>
              <a:gd name="connsiteY556" fmla="*/ 1428234 h 6858000"/>
              <a:gd name="connsiteX557" fmla="*/ 2448558 w 7472601"/>
              <a:gd name="connsiteY557" fmla="*/ 1373435 h 6858000"/>
              <a:gd name="connsiteX558" fmla="*/ 2312521 w 7472601"/>
              <a:gd name="connsiteY558" fmla="*/ 1806140 h 6858000"/>
              <a:gd name="connsiteX559" fmla="*/ 2127533 w 7472601"/>
              <a:gd name="connsiteY559" fmla="*/ 2348380 h 6858000"/>
              <a:gd name="connsiteX560" fmla="*/ 2358080 w 7472601"/>
              <a:gd name="connsiteY560" fmla="*/ 1866134 h 6858000"/>
              <a:gd name="connsiteX561" fmla="*/ 2407436 w 7472601"/>
              <a:gd name="connsiteY561" fmla="*/ 1651070 h 6858000"/>
              <a:gd name="connsiteX562" fmla="*/ 2448558 w 7472601"/>
              <a:gd name="connsiteY562" fmla="*/ 1373435 h 6858000"/>
              <a:gd name="connsiteX563" fmla="*/ 278707 w 7472601"/>
              <a:gd name="connsiteY563" fmla="*/ 1352270 h 6858000"/>
              <a:gd name="connsiteX564" fmla="*/ 321570 w 7472601"/>
              <a:gd name="connsiteY564" fmla="*/ 1861610 h 6858000"/>
              <a:gd name="connsiteX565" fmla="*/ 294281 w 7472601"/>
              <a:gd name="connsiteY565" fmla="*/ 1440658 h 6858000"/>
              <a:gd name="connsiteX566" fmla="*/ 278707 w 7472601"/>
              <a:gd name="connsiteY566" fmla="*/ 1352270 h 6858000"/>
              <a:gd name="connsiteX567" fmla="*/ 1423821 w 7472601"/>
              <a:gd name="connsiteY567" fmla="*/ 1351958 h 6858000"/>
              <a:gd name="connsiteX568" fmla="*/ 1638521 w 7472601"/>
              <a:gd name="connsiteY568" fmla="*/ 1908470 h 6858000"/>
              <a:gd name="connsiteX569" fmla="*/ 1754199 w 7472601"/>
              <a:gd name="connsiteY569" fmla="*/ 2149284 h 6858000"/>
              <a:gd name="connsiteX570" fmla="*/ 1908359 w 7472601"/>
              <a:gd name="connsiteY570" fmla="*/ 2364988 h 6858000"/>
              <a:gd name="connsiteX571" fmla="*/ 1647661 w 7472601"/>
              <a:gd name="connsiteY571" fmla="*/ 1825945 h 6858000"/>
              <a:gd name="connsiteX572" fmla="*/ 1423821 w 7472601"/>
              <a:gd name="connsiteY572" fmla="*/ 1351958 h 6858000"/>
              <a:gd name="connsiteX573" fmla="*/ 1431890 w 7472601"/>
              <a:gd name="connsiteY573" fmla="*/ 1306475 h 6858000"/>
              <a:gd name="connsiteX574" fmla="*/ 1507597 w 7472601"/>
              <a:gd name="connsiteY574" fmla="*/ 1446132 h 6858000"/>
              <a:gd name="connsiteX575" fmla="*/ 1674586 w 7472601"/>
              <a:gd name="connsiteY575" fmla="*/ 1813832 h 6858000"/>
              <a:gd name="connsiteX576" fmla="*/ 1815950 w 7472601"/>
              <a:gd name="connsiteY576" fmla="*/ 2128564 h 6858000"/>
              <a:gd name="connsiteX577" fmla="*/ 1984242 w 7472601"/>
              <a:gd name="connsiteY577" fmla="*/ 2430829 h 6858000"/>
              <a:gd name="connsiteX578" fmla="*/ 2014023 w 7472601"/>
              <a:gd name="connsiteY578" fmla="*/ 2450995 h 6858000"/>
              <a:gd name="connsiteX579" fmla="*/ 1747337 w 7472601"/>
              <a:gd name="connsiteY579" fmla="*/ 1855264 h 6858000"/>
              <a:gd name="connsiteX580" fmla="*/ 1533749 w 7472601"/>
              <a:gd name="connsiteY580" fmla="*/ 1478656 h 6858000"/>
              <a:gd name="connsiteX581" fmla="*/ 1431890 w 7472601"/>
              <a:gd name="connsiteY581" fmla="*/ 1306475 h 6858000"/>
              <a:gd name="connsiteX582" fmla="*/ 5052692 w 7472601"/>
              <a:gd name="connsiteY582" fmla="*/ 1292994 h 6858000"/>
              <a:gd name="connsiteX583" fmla="*/ 5200661 w 7472601"/>
              <a:gd name="connsiteY583" fmla="*/ 1635186 h 6858000"/>
              <a:gd name="connsiteX584" fmla="*/ 5297138 w 7472601"/>
              <a:gd name="connsiteY584" fmla="*/ 1906351 h 6858000"/>
              <a:gd name="connsiteX585" fmla="*/ 5052692 w 7472601"/>
              <a:gd name="connsiteY585" fmla="*/ 1292994 h 6858000"/>
              <a:gd name="connsiteX586" fmla="*/ 5009948 w 7472601"/>
              <a:gd name="connsiteY586" fmla="*/ 1273619 h 6858000"/>
              <a:gd name="connsiteX587" fmla="*/ 5121777 w 7472601"/>
              <a:gd name="connsiteY587" fmla="*/ 1654213 h 6858000"/>
              <a:gd name="connsiteX588" fmla="*/ 5293545 w 7472601"/>
              <a:gd name="connsiteY588" fmla="*/ 2072247 h 6858000"/>
              <a:gd name="connsiteX589" fmla="*/ 5294042 w 7472601"/>
              <a:gd name="connsiteY589" fmla="*/ 2065019 h 6858000"/>
              <a:gd name="connsiteX590" fmla="*/ 5171936 w 7472601"/>
              <a:gd name="connsiteY590" fmla="*/ 1647613 h 6858000"/>
              <a:gd name="connsiteX591" fmla="*/ 5009948 w 7472601"/>
              <a:gd name="connsiteY591" fmla="*/ 1273619 h 6858000"/>
              <a:gd name="connsiteX592" fmla="*/ 655236 w 7472601"/>
              <a:gd name="connsiteY592" fmla="*/ 1268632 h 6858000"/>
              <a:gd name="connsiteX593" fmla="*/ 839521 w 7472601"/>
              <a:gd name="connsiteY593" fmla="*/ 1685315 h 6858000"/>
              <a:gd name="connsiteX594" fmla="*/ 1109416 w 7472601"/>
              <a:gd name="connsiteY594" fmla="*/ 2061663 h 6858000"/>
              <a:gd name="connsiteX595" fmla="*/ 1298300 w 7472601"/>
              <a:gd name="connsiteY595" fmla="*/ 2247742 h 6858000"/>
              <a:gd name="connsiteX596" fmla="*/ 1125871 w 7472601"/>
              <a:gd name="connsiteY596" fmla="*/ 1989513 h 6858000"/>
              <a:gd name="connsiteX597" fmla="*/ 981574 w 7472601"/>
              <a:gd name="connsiteY597" fmla="*/ 1783157 h 6858000"/>
              <a:gd name="connsiteX598" fmla="*/ 922198 w 7472601"/>
              <a:gd name="connsiteY598" fmla="*/ 1677437 h 6858000"/>
              <a:gd name="connsiteX599" fmla="*/ 869293 w 7472601"/>
              <a:gd name="connsiteY599" fmla="*/ 1583214 h 6858000"/>
              <a:gd name="connsiteX600" fmla="*/ 751431 w 7472601"/>
              <a:gd name="connsiteY600" fmla="*/ 1405731 h 6858000"/>
              <a:gd name="connsiteX601" fmla="*/ 655236 w 7472601"/>
              <a:gd name="connsiteY601" fmla="*/ 1268632 h 6858000"/>
              <a:gd name="connsiteX602" fmla="*/ 6516292 w 7472601"/>
              <a:gd name="connsiteY602" fmla="*/ 1263064 h 6858000"/>
              <a:gd name="connsiteX603" fmla="*/ 5736320 w 7472601"/>
              <a:gd name="connsiteY603" fmla="*/ 1501803 h 6858000"/>
              <a:gd name="connsiteX604" fmla="*/ 6516292 w 7472601"/>
              <a:gd name="connsiteY604" fmla="*/ 1263064 h 6858000"/>
              <a:gd name="connsiteX605" fmla="*/ 291466 w 7472601"/>
              <a:gd name="connsiteY605" fmla="*/ 1250369 h 6858000"/>
              <a:gd name="connsiteX606" fmla="*/ 323180 w 7472601"/>
              <a:gd name="connsiteY606" fmla="*/ 1435283 h 6858000"/>
              <a:gd name="connsiteX607" fmla="*/ 349381 w 7472601"/>
              <a:gd name="connsiteY607" fmla="*/ 1875041 h 6858000"/>
              <a:gd name="connsiteX608" fmla="*/ 374363 w 7472601"/>
              <a:gd name="connsiteY608" fmla="*/ 1506494 h 6858000"/>
              <a:gd name="connsiteX609" fmla="*/ 302168 w 7472601"/>
              <a:gd name="connsiteY609" fmla="*/ 1274495 h 6858000"/>
              <a:gd name="connsiteX610" fmla="*/ 291466 w 7472601"/>
              <a:gd name="connsiteY610" fmla="*/ 1250369 h 6858000"/>
              <a:gd name="connsiteX611" fmla="*/ 678222 w 7472601"/>
              <a:gd name="connsiteY611" fmla="*/ 1248670 h 6858000"/>
              <a:gd name="connsiteX612" fmla="*/ 775536 w 7472601"/>
              <a:gd name="connsiteY612" fmla="*/ 1388015 h 6858000"/>
              <a:gd name="connsiteX613" fmla="*/ 894529 w 7472601"/>
              <a:gd name="connsiteY613" fmla="*/ 1567739 h 6858000"/>
              <a:gd name="connsiteX614" fmla="*/ 948000 w 7472601"/>
              <a:gd name="connsiteY614" fmla="*/ 1663088 h 6858000"/>
              <a:gd name="connsiteX615" fmla="*/ 1006812 w 7472601"/>
              <a:gd name="connsiteY615" fmla="*/ 1767683 h 6858000"/>
              <a:gd name="connsiteX616" fmla="*/ 1149133 w 7472601"/>
              <a:gd name="connsiteY616" fmla="*/ 1971513 h 6858000"/>
              <a:gd name="connsiteX617" fmla="*/ 1333952 w 7472601"/>
              <a:gd name="connsiteY617" fmla="*/ 2251620 h 6858000"/>
              <a:gd name="connsiteX618" fmla="*/ 1337329 w 7472601"/>
              <a:gd name="connsiteY618" fmla="*/ 2258350 h 6858000"/>
              <a:gd name="connsiteX619" fmla="*/ 1014726 w 7472601"/>
              <a:gd name="connsiteY619" fmla="*/ 1615556 h 6858000"/>
              <a:gd name="connsiteX620" fmla="*/ 678222 w 7472601"/>
              <a:gd name="connsiteY620" fmla="*/ 1248670 h 6858000"/>
              <a:gd name="connsiteX621" fmla="*/ 6691602 w 7472601"/>
              <a:gd name="connsiteY621" fmla="*/ 1140573 h 6858000"/>
              <a:gd name="connsiteX622" fmla="*/ 6571100 w 7472601"/>
              <a:gd name="connsiteY622" fmla="*/ 1183662 h 6858000"/>
              <a:gd name="connsiteX623" fmla="*/ 6241687 w 7472601"/>
              <a:gd name="connsiteY623" fmla="*/ 1257600 h 6858000"/>
              <a:gd name="connsiteX624" fmla="*/ 5693009 w 7472601"/>
              <a:gd name="connsiteY624" fmla="*/ 1478256 h 6858000"/>
              <a:gd name="connsiteX625" fmla="*/ 6548420 w 7472601"/>
              <a:gd name="connsiteY625" fmla="*/ 1214599 h 6858000"/>
              <a:gd name="connsiteX626" fmla="*/ 6605473 w 7472601"/>
              <a:gd name="connsiteY626" fmla="*/ 1184686 h 6858000"/>
              <a:gd name="connsiteX627" fmla="*/ 6691602 w 7472601"/>
              <a:gd name="connsiteY627" fmla="*/ 1140573 h 6858000"/>
              <a:gd name="connsiteX628" fmla="*/ 4002475 w 7472601"/>
              <a:gd name="connsiteY628" fmla="*/ 1037802 h 6858000"/>
              <a:gd name="connsiteX629" fmla="*/ 4000324 w 7472601"/>
              <a:gd name="connsiteY629" fmla="*/ 1039362 h 6858000"/>
              <a:gd name="connsiteX630" fmla="*/ 4002862 w 7472601"/>
              <a:gd name="connsiteY630" fmla="*/ 1042866 h 6858000"/>
              <a:gd name="connsiteX631" fmla="*/ 4002475 w 7472601"/>
              <a:gd name="connsiteY631" fmla="*/ 1037802 h 6858000"/>
              <a:gd name="connsiteX632" fmla="*/ 506322 w 7472601"/>
              <a:gd name="connsiteY632" fmla="*/ 1020997 h 6858000"/>
              <a:gd name="connsiteX633" fmla="*/ 533068 w 7472601"/>
              <a:gd name="connsiteY633" fmla="*/ 1029409 h 6858000"/>
              <a:gd name="connsiteX634" fmla="*/ 1232525 w 7472601"/>
              <a:gd name="connsiteY634" fmla="*/ 1804675 h 6858000"/>
              <a:gd name="connsiteX635" fmla="*/ 1388858 w 7472601"/>
              <a:gd name="connsiteY635" fmla="*/ 2368011 h 6858000"/>
              <a:gd name="connsiteX636" fmla="*/ 1384098 w 7472601"/>
              <a:gd name="connsiteY636" fmla="*/ 2378125 h 6858000"/>
              <a:gd name="connsiteX637" fmla="*/ 1425393 w 7472601"/>
              <a:gd name="connsiteY637" fmla="*/ 2589124 h 6858000"/>
              <a:gd name="connsiteX638" fmla="*/ 1424001 w 7472601"/>
              <a:gd name="connsiteY638" fmla="*/ 2597541 h 6858000"/>
              <a:gd name="connsiteX639" fmla="*/ 2152729 w 7472601"/>
              <a:gd name="connsiteY639" fmla="*/ 2864487 h 6858000"/>
              <a:gd name="connsiteX640" fmla="*/ 2020609 w 7472601"/>
              <a:gd name="connsiteY640" fmla="*/ 2539671 h 6858000"/>
              <a:gd name="connsiteX641" fmla="*/ 2018920 w 7472601"/>
              <a:gd name="connsiteY641" fmla="*/ 2536309 h 6858000"/>
              <a:gd name="connsiteX642" fmla="*/ 1342441 w 7472601"/>
              <a:gd name="connsiteY642" fmla="*/ 1173017 h 6858000"/>
              <a:gd name="connsiteX643" fmla="*/ 1367925 w 7472601"/>
              <a:gd name="connsiteY643" fmla="*/ 1135648 h 6858000"/>
              <a:gd name="connsiteX644" fmla="*/ 1771401 w 7472601"/>
              <a:gd name="connsiteY644" fmla="*/ 1806673 h 6858000"/>
              <a:gd name="connsiteX645" fmla="*/ 1972385 w 7472601"/>
              <a:gd name="connsiteY645" fmla="*/ 2198735 h 6858000"/>
              <a:gd name="connsiteX646" fmla="*/ 2040892 w 7472601"/>
              <a:gd name="connsiteY646" fmla="*/ 2405205 h 6858000"/>
              <a:gd name="connsiteX647" fmla="*/ 2131689 w 7472601"/>
              <a:gd name="connsiteY647" fmla="*/ 1936926 h 6858000"/>
              <a:gd name="connsiteX648" fmla="*/ 2454820 w 7472601"/>
              <a:gd name="connsiteY648" fmla="*/ 1248808 h 6858000"/>
              <a:gd name="connsiteX649" fmla="*/ 2492512 w 7472601"/>
              <a:gd name="connsiteY649" fmla="*/ 1302920 h 6858000"/>
              <a:gd name="connsiteX650" fmla="*/ 2081216 w 7472601"/>
              <a:gd name="connsiteY650" fmla="*/ 2527513 h 6858000"/>
              <a:gd name="connsiteX651" fmla="*/ 2081211 w 7472601"/>
              <a:gd name="connsiteY651" fmla="*/ 2528916 h 6858000"/>
              <a:gd name="connsiteX652" fmla="*/ 2199067 w 7472601"/>
              <a:gd name="connsiteY652" fmla="*/ 2884061 h 6858000"/>
              <a:gd name="connsiteX653" fmla="*/ 3192586 w 7472601"/>
              <a:gd name="connsiteY653" fmla="*/ 3411496 h 6858000"/>
              <a:gd name="connsiteX654" fmla="*/ 3182620 w 7472601"/>
              <a:gd name="connsiteY654" fmla="*/ 3483279 h 6858000"/>
              <a:gd name="connsiteX655" fmla="*/ 2435119 w 7472601"/>
              <a:gd name="connsiteY655" fmla="*/ 3080173 h 6858000"/>
              <a:gd name="connsiteX656" fmla="*/ 2410152 w 7472601"/>
              <a:gd name="connsiteY656" fmla="*/ 3063751 h 6858000"/>
              <a:gd name="connsiteX657" fmla="*/ 2408099 w 7472601"/>
              <a:gd name="connsiteY657" fmla="*/ 3064403 h 6858000"/>
              <a:gd name="connsiteX658" fmla="*/ 2407218 w 7472601"/>
              <a:gd name="connsiteY658" fmla="*/ 3070324 h 6858000"/>
              <a:gd name="connsiteX659" fmla="*/ 2380138 w 7472601"/>
              <a:gd name="connsiteY659" fmla="*/ 3099341 h 6858000"/>
              <a:gd name="connsiteX660" fmla="*/ 1765923 w 7472601"/>
              <a:gd name="connsiteY660" fmla="*/ 3581043 h 6858000"/>
              <a:gd name="connsiteX661" fmla="*/ 1702258 w 7472601"/>
              <a:gd name="connsiteY661" fmla="*/ 3612286 h 6858000"/>
              <a:gd name="connsiteX662" fmla="*/ 1538370 w 7472601"/>
              <a:gd name="connsiteY662" fmla="*/ 3811804 h 6858000"/>
              <a:gd name="connsiteX663" fmla="*/ 542867 w 7472601"/>
              <a:gd name="connsiteY663" fmla="*/ 4944092 h 6858000"/>
              <a:gd name="connsiteX664" fmla="*/ 515800 w 7472601"/>
              <a:gd name="connsiteY664" fmla="*/ 4862180 h 6858000"/>
              <a:gd name="connsiteX665" fmla="*/ 909145 w 7472601"/>
              <a:gd name="connsiteY665" fmla="*/ 4199225 h 6858000"/>
              <a:gd name="connsiteX666" fmla="*/ 1214067 w 7472601"/>
              <a:gd name="connsiteY666" fmla="*/ 3908561 h 6858000"/>
              <a:gd name="connsiteX667" fmla="*/ 640967 w 7472601"/>
              <a:gd name="connsiteY667" fmla="*/ 4105601 h 6858000"/>
              <a:gd name="connsiteX668" fmla="*/ 112563 w 7472601"/>
              <a:gd name="connsiteY668" fmla="*/ 4396952 h 6858000"/>
              <a:gd name="connsiteX669" fmla="*/ 0 w 7472601"/>
              <a:gd name="connsiteY669" fmla="*/ 4466006 h 6858000"/>
              <a:gd name="connsiteX670" fmla="*/ 0 w 7472601"/>
              <a:gd name="connsiteY670" fmla="*/ 4233763 h 6858000"/>
              <a:gd name="connsiteX671" fmla="*/ 36881 w 7472601"/>
              <a:gd name="connsiteY671" fmla="*/ 4200118 h 6858000"/>
              <a:gd name="connsiteX672" fmla="*/ 910534 w 7472601"/>
              <a:gd name="connsiteY672" fmla="*/ 3629753 h 6858000"/>
              <a:gd name="connsiteX673" fmla="*/ 1578717 w 7472601"/>
              <a:gd name="connsiteY673" fmla="*/ 3575982 h 6858000"/>
              <a:gd name="connsiteX674" fmla="*/ 2338780 w 7472601"/>
              <a:gd name="connsiteY674" fmla="*/ 3033725 h 6858000"/>
              <a:gd name="connsiteX675" fmla="*/ 1807991 w 7472601"/>
              <a:gd name="connsiteY675" fmla="*/ 2807184 h 6858000"/>
              <a:gd name="connsiteX676" fmla="*/ 1416358 w 7472601"/>
              <a:gd name="connsiteY676" fmla="*/ 3112571 h 6858000"/>
              <a:gd name="connsiteX677" fmla="*/ 939066 w 7472601"/>
              <a:gd name="connsiteY677" fmla="*/ 3378798 h 6858000"/>
              <a:gd name="connsiteX678" fmla="*/ 115099 w 7472601"/>
              <a:gd name="connsiteY678" fmla="*/ 3607650 h 6858000"/>
              <a:gd name="connsiteX679" fmla="*/ 97284 w 7472601"/>
              <a:gd name="connsiteY679" fmla="*/ 3520393 h 6858000"/>
              <a:gd name="connsiteX680" fmla="*/ 922050 w 7472601"/>
              <a:gd name="connsiteY680" fmla="*/ 3074867 h 6858000"/>
              <a:gd name="connsiteX681" fmla="*/ 1405265 w 7472601"/>
              <a:gd name="connsiteY681" fmla="*/ 3016319 h 6858000"/>
              <a:gd name="connsiteX682" fmla="*/ 1407512 w 7472601"/>
              <a:gd name="connsiteY682" fmla="*/ 3018001 h 6858000"/>
              <a:gd name="connsiteX683" fmla="*/ 1726266 w 7472601"/>
              <a:gd name="connsiteY683" fmla="*/ 2777274 h 6858000"/>
              <a:gd name="connsiteX684" fmla="*/ 625390 w 7472601"/>
              <a:gd name="connsiteY684" fmla="*/ 2514541 h 6858000"/>
              <a:gd name="connsiteX685" fmla="*/ 619799 w 7472601"/>
              <a:gd name="connsiteY685" fmla="*/ 2527180 h 6858000"/>
              <a:gd name="connsiteX686" fmla="*/ 310030 w 7472601"/>
              <a:gd name="connsiteY686" fmla="*/ 2771818 h 6858000"/>
              <a:gd name="connsiteX687" fmla="*/ 173877 w 7472601"/>
              <a:gd name="connsiteY687" fmla="*/ 2937056 h 6858000"/>
              <a:gd name="connsiteX688" fmla="*/ 77889 w 7472601"/>
              <a:gd name="connsiteY688" fmla="*/ 3138440 h 6858000"/>
              <a:gd name="connsiteX689" fmla="*/ 0 w 7472601"/>
              <a:gd name="connsiteY689" fmla="*/ 3271395 h 6858000"/>
              <a:gd name="connsiteX690" fmla="*/ 0 w 7472601"/>
              <a:gd name="connsiteY690" fmla="*/ 3153002 h 6858000"/>
              <a:gd name="connsiteX691" fmla="*/ 2386 w 7472601"/>
              <a:gd name="connsiteY691" fmla="*/ 3149203 h 6858000"/>
              <a:gd name="connsiteX692" fmla="*/ 89753 w 7472601"/>
              <a:gd name="connsiteY692" fmla="*/ 2987702 h 6858000"/>
              <a:gd name="connsiteX693" fmla="*/ 76869 w 7472601"/>
              <a:gd name="connsiteY693" fmla="*/ 3005404 h 6858000"/>
              <a:gd name="connsiteX694" fmla="*/ 32049 w 7472601"/>
              <a:gd name="connsiteY694" fmla="*/ 3065814 h 6858000"/>
              <a:gd name="connsiteX695" fmla="*/ 0 w 7472601"/>
              <a:gd name="connsiteY695" fmla="*/ 3108744 h 6858000"/>
              <a:gd name="connsiteX696" fmla="*/ 0 w 7472601"/>
              <a:gd name="connsiteY696" fmla="*/ 3058059 h 6858000"/>
              <a:gd name="connsiteX697" fmla="*/ 7610 w 7472601"/>
              <a:gd name="connsiteY697" fmla="*/ 3047889 h 6858000"/>
              <a:gd name="connsiteX698" fmla="*/ 52419 w 7472601"/>
              <a:gd name="connsiteY698" fmla="*/ 2987479 h 6858000"/>
              <a:gd name="connsiteX699" fmla="*/ 59142 w 7472601"/>
              <a:gd name="connsiteY699" fmla="*/ 2978488 h 6858000"/>
              <a:gd name="connsiteX700" fmla="*/ 0 w 7472601"/>
              <a:gd name="connsiteY700" fmla="*/ 3015334 h 6858000"/>
              <a:gd name="connsiteX701" fmla="*/ 0 w 7472601"/>
              <a:gd name="connsiteY701" fmla="*/ 2914286 h 6858000"/>
              <a:gd name="connsiteX702" fmla="*/ 36383 w 7472601"/>
              <a:gd name="connsiteY702" fmla="*/ 2901128 h 6858000"/>
              <a:gd name="connsiteX703" fmla="*/ 156329 w 7472601"/>
              <a:gd name="connsiteY703" fmla="*/ 2840533 h 6858000"/>
              <a:gd name="connsiteX704" fmla="*/ 358355 w 7472601"/>
              <a:gd name="connsiteY704" fmla="*/ 2620471 h 6858000"/>
              <a:gd name="connsiteX705" fmla="*/ 510577 w 7472601"/>
              <a:gd name="connsiteY705" fmla="*/ 2501244 h 6858000"/>
              <a:gd name="connsiteX706" fmla="*/ 211967 w 7472601"/>
              <a:gd name="connsiteY706" fmla="*/ 2479171 h 6858000"/>
              <a:gd name="connsiteX707" fmla="*/ 0 w 7472601"/>
              <a:gd name="connsiteY707" fmla="*/ 2476398 h 6858000"/>
              <a:gd name="connsiteX708" fmla="*/ 0 w 7472601"/>
              <a:gd name="connsiteY708" fmla="*/ 2389189 h 6858000"/>
              <a:gd name="connsiteX709" fmla="*/ 103062 w 7472601"/>
              <a:gd name="connsiteY709" fmla="*/ 2389518 h 6858000"/>
              <a:gd name="connsiteX710" fmla="*/ 510734 w 7472601"/>
              <a:gd name="connsiteY710" fmla="*/ 2416201 h 6858000"/>
              <a:gd name="connsiteX711" fmla="*/ 279257 w 7472601"/>
              <a:gd name="connsiteY711" fmla="*/ 2092102 h 6858000"/>
              <a:gd name="connsiteX712" fmla="*/ 65265 w 7472601"/>
              <a:gd name="connsiteY712" fmla="*/ 2006049 h 6858000"/>
              <a:gd name="connsiteX713" fmla="*/ 0 w 7472601"/>
              <a:gd name="connsiteY713" fmla="*/ 1982532 h 6858000"/>
              <a:gd name="connsiteX714" fmla="*/ 0 w 7472601"/>
              <a:gd name="connsiteY714" fmla="*/ 1912789 h 6858000"/>
              <a:gd name="connsiteX715" fmla="*/ 97460 w 7472601"/>
              <a:gd name="connsiteY715" fmla="*/ 1953725 h 6858000"/>
              <a:gd name="connsiteX716" fmla="*/ 221272 w 7472601"/>
              <a:gd name="connsiteY716" fmla="*/ 1980766 h 6858000"/>
              <a:gd name="connsiteX717" fmla="*/ 116765 w 7472601"/>
              <a:gd name="connsiteY717" fmla="*/ 1911033 h 6858000"/>
              <a:gd name="connsiteX718" fmla="*/ 16405 w 7472601"/>
              <a:gd name="connsiteY718" fmla="*/ 1803412 h 6858000"/>
              <a:gd name="connsiteX719" fmla="*/ 0 w 7472601"/>
              <a:gd name="connsiteY719" fmla="*/ 1784777 h 6858000"/>
              <a:gd name="connsiteX720" fmla="*/ 0 w 7472601"/>
              <a:gd name="connsiteY720" fmla="*/ 1740082 h 6858000"/>
              <a:gd name="connsiteX721" fmla="*/ 39394 w 7472601"/>
              <a:gd name="connsiteY721" fmla="*/ 1784856 h 6858000"/>
              <a:gd name="connsiteX722" fmla="*/ 135813 w 7472601"/>
              <a:gd name="connsiteY722" fmla="*/ 1888838 h 6858000"/>
              <a:gd name="connsiteX723" fmla="*/ 242575 w 7472601"/>
              <a:gd name="connsiteY723" fmla="*/ 1958841 h 6858000"/>
              <a:gd name="connsiteX724" fmla="*/ 82197 w 7472601"/>
              <a:gd name="connsiteY724" fmla="*/ 1754826 h 6858000"/>
              <a:gd name="connsiteX725" fmla="*/ 0 w 7472601"/>
              <a:gd name="connsiteY725" fmla="*/ 1679650 h 6858000"/>
              <a:gd name="connsiteX726" fmla="*/ 0 w 7472601"/>
              <a:gd name="connsiteY726" fmla="*/ 1602463 h 6858000"/>
              <a:gd name="connsiteX727" fmla="*/ 84689 w 7472601"/>
              <a:gd name="connsiteY727" fmla="*/ 1677442 h 6858000"/>
              <a:gd name="connsiteX728" fmla="*/ 298437 w 7472601"/>
              <a:gd name="connsiteY728" fmla="*/ 1968019 h 6858000"/>
              <a:gd name="connsiteX729" fmla="*/ 227269 w 7472601"/>
              <a:gd name="connsiteY729" fmla="*/ 1114064 h 6858000"/>
              <a:gd name="connsiteX730" fmla="*/ 248003 w 7472601"/>
              <a:gd name="connsiteY730" fmla="*/ 1089613 h 6858000"/>
              <a:gd name="connsiteX731" fmla="*/ 427020 w 7472601"/>
              <a:gd name="connsiteY731" fmla="*/ 1619803 h 6858000"/>
              <a:gd name="connsiteX732" fmla="*/ 340345 w 7472601"/>
              <a:gd name="connsiteY732" fmla="*/ 2027739 h 6858000"/>
              <a:gd name="connsiteX733" fmla="*/ 360865 w 7472601"/>
              <a:gd name="connsiteY733" fmla="*/ 2044827 h 6858000"/>
              <a:gd name="connsiteX734" fmla="*/ 560414 w 7472601"/>
              <a:gd name="connsiteY734" fmla="*/ 2421457 h 6858000"/>
              <a:gd name="connsiteX735" fmla="*/ 1359703 w 7472601"/>
              <a:gd name="connsiteY735" fmla="*/ 2578554 h 6858000"/>
              <a:gd name="connsiteX736" fmla="*/ 1359422 w 7472601"/>
              <a:gd name="connsiteY736" fmla="*/ 2577994 h 6858000"/>
              <a:gd name="connsiteX737" fmla="*/ 828701 w 7472601"/>
              <a:gd name="connsiteY737" fmla="*/ 1839520 h 6858000"/>
              <a:gd name="connsiteX738" fmla="*/ 494427 w 7472601"/>
              <a:gd name="connsiteY738" fmla="*/ 1092333 h 6858000"/>
              <a:gd name="connsiteX739" fmla="*/ 506322 w 7472601"/>
              <a:gd name="connsiteY739" fmla="*/ 1020997 h 6858000"/>
              <a:gd name="connsiteX740" fmla="*/ 4570198 w 7472601"/>
              <a:gd name="connsiteY740" fmla="*/ 978081 h 6858000"/>
              <a:gd name="connsiteX741" fmla="*/ 4523691 w 7472601"/>
              <a:gd name="connsiteY741" fmla="*/ 1127776 h 6858000"/>
              <a:gd name="connsiteX742" fmla="*/ 4509875 w 7472601"/>
              <a:gd name="connsiteY742" fmla="*/ 1167552 h 6858000"/>
              <a:gd name="connsiteX743" fmla="*/ 4478168 w 7472601"/>
              <a:gd name="connsiteY743" fmla="*/ 1260735 h 6858000"/>
              <a:gd name="connsiteX744" fmla="*/ 4409309 w 7472601"/>
              <a:gd name="connsiteY744" fmla="*/ 1666996 h 6858000"/>
              <a:gd name="connsiteX745" fmla="*/ 4370031 w 7472601"/>
              <a:gd name="connsiteY745" fmla="*/ 1955666 h 6858000"/>
              <a:gd name="connsiteX746" fmla="*/ 4570198 w 7472601"/>
              <a:gd name="connsiteY746" fmla="*/ 978081 h 6858000"/>
              <a:gd name="connsiteX747" fmla="*/ 4557898 w 7472601"/>
              <a:gd name="connsiteY747" fmla="*/ 900011 h 6858000"/>
              <a:gd name="connsiteX748" fmla="*/ 4344840 w 7472601"/>
              <a:gd name="connsiteY748" fmla="*/ 1922038 h 6858000"/>
              <a:gd name="connsiteX749" fmla="*/ 4378710 w 7472601"/>
              <a:gd name="connsiteY749" fmla="*/ 1665516 h 6858000"/>
              <a:gd name="connsiteX750" fmla="*/ 4448798 w 7472601"/>
              <a:gd name="connsiteY750" fmla="*/ 1253024 h 6858000"/>
              <a:gd name="connsiteX751" fmla="*/ 4480315 w 7472601"/>
              <a:gd name="connsiteY751" fmla="*/ 1158454 h 6858000"/>
              <a:gd name="connsiteX752" fmla="*/ 4494133 w 7472601"/>
              <a:gd name="connsiteY752" fmla="*/ 1118676 h 6858000"/>
              <a:gd name="connsiteX753" fmla="*/ 4557898 w 7472601"/>
              <a:gd name="connsiteY753" fmla="*/ 900011 h 6858000"/>
              <a:gd name="connsiteX754" fmla="*/ 5870151 w 7472601"/>
              <a:gd name="connsiteY754" fmla="*/ 898890 h 6858000"/>
              <a:gd name="connsiteX755" fmla="*/ 5861335 w 7472601"/>
              <a:gd name="connsiteY755" fmla="*/ 899177 h 6858000"/>
              <a:gd name="connsiteX756" fmla="*/ 5843702 w 7472601"/>
              <a:gd name="connsiteY756" fmla="*/ 899748 h 6858000"/>
              <a:gd name="connsiteX757" fmla="*/ 5651107 w 7472601"/>
              <a:gd name="connsiteY757" fmla="*/ 920306 h 6858000"/>
              <a:gd name="connsiteX758" fmla="*/ 5459407 w 7472601"/>
              <a:gd name="connsiteY758" fmla="*/ 940975 h 6858000"/>
              <a:gd name="connsiteX759" fmla="*/ 5374846 w 7472601"/>
              <a:gd name="connsiteY759" fmla="*/ 941988 h 6858000"/>
              <a:gd name="connsiteX760" fmla="*/ 5256105 w 7472601"/>
              <a:gd name="connsiteY760" fmla="*/ 945632 h 6858000"/>
              <a:gd name="connsiteX761" fmla="*/ 5107071 w 7472601"/>
              <a:gd name="connsiteY761" fmla="*/ 969720 h 6858000"/>
              <a:gd name="connsiteX762" fmla="*/ 4998681 w 7472601"/>
              <a:gd name="connsiteY762" fmla="*/ 988771 h 6858000"/>
              <a:gd name="connsiteX763" fmla="*/ 5870151 w 7472601"/>
              <a:gd name="connsiteY763" fmla="*/ 898890 h 6858000"/>
              <a:gd name="connsiteX764" fmla="*/ 5504425 w 7472601"/>
              <a:gd name="connsiteY764" fmla="*/ 848067 h 6858000"/>
              <a:gd name="connsiteX765" fmla="*/ 4968849 w 7472601"/>
              <a:gd name="connsiteY765" fmla="*/ 962318 h 6858000"/>
              <a:gd name="connsiteX766" fmla="*/ 5104039 w 7472601"/>
              <a:gd name="connsiteY766" fmla="*/ 940634 h 6858000"/>
              <a:gd name="connsiteX767" fmla="*/ 5256311 w 7472601"/>
              <a:gd name="connsiteY767" fmla="*/ 916490 h 6858000"/>
              <a:gd name="connsiteX768" fmla="*/ 5377381 w 7472601"/>
              <a:gd name="connsiteY768" fmla="*/ 912671 h 6858000"/>
              <a:gd name="connsiteX769" fmla="*/ 5460148 w 7472601"/>
              <a:gd name="connsiteY769" fmla="*/ 911442 h 6858000"/>
              <a:gd name="connsiteX770" fmla="*/ 5648971 w 7472601"/>
              <a:gd name="connsiteY770" fmla="*/ 891331 h 6858000"/>
              <a:gd name="connsiteX771" fmla="*/ 5844807 w 7472601"/>
              <a:gd name="connsiteY771" fmla="*/ 870718 h 6858000"/>
              <a:gd name="connsiteX772" fmla="*/ 5862975 w 7472601"/>
              <a:gd name="connsiteY772" fmla="*/ 869756 h 6858000"/>
              <a:gd name="connsiteX773" fmla="*/ 5920887 w 7472601"/>
              <a:gd name="connsiteY773" fmla="*/ 865929 h 6858000"/>
              <a:gd name="connsiteX774" fmla="*/ 5504425 w 7472601"/>
              <a:gd name="connsiteY774" fmla="*/ 848067 h 6858000"/>
              <a:gd name="connsiteX775" fmla="*/ 3607114 w 7472601"/>
              <a:gd name="connsiteY775" fmla="*/ 467441 h 6858000"/>
              <a:gd name="connsiteX776" fmla="*/ 3296242 w 7472601"/>
              <a:gd name="connsiteY776" fmla="*/ 807991 h 6858000"/>
              <a:gd name="connsiteX777" fmla="*/ 3174674 w 7472601"/>
              <a:gd name="connsiteY777" fmla="*/ 919759 h 6858000"/>
              <a:gd name="connsiteX778" fmla="*/ 3042978 w 7472601"/>
              <a:gd name="connsiteY778" fmla="*/ 1054894 h 6858000"/>
              <a:gd name="connsiteX779" fmla="*/ 2968914 w 7472601"/>
              <a:gd name="connsiteY779" fmla="*/ 1133756 h 6858000"/>
              <a:gd name="connsiteX780" fmla="*/ 3103823 w 7472601"/>
              <a:gd name="connsiteY780" fmla="*/ 1026814 h 6858000"/>
              <a:gd name="connsiteX781" fmla="*/ 3607114 w 7472601"/>
              <a:gd name="connsiteY781" fmla="*/ 467441 h 6858000"/>
              <a:gd name="connsiteX782" fmla="*/ 3744487 w 7472601"/>
              <a:gd name="connsiteY782" fmla="*/ 383136 h 6858000"/>
              <a:gd name="connsiteX783" fmla="*/ 3970213 w 7472601"/>
              <a:gd name="connsiteY783" fmla="*/ 995559 h 6858000"/>
              <a:gd name="connsiteX784" fmla="*/ 3744487 w 7472601"/>
              <a:gd name="connsiteY784" fmla="*/ 383136 h 6858000"/>
              <a:gd name="connsiteX785" fmla="*/ 3624562 w 7472601"/>
              <a:gd name="connsiteY785" fmla="*/ 367041 h 6858000"/>
              <a:gd name="connsiteX786" fmla="*/ 3489712 w 7472601"/>
              <a:gd name="connsiteY786" fmla="*/ 485386 h 6858000"/>
              <a:gd name="connsiteX787" fmla="*/ 3182994 w 7472601"/>
              <a:gd name="connsiteY787" fmla="*/ 828265 h 6858000"/>
              <a:gd name="connsiteX788" fmla="*/ 2892114 w 7472601"/>
              <a:gd name="connsiteY788" fmla="*/ 1172635 h 6858000"/>
              <a:gd name="connsiteX789" fmla="*/ 3021459 w 7472601"/>
              <a:gd name="connsiteY789" fmla="*/ 1035385 h 6858000"/>
              <a:gd name="connsiteX790" fmla="*/ 3153873 w 7472601"/>
              <a:gd name="connsiteY790" fmla="*/ 898971 h 6858000"/>
              <a:gd name="connsiteX791" fmla="*/ 3276511 w 7472601"/>
              <a:gd name="connsiteY791" fmla="*/ 786423 h 6858000"/>
              <a:gd name="connsiteX792" fmla="*/ 3584154 w 7472601"/>
              <a:gd name="connsiteY792" fmla="*/ 448218 h 6858000"/>
              <a:gd name="connsiteX793" fmla="*/ 3624562 w 7472601"/>
              <a:gd name="connsiteY793" fmla="*/ 367041 h 6858000"/>
              <a:gd name="connsiteX794" fmla="*/ 3766672 w 7472601"/>
              <a:gd name="connsiteY794" fmla="*/ 359429 h 6858000"/>
              <a:gd name="connsiteX795" fmla="*/ 3996338 w 7472601"/>
              <a:gd name="connsiteY795" fmla="*/ 968237 h 6858000"/>
              <a:gd name="connsiteX796" fmla="*/ 3766672 w 7472601"/>
              <a:gd name="connsiteY796" fmla="*/ 359429 h 6858000"/>
              <a:gd name="connsiteX797" fmla="*/ 5805386 w 7472601"/>
              <a:gd name="connsiteY797" fmla="*/ 239240 h 6858000"/>
              <a:gd name="connsiteX798" fmla="*/ 5736947 w 7472601"/>
              <a:gd name="connsiteY798" fmla="*/ 261367 h 6858000"/>
              <a:gd name="connsiteX799" fmla="*/ 5427012 w 7472601"/>
              <a:gd name="connsiteY799" fmla="*/ 311272 h 6858000"/>
              <a:gd name="connsiteX800" fmla="*/ 5147818 w 7472601"/>
              <a:gd name="connsiteY800" fmla="*/ 322112 h 6858000"/>
              <a:gd name="connsiteX801" fmla="*/ 5060854 w 7472601"/>
              <a:gd name="connsiteY801" fmla="*/ 311882 h 6858000"/>
              <a:gd name="connsiteX802" fmla="*/ 4945989 w 7472601"/>
              <a:gd name="connsiteY802" fmla="*/ 300516 h 6858000"/>
              <a:gd name="connsiteX803" fmla="*/ 5410479 w 7472601"/>
              <a:gd name="connsiteY803" fmla="*/ 348434 h 6858000"/>
              <a:gd name="connsiteX804" fmla="*/ 5805386 w 7472601"/>
              <a:gd name="connsiteY804" fmla="*/ 239240 h 6858000"/>
              <a:gd name="connsiteX805" fmla="*/ 5905192 w 7472601"/>
              <a:gd name="connsiteY805" fmla="*/ 163079 h 6858000"/>
              <a:gd name="connsiteX806" fmla="*/ 5865655 w 7472601"/>
              <a:gd name="connsiteY806" fmla="*/ 171901 h 6858000"/>
              <a:gd name="connsiteX807" fmla="*/ 5259740 w 7472601"/>
              <a:gd name="connsiteY807" fmla="*/ 257013 h 6858000"/>
              <a:gd name="connsiteX808" fmla="*/ 5208466 w 7472601"/>
              <a:gd name="connsiteY808" fmla="*/ 257550 h 6858000"/>
              <a:gd name="connsiteX809" fmla="*/ 4980204 w 7472601"/>
              <a:gd name="connsiteY809" fmla="*/ 271903 h 6858000"/>
              <a:gd name="connsiteX810" fmla="*/ 5068068 w 7472601"/>
              <a:gd name="connsiteY810" fmla="*/ 282244 h 6858000"/>
              <a:gd name="connsiteX811" fmla="*/ 5153231 w 7472601"/>
              <a:gd name="connsiteY811" fmla="*/ 292240 h 6858000"/>
              <a:gd name="connsiteX812" fmla="*/ 5426491 w 7472601"/>
              <a:gd name="connsiteY812" fmla="*/ 281128 h 6858000"/>
              <a:gd name="connsiteX813" fmla="*/ 5731212 w 7472601"/>
              <a:gd name="connsiteY813" fmla="*/ 231951 h 6858000"/>
              <a:gd name="connsiteX814" fmla="*/ 5905192 w 7472601"/>
              <a:gd name="connsiteY814" fmla="*/ 163079 h 6858000"/>
              <a:gd name="connsiteX815" fmla="*/ 5944437 w 7472601"/>
              <a:gd name="connsiteY815" fmla="*/ 113829 h 6858000"/>
              <a:gd name="connsiteX816" fmla="*/ 5825032 w 7472601"/>
              <a:gd name="connsiteY816" fmla="*/ 146405 h 6858000"/>
              <a:gd name="connsiteX817" fmla="*/ 4955599 w 7472601"/>
              <a:gd name="connsiteY817" fmla="*/ 247008 h 6858000"/>
              <a:gd name="connsiteX818" fmla="*/ 5210104 w 7472601"/>
              <a:gd name="connsiteY818" fmla="*/ 228123 h 6858000"/>
              <a:gd name="connsiteX819" fmla="*/ 5261015 w 7472601"/>
              <a:gd name="connsiteY819" fmla="*/ 227087 h 6858000"/>
              <a:gd name="connsiteX820" fmla="*/ 5861181 w 7472601"/>
              <a:gd name="connsiteY820" fmla="*/ 143093 h 6858000"/>
              <a:gd name="connsiteX821" fmla="*/ 5961252 w 7472601"/>
              <a:gd name="connsiteY821" fmla="*/ 114820 h 6858000"/>
              <a:gd name="connsiteX822" fmla="*/ 5944437 w 7472601"/>
              <a:gd name="connsiteY822" fmla="*/ 113829 h 6858000"/>
              <a:gd name="connsiteX823" fmla="*/ 3882765 w 7472601"/>
              <a:gd name="connsiteY823" fmla="*/ 0 h 6858000"/>
              <a:gd name="connsiteX824" fmla="*/ 3995099 w 7472601"/>
              <a:gd name="connsiteY824" fmla="*/ 0 h 6858000"/>
              <a:gd name="connsiteX825" fmla="*/ 4163818 w 7472601"/>
              <a:gd name="connsiteY825" fmla="*/ 234104 h 6858000"/>
              <a:gd name="connsiteX826" fmla="*/ 4172099 w 7472601"/>
              <a:gd name="connsiteY826" fmla="*/ 234207 h 6858000"/>
              <a:gd name="connsiteX827" fmla="*/ 4784282 w 7472601"/>
              <a:gd name="connsiteY827" fmla="*/ 276561 h 6858000"/>
              <a:gd name="connsiteX828" fmla="*/ 4801687 w 7472601"/>
              <a:gd name="connsiteY828" fmla="*/ 267764 h 6858000"/>
              <a:gd name="connsiteX829" fmla="*/ 6082788 w 7472601"/>
              <a:gd name="connsiteY829" fmla="*/ 64119 h 6858000"/>
              <a:gd name="connsiteX830" fmla="*/ 6099442 w 7472601"/>
              <a:gd name="connsiteY830" fmla="*/ 82568 h 6858000"/>
              <a:gd name="connsiteX831" fmla="*/ 4804137 w 7472601"/>
              <a:gd name="connsiteY831" fmla="*/ 320931 h 6858000"/>
              <a:gd name="connsiteX832" fmla="*/ 4227047 w 7472601"/>
              <a:gd name="connsiteY832" fmla="*/ 313415 h 6858000"/>
              <a:gd name="connsiteX833" fmla="*/ 4346041 w 7472601"/>
              <a:gd name="connsiteY833" fmla="*/ 456086 h 6858000"/>
              <a:gd name="connsiteX834" fmla="*/ 4870967 w 7472601"/>
              <a:gd name="connsiteY834" fmla="*/ 963061 h 6858000"/>
              <a:gd name="connsiteX835" fmla="*/ 4889647 w 7472601"/>
              <a:gd name="connsiteY835" fmla="*/ 957147 h 6858000"/>
              <a:gd name="connsiteX836" fmla="*/ 5422504 w 7472601"/>
              <a:gd name="connsiteY836" fmla="*/ 805191 h 6858000"/>
              <a:gd name="connsiteX837" fmla="*/ 6087656 w 7472601"/>
              <a:gd name="connsiteY837" fmla="*/ 826703 h 6858000"/>
              <a:gd name="connsiteX838" fmla="*/ 6058717 w 7472601"/>
              <a:gd name="connsiteY838" fmla="*/ 865992 h 6858000"/>
              <a:gd name="connsiteX839" fmla="*/ 4974153 w 7472601"/>
              <a:gd name="connsiteY839" fmla="*/ 1045456 h 6858000"/>
              <a:gd name="connsiteX840" fmla="*/ 5627835 w 7472601"/>
              <a:gd name="connsiteY840" fmla="*/ 1472077 h 6858000"/>
              <a:gd name="connsiteX841" fmla="*/ 5629817 w 7472601"/>
              <a:gd name="connsiteY841" fmla="*/ 1471412 h 6858000"/>
              <a:gd name="connsiteX842" fmla="*/ 5634124 w 7472601"/>
              <a:gd name="connsiteY842" fmla="*/ 1470572 h 6858000"/>
              <a:gd name="connsiteX843" fmla="*/ 5755832 w 7472601"/>
              <a:gd name="connsiteY843" fmla="*/ 1383886 h 6858000"/>
              <a:gd name="connsiteX844" fmla="*/ 6014186 w 7472601"/>
              <a:gd name="connsiteY844" fmla="*/ 1279799 h 6858000"/>
              <a:gd name="connsiteX845" fmla="*/ 6901619 w 7472601"/>
              <a:gd name="connsiteY845" fmla="*/ 1047874 h 6858000"/>
              <a:gd name="connsiteX846" fmla="*/ 6931566 w 7472601"/>
              <a:gd name="connsiteY846" fmla="*/ 1062034 h 6858000"/>
              <a:gd name="connsiteX847" fmla="*/ 5790982 w 7472601"/>
              <a:gd name="connsiteY847" fmla="*/ 1561380 h 6858000"/>
              <a:gd name="connsiteX848" fmla="*/ 6188971 w 7472601"/>
              <a:gd name="connsiteY848" fmla="*/ 1755168 h 6858000"/>
              <a:gd name="connsiteX849" fmla="*/ 6202446 w 7472601"/>
              <a:gd name="connsiteY849" fmla="*/ 1752268 h 6858000"/>
              <a:gd name="connsiteX850" fmla="*/ 7179560 w 7472601"/>
              <a:gd name="connsiteY850" fmla="*/ 1467551 h 6858000"/>
              <a:gd name="connsiteX851" fmla="*/ 7158730 w 7472601"/>
              <a:gd name="connsiteY851" fmla="*/ 1507835 h 6858000"/>
              <a:gd name="connsiteX852" fmla="*/ 6326959 w 7472601"/>
              <a:gd name="connsiteY852" fmla="*/ 1817686 h 6858000"/>
              <a:gd name="connsiteX853" fmla="*/ 6537433 w 7472601"/>
              <a:gd name="connsiteY853" fmla="*/ 1907790 h 6858000"/>
              <a:gd name="connsiteX854" fmla="*/ 6550221 w 7472601"/>
              <a:gd name="connsiteY854" fmla="*/ 1910729 h 6858000"/>
              <a:gd name="connsiteX855" fmla="*/ 6964438 w 7472601"/>
              <a:gd name="connsiteY855" fmla="*/ 2209505 h 6858000"/>
              <a:gd name="connsiteX856" fmla="*/ 7367862 w 7472601"/>
              <a:gd name="connsiteY856" fmla="*/ 2806833 h 6858000"/>
              <a:gd name="connsiteX857" fmla="*/ 7364329 w 7472601"/>
              <a:gd name="connsiteY857" fmla="*/ 2826907 h 6858000"/>
              <a:gd name="connsiteX858" fmla="*/ 7290545 w 7472601"/>
              <a:gd name="connsiteY858" fmla="*/ 2850663 h 6858000"/>
              <a:gd name="connsiteX859" fmla="*/ 6472036 w 7472601"/>
              <a:gd name="connsiteY859" fmla="*/ 1959003 h 6858000"/>
              <a:gd name="connsiteX860" fmla="*/ 5792897 w 7472601"/>
              <a:gd name="connsiteY860" fmla="*/ 1647747 h 6858000"/>
              <a:gd name="connsiteX861" fmla="*/ 5842751 w 7472601"/>
              <a:gd name="connsiteY861" fmla="*/ 1816112 h 6858000"/>
              <a:gd name="connsiteX862" fmla="*/ 5847424 w 7472601"/>
              <a:gd name="connsiteY862" fmla="*/ 1815776 h 6858000"/>
              <a:gd name="connsiteX863" fmla="*/ 6399821 w 7472601"/>
              <a:gd name="connsiteY863" fmla="*/ 2344799 h 6858000"/>
              <a:gd name="connsiteX864" fmla="*/ 6323232 w 7472601"/>
              <a:gd name="connsiteY864" fmla="*/ 2389634 h 6858000"/>
              <a:gd name="connsiteX865" fmla="*/ 5942958 w 7472601"/>
              <a:gd name="connsiteY865" fmla="*/ 2077708 h 6858000"/>
              <a:gd name="connsiteX866" fmla="*/ 5921559 w 7472601"/>
              <a:gd name="connsiteY866" fmla="*/ 2378596 h 6858000"/>
              <a:gd name="connsiteX867" fmla="*/ 5817651 w 7472601"/>
              <a:gd name="connsiteY867" fmla="*/ 3023919 h 6858000"/>
              <a:gd name="connsiteX868" fmla="*/ 5729634 w 7472601"/>
              <a:gd name="connsiteY868" fmla="*/ 3051849 h 6858000"/>
              <a:gd name="connsiteX869" fmla="*/ 5611018 w 7472601"/>
              <a:gd name="connsiteY869" fmla="*/ 2316769 h 6858000"/>
              <a:gd name="connsiteX870" fmla="*/ 5687608 w 7472601"/>
              <a:gd name="connsiteY870" fmla="*/ 2039972 h 6858000"/>
              <a:gd name="connsiteX871" fmla="*/ 5657554 w 7472601"/>
              <a:gd name="connsiteY871" fmla="*/ 1576445 h 6858000"/>
              <a:gd name="connsiteX872" fmla="*/ 5150475 w 7472601"/>
              <a:gd name="connsiteY872" fmla="*/ 1274012 h 6858000"/>
              <a:gd name="connsiteX873" fmla="*/ 5349142 w 7472601"/>
              <a:gd name="connsiteY873" fmla="*/ 2204405 h 6858000"/>
              <a:gd name="connsiteX874" fmla="*/ 5262214 w 7472601"/>
              <a:gd name="connsiteY874" fmla="*/ 2233836 h 6858000"/>
              <a:gd name="connsiteX875" fmla="*/ 4981539 w 7472601"/>
              <a:gd name="connsiteY875" fmla="*/ 1542201 h 6858000"/>
              <a:gd name="connsiteX876" fmla="*/ 4958461 w 7472601"/>
              <a:gd name="connsiteY876" fmla="*/ 1136957 h 6858000"/>
              <a:gd name="connsiteX877" fmla="*/ 4655015 w 7472601"/>
              <a:gd name="connsiteY877" fmla="*/ 891426 h 6858000"/>
              <a:gd name="connsiteX878" fmla="*/ 4348002 w 7472601"/>
              <a:gd name="connsiteY878" fmla="*/ 2205895 h 6858000"/>
              <a:gd name="connsiteX879" fmla="*/ 4262250 w 7472601"/>
              <a:gd name="connsiteY879" fmla="*/ 2219972 h 6858000"/>
              <a:gd name="connsiteX880" fmla="*/ 4550611 w 7472601"/>
              <a:gd name="connsiteY880" fmla="*/ 817540 h 6858000"/>
              <a:gd name="connsiteX881" fmla="*/ 4564418 w 7472601"/>
              <a:gd name="connsiteY881" fmla="*/ 808293 h 6858000"/>
              <a:gd name="connsiteX882" fmla="*/ 4266388 w 7472601"/>
              <a:gd name="connsiteY882" fmla="*/ 500083 h 6858000"/>
              <a:gd name="connsiteX883" fmla="*/ 4032842 w 7472601"/>
              <a:gd name="connsiteY883" fmla="*/ 211809 h 6858000"/>
              <a:gd name="connsiteX884" fmla="*/ 3882765 w 7472601"/>
              <a:gd name="connsiteY884" fmla="*/ 0 h 6858000"/>
              <a:gd name="connsiteX885" fmla="*/ 3721337 w 7472601"/>
              <a:gd name="connsiteY885" fmla="*/ 0 h 6858000"/>
              <a:gd name="connsiteX886" fmla="*/ 3797544 w 7472601"/>
              <a:gd name="connsiteY886" fmla="*/ 0 h 6858000"/>
              <a:gd name="connsiteX887" fmla="*/ 3775734 w 7472601"/>
              <a:gd name="connsiteY887" fmla="*/ 95131 h 6858000"/>
              <a:gd name="connsiteX888" fmla="*/ 3724807 w 7472601"/>
              <a:gd name="connsiteY888" fmla="*/ 272257 h 6858000"/>
              <a:gd name="connsiteX889" fmla="*/ 3726844 w 7472601"/>
              <a:gd name="connsiteY889" fmla="*/ 282988 h 6858000"/>
              <a:gd name="connsiteX890" fmla="*/ 3742664 w 7472601"/>
              <a:gd name="connsiteY890" fmla="*/ 279918 h 6858000"/>
              <a:gd name="connsiteX891" fmla="*/ 4103910 w 7472601"/>
              <a:gd name="connsiteY891" fmla="*/ 1161917 h 6858000"/>
              <a:gd name="connsiteX892" fmla="*/ 4020269 w 7472601"/>
              <a:gd name="connsiteY892" fmla="*/ 1200406 h 6858000"/>
              <a:gd name="connsiteX893" fmla="*/ 3674882 w 7472601"/>
              <a:gd name="connsiteY893" fmla="*/ 488524 h 6858000"/>
              <a:gd name="connsiteX894" fmla="*/ 3132682 w 7472601"/>
              <a:gd name="connsiteY894" fmla="*/ 1072284 h 6858000"/>
              <a:gd name="connsiteX895" fmla="*/ 2716346 w 7472601"/>
              <a:gd name="connsiteY895" fmla="*/ 1276376 h 6858000"/>
              <a:gd name="connsiteX896" fmla="*/ 2716772 w 7472601"/>
              <a:gd name="connsiteY896" fmla="*/ 1255462 h 6858000"/>
              <a:gd name="connsiteX897" fmla="*/ 3471096 w 7472601"/>
              <a:gd name="connsiteY897" fmla="*/ 437072 h 6858000"/>
              <a:gd name="connsiteX898" fmla="*/ 3639057 w 7472601"/>
              <a:gd name="connsiteY898" fmla="*/ 286334 h 6858000"/>
              <a:gd name="connsiteX899" fmla="*/ 3640309 w 7472601"/>
              <a:gd name="connsiteY899" fmla="*/ 284664 h 6858000"/>
              <a:gd name="connsiteX900" fmla="*/ 3646022 w 7472601"/>
              <a:gd name="connsiteY900" fmla="*/ 276711 h 6858000"/>
              <a:gd name="connsiteX901" fmla="*/ 3707943 w 7472601"/>
              <a:gd name="connsiteY901" fmla="*/ 65958 h 6858000"/>
              <a:gd name="connsiteX902" fmla="*/ 3721337 w 7472601"/>
              <a:gd name="connsiteY902" fmla="*/ 0 h 6858000"/>
              <a:gd name="connsiteX903" fmla="*/ 2867960 w 7472601"/>
              <a:gd name="connsiteY903" fmla="*/ 0 h 6858000"/>
              <a:gd name="connsiteX904" fmla="*/ 2926351 w 7472601"/>
              <a:gd name="connsiteY904" fmla="*/ 0 h 6858000"/>
              <a:gd name="connsiteX905" fmla="*/ 2902823 w 7472601"/>
              <a:gd name="connsiteY905" fmla="*/ 262929 h 6858000"/>
              <a:gd name="connsiteX906" fmla="*/ 2940663 w 7472601"/>
              <a:gd name="connsiteY906" fmla="*/ 140884 h 6858000"/>
              <a:gd name="connsiteX907" fmla="*/ 2947039 w 7472601"/>
              <a:gd name="connsiteY907" fmla="*/ 122524 h 6858000"/>
              <a:gd name="connsiteX908" fmla="*/ 2984316 w 7472601"/>
              <a:gd name="connsiteY908" fmla="*/ 0 h 6858000"/>
              <a:gd name="connsiteX909" fmla="*/ 3016114 w 7472601"/>
              <a:gd name="connsiteY909" fmla="*/ 0 h 6858000"/>
              <a:gd name="connsiteX910" fmla="*/ 2979949 w 7472601"/>
              <a:gd name="connsiteY910" fmla="*/ 119274 h 6858000"/>
              <a:gd name="connsiteX911" fmla="*/ 3023879 w 7472601"/>
              <a:gd name="connsiteY911" fmla="*/ 0 h 6858000"/>
              <a:gd name="connsiteX912" fmla="*/ 3105400 w 7472601"/>
              <a:gd name="connsiteY912" fmla="*/ 0 h 6858000"/>
              <a:gd name="connsiteX913" fmla="*/ 3094669 w 7472601"/>
              <a:gd name="connsiteY913" fmla="*/ 30308 h 6858000"/>
              <a:gd name="connsiteX914" fmla="*/ 2901945 w 7472601"/>
              <a:gd name="connsiteY914" fmla="*/ 466538 h 6858000"/>
              <a:gd name="connsiteX915" fmla="*/ 2815209 w 7472601"/>
              <a:gd name="connsiteY915" fmla="*/ 497361 h 6858000"/>
              <a:gd name="connsiteX916" fmla="*/ 2844845 w 7472601"/>
              <a:gd name="connsiteY916" fmla="*/ 127638 h 6858000"/>
              <a:gd name="connsiteX917" fmla="*/ 2867960 w 7472601"/>
              <a:gd name="connsiteY917" fmla="*/ 0 h 6858000"/>
              <a:gd name="connsiteX918" fmla="*/ 1057230 w 7472601"/>
              <a:gd name="connsiteY918" fmla="*/ 0 h 6858000"/>
              <a:gd name="connsiteX919" fmla="*/ 1111003 w 7472601"/>
              <a:gd name="connsiteY919" fmla="*/ 0 h 6858000"/>
              <a:gd name="connsiteX920" fmla="*/ 1125553 w 7472601"/>
              <a:gd name="connsiteY920" fmla="*/ 52588 h 6858000"/>
              <a:gd name="connsiteX921" fmla="*/ 1304276 w 7472601"/>
              <a:gd name="connsiteY921" fmla="*/ 476275 h 6858000"/>
              <a:gd name="connsiteX922" fmla="*/ 1492066 w 7472601"/>
              <a:gd name="connsiteY922" fmla="*/ 886333 h 6858000"/>
              <a:gd name="connsiteX923" fmla="*/ 1423698 w 7472601"/>
              <a:gd name="connsiteY923" fmla="*/ 710817 h 6858000"/>
              <a:gd name="connsiteX924" fmla="*/ 1357609 w 7472601"/>
              <a:gd name="connsiteY924" fmla="*/ 532892 h 6858000"/>
              <a:gd name="connsiteX925" fmla="*/ 1309550 w 7472601"/>
              <a:gd name="connsiteY925" fmla="*/ 374031 h 6858000"/>
              <a:gd name="connsiteX926" fmla="*/ 1193673 w 7472601"/>
              <a:gd name="connsiteY926" fmla="*/ 49533 h 6858000"/>
              <a:gd name="connsiteX927" fmla="*/ 1164391 w 7472601"/>
              <a:gd name="connsiteY927" fmla="*/ 0 h 6858000"/>
              <a:gd name="connsiteX928" fmla="*/ 1200666 w 7472601"/>
              <a:gd name="connsiteY928" fmla="*/ 0 h 6858000"/>
              <a:gd name="connsiteX929" fmla="*/ 1223408 w 7472601"/>
              <a:gd name="connsiteY929" fmla="*/ 38996 h 6858000"/>
              <a:gd name="connsiteX930" fmla="*/ 1339635 w 7472601"/>
              <a:gd name="connsiteY930" fmla="*/ 365517 h 6858000"/>
              <a:gd name="connsiteX931" fmla="*/ 1387469 w 7472601"/>
              <a:gd name="connsiteY931" fmla="*/ 523079 h 6858000"/>
              <a:gd name="connsiteX932" fmla="*/ 1452685 w 7472601"/>
              <a:gd name="connsiteY932" fmla="*/ 699806 h 6858000"/>
              <a:gd name="connsiteX933" fmla="*/ 1492092 w 7472601"/>
              <a:gd name="connsiteY933" fmla="*/ 800424 h 6858000"/>
              <a:gd name="connsiteX934" fmla="*/ 1455302 w 7472601"/>
              <a:gd name="connsiteY934" fmla="*/ 632913 h 6858000"/>
              <a:gd name="connsiteX935" fmla="*/ 1222336 w 7472601"/>
              <a:gd name="connsiteY935" fmla="*/ 9480 h 6858000"/>
              <a:gd name="connsiteX936" fmla="*/ 1214634 w 7472601"/>
              <a:gd name="connsiteY936" fmla="*/ 0 h 6858000"/>
              <a:gd name="connsiteX937" fmla="*/ 1289827 w 7472601"/>
              <a:gd name="connsiteY937" fmla="*/ 0 h 6858000"/>
              <a:gd name="connsiteX938" fmla="*/ 1321076 w 7472601"/>
              <a:gd name="connsiteY938" fmla="*/ 59722 h 6858000"/>
              <a:gd name="connsiteX939" fmla="*/ 1512579 w 7472601"/>
              <a:gd name="connsiteY939" fmla="*/ 626441 h 6858000"/>
              <a:gd name="connsiteX940" fmla="*/ 1506076 w 7472601"/>
              <a:gd name="connsiteY940" fmla="*/ 1089289 h 6858000"/>
              <a:gd name="connsiteX941" fmla="*/ 1486346 w 7472601"/>
              <a:gd name="connsiteY941" fmla="*/ 1079919 h 6858000"/>
              <a:gd name="connsiteX942" fmla="*/ 1070511 w 7472601"/>
              <a:gd name="connsiteY942" fmla="*/ 48609 h 6858000"/>
              <a:gd name="connsiteX943" fmla="*/ 1057230 w 7472601"/>
              <a:gd name="connsiteY943" fmla="*/ 0 h 6858000"/>
              <a:gd name="connsiteX944" fmla="*/ 43151 w 7472601"/>
              <a:gd name="connsiteY944" fmla="*/ 0 h 6858000"/>
              <a:gd name="connsiteX945" fmla="*/ 95283 w 7472601"/>
              <a:gd name="connsiteY945" fmla="*/ 0 h 6858000"/>
              <a:gd name="connsiteX946" fmla="*/ 300708 w 7472601"/>
              <a:gd name="connsiteY946" fmla="*/ 154571 h 6858000"/>
              <a:gd name="connsiteX947" fmla="*/ 530414 w 7472601"/>
              <a:gd name="connsiteY947" fmla="*/ 354673 h 6858000"/>
              <a:gd name="connsiteX948" fmla="*/ 333785 w 7472601"/>
              <a:gd name="connsiteY948" fmla="*/ 161564 h 6858000"/>
              <a:gd name="connsiteX949" fmla="*/ 147005 w 7472601"/>
              <a:gd name="connsiteY949" fmla="*/ 0 h 6858000"/>
              <a:gd name="connsiteX950" fmla="*/ 272509 w 7472601"/>
              <a:gd name="connsiteY950" fmla="*/ 0 h 6858000"/>
              <a:gd name="connsiteX951" fmla="*/ 326276 w 7472601"/>
              <a:gd name="connsiteY951" fmla="*/ 45847 h 6858000"/>
              <a:gd name="connsiteX952" fmla="*/ 823759 w 7472601"/>
              <a:gd name="connsiteY952" fmla="*/ 574145 h 6858000"/>
              <a:gd name="connsiteX953" fmla="*/ 811254 w 7472601"/>
              <a:gd name="connsiteY953" fmla="*/ 665546 h 6858000"/>
              <a:gd name="connsiteX954" fmla="*/ 154042 w 7472601"/>
              <a:gd name="connsiteY954" fmla="*/ 261522 h 6858000"/>
              <a:gd name="connsiteX955" fmla="*/ 13550 w 7472601"/>
              <a:gd name="connsiteY955" fmla="*/ 158423 h 6858000"/>
              <a:gd name="connsiteX956" fmla="*/ 0 w 7472601"/>
              <a:gd name="connsiteY956" fmla="*/ 146618 h 6858000"/>
              <a:gd name="connsiteX957" fmla="*/ 0 w 7472601"/>
              <a:gd name="connsiteY957" fmla="*/ 59161 h 6858000"/>
              <a:gd name="connsiteX958" fmla="*/ 45427 w 7472601"/>
              <a:gd name="connsiteY958" fmla="*/ 101078 h 6858000"/>
              <a:gd name="connsiteX959" fmla="*/ 630103 w 7472601"/>
              <a:gd name="connsiteY959" fmla="*/ 485885 h 6858000"/>
              <a:gd name="connsiteX960" fmla="*/ 532040 w 7472601"/>
              <a:gd name="connsiteY960" fmla="*/ 399359 h 6858000"/>
              <a:gd name="connsiteX961" fmla="*/ 517618 w 7472601"/>
              <a:gd name="connsiteY961" fmla="*/ 385726 h 6858000"/>
              <a:gd name="connsiteX962" fmla="*/ 285074 w 7472601"/>
              <a:gd name="connsiteY962" fmla="*/ 182755 h 6858000"/>
              <a:gd name="connsiteX963" fmla="*/ 43151 w 7472601"/>
              <a:gd name="connsiteY963" fmla="*/ 0 h 6858000"/>
              <a:gd name="connsiteX0" fmla="*/ 369702 w 7472601"/>
              <a:gd name="connsiteY0" fmla="*/ 6712169 h 6858000"/>
              <a:gd name="connsiteX1" fmla="*/ 366575 w 7472601"/>
              <a:gd name="connsiteY1" fmla="*/ 6715556 h 6858000"/>
              <a:gd name="connsiteX2" fmla="*/ 371637 w 7472601"/>
              <a:gd name="connsiteY2" fmla="*/ 6713954 h 6858000"/>
              <a:gd name="connsiteX3" fmla="*/ 369702 w 7472601"/>
              <a:gd name="connsiteY3" fmla="*/ 6712169 h 6858000"/>
              <a:gd name="connsiteX4" fmla="*/ 7088673 w 7472601"/>
              <a:gd name="connsiteY4" fmla="*/ 6610396 h 6858000"/>
              <a:gd name="connsiteX5" fmla="*/ 7440138 w 7472601"/>
              <a:gd name="connsiteY5" fmla="*/ 6622648 h 6858000"/>
              <a:gd name="connsiteX6" fmla="*/ 7467600 w 7472601"/>
              <a:gd name="connsiteY6" fmla="*/ 6628217 h 6858000"/>
              <a:gd name="connsiteX7" fmla="*/ 7467600 w 7472601"/>
              <a:gd name="connsiteY7" fmla="*/ 6668575 h 6858000"/>
              <a:gd name="connsiteX8" fmla="*/ 7392322 w 7472601"/>
              <a:gd name="connsiteY8" fmla="*/ 6658238 h 6858000"/>
              <a:gd name="connsiteX9" fmla="*/ 7467600 w 7472601"/>
              <a:gd name="connsiteY9" fmla="*/ 6683873 h 6858000"/>
              <a:gd name="connsiteX10" fmla="*/ 7467600 w 7472601"/>
              <a:gd name="connsiteY10" fmla="*/ 6714215 h 6858000"/>
              <a:gd name="connsiteX11" fmla="*/ 7447383 w 7472601"/>
              <a:gd name="connsiteY11" fmla="*/ 6707202 h 6858000"/>
              <a:gd name="connsiteX12" fmla="*/ 7289862 w 7472601"/>
              <a:gd name="connsiteY12" fmla="*/ 6659827 h 6858000"/>
              <a:gd name="connsiteX13" fmla="*/ 7434024 w 7472601"/>
              <a:gd name="connsiteY13" fmla="*/ 6722130 h 6858000"/>
              <a:gd name="connsiteX14" fmla="*/ 7467600 w 7472601"/>
              <a:gd name="connsiteY14" fmla="*/ 6736157 h 6858000"/>
              <a:gd name="connsiteX15" fmla="*/ 7467600 w 7472601"/>
              <a:gd name="connsiteY15" fmla="*/ 6767913 h 6858000"/>
              <a:gd name="connsiteX16" fmla="*/ 7392158 w 7472601"/>
              <a:gd name="connsiteY16" fmla="*/ 6771365 h 6858000"/>
              <a:gd name="connsiteX17" fmla="*/ 7467600 w 7472601"/>
              <a:gd name="connsiteY17" fmla="*/ 6805948 h 6858000"/>
              <a:gd name="connsiteX18" fmla="*/ 7467600 w 7472601"/>
              <a:gd name="connsiteY18" fmla="*/ 6831490 h 6858000"/>
              <a:gd name="connsiteX19" fmla="*/ 7410696 w 7472601"/>
              <a:gd name="connsiteY19" fmla="*/ 6803861 h 6858000"/>
              <a:gd name="connsiteX20" fmla="*/ 7088673 w 7472601"/>
              <a:gd name="connsiteY20" fmla="*/ 6610396 h 6858000"/>
              <a:gd name="connsiteX21" fmla="*/ 1019354 w 7472601"/>
              <a:gd name="connsiteY21" fmla="*/ 6315006 h 6858000"/>
              <a:gd name="connsiteX22" fmla="*/ 441046 w 7472601"/>
              <a:gd name="connsiteY22" fmla="*/ 6691153 h 6858000"/>
              <a:gd name="connsiteX23" fmla="*/ 1019354 w 7472601"/>
              <a:gd name="connsiteY23" fmla="*/ 6315006 h 6858000"/>
              <a:gd name="connsiteX24" fmla="*/ 991680 w 7472601"/>
              <a:gd name="connsiteY24" fmla="*/ 6298413 h 6858000"/>
              <a:gd name="connsiteX25" fmla="*/ 409060 w 7472601"/>
              <a:gd name="connsiteY25" fmla="*/ 6671470 h 6858000"/>
              <a:gd name="connsiteX26" fmla="*/ 991680 w 7472601"/>
              <a:gd name="connsiteY26" fmla="*/ 6298413 h 6858000"/>
              <a:gd name="connsiteX27" fmla="*/ 103333 w 7472601"/>
              <a:gd name="connsiteY27" fmla="*/ 5699602 h 6858000"/>
              <a:gd name="connsiteX28" fmla="*/ 233938 w 7472601"/>
              <a:gd name="connsiteY28" fmla="*/ 5809416 h 6858000"/>
              <a:gd name="connsiteX29" fmla="*/ 883580 w 7472601"/>
              <a:gd name="connsiteY29" fmla="*/ 6180710 h 6858000"/>
              <a:gd name="connsiteX30" fmla="*/ 487337 w 7472601"/>
              <a:gd name="connsiteY30" fmla="*/ 5950182 h 6858000"/>
              <a:gd name="connsiteX31" fmla="*/ 354051 w 7472601"/>
              <a:gd name="connsiteY31" fmla="*/ 5854912 h 6858000"/>
              <a:gd name="connsiteX32" fmla="*/ 195436 w 7472601"/>
              <a:gd name="connsiteY32" fmla="*/ 5755068 h 6858000"/>
              <a:gd name="connsiteX33" fmla="*/ 103333 w 7472601"/>
              <a:gd name="connsiteY33" fmla="*/ 5699602 h 6858000"/>
              <a:gd name="connsiteX34" fmla="*/ 5539432 w 7472601"/>
              <a:gd name="connsiteY34" fmla="*/ 5642928 h 6858000"/>
              <a:gd name="connsiteX35" fmla="*/ 5555462 w 7472601"/>
              <a:gd name="connsiteY35" fmla="*/ 5694454 h 6858000"/>
              <a:gd name="connsiteX36" fmla="*/ 5828270 w 7472601"/>
              <a:gd name="connsiteY36" fmla="*/ 6320663 h 6858000"/>
              <a:gd name="connsiteX37" fmla="*/ 5947416 w 7472601"/>
              <a:gd name="connsiteY37" fmla="*/ 6574846 h 6858000"/>
              <a:gd name="connsiteX38" fmla="*/ 5539432 w 7472601"/>
              <a:gd name="connsiteY38" fmla="*/ 5642928 h 6858000"/>
              <a:gd name="connsiteX39" fmla="*/ 51253 w 7472601"/>
              <a:gd name="connsiteY39" fmla="*/ 5631825 h 6858000"/>
              <a:gd name="connsiteX40" fmla="*/ 211622 w 7472601"/>
              <a:gd name="connsiteY40" fmla="*/ 5728803 h 6858000"/>
              <a:gd name="connsiteX41" fmla="*/ 371652 w 7472601"/>
              <a:gd name="connsiteY41" fmla="*/ 5829062 h 6858000"/>
              <a:gd name="connsiteX42" fmla="*/ 505903 w 7472601"/>
              <a:gd name="connsiteY42" fmla="*/ 5925221 h 6858000"/>
              <a:gd name="connsiteX43" fmla="*/ 899240 w 7472601"/>
              <a:gd name="connsiteY43" fmla="*/ 6153068 h 6858000"/>
              <a:gd name="connsiteX44" fmla="*/ 988114 w 7472601"/>
              <a:gd name="connsiteY44" fmla="*/ 6174204 h 6858000"/>
              <a:gd name="connsiteX45" fmla="*/ 845971 w 7472601"/>
              <a:gd name="connsiteY45" fmla="*/ 6067177 h 6858000"/>
              <a:gd name="connsiteX46" fmla="*/ 448057 w 7472601"/>
              <a:gd name="connsiteY46" fmla="*/ 5841376 h 6858000"/>
              <a:gd name="connsiteX47" fmla="*/ 51253 w 7472601"/>
              <a:gd name="connsiteY47" fmla="*/ 5631825 h 6858000"/>
              <a:gd name="connsiteX48" fmla="*/ 2606687 w 7472601"/>
              <a:gd name="connsiteY48" fmla="*/ 5630718 h 6858000"/>
              <a:gd name="connsiteX49" fmla="*/ 2645658 w 7472601"/>
              <a:gd name="connsiteY49" fmla="*/ 6640259 h 6858000"/>
              <a:gd name="connsiteX50" fmla="*/ 2606687 w 7472601"/>
              <a:gd name="connsiteY50" fmla="*/ 5630718 h 6858000"/>
              <a:gd name="connsiteX51" fmla="*/ 3642057 w 7472601"/>
              <a:gd name="connsiteY51" fmla="*/ 5573487 h 6858000"/>
              <a:gd name="connsiteX52" fmla="*/ 3632981 w 7472601"/>
              <a:gd name="connsiteY52" fmla="*/ 5579437 h 6858000"/>
              <a:gd name="connsiteX53" fmla="*/ 3382436 w 7472601"/>
              <a:gd name="connsiteY53" fmla="*/ 5952726 h 6858000"/>
              <a:gd name="connsiteX54" fmla="*/ 3191929 w 7472601"/>
              <a:gd name="connsiteY54" fmla="*/ 6662669 h 6858000"/>
              <a:gd name="connsiteX55" fmla="*/ 3369898 w 7472601"/>
              <a:gd name="connsiteY55" fmla="*/ 6081771 h 6858000"/>
              <a:gd name="connsiteX56" fmla="*/ 3642057 w 7472601"/>
              <a:gd name="connsiteY56" fmla="*/ 5573487 h 6858000"/>
              <a:gd name="connsiteX57" fmla="*/ 2650666 w 7472601"/>
              <a:gd name="connsiteY57" fmla="*/ 5530686 h 6858000"/>
              <a:gd name="connsiteX58" fmla="*/ 2650249 w 7472601"/>
              <a:gd name="connsiteY58" fmla="*/ 5532101 h 6858000"/>
              <a:gd name="connsiteX59" fmla="*/ 2663808 w 7472601"/>
              <a:gd name="connsiteY59" fmla="*/ 6535215 h 6858000"/>
              <a:gd name="connsiteX60" fmla="*/ 2665418 w 7472601"/>
              <a:gd name="connsiteY60" fmla="*/ 6132756 h 6858000"/>
              <a:gd name="connsiteX61" fmla="*/ 2650666 w 7472601"/>
              <a:gd name="connsiteY61" fmla="*/ 5530686 h 6858000"/>
              <a:gd name="connsiteX62" fmla="*/ 2680277 w 7472601"/>
              <a:gd name="connsiteY62" fmla="*/ 5479204 h 6858000"/>
              <a:gd name="connsiteX63" fmla="*/ 2678972 w 7472601"/>
              <a:gd name="connsiteY63" fmla="*/ 5481582 h 6858000"/>
              <a:gd name="connsiteX64" fmla="*/ 2696666 w 7472601"/>
              <a:gd name="connsiteY64" fmla="*/ 6133836 h 6858000"/>
              <a:gd name="connsiteX65" fmla="*/ 2695769 w 7472601"/>
              <a:gd name="connsiteY65" fmla="*/ 6390955 h 6858000"/>
              <a:gd name="connsiteX66" fmla="*/ 2739893 w 7472601"/>
              <a:gd name="connsiteY66" fmla="*/ 6108357 h 6858000"/>
              <a:gd name="connsiteX67" fmla="*/ 2680277 w 7472601"/>
              <a:gd name="connsiteY67" fmla="*/ 5479204 h 6858000"/>
              <a:gd name="connsiteX68" fmla="*/ 1132195 w 7472601"/>
              <a:gd name="connsiteY68" fmla="*/ 5467980 h 6858000"/>
              <a:gd name="connsiteX69" fmla="*/ 1679056 w 7472601"/>
              <a:gd name="connsiteY69" fmla="*/ 5516907 h 6858000"/>
              <a:gd name="connsiteX70" fmla="*/ 2128648 w 7472601"/>
              <a:gd name="connsiteY70" fmla="*/ 5474249 h 6858000"/>
              <a:gd name="connsiteX71" fmla="*/ 1825619 w 7472601"/>
              <a:gd name="connsiteY71" fmla="*/ 5478447 h 6858000"/>
              <a:gd name="connsiteX72" fmla="*/ 1737798 w 7472601"/>
              <a:gd name="connsiteY72" fmla="*/ 5483353 h 6858000"/>
              <a:gd name="connsiteX73" fmla="*/ 1132195 w 7472601"/>
              <a:gd name="connsiteY73" fmla="*/ 5467980 h 6858000"/>
              <a:gd name="connsiteX74" fmla="*/ 7454976 w 7472601"/>
              <a:gd name="connsiteY74" fmla="*/ 6318297 h 6858000"/>
              <a:gd name="connsiteX75" fmla="*/ 7467600 w 7472601"/>
              <a:gd name="connsiteY75" fmla="*/ 6012219 h 6858000"/>
              <a:gd name="connsiteX76" fmla="*/ 7356878 w 7472601"/>
              <a:gd name="connsiteY76" fmla="*/ 5981332 h 6858000"/>
              <a:gd name="connsiteX77" fmla="*/ 7467600 w 7472601"/>
              <a:gd name="connsiteY77" fmla="*/ 6117703 h 6858000"/>
              <a:gd name="connsiteX78" fmla="*/ 7467600 w 7472601"/>
              <a:gd name="connsiteY78" fmla="*/ 6163634 h 6858000"/>
              <a:gd name="connsiteX79" fmla="*/ 7403637 w 7472601"/>
              <a:gd name="connsiteY79" fmla="*/ 6083957 h 6858000"/>
              <a:gd name="connsiteX80" fmla="*/ 7448321 w 7472601"/>
              <a:gd name="connsiteY80" fmla="*/ 6190991 h 6858000"/>
              <a:gd name="connsiteX81" fmla="*/ 7467600 w 7472601"/>
              <a:gd name="connsiteY81" fmla="*/ 6221686 h 6858000"/>
              <a:gd name="connsiteX82" fmla="*/ 7467600 w 7472601"/>
              <a:gd name="connsiteY82" fmla="*/ 6334256 h 6858000"/>
              <a:gd name="connsiteX83" fmla="*/ 7454976 w 7472601"/>
              <a:gd name="connsiteY83" fmla="*/ 6318297 h 6858000"/>
              <a:gd name="connsiteX84" fmla="*/ 1456157 w 7472601"/>
              <a:gd name="connsiteY84" fmla="*/ 5371404 h 6858000"/>
              <a:gd name="connsiteX85" fmla="*/ 1244432 w 7472601"/>
              <a:gd name="connsiteY85" fmla="*/ 5385601 h 6858000"/>
              <a:gd name="connsiteX86" fmla="*/ 973990 w 7472601"/>
              <a:gd name="connsiteY86" fmla="*/ 5424940 h 6858000"/>
              <a:gd name="connsiteX87" fmla="*/ 1103809 w 7472601"/>
              <a:gd name="connsiteY87" fmla="*/ 5433720 h 6858000"/>
              <a:gd name="connsiteX88" fmla="*/ 1123454 w 7472601"/>
              <a:gd name="connsiteY88" fmla="*/ 5435727 h 6858000"/>
              <a:gd name="connsiteX89" fmla="*/ 1737017 w 7472601"/>
              <a:gd name="connsiteY89" fmla="*/ 5452183 h 6858000"/>
              <a:gd name="connsiteX90" fmla="*/ 1824397 w 7472601"/>
              <a:gd name="connsiteY90" fmla="*/ 5447757 h 6858000"/>
              <a:gd name="connsiteX91" fmla="*/ 2070059 w 7472601"/>
              <a:gd name="connsiteY91" fmla="*/ 5441660 h 6858000"/>
              <a:gd name="connsiteX92" fmla="*/ 1456157 w 7472601"/>
              <a:gd name="connsiteY92" fmla="*/ 5371404 h 6858000"/>
              <a:gd name="connsiteX93" fmla="*/ 4988186 w 7472601"/>
              <a:gd name="connsiteY93" fmla="*/ 5216467 h 6858000"/>
              <a:gd name="connsiteX94" fmla="*/ 4777334 w 7472601"/>
              <a:gd name="connsiteY94" fmla="*/ 5406072 h 6858000"/>
              <a:gd name="connsiteX95" fmla="*/ 4718341 w 7472601"/>
              <a:gd name="connsiteY95" fmla="*/ 5468043 h 6858000"/>
              <a:gd name="connsiteX96" fmla="*/ 4604655 w 7472601"/>
              <a:gd name="connsiteY96" fmla="*/ 5583434 h 6858000"/>
              <a:gd name="connsiteX97" fmla="*/ 4565074 w 7472601"/>
              <a:gd name="connsiteY97" fmla="*/ 5618550 h 6858000"/>
              <a:gd name="connsiteX98" fmla="*/ 4988186 w 7472601"/>
              <a:gd name="connsiteY98" fmla="*/ 5216467 h 6858000"/>
              <a:gd name="connsiteX99" fmla="*/ 4978032 w 7472601"/>
              <a:gd name="connsiteY99" fmla="*/ 5183809 h 6858000"/>
              <a:gd name="connsiteX100" fmla="*/ 4463413 w 7472601"/>
              <a:gd name="connsiteY100" fmla="*/ 5615162 h 6858000"/>
              <a:gd name="connsiteX101" fmla="*/ 4358134 w 7472601"/>
              <a:gd name="connsiteY101" fmla="*/ 5742791 h 6858000"/>
              <a:gd name="connsiteX102" fmla="*/ 4376219 w 7472601"/>
              <a:gd name="connsiteY102" fmla="*/ 5729027 h 6858000"/>
              <a:gd name="connsiteX103" fmla="*/ 4582340 w 7472601"/>
              <a:gd name="connsiteY103" fmla="*/ 5561037 h 6858000"/>
              <a:gd name="connsiteX104" fmla="*/ 4694684 w 7472601"/>
              <a:gd name="connsiteY104" fmla="*/ 5447098 h 6858000"/>
              <a:gd name="connsiteX105" fmla="*/ 4754123 w 7472601"/>
              <a:gd name="connsiteY105" fmla="*/ 5384643 h 6858000"/>
              <a:gd name="connsiteX106" fmla="*/ 4978032 w 7472601"/>
              <a:gd name="connsiteY106" fmla="*/ 5183809 h 6858000"/>
              <a:gd name="connsiteX107" fmla="*/ 1903353 w 7472601"/>
              <a:gd name="connsiteY107" fmla="*/ 5044827 h 6858000"/>
              <a:gd name="connsiteX108" fmla="*/ 1936931 w 7472601"/>
              <a:gd name="connsiteY108" fmla="*/ 5093954 h 6858000"/>
              <a:gd name="connsiteX109" fmla="*/ 2195868 w 7472601"/>
              <a:gd name="connsiteY109" fmla="*/ 5396574 h 6858000"/>
              <a:gd name="connsiteX110" fmla="*/ 2088852 w 7472601"/>
              <a:gd name="connsiteY110" fmla="*/ 5166123 h 6858000"/>
              <a:gd name="connsiteX111" fmla="*/ 1958241 w 7472601"/>
              <a:gd name="connsiteY111" fmla="*/ 5067955 h 6858000"/>
              <a:gd name="connsiteX112" fmla="*/ 1903353 w 7472601"/>
              <a:gd name="connsiteY112" fmla="*/ 5044827 h 6858000"/>
              <a:gd name="connsiteX113" fmla="*/ 1979378 w 7472601"/>
              <a:gd name="connsiteY113" fmla="*/ 4769504 h 6858000"/>
              <a:gd name="connsiteX114" fmla="*/ 2882120 w 7472601"/>
              <a:gd name="connsiteY114" fmla="*/ 5064547 h 6858000"/>
              <a:gd name="connsiteX115" fmla="*/ 2793103 w 7472601"/>
              <a:gd name="connsiteY115" fmla="*/ 5039699 h 6858000"/>
              <a:gd name="connsiteX116" fmla="*/ 2770041 w 7472601"/>
              <a:gd name="connsiteY116" fmla="*/ 5033634 h 6858000"/>
              <a:gd name="connsiteX117" fmla="*/ 1979378 w 7472601"/>
              <a:gd name="connsiteY117" fmla="*/ 4769504 h 6858000"/>
              <a:gd name="connsiteX118" fmla="*/ 1927410 w 7472601"/>
              <a:gd name="connsiteY118" fmla="*/ 4716164 h 6858000"/>
              <a:gd name="connsiteX119" fmla="*/ 1959587 w 7472601"/>
              <a:gd name="connsiteY119" fmla="*/ 4728849 h 6858000"/>
              <a:gd name="connsiteX120" fmla="*/ 2777707 w 7472601"/>
              <a:gd name="connsiteY120" fmla="*/ 5003991 h 6858000"/>
              <a:gd name="connsiteX121" fmla="*/ 2800768 w 7472601"/>
              <a:gd name="connsiteY121" fmla="*/ 5010056 h 6858000"/>
              <a:gd name="connsiteX122" fmla="*/ 2879408 w 7472601"/>
              <a:gd name="connsiteY122" fmla="*/ 5031590 h 6858000"/>
              <a:gd name="connsiteX123" fmla="*/ 2862295 w 7472601"/>
              <a:gd name="connsiteY123" fmla="*/ 5022958 h 6858000"/>
              <a:gd name="connsiteX124" fmla="*/ 2813343 w 7472601"/>
              <a:gd name="connsiteY124" fmla="*/ 4998369 h 6858000"/>
              <a:gd name="connsiteX125" fmla="*/ 2646245 w 7472601"/>
              <a:gd name="connsiteY125" fmla="*/ 4930999 h 6858000"/>
              <a:gd name="connsiteX126" fmla="*/ 1999243 w 7472601"/>
              <a:gd name="connsiteY126" fmla="*/ 4730524 h 6858000"/>
              <a:gd name="connsiteX127" fmla="*/ 1979527 w 7472601"/>
              <a:gd name="connsiteY127" fmla="*/ 4726651 h 6858000"/>
              <a:gd name="connsiteX128" fmla="*/ 1927410 w 7472601"/>
              <a:gd name="connsiteY128" fmla="*/ 4716164 h 6858000"/>
              <a:gd name="connsiteX129" fmla="*/ 1997014 w 7472601"/>
              <a:gd name="connsiteY129" fmla="*/ 4698007 h 6858000"/>
              <a:gd name="connsiteX130" fmla="*/ 2005458 w 7472601"/>
              <a:gd name="connsiteY130" fmla="*/ 4699540 h 6858000"/>
              <a:gd name="connsiteX131" fmla="*/ 2657186 w 7472601"/>
              <a:gd name="connsiteY131" fmla="*/ 4901687 h 6858000"/>
              <a:gd name="connsiteX132" fmla="*/ 2826662 w 7472601"/>
              <a:gd name="connsiteY132" fmla="*/ 4970362 h 6858000"/>
              <a:gd name="connsiteX133" fmla="*/ 2876100 w 7472601"/>
              <a:gd name="connsiteY133" fmla="*/ 4995397 h 6858000"/>
              <a:gd name="connsiteX134" fmla="*/ 3042600 w 7472601"/>
              <a:gd name="connsiteY134" fmla="*/ 5059532 h 6858000"/>
              <a:gd name="connsiteX135" fmla="*/ 1997014 w 7472601"/>
              <a:gd name="connsiteY135" fmla="*/ 4698007 h 6858000"/>
              <a:gd name="connsiteX136" fmla="*/ 2305292 w 7472601"/>
              <a:gd name="connsiteY136" fmla="*/ 4219492 h 6858000"/>
              <a:gd name="connsiteX137" fmla="*/ 3360922 w 7472601"/>
              <a:gd name="connsiteY137" fmla="*/ 4529373 h 6858000"/>
              <a:gd name="connsiteX138" fmla="*/ 3492420 w 7472601"/>
              <a:gd name="connsiteY138" fmla="*/ 4510145 h 6858000"/>
              <a:gd name="connsiteX139" fmla="*/ 3364086 w 7472601"/>
              <a:gd name="connsiteY139" fmla="*/ 4480340 h 6858000"/>
              <a:gd name="connsiteX140" fmla="*/ 3225818 w 7472601"/>
              <a:gd name="connsiteY140" fmla="*/ 4411822 h 6858000"/>
              <a:gd name="connsiteX141" fmla="*/ 3129696 w 7472601"/>
              <a:gd name="connsiteY141" fmla="*/ 4360704 h 6858000"/>
              <a:gd name="connsiteX142" fmla="*/ 2814545 w 7472601"/>
              <a:gd name="connsiteY142" fmla="*/ 4282955 h 6858000"/>
              <a:gd name="connsiteX143" fmla="*/ 2305292 w 7472601"/>
              <a:gd name="connsiteY143" fmla="*/ 4219492 h 6858000"/>
              <a:gd name="connsiteX144" fmla="*/ 2626982 w 7472601"/>
              <a:gd name="connsiteY144" fmla="*/ 4206450 h 6858000"/>
              <a:gd name="connsiteX145" fmla="*/ 2490617 w 7472601"/>
              <a:gd name="connsiteY145" fmla="*/ 4206951 h 6858000"/>
              <a:gd name="connsiteX146" fmla="*/ 2819869 w 7472601"/>
              <a:gd name="connsiteY146" fmla="*/ 4252936 h 6858000"/>
              <a:gd name="connsiteX147" fmla="*/ 3143018 w 7472601"/>
              <a:gd name="connsiteY147" fmla="*/ 4332698 h 6858000"/>
              <a:gd name="connsiteX148" fmla="*/ 3241520 w 7472601"/>
              <a:gd name="connsiteY148" fmla="*/ 4385112 h 6858000"/>
              <a:gd name="connsiteX149" fmla="*/ 3374575 w 7472601"/>
              <a:gd name="connsiteY149" fmla="*/ 4451517 h 6858000"/>
              <a:gd name="connsiteX150" fmla="*/ 3505221 w 7472601"/>
              <a:gd name="connsiteY150" fmla="*/ 4480757 h 6858000"/>
              <a:gd name="connsiteX151" fmla="*/ 2626982 w 7472601"/>
              <a:gd name="connsiteY151" fmla="*/ 4206450 h 6858000"/>
              <a:gd name="connsiteX152" fmla="*/ 1310106 w 7472601"/>
              <a:gd name="connsiteY152" fmla="*/ 3943217 h 6858000"/>
              <a:gd name="connsiteX153" fmla="*/ 854994 w 7472601"/>
              <a:gd name="connsiteY153" fmla="*/ 4399136 h 6858000"/>
              <a:gd name="connsiteX154" fmla="*/ 742462 w 7472601"/>
              <a:gd name="connsiteY154" fmla="*/ 4594648 h 6858000"/>
              <a:gd name="connsiteX155" fmla="*/ 820602 w 7472601"/>
              <a:gd name="connsiteY155" fmla="*/ 4485915 h 6858000"/>
              <a:gd name="connsiteX156" fmla="*/ 878295 w 7472601"/>
              <a:gd name="connsiteY156" fmla="*/ 4403594 h 6858000"/>
              <a:gd name="connsiteX157" fmla="*/ 1240607 w 7472601"/>
              <a:gd name="connsiteY157" fmla="*/ 4010401 h 6858000"/>
              <a:gd name="connsiteX158" fmla="*/ 1310106 w 7472601"/>
              <a:gd name="connsiteY158" fmla="*/ 3943217 h 6858000"/>
              <a:gd name="connsiteX159" fmla="*/ 1423113 w 7472601"/>
              <a:gd name="connsiteY159" fmla="*/ 3874565 h 6858000"/>
              <a:gd name="connsiteX160" fmla="*/ 1260565 w 7472601"/>
              <a:gd name="connsiteY160" fmla="*/ 4031982 h 6858000"/>
              <a:gd name="connsiteX161" fmla="*/ 901900 w 7472601"/>
              <a:gd name="connsiteY161" fmla="*/ 4421236 h 6858000"/>
              <a:gd name="connsiteX162" fmla="*/ 845044 w 7472601"/>
              <a:gd name="connsiteY162" fmla="*/ 4502436 h 6858000"/>
              <a:gd name="connsiteX163" fmla="*/ 685926 w 7472601"/>
              <a:gd name="connsiteY163" fmla="*/ 4703069 h 6858000"/>
              <a:gd name="connsiteX164" fmla="*/ 684248 w 7472601"/>
              <a:gd name="connsiteY164" fmla="*/ 4706721 h 6858000"/>
              <a:gd name="connsiteX165" fmla="*/ 1423113 w 7472601"/>
              <a:gd name="connsiteY165" fmla="*/ 3874565 h 6858000"/>
              <a:gd name="connsiteX166" fmla="*/ 3316479 w 7472601"/>
              <a:gd name="connsiteY166" fmla="*/ 3872136 h 6858000"/>
              <a:gd name="connsiteX167" fmla="*/ 3546806 w 7472601"/>
              <a:gd name="connsiteY167" fmla="*/ 4356139 h 6858000"/>
              <a:gd name="connsiteX168" fmla="*/ 3364433 w 7472601"/>
              <a:gd name="connsiteY168" fmla="*/ 3953121 h 6858000"/>
              <a:gd name="connsiteX169" fmla="*/ 3316479 w 7472601"/>
              <a:gd name="connsiteY169" fmla="*/ 3872136 h 6858000"/>
              <a:gd name="connsiteX170" fmla="*/ 3291335 w 7472601"/>
              <a:gd name="connsiteY170" fmla="*/ 3767420 h 6858000"/>
              <a:gd name="connsiteX171" fmla="*/ 3390805 w 7472601"/>
              <a:gd name="connsiteY171" fmla="*/ 3937163 h 6858000"/>
              <a:gd name="connsiteX172" fmla="*/ 3579062 w 7472601"/>
              <a:gd name="connsiteY172" fmla="*/ 4359040 h 6858000"/>
              <a:gd name="connsiteX173" fmla="*/ 3467355 w 7472601"/>
              <a:gd name="connsiteY173" fmla="*/ 3988130 h 6858000"/>
              <a:gd name="connsiteX174" fmla="*/ 3310753 w 7472601"/>
              <a:gd name="connsiteY174" fmla="*/ 3787140 h 6858000"/>
              <a:gd name="connsiteX175" fmla="*/ 3291335 w 7472601"/>
              <a:gd name="connsiteY175" fmla="*/ 3767420 h 6858000"/>
              <a:gd name="connsiteX176" fmla="*/ 1635889 w 7472601"/>
              <a:gd name="connsiteY176" fmla="*/ 3709494 h 6858000"/>
              <a:gd name="connsiteX177" fmla="*/ 1634800 w 7472601"/>
              <a:gd name="connsiteY177" fmla="*/ 3731111 h 6858000"/>
              <a:gd name="connsiteX178" fmla="*/ 1635889 w 7472601"/>
              <a:gd name="connsiteY178" fmla="*/ 3709494 h 6858000"/>
              <a:gd name="connsiteX179" fmla="*/ 1510397 w 7472601"/>
              <a:gd name="connsiteY179" fmla="*/ 3684705 h 6858000"/>
              <a:gd name="connsiteX180" fmla="*/ 1146550 w 7472601"/>
              <a:gd name="connsiteY180" fmla="*/ 3802012 h 6858000"/>
              <a:gd name="connsiteX181" fmla="*/ 698834 w 7472601"/>
              <a:gd name="connsiteY181" fmla="*/ 3952272 h 6858000"/>
              <a:gd name="connsiteX182" fmla="*/ 34256 w 7472601"/>
              <a:gd name="connsiteY182" fmla="*/ 4347603 h 6858000"/>
              <a:gd name="connsiteX183" fmla="*/ 527241 w 7472601"/>
              <a:gd name="connsiteY183" fmla="*/ 4065078 h 6858000"/>
              <a:gd name="connsiteX184" fmla="*/ 1510397 w 7472601"/>
              <a:gd name="connsiteY184" fmla="*/ 3684705 h 6858000"/>
              <a:gd name="connsiteX185" fmla="*/ 1313114 w 7472601"/>
              <a:gd name="connsiteY185" fmla="*/ 3655216 h 6858000"/>
              <a:gd name="connsiteX186" fmla="*/ 1109304 w 7472601"/>
              <a:gd name="connsiteY186" fmla="*/ 3669030 h 6858000"/>
              <a:gd name="connsiteX187" fmla="*/ 8129 w 7472601"/>
              <a:gd name="connsiteY187" fmla="*/ 4330519 h 6858000"/>
              <a:gd name="connsiteX188" fmla="*/ 687572 w 7472601"/>
              <a:gd name="connsiteY188" fmla="*/ 3925629 h 6858000"/>
              <a:gd name="connsiteX189" fmla="*/ 1138365 w 7472601"/>
              <a:gd name="connsiteY189" fmla="*/ 3774515 h 6858000"/>
              <a:gd name="connsiteX190" fmla="*/ 1505579 w 7472601"/>
              <a:gd name="connsiteY190" fmla="*/ 3655526 h 6858000"/>
              <a:gd name="connsiteX191" fmla="*/ 1313114 w 7472601"/>
              <a:gd name="connsiteY191" fmla="*/ 3655216 h 6858000"/>
              <a:gd name="connsiteX192" fmla="*/ 3655073 w 7472601"/>
              <a:gd name="connsiteY192" fmla="*/ 3650884 h 6858000"/>
              <a:gd name="connsiteX193" fmla="*/ 3989938 w 7472601"/>
              <a:gd name="connsiteY193" fmla="*/ 3991685 h 6858000"/>
              <a:gd name="connsiteX194" fmla="*/ 4393907 w 7472601"/>
              <a:gd name="connsiteY194" fmla="*/ 4261258 h 6858000"/>
              <a:gd name="connsiteX195" fmla="*/ 4648051 w 7472601"/>
              <a:gd name="connsiteY195" fmla="*/ 4374051 h 6858000"/>
              <a:gd name="connsiteX196" fmla="*/ 4383389 w 7472601"/>
              <a:gd name="connsiteY196" fmla="*/ 4184369 h 6858000"/>
              <a:gd name="connsiteX197" fmla="*/ 4165508 w 7472601"/>
              <a:gd name="connsiteY197" fmla="*/ 4035196 h 6858000"/>
              <a:gd name="connsiteX198" fmla="*/ 4068162 w 7472601"/>
              <a:gd name="connsiteY198" fmla="*/ 3953394 h 6858000"/>
              <a:gd name="connsiteX199" fmla="*/ 3981416 w 7472601"/>
              <a:gd name="connsiteY199" fmla="*/ 3880482 h 6858000"/>
              <a:gd name="connsiteX200" fmla="*/ 3800147 w 7472601"/>
              <a:gd name="connsiteY200" fmla="*/ 3749872 h 6858000"/>
              <a:gd name="connsiteX201" fmla="*/ 3655073 w 7472601"/>
              <a:gd name="connsiteY201" fmla="*/ 3650884 h 6858000"/>
              <a:gd name="connsiteX202" fmla="*/ 3670252 w 7472601"/>
              <a:gd name="connsiteY202" fmla="*/ 3622798 h 6858000"/>
              <a:gd name="connsiteX203" fmla="*/ 3817258 w 7472601"/>
              <a:gd name="connsiteY203" fmla="*/ 3723577 h 6858000"/>
              <a:gd name="connsiteX204" fmla="*/ 4000461 w 7472601"/>
              <a:gd name="connsiteY204" fmla="*/ 3855966 h 6858000"/>
              <a:gd name="connsiteX205" fmla="*/ 4088180 w 7472601"/>
              <a:gd name="connsiteY205" fmla="*/ 3929774 h 6858000"/>
              <a:gd name="connsiteX206" fmla="*/ 4184555 w 7472601"/>
              <a:gd name="connsiteY206" fmla="*/ 4010683 h 6858000"/>
              <a:gd name="connsiteX207" fmla="*/ 4399563 w 7472601"/>
              <a:gd name="connsiteY207" fmla="*/ 4158106 h 6858000"/>
              <a:gd name="connsiteX208" fmla="*/ 4684469 w 7472601"/>
              <a:gd name="connsiteY208" fmla="*/ 4364680 h 6858000"/>
              <a:gd name="connsiteX209" fmla="*/ 4690271 w 7472601"/>
              <a:gd name="connsiteY209" fmla="*/ 4370034 h 6858000"/>
              <a:gd name="connsiteX210" fmla="*/ 4136093 w 7472601"/>
              <a:gd name="connsiteY210" fmla="*/ 3858466 h 6858000"/>
              <a:gd name="connsiteX211" fmla="*/ 3670252 w 7472601"/>
              <a:gd name="connsiteY211" fmla="*/ 3622798 h 6858000"/>
              <a:gd name="connsiteX212" fmla="*/ 4440129 w 7472601"/>
              <a:gd name="connsiteY212" fmla="*/ 3448571 h 6858000"/>
              <a:gd name="connsiteX213" fmla="*/ 4856525 w 7472601"/>
              <a:gd name="connsiteY213" fmla="*/ 3915351 h 6858000"/>
              <a:gd name="connsiteX214" fmla="*/ 5059055 w 7472601"/>
              <a:gd name="connsiteY214" fmla="*/ 4108918 h 6858000"/>
              <a:gd name="connsiteX215" fmla="*/ 5290070 w 7472601"/>
              <a:gd name="connsiteY215" fmla="*/ 4263619 h 6858000"/>
              <a:gd name="connsiteX216" fmla="*/ 4834991 w 7472601"/>
              <a:gd name="connsiteY216" fmla="*/ 3830985 h 6858000"/>
              <a:gd name="connsiteX217" fmla="*/ 4440129 w 7472601"/>
              <a:gd name="connsiteY217" fmla="*/ 3448571 h 6858000"/>
              <a:gd name="connsiteX218" fmla="*/ 4441737 w 7472601"/>
              <a:gd name="connsiteY218" fmla="*/ 3399734 h 6858000"/>
              <a:gd name="connsiteX219" fmla="*/ 4431236 w 7472601"/>
              <a:gd name="connsiteY219" fmla="*/ 3400954 h 6858000"/>
              <a:gd name="connsiteX220" fmla="*/ 4557150 w 7472601"/>
              <a:gd name="connsiteY220" fmla="*/ 3510023 h 6858000"/>
              <a:gd name="connsiteX221" fmla="*/ 4856936 w 7472601"/>
              <a:gd name="connsiteY221" fmla="*/ 3809146 h 6858000"/>
              <a:gd name="connsiteX222" fmla="*/ 5111996 w 7472601"/>
              <a:gd name="connsiteY222" fmla="*/ 4065759 h 6858000"/>
              <a:gd name="connsiteX223" fmla="*/ 5388878 w 7472601"/>
              <a:gd name="connsiteY223" fmla="*/ 4300185 h 6858000"/>
              <a:gd name="connsiteX224" fmla="*/ 5425556 w 7472601"/>
              <a:gd name="connsiteY224" fmla="*/ 4308967 h 6858000"/>
              <a:gd name="connsiteX225" fmla="*/ 4943646 w 7472601"/>
              <a:gd name="connsiteY225" fmla="*/ 3822916 h 6858000"/>
              <a:gd name="connsiteX226" fmla="*/ 4594837 w 7472601"/>
              <a:gd name="connsiteY226" fmla="*/ 3532274 h 6858000"/>
              <a:gd name="connsiteX227" fmla="*/ 4441737 w 7472601"/>
              <a:gd name="connsiteY227" fmla="*/ 3399734 h 6858000"/>
              <a:gd name="connsiteX228" fmla="*/ 5425834 w 7472601"/>
              <a:gd name="connsiteY228" fmla="*/ 3162785 h 6858000"/>
              <a:gd name="connsiteX229" fmla="*/ 5401644 w 7472601"/>
              <a:gd name="connsiteY229" fmla="*/ 3617847 h 6858000"/>
              <a:gd name="connsiteX230" fmla="*/ 5467256 w 7472601"/>
              <a:gd name="connsiteY230" fmla="*/ 4175494 h 6858000"/>
              <a:gd name="connsiteX231" fmla="*/ 5448069 w 7472601"/>
              <a:gd name="connsiteY231" fmla="*/ 3567554 h 6858000"/>
              <a:gd name="connsiteX232" fmla="*/ 5425834 w 7472601"/>
              <a:gd name="connsiteY232" fmla="*/ 3162785 h 6858000"/>
              <a:gd name="connsiteX233" fmla="*/ 1318687 w 7472601"/>
              <a:gd name="connsiteY233" fmla="*/ 3113840 h 6858000"/>
              <a:gd name="connsiteX234" fmla="*/ 1066793 w 7472601"/>
              <a:gd name="connsiteY234" fmla="*/ 3212171 h 6858000"/>
              <a:gd name="connsiteX235" fmla="*/ 993319 w 7472601"/>
              <a:gd name="connsiteY235" fmla="*/ 3247648 h 6858000"/>
              <a:gd name="connsiteX236" fmla="*/ 853081 w 7472601"/>
              <a:gd name="connsiteY236" fmla="*/ 3312410 h 6858000"/>
              <a:gd name="connsiteX237" fmla="*/ 805957 w 7472601"/>
              <a:gd name="connsiteY237" fmla="*/ 3330443 h 6858000"/>
              <a:gd name="connsiteX238" fmla="*/ 1318687 w 7472601"/>
              <a:gd name="connsiteY238" fmla="*/ 3113840 h 6858000"/>
              <a:gd name="connsiteX239" fmla="*/ 5453702 w 7472601"/>
              <a:gd name="connsiteY239" fmla="*/ 3090882 h 6858000"/>
              <a:gd name="connsiteX240" fmla="*/ 5480135 w 7472601"/>
              <a:gd name="connsiteY240" fmla="*/ 3565802 h 6858000"/>
              <a:gd name="connsiteX241" fmla="*/ 5499023 w 7472601"/>
              <a:gd name="connsiteY241" fmla="*/ 4166310 h 6858000"/>
              <a:gd name="connsiteX242" fmla="*/ 5547022 w 7472601"/>
              <a:gd name="connsiteY242" fmla="*/ 3607838 h 6858000"/>
              <a:gd name="connsiteX243" fmla="*/ 5515964 w 7472601"/>
              <a:gd name="connsiteY243" fmla="*/ 3378541 h 6858000"/>
              <a:gd name="connsiteX244" fmla="*/ 5453702 w 7472601"/>
              <a:gd name="connsiteY244" fmla="*/ 3090882 h 6858000"/>
              <a:gd name="connsiteX245" fmla="*/ 1238695 w 7472601"/>
              <a:gd name="connsiteY245" fmla="*/ 3076820 h 6858000"/>
              <a:gd name="connsiteX246" fmla="*/ 716371 w 7472601"/>
              <a:gd name="connsiteY246" fmla="*/ 3293249 h 6858000"/>
              <a:gd name="connsiteX247" fmla="*/ 579522 w 7472601"/>
              <a:gd name="connsiteY247" fmla="*/ 3371759 h 6858000"/>
              <a:gd name="connsiteX248" fmla="*/ 600288 w 7472601"/>
              <a:gd name="connsiteY248" fmla="*/ 3365555 h 6858000"/>
              <a:gd name="connsiteX249" fmla="*/ 840692 w 7472601"/>
              <a:gd name="connsiteY249" fmla="*/ 3284921 h 6858000"/>
              <a:gd name="connsiteX250" fmla="*/ 979248 w 7472601"/>
              <a:gd name="connsiteY250" fmla="*/ 3221003 h 6858000"/>
              <a:gd name="connsiteX251" fmla="*/ 1053282 w 7472601"/>
              <a:gd name="connsiteY251" fmla="*/ 3185247 h 6858000"/>
              <a:gd name="connsiteX252" fmla="*/ 1320603 w 7472601"/>
              <a:gd name="connsiteY252" fmla="*/ 3081281 h 6858000"/>
              <a:gd name="connsiteX253" fmla="*/ 1238695 w 7472601"/>
              <a:gd name="connsiteY253" fmla="*/ 3076820 h 6858000"/>
              <a:gd name="connsiteX254" fmla="*/ 5425627 w 7472601"/>
              <a:gd name="connsiteY254" fmla="*/ 2954192 h 6858000"/>
              <a:gd name="connsiteX255" fmla="*/ 5470770 w 7472601"/>
              <a:gd name="connsiteY255" fmla="*/ 3005435 h 6858000"/>
              <a:gd name="connsiteX256" fmla="*/ 5519779 w 7472601"/>
              <a:gd name="connsiteY256" fmla="*/ 4359223 h 6858000"/>
              <a:gd name="connsiteX257" fmla="*/ 5520293 w 7472601"/>
              <a:gd name="connsiteY257" fmla="*/ 4360602 h 6858000"/>
              <a:gd name="connsiteX258" fmla="*/ 5767221 w 7472601"/>
              <a:gd name="connsiteY258" fmla="*/ 4665564 h 6858000"/>
              <a:gd name="connsiteX259" fmla="*/ 6937169 w 7472601"/>
              <a:gd name="connsiteY259" fmla="*/ 4815941 h 6858000"/>
              <a:gd name="connsiteX260" fmla="*/ 6953922 w 7472601"/>
              <a:gd name="connsiteY260" fmla="*/ 4890068 h 6858000"/>
              <a:gd name="connsiteX261" fmla="*/ 6071359 w 7472601"/>
              <a:gd name="connsiteY261" fmla="*/ 4770770 h 6858000"/>
              <a:gd name="connsiteX262" fmla="*/ 6038839 w 7472601"/>
              <a:gd name="connsiteY262" fmla="*/ 4764474 h 6858000"/>
              <a:gd name="connsiteX263" fmla="*/ 6038706 w 7472601"/>
              <a:gd name="connsiteY263" fmla="*/ 4763847 h 6858000"/>
              <a:gd name="connsiteX264" fmla="*/ 6037784 w 7472601"/>
              <a:gd name="connsiteY264" fmla="*/ 4764270 h 6858000"/>
              <a:gd name="connsiteX265" fmla="*/ 6038839 w 7472601"/>
              <a:gd name="connsiteY265" fmla="*/ 4764474 h 6858000"/>
              <a:gd name="connsiteX266" fmla="*/ 6040338 w 7472601"/>
              <a:gd name="connsiteY266" fmla="*/ 4771418 h 6858000"/>
              <a:gd name="connsiteX267" fmla="*/ 6024488 w 7472601"/>
              <a:gd name="connsiteY267" fmla="*/ 4809903 h 6858000"/>
              <a:gd name="connsiteX268" fmla="*/ 5599771 w 7472601"/>
              <a:gd name="connsiteY268" fmla="*/ 5509652 h 6858000"/>
              <a:gd name="connsiteX269" fmla="*/ 5548843 w 7472601"/>
              <a:gd name="connsiteY269" fmla="*/ 5563845 h 6858000"/>
              <a:gd name="connsiteX270" fmla="*/ 5940952 w 7472601"/>
              <a:gd name="connsiteY270" fmla="*/ 6250028 h 6858000"/>
              <a:gd name="connsiteX271" fmla="*/ 6043441 w 7472601"/>
              <a:gd name="connsiteY271" fmla="*/ 6665847 h 6858000"/>
              <a:gd name="connsiteX272" fmla="*/ 6093432 w 7472601"/>
              <a:gd name="connsiteY272" fmla="*/ 6858000 h 6858000"/>
              <a:gd name="connsiteX273" fmla="*/ 6034344 w 7472601"/>
              <a:gd name="connsiteY273" fmla="*/ 6858000 h 6858000"/>
              <a:gd name="connsiteX274" fmla="*/ 6026679 w 7472601"/>
              <a:gd name="connsiteY274" fmla="*/ 6836959 h 6858000"/>
              <a:gd name="connsiteX275" fmla="*/ 5800441 w 7472601"/>
              <a:gd name="connsiteY275" fmla="*/ 6335286 h 6858000"/>
              <a:gd name="connsiteX276" fmla="*/ 5526562 w 7472601"/>
              <a:gd name="connsiteY276" fmla="*/ 5705388 h 6858000"/>
              <a:gd name="connsiteX277" fmla="*/ 5519640 w 7472601"/>
              <a:gd name="connsiteY277" fmla="*/ 5683774 h 6858000"/>
              <a:gd name="connsiteX278" fmla="*/ 5844559 w 7472601"/>
              <a:gd name="connsiteY278" fmla="*/ 6553349 h 6858000"/>
              <a:gd name="connsiteX279" fmla="*/ 5975994 w 7472601"/>
              <a:gd name="connsiteY279" fmla="*/ 6858000 h 6858000"/>
              <a:gd name="connsiteX280" fmla="*/ 5898547 w 7472601"/>
              <a:gd name="connsiteY280" fmla="*/ 6858000 h 6858000"/>
              <a:gd name="connsiteX281" fmla="*/ 5682041 w 7472601"/>
              <a:gd name="connsiteY281" fmla="*/ 6355860 h 6858000"/>
              <a:gd name="connsiteX282" fmla="*/ 5461758 w 7472601"/>
              <a:gd name="connsiteY282" fmla="*/ 5820220 h 6858000"/>
              <a:gd name="connsiteX283" fmla="*/ 5237282 w 7472601"/>
              <a:gd name="connsiteY283" fmla="*/ 6579086 h 6858000"/>
              <a:gd name="connsiteX284" fmla="*/ 5115009 w 7472601"/>
              <a:gd name="connsiteY284" fmla="*/ 6858000 h 6858000"/>
              <a:gd name="connsiteX285" fmla="*/ 5028074 w 7472601"/>
              <a:gd name="connsiteY285" fmla="*/ 6858000 h 6858000"/>
              <a:gd name="connsiteX286" fmla="*/ 5079508 w 7472601"/>
              <a:gd name="connsiteY286" fmla="*/ 6749074 h 6858000"/>
              <a:gd name="connsiteX287" fmla="*/ 5371846 w 7472601"/>
              <a:gd name="connsiteY287" fmla="*/ 5924413 h 6858000"/>
              <a:gd name="connsiteX288" fmla="*/ 5270512 w 7472601"/>
              <a:gd name="connsiteY288" fmla="*/ 6138975 h 6858000"/>
              <a:gd name="connsiteX289" fmla="*/ 5062409 w 7472601"/>
              <a:gd name="connsiteY289" fmla="*/ 6653544 h 6858000"/>
              <a:gd name="connsiteX290" fmla="*/ 5036628 w 7472601"/>
              <a:gd name="connsiteY290" fmla="*/ 6754247 h 6858000"/>
              <a:gd name="connsiteX291" fmla="*/ 5009112 w 7472601"/>
              <a:gd name="connsiteY291" fmla="*/ 6858000 h 6858000"/>
              <a:gd name="connsiteX292" fmla="*/ 4976679 w 7472601"/>
              <a:gd name="connsiteY292" fmla="*/ 6858000 h 6858000"/>
              <a:gd name="connsiteX293" fmla="*/ 5006537 w 7472601"/>
              <a:gd name="connsiteY293" fmla="*/ 6747068 h 6858000"/>
              <a:gd name="connsiteX294" fmla="*/ 5032723 w 7472601"/>
              <a:gd name="connsiteY294" fmla="*/ 6644957 h 6858000"/>
              <a:gd name="connsiteX295" fmla="*/ 5242949 w 7472601"/>
              <a:gd name="connsiteY295" fmla="*/ 6125175 h 6858000"/>
              <a:gd name="connsiteX296" fmla="*/ 5286321 w 7472601"/>
              <a:gd name="connsiteY296" fmla="*/ 6033555 h 6858000"/>
              <a:gd name="connsiteX297" fmla="*/ 5008210 w 7472601"/>
              <a:gd name="connsiteY297" fmla="*/ 6649194 h 6858000"/>
              <a:gd name="connsiteX298" fmla="*/ 4986321 w 7472601"/>
              <a:gd name="connsiteY298" fmla="*/ 6765687 h 6858000"/>
              <a:gd name="connsiteX299" fmla="*/ 4973474 w 7472601"/>
              <a:gd name="connsiteY299" fmla="*/ 6858000 h 6858000"/>
              <a:gd name="connsiteX300" fmla="*/ 4907178 w 7472601"/>
              <a:gd name="connsiteY300" fmla="*/ 6858000 h 6858000"/>
              <a:gd name="connsiteX301" fmla="*/ 4910810 w 7472601"/>
              <a:gd name="connsiteY301" fmla="*/ 6829660 h 6858000"/>
              <a:gd name="connsiteX302" fmla="*/ 4987461 w 7472601"/>
              <a:gd name="connsiteY302" fmla="*/ 6432994 h 6858000"/>
              <a:gd name="connsiteX303" fmla="*/ 5179262 w 7472601"/>
              <a:gd name="connsiteY303" fmla="*/ 6035044 h 6858000"/>
              <a:gd name="connsiteX304" fmla="*/ 4689678 w 7472601"/>
              <a:gd name="connsiteY304" fmla="*/ 6440241 h 6858000"/>
              <a:gd name="connsiteX305" fmla="*/ 4477543 w 7472601"/>
              <a:gd name="connsiteY305" fmla="*/ 6674836 h 6858000"/>
              <a:gd name="connsiteX306" fmla="*/ 4329957 w 7472601"/>
              <a:gd name="connsiteY306" fmla="*/ 6858000 h 6858000"/>
              <a:gd name="connsiteX307" fmla="*/ 4218595 w 7472601"/>
              <a:gd name="connsiteY307" fmla="*/ 6858000 h 6858000"/>
              <a:gd name="connsiteX308" fmla="*/ 4368888 w 7472601"/>
              <a:gd name="connsiteY308" fmla="*/ 6668412 h 6858000"/>
              <a:gd name="connsiteX309" fmla="*/ 4563091 w 7472601"/>
              <a:gd name="connsiteY309" fmla="*/ 6442508 h 6858000"/>
              <a:gd name="connsiteX310" fmla="*/ 5387324 w 7472601"/>
              <a:gd name="connsiteY310" fmla="*/ 5705830 h 6858000"/>
              <a:gd name="connsiteX311" fmla="*/ 5073620 w 7472601"/>
              <a:gd name="connsiteY311" fmla="*/ 5955437 h 6858000"/>
              <a:gd name="connsiteX312" fmla="*/ 4689789 w 7472601"/>
              <a:gd name="connsiteY312" fmla="*/ 6268382 h 6858000"/>
              <a:gd name="connsiteX313" fmla="*/ 4418722 w 7472601"/>
              <a:gd name="connsiteY313" fmla="*/ 6570886 h 6858000"/>
              <a:gd name="connsiteX314" fmla="*/ 4214944 w 7472601"/>
              <a:gd name="connsiteY314" fmla="*/ 6858000 h 6858000"/>
              <a:gd name="connsiteX315" fmla="*/ 4177898 w 7472601"/>
              <a:gd name="connsiteY315" fmla="*/ 6858000 h 6858000"/>
              <a:gd name="connsiteX316" fmla="*/ 4391597 w 7472601"/>
              <a:gd name="connsiteY316" fmla="*/ 6556370 h 6858000"/>
              <a:gd name="connsiteX317" fmla="*/ 4668889 w 7472601"/>
              <a:gd name="connsiteY317" fmla="*/ 6246399 h 6858000"/>
              <a:gd name="connsiteX318" fmla="*/ 5055427 w 7472601"/>
              <a:gd name="connsiteY318" fmla="*/ 5931476 h 6858000"/>
              <a:gd name="connsiteX319" fmla="*/ 5371814 w 7472601"/>
              <a:gd name="connsiteY319" fmla="*/ 5678975 h 6858000"/>
              <a:gd name="connsiteX320" fmla="*/ 4987918 w 7472601"/>
              <a:gd name="connsiteY320" fmla="*/ 5838701 h 6858000"/>
              <a:gd name="connsiteX321" fmla="*/ 4317146 w 7472601"/>
              <a:gd name="connsiteY321" fmla="*/ 6587716 h 6858000"/>
              <a:gd name="connsiteX322" fmla="*/ 4171627 w 7472601"/>
              <a:gd name="connsiteY322" fmla="*/ 6858000 h 6858000"/>
              <a:gd name="connsiteX323" fmla="*/ 4081585 w 7472601"/>
              <a:gd name="connsiteY323" fmla="*/ 6858000 h 6858000"/>
              <a:gd name="connsiteX324" fmla="*/ 4238603 w 7472601"/>
              <a:gd name="connsiteY324" fmla="*/ 6559341 h 6858000"/>
              <a:gd name="connsiteX325" fmla="*/ 4778333 w 7472601"/>
              <a:gd name="connsiteY325" fmla="*/ 5873626 h 6858000"/>
              <a:gd name="connsiteX326" fmla="*/ 5414185 w 7472601"/>
              <a:gd name="connsiteY326" fmla="*/ 5573882 h 6858000"/>
              <a:gd name="connsiteX327" fmla="*/ 5959648 w 7472601"/>
              <a:gd name="connsiteY327" fmla="*/ 4760797 h 6858000"/>
              <a:gd name="connsiteX328" fmla="*/ 5355019 w 7472601"/>
              <a:gd name="connsiteY328" fmla="*/ 4734672 h 6858000"/>
              <a:gd name="connsiteX329" fmla="*/ 5083565 w 7472601"/>
              <a:gd name="connsiteY329" fmla="*/ 5179121 h 6858000"/>
              <a:gd name="connsiteX330" fmla="*/ 4713577 w 7472601"/>
              <a:gd name="connsiteY330" fmla="*/ 5616803 h 6858000"/>
              <a:gd name="connsiteX331" fmla="*/ 3989559 w 7472601"/>
              <a:gd name="connsiteY331" fmla="*/ 6145945 h 6858000"/>
              <a:gd name="connsiteX332" fmla="*/ 3939824 w 7472601"/>
              <a:gd name="connsiteY332" fmla="*/ 6066900 h 6858000"/>
              <a:gd name="connsiteX333" fmla="*/ 4584537 w 7472601"/>
              <a:gd name="connsiteY333" fmla="*/ 5324826 h 6858000"/>
              <a:gd name="connsiteX334" fmla="*/ 5037105 w 7472601"/>
              <a:gd name="connsiteY334" fmla="*/ 5088765 h 6858000"/>
              <a:gd name="connsiteX335" fmla="*/ 5039930 w 7472601"/>
              <a:gd name="connsiteY335" fmla="*/ 5089585 h 6858000"/>
              <a:gd name="connsiteX336" fmla="*/ 5263764 w 7472601"/>
              <a:gd name="connsiteY336" fmla="*/ 4735525 h 6858000"/>
              <a:gd name="connsiteX337" fmla="*/ 4086300 w 7472601"/>
              <a:gd name="connsiteY337" fmla="*/ 4884599 h 6858000"/>
              <a:gd name="connsiteX338" fmla="*/ 4085485 w 7472601"/>
              <a:gd name="connsiteY338" fmla="*/ 4899070 h 6858000"/>
              <a:gd name="connsiteX339" fmla="*/ 3871915 w 7472601"/>
              <a:gd name="connsiteY339" fmla="*/ 5253645 h 6858000"/>
              <a:gd name="connsiteX340" fmla="*/ 3799374 w 7472601"/>
              <a:gd name="connsiteY340" fmla="*/ 5466127 h 6858000"/>
              <a:gd name="connsiteX341" fmla="*/ 3498850 w 7472601"/>
              <a:gd name="connsiteY341" fmla="*/ 6661888 h 6858000"/>
              <a:gd name="connsiteX342" fmla="*/ 3399216 w 7472601"/>
              <a:gd name="connsiteY342" fmla="*/ 6858000 h 6858000"/>
              <a:gd name="connsiteX343" fmla="*/ 3303688 w 7472601"/>
              <a:gd name="connsiteY343" fmla="*/ 6858000 h 6858000"/>
              <a:gd name="connsiteX344" fmla="*/ 3391774 w 7472601"/>
              <a:gd name="connsiteY344" fmla="*/ 6697181 h 6858000"/>
              <a:gd name="connsiteX345" fmla="*/ 3735540 w 7472601"/>
              <a:gd name="connsiteY345" fmla="*/ 5546923 h 6858000"/>
              <a:gd name="connsiteX346" fmla="*/ 3729438 w 7472601"/>
              <a:gd name="connsiteY346" fmla="*/ 5569058 h 6858000"/>
              <a:gd name="connsiteX347" fmla="*/ 3707782 w 7472601"/>
              <a:gd name="connsiteY347" fmla="*/ 5644908 h 6858000"/>
              <a:gd name="connsiteX348" fmla="*/ 3583827 w 7472601"/>
              <a:gd name="connsiteY348" fmla="*/ 6039215 h 6858000"/>
              <a:gd name="connsiteX349" fmla="*/ 3547861 w 7472601"/>
              <a:gd name="connsiteY349" fmla="*/ 6129609 h 6858000"/>
              <a:gd name="connsiteX350" fmla="*/ 3490905 w 7472601"/>
              <a:gd name="connsiteY350" fmla="*/ 6277660 h 6858000"/>
              <a:gd name="connsiteX351" fmla="*/ 3455859 w 7472601"/>
              <a:gd name="connsiteY351" fmla="*/ 6391301 h 6858000"/>
              <a:gd name="connsiteX352" fmla="*/ 3429112 w 7472601"/>
              <a:gd name="connsiteY352" fmla="*/ 6479469 h 6858000"/>
              <a:gd name="connsiteX353" fmla="*/ 3304862 w 7472601"/>
              <a:gd name="connsiteY353" fmla="*/ 6796476 h 6858000"/>
              <a:gd name="connsiteX354" fmla="*/ 3276071 w 7472601"/>
              <a:gd name="connsiteY354" fmla="*/ 6858000 h 6858000"/>
              <a:gd name="connsiteX355" fmla="*/ 3240805 w 7472601"/>
              <a:gd name="connsiteY355" fmla="*/ 6858000 h 6858000"/>
              <a:gd name="connsiteX356" fmla="*/ 3275917 w 7472601"/>
              <a:gd name="connsiteY356" fmla="*/ 6783192 h 6858000"/>
              <a:gd name="connsiteX357" fmla="*/ 3399358 w 7472601"/>
              <a:gd name="connsiteY357" fmla="*/ 6469011 h 6858000"/>
              <a:gd name="connsiteX358" fmla="*/ 3425650 w 7472601"/>
              <a:gd name="connsiteY358" fmla="*/ 6381333 h 6858000"/>
              <a:gd name="connsiteX359" fmla="*/ 3460661 w 7472601"/>
              <a:gd name="connsiteY359" fmla="*/ 6266763 h 6858000"/>
              <a:gd name="connsiteX360" fmla="*/ 3518021 w 7472601"/>
              <a:gd name="connsiteY360" fmla="*/ 6117298 h 6858000"/>
              <a:gd name="connsiteX361" fmla="*/ 3554035 w 7472601"/>
              <a:gd name="connsiteY361" fmla="*/ 6027832 h 6858000"/>
              <a:gd name="connsiteX362" fmla="*/ 3677174 w 7472601"/>
              <a:gd name="connsiteY362" fmla="*/ 5636351 h 6858000"/>
              <a:gd name="connsiteX363" fmla="*/ 3698819 w 7472601"/>
              <a:gd name="connsiteY363" fmla="*/ 5560503 h 6858000"/>
              <a:gd name="connsiteX364" fmla="*/ 3702094 w 7472601"/>
              <a:gd name="connsiteY364" fmla="*/ 5549194 h 6858000"/>
              <a:gd name="connsiteX365" fmla="*/ 3398355 w 7472601"/>
              <a:gd name="connsiteY365" fmla="*/ 6094603 h 6858000"/>
              <a:gd name="connsiteX366" fmla="*/ 3193941 w 7472601"/>
              <a:gd name="connsiteY366" fmla="*/ 6798775 h 6858000"/>
              <a:gd name="connsiteX367" fmla="*/ 3184140 w 7472601"/>
              <a:gd name="connsiteY367" fmla="*/ 6858000 h 6858000"/>
              <a:gd name="connsiteX368" fmla="*/ 3099978 w 7472601"/>
              <a:gd name="connsiteY368" fmla="*/ 6858000 h 6858000"/>
              <a:gd name="connsiteX369" fmla="*/ 3101556 w 7472601"/>
              <a:gd name="connsiteY369" fmla="*/ 6843337 h 6858000"/>
              <a:gd name="connsiteX370" fmla="*/ 3370162 w 7472601"/>
              <a:gd name="connsiteY370" fmla="*/ 5785550 h 6858000"/>
              <a:gd name="connsiteX371" fmla="*/ 3746477 w 7472601"/>
              <a:gd name="connsiteY371" fmla="*/ 5377889 h 6858000"/>
              <a:gd name="connsiteX372" fmla="*/ 3863399 w 7472601"/>
              <a:gd name="connsiteY372" fmla="*/ 5087257 h 6858000"/>
              <a:gd name="connsiteX373" fmla="*/ 3968712 w 7472601"/>
              <a:gd name="connsiteY373" fmla="*/ 4913989 h 6858000"/>
              <a:gd name="connsiteX374" fmla="*/ 2792390 w 7472601"/>
              <a:gd name="connsiteY374" fmla="*/ 5382974 h 6858000"/>
              <a:gd name="connsiteX375" fmla="*/ 2714982 w 7472601"/>
              <a:gd name="connsiteY375" fmla="*/ 5427051 h 6858000"/>
              <a:gd name="connsiteX376" fmla="*/ 2813361 w 7472601"/>
              <a:gd name="connsiteY376" fmla="*/ 6023912 h 6858000"/>
              <a:gd name="connsiteX377" fmla="*/ 2688430 w 7472601"/>
              <a:gd name="connsiteY377" fmla="*/ 6801564 h 6858000"/>
              <a:gd name="connsiteX378" fmla="*/ 2629626 w 7472601"/>
              <a:gd name="connsiteY378" fmla="*/ 6763394 h 6858000"/>
              <a:gd name="connsiteX379" fmla="*/ 2565328 w 7472601"/>
              <a:gd name="connsiteY379" fmla="*/ 5516399 h 6858000"/>
              <a:gd name="connsiteX380" fmla="*/ 1922999 w 7472601"/>
              <a:gd name="connsiteY380" fmla="*/ 5980343 h 6858000"/>
              <a:gd name="connsiteX381" fmla="*/ 1950261 w 7472601"/>
              <a:gd name="connsiteY381" fmla="*/ 6405858 h 6858000"/>
              <a:gd name="connsiteX382" fmla="*/ 2365554 w 7472601"/>
              <a:gd name="connsiteY382" fmla="*/ 6759107 h 6858000"/>
              <a:gd name="connsiteX383" fmla="*/ 2424142 w 7472601"/>
              <a:gd name="connsiteY383" fmla="*/ 6858000 h 6858000"/>
              <a:gd name="connsiteX384" fmla="*/ 2395994 w 7472601"/>
              <a:gd name="connsiteY384" fmla="*/ 6858000 h 6858000"/>
              <a:gd name="connsiteX385" fmla="*/ 2392863 w 7472601"/>
              <a:gd name="connsiteY385" fmla="*/ 6852964 h 6858000"/>
              <a:gd name="connsiteX386" fmla="*/ 2017589 w 7472601"/>
              <a:gd name="connsiteY386" fmla="*/ 6493982 h 6858000"/>
              <a:gd name="connsiteX387" fmla="*/ 2147336 w 7472601"/>
              <a:gd name="connsiteY387" fmla="*/ 6594052 h 6858000"/>
              <a:gd name="connsiteX388" fmla="*/ 2207047 w 7472601"/>
              <a:gd name="connsiteY388" fmla="*/ 6654540 h 6858000"/>
              <a:gd name="connsiteX389" fmla="*/ 2299106 w 7472601"/>
              <a:gd name="connsiteY389" fmla="*/ 6778931 h 6858000"/>
              <a:gd name="connsiteX390" fmla="*/ 2314430 w 7472601"/>
              <a:gd name="connsiteY390" fmla="*/ 6801144 h 6858000"/>
              <a:gd name="connsiteX391" fmla="*/ 2352406 w 7472601"/>
              <a:gd name="connsiteY391" fmla="*/ 6858000 h 6858000"/>
              <a:gd name="connsiteX392" fmla="*/ 2314492 w 7472601"/>
              <a:gd name="connsiteY392" fmla="*/ 6858000 h 6858000"/>
              <a:gd name="connsiteX393" fmla="*/ 2288095 w 7472601"/>
              <a:gd name="connsiteY393" fmla="*/ 6818030 h 6858000"/>
              <a:gd name="connsiteX394" fmla="*/ 2272768 w 7472601"/>
              <a:gd name="connsiteY394" fmla="*/ 6795822 h 6858000"/>
              <a:gd name="connsiteX395" fmla="*/ 2182715 w 7472601"/>
              <a:gd name="connsiteY395" fmla="*/ 6675071 h 6858000"/>
              <a:gd name="connsiteX396" fmla="*/ 2032061 w 7472601"/>
              <a:gd name="connsiteY396" fmla="*/ 6541380 h 6858000"/>
              <a:gd name="connsiteX397" fmla="*/ 2257220 w 7472601"/>
              <a:gd name="connsiteY397" fmla="*/ 6826257 h 6858000"/>
              <a:gd name="connsiteX398" fmla="*/ 2281324 w 7472601"/>
              <a:gd name="connsiteY398" fmla="*/ 6858000 h 6858000"/>
              <a:gd name="connsiteX399" fmla="*/ 2242860 w 7472601"/>
              <a:gd name="connsiteY399" fmla="*/ 6858000 h 6858000"/>
              <a:gd name="connsiteX400" fmla="*/ 2232818 w 7472601"/>
              <a:gd name="connsiteY400" fmla="*/ 6844926 h 6858000"/>
              <a:gd name="connsiteX401" fmla="*/ 1990172 w 7472601"/>
              <a:gd name="connsiteY401" fmla="*/ 6542121 h 6858000"/>
              <a:gd name="connsiteX402" fmla="*/ 2124090 w 7472601"/>
              <a:gd name="connsiteY402" fmla="*/ 6761017 h 6858000"/>
              <a:gd name="connsiteX403" fmla="*/ 2200380 w 7472601"/>
              <a:gd name="connsiteY403" fmla="*/ 6858000 h 6858000"/>
              <a:gd name="connsiteX404" fmla="*/ 2147507 w 7472601"/>
              <a:gd name="connsiteY404" fmla="*/ 6858000 h 6858000"/>
              <a:gd name="connsiteX405" fmla="*/ 2070668 w 7472601"/>
              <a:gd name="connsiteY405" fmla="*/ 6761520 h 6858000"/>
              <a:gd name="connsiteX406" fmla="*/ 1975142 w 7472601"/>
              <a:gd name="connsiteY406" fmla="*/ 6585570 h 6858000"/>
              <a:gd name="connsiteX407" fmla="*/ 2050035 w 7472601"/>
              <a:gd name="connsiteY407" fmla="*/ 6813345 h 6858000"/>
              <a:gd name="connsiteX408" fmla="*/ 2063025 w 7472601"/>
              <a:gd name="connsiteY408" fmla="*/ 6858000 h 6858000"/>
              <a:gd name="connsiteX409" fmla="*/ 2021675 w 7472601"/>
              <a:gd name="connsiteY409" fmla="*/ 6858000 h 6858000"/>
              <a:gd name="connsiteX410" fmla="*/ 2019308 w 7472601"/>
              <a:gd name="connsiteY410" fmla="*/ 6847118 h 6858000"/>
              <a:gd name="connsiteX411" fmla="*/ 1938835 w 7472601"/>
              <a:gd name="connsiteY411" fmla="*/ 6551160 h 6858000"/>
              <a:gd name="connsiteX412" fmla="*/ 1953230 w 7472601"/>
              <a:gd name="connsiteY412" fmla="*/ 6759699 h 6858000"/>
              <a:gd name="connsiteX413" fmla="*/ 1956763 w 7472601"/>
              <a:gd name="connsiteY413" fmla="*/ 6778191 h 6858000"/>
              <a:gd name="connsiteX414" fmla="*/ 1967925 w 7472601"/>
              <a:gd name="connsiteY414" fmla="*/ 6858000 h 6858000"/>
              <a:gd name="connsiteX415" fmla="*/ 1936622 w 7472601"/>
              <a:gd name="connsiteY415" fmla="*/ 6858000 h 6858000"/>
              <a:gd name="connsiteX416" fmla="*/ 1926261 w 7472601"/>
              <a:gd name="connsiteY416" fmla="*/ 6784064 h 6858000"/>
              <a:gd name="connsiteX417" fmla="*/ 1922724 w 7472601"/>
              <a:gd name="connsiteY417" fmla="*/ 6765577 h 6858000"/>
              <a:gd name="connsiteX418" fmla="*/ 1904650 w 7472601"/>
              <a:gd name="connsiteY418" fmla="*/ 6639616 h 6858000"/>
              <a:gd name="connsiteX419" fmla="*/ 1885273 w 7472601"/>
              <a:gd name="connsiteY419" fmla="*/ 6858000 h 6858000"/>
              <a:gd name="connsiteX420" fmla="*/ 1854363 w 7472601"/>
              <a:gd name="connsiteY420" fmla="*/ 6858000 h 6858000"/>
              <a:gd name="connsiteX421" fmla="*/ 1880391 w 7472601"/>
              <a:gd name="connsiteY421" fmla="*/ 6603796 h 6858000"/>
              <a:gd name="connsiteX422" fmla="*/ 1818273 w 7472601"/>
              <a:gd name="connsiteY422" fmla="*/ 6715729 h 6858000"/>
              <a:gd name="connsiteX423" fmla="*/ 1794691 w 7472601"/>
              <a:gd name="connsiteY423" fmla="*/ 6843239 h 6858000"/>
              <a:gd name="connsiteX424" fmla="*/ 1794914 w 7472601"/>
              <a:gd name="connsiteY424" fmla="*/ 6858000 h 6858000"/>
              <a:gd name="connsiteX425" fmla="*/ 1746128 w 7472601"/>
              <a:gd name="connsiteY425" fmla="*/ 6858000 h 6858000"/>
              <a:gd name="connsiteX426" fmla="*/ 1753934 w 7472601"/>
              <a:gd name="connsiteY426" fmla="*/ 6724796 h 6858000"/>
              <a:gd name="connsiteX427" fmla="*/ 1792053 w 7472601"/>
              <a:gd name="connsiteY427" fmla="*/ 6572396 h 6858000"/>
              <a:gd name="connsiteX428" fmla="*/ 1862248 w 7472601"/>
              <a:gd name="connsiteY428" fmla="*/ 6266397 h 6858000"/>
              <a:gd name="connsiteX429" fmla="*/ 1862250 w 7472601"/>
              <a:gd name="connsiteY429" fmla="*/ 6033531 h 6858000"/>
              <a:gd name="connsiteX430" fmla="*/ 1211999 w 7472601"/>
              <a:gd name="connsiteY430" fmla="*/ 6683610 h 6858000"/>
              <a:gd name="connsiteX431" fmla="*/ 1213266 w 7472601"/>
              <a:gd name="connsiteY431" fmla="*/ 6691947 h 6858000"/>
              <a:gd name="connsiteX432" fmla="*/ 1203370 w 7472601"/>
              <a:gd name="connsiteY432" fmla="*/ 6850676 h 6858000"/>
              <a:gd name="connsiteX433" fmla="*/ 1203671 w 7472601"/>
              <a:gd name="connsiteY433" fmla="*/ 6858000 h 6858000"/>
              <a:gd name="connsiteX434" fmla="*/ 1143180 w 7472601"/>
              <a:gd name="connsiteY434" fmla="*/ 6858000 h 6858000"/>
              <a:gd name="connsiteX435" fmla="*/ 1142176 w 7472601"/>
              <a:gd name="connsiteY435" fmla="*/ 6766045 h 6858000"/>
              <a:gd name="connsiteX436" fmla="*/ 1067484 w 7472601"/>
              <a:gd name="connsiteY436" fmla="*/ 6858000 h 6858000"/>
              <a:gd name="connsiteX437" fmla="*/ 953928 w 7472601"/>
              <a:gd name="connsiteY437" fmla="*/ 6858000 h 6858000"/>
              <a:gd name="connsiteX438" fmla="*/ 959715 w 7472601"/>
              <a:gd name="connsiteY438" fmla="*/ 6850185 h 6858000"/>
              <a:gd name="connsiteX439" fmla="*/ 1483788 w 7472601"/>
              <a:gd name="connsiteY439" fmla="*/ 6259174 h 6858000"/>
              <a:gd name="connsiteX440" fmla="*/ 1100671 w 7472601"/>
              <a:gd name="connsiteY440" fmla="*/ 6252137 h 6858000"/>
              <a:gd name="connsiteX441" fmla="*/ 1090144 w 7472601"/>
              <a:gd name="connsiteY441" fmla="*/ 6256748 h 6858000"/>
              <a:gd name="connsiteX442" fmla="*/ 1095872 w 7472601"/>
              <a:gd name="connsiteY442" fmla="*/ 6271892 h 6858000"/>
              <a:gd name="connsiteX443" fmla="*/ 262785 w 7472601"/>
              <a:gd name="connsiteY443" fmla="*/ 6845450 h 6858000"/>
              <a:gd name="connsiteX444" fmla="*/ 209968 w 7472601"/>
              <a:gd name="connsiteY444" fmla="*/ 6770713 h 6858000"/>
              <a:gd name="connsiteX445" fmla="*/ 873460 w 7472601"/>
              <a:gd name="connsiteY445" fmla="*/ 6253768 h 6858000"/>
              <a:gd name="connsiteX446" fmla="*/ 192686 w 7472601"/>
              <a:gd name="connsiteY446" fmla="*/ 5849257 h 6858000"/>
              <a:gd name="connsiteX447" fmla="*/ 4696 w 7472601"/>
              <a:gd name="connsiteY447" fmla="*/ 5697668 h 6858000"/>
              <a:gd name="connsiteX448" fmla="*/ 0 w 7472601"/>
              <a:gd name="connsiteY448" fmla="*/ 5689984 h 6858000"/>
              <a:gd name="connsiteX449" fmla="*/ 0 w 7472601"/>
              <a:gd name="connsiteY449" fmla="*/ 5513472 h 6858000"/>
              <a:gd name="connsiteX450" fmla="*/ 174101 w 7472601"/>
              <a:gd name="connsiteY450" fmla="*/ 5620277 h 6858000"/>
              <a:gd name="connsiteX451" fmla="*/ 891800 w 7472601"/>
              <a:gd name="connsiteY451" fmla="*/ 6036935 h 6858000"/>
              <a:gd name="connsiteX452" fmla="*/ 1072219 w 7472601"/>
              <a:gd name="connsiteY452" fmla="*/ 6169443 h 6858000"/>
              <a:gd name="connsiteX453" fmla="*/ 1074117 w 7472601"/>
              <a:gd name="connsiteY453" fmla="*/ 6170301 h 6858000"/>
              <a:gd name="connsiteX454" fmla="*/ 1083114 w 7472601"/>
              <a:gd name="connsiteY454" fmla="*/ 6174131 h 6858000"/>
              <a:gd name="connsiteX455" fmla="*/ 1543010 w 7472601"/>
              <a:gd name="connsiteY455" fmla="*/ 6191140 h 6858000"/>
              <a:gd name="connsiteX456" fmla="*/ 1551080 w 7472601"/>
              <a:gd name="connsiteY456" fmla="*/ 6195006 h 6858000"/>
              <a:gd name="connsiteX457" fmla="*/ 2345443 w 7472601"/>
              <a:gd name="connsiteY457" fmla="*/ 5549882 h 6858000"/>
              <a:gd name="connsiteX458" fmla="*/ 1721499 w 7472601"/>
              <a:gd name="connsiteY458" fmla="*/ 5599969 h 6858000"/>
              <a:gd name="connsiteX459" fmla="*/ 767716 w 7472601"/>
              <a:gd name="connsiteY459" fmla="*/ 5472768 h 6858000"/>
              <a:gd name="connsiteX460" fmla="*/ 722147 w 7472601"/>
              <a:gd name="connsiteY460" fmla="*/ 5393091 h 6858000"/>
              <a:gd name="connsiteX461" fmla="*/ 1485552 w 7472601"/>
              <a:gd name="connsiteY461" fmla="*/ 5313202 h 6858000"/>
              <a:gd name="connsiteX462" fmla="*/ 2143004 w 7472601"/>
              <a:gd name="connsiteY462" fmla="*/ 5402420 h 6858000"/>
              <a:gd name="connsiteX463" fmla="*/ 1933391 w 7472601"/>
              <a:gd name="connsiteY463" fmla="*/ 5156971 h 6858000"/>
              <a:gd name="connsiteX464" fmla="*/ 1827118 w 7472601"/>
              <a:gd name="connsiteY464" fmla="*/ 4968410 h 6858000"/>
              <a:gd name="connsiteX465" fmla="*/ 1837349 w 7472601"/>
              <a:gd name="connsiteY465" fmla="*/ 4956357 h 6858000"/>
              <a:gd name="connsiteX466" fmla="*/ 2162835 w 7472601"/>
              <a:gd name="connsiteY466" fmla="*/ 5187853 h 6858000"/>
              <a:gd name="connsiteX467" fmla="*/ 2257167 w 7472601"/>
              <a:gd name="connsiteY467" fmla="*/ 5462123 h 6858000"/>
              <a:gd name="connsiteX468" fmla="*/ 2261598 w 7472601"/>
              <a:gd name="connsiteY468" fmla="*/ 5467998 h 6858000"/>
              <a:gd name="connsiteX469" fmla="*/ 2437177 w 7472601"/>
              <a:gd name="connsiteY469" fmla="*/ 5479608 h 6858000"/>
              <a:gd name="connsiteX470" fmla="*/ 2445247 w 7472601"/>
              <a:gd name="connsiteY470" fmla="*/ 5483476 h 6858000"/>
              <a:gd name="connsiteX471" fmla="*/ 2743626 w 7472601"/>
              <a:gd name="connsiteY471" fmla="*/ 5304819 h 6858000"/>
              <a:gd name="connsiteX472" fmla="*/ 3048102 w 7472601"/>
              <a:gd name="connsiteY472" fmla="*/ 5150595 h 6858000"/>
              <a:gd name="connsiteX473" fmla="*/ 1799414 w 7472601"/>
              <a:gd name="connsiteY473" fmla="*/ 4694732 h 6858000"/>
              <a:gd name="connsiteX474" fmla="*/ 1771735 w 7472601"/>
              <a:gd name="connsiteY474" fmla="*/ 4619929 h 6858000"/>
              <a:gd name="connsiteX475" fmla="*/ 3104273 w 7472601"/>
              <a:gd name="connsiteY475" fmla="*/ 5076159 h 6858000"/>
              <a:gd name="connsiteX476" fmla="*/ 3113245 w 7472601"/>
              <a:gd name="connsiteY476" fmla="*/ 5090705 h 6858000"/>
              <a:gd name="connsiteX477" fmla="*/ 3126294 w 7472601"/>
              <a:gd name="connsiteY477" fmla="*/ 5114400 h 6858000"/>
              <a:gd name="connsiteX478" fmla="*/ 3937433 w 7472601"/>
              <a:gd name="connsiteY478" fmla="*/ 4830473 h 6858000"/>
              <a:gd name="connsiteX479" fmla="*/ 3590475 w 7472601"/>
              <a:gd name="connsiteY479" fmla="*/ 4597974 h 6858000"/>
              <a:gd name="connsiteX480" fmla="*/ 3100264 w 7472601"/>
              <a:gd name="connsiteY480" fmla="*/ 4579845 h 6858000"/>
              <a:gd name="connsiteX481" fmla="*/ 2183576 w 7472601"/>
              <a:gd name="connsiteY481" fmla="*/ 4227150 h 6858000"/>
              <a:gd name="connsiteX482" fmla="*/ 2151029 w 7472601"/>
              <a:gd name="connsiteY482" fmla="*/ 4146947 h 6858000"/>
              <a:gd name="connsiteX483" fmla="*/ 3563434 w 7472601"/>
              <a:gd name="connsiteY483" fmla="*/ 4469115 h 6858000"/>
              <a:gd name="connsiteX484" fmla="*/ 3177952 w 7472601"/>
              <a:gd name="connsiteY484" fmla="*/ 3657386 h 6858000"/>
              <a:gd name="connsiteX485" fmla="*/ 3189263 w 7472601"/>
              <a:gd name="connsiteY485" fmla="*/ 3625726 h 6858000"/>
              <a:gd name="connsiteX486" fmla="*/ 3560912 w 7472601"/>
              <a:gd name="connsiteY486" fmla="*/ 4079863 h 6858000"/>
              <a:gd name="connsiteX487" fmla="*/ 3626636 w 7472601"/>
              <a:gd name="connsiteY487" fmla="*/ 4512230 h 6858000"/>
              <a:gd name="connsiteX488" fmla="*/ 3653088 w 7472601"/>
              <a:gd name="connsiteY488" fmla="*/ 4521417 h 6858000"/>
              <a:gd name="connsiteX489" fmla="*/ 3988128 w 7472601"/>
              <a:gd name="connsiteY489" fmla="*/ 4817267 h 6858000"/>
              <a:gd name="connsiteX490" fmla="*/ 4830582 w 7472601"/>
              <a:gd name="connsiteY490" fmla="*/ 4676000 h 6858000"/>
              <a:gd name="connsiteX491" fmla="*/ 4830100 w 7472601"/>
              <a:gd name="connsiteY491" fmla="*/ 4675554 h 6858000"/>
              <a:gd name="connsiteX492" fmla="*/ 4036318 w 7472601"/>
              <a:gd name="connsiteY492" fmla="*/ 4147013 h 6858000"/>
              <a:gd name="connsiteX493" fmla="*/ 3432098 w 7472601"/>
              <a:gd name="connsiteY493" fmla="*/ 3537312 h 6858000"/>
              <a:gd name="connsiteX494" fmla="*/ 3446761 w 7472601"/>
              <a:gd name="connsiteY494" fmla="*/ 3461278 h 6858000"/>
              <a:gd name="connsiteX495" fmla="*/ 4419733 w 7472601"/>
              <a:gd name="connsiteY495" fmla="*/ 3963555 h 6858000"/>
              <a:gd name="connsiteX496" fmla="*/ 4781371 w 7472601"/>
              <a:gd name="connsiteY496" fmla="*/ 4458604 h 6858000"/>
              <a:gd name="connsiteX497" fmla="*/ 4780440 w 7472601"/>
              <a:gd name="connsiteY497" fmla="*/ 4470290 h 6858000"/>
              <a:gd name="connsiteX498" fmla="*/ 4898954 w 7472601"/>
              <a:gd name="connsiteY498" fmla="*/ 4662092 h 6858000"/>
              <a:gd name="connsiteX499" fmla="*/ 4900699 w 7472601"/>
              <a:gd name="connsiteY499" fmla="*/ 4670867 h 6858000"/>
              <a:gd name="connsiteX500" fmla="*/ 5714511 w 7472601"/>
              <a:gd name="connsiteY500" fmla="*/ 4663483 h 6858000"/>
              <a:gd name="connsiteX501" fmla="*/ 5464793 w 7472601"/>
              <a:gd name="connsiteY501" fmla="*/ 4393556 h 6858000"/>
              <a:gd name="connsiteX502" fmla="*/ 5461897 w 7472601"/>
              <a:gd name="connsiteY502" fmla="*/ 4390879 h 6858000"/>
              <a:gd name="connsiteX503" fmla="*/ 4294126 w 7472601"/>
              <a:gd name="connsiteY503" fmla="*/ 3303048 h 6858000"/>
              <a:gd name="connsiteX504" fmla="*/ 4305321 w 7472601"/>
              <a:gd name="connsiteY504" fmla="*/ 3256953 h 6858000"/>
              <a:gd name="connsiteX505" fmla="*/ 4949299 w 7472601"/>
              <a:gd name="connsiteY505" fmla="*/ 3766336 h 6858000"/>
              <a:gd name="connsiteX506" fmla="*/ 5291452 w 7472601"/>
              <a:gd name="connsiteY506" fmla="*/ 4076801 h 6858000"/>
              <a:gd name="connsiteX507" fmla="*/ 5434998 w 7472601"/>
              <a:gd name="connsiteY507" fmla="*/ 4254100 h 6858000"/>
              <a:gd name="connsiteX508" fmla="*/ 5351015 w 7472601"/>
              <a:gd name="connsiteY508" fmla="*/ 3760989 h 6858000"/>
              <a:gd name="connsiteX509" fmla="*/ 5413780 w 7472601"/>
              <a:gd name="connsiteY509" fmla="*/ 2966265 h 6858000"/>
              <a:gd name="connsiteX510" fmla="*/ 5425627 w 7472601"/>
              <a:gd name="connsiteY510" fmla="*/ 2954192 h 6858000"/>
              <a:gd name="connsiteX511" fmla="*/ 6604735 w 7472601"/>
              <a:gd name="connsiteY511" fmla="*/ 2041381 h 6858000"/>
              <a:gd name="connsiteX512" fmla="*/ 7204487 w 7472601"/>
              <a:gd name="connsiteY512" fmla="*/ 2742112 h 6858000"/>
              <a:gd name="connsiteX513" fmla="*/ 7131592 w 7472601"/>
              <a:gd name="connsiteY513" fmla="*/ 2672096 h 6858000"/>
              <a:gd name="connsiteX514" fmla="*/ 6996344 w 7472601"/>
              <a:gd name="connsiteY514" fmla="*/ 2518310 h 6858000"/>
              <a:gd name="connsiteX515" fmla="*/ 6735495 w 7472601"/>
              <a:gd name="connsiteY515" fmla="*/ 2196890 h 6858000"/>
              <a:gd name="connsiteX516" fmla="*/ 6721901 w 7472601"/>
              <a:gd name="connsiteY516" fmla="*/ 2179274 h 6858000"/>
              <a:gd name="connsiteX517" fmla="*/ 6604735 w 7472601"/>
              <a:gd name="connsiteY517" fmla="*/ 2041381 h 6858000"/>
              <a:gd name="connsiteX518" fmla="*/ 6591670 w 7472601"/>
              <a:gd name="connsiteY518" fmla="*/ 1988277 h 6858000"/>
              <a:gd name="connsiteX519" fmla="*/ 6747349 w 7472601"/>
              <a:gd name="connsiteY519" fmla="*/ 2160069 h 6858000"/>
              <a:gd name="connsiteX520" fmla="*/ 6760943 w 7472601"/>
              <a:gd name="connsiteY520" fmla="*/ 2177686 h 6858000"/>
              <a:gd name="connsiteX521" fmla="*/ 7021065 w 7472601"/>
              <a:gd name="connsiteY521" fmla="*/ 2498102 h 6858000"/>
              <a:gd name="connsiteX522" fmla="*/ 7155223 w 7472601"/>
              <a:gd name="connsiteY522" fmla="*/ 2650386 h 6858000"/>
              <a:gd name="connsiteX523" fmla="*/ 7203167 w 7472601"/>
              <a:gd name="connsiteY523" fmla="*/ 2697288 h 6858000"/>
              <a:gd name="connsiteX524" fmla="*/ 6937703 w 7472601"/>
              <a:gd name="connsiteY524" fmla="*/ 2321981 h 6858000"/>
              <a:gd name="connsiteX525" fmla="*/ 6591670 w 7472601"/>
              <a:gd name="connsiteY525" fmla="*/ 1988277 h 6858000"/>
              <a:gd name="connsiteX526" fmla="*/ 5798671 w 7472601"/>
              <a:gd name="connsiteY526" fmla="*/ 1981601 h 6858000"/>
              <a:gd name="connsiteX527" fmla="*/ 5754709 w 7472601"/>
              <a:gd name="connsiteY527" fmla="*/ 2071454 h 6858000"/>
              <a:gd name="connsiteX528" fmla="*/ 5763044 w 7472601"/>
              <a:gd name="connsiteY528" fmla="*/ 2842206 h 6858000"/>
              <a:gd name="connsiteX529" fmla="*/ 5764974 w 7472601"/>
              <a:gd name="connsiteY529" fmla="*/ 2799609 h 6858000"/>
              <a:gd name="connsiteX530" fmla="*/ 5767665 w 7472601"/>
              <a:gd name="connsiteY530" fmla="*/ 2666409 h 6858000"/>
              <a:gd name="connsiteX531" fmla="*/ 5763055 w 7472601"/>
              <a:gd name="connsiteY531" fmla="*/ 2579705 h 6858000"/>
              <a:gd name="connsiteX532" fmla="*/ 5758079 w 7472601"/>
              <a:gd name="connsiteY532" fmla="*/ 2492508 h 6858000"/>
              <a:gd name="connsiteX533" fmla="*/ 5779325 w 7472601"/>
              <a:gd name="connsiteY533" fmla="*/ 2197069 h 6858000"/>
              <a:gd name="connsiteX534" fmla="*/ 5798671 w 7472601"/>
              <a:gd name="connsiteY534" fmla="*/ 1981601 h 6858000"/>
              <a:gd name="connsiteX535" fmla="*/ 5829202 w 7472601"/>
              <a:gd name="connsiteY535" fmla="*/ 1971679 h 6858000"/>
              <a:gd name="connsiteX536" fmla="*/ 5809558 w 7472601"/>
              <a:gd name="connsiteY536" fmla="*/ 2198043 h 6858000"/>
              <a:gd name="connsiteX537" fmla="*/ 5788653 w 7472601"/>
              <a:gd name="connsiteY537" fmla="*/ 2489430 h 6858000"/>
              <a:gd name="connsiteX538" fmla="*/ 5793439 w 7472601"/>
              <a:gd name="connsiteY538" fmla="*/ 2575235 h 6858000"/>
              <a:gd name="connsiteX539" fmla="*/ 5796837 w 7472601"/>
              <a:gd name="connsiteY539" fmla="*/ 2637633 h 6858000"/>
              <a:gd name="connsiteX540" fmla="*/ 5818614 w 7472601"/>
              <a:gd name="connsiteY540" fmla="*/ 2473055 h 6858000"/>
              <a:gd name="connsiteX541" fmla="*/ 5829202 w 7472601"/>
              <a:gd name="connsiteY541" fmla="*/ 1971679 h 6858000"/>
              <a:gd name="connsiteX542" fmla="*/ 5911389 w 7472601"/>
              <a:gd name="connsiteY542" fmla="*/ 1898371 h 6858000"/>
              <a:gd name="connsiteX543" fmla="*/ 6237627 w 7472601"/>
              <a:gd name="connsiteY543" fmla="*/ 2231921 h 6858000"/>
              <a:gd name="connsiteX544" fmla="*/ 5911389 w 7472601"/>
              <a:gd name="connsiteY544" fmla="*/ 1898371 h 6858000"/>
              <a:gd name="connsiteX545" fmla="*/ 6944437 w 7472601"/>
              <a:gd name="connsiteY545" fmla="*/ 1575402 h 6858000"/>
              <a:gd name="connsiteX546" fmla="*/ 6304730 w 7472601"/>
              <a:gd name="connsiteY546" fmla="*/ 1766654 h 6858000"/>
              <a:gd name="connsiteX547" fmla="*/ 6944437 w 7472601"/>
              <a:gd name="connsiteY547" fmla="*/ 1575402 h 6858000"/>
              <a:gd name="connsiteX548" fmla="*/ 7019523 w 7472601"/>
              <a:gd name="connsiteY548" fmla="*/ 1519450 h 6858000"/>
              <a:gd name="connsiteX549" fmla="*/ 6298091 w 7472601"/>
              <a:gd name="connsiteY549" fmla="*/ 1737122 h 6858000"/>
              <a:gd name="connsiteX550" fmla="*/ 7019523 w 7472601"/>
              <a:gd name="connsiteY550" fmla="*/ 1519450 h 6858000"/>
              <a:gd name="connsiteX551" fmla="*/ 2399523 w 7472601"/>
              <a:gd name="connsiteY551" fmla="*/ 1428234 h 6858000"/>
              <a:gd name="connsiteX552" fmla="*/ 2224982 w 7472601"/>
              <a:gd name="connsiteY552" fmla="*/ 1826201 h 6858000"/>
              <a:gd name="connsiteX553" fmla="*/ 2096099 w 7472601"/>
              <a:gd name="connsiteY553" fmla="*/ 2345900 h 6858000"/>
              <a:gd name="connsiteX554" fmla="*/ 2283317 w 7472601"/>
              <a:gd name="connsiteY554" fmla="*/ 1796925 h 6858000"/>
              <a:gd name="connsiteX555" fmla="*/ 2399523 w 7472601"/>
              <a:gd name="connsiteY555" fmla="*/ 1428234 h 6858000"/>
              <a:gd name="connsiteX556" fmla="*/ 2448558 w 7472601"/>
              <a:gd name="connsiteY556" fmla="*/ 1373435 h 6858000"/>
              <a:gd name="connsiteX557" fmla="*/ 2312521 w 7472601"/>
              <a:gd name="connsiteY557" fmla="*/ 1806140 h 6858000"/>
              <a:gd name="connsiteX558" fmla="*/ 2127533 w 7472601"/>
              <a:gd name="connsiteY558" fmla="*/ 2348380 h 6858000"/>
              <a:gd name="connsiteX559" fmla="*/ 2358080 w 7472601"/>
              <a:gd name="connsiteY559" fmla="*/ 1866134 h 6858000"/>
              <a:gd name="connsiteX560" fmla="*/ 2407436 w 7472601"/>
              <a:gd name="connsiteY560" fmla="*/ 1651070 h 6858000"/>
              <a:gd name="connsiteX561" fmla="*/ 2448558 w 7472601"/>
              <a:gd name="connsiteY561" fmla="*/ 1373435 h 6858000"/>
              <a:gd name="connsiteX562" fmla="*/ 278707 w 7472601"/>
              <a:gd name="connsiteY562" fmla="*/ 1352270 h 6858000"/>
              <a:gd name="connsiteX563" fmla="*/ 321570 w 7472601"/>
              <a:gd name="connsiteY563" fmla="*/ 1861610 h 6858000"/>
              <a:gd name="connsiteX564" fmla="*/ 294281 w 7472601"/>
              <a:gd name="connsiteY564" fmla="*/ 1440658 h 6858000"/>
              <a:gd name="connsiteX565" fmla="*/ 278707 w 7472601"/>
              <a:gd name="connsiteY565" fmla="*/ 1352270 h 6858000"/>
              <a:gd name="connsiteX566" fmla="*/ 1423821 w 7472601"/>
              <a:gd name="connsiteY566" fmla="*/ 1351958 h 6858000"/>
              <a:gd name="connsiteX567" fmla="*/ 1638521 w 7472601"/>
              <a:gd name="connsiteY567" fmla="*/ 1908470 h 6858000"/>
              <a:gd name="connsiteX568" fmla="*/ 1754199 w 7472601"/>
              <a:gd name="connsiteY568" fmla="*/ 2149284 h 6858000"/>
              <a:gd name="connsiteX569" fmla="*/ 1908359 w 7472601"/>
              <a:gd name="connsiteY569" fmla="*/ 2364988 h 6858000"/>
              <a:gd name="connsiteX570" fmla="*/ 1647661 w 7472601"/>
              <a:gd name="connsiteY570" fmla="*/ 1825945 h 6858000"/>
              <a:gd name="connsiteX571" fmla="*/ 1423821 w 7472601"/>
              <a:gd name="connsiteY571" fmla="*/ 1351958 h 6858000"/>
              <a:gd name="connsiteX572" fmla="*/ 1431890 w 7472601"/>
              <a:gd name="connsiteY572" fmla="*/ 1306475 h 6858000"/>
              <a:gd name="connsiteX573" fmla="*/ 1507597 w 7472601"/>
              <a:gd name="connsiteY573" fmla="*/ 1446132 h 6858000"/>
              <a:gd name="connsiteX574" fmla="*/ 1674586 w 7472601"/>
              <a:gd name="connsiteY574" fmla="*/ 1813832 h 6858000"/>
              <a:gd name="connsiteX575" fmla="*/ 1815950 w 7472601"/>
              <a:gd name="connsiteY575" fmla="*/ 2128564 h 6858000"/>
              <a:gd name="connsiteX576" fmla="*/ 1984242 w 7472601"/>
              <a:gd name="connsiteY576" fmla="*/ 2430829 h 6858000"/>
              <a:gd name="connsiteX577" fmla="*/ 2014023 w 7472601"/>
              <a:gd name="connsiteY577" fmla="*/ 2450995 h 6858000"/>
              <a:gd name="connsiteX578" fmla="*/ 1747337 w 7472601"/>
              <a:gd name="connsiteY578" fmla="*/ 1855264 h 6858000"/>
              <a:gd name="connsiteX579" fmla="*/ 1533749 w 7472601"/>
              <a:gd name="connsiteY579" fmla="*/ 1478656 h 6858000"/>
              <a:gd name="connsiteX580" fmla="*/ 1431890 w 7472601"/>
              <a:gd name="connsiteY580" fmla="*/ 1306475 h 6858000"/>
              <a:gd name="connsiteX581" fmla="*/ 5052692 w 7472601"/>
              <a:gd name="connsiteY581" fmla="*/ 1292994 h 6858000"/>
              <a:gd name="connsiteX582" fmla="*/ 5200661 w 7472601"/>
              <a:gd name="connsiteY582" fmla="*/ 1635186 h 6858000"/>
              <a:gd name="connsiteX583" fmla="*/ 5297138 w 7472601"/>
              <a:gd name="connsiteY583" fmla="*/ 1906351 h 6858000"/>
              <a:gd name="connsiteX584" fmla="*/ 5052692 w 7472601"/>
              <a:gd name="connsiteY584" fmla="*/ 1292994 h 6858000"/>
              <a:gd name="connsiteX585" fmla="*/ 5009948 w 7472601"/>
              <a:gd name="connsiteY585" fmla="*/ 1273619 h 6858000"/>
              <a:gd name="connsiteX586" fmla="*/ 5121777 w 7472601"/>
              <a:gd name="connsiteY586" fmla="*/ 1654213 h 6858000"/>
              <a:gd name="connsiteX587" fmla="*/ 5293545 w 7472601"/>
              <a:gd name="connsiteY587" fmla="*/ 2072247 h 6858000"/>
              <a:gd name="connsiteX588" fmla="*/ 5294042 w 7472601"/>
              <a:gd name="connsiteY588" fmla="*/ 2065019 h 6858000"/>
              <a:gd name="connsiteX589" fmla="*/ 5171936 w 7472601"/>
              <a:gd name="connsiteY589" fmla="*/ 1647613 h 6858000"/>
              <a:gd name="connsiteX590" fmla="*/ 5009948 w 7472601"/>
              <a:gd name="connsiteY590" fmla="*/ 1273619 h 6858000"/>
              <a:gd name="connsiteX591" fmla="*/ 655236 w 7472601"/>
              <a:gd name="connsiteY591" fmla="*/ 1268632 h 6858000"/>
              <a:gd name="connsiteX592" fmla="*/ 839521 w 7472601"/>
              <a:gd name="connsiteY592" fmla="*/ 1685315 h 6858000"/>
              <a:gd name="connsiteX593" fmla="*/ 1109416 w 7472601"/>
              <a:gd name="connsiteY593" fmla="*/ 2061663 h 6858000"/>
              <a:gd name="connsiteX594" fmla="*/ 1298300 w 7472601"/>
              <a:gd name="connsiteY594" fmla="*/ 2247742 h 6858000"/>
              <a:gd name="connsiteX595" fmla="*/ 1125871 w 7472601"/>
              <a:gd name="connsiteY595" fmla="*/ 1989513 h 6858000"/>
              <a:gd name="connsiteX596" fmla="*/ 981574 w 7472601"/>
              <a:gd name="connsiteY596" fmla="*/ 1783157 h 6858000"/>
              <a:gd name="connsiteX597" fmla="*/ 922198 w 7472601"/>
              <a:gd name="connsiteY597" fmla="*/ 1677437 h 6858000"/>
              <a:gd name="connsiteX598" fmla="*/ 869293 w 7472601"/>
              <a:gd name="connsiteY598" fmla="*/ 1583214 h 6858000"/>
              <a:gd name="connsiteX599" fmla="*/ 751431 w 7472601"/>
              <a:gd name="connsiteY599" fmla="*/ 1405731 h 6858000"/>
              <a:gd name="connsiteX600" fmla="*/ 655236 w 7472601"/>
              <a:gd name="connsiteY600" fmla="*/ 1268632 h 6858000"/>
              <a:gd name="connsiteX601" fmla="*/ 6516292 w 7472601"/>
              <a:gd name="connsiteY601" fmla="*/ 1263064 h 6858000"/>
              <a:gd name="connsiteX602" fmla="*/ 5736320 w 7472601"/>
              <a:gd name="connsiteY602" fmla="*/ 1501803 h 6858000"/>
              <a:gd name="connsiteX603" fmla="*/ 6516292 w 7472601"/>
              <a:gd name="connsiteY603" fmla="*/ 1263064 h 6858000"/>
              <a:gd name="connsiteX604" fmla="*/ 291466 w 7472601"/>
              <a:gd name="connsiteY604" fmla="*/ 1250369 h 6858000"/>
              <a:gd name="connsiteX605" fmla="*/ 323180 w 7472601"/>
              <a:gd name="connsiteY605" fmla="*/ 1435283 h 6858000"/>
              <a:gd name="connsiteX606" fmla="*/ 349381 w 7472601"/>
              <a:gd name="connsiteY606" fmla="*/ 1875041 h 6858000"/>
              <a:gd name="connsiteX607" fmla="*/ 374363 w 7472601"/>
              <a:gd name="connsiteY607" fmla="*/ 1506494 h 6858000"/>
              <a:gd name="connsiteX608" fmla="*/ 302168 w 7472601"/>
              <a:gd name="connsiteY608" fmla="*/ 1274495 h 6858000"/>
              <a:gd name="connsiteX609" fmla="*/ 291466 w 7472601"/>
              <a:gd name="connsiteY609" fmla="*/ 1250369 h 6858000"/>
              <a:gd name="connsiteX610" fmla="*/ 678222 w 7472601"/>
              <a:gd name="connsiteY610" fmla="*/ 1248670 h 6858000"/>
              <a:gd name="connsiteX611" fmla="*/ 775536 w 7472601"/>
              <a:gd name="connsiteY611" fmla="*/ 1388015 h 6858000"/>
              <a:gd name="connsiteX612" fmla="*/ 894529 w 7472601"/>
              <a:gd name="connsiteY612" fmla="*/ 1567739 h 6858000"/>
              <a:gd name="connsiteX613" fmla="*/ 948000 w 7472601"/>
              <a:gd name="connsiteY613" fmla="*/ 1663088 h 6858000"/>
              <a:gd name="connsiteX614" fmla="*/ 1006812 w 7472601"/>
              <a:gd name="connsiteY614" fmla="*/ 1767683 h 6858000"/>
              <a:gd name="connsiteX615" fmla="*/ 1149133 w 7472601"/>
              <a:gd name="connsiteY615" fmla="*/ 1971513 h 6858000"/>
              <a:gd name="connsiteX616" fmla="*/ 1333952 w 7472601"/>
              <a:gd name="connsiteY616" fmla="*/ 2251620 h 6858000"/>
              <a:gd name="connsiteX617" fmla="*/ 1337329 w 7472601"/>
              <a:gd name="connsiteY617" fmla="*/ 2258350 h 6858000"/>
              <a:gd name="connsiteX618" fmla="*/ 1014726 w 7472601"/>
              <a:gd name="connsiteY618" fmla="*/ 1615556 h 6858000"/>
              <a:gd name="connsiteX619" fmla="*/ 678222 w 7472601"/>
              <a:gd name="connsiteY619" fmla="*/ 1248670 h 6858000"/>
              <a:gd name="connsiteX620" fmla="*/ 6691602 w 7472601"/>
              <a:gd name="connsiteY620" fmla="*/ 1140573 h 6858000"/>
              <a:gd name="connsiteX621" fmla="*/ 6571100 w 7472601"/>
              <a:gd name="connsiteY621" fmla="*/ 1183662 h 6858000"/>
              <a:gd name="connsiteX622" fmla="*/ 6241687 w 7472601"/>
              <a:gd name="connsiteY622" fmla="*/ 1257600 h 6858000"/>
              <a:gd name="connsiteX623" fmla="*/ 5693009 w 7472601"/>
              <a:gd name="connsiteY623" fmla="*/ 1478256 h 6858000"/>
              <a:gd name="connsiteX624" fmla="*/ 6548420 w 7472601"/>
              <a:gd name="connsiteY624" fmla="*/ 1214599 h 6858000"/>
              <a:gd name="connsiteX625" fmla="*/ 6605473 w 7472601"/>
              <a:gd name="connsiteY625" fmla="*/ 1184686 h 6858000"/>
              <a:gd name="connsiteX626" fmla="*/ 6691602 w 7472601"/>
              <a:gd name="connsiteY626" fmla="*/ 1140573 h 6858000"/>
              <a:gd name="connsiteX627" fmla="*/ 4002475 w 7472601"/>
              <a:gd name="connsiteY627" fmla="*/ 1037802 h 6858000"/>
              <a:gd name="connsiteX628" fmla="*/ 4000324 w 7472601"/>
              <a:gd name="connsiteY628" fmla="*/ 1039362 h 6858000"/>
              <a:gd name="connsiteX629" fmla="*/ 4002862 w 7472601"/>
              <a:gd name="connsiteY629" fmla="*/ 1042866 h 6858000"/>
              <a:gd name="connsiteX630" fmla="*/ 4002475 w 7472601"/>
              <a:gd name="connsiteY630" fmla="*/ 1037802 h 6858000"/>
              <a:gd name="connsiteX631" fmla="*/ 506322 w 7472601"/>
              <a:gd name="connsiteY631" fmla="*/ 1020997 h 6858000"/>
              <a:gd name="connsiteX632" fmla="*/ 533068 w 7472601"/>
              <a:gd name="connsiteY632" fmla="*/ 1029409 h 6858000"/>
              <a:gd name="connsiteX633" fmla="*/ 1232525 w 7472601"/>
              <a:gd name="connsiteY633" fmla="*/ 1804675 h 6858000"/>
              <a:gd name="connsiteX634" fmla="*/ 1388858 w 7472601"/>
              <a:gd name="connsiteY634" fmla="*/ 2368011 h 6858000"/>
              <a:gd name="connsiteX635" fmla="*/ 1384098 w 7472601"/>
              <a:gd name="connsiteY635" fmla="*/ 2378125 h 6858000"/>
              <a:gd name="connsiteX636" fmla="*/ 1425393 w 7472601"/>
              <a:gd name="connsiteY636" fmla="*/ 2589124 h 6858000"/>
              <a:gd name="connsiteX637" fmla="*/ 1424001 w 7472601"/>
              <a:gd name="connsiteY637" fmla="*/ 2597541 h 6858000"/>
              <a:gd name="connsiteX638" fmla="*/ 2152729 w 7472601"/>
              <a:gd name="connsiteY638" fmla="*/ 2864487 h 6858000"/>
              <a:gd name="connsiteX639" fmla="*/ 2020609 w 7472601"/>
              <a:gd name="connsiteY639" fmla="*/ 2539671 h 6858000"/>
              <a:gd name="connsiteX640" fmla="*/ 2018920 w 7472601"/>
              <a:gd name="connsiteY640" fmla="*/ 2536309 h 6858000"/>
              <a:gd name="connsiteX641" fmla="*/ 1342441 w 7472601"/>
              <a:gd name="connsiteY641" fmla="*/ 1173017 h 6858000"/>
              <a:gd name="connsiteX642" fmla="*/ 1367925 w 7472601"/>
              <a:gd name="connsiteY642" fmla="*/ 1135648 h 6858000"/>
              <a:gd name="connsiteX643" fmla="*/ 1771401 w 7472601"/>
              <a:gd name="connsiteY643" fmla="*/ 1806673 h 6858000"/>
              <a:gd name="connsiteX644" fmla="*/ 1972385 w 7472601"/>
              <a:gd name="connsiteY644" fmla="*/ 2198735 h 6858000"/>
              <a:gd name="connsiteX645" fmla="*/ 2040892 w 7472601"/>
              <a:gd name="connsiteY645" fmla="*/ 2405205 h 6858000"/>
              <a:gd name="connsiteX646" fmla="*/ 2131689 w 7472601"/>
              <a:gd name="connsiteY646" fmla="*/ 1936926 h 6858000"/>
              <a:gd name="connsiteX647" fmla="*/ 2454820 w 7472601"/>
              <a:gd name="connsiteY647" fmla="*/ 1248808 h 6858000"/>
              <a:gd name="connsiteX648" fmla="*/ 2492512 w 7472601"/>
              <a:gd name="connsiteY648" fmla="*/ 1302920 h 6858000"/>
              <a:gd name="connsiteX649" fmla="*/ 2081216 w 7472601"/>
              <a:gd name="connsiteY649" fmla="*/ 2527513 h 6858000"/>
              <a:gd name="connsiteX650" fmla="*/ 2081211 w 7472601"/>
              <a:gd name="connsiteY650" fmla="*/ 2528916 h 6858000"/>
              <a:gd name="connsiteX651" fmla="*/ 2199067 w 7472601"/>
              <a:gd name="connsiteY651" fmla="*/ 2884061 h 6858000"/>
              <a:gd name="connsiteX652" fmla="*/ 3192586 w 7472601"/>
              <a:gd name="connsiteY652" fmla="*/ 3411496 h 6858000"/>
              <a:gd name="connsiteX653" fmla="*/ 3182620 w 7472601"/>
              <a:gd name="connsiteY653" fmla="*/ 3483279 h 6858000"/>
              <a:gd name="connsiteX654" fmla="*/ 2435119 w 7472601"/>
              <a:gd name="connsiteY654" fmla="*/ 3080173 h 6858000"/>
              <a:gd name="connsiteX655" fmla="*/ 2410152 w 7472601"/>
              <a:gd name="connsiteY655" fmla="*/ 3063751 h 6858000"/>
              <a:gd name="connsiteX656" fmla="*/ 2408099 w 7472601"/>
              <a:gd name="connsiteY656" fmla="*/ 3064403 h 6858000"/>
              <a:gd name="connsiteX657" fmla="*/ 2407218 w 7472601"/>
              <a:gd name="connsiteY657" fmla="*/ 3070324 h 6858000"/>
              <a:gd name="connsiteX658" fmla="*/ 2380138 w 7472601"/>
              <a:gd name="connsiteY658" fmla="*/ 3099341 h 6858000"/>
              <a:gd name="connsiteX659" fmla="*/ 1765923 w 7472601"/>
              <a:gd name="connsiteY659" fmla="*/ 3581043 h 6858000"/>
              <a:gd name="connsiteX660" fmla="*/ 1702258 w 7472601"/>
              <a:gd name="connsiteY660" fmla="*/ 3612286 h 6858000"/>
              <a:gd name="connsiteX661" fmla="*/ 1538370 w 7472601"/>
              <a:gd name="connsiteY661" fmla="*/ 3811804 h 6858000"/>
              <a:gd name="connsiteX662" fmla="*/ 542867 w 7472601"/>
              <a:gd name="connsiteY662" fmla="*/ 4944092 h 6858000"/>
              <a:gd name="connsiteX663" fmla="*/ 515800 w 7472601"/>
              <a:gd name="connsiteY663" fmla="*/ 4862180 h 6858000"/>
              <a:gd name="connsiteX664" fmla="*/ 909145 w 7472601"/>
              <a:gd name="connsiteY664" fmla="*/ 4199225 h 6858000"/>
              <a:gd name="connsiteX665" fmla="*/ 1214067 w 7472601"/>
              <a:gd name="connsiteY665" fmla="*/ 3908561 h 6858000"/>
              <a:gd name="connsiteX666" fmla="*/ 640967 w 7472601"/>
              <a:gd name="connsiteY666" fmla="*/ 4105601 h 6858000"/>
              <a:gd name="connsiteX667" fmla="*/ 112563 w 7472601"/>
              <a:gd name="connsiteY667" fmla="*/ 4396952 h 6858000"/>
              <a:gd name="connsiteX668" fmla="*/ 0 w 7472601"/>
              <a:gd name="connsiteY668" fmla="*/ 4466006 h 6858000"/>
              <a:gd name="connsiteX669" fmla="*/ 0 w 7472601"/>
              <a:gd name="connsiteY669" fmla="*/ 4233763 h 6858000"/>
              <a:gd name="connsiteX670" fmla="*/ 36881 w 7472601"/>
              <a:gd name="connsiteY670" fmla="*/ 4200118 h 6858000"/>
              <a:gd name="connsiteX671" fmla="*/ 910534 w 7472601"/>
              <a:gd name="connsiteY671" fmla="*/ 3629753 h 6858000"/>
              <a:gd name="connsiteX672" fmla="*/ 1578717 w 7472601"/>
              <a:gd name="connsiteY672" fmla="*/ 3575982 h 6858000"/>
              <a:gd name="connsiteX673" fmla="*/ 2338780 w 7472601"/>
              <a:gd name="connsiteY673" fmla="*/ 3033725 h 6858000"/>
              <a:gd name="connsiteX674" fmla="*/ 1807991 w 7472601"/>
              <a:gd name="connsiteY674" fmla="*/ 2807184 h 6858000"/>
              <a:gd name="connsiteX675" fmla="*/ 1416358 w 7472601"/>
              <a:gd name="connsiteY675" fmla="*/ 3112571 h 6858000"/>
              <a:gd name="connsiteX676" fmla="*/ 939066 w 7472601"/>
              <a:gd name="connsiteY676" fmla="*/ 3378798 h 6858000"/>
              <a:gd name="connsiteX677" fmla="*/ 115099 w 7472601"/>
              <a:gd name="connsiteY677" fmla="*/ 3607650 h 6858000"/>
              <a:gd name="connsiteX678" fmla="*/ 97284 w 7472601"/>
              <a:gd name="connsiteY678" fmla="*/ 3520393 h 6858000"/>
              <a:gd name="connsiteX679" fmla="*/ 922050 w 7472601"/>
              <a:gd name="connsiteY679" fmla="*/ 3074867 h 6858000"/>
              <a:gd name="connsiteX680" fmla="*/ 1405265 w 7472601"/>
              <a:gd name="connsiteY680" fmla="*/ 3016319 h 6858000"/>
              <a:gd name="connsiteX681" fmla="*/ 1407512 w 7472601"/>
              <a:gd name="connsiteY681" fmla="*/ 3018001 h 6858000"/>
              <a:gd name="connsiteX682" fmla="*/ 1726266 w 7472601"/>
              <a:gd name="connsiteY682" fmla="*/ 2777274 h 6858000"/>
              <a:gd name="connsiteX683" fmla="*/ 625390 w 7472601"/>
              <a:gd name="connsiteY683" fmla="*/ 2514541 h 6858000"/>
              <a:gd name="connsiteX684" fmla="*/ 619799 w 7472601"/>
              <a:gd name="connsiteY684" fmla="*/ 2527180 h 6858000"/>
              <a:gd name="connsiteX685" fmla="*/ 310030 w 7472601"/>
              <a:gd name="connsiteY685" fmla="*/ 2771818 h 6858000"/>
              <a:gd name="connsiteX686" fmla="*/ 173877 w 7472601"/>
              <a:gd name="connsiteY686" fmla="*/ 2937056 h 6858000"/>
              <a:gd name="connsiteX687" fmla="*/ 77889 w 7472601"/>
              <a:gd name="connsiteY687" fmla="*/ 3138440 h 6858000"/>
              <a:gd name="connsiteX688" fmla="*/ 0 w 7472601"/>
              <a:gd name="connsiteY688" fmla="*/ 3271395 h 6858000"/>
              <a:gd name="connsiteX689" fmla="*/ 0 w 7472601"/>
              <a:gd name="connsiteY689" fmla="*/ 3153002 h 6858000"/>
              <a:gd name="connsiteX690" fmla="*/ 2386 w 7472601"/>
              <a:gd name="connsiteY690" fmla="*/ 3149203 h 6858000"/>
              <a:gd name="connsiteX691" fmla="*/ 89753 w 7472601"/>
              <a:gd name="connsiteY691" fmla="*/ 2987702 h 6858000"/>
              <a:gd name="connsiteX692" fmla="*/ 76869 w 7472601"/>
              <a:gd name="connsiteY692" fmla="*/ 3005404 h 6858000"/>
              <a:gd name="connsiteX693" fmla="*/ 32049 w 7472601"/>
              <a:gd name="connsiteY693" fmla="*/ 3065814 h 6858000"/>
              <a:gd name="connsiteX694" fmla="*/ 0 w 7472601"/>
              <a:gd name="connsiteY694" fmla="*/ 3108744 h 6858000"/>
              <a:gd name="connsiteX695" fmla="*/ 0 w 7472601"/>
              <a:gd name="connsiteY695" fmla="*/ 3058059 h 6858000"/>
              <a:gd name="connsiteX696" fmla="*/ 7610 w 7472601"/>
              <a:gd name="connsiteY696" fmla="*/ 3047889 h 6858000"/>
              <a:gd name="connsiteX697" fmla="*/ 52419 w 7472601"/>
              <a:gd name="connsiteY697" fmla="*/ 2987479 h 6858000"/>
              <a:gd name="connsiteX698" fmla="*/ 59142 w 7472601"/>
              <a:gd name="connsiteY698" fmla="*/ 2978488 h 6858000"/>
              <a:gd name="connsiteX699" fmla="*/ 0 w 7472601"/>
              <a:gd name="connsiteY699" fmla="*/ 3015334 h 6858000"/>
              <a:gd name="connsiteX700" fmla="*/ 0 w 7472601"/>
              <a:gd name="connsiteY700" fmla="*/ 2914286 h 6858000"/>
              <a:gd name="connsiteX701" fmla="*/ 36383 w 7472601"/>
              <a:gd name="connsiteY701" fmla="*/ 2901128 h 6858000"/>
              <a:gd name="connsiteX702" fmla="*/ 156329 w 7472601"/>
              <a:gd name="connsiteY702" fmla="*/ 2840533 h 6858000"/>
              <a:gd name="connsiteX703" fmla="*/ 358355 w 7472601"/>
              <a:gd name="connsiteY703" fmla="*/ 2620471 h 6858000"/>
              <a:gd name="connsiteX704" fmla="*/ 510577 w 7472601"/>
              <a:gd name="connsiteY704" fmla="*/ 2501244 h 6858000"/>
              <a:gd name="connsiteX705" fmla="*/ 211967 w 7472601"/>
              <a:gd name="connsiteY705" fmla="*/ 2479171 h 6858000"/>
              <a:gd name="connsiteX706" fmla="*/ 0 w 7472601"/>
              <a:gd name="connsiteY706" fmla="*/ 2476398 h 6858000"/>
              <a:gd name="connsiteX707" fmla="*/ 0 w 7472601"/>
              <a:gd name="connsiteY707" fmla="*/ 2389189 h 6858000"/>
              <a:gd name="connsiteX708" fmla="*/ 103062 w 7472601"/>
              <a:gd name="connsiteY708" fmla="*/ 2389518 h 6858000"/>
              <a:gd name="connsiteX709" fmla="*/ 510734 w 7472601"/>
              <a:gd name="connsiteY709" fmla="*/ 2416201 h 6858000"/>
              <a:gd name="connsiteX710" fmla="*/ 279257 w 7472601"/>
              <a:gd name="connsiteY710" fmla="*/ 2092102 h 6858000"/>
              <a:gd name="connsiteX711" fmla="*/ 65265 w 7472601"/>
              <a:gd name="connsiteY711" fmla="*/ 2006049 h 6858000"/>
              <a:gd name="connsiteX712" fmla="*/ 0 w 7472601"/>
              <a:gd name="connsiteY712" fmla="*/ 1982532 h 6858000"/>
              <a:gd name="connsiteX713" fmla="*/ 0 w 7472601"/>
              <a:gd name="connsiteY713" fmla="*/ 1912789 h 6858000"/>
              <a:gd name="connsiteX714" fmla="*/ 97460 w 7472601"/>
              <a:gd name="connsiteY714" fmla="*/ 1953725 h 6858000"/>
              <a:gd name="connsiteX715" fmla="*/ 221272 w 7472601"/>
              <a:gd name="connsiteY715" fmla="*/ 1980766 h 6858000"/>
              <a:gd name="connsiteX716" fmla="*/ 116765 w 7472601"/>
              <a:gd name="connsiteY716" fmla="*/ 1911033 h 6858000"/>
              <a:gd name="connsiteX717" fmla="*/ 16405 w 7472601"/>
              <a:gd name="connsiteY717" fmla="*/ 1803412 h 6858000"/>
              <a:gd name="connsiteX718" fmla="*/ 0 w 7472601"/>
              <a:gd name="connsiteY718" fmla="*/ 1784777 h 6858000"/>
              <a:gd name="connsiteX719" fmla="*/ 0 w 7472601"/>
              <a:gd name="connsiteY719" fmla="*/ 1740082 h 6858000"/>
              <a:gd name="connsiteX720" fmla="*/ 39394 w 7472601"/>
              <a:gd name="connsiteY720" fmla="*/ 1784856 h 6858000"/>
              <a:gd name="connsiteX721" fmla="*/ 135813 w 7472601"/>
              <a:gd name="connsiteY721" fmla="*/ 1888838 h 6858000"/>
              <a:gd name="connsiteX722" fmla="*/ 242575 w 7472601"/>
              <a:gd name="connsiteY722" fmla="*/ 1958841 h 6858000"/>
              <a:gd name="connsiteX723" fmla="*/ 82197 w 7472601"/>
              <a:gd name="connsiteY723" fmla="*/ 1754826 h 6858000"/>
              <a:gd name="connsiteX724" fmla="*/ 0 w 7472601"/>
              <a:gd name="connsiteY724" fmla="*/ 1679650 h 6858000"/>
              <a:gd name="connsiteX725" fmla="*/ 0 w 7472601"/>
              <a:gd name="connsiteY725" fmla="*/ 1602463 h 6858000"/>
              <a:gd name="connsiteX726" fmla="*/ 84689 w 7472601"/>
              <a:gd name="connsiteY726" fmla="*/ 1677442 h 6858000"/>
              <a:gd name="connsiteX727" fmla="*/ 298437 w 7472601"/>
              <a:gd name="connsiteY727" fmla="*/ 1968019 h 6858000"/>
              <a:gd name="connsiteX728" fmla="*/ 227269 w 7472601"/>
              <a:gd name="connsiteY728" fmla="*/ 1114064 h 6858000"/>
              <a:gd name="connsiteX729" fmla="*/ 248003 w 7472601"/>
              <a:gd name="connsiteY729" fmla="*/ 1089613 h 6858000"/>
              <a:gd name="connsiteX730" fmla="*/ 427020 w 7472601"/>
              <a:gd name="connsiteY730" fmla="*/ 1619803 h 6858000"/>
              <a:gd name="connsiteX731" fmla="*/ 340345 w 7472601"/>
              <a:gd name="connsiteY731" fmla="*/ 2027739 h 6858000"/>
              <a:gd name="connsiteX732" fmla="*/ 360865 w 7472601"/>
              <a:gd name="connsiteY732" fmla="*/ 2044827 h 6858000"/>
              <a:gd name="connsiteX733" fmla="*/ 560414 w 7472601"/>
              <a:gd name="connsiteY733" fmla="*/ 2421457 h 6858000"/>
              <a:gd name="connsiteX734" fmla="*/ 1359703 w 7472601"/>
              <a:gd name="connsiteY734" fmla="*/ 2578554 h 6858000"/>
              <a:gd name="connsiteX735" fmla="*/ 1359422 w 7472601"/>
              <a:gd name="connsiteY735" fmla="*/ 2577994 h 6858000"/>
              <a:gd name="connsiteX736" fmla="*/ 828701 w 7472601"/>
              <a:gd name="connsiteY736" fmla="*/ 1839520 h 6858000"/>
              <a:gd name="connsiteX737" fmla="*/ 494427 w 7472601"/>
              <a:gd name="connsiteY737" fmla="*/ 1092333 h 6858000"/>
              <a:gd name="connsiteX738" fmla="*/ 506322 w 7472601"/>
              <a:gd name="connsiteY738" fmla="*/ 1020997 h 6858000"/>
              <a:gd name="connsiteX739" fmla="*/ 4570198 w 7472601"/>
              <a:gd name="connsiteY739" fmla="*/ 978081 h 6858000"/>
              <a:gd name="connsiteX740" fmla="*/ 4523691 w 7472601"/>
              <a:gd name="connsiteY740" fmla="*/ 1127776 h 6858000"/>
              <a:gd name="connsiteX741" fmla="*/ 4509875 w 7472601"/>
              <a:gd name="connsiteY741" fmla="*/ 1167552 h 6858000"/>
              <a:gd name="connsiteX742" fmla="*/ 4478168 w 7472601"/>
              <a:gd name="connsiteY742" fmla="*/ 1260735 h 6858000"/>
              <a:gd name="connsiteX743" fmla="*/ 4409309 w 7472601"/>
              <a:gd name="connsiteY743" fmla="*/ 1666996 h 6858000"/>
              <a:gd name="connsiteX744" fmla="*/ 4370031 w 7472601"/>
              <a:gd name="connsiteY744" fmla="*/ 1955666 h 6858000"/>
              <a:gd name="connsiteX745" fmla="*/ 4570198 w 7472601"/>
              <a:gd name="connsiteY745" fmla="*/ 978081 h 6858000"/>
              <a:gd name="connsiteX746" fmla="*/ 4557898 w 7472601"/>
              <a:gd name="connsiteY746" fmla="*/ 900011 h 6858000"/>
              <a:gd name="connsiteX747" fmla="*/ 4344840 w 7472601"/>
              <a:gd name="connsiteY747" fmla="*/ 1922038 h 6858000"/>
              <a:gd name="connsiteX748" fmla="*/ 4378710 w 7472601"/>
              <a:gd name="connsiteY748" fmla="*/ 1665516 h 6858000"/>
              <a:gd name="connsiteX749" fmla="*/ 4448798 w 7472601"/>
              <a:gd name="connsiteY749" fmla="*/ 1253024 h 6858000"/>
              <a:gd name="connsiteX750" fmla="*/ 4480315 w 7472601"/>
              <a:gd name="connsiteY750" fmla="*/ 1158454 h 6858000"/>
              <a:gd name="connsiteX751" fmla="*/ 4494133 w 7472601"/>
              <a:gd name="connsiteY751" fmla="*/ 1118676 h 6858000"/>
              <a:gd name="connsiteX752" fmla="*/ 4557898 w 7472601"/>
              <a:gd name="connsiteY752" fmla="*/ 900011 h 6858000"/>
              <a:gd name="connsiteX753" fmla="*/ 5870151 w 7472601"/>
              <a:gd name="connsiteY753" fmla="*/ 898890 h 6858000"/>
              <a:gd name="connsiteX754" fmla="*/ 5861335 w 7472601"/>
              <a:gd name="connsiteY754" fmla="*/ 899177 h 6858000"/>
              <a:gd name="connsiteX755" fmla="*/ 5843702 w 7472601"/>
              <a:gd name="connsiteY755" fmla="*/ 899748 h 6858000"/>
              <a:gd name="connsiteX756" fmla="*/ 5651107 w 7472601"/>
              <a:gd name="connsiteY756" fmla="*/ 920306 h 6858000"/>
              <a:gd name="connsiteX757" fmla="*/ 5459407 w 7472601"/>
              <a:gd name="connsiteY757" fmla="*/ 940975 h 6858000"/>
              <a:gd name="connsiteX758" fmla="*/ 5374846 w 7472601"/>
              <a:gd name="connsiteY758" fmla="*/ 941988 h 6858000"/>
              <a:gd name="connsiteX759" fmla="*/ 5256105 w 7472601"/>
              <a:gd name="connsiteY759" fmla="*/ 945632 h 6858000"/>
              <a:gd name="connsiteX760" fmla="*/ 5107071 w 7472601"/>
              <a:gd name="connsiteY760" fmla="*/ 969720 h 6858000"/>
              <a:gd name="connsiteX761" fmla="*/ 4998681 w 7472601"/>
              <a:gd name="connsiteY761" fmla="*/ 988771 h 6858000"/>
              <a:gd name="connsiteX762" fmla="*/ 5870151 w 7472601"/>
              <a:gd name="connsiteY762" fmla="*/ 898890 h 6858000"/>
              <a:gd name="connsiteX763" fmla="*/ 5504425 w 7472601"/>
              <a:gd name="connsiteY763" fmla="*/ 848067 h 6858000"/>
              <a:gd name="connsiteX764" fmla="*/ 4968849 w 7472601"/>
              <a:gd name="connsiteY764" fmla="*/ 962318 h 6858000"/>
              <a:gd name="connsiteX765" fmla="*/ 5104039 w 7472601"/>
              <a:gd name="connsiteY765" fmla="*/ 940634 h 6858000"/>
              <a:gd name="connsiteX766" fmla="*/ 5256311 w 7472601"/>
              <a:gd name="connsiteY766" fmla="*/ 916490 h 6858000"/>
              <a:gd name="connsiteX767" fmla="*/ 5377381 w 7472601"/>
              <a:gd name="connsiteY767" fmla="*/ 912671 h 6858000"/>
              <a:gd name="connsiteX768" fmla="*/ 5460148 w 7472601"/>
              <a:gd name="connsiteY768" fmla="*/ 911442 h 6858000"/>
              <a:gd name="connsiteX769" fmla="*/ 5648971 w 7472601"/>
              <a:gd name="connsiteY769" fmla="*/ 891331 h 6858000"/>
              <a:gd name="connsiteX770" fmla="*/ 5844807 w 7472601"/>
              <a:gd name="connsiteY770" fmla="*/ 870718 h 6858000"/>
              <a:gd name="connsiteX771" fmla="*/ 5862975 w 7472601"/>
              <a:gd name="connsiteY771" fmla="*/ 869756 h 6858000"/>
              <a:gd name="connsiteX772" fmla="*/ 5920887 w 7472601"/>
              <a:gd name="connsiteY772" fmla="*/ 865929 h 6858000"/>
              <a:gd name="connsiteX773" fmla="*/ 5504425 w 7472601"/>
              <a:gd name="connsiteY773" fmla="*/ 848067 h 6858000"/>
              <a:gd name="connsiteX774" fmla="*/ 3607114 w 7472601"/>
              <a:gd name="connsiteY774" fmla="*/ 467441 h 6858000"/>
              <a:gd name="connsiteX775" fmla="*/ 3296242 w 7472601"/>
              <a:gd name="connsiteY775" fmla="*/ 807991 h 6858000"/>
              <a:gd name="connsiteX776" fmla="*/ 3174674 w 7472601"/>
              <a:gd name="connsiteY776" fmla="*/ 919759 h 6858000"/>
              <a:gd name="connsiteX777" fmla="*/ 3042978 w 7472601"/>
              <a:gd name="connsiteY777" fmla="*/ 1054894 h 6858000"/>
              <a:gd name="connsiteX778" fmla="*/ 2968914 w 7472601"/>
              <a:gd name="connsiteY778" fmla="*/ 1133756 h 6858000"/>
              <a:gd name="connsiteX779" fmla="*/ 3103823 w 7472601"/>
              <a:gd name="connsiteY779" fmla="*/ 1026814 h 6858000"/>
              <a:gd name="connsiteX780" fmla="*/ 3607114 w 7472601"/>
              <a:gd name="connsiteY780" fmla="*/ 467441 h 6858000"/>
              <a:gd name="connsiteX781" fmla="*/ 3744487 w 7472601"/>
              <a:gd name="connsiteY781" fmla="*/ 383136 h 6858000"/>
              <a:gd name="connsiteX782" fmla="*/ 3970213 w 7472601"/>
              <a:gd name="connsiteY782" fmla="*/ 995559 h 6858000"/>
              <a:gd name="connsiteX783" fmla="*/ 3744487 w 7472601"/>
              <a:gd name="connsiteY783" fmla="*/ 383136 h 6858000"/>
              <a:gd name="connsiteX784" fmla="*/ 3624562 w 7472601"/>
              <a:gd name="connsiteY784" fmla="*/ 367041 h 6858000"/>
              <a:gd name="connsiteX785" fmla="*/ 3489712 w 7472601"/>
              <a:gd name="connsiteY785" fmla="*/ 485386 h 6858000"/>
              <a:gd name="connsiteX786" fmla="*/ 3182994 w 7472601"/>
              <a:gd name="connsiteY786" fmla="*/ 828265 h 6858000"/>
              <a:gd name="connsiteX787" fmla="*/ 2892114 w 7472601"/>
              <a:gd name="connsiteY787" fmla="*/ 1172635 h 6858000"/>
              <a:gd name="connsiteX788" fmla="*/ 3021459 w 7472601"/>
              <a:gd name="connsiteY788" fmla="*/ 1035385 h 6858000"/>
              <a:gd name="connsiteX789" fmla="*/ 3153873 w 7472601"/>
              <a:gd name="connsiteY789" fmla="*/ 898971 h 6858000"/>
              <a:gd name="connsiteX790" fmla="*/ 3276511 w 7472601"/>
              <a:gd name="connsiteY790" fmla="*/ 786423 h 6858000"/>
              <a:gd name="connsiteX791" fmla="*/ 3584154 w 7472601"/>
              <a:gd name="connsiteY791" fmla="*/ 448218 h 6858000"/>
              <a:gd name="connsiteX792" fmla="*/ 3624562 w 7472601"/>
              <a:gd name="connsiteY792" fmla="*/ 367041 h 6858000"/>
              <a:gd name="connsiteX793" fmla="*/ 3766672 w 7472601"/>
              <a:gd name="connsiteY793" fmla="*/ 359429 h 6858000"/>
              <a:gd name="connsiteX794" fmla="*/ 3996338 w 7472601"/>
              <a:gd name="connsiteY794" fmla="*/ 968237 h 6858000"/>
              <a:gd name="connsiteX795" fmla="*/ 3766672 w 7472601"/>
              <a:gd name="connsiteY795" fmla="*/ 359429 h 6858000"/>
              <a:gd name="connsiteX796" fmla="*/ 5805386 w 7472601"/>
              <a:gd name="connsiteY796" fmla="*/ 239240 h 6858000"/>
              <a:gd name="connsiteX797" fmla="*/ 5736947 w 7472601"/>
              <a:gd name="connsiteY797" fmla="*/ 261367 h 6858000"/>
              <a:gd name="connsiteX798" fmla="*/ 5427012 w 7472601"/>
              <a:gd name="connsiteY798" fmla="*/ 311272 h 6858000"/>
              <a:gd name="connsiteX799" fmla="*/ 5147818 w 7472601"/>
              <a:gd name="connsiteY799" fmla="*/ 322112 h 6858000"/>
              <a:gd name="connsiteX800" fmla="*/ 5060854 w 7472601"/>
              <a:gd name="connsiteY800" fmla="*/ 311882 h 6858000"/>
              <a:gd name="connsiteX801" fmla="*/ 4945989 w 7472601"/>
              <a:gd name="connsiteY801" fmla="*/ 300516 h 6858000"/>
              <a:gd name="connsiteX802" fmla="*/ 5410479 w 7472601"/>
              <a:gd name="connsiteY802" fmla="*/ 348434 h 6858000"/>
              <a:gd name="connsiteX803" fmla="*/ 5805386 w 7472601"/>
              <a:gd name="connsiteY803" fmla="*/ 239240 h 6858000"/>
              <a:gd name="connsiteX804" fmla="*/ 5905192 w 7472601"/>
              <a:gd name="connsiteY804" fmla="*/ 163079 h 6858000"/>
              <a:gd name="connsiteX805" fmla="*/ 5865655 w 7472601"/>
              <a:gd name="connsiteY805" fmla="*/ 171901 h 6858000"/>
              <a:gd name="connsiteX806" fmla="*/ 5259740 w 7472601"/>
              <a:gd name="connsiteY806" fmla="*/ 257013 h 6858000"/>
              <a:gd name="connsiteX807" fmla="*/ 5208466 w 7472601"/>
              <a:gd name="connsiteY807" fmla="*/ 257550 h 6858000"/>
              <a:gd name="connsiteX808" fmla="*/ 4980204 w 7472601"/>
              <a:gd name="connsiteY808" fmla="*/ 271903 h 6858000"/>
              <a:gd name="connsiteX809" fmla="*/ 5068068 w 7472601"/>
              <a:gd name="connsiteY809" fmla="*/ 282244 h 6858000"/>
              <a:gd name="connsiteX810" fmla="*/ 5153231 w 7472601"/>
              <a:gd name="connsiteY810" fmla="*/ 292240 h 6858000"/>
              <a:gd name="connsiteX811" fmla="*/ 5426491 w 7472601"/>
              <a:gd name="connsiteY811" fmla="*/ 281128 h 6858000"/>
              <a:gd name="connsiteX812" fmla="*/ 5731212 w 7472601"/>
              <a:gd name="connsiteY812" fmla="*/ 231951 h 6858000"/>
              <a:gd name="connsiteX813" fmla="*/ 5905192 w 7472601"/>
              <a:gd name="connsiteY813" fmla="*/ 163079 h 6858000"/>
              <a:gd name="connsiteX814" fmla="*/ 5944437 w 7472601"/>
              <a:gd name="connsiteY814" fmla="*/ 113829 h 6858000"/>
              <a:gd name="connsiteX815" fmla="*/ 5825032 w 7472601"/>
              <a:gd name="connsiteY815" fmla="*/ 146405 h 6858000"/>
              <a:gd name="connsiteX816" fmla="*/ 4955599 w 7472601"/>
              <a:gd name="connsiteY816" fmla="*/ 247008 h 6858000"/>
              <a:gd name="connsiteX817" fmla="*/ 5210104 w 7472601"/>
              <a:gd name="connsiteY817" fmla="*/ 228123 h 6858000"/>
              <a:gd name="connsiteX818" fmla="*/ 5261015 w 7472601"/>
              <a:gd name="connsiteY818" fmla="*/ 227087 h 6858000"/>
              <a:gd name="connsiteX819" fmla="*/ 5861181 w 7472601"/>
              <a:gd name="connsiteY819" fmla="*/ 143093 h 6858000"/>
              <a:gd name="connsiteX820" fmla="*/ 5961252 w 7472601"/>
              <a:gd name="connsiteY820" fmla="*/ 114820 h 6858000"/>
              <a:gd name="connsiteX821" fmla="*/ 5944437 w 7472601"/>
              <a:gd name="connsiteY821" fmla="*/ 113829 h 6858000"/>
              <a:gd name="connsiteX822" fmla="*/ 3882765 w 7472601"/>
              <a:gd name="connsiteY822" fmla="*/ 0 h 6858000"/>
              <a:gd name="connsiteX823" fmla="*/ 3995099 w 7472601"/>
              <a:gd name="connsiteY823" fmla="*/ 0 h 6858000"/>
              <a:gd name="connsiteX824" fmla="*/ 4163818 w 7472601"/>
              <a:gd name="connsiteY824" fmla="*/ 234104 h 6858000"/>
              <a:gd name="connsiteX825" fmla="*/ 4172099 w 7472601"/>
              <a:gd name="connsiteY825" fmla="*/ 234207 h 6858000"/>
              <a:gd name="connsiteX826" fmla="*/ 4784282 w 7472601"/>
              <a:gd name="connsiteY826" fmla="*/ 276561 h 6858000"/>
              <a:gd name="connsiteX827" fmla="*/ 4801687 w 7472601"/>
              <a:gd name="connsiteY827" fmla="*/ 267764 h 6858000"/>
              <a:gd name="connsiteX828" fmla="*/ 6082788 w 7472601"/>
              <a:gd name="connsiteY828" fmla="*/ 64119 h 6858000"/>
              <a:gd name="connsiteX829" fmla="*/ 6099442 w 7472601"/>
              <a:gd name="connsiteY829" fmla="*/ 82568 h 6858000"/>
              <a:gd name="connsiteX830" fmla="*/ 4804137 w 7472601"/>
              <a:gd name="connsiteY830" fmla="*/ 320931 h 6858000"/>
              <a:gd name="connsiteX831" fmla="*/ 4227047 w 7472601"/>
              <a:gd name="connsiteY831" fmla="*/ 313415 h 6858000"/>
              <a:gd name="connsiteX832" fmla="*/ 4346041 w 7472601"/>
              <a:gd name="connsiteY832" fmla="*/ 456086 h 6858000"/>
              <a:gd name="connsiteX833" fmla="*/ 4870967 w 7472601"/>
              <a:gd name="connsiteY833" fmla="*/ 963061 h 6858000"/>
              <a:gd name="connsiteX834" fmla="*/ 4889647 w 7472601"/>
              <a:gd name="connsiteY834" fmla="*/ 957147 h 6858000"/>
              <a:gd name="connsiteX835" fmla="*/ 5422504 w 7472601"/>
              <a:gd name="connsiteY835" fmla="*/ 805191 h 6858000"/>
              <a:gd name="connsiteX836" fmla="*/ 6087656 w 7472601"/>
              <a:gd name="connsiteY836" fmla="*/ 826703 h 6858000"/>
              <a:gd name="connsiteX837" fmla="*/ 6058717 w 7472601"/>
              <a:gd name="connsiteY837" fmla="*/ 865992 h 6858000"/>
              <a:gd name="connsiteX838" fmla="*/ 4974153 w 7472601"/>
              <a:gd name="connsiteY838" fmla="*/ 1045456 h 6858000"/>
              <a:gd name="connsiteX839" fmla="*/ 5627835 w 7472601"/>
              <a:gd name="connsiteY839" fmla="*/ 1472077 h 6858000"/>
              <a:gd name="connsiteX840" fmla="*/ 5629817 w 7472601"/>
              <a:gd name="connsiteY840" fmla="*/ 1471412 h 6858000"/>
              <a:gd name="connsiteX841" fmla="*/ 5634124 w 7472601"/>
              <a:gd name="connsiteY841" fmla="*/ 1470572 h 6858000"/>
              <a:gd name="connsiteX842" fmla="*/ 5755832 w 7472601"/>
              <a:gd name="connsiteY842" fmla="*/ 1383886 h 6858000"/>
              <a:gd name="connsiteX843" fmla="*/ 6014186 w 7472601"/>
              <a:gd name="connsiteY843" fmla="*/ 1279799 h 6858000"/>
              <a:gd name="connsiteX844" fmla="*/ 6901619 w 7472601"/>
              <a:gd name="connsiteY844" fmla="*/ 1047874 h 6858000"/>
              <a:gd name="connsiteX845" fmla="*/ 6931566 w 7472601"/>
              <a:gd name="connsiteY845" fmla="*/ 1062034 h 6858000"/>
              <a:gd name="connsiteX846" fmla="*/ 5790982 w 7472601"/>
              <a:gd name="connsiteY846" fmla="*/ 1561380 h 6858000"/>
              <a:gd name="connsiteX847" fmla="*/ 6188971 w 7472601"/>
              <a:gd name="connsiteY847" fmla="*/ 1755168 h 6858000"/>
              <a:gd name="connsiteX848" fmla="*/ 6202446 w 7472601"/>
              <a:gd name="connsiteY848" fmla="*/ 1752268 h 6858000"/>
              <a:gd name="connsiteX849" fmla="*/ 7179560 w 7472601"/>
              <a:gd name="connsiteY849" fmla="*/ 1467551 h 6858000"/>
              <a:gd name="connsiteX850" fmla="*/ 7158730 w 7472601"/>
              <a:gd name="connsiteY850" fmla="*/ 1507835 h 6858000"/>
              <a:gd name="connsiteX851" fmla="*/ 6326959 w 7472601"/>
              <a:gd name="connsiteY851" fmla="*/ 1817686 h 6858000"/>
              <a:gd name="connsiteX852" fmla="*/ 6537433 w 7472601"/>
              <a:gd name="connsiteY852" fmla="*/ 1907790 h 6858000"/>
              <a:gd name="connsiteX853" fmla="*/ 6550221 w 7472601"/>
              <a:gd name="connsiteY853" fmla="*/ 1910729 h 6858000"/>
              <a:gd name="connsiteX854" fmla="*/ 6964438 w 7472601"/>
              <a:gd name="connsiteY854" fmla="*/ 2209505 h 6858000"/>
              <a:gd name="connsiteX855" fmla="*/ 7367862 w 7472601"/>
              <a:gd name="connsiteY855" fmla="*/ 2806833 h 6858000"/>
              <a:gd name="connsiteX856" fmla="*/ 7364329 w 7472601"/>
              <a:gd name="connsiteY856" fmla="*/ 2826907 h 6858000"/>
              <a:gd name="connsiteX857" fmla="*/ 7290545 w 7472601"/>
              <a:gd name="connsiteY857" fmla="*/ 2850663 h 6858000"/>
              <a:gd name="connsiteX858" fmla="*/ 6472036 w 7472601"/>
              <a:gd name="connsiteY858" fmla="*/ 1959003 h 6858000"/>
              <a:gd name="connsiteX859" fmla="*/ 5792897 w 7472601"/>
              <a:gd name="connsiteY859" fmla="*/ 1647747 h 6858000"/>
              <a:gd name="connsiteX860" fmla="*/ 5842751 w 7472601"/>
              <a:gd name="connsiteY860" fmla="*/ 1816112 h 6858000"/>
              <a:gd name="connsiteX861" fmla="*/ 5847424 w 7472601"/>
              <a:gd name="connsiteY861" fmla="*/ 1815776 h 6858000"/>
              <a:gd name="connsiteX862" fmla="*/ 6399821 w 7472601"/>
              <a:gd name="connsiteY862" fmla="*/ 2344799 h 6858000"/>
              <a:gd name="connsiteX863" fmla="*/ 6323232 w 7472601"/>
              <a:gd name="connsiteY863" fmla="*/ 2389634 h 6858000"/>
              <a:gd name="connsiteX864" fmla="*/ 5942958 w 7472601"/>
              <a:gd name="connsiteY864" fmla="*/ 2077708 h 6858000"/>
              <a:gd name="connsiteX865" fmla="*/ 5921559 w 7472601"/>
              <a:gd name="connsiteY865" fmla="*/ 2378596 h 6858000"/>
              <a:gd name="connsiteX866" fmla="*/ 5817651 w 7472601"/>
              <a:gd name="connsiteY866" fmla="*/ 3023919 h 6858000"/>
              <a:gd name="connsiteX867" fmla="*/ 5729634 w 7472601"/>
              <a:gd name="connsiteY867" fmla="*/ 3051849 h 6858000"/>
              <a:gd name="connsiteX868" fmla="*/ 5611018 w 7472601"/>
              <a:gd name="connsiteY868" fmla="*/ 2316769 h 6858000"/>
              <a:gd name="connsiteX869" fmla="*/ 5687608 w 7472601"/>
              <a:gd name="connsiteY869" fmla="*/ 2039972 h 6858000"/>
              <a:gd name="connsiteX870" fmla="*/ 5657554 w 7472601"/>
              <a:gd name="connsiteY870" fmla="*/ 1576445 h 6858000"/>
              <a:gd name="connsiteX871" fmla="*/ 5150475 w 7472601"/>
              <a:gd name="connsiteY871" fmla="*/ 1274012 h 6858000"/>
              <a:gd name="connsiteX872" fmla="*/ 5349142 w 7472601"/>
              <a:gd name="connsiteY872" fmla="*/ 2204405 h 6858000"/>
              <a:gd name="connsiteX873" fmla="*/ 5262214 w 7472601"/>
              <a:gd name="connsiteY873" fmla="*/ 2233836 h 6858000"/>
              <a:gd name="connsiteX874" fmla="*/ 4981539 w 7472601"/>
              <a:gd name="connsiteY874" fmla="*/ 1542201 h 6858000"/>
              <a:gd name="connsiteX875" fmla="*/ 4958461 w 7472601"/>
              <a:gd name="connsiteY875" fmla="*/ 1136957 h 6858000"/>
              <a:gd name="connsiteX876" fmla="*/ 4655015 w 7472601"/>
              <a:gd name="connsiteY876" fmla="*/ 891426 h 6858000"/>
              <a:gd name="connsiteX877" fmla="*/ 4348002 w 7472601"/>
              <a:gd name="connsiteY877" fmla="*/ 2205895 h 6858000"/>
              <a:gd name="connsiteX878" fmla="*/ 4262250 w 7472601"/>
              <a:gd name="connsiteY878" fmla="*/ 2219972 h 6858000"/>
              <a:gd name="connsiteX879" fmla="*/ 4550611 w 7472601"/>
              <a:gd name="connsiteY879" fmla="*/ 817540 h 6858000"/>
              <a:gd name="connsiteX880" fmla="*/ 4564418 w 7472601"/>
              <a:gd name="connsiteY880" fmla="*/ 808293 h 6858000"/>
              <a:gd name="connsiteX881" fmla="*/ 4266388 w 7472601"/>
              <a:gd name="connsiteY881" fmla="*/ 500083 h 6858000"/>
              <a:gd name="connsiteX882" fmla="*/ 4032842 w 7472601"/>
              <a:gd name="connsiteY882" fmla="*/ 211809 h 6858000"/>
              <a:gd name="connsiteX883" fmla="*/ 3882765 w 7472601"/>
              <a:gd name="connsiteY883" fmla="*/ 0 h 6858000"/>
              <a:gd name="connsiteX884" fmla="*/ 3721337 w 7472601"/>
              <a:gd name="connsiteY884" fmla="*/ 0 h 6858000"/>
              <a:gd name="connsiteX885" fmla="*/ 3797544 w 7472601"/>
              <a:gd name="connsiteY885" fmla="*/ 0 h 6858000"/>
              <a:gd name="connsiteX886" fmla="*/ 3775734 w 7472601"/>
              <a:gd name="connsiteY886" fmla="*/ 95131 h 6858000"/>
              <a:gd name="connsiteX887" fmla="*/ 3724807 w 7472601"/>
              <a:gd name="connsiteY887" fmla="*/ 272257 h 6858000"/>
              <a:gd name="connsiteX888" fmla="*/ 3726844 w 7472601"/>
              <a:gd name="connsiteY888" fmla="*/ 282988 h 6858000"/>
              <a:gd name="connsiteX889" fmla="*/ 3742664 w 7472601"/>
              <a:gd name="connsiteY889" fmla="*/ 279918 h 6858000"/>
              <a:gd name="connsiteX890" fmla="*/ 4103910 w 7472601"/>
              <a:gd name="connsiteY890" fmla="*/ 1161917 h 6858000"/>
              <a:gd name="connsiteX891" fmla="*/ 4020269 w 7472601"/>
              <a:gd name="connsiteY891" fmla="*/ 1200406 h 6858000"/>
              <a:gd name="connsiteX892" fmla="*/ 3674882 w 7472601"/>
              <a:gd name="connsiteY892" fmla="*/ 488524 h 6858000"/>
              <a:gd name="connsiteX893" fmla="*/ 3132682 w 7472601"/>
              <a:gd name="connsiteY893" fmla="*/ 1072284 h 6858000"/>
              <a:gd name="connsiteX894" fmla="*/ 2716346 w 7472601"/>
              <a:gd name="connsiteY894" fmla="*/ 1276376 h 6858000"/>
              <a:gd name="connsiteX895" fmla="*/ 2716772 w 7472601"/>
              <a:gd name="connsiteY895" fmla="*/ 1255462 h 6858000"/>
              <a:gd name="connsiteX896" fmla="*/ 3471096 w 7472601"/>
              <a:gd name="connsiteY896" fmla="*/ 437072 h 6858000"/>
              <a:gd name="connsiteX897" fmla="*/ 3639057 w 7472601"/>
              <a:gd name="connsiteY897" fmla="*/ 286334 h 6858000"/>
              <a:gd name="connsiteX898" fmla="*/ 3640309 w 7472601"/>
              <a:gd name="connsiteY898" fmla="*/ 284664 h 6858000"/>
              <a:gd name="connsiteX899" fmla="*/ 3646022 w 7472601"/>
              <a:gd name="connsiteY899" fmla="*/ 276711 h 6858000"/>
              <a:gd name="connsiteX900" fmla="*/ 3707943 w 7472601"/>
              <a:gd name="connsiteY900" fmla="*/ 65958 h 6858000"/>
              <a:gd name="connsiteX901" fmla="*/ 3721337 w 7472601"/>
              <a:gd name="connsiteY901" fmla="*/ 0 h 6858000"/>
              <a:gd name="connsiteX902" fmla="*/ 2867960 w 7472601"/>
              <a:gd name="connsiteY902" fmla="*/ 0 h 6858000"/>
              <a:gd name="connsiteX903" fmla="*/ 2926351 w 7472601"/>
              <a:gd name="connsiteY903" fmla="*/ 0 h 6858000"/>
              <a:gd name="connsiteX904" fmla="*/ 2902823 w 7472601"/>
              <a:gd name="connsiteY904" fmla="*/ 262929 h 6858000"/>
              <a:gd name="connsiteX905" fmla="*/ 2940663 w 7472601"/>
              <a:gd name="connsiteY905" fmla="*/ 140884 h 6858000"/>
              <a:gd name="connsiteX906" fmla="*/ 2947039 w 7472601"/>
              <a:gd name="connsiteY906" fmla="*/ 122524 h 6858000"/>
              <a:gd name="connsiteX907" fmla="*/ 2984316 w 7472601"/>
              <a:gd name="connsiteY907" fmla="*/ 0 h 6858000"/>
              <a:gd name="connsiteX908" fmla="*/ 3016114 w 7472601"/>
              <a:gd name="connsiteY908" fmla="*/ 0 h 6858000"/>
              <a:gd name="connsiteX909" fmla="*/ 2979949 w 7472601"/>
              <a:gd name="connsiteY909" fmla="*/ 119274 h 6858000"/>
              <a:gd name="connsiteX910" fmla="*/ 3023879 w 7472601"/>
              <a:gd name="connsiteY910" fmla="*/ 0 h 6858000"/>
              <a:gd name="connsiteX911" fmla="*/ 3105400 w 7472601"/>
              <a:gd name="connsiteY911" fmla="*/ 0 h 6858000"/>
              <a:gd name="connsiteX912" fmla="*/ 3094669 w 7472601"/>
              <a:gd name="connsiteY912" fmla="*/ 30308 h 6858000"/>
              <a:gd name="connsiteX913" fmla="*/ 2901945 w 7472601"/>
              <a:gd name="connsiteY913" fmla="*/ 466538 h 6858000"/>
              <a:gd name="connsiteX914" fmla="*/ 2815209 w 7472601"/>
              <a:gd name="connsiteY914" fmla="*/ 497361 h 6858000"/>
              <a:gd name="connsiteX915" fmla="*/ 2844845 w 7472601"/>
              <a:gd name="connsiteY915" fmla="*/ 127638 h 6858000"/>
              <a:gd name="connsiteX916" fmla="*/ 2867960 w 7472601"/>
              <a:gd name="connsiteY916" fmla="*/ 0 h 6858000"/>
              <a:gd name="connsiteX917" fmla="*/ 1057230 w 7472601"/>
              <a:gd name="connsiteY917" fmla="*/ 0 h 6858000"/>
              <a:gd name="connsiteX918" fmla="*/ 1111003 w 7472601"/>
              <a:gd name="connsiteY918" fmla="*/ 0 h 6858000"/>
              <a:gd name="connsiteX919" fmla="*/ 1125553 w 7472601"/>
              <a:gd name="connsiteY919" fmla="*/ 52588 h 6858000"/>
              <a:gd name="connsiteX920" fmla="*/ 1304276 w 7472601"/>
              <a:gd name="connsiteY920" fmla="*/ 476275 h 6858000"/>
              <a:gd name="connsiteX921" fmla="*/ 1492066 w 7472601"/>
              <a:gd name="connsiteY921" fmla="*/ 886333 h 6858000"/>
              <a:gd name="connsiteX922" fmla="*/ 1423698 w 7472601"/>
              <a:gd name="connsiteY922" fmla="*/ 710817 h 6858000"/>
              <a:gd name="connsiteX923" fmla="*/ 1357609 w 7472601"/>
              <a:gd name="connsiteY923" fmla="*/ 532892 h 6858000"/>
              <a:gd name="connsiteX924" fmla="*/ 1309550 w 7472601"/>
              <a:gd name="connsiteY924" fmla="*/ 374031 h 6858000"/>
              <a:gd name="connsiteX925" fmla="*/ 1193673 w 7472601"/>
              <a:gd name="connsiteY925" fmla="*/ 49533 h 6858000"/>
              <a:gd name="connsiteX926" fmla="*/ 1164391 w 7472601"/>
              <a:gd name="connsiteY926" fmla="*/ 0 h 6858000"/>
              <a:gd name="connsiteX927" fmla="*/ 1200666 w 7472601"/>
              <a:gd name="connsiteY927" fmla="*/ 0 h 6858000"/>
              <a:gd name="connsiteX928" fmla="*/ 1223408 w 7472601"/>
              <a:gd name="connsiteY928" fmla="*/ 38996 h 6858000"/>
              <a:gd name="connsiteX929" fmla="*/ 1339635 w 7472601"/>
              <a:gd name="connsiteY929" fmla="*/ 365517 h 6858000"/>
              <a:gd name="connsiteX930" fmla="*/ 1387469 w 7472601"/>
              <a:gd name="connsiteY930" fmla="*/ 523079 h 6858000"/>
              <a:gd name="connsiteX931" fmla="*/ 1452685 w 7472601"/>
              <a:gd name="connsiteY931" fmla="*/ 699806 h 6858000"/>
              <a:gd name="connsiteX932" fmla="*/ 1492092 w 7472601"/>
              <a:gd name="connsiteY932" fmla="*/ 800424 h 6858000"/>
              <a:gd name="connsiteX933" fmla="*/ 1455302 w 7472601"/>
              <a:gd name="connsiteY933" fmla="*/ 632913 h 6858000"/>
              <a:gd name="connsiteX934" fmla="*/ 1222336 w 7472601"/>
              <a:gd name="connsiteY934" fmla="*/ 9480 h 6858000"/>
              <a:gd name="connsiteX935" fmla="*/ 1214634 w 7472601"/>
              <a:gd name="connsiteY935" fmla="*/ 0 h 6858000"/>
              <a:gd name="connsiteX936" fmla="*/ 1289827 w 7472601"/>
              <a:gd name="connsiteY936" fmla="*/ 0 h 6858000"/>
              <a:gd name="connsiteX937" fmla="*/ 1321076 w 7472601"/>
              <a:gd name="connsiteY937" fmla="*/ 59722 h 6858000"/>
              <a:gd name="connsiteX938" fmla="*/ 1512579 w 7472601"/>
              <a:gd name="connsiteY938" fmla="*/ 626441 h 6858000"/>
              <a:gd name="connsiteX939" fmla="*/ 1506076 w 7472601"/>
              <a:gd name="connsiteY939" fmla="*/ 1089289 h 6858000"/>
              <a:gd name="connsiteX940" fmla="*/ 1486346 w 7472601"/>
              <a:gd name="connsiteY940" fmla="*/ 1079919 h 6858000"/>
              <a:gd name="connsiteX941" fmla="*/ 1070511 w 7472601"/>
              <a:gd name="connsiteY941" fmla="*/ 48609 h 6858000"/>
              <a:gd name="connsiteX942" fmla="*/ 1057230 w 7472601"/>
              <a:gd name="connsiteY942" fmla="*/ 0 h 6858000"/>
              <a:gd name="connsiteX943" fmla="*/ 43151 w 7472601"/>
              <a:gd name="connsiteY943" fmla="*/ 0 h 6858000"/>
              <a:gd name="connsiteX944" fmla="*/ 95283 w 7472601"/>
              <a:gd name="connsiteY944" fmla="*/ 0 h 6858000"/>
              <a:gd name="connsiteX945" fmla="*/ 300708 w 7472601"/>
              <a:gd name="connsiteY945" fmla="*/ 154571 h 6858000"/>
              <a:gd name="connsiteX946" fmla="*/ 530414 w 7472601"/>
              <a:gd name="connsiteY946" fmla="*/ 354673 h 6858000"/>
              <a:gd name="connsiteX947" fmla="*/ 333785 w 7472601"/>
              <a:gd name="connsiteY947" fmla="*/ 161564 h 6858000"/>
              <a:gd name="connsiteX948" fmla="*/ 147005 w 7472601"/>
              <a:gd name="connsiteY948" fmla="*/ 0 h 6858000"/>
              <a:gd name="connsiteX949" fmla="*/ 272509 w 7472601"/>
              <a:gd name="connsiteY949" fmla="*/ 0 h 6858000"/>
              <a:gd name="connsiteX950" fmla="*/ 326276 w 7472601"/>
              <a:gd name="connsiteY950" fmla="*/ 45847 h 6858000"/>
              <a:gd name="connsiteX951" fmla="*/ 823759 w 7472601"/>
              <a:gd name="connsiteY951" fmla="*/ 574145 h 6858000"/>
              <a:gd name="connsiteX952" fmla="*/ 811254 w 7472601"/>
              <a:gd name="connsiteY952" fmla="*/ 665546 h 6858000"/>
              <a:gd name="connsiteX953" fmla="*/ 154042 w 7472601"/>
              <a:gd name="connsiteY953" fmla="*/ 261522 h 6858000"/>
              <a:gd name="connsiteX954" fmla="*/ 13550 w 7472601"/>
              <a:gd name="connsiteY954" fmla="*/ 158423 h 6858000"/>
              <a:gd name="connsiteX955" fmla="*/ 0 w 7472601"/>
              <a:gd name="connsiteY955" fmla="*/ 146618 h 6858000"/>
              <a:gd name="connsiteX956" fmla="*/ 0 w 7472601"/>
              <a:gd name="connsiteY956" fmla="*/ 59161 h 6858000"/>
              <a:gd name="connsiteX957" fmla="*/ 45427 w 7472601"/>
              <a:gd name="connsiteY957" fmla="*/ 101078 h 6858000"/>
              <a:gd name="connsiteX958" fmla="*/ 630103 w 7472601"/>
              <a:gd name="connsiteY958" fmla="*/ 485885 h 6858000"/>
              <a:gd name="connsiteX959" fmla="*/ 532040 w 7472601"/>
              <a:gd name="connsiteY959" fmla="*/ 399359 h 6858000"/>
              <a:gd name="connsiteX960" fmla="*/ 517618 w 7472601"/>
              <a:gd name="connsiteY960" fmla="*/ 385726 h 6858000"/>
              <a:gd name="connsiteX961" fmla="*/ 285074 w 7472601"/>
              <a:gd name="connsiteY961" fmla="*/ 182755 h 6858000"/>
              <a:gd name="connsiteX962" fmla="*/ 43151 w 7472601"/>
              <a:gd name="connsiteY962" fmla="*/ 0 h 6858000"/>
              <a:gd name="connsiteX0" fmla="*/ 369702 w 7472601"/>
              <a:gd name="connsiteY0" fmla="*/ 6712169 h 6858000"/>
              <a:gd name="connsiteX1" fmla="*/ 366575 w 7472601"/>
              <a:gd name="connsiteY1" fmla="*/ 6715556 h 6858000"/>
              <a:gd name="connsiteX2" fmla="*/ 371637 w 7472601"/>
              <a:gd name="connsiteY2" fmla="*/ 6713954 h 6858000"/>
              <a:gd name="connsiteX3" fmla="*/ 369702 w 7472601"/>
              <a:gd name="connsiteY3" fmla="*/ 6712169 h 6858000"/>
              <a:gd name="connsiteX4" fmla="*/ 7088673 w 7472601"/>
              <a:gd name="connsiteY4" fmla="*/ 6610396 h 6858000"/>
              <a:gd name="connsiteX5" fmla="*/ 7440138 w 7472601"/>
              <a:gd name="connsiteY5" fmla="*/ 6622648 h 6858000"/>
              <a:gd name="connsiteX6" fmla="*/ 7467600 w 7472601"/>
              <a:gd name="connsiteY6" fmla="*/ 6628217 h 6858000"/>
              <a:gd name="connsiteX7" fmla="*/ 7467600 w 7472601"/>
              <a:gd name="connsiteY7" fmla="*/ 6668575 h 6858000"/>
              <a:gd name="connsiteX8" fmla="*/ 7392322 w 7472601"/>
              <a:gd name="connsiteY8" fmla="*/ 6658238 h 6858000"/>
              <a:gd name="connsiteX9" fmla="*/ 7467600 w 7472601"/>
              <a:gd name="connsiteY9" fmla="*/ 6683873 h 6858000"/>
              <a:gd name="connsiteX10" fmla="*/ 7467600 w 7472601"/>
              <a:gd name="connsiteY10" fmla="*/ 6714215 h 6858000"/>
              <a:gd name="connsiteX11" fmla="*/ 7447383 w 7472601"/>
              <a:gd name="connsiteY11" fmla="*/ 6707202 h 6858000"/>
              <a:gd name="connsiteX12" fmla="*/ 7289862 w 7472601"/>
              <a:gd name="connsiteY12" fmla="*/ 6659827 h 6858000"/>
              <a:gd name="connsiteX13" fmla="*/ 7434024 w 7472601"/>
              <a:gd name="connsiteY13" fmla="*/ 6722130 h 6858000"/>
              <a:gd name="connsiteX14" fmla="*/ 7467600 w 7472601"/>
              <a:gd name="connsiteY14" fmla="*/ 6736157 h 6858000"/>
              <a:gd name="connsiteX15" fmla="*/ 7467600 w 7472601"/>
              <a:gd name="connsiteY15" fmla="*/ 6767913 h 6858000"/>
              <a:gd name="connsiteX16" fmla="*/ 7392158 w 7472601"/>
              <a:gd name="connsiteY16" fmla="*/ 6771365 h 6858000"/>
              <a:gd name="connsiteX17" fmla="*/ 7467600 w 7472601"/>
              <a:gd name="connsiteY17" fmla="*/ 6805948 h 6858000"/>
              <a:gd name="connsiteX18" fmla="*/ 7467600 w 7472601"/>
              <a:gd name="connsiteY18" fmla="*/ 6831490 h 6858000"/>
              <a:gd name="connsiteX19" fmla="*/ 7410696 w 7472601"/>
              <a:gd name="connsiteY19" fmla="*/ 6803861 h 6858000"/>
              <a:gd name="connsiteX20" fmla="*/ 7088673 w 7472601"/>
              <a:gd name="connsiteY20" fmla="*/ 6610396 h 6858000"/>
              <a:gd name="connsiteX21" fmla="*/ 1019354 w 7472601"/>
              <a:gd name="connsiteY21" fmla="*/ 6315006 h 6858000"/>
              <a:gd name="connsiteX22" fmla="*/ 441046 w 7472601"/>
              <a:gd name="connsiteY22" fmla="*/ 6691153 h 6858000"/>
              <a:gd name="connsiteX23" fmla="*/ 1019354 w 7472601"/>
              <a:gd name="connsiteY23" fmla="*/ 6315006 h 6858000"/>
              <a:gd name="connsiteX24" fmla="*/ 991680 w 7472601"/>
              <a:gd name="connsiteY24" fmla="*/ 6298413 h 6858000"/>
              <a:gd name="connsiteX25" fmla="*/ 409060 w 7472601"/>
              <a:gd name="connsiteY25" fmla="*/ 6671470 h 6858000"/>
              <a:gd name="connsiteX26" fmla="*/ 991680 w 7472601"/>
              <a:gd name="connsiteY26" fmla="*/ 6298413 h 6858000"/>
              <a:gd name="connsiteX27" fmla="*/ 103333 w 7472601"/>
              <a:gd name="connsiteY27" fmla="*/ 5699602 h 6858000"/>
              <a:gd name="connsiteX28" fmla="*/ 233938 w 7472601"/>
              <a:gd name="connsiteY28" fmla="*/ 5809416 h 6858000"/>
              <a:gd name="connsiteX29" fmla="*/ 883580 w 7472601"/>
              <a:gd name="connsiteY29" fmla="*/ 6180710 h 6858000"/>
              <a:gd name="connsiteX30" fmla="*/ 487337 w 7472601"/>
              <a:gd name="connsiteY30" fmla="*/ 5950182 h 6858000"/>
              <a:gd name="connsiteX31" fmla="*/ 354051 w 7472601"/>
              <a:gd name="connsiteY31" fmla="*/ 5854912 h 6858000"/>
              <a:gd name="connsiteX32" fmla="*/ 195436 w 7472601"/>
              <a:gd name="connsiteY32" fmla="*/ 5755068 h 6858000"/>
              <a:gd name="connsiteX33" fmla="*/ 103333 w 7472601"/>
              <a:gd name="connsiteY33" fmla="*/ 5699602 h 6858000"/>
              <a:gd name="connsiteX34" fmla="*/ 5539432 w 7472601"/>
              <a:gd name="connsiteY34" fmla="*/ 5642928 h 6858000"/>
              <a:gd name="connsiteX35" fmla="*/ 5555462 w 7472601"/>
              <a:gd name="connsiteY35" fmla="*/ 5694454 h 6858000"/>
              <a:gd name="connsiteX36" fmla="*/ 5828270 w 7472601"/>
              <a:gd name="connsiteY36" fmla="*/ 6320663 h 6858000"/>
              <a:gd name="connsiteX37" fmla="*/ 5947416 w 7472601"/>
              <a:gd name="connsiteY37" fmla="*/ 6574846 h 6858000"/>
              <a:gd name="connsiteX38" fmla="*/ 5539432 w 7472601"/>
              <a:gd name="connsiteY38" fmla="*/ 5642928 h 6858000"/>
              <a:gd name="connsiteX39" fmla="*/ 51253 w 7472601"/>
              <a:gd name="connsiteY39" fmla="*/ 5631825 h 6858000"/>
              <a:gd name="connsiteX40" fmla="*/ 211622 w 7472601"/>
              <a:gd name="connsiteY40" fmla="*/ 5728803 h 6858000"/>
              <a:gd name="connsiteX41" fmla="*/ 371652 w 7472601"/>
              <a:gd name="connsiteY41" fmla="*/ 5829062 h 6858000"/>
              <a:gd name="connsiteX42" fmla="*/ 505903 w 7472601"/>
              <a:gd name="connsiteY42" fmla="*/ 5925221 h 6858000"/>
              <a:gd name="connsiteX43" fmla="*/ 899240 w 7472601"/>
              <a:gd name="connsiteY43" fmla="*/ 6153068 h 6858000"/>
              <a:gd name="connsiteX44" fmla="*/ 988114 w 7472601"/>
              <a:gd name="connsiteY44" fmla="*/ 6174204 h 6858000"/>
              <a:gd name="connsiteX45" fmla="*/ 845971 w 7472601"/>
              <a:gd name="connsiteY45" fmla="*/ 6067177 h 6858000"/>
              <a:gd name="connsiteX46" fmla="*/ 448057 w 7472601"/>
              <a:gd name="connsiteY46" fmla="*/ 5841376 h 6858000"/>
              <a:gd name="connsiteX47" fmla="*/ 51253 w 7472601"/>
              <a:gd name="connsiteY47" fmla="*/ 5631825 h 6858000"/>
              <a:gd name="connsiteX48" fmla="*/ 2606687 w 7472601"/>
              <a:gd name="connsiteY48" fmla="*/ 5630718 h 6858000"/>
              <a:gd name="connsiteX49" fmla="*/ 2645658 w 7472601"/>
              <a:gd name="connsiteY49" fmla="*/ 6640259 h 6858000"/>
              <a:gd name="connsiteX50" fmla="*/ 2606687 w 7472601"/>
              <a:gd name="connsiteY50" fmla="*/ 5630718 h 6858000"/>
              <a:gd name="connsiteX51" fmla="*/ 3642057 w 7472601"/>
              <a:gd name="connsiteY51" fmla="*/ 5573487 h 6858000"/>
              <a:gd name="connsiteX52" fmla="*/ 3632981 w 7472601"/>
              <a:gd name="connsiteY52" fmla="*/ 5579437 h 6858000"/>
              <a:gd name="connsiteX53" fmla="*/ 3382436 w 7472601"/>
              <a:gd name="connsiteY53" fmla="*/ 5952726 h 6858000"/>
              <a:gd name="connsiteX54" fmla="*/ 3191929 w 7472601"/>
              <a:gd name="connsiteY54" fmla="*/ 6662669 h 6858000"/>
              <a:gd name="connsiteX55" fmla="*/ 3369898 w 7472601"/>
              <a:gd name="connsiteY55" fmla="*/ 6081771 h 6858000"/>
              <a:gd name="connsiteX56" fmla="*/ 3642057 w 7472601"/>
              <a:gd name="connsiteY56" fmla="*/ 5573487 h 6858000"/>
              <a:gd name="connsiteX57" fmla="*/ 2650666 w 7472601"/>
              <a:gd name="connsiteY57" fmla="*/ 5530686 h 6858000"/>
              <a:gd name="connsiteX58" fmla="*/ 2650249 w 7472601"/>
              <a:gd name="connsiteY58" fmla="*/ 5532101 h 6858000"/>
              <a:gd name="connsiteX59" fmla="*/ 2663808 w 7472601"/>
              <a:gd name="connsiteY59" fmla="*/ 6535215 h 6858000"/>
              <a:gd name="connsiteX60" fmla="*/ 2665418 w 7472601"/>
              <a:gd name="connsiteY60" fmla="*/ 6132756 h 6858000"/>
              <a:gd name="connsiteX61" fmla="*/ 2650666 w 7472601"/>
              <a:gd name="connsiteY61" fmla="*/ 5530686 h 6858000"/>
              <a:gd name="connsiteX62" fmla="*/ 2680277 w 7472601"/>
              <a:gd name="connsiteY62" fmla="*/ 5479204 h 6858000"/>
              <a:gd name="connsiteX63" fmla="*/ 2678972 w 7472601"/>
              <a:gd name="connsiteY63" fmla="*/ 5481582 h 6858000"/>
              <a:gd name="connsiteX64" fmla="*/ 2696666 w 7472601"/>
              <a:gd name="connsiteY64" fmla="*/ 6133836 h 6858000"/>
              <a:gd name="connsiteX65" fmla="*/ 2695769 w 7472601"/>
              <a:gd name="connsiteY65" fmla="*/ 6390955 h 6858000"/>
              <a:gd name="connsiteX66" fmla="*/ 2739893 w 7472601"/>
              <a:gd name="connsiteY66" fmla="*/ 6108357 h 6858000"/>
              <a:gd name="connsiteX67" fmla="*/ 2680277 w 7472601"/>
              <a:gd name="connsiteY67" fmla="*/ 5479204 h 6858000"/>
              <a:gd name="connsiteX68" fmla="*/ 1132195 w 7472601"/>
              <a:gd name="connsiteY68" fmla="*/ 5467980 h 6858000"/>
              <a:gd name="connsiteX69" fmla="*/ 1679056 w 7472601"/>
              <a:gd name="connsiteY69" fmla="*/ 5516907 h 6858000"/>
              <a:gd name="connsiteX70" fmla="*/ 2128648 w 7472601"/>
              <a:gd name="connsiteY70" fmla="*/ 5474249 h 6858000"/>
              <a:gd name="connsiteX71" fmla="*/ 1825619 w 7472601"/>
              <a:gd name="connsiteY71" fmla="*/ 5478447 h 6858000"/>
              <a:gd name="connsiteX72" fmla="*/ 1737798 w 7472601"/>
              <a:gd name="connsiteY72" fmla="*/ 5483353 h 6858000"/>
              <a:gd name="connsiteX73" fmla="*/ 1132195 w 7472601"/>
              <a:gd name="connsiteY73" fmla="*/ 5467980 h 6858000"/>
              <a:gd name="connsiteX74" fmla="*/ 7454976 w 7472601"/>
              <a:gd name="connsiteY74" fmla="*/ 6318297 h 6858000"/>
              <a:gd name="connsiteX75" fmla="*/ 7467600 w 7472601"/>
              <a:gd name="connsiteY75" fmla="*/ 6012219 h 6858000"/>
              <a:gd name="connsiteX76" fmla="*/ 7356878 w 7472601"/>
              <a:gd name="connsiteY76" fmla="*/ 5981332 h 6858000"/>
              <a:gd name="connsiteX77" fmla="*/ 7467600 w 7472601"/>
              <a:gd name="connsiteY77" fmla="*/ 6117703 h 6858000"/>
              <a:gd name="connsiteX78" fmla="*/ 7467600 w 7472601"/>
              <a:gd name="connsiteY78" fmla="*/ 6163634 h 6858000"/>
              <a:gd name="connsiteX79" fmla="*/ 7448321 w 7472601"/>
              <a:gd name="connsiteY79" fmla="*/ 6190991 h 6858000"/>
              <a:gd name="connsiteX80" fmla="*/ 7467600 w 7472601"/>
              <a:gd name="connsiteY80" fmla="*/ 6221686 h 6858000"/>
              <a:gd name="connsiteX81" fmla="*/ 7467600 w 7472601"/>
              <a:gd name="connsiteY81" fmla="*/ 6334256 h 6858000"/>
              <a:gd name="connsiteX82" fmla="*/ 7454976 w 7472601"/>
              <a:gd name="connsiteY82" fmla="*/ 6318297 h 6858000"/>
              <a:gd name="connsiteX83" fmla="*/ 1456157 w 7472601"/>
              <a:gd name="connsiteY83" fmla="*/ 5371404 h 6858000"/>
              <a:gd name="connsiteX84" fmla="*/ 1244432 w 7472601"/>
              <a:gd name="connsiteY84" fmla="*/ 5385601 h 6858000"/>
              <a:gd name="connsiteX85" fmla="*/ 973990 w 7472601"/>
              <a:gd name="connsiteY85" fmla="*/ 5424940 h 6858000"/>
              <a:gd name="connsiteX86" fmla="*/ 1103809 w 7472601"/>
              <a:gd name="connsiteY86" fmla="*/ 5433720 h 6858000"/>
              <a:gd name="connsiteX87" fmla="*/ 1123454 w 7472601"/>
              <a:gd name="connsiteY87" fmla="*/ 5435727 h 6858000"/>
              <a:gd name="connsiteX88" fmla="*/ 1737017 w 7472601"/>
              <a:gd name="connsiteY88" fmla="*/ 5452183 h 6858000"/>
              <a:gd name="connsiteX89" fmla="*/ 1824397 w 7472601"/>
              <a:gd name="connsiteY89" fmla="*/ 5447757 h 6858000"/>
              <a:gd name="connsiteX90" fmla="*/ 2070059 w 7472601"/>
              <a:gd name="connsiteY90" fmla="*/ 5441660 h 6858000"/>
              <a:gd name="connsiteX91" fmla="*/ 1456157 w 7472601"/>
              <a:gd name="connsiteY91" fmla="*/ 5371404 h 6858000"/>
              <a:gd name="connsiteX92" fmla="*/ 4988186 w 7472601"/>
              <a:gd name="connsiteY92" fmla="*/ 5216467 h 6858000"/>
              <a:gd name="connsiteX93" fmla="*/ 4777334 w 7472601"/>
              <a:gd name="connsiteY93" fmla="*/ 5406072 h 6858000"/>
              <a:gd name="connsiteX94" fmla="*/ 4718341 w 7472601"/>
              <a:gd name="connsiteY94" fmla="*/ 5468043 h 6858000"/>
              <a:gd name="connsiteX95" fmla="*/ 4604655 w 7472601"/>
              <a:gd name="connsiteY95" fmla="*/ 5583434 h 6858000"/>
              <a:gd name="connsiteX96" fmla="*/ 4565074 w 7472601"/>
              <a:gd name="connsiteY96" fmla="*/ 5618550 h 6858000"/>
              <a:gd name="connsiteX97" fmla="*/ 4988186 w 7472601"/>
              <a:gd name="connsiteY97" fmla="*/ 5216467 h 6858000"/>
              <a:gd name="connsiteX98" fmla="*/ 4978032 w 7472601"/>
              <a:gd name="connsiteY98" fmla="*/ 5183809 h 6858000"/>
              <a:gd name="connsiteX99" fmla="*/ 4463413 w 7472601"/>
              <a:gd name="connsiteY99" fmla="*/ 5615162 h 6858000"/>
              <a:gd name="connsiteX100" fmla="*/ 4358134 w 7472601"/>
              <a:gd name="connsiteY100" fmla="*/ 5742791 h 6858000"/>
              <a:gd name="connsiteX101" fmla="*/ 4376219 w 7472601"/>
              <a:gd name="connsiteY101" fmla="*/ 5729027 h 6858000"/>
              <a:gd name="connsiteX102" fmla="*/ 4582340 w 7472601"/>
              <a:gd name="connsiteY102" fmla="*/ 5561037 h 6858000"/>
              <a:gd name="connsiteX103" fmla="*/ 4694684 w 7472601"/>
              <a:gd name="connsiteY103" fmla="*/ 5447098 h 6858000"/>
              <a:gd name="connsiteX104" fmla="*/ 4754123 w 7472601"/>
              <a:gd name="connsiteY104" fmla="*/ 5384643 h 6858000"/>
              <a:gd name="connsiteX105" fmla="*/ 4978032 w 7472601"/>
              <a:gd name="connsiteY105" fmla="*/ 5183809 h 6858000"/>
              <a:gd name="connsiteX106" fmla="*/ 1903353 w 7472601"/>
              <a:gd name="connsiteY106" fmla="*/ 5044827 h 6858000"/>
              <a:gd name="connsiteX107" fmla="*/ 1936931 w 7472601"/>
              <a:gd name="connsiteY107" fmla="*/ 5093954 h 6858000"/>
              <a:gd name="connsiteX108" fmla="*/ 2195868 w 7472601"/>
              <a:gd name="connsiteY108" fmla="*/ 5396574 h 6858000"/>
              <a:gd name="connsiteX109" fmla="*/ 2088852 w 7472601"/>
              <a:gd name="connsiteY109" fmla="*/ 5166123 h 6858000"/>
              <a:gd name="connsiteX110" fmla="*/ 1958241 w 7472601"/>
              <a:gd name="connsiteY110" fmla="*/ 5067955 h 6858000"/>
              <a:gd name="connsiteX111" fmla="*/ 1903353 w 7472601"/>
              <a:gd name="connsiteY111" fmla="*/ 5044827 h 6858000"/>
              <a:gd name="connsiteX112" fmla="*/ 1979378 w 7472601"/>
              <a:gd name="connsiteY112" fmla="*/ 4769504 h 6858000"/>
              <a:gd name="connsiteX113" fmla="*/ 2882120 w 7472601"/>
              <a:gd name="connsiteY113" fmla="*/ 5064547 h 6858000"/>
              <a:gd name="connsiteX114" fmla="*/ 2793103 w 7472601"/>
              <a:gd name="connsiteY114" fmla="*/ 5039699 h 6858000"/>
              <a:gd name="connsiteX115" fmla="*/ 2770041 w 7472601"/>
              <a:gd name="connsiteY115" fmla="*/ 5033634 h 6858000"/>
              <a:gd name="connsiteX116" fmla="*/ 1979378 w 7472601"/>
              <a:gd name="connsiteY116" fmla="*/ 4769504 h 6858000"/>
              <a:gd name="connsiteX117" fmla="*/ 1927410 w 7472601"/>
              <a:gd name="connsiteY117" fmla="*/ 4716164 h 6858000"/>
              <a:gd name="connsiteX118" fmla="*/ 1959587 w 7472601"/>
              <a:gd name="connsiteY118" fmla="*/ 4728849 h 6858000"/>
              <a:gd name="connsiteX119" fmla="*/ 2777707 w 7472601"/>
              <a:gd name="connsiteY119" fmla="*/ 5003991 h 6858000"/>
              <a:gd name="connsiteX120" fmla="*/ 2800768 w 7472601"/>
              <a:gd name="connsiteY120" fmla="*/ 5010056 h 6858000"/>
              <a:gd name="connsiteX121" fmla="*/ 2879408 w 7472601"/>
              <a:gd name="connsiteY121" fmla="*/ 5031590 h 6858000"/>
              <a:gd name="connsiteX122" fmla="*/ 2862295 w 7472601"/>
              <a:gd name="connsiteY122" fmla="*/ 5022958 h 6858000"/>
              <a:gd name="connsiteX123" fmla="*/ 2813343 w 7472601"/>
              <a:gd name="connsiteY123" fmla="*/ 4998369 h 6858000"/>
              <a:gd name="connsiteX124" fmla="*/ 2646245 w 7472601"/>
              <a:gd name="connsiteY124" fmla="*/ 4930999 h 6858000"/>
              <a:gd name="connsiteX125" fmla="*/ 1999243 w 7472601"/>
              <a:gd name="connsiteY125" fmla="*/ 4730524 h 6858000"/>
              <a:gd name="connsiteX126" fmla="*/ 1979527 w 7472601"/>
              <a:gd name="connsiteY126" fmla="*/ 4726651 h 6858000"/>
              <a:gd name="connsiteX127" fmla="*/ 1927410 w 7472601"/>
              <a:gd name="connsiteY127" fmla="*/ 4716164 h 6858000"/>
              <a:gd name="connsiteX128" fmla="*/ 1997014 w 7472601"/>
              <a:gd name="connsiteY128" fmla="*/ 4698007 h 6858000"/>
              <a:gd name="connsiteX129" fmla="*/ 2005458 w 7472601"/>
              <a:gd name="connsiteY129" fmla="*/ 4699540 h 6858000"/>
              <a:gd name="connsiteX130" fmla="*/ 2657186 w 7472601"/>
              <a:gd name="connsiteY130" fmla="*/ 4901687 h 6858000"/>
              <a:gd name="connsiteX131" fmla="*/ 2826662 w 7472601"/>
              <a:gd name="connsiteY131" fmla="*/ 4970362 h 6858000"/>
              <a:gd name="connsiteX132" fmla="*/ 2876100 w 7472601"/>
              <a:gd name="connsiteY132" fmla="*/ 4995397 h 6858000"/>
              <a:gd name="connsiteX133" fmla="*/ 3042600 w 7472601"/>
              <a:gd name="connsiteY133" fmla="*/ 5059532 h 6858000"/>
              <a:gd name="connsiteX134" fmla="*/ 1997014 w 7472601"/>
              <a:gd name="connsiteY134" fmla="*/ 4698007 h 6858000"/>
              <a:gd name="connsiteX135" fmla="*/ 2305292 w 7472601"/>
              <a:gd name="connsiteY135" fmla="*/ 4219492 h 6858000"/>
              <a:gd name="connsiteX136" fmla="*/ 3360922 w 7472601"/>
              <a:gd name="connsiteY136" fmla="*/ 4529373 h 6858000"/>
              <a:gd name="connsiteX137" fmla="*/ 3492420 w 7472601"/>
              <a:gd name="connsiteY137" fmla="*/ 4510145 h 6858000"/>
              <a:gd name="connsiteX138" fmla="*/ 3364086 w 7472601"/>
              <a:gd name="connsiteY138" fmla="*/ 4480340 h 6858000"/>
              <a:gd name="connsiteX139" fmla="*/ 3225818 w 7472601"/>
              <a:gd name="connsiteY139" fmla="*/ 4411822 h 6858000"/>
              <a:gd name="connsiteX140" fmla="*/ 3129696 w 7472601"/>
              <a:gd name="connsiteY140" fmla="*/ 4360704 h 6858000"/>
              <a:gd name="connsiteX141" fmla="*/ 2814545 w 7472601"/>
              <a:gd name="connsiteY141" fmla="*/ 4282955 h 6858000"/>
              <a:gd name="connsiteX142" fmla="*/ 2305292 w 7472601"/>
              <a:gd name="connsiteY142" fmla="*/ 4219492 h 6858000"/>
              <a:gd name="connsiteX143" fmla="*/ 2626982 w 7472601"/>
              <a:gd name="connsiteY143" fmla="*/ 4206450 h 6858000"/>
              <a:gd name="connsiteX144" fmla="*/ 2490617 w 7472601"/>
              <a:gd name="connsiteY144" fmla="*/ 4206951 h 6858000"/>
              <a:gd name="connsiteX145" fmla="*/ 2819869 w 7472601"/>
              <a:gd name="connsiteY145" fmla="*/ 4252936 h 6858000"/>
              <a:gd name="connsiteX146" fmla="*/ 3143018 w 7472601"/>
              <a:gd name="connsiteY146" fmla="*/ 4332698 h 6858000"/>
              <a:gd name="connsiteX147" fmla="*/ 3241520 w 7472601"/>
              <a:gd name="connsiteY147" fmla="*/ 4385112 h 6858000"/>
              <a:gd name="connsiteX148" fmla="*/ 3374575 w 7472601"/>
              <a:gd name="connsiteY148" fmla="*/ 4451517 h 6858000"/>
              <a:gd name="connsiteX149" fmla="*/ 3505221 w 7472601"/>
              <a:gd name="connsiteY149" fmla="*/ 4480757 h 6858000"/>
              <a:gd name="connsiteX150" fmla="*/ 2626982 w 7472601"/>
              <a:gd name="connsiteY150" fmla="*/ 4206450 h 6858000"/>
              <a:gd name="connsiteX151" fmla="*/ 1310106 w 7472601"/>
              <a:gd name="connsiteY151" fmla="*/ 3943217 h 6858000"/>
              <a:gd name="connsiteX152" fmla="*/ 854994 w 7472601"/>
              <a:gd name="connsiteY152" fmla="*/ 4399136 h 6858000"/>
              <a:gd name="connsiteX153" fmla="*/ 742462 w 7472601"/>
              <a:gd name="connsiteY153" fmla="*/ 4594648 h 6858000"/>
              <a:gd name="connsiteX154" fmla="*/ 820602 w 7472601"/>
              <a:gd name="connsiteY154" fmla="*/ 4485915 h 6858000"/>
              <a:gd name="connsiteX155" fmla="*/ 878295 w 7472601"/>
              <a:gd name="connsiteY155" fmla="*/ 4403594 h 6858000"/>
              <a:gd name="connsiteX156" fmla="*/ 1240607 w 7472601"/>
              <a:gd name="connsiteY156" fmla="*/ 4010401 h 6858000"/>
              <a:gd name="connsiteX157" fmla="*/ 1310106 w 7472601"/>
              <a:gd name="connsiteY157" fmla="*/ 3943217 h 6858000"/>
              <a:gd name="connsiteX158" fmla="*/ 1423113 w 7472601"/>
              <a:gd name="connsiteY158" fmla="*/ 3874565 h 6858000"/>
              <a:gd name="connsiteX159" fmla="*/ 1260565 w 7472601"/>
              <a:gd name="connsiteY159" fmla="*/ 4031982 h 6858000"/>
              <a:gd name="connsiteX160" fmla="*/ 901900 w 7472601"/>
              <a:gd name="connsiteY160" fmla="*/ 4421236 h 6858000"/>
              <a:gd name="connsiteX161" fmla="*/ 845044 w 7472601"/>
              <a:gd name="connsiteY161" fmla="*/ 4502436 h 6858000"/>
              <a:gd name="connsiteX162" fmla="*/ 685926 w 7472601"/>
              <a:gd name="connsiteY162" fmla="*/ 4703069 h 6858000"/>
              <a:gd name="connsiteX163" fmla="*/ 684248 w 7472601"/>
              <a:gd name="connsiteY163" fmla="*/ 4706721 h 6858000"/>
              <a:gd name="connsiteX164" fmla="*/ 1423113 w 7472601"/>
              <a:gd name="connsiteY164" fmla="*/ 3874565 h 6858000"/>
              <a:gd name="connsiteX165" fmla="*/ 3316479 w 7472601"/>
              <a:gd name="connsiteY165" fmla="*/ 3872136 h 6858000"/>
              <a:gd name="connsiteX166" fmla="*/ 3546806 w 7472601"/>
              <a:gd name="connsiteY166" fmla="*/ 4356139 h 6858000"/>
              <a:gd name="connsiteX167" fmla="*/ 3364433 w 7472601"/>
              <a:gd name="connsiteY167" fmla="*/ 3953121 h 6858000"/>
              <a:gd name="connsiteX168" fmla="*/ 3316479 w 7472601"/>
              <a:gd name="connsiteY168" fmla="*/ 3872136 h 6858000"/>
              <a:gd name="connsiteX169" fmla="*/ 3291335 w 7472601"/>
              <a:gd name="connsiteY169" fmla="*/ 3767420 h 6858000"/>
              <a:gd name="connsiteX170" fmla="*/ 3390805 w 7472601"/>
              <a:gd name="connsiteY170" fmla="*/ 3937163 h 6858000"/>
              <a:gd name="connsiteX171" fmla="*/ 3579062 w 7472601"/>
              <a:gd name="connsiteY171" fmla="*/ 4359040 h 6858000"/>
              <a:gd name="connsiteX172" fmla="*/ 3467355 w 7472601"/>
              <a:gd name="connsiteY172" fmla="*/ 3988130 h 6858000"/>
              <a:gd name="connsiteX173" fmla="*/ 3310753 w 7472601"/>
              <a:gd name="connsiteY173" fmla="*/ 3787140 h 6858000"/>
              <a:gd name="connsiteX174" fmla="*/ 3291335 w 7472601"/>
              <a:gd name="connsiteY174" fmla="*/ 3767420 h 6858000"/>
              <a:gd name="connsiteX175" fmla="*/ 1635889 w 7472601"/>
              <a:gd name="connsiteY175" fmla="*/ 3709494 h 6858000"/>
              <a:gd name="connsiteX176" fmla="*/ 1634800 w 7472601"/>
              <a:gd name="connsiteY176" fmla="*/ 3731111 h 6858000"/>
              <a:gd name="connsiteX177" fmla="*/ 1635889 w 7472601"/>
              <a:gd name="connsiteY177" fmla="*/ 3709494 h 6858000"/>
              <a:gd name="connsiteX178" fmla="*/ 1510397 w 7472601"/>
              <a:gd name="connsiteY178" fmla="*/ 3684705 h 6858000"/>
              <a:gd name="connsiteX179" fmla="*/ 1146550 w 7472601"/>
              <a:gd name="connsiteY179" fmla="*/ 3802012 h 6858000"/>
              <a:gd name="connsiteX180" fmla="*/ 698834 w 7472601"/>
              <a:gd name="connsiteY180" fmla="*/ 3952272 h 6858000"/>
              <a:gd name="connsiteX181" fmla="*/ 34256 w 7472601"/>
              <a:gd name="connsiteY181" fmla="*/ 4347603 h 6858000"/>
              <a:gd name="connsiteX182" fmla="*/ 527241 w 7472601"/>
              <a:gd name="connsiteY182" fmla="*/ 4065078 h 6858000"/>
              <a:gd name="connsiteX183" fmla="*/ 1510397 w 7472601"/>
              <a:gd name="connsiteY183" fmla="*/ 3684705 h 6858000"/>
              <a:gd name="connsiteX184" fmla="*/ 1313114 w 7472601"/>
              <a:gd name="connsiteY184" fmla="*/ 3655216 h 6858000"/>
              <a:gd name="connsiteX185" fmla="*/ 1109304 w 7472601"/>
              <a:gd name="connsiteY185" fmla="*/ 3669030 h 6858000"/>
              <a:gd name="connsiteX186" fmla="*/ 8129 w 7472601"/>
              <a:gd name="connsiteY186" fmla="*/ 4330519 h 6858000"/>
              <a:gd name="connsiteX187" fmla="*/ 687572 w 7472601"/>
              <a:gd name="connsiteY187" fmla="*/ 3925629 h 6858000"/>
              <a:gd name="connsiteX188" fmla="*/ 1138365 w 7472601"/>
              <a:gd name="connsiteY188" fmla="*/ 3774515 h 6858000"/>
              <a:gd name="connsiteX189" fmla="*/ 1505579 w 7472601"/>
              <a:gd name="connsiteY189" fmla="*/ 3655526 h 6858000"/>
              <a:gd name="connsiteX190" fmla="*/ 1313114 w 7472601"/>
              <a:gd name="connsiteY190" fmla="*/ 3655216 h 6858000"/>
              <a:gd name="connsiteX191" fmla="*/ 3655073 w 7472601"/>
              <a:gd name="connsiteY191" fmla="*/ 3650884 h 6858000"/>
              <a:gd name="connsiteX192" fmla="*/ 3989938 w 7472601"/>
              <a:gd name="connsiteY192" fmla="*/ 3991685 h 6858000"/>
              <a:gd name="connsiteX193" fmla="*/ 4393907 w 7472601"/>
              <a:gd name="connsiteY193" fmla="*/ 4261258 h 6858000"/>
              <a:gd name="connsiteX194" fmla="*/ 4648051 w 7472601"/>
              <a:gd name="connsiteY194" fmla="*/ 4374051 h 6858000"/>
              <a:gd name="connsiteX195" fmla="*/ 4383389 w 7472601"/>
              <a:gd name="connsiteY195" fmla="*/ 4184369 h 6858000"/>
              <a:gd name="connsiteX196" fmla="*/ 4165508 w 7472601"/>
              <a:gd name="connsiteY196" fmla="*/ 4035196 h 6858000"/>
              <a:gd name="connsiteX197" fmla="*/ 4068162 w 7472601"/>
              <a:gd name="connsiteY197" fmla="*/ 3953394 h 6858000"/>
              <a:gd name="connsiteX198" fmla="*/ 3981416 w 7472601"/>
              <a:gd name="connsiteY198" fmla="*/ 3880482 h 6858000"/>
              <a:gd name="connsiteX199" fmla="*/ 3800147 w 7472601"/>
              <a:gd name="connsiteY199" fmla="*/ 3749872 h 6858000"/>
              <a:gd name="connsiteX200" fmla="*/ 3655073 w 7472601"/>
              <a:gd name="connsiteY200" fmla="*/ 3650884 h 6858000"/>
              <a:gd name="connsiteX201" fmla="*/ 3670252 w 7472601"/>
              <a:gd name="connsiteY201" fmla="*/ 3622798 h 6858000"/>
              <a:gd name="connsiteX202" fmla="*/ 3817258 w 7472601"/>
              <a:gd name="connsiteY202" fmla="*/ 3723577 h 6858000"/>
              <a:gd name="connsiteX203" fmla="*/ 4000461 w 7472601"/>
              <a:gd name="connsiteY203" fmla="*/ 3855966 h 6858000"/>
              <a:gd name="connsiteX204" fmla="*/ 4088180 w 7472601"/>
              <a:gd name="connsiteY204" fmla="*/ 3929774 h 6858000"/>
              <a:gd name="connsiteX205" fmla="*/ 4184555 w 7472601"/>
              <a:gd name="connsiteY205" fmla="*/ 4010683 h 6858000"/>
              <a:gd name="connsiteX206" fmla="*/ 4399563 w 7472601"/>
              <a:gd name="connsiteY206" fmla="*/ 4158106 h 6858000"/>
              <a:gd name="connsiteX207" fmla="*/ 4684469 w 7472601"/>
              <a:gd name="connsiteY207" fmla="*/ 4364680 h 6858000"/>
              <a:gd name="connsiteX208" fmla="*/ 4690271 w 7472601"/>
              <a:gd name="connsiteY208" fmla="*/ 4370034 h 6858000"/>
              <a:gd name="connsiteX209" fmla="*/ 4136093 w 7472601"/>
              <a:gd name="connsiteY209" fmla="*/ 3858466 h 6858000"/>
              <a:gd name="connsiteX210" fmla="*/ 3670252 w 7472601"/>
              <a:gd name="connsiteY210" fmla="*/ 3622798 h 6858000"/>
              <a:gd name="connsiteX211" fmla="*/ 4440129 w 7472601"/>
              <a:gd name="connsiteY211" fmla="*/ 3448571 h 6858000"/>
              <a:gd name="connsiteX212" fmla="*/ 4856525 w 7472601"/>
              <a:gd name="connsiteY212" fmla="*/ 3915351 h 6858000"/>
              <a:gd name="connsiteX213" fmla="*/ 5059055 w 7472601"/>
              <a:gd name="connsiteY213" fmla="*/ 4108918 h 6858000"/>
              <a:gd name="connsiteX214" fmla="*/ 5290070 w 7472601"/>
              <a:gd name="connsiteY214" fmla="*/ 4263619 h 6858000"/>
              <a:gd name="connsiteX215" fmla="*/ 4834991 w 7472601"/>
              <a:gd name="connsiteY215" fmla="*/ 3830985 h 6858000"/>
              <a:gd name="connsiteX216" fmla="*/ 4440129 w 7472601"/>
              <a:gd name="connsiteY216" fmla="*/ 3448571 h 6858000"/>
              <a:gd name="connsiteX217" fmla="*/ 4441737 w 7472601"/>
              <a:gd name="connsiteY217" fmla="*/ 3399734 h 6858000"/>
              <a:gd name="connsiteX218" fmla="*/ 4431236 w 7472601"/>
              <a:gd name="connsiteY218" fmla="*/ 3400954 h 6858000"/>
              <a:gd name="connsiteX219" fmla="*/ 4557150 w 7472601"/>
              <a:gd name="connsiteY219" fmla="*/ 3510023 h 6858000"/>
              <a:gd name="connsiteX220" fmla="*/ 4856936 w 7472601"/>
              <a:gd name="connsiteY220" fmla="*/ 3809146 h 6858000"/>
              <a:gd name="connsiteX221" fmla="*/ 5111996 w 7472601"/>
              <a:gd name="connsiteY221" fmla="*/ 4065759 h 6858000"/>
              <a:gd name="connsiteX222" fmla="*/ 5388878 w 7472601"/>
              <a:gd name="connsiteY222" fmla="*/ 4300185 h 6858000"/>
              <a:gd name="connsiteX223" fmla="*/ 5425556 w 7472601"/>
              <a:gd name="connsiteY223" fmla="*/ 4308967 h 6858000"/>
              <a:gd name="connsiteX224" fmla="*/ 4943646 w 7472601"/>
              <a:gd name="connsiteY224" fmla="*/ 3822916 h 6858000"/>
              <a:gd name="connsiteX225" fmla="*/ 4594837 w 7472601"/>
              <a:gd name="connsiteY225" fmla="*/ 3532274 h 6858000"/>
              <a:gd name="connsiteX226" fmla="*/ 4441737 w 7472601"/>
              <a:gd name="connsiteY226" fmla="*/ 3399734 h 6858000"/>
              <a:gd name="connsiteX227" fmla="*/ 5425834 w 7472601"/>
              <a:gd name="connsiteY227" fmla="*/ 3162785 h 6858000"/>
              <a:gd name="connsiteX228" fmla="*/ 5401644 w 7472601"/>
              <a:gd name="connsiteY228" fmla="*/ 3617847 h 6858000"/>
              <a:gd name="connsiteX229" fmla="*/ 5467256 w 7472601"/>
              <a:gd name="connsiteY229" fmla="*/ 4175494 h 6858000"/>
              <a:gd name="connsiteX230" fmla="*/ 5448069 w 7472601"/>
              <a:gd name="connsiteY230" fmla="*/ 3567554 h 6858000"/>
              <a:gd name="connsiteX231" fmla="*/ 5425834 w 7472601"/>
              <a:gd name="connsiteY231" fmla="*/ 3162785 h 6858000"/>
              <a:gd name="connsiteX232" fmla="*/ 1318687 w 7472601"/>
              <a:gd name="connsiteY232" fmla="*/ 3113840 h 6858000"/>
              <a:gd name="connsiteX233" fmla="*/ 1066793 w 7472601"/>
              <a:gd name="connsiteY233" fmla="*/ 3212171 h 6858000"/>
              <a:gd name="connsiteX234" fmla="*/ 993319 w 7472601"/>
              <a:gd name="connsiteY234" fmla="*/ 3247648 h 6858000"/>
              <a:gd name="connsiteX235" fmla="*/ 853081 w 7472601"/>
              <a:gd name="connsiteY235" fmla="*/ 3312410 h 6858000"/>
              <a:gd name="connsiteX236" fmla="*/ 805957 w 7472601"/>
              <a:gd name="connsiteY236" fmla="*/ 3330443 h 6858000"/>
              <a:gd name="connsiteX237" fmla="*/ 1318687 w 7472601"/>
              <a:gd name="connsiteY237" fmla="*/ 3113840 h 6858000"/>
              <a:gd name="connsiteX238" fmla="*/ 5453702 w 7472601"/>
              <a:gd name="connsiteY238" fmla="*/ 3090882 h 6858000"/>
              <a:gd name="connsiteX239" fmla="*/ 5480135 w 7472601"/>
              <a:gd name="connsiteY239" fmla="*/ 3565802 h 6858000"/>
              <a:gd name="connsiteX240" fmla="*/ 5499023 w 7472601"/>
              <a:gd name="connsiteY240" fmla="*/ 4166310 h 6858000"/>
              <a:gd name="connsiteX241" fmla="*/ 5547022 w 7472601"/>
              <a:gd name="connsiteY241" fmla="*/ 3607838 h 6858000"/>
              <a:gd name="connsiteX242" fmla="*/ 5515964 w 7472601"/>
              <a:gd name="connsiteY242" fmla="*/ 3378541 h 6858000"/>
              <a:gd name="connsiteX243" fmla="*/ 5453702 w 7472601"/>
              <a:gd name="connsiteY243" fmla="*/ 3090882 h 6858000"/>
              <a:gd name="connsiteX244" fmla="*/ 1238695 w 7472601"/>
              <a:gd name="connsiteY244" fmla="*/ 3076820 h 6858000"/>
              <a:gd name="connsiteX245" fmla="*/ 716371 w 7472601"/>
              <a:gd name="connsiteY245" fmla="*/ 3293249 h 6858000"/>
              <a:gd name="connsiteX246" fmla="*/ 579522 w 7472601"/>
              <a:gd name="connsiteY246" fmla="*/ 3371759 h 6858000"/>
              <a:gd name="connsiteX247" fmla="*/ 600288 w 7472601"/>
              <a:gd name="connsiteY247" fmla="*/ 3365555 h 6858000"/>
              <a:gd name="connsiteX248" fmla="*/ 840692 w 7472601"/>
              <a:gd name="connsiteY248" fmla="*/ 3284921 h 6858000"/>
              <a:gd name="connsiteX249" fmla="*/ 979248 w 7472601"/>
              <a:gd name="connsiteY249" fmla="*/ 3221003 h 6858000"/>
              <a:gd name="connsiteX250" fmla="*/ 1053282 w 7472601"/>
              <a:gd name="connsiteY250" fmla="*/ 3185247 h 6858000"/>
              <a:gd name="connsiteX251" fmla="*/ 1320603 w 7472601"/>
              <a:gd name="connsiteY251" fmla="*/ 3081281 h 6858000"/>
              <a:gd name="connsiteX252" fmla="*/ 1238695 w 7472601"/>
              <a:gd name="connsiteY252" fmla="*/ 3076820 h 6858000"/>
              <a:gd name="connsiteX253" fmla="*/ 5425627 w 7472601"/>
              <a:gd name="connsiteY253" fmla="*/ 2954192 h 6858000"/>
              <a:gd name="connsiteX254" fmla="*/ 5470770 w 7472601"/>
              <a:gd name="connsiteY254" fmla="*/ 3005435 h 6858000"/>
              <a:gd name="connsiteX255" fmla="*/ 5519779 w 7472601"/>
              <a:gd name="connsiteY255" fmla="*/ 4359223 h 6858000"/>
              <a:gd name="connsiteX256" fmla="*/ 5520293 w 7472601"/>
              <a:gd name="connsiteY256" fmla="*/ 4360602 h 6858000"/>
              <a:gd name="connsiteX257" fmla="*/ 5767221 w 7472601"/>
              <a:gd name="connsiteY257" fmla="*/ 4665564 h 6858000"/>
              <a:gd name="connsiteX258" fmla="*/ 6937169 w 7472601"/>
              <a:gd name="connsiteY258" fmla="*/ 4815941 h 6858000"/>
              <a:gd name="connsiteX259" fmla="*/ 6953922 w 7472601"/>
              <a:gd name="connsiteY259" fmla="*/ 4890068 h 6858000"/>
              <a:gd name="connsiteX260" fmla="*/ 6071359 w 7472601"/>
              <a:gd name="connsiteY260" fmla="*/ 4770770 h 6858000"/>
              <a:gd name="connsiteX261" fmla="*/ 6038839 w 7472601"/>
              <a:gd name="connsiteY261" fmla="*/ 4764474 h 6858000"/>
              <a:gd name="connsiteX262" fmla="*/ 6038706 w 7472601"/>
              <a:gd name="connsiteY262" fmla="*/ 4763847 h 6858000"/>
              <a:gd name="connsiteX263" fmla="*/ 6037784 w 7472601"/>
              <a:gd name="connsiteY263" fmla="*/ 4764270 h 6858000"/>
              <a:gd name="connsiteX264" fmla="*/ 6038839 w 7472601"/>
              <a:gd name="connsiteY264" fmla="*/ 4764474 h 6858000"/>
              <a:gd name="connsiteX265" fmla="*/ 6040338 w 7472601"/>
              <a:gd name="connsiteY265" fmla="*/ 4771418 h 6858000"/>
              <a:gd name="connsiteX266" fmla="*/ 6024488 w 7472601"/>
              <a:gd name="connsiteY266" fmla="*/ 4809903 h 6858000"/>
              <a:gd name="connsiteX267" fmla="*/ 5599771 w 7472601"/>
              <a:gd name="connsiteY267" fmla="*/ 5509652 h 6858000"/>
              <a:gd name="connsiteX268" fmla="*/ 5548843 w 7472601"/>
              <a:gd name="connsiteY268" fmla="*/ 5563845 h 6858000"/>
              <a:gd name="connsiteX269" fmla="*/ 5940952 w 7472601"/>
              <a:gd name="connsiteY269" fmla="*/ 6250028 h 6858000"/>
              <a:gd name="connsiteX270" fmla="*/ 6043441 w 7472601"/>
              <a:gd name="connsiteY270" fmla="*/ 6665847 h 6858000"/>
              <a:gd name="connsiteX271" fmla="*/ 6093432 w 7472601"/>
              <a:gd name="connsiteY271" fmla="*/ 6858000 h 6858000"/>
              <a:gd name="connsiteX272" fmla="*/ 6034344 w 7472601"/>
              <a:gd name="connsiteY272" fmla="*/ 6858000 h 6858000"/>
              <a:gd name="connsiteX273" fmla="*/ 6026679 w 7472601"/>
              <a:gd name="connsiteY273" fmla="*/ 6836959 h 6858000"/>
              <a:gd name="connsiteX274" fmla="*/ 5800441 w 7472601"/>
              <a:gd name="connsiteY274" fmla="*/ 6335286 h 6858000"/>
              <a:gd name="connsiteX275" fmla="*/ 5526562 w 7472601"/>
              <a:gd name="connsiteY275" fmla="*/ 5705388 h 6858000"/>
              <a:gd name="connsiteX276" fmla="*/ 5519640 w 7472601"/>
              <a:gd name="connsiteY276" fmla="*/ 5683774 h 6858000"/>
              <a:gd name="connsiteX277" fmla="*/ 5844559 w 7472601"/>
              <a:gd name="connsiteY277" fmla="*/ 6553349 h 6858000"/>
              <a:gd name="connsiteX278" fmla="*/ 5975994 w 7472601"/>
              <a:gd name="connsiteY278" fmla="*/ 6858000 h 6858000"/>
              <a:gd name="connsiteX279" fmla="*/ 5898547 w 7472601"/>
              <a:gd name="connsiteY279" fmla="*/ 6858000 h 6858000"/>
              <a:gd name="connsiteX280" fmla="*/ 5682041 w 7472601"/>
              <a:gd name="connsiteY280" fmla="*/ 6355860 h 6858000"/>
              <a:gd name="connsiteX281" fmla="*/ 5461758 w 7472601"/>
              <a:gd name="connsiteY281" fmla="*/ 5820220 h 6858000"/>
              <a:gd name="connsiteX282" fmla="*/ 5237282 w 7472601"/>
              <a:gd name="connsiteY282" fmla="*/ 6579086 h 6858000"/>
              <a:gd name="connsiteX283" fmla="*/ 5115009 w 7472601"/>
              <a:gd name="connsiteY283" fmla="*/ 6858000 h 6858000"/>
              <a:gd name="connsiteX284" fmla="*/ 5028074 w 7472601"/>
              <a:gd name="connsiteY284" fmla="*/ 6858000 h 6858000"/>
              <a:gd name="connsiteX285" fmla="*/ 5079508 w 7472601"/>
              <a:gd name="connsiteY285" fmla="*/ 6749074 h 6858000"/>
              <a:gd name="connsiteX286" fmla="*/ 5371846 w 7472601"/>
              <a:gd name="connsiteY286" fmla="*/ 5924413 h 6858000"/>
              <a:gd name="connsiteX287" fmla="*/ 5270512 w 7472601"/>
              <a:gd name="connsiteY287" fmla="*/ 6138975 h 6858000"/>
              <a:gd name="connsiteX288" fmla="*/ 5062409 w 7472601"/>
              <a:gd name="connsiteY288" fmla="*/ 6653544 h 6858000"/>
              <a:gd name="connsiteX289" fmla="*/ 5036628 w 7472601"/>
              <a:gd name="connsiteY289" fmla="*/ 6754247 h 6858000"/>
              <a:gd name="connsiteX290" fmla="*/ 5009112 w 7472601"/>
              <a:gd name="connsiteY290" fmla="*/ 6858000 h 6858000"/>
              <a:gd name="connsiteX291" fmla="*/ 4976679 w 7472601"/>
              <a:gd name="connsiteY291" fmla="*/ 6858000 h 6858000"/>
              <a:gd name="connsiteX292" fmla="*/ 5006537 w 7472601"/>
              <a:gd name="connsiteY292" fmla="*/ 6747068 h 6858000"/>
              <a:gd name="connsiteX293" fmla="*/ 5032723 w 7472601"/>
              <a:gd name="connsiteY293" fmla="*/ 6644957 h 6858000"/>
              <a:gd name="connsiteX294" fmla="*/ 5242949 w 7472601"/>
              <a:gd name="connsiteY294" fmla="*/ 6125175 h 6858000"/>
              <a:gd name="connsiteX295" fmla="*/ 5286321 w 7472601"/>
              <a:gd name="connsiteY295" fmla="*/ 6033555 h 6858000"/>
              <a:gd name="connsiteX296" fmla="*/ 5008210 w 7472601"/>
              <a:gd name="connsiteY296" fmla="*/ 6649194 h 6858000"/>
              <a:gd name="connsiteX297" fmla="*/ 4986321 w 7472601"/>
              <a:gd name="connsiteY297" fmla="*/ 6765687 h 6858000"/>
              <a:gd name="connsiteX298" fmla="*/ 4973474 w 7472601"/>
              <a:gd name="connsiteY298" fmla="*/ 6858000 h 6858000"/>
              <a:gd name="connsiteX299" fmla="*/ 4907178 w 7472601"/>
              <a:gd name="connsiteY299" fmla="*/ 6858000 h 6858000"/>
              <a:gd name="connsiteX300" fmla="*/ 4910810 w 7472601"/>
              <a:gd name="connsiteY300" fmla="*/ 6829660 h 6858000"/>
              <a:gd name="connsiteX301" fmla="*/ 4987461 w 7472601"/>
              <a:gd name="connsiteY301" fmla="*/ 6432994 h 6858000"/>
              <a:gd name="connsiteX302" fmla="*/ 5179262 w 7472601"/>
              <a:gd name="connsiteY302" fmla="*/ 6035044 h 6858000"/>
              <a:gd name="connsiteX303" fmla="*/ 4689678 w 7472601"/>
              <a:gd name="connsiteY303" fmla="*/ 6440241 h 6858000"/>
              <a:gd name="connsiteX304" fmla="*/ 4477543 w 7472601"/>
              <a:gd name="connsiteY304" fmla="*/ 6674836 h 6858000"/>
              <a:gd name="connsiteX305" fmla="*/ 4329957 w 7472601"/>
              <a:gd name="connsiteY305" fmla="*/ 6858000 h 6858000"/>
              <a:gd name="connsiteX306" fmla="*/ 4218595 w 7472601"/>
              <a:gd name="connsiteY306" fmla="*/ 6858000 h 6858000"/>
              <a:gd name="connsiteX307" fmla="*/ 4368888 w 7472601"/>
              <a:gd name="connsiteY307" fmla="*/ 6668412 h 6858000"/>
              <a:gd name="connsiteX308" fmla="*/ 4563091 w 7472601"/>
              <a:gd name="connsiteY308" fmla="*/ 6442508 h 6858000"/>
              <a:gd name="connsiteX309" fmla="*/ 5387324 w 7472601"/>
              <a:gd name="connsiteY309" fmla="*/ 5705830 h 6858000"/>
              <a:gd name="connsiteX310" fmla="*/ 5073620 w 7472601"/>
              <a:gd name="connsiteY310" fmla="*/ 5955437 h 6858000"/>
              <a:gd name="connsiteX311" fmla="*/ 4689789 w 7472601"/>
              <a:gd name="connsiteY311" fmla="*/ 6268382 h 6858000"/>
              <a:gd name="connsiteX312" fmla="*/ 4418722 w 7472601"/>
              <a:gd name="connsiteY312" fmla="*/ 6570886 h 6858000"/>
              <a:gd name="connsiteX313" fmla="*/ 4214944 w 7472601"/>
              <a:gd name="connsiteY313" fmla="*/ 6858000 h 6858000"/>
              <a:gd name="connsiteX314" fmla="*/ 4177898 w 7472601"/>
              <a:gd name="connsiteY314" fmla="*/ 6858000 h 6858000"/>
              <a:gd name="connsiteX315" fmla="*/ 4391597 w 7472601"/>
              <a:gd name="connsiteY315" fmla="*/ 6556370 h 6858000"/>
              <a:gd name="connsiteX316" fmla="*/ 4668889 w 7472601"/>
              <a:gd name="connsiteY316" fmla="*/ 6246399 h 6858000"/>
              <a:gd name="connsiteX317" fmla="*/ 5055427 w 7472601"/>
              <a:gd name="connsiteY317" fmla="*/ 5931476 h 6858000"/>
              <a:gd name="connsiteX318" fmla="*/ 5371814 w 7472601"/>
              <a:gd name="connsiteY318" fmla="*/ 5678975 h 6858000"/>
              <a:gd name="connsiteX319" fmla="*/ 4987918 w 7472601"/>
              <a:gd name="connsiteY319" fmla="*/ 5838701 h 6858000"/>
              <a:gd name="connsiteX320" fmla="*/ 4317146 w 7472601"/>
              <a:gd name="connsiteY320" fmla="*/ 6587716 h 6858000"/>
              <a:gd name="connsiteX321" fmla="*/ 4171627 w 7472601"/>
              <a:gd name="connsiteY321" fmla="*/ 6858000 h 6858000"/>
              <a:gd name="connsiteX322" fmla="*/ 4081585 w 7472601"/>
              <a:gd name="connsiteY322" fmla="*/ 6858000 h 6858000"/>
              <a:gd name="connsiteX323" fmla="*/ 4238603 w 7472601"/>
              <a:gd name="connsiteY323" fmla="*/ 6559341 h 6858000"/>
              <a:gd name="connsiteX324" fmla="*/ 4778333 w 7472601"/>
              <a:gd name="connsiteY324" fmla="*/ 5873626 h 6858000"/>
              <a:gd name="connsiteX325" fmla="*/ 5414185 w 7472601"/>
              <a:gd name="connsiteY325" fmla="*/ 5573882 h 6858000"/>
              <a:gd name="connsiteX326" fmla="*/ 5959648 w 7472601"/>
              <a:gd name="connsiteY326" fmla="*/ 4760797 h 6858000"/>
              <a:gd name="connsiteX327" fmla="*/ 5355019 w 7472601"/>
              <a:gd name="connsiteY327" fmla="*/ 4734672 h 6858000"/>
              <a:gd name="connsiteX328" fmla="*/ 5083565 w 7472601"/>
              <a:gd name="connsiteY328" fmla="*/ 5179121 h 6858000"/>
              <a:gd name="connsiteX329" fmla="*/ 4713577 w 7472601"/>
              <a:gd name="connsiteY329" fmla="*/ 5616803 h 6858000"/>
              <a:gd name="connsiteX330" fmla="*/ 3989559 w 7472601"/>
              <a:gd name="connsiteY330" fmla="*/ 6145945 h 6858000"/>
              <a:gd name="connsiteX331" fmla="*/ 3939824 w 7472601"/>
              <a:gd name="connsiteY331" fmla="*/ 6066900 h 6858000"/>
              <a:gd name="connsiteX332" fmla="*/ 4584537 w 7472601"/>
              <a:gd name="connsiteY332" fmla="*/ 5324826 h 6858000"/>
              <a:gd name="connsiteX333" fmla="*/ 5037105 w 7472601"/>
              <a:gd name="connsiteY333" fmla="*/ 5088765 h 6858000"/>
              <a:gd name="connsiteX334" fmla="*/ 5039930 w 7472601"/>
              <a:gd name="connsiteY334" fmla="*/ 5089585 h 6858000"/>
              <a:gd name="connsiteX335" fmla="*/ 5263764 w 7472601"/>
              <a:gd name="connsiteY335" fmla="*/ 4735525 h 6858000"/>
              <a:gd name="connsiteX336" fmla="*/ 4086300 w 7472601"/>
              <a:gd name="connsiteY336" fmla="*/ 4884599 h 6858000"/>
              <a:gd name="connsiteX337" fmla="*/ 4085485 w 7472601"/>
              <a:gd name="connsiteY337" fmla="*/ 4899070 h 6858000"/>
              <a:gd name="connsiteX338" fmla="*/ 3871915 w 7472601"/>
              <a:gd name="connsiteY338" fmla="*/ 5253645 h 6858000"/>
              <a:gd name="connsiteX339" fmla="*/ 3799374 w 7472601"/>
              <a:gd name="connsiteY339" fmla="*/ 5466127 h 6858000"/>
              <a:gd name="connsiteX340" fmla="*/ 3498850 w 7472601"/>
              <a:gd name="connsiteY340" fmla="*/ 6661888 h 6858000"/>
              <a:gd name="connsiteX341" fmla="*/ 3399216 w 7472601"/>
              <a:gd name="connsiteY341" fmla="*/ 6858000 h 6858000"/>
              <a:gd name="connsiteX342" fmla="*/ 3303688 w 7472601"/>
              <a:gd name="connsiteY342" fmla="*/ 6858000 h 6858000"/>
              <a:gd name="connsiteX343" fmla="*/ 3391774 w 7472601"/>
              <a:gd name="connsiteY343" fmla="*/ 6697181 h 6858000"/>
              <a:gd name="connsiteX344" fmla="*/ 3735540 w 7472601"/>
              <a:gd name="connsiteY344" fmla="*/ 5546923 h 6858000"/>
              <a:gd name="connsiteX345" fmla="*/ 3729438 w 7472601"/>
              <a:gd name="connsiteY345" fmla="*/ 5569058 h 6858000"/>
              <a:gd name="connsiteX346" fmla="*/ 3707782 w 7472601"/>
              <a:gd name="connsiteY346" fmla="*/ 5644908 h 6858000"/>
              <a:gd name="connsiteX347" fmla="*/ 3583827 w 7472601"/>
              <a:gd name="connsiteY347" fmla="*/ 6039215 h 6858000"/>
              <a:gd name="connsiteX348" fmla="*/ 3547861 w 7472601"/>
              <a:gd name="connsiteY348" fmla="*/ 6129609 h 6858000"/>
              <a:gd name="connsiteX349" fmla="*/ 3490905 w 7472601"/>
              <a:gd name="connsiteY349" fmla="*/ 6277660 h 6858000"/>
              <a:gd name="connsiteX350" fmla="*/ 3455859 w 7472601"/>
              <a:gd name="connsiteY350" fmla="*/ 6391301 h 6858000"/>
              <a:gd name="connsiteX351" fmla="*/ 3429112 w 7472601"/>
              <a:gd name="connsiteY351" fmla="*/ 6479469 h 6858000"/>
              <a:gd name="connsiteX352" fmla="*/ 3304862 w 7472601"/>
              <a:gd name="connsiteY352" fmla="*/ 6796476 h 6858000"/>
              <a:gd name="connsiteX353" fmla="*/ 3276071 w 7472601"/>
              <a:gd name="connsiteY353" fmla="*/ 6858000 h 6858000"/>
              <a:gd name="connsiteX354" fmla="*/ 3240805 w 7472601"/>
              <a:gd name="connsiteY354" fmla="*/ 6858000 h 6858000"/>
              <a:gd name="connsiteX355" fmla="*/ 3275917 w 7472601"/>
              <a:gd name="connsiteY355" fmla="*/ 6783192 h 6858000"/>
              <a:gd name="connsiteX356" fmla="*/ 3399358 w 7472601"/>
              <a:gd name="connsiteY356" fmla="*/ 6469011 h 6858000"/>
              <a:gd name="connsiteX357" fmla="*/ 3425650 w 7472601"/>
              <a:gd name="connsiteY357" fmla="*/ 6381333 h 6858000"/>
              <a:gd name="connsiteX358" fmla="*/ 3460661 w 7472601"/>
              <a:gd name="connsiteY358" fmla="*/ 6266763 h 6858000"/>
              <a:gd name="connsiteX359" fmla="*/ 3518021 w 7472601"/>
              <a:gd name="connsiteY359" fmla="*/ 6117298 h 6858000"/>
              <a:gd name="connsiteX360" fmla="*/ 3554035 w 7472601"/>
              <a:gd name="connsiteY360" fmla="*/ 6027832 h 6858000"/>
              <a:gd name="connsiteX361" fmla="*/ 3677174 w 7472601"/>
              <a:gd name="connsiteY361" fmla="*/ 5636351 h 6858000"/>
              <a:gd name="connsiteX362" fmla="*/ 3698819 w 7472601"/>
              <a:gd name="connsiteY362" fmla="*/ 5560503 h 6858000"/>
              <a:gd name="connsiteX363" fmla="*/ 3702094 w 7472601"/>
              <a:gd name="connsiteY363" fmla="*/ 5549194 h 6858000"/>
              <a:gd name="connsiteX364" fmla="*/ 3398355 w 7472601"/>
              <a:gd name="connsiteY364" fmla="*/ 6094603 h 6858000"/>
              <a:gd name="connsiteX365" fmla="*/ 3193941 w 7472601"/>
              <a:gd name="connsiteY365" fmla="*/ 6798775 h 6858000"/>
              <a:gd name="connsiteX366" fmla="*/ 3184140 w 7472601"/>
              <a:gd name="connsiteY366" fmla="*/ 6858000 h 6858000"/>
              <a:gd name="connsiteX367" fmla="*/ 3099978 w 7472601"/>
              <a:gd name="connsiteY367" fmla="*/ 6858000 h 6858000"/>
              <a:gd name="connsiteX368" fmla="*/ 3101556 w 7472601"/>
              <a:gd name="connsiteY368" fmla="*/ 6843337 h 6858000"/>
              <a:gd name="connsiteX369" fmla="*/ 3370162 w 7472601"/>
              <a:gd name="connsiteY369" fmla="*/ 5785550 h 6858000"/>
              <a:gd name="connsiteX370" fmla="*/ 3746477 w 7472601"/>
              <a:gd name="connsiteY370" fmla="*/ 5377889 h 6858000"/>
              <a:gd name="connsiteX371" fmla="*/ 3863399 w 7472601"/>
              <a:gd name="connsiteY371" fmla="*/ 5087257 h 6858000"/>
              <a:gd name="connsiteX372" fmla="*/ 3968712 w 7472601"/>
              <a:gd name="connsiteY372" fmla="*/ 4913989 h 6858000"/>
              <a:gd name="connsiteX373" fmla="*/ 2792390 w 7472601"/>
              <a:gd name="connsiteY373" fmla="*/ 5382974 h 6858000"/>
              <a:gd name="connsiteX374" fmla="*/ 2714982 w 7472601"/>
              <a:gd name="connsiteY374" fmla="*/ 5427051 h 6858000"/>
              <a:gd name="connsiteX375" fmla="*/ 2813361 w 7472601"/>
              <a:gd name="connsiteY375" fmla="*/ 6023912 h 6858000"/>
              <a:gd name="connsiteX376" fmla="*/ 2688430 w 7472601"/>
              <a:gd name="connsiteY376" fmla="*/ 6801564 h 6858000"/>
              <a:gd name="connsiteX377" fmla="*/ 2629626 w 7472601"/>
              <a:gd name="connsiteY377" fmla="*/ 6763394 h 6858000"/>
              <a:gd name="connsiteX378" fmla="*/ 2565328 w 7472601"/>
              <a:gd name="connsiteY378" fmla="*/ 5516399 h 6858000"/>
              <a:gd name="connsiteX379" fmla="*/ 1922999 w 7472601"/>
              <a:gd name="connsiteY379" fmla="*/ 5980343 h 6858000"/>
              <a:gd name="connsiteX380" fmla="*/ 1950261 w 7472601"/>
              <a:gd name="connsiteY380" fmla="*/ 6405858 h 6858000"/>
              <a:gd name="connsiteX381" fmla="*/ 2365554 w 7472601"/>
              <a:gd name="connsiteY381" fmla="*/ 6759107 h 6858000"/>
              <a:gd name="connsiteX382" fmla="*/ 2424142 w 7472601"/>
              <a:gd name="connsiteY382" fmla="*/ 6858000 h 6858000"/>
              <a:gd name="connsiteX383" fmla="*/ 2395994 w 7472601"/>
              <a:gd name="connsiteY383" fmla="*/ 6858000 h 6858000"/>
              <a:gd name="connsiteX384" fmla="*/ 2392863 w 7472601"/>
              <a:gd name="connsiteY384" fmla="*/ 6852964 h 6858000"/>
              <a:gd name="connsiteX385" fmla="*/ 2017589 w 7472601"/>
              <a:gd name="connsiteY385" fmla="*/ 6493982 h 6858000"/>
              <a:gd name="connsiteX386" fmla="*/ 2147336 w 7472601"/>
              <a:gd name="connsiteY386" fmla="*/ 6594052 h 6858000"/>
              <a:gd name="connsiteX387" fmla="*/ 2207047 w 7472601"/>
              <a:gd name="connsiteY387" fmla="*/ 6654540 h 6858000"/>
              <a:gd name="connsiteX388" fmla="*/ 2299106 w 7472601"/>
              <a:gd name="connsiteY388" fmla="*/ 6778931 h 6858000"/>
              <a:gd name="connsiteX389" fmla="*/ 2314430 w 7472601"/>
              <a:gd name="connsiteY389" fmla="*/ 6801144 h 6858000"/>
              <a:gd name="connsiteX390" fmla="*/ 2352406 w 7472601"/>
              <a:gd name="connsiteY390" fmla="*/ 6858000 h 6858000"/>
              <a:gd name="connsiteX391" fmla="*/ 2314492 w 7472601"/>
              <a:gd name="connsiteY391" fmla="*/ 6858000 h 6858000"/>
              <a:gd name="connsiteX392" fmla="*/ 2288095 w 7472601"/>
              <a:gd name="connsiteY392" fmla="*/ 6818030 h 6858000"/>
              <a:gd name="connsiteX393" fmla="*/ 2272768 w 7472601"/>
              <a:gd name="connsiteY393" fmla="*/ 6795822 h 6858000"/>
              <a:gd name="connsiteX394" fmla="*/ 2182715 w 7472601"/>
              <a:gd name="connsiteY394" fmla="*/ 6675071 h 6858000"/>
              <a:gd name="connsiteX395" fmla="*/ 2032061 w 7472601"/>
              <a:gd name="connsiteY395" fmla="*/ 6541380 h 6858000"/>
              <a:gd name="connsiteX396" fmla="*/ 2257220 w 7472601"/>
              <a:gd name="connsiteY396" fmla="*/ 6826257 h 6858000"/>
              <a:gd name="connsiteX397" fmla="*/ 2281324 w 7472601"/>
              <a:gd name="connsiteY397" fmla="*/ 6858000 h 6858000"/>
              <a:gd name="connsiteX398" fmla="*/ 2242860 w 7472601"/>
              <a:gd name="connsiteY398" fmla="*/ 6858000 h 6858000"/>
              <a:gd name="connsiteX399" fmla="*/ 2232818 w 7472601"/>
              <a:gd name="connsiteY399" fmla="*/ 6844926 h 6858000"/>
              <a:gd name="connsiteX400" fmla="*/ 1990172 w 7472601"/>
              <a:gd name="connsiteY400" fmla="*/ 6542121 h 6858000"/>
              <a:gd name="connsiteX401" fmla="*/ 2124090 w 7472601"/>
              <a:gd name="connsiteY401" fmla="*/ 6761017 h 6858000"/>
              <a:gd name="connsiteX402" fmla="*/ 2200380 w 7472601"/>
              <a:gd name="connsiteY402" fmla="*/ 6858000 h 6858000"/>
              <a:gd name="connsiteX403" fmla="*/ 2147507 w 7472601"/>
              <a:gd name="connsiteY403" fmla="*/ 6858000 h 6858000"/>
              <a:gd name="connsiteX404" fmla="*/ 2070668 w 7472601"/>
              <a:gd name="connsiteY404" fmla="*/ 6761520 h 6858000"/>
              <a:gd name="connsiteX405" fmla="*/ 1975142 w 7472601"/>
              <a:gd name="connsiteY405" fmla="*/ 6585570 h 6858000"/>
              <a:gd name="connsiteX406" fmla="*/ 2050035 w 7472601"/>
              <a:gd name="connsiteY406" fmla="*/ 6813345 h 6858000"/>
              <a:gd name="connsiteX407" fmla="*/ 2063025 w 7472601"/>
              <a:gd name="connsiteY407" fmla="*/ 6858000 h 6858000"/>
              <a:gd name="connsiteX408" fmla="*/ 2021675 w 7472601"/>
              <a:gd name="connsiteY408" fmla="*/ 6858000 h 6858000"/>
              <a:gd name="connsiteX409" fmla="*/ 2019308 w 7472601"/>
              <a:gd name="connsiteY409" fmla="*/ 6847118 h 6858000"/>
              <a:gd name="connsiteX410" fmla="*/ 1938835 w 7472601"/>
              <a:gd name="connsiteY410" fmla="*/ 6551160 h 6858000"/>
              <a:gd name="connsiteX411" fmla="*/ 1953230 w 7472601"/>
              <a:gd name="connsiteY411" fmla="*/ 6759699 h 6858000"/>
              <a:gd name="connsiteX412" fmla="*/ 1956763 w 7472601"/>
              <a:gd name="connsiteY412" fmla="*/ 6778191 h 6858000"/>
              <a:gd name="connsiteX413" fmla="*/ 1967925 w 7472601"/>
              <a:gd name="connsiteY413" fmla="*/ 6858000 h 6858000"/>
              <a:gd name="connsiteX414" fmla="*/ 1936622 w 7472601"/>
              <a:gd name="connsiteY414" fmla="*/ 6858000 h 6858000"/>
              <a:gd name="connsiteX415" fmla="*/ 1926261 w 7472601"/>
              <a:gd name="connsiteY415" fmla="*/ 6784064 h 6858000"/>
              <a:gd name="connsiteX416" fmla="*/ 1922724 w 7472601"/>
              <a:gd name="connsiteY416" fmla="*/ 6765577 h 6858000"/>
              <a:gd name="connsiteX417" fmla="*/ 1904650 w 7472601"/>
              <a:gd name="connsiteY417" fmla="*/ 6639616 h 6858000"/>
              <a:gd name="connsiteX418" fmla="*/ 1885273 w 7472601"/>
              <a:gd name="connsiteY418" fmla="*/ 6858000 h 6858000"/>
              <a:gd name="connsiteX419" fmla="*/ 1854363 w 7472601"/>
              <a:gd name="connsiteY419" fmla="*/ 6858000 h 6858000"/>
              <a:gd name="connsiteX420" fmla="*/ 1880391 w 7472601"/>
              <a:gd name="connsiteY420" fmla="*/ 6603796 h 6858000"/>
              <a:gd name="connsiteX421" fmla="*/ 1818273 w 7472601"/>
              <a:gd name="connsiteY421" fmla="*/ 6715729 h 6858000"/>
              <a:gd name="connsiteX422" fmla="*/ 1794691 w 7472601"/>
              <a:gd name="connsiteY422" fmla="*/ 6843239 h 6858000"/>
              <a:gd name="connsiteX423" fmla="*/ 1794914 w 7472601"/>
              <a:gd name="connsiteY423" fmla="*/ 6858000 h 6858000"/>
              <a:gd name="connsiteX424" fmla="*/ 1746128 w 7472601"/>
              <a:gd name="connsiteY424" fmla="*/ 6858000 h 6858000"/>
              <a:gd name="connsiteX425" fmla="*/ 1753934 w 7472601"/>
              <a:gd name="connsiteY425" fmla="*/ 6724796 h 6858000"/>
              <a:gd name="connsiteX426" fmla="*/ 1792053 w 7472601"/>
              <a:gd name="connsiteY426" fmla="*/ 6572396 h 6858000"/>
              <a:gd name="connsiteX427" fmla="*/ 1862248 w 7472601"/>
              <a:gd name="connsiteY427" fmla="*/ 6266397 h 6858000"/>
              <a:gd name="connsiteX428" fmla="*/ 1862250 w 7472601"/>
              <a:gd name="connsiteY428" fmla="*/ 6033531 h 6858000"/>
              <a:gd name="connsiteX429" fmla="*/ 1211999 w 7472601"/>
              <a:gd name="connsiteY429" fmla="*/ 6683610 h 6858000"/>
              <a:gd name="connsiteX430" fmla="*/ 1213266 w 7472601"/>
              <a:gd name="connsiteY430" fmla="*/ 6691947 h 6858000"/>
              <a:gd name="connsiteX431" fmla="*/ 1203370 w 7472601"/>
              <a:gd name="connsiteY431" fmla="*/ 6850676 h 6858000"/>
              <a:gd name="connsiteX432" fmla="*/ 1203671 w 7472601"/>
              <a:gd name="connsiteY432" fmla="*/ 6858000 h 6858000"/>
              <a:gd name="connsiteX433" fmla="*/ 1143180 w 7472601"/>
              <a:gd name="connsiteY433" fmla="*/ 6858000 h 6858000"/>
              <a:gd name="connsiteX434" fmla="*/ 1142176 w 7472601"/>
              <a:gd name="connsiteY434" fmla="*/ 6766045 h 6858000"/>
              <a:gd name="connsiteX435" fmla="*/ 1067484 w 7472601"/>
              <a:gd name="connsiteY435" fmla="*/ 6858000 h 6858000"/>
              <a:gd name="connsiteX436" fmla="*/ 953928 w 7472601"/>
              <a:gd name="connsiteY436" fmla="*/ 6858000 h 6858000"/>
              <a:gd name="connsiteX437" fmla="*/ 959715 w 7472601"/>
              <a:gd name="connsiteY437" fmla="*/ 6850185 h 6858000"/>
              <a:gd name="connsiteX438" fmla="*/ 1483788 w 7472601"/>
              <a:gd name="connsiteY438" fmla="*/ 6259174 h 6858000"/>
              <a:gd name="connsiteX439" fmla="*/ 1100671 w 7472601"/>
              <a:gd name="connsiteY439" fmla="*/ 6252137 h 6858000"/>
              <a:gd name="connsiteX440" fmla="*/ 1090144 w 7472601"/>
              <a:gd name="connsiteY440" fmla="*/ 6256748 h 6858000"/>
              <a:gd name="connsiteX441" fmla="*/ 1095872 w 7472601"/>
              <a:gd name="connsiteY441" fmla="*/ 6271892 h 6858000"/>
              <a:gd name="connsiteX442" fmla="*/ 262785 w 7472601"/>
              <a:gd name="connsiteY442" fmla="*/ 6845450 h 6858000"/>
              <a:gd name="connsiteX443" fmla="*/ 209968 w 7472601"/>
              <a:gd name="connsiteY443" fmla="*/ 6770713 h 6858000"/>
              <a:gd name="connsiteX444" fmla="*/ 873460 w 7472601"/>
              <a:gd name="connsiteY444" fmla="*/ 6253768 h 6858000"/>
              <a:gd name="connsiteX445" fmla="*/ 192686 w 7472601"/>
              <a:gd name="connsiteY445" fmla="*/ 5849257 h 6858000"/>
              <a:gd name="connsiteX446" fmla="*/ 4696 w 7472601"/>
              <a:gd name="connsiteY446" fmla="*/ 5697668 h 6858000"/>
              <a:gd name="connsiteX447" fmla="*/ 0 w 7472601"/>
              <a:gd name="connsiteY447" fmla="*/ 5689984 h 6858000"/>
              <a:gd name="connsiteX448" fmla="*/ 0 w 7472601"/>
              <a:gd name="connsiteY448" fmla="*/ 5513472 h 6858000"/>
              <a:gd name="connsiteX449" fmla="*/ 174101 w 7472601"/>
              <a:gd name="connsiteY449" fmla="*/ 5620277 h 6858000"/>
              <a:gd name="connsiteX450" fmla="*/ 891800 w 7472601"/>
              <a:gd name="connsiteY450" fmla="*/ 6036935 h 6858000"/>
              <a:gd name="connsiteX451" fmla="*/ 1072219 w 7472601"/>
              <a:gd name="connsiteY451" fmla="*/ 6169443 h 6858000"/>
              <a:gd name="connsiteX452" fmla="*/ 1074117 w 7472601"/>
              <a:gd name="connsiteY452" fmla="*/ 6170301 h 6858000"/>
              <a:gd name="connsiteX453" fmla="*/ 1083114 w 7472601"/>
              <a:gd name="connsiteY453" fmla="*/ 6174131 h 6858000"/>
              <a:gd name="connsiteX454" fmla="*/ 1543010 w 7472601"/>
              <a:gd name="connsiteY454" fmla="*/ 6191140 h 6858000"/>
              <a:gd name="connsiteX455" fmla="*/ 1551080 w 7472601"/>
              <a:gd name="connsiteY455" fmla="*/ 6195006 h 6858000"/>
              <a:gd name="connsiteX456" fmla="*/ 2345443 w 7472601"/>
              <a:gd name="connsiteY456" fmla="*/ 5549882 h 6858000"/>
              <a:gd name="connsiteX457" fmla="*/ 1721499 w 7472601"/>
              <a:gd name="connsiteY457" fmla="*/ 5599969 h 6858000"/>
              <a:gd name="connsiteX458" fmla="*/ 767716 w 7472601"/>
              <a:gd name="connsiteY458" fmla="*/ 5472768 h 6858000"/>
              <a:gd name="connsiteX459" fmla="*/ 722147 w 7472601"/>
              <a:gd name="connsiteY459" fmla="*/ 5393091 h 6858000"/>
              <a:gd name="connsiteX460" fmla="*/ 1485552 w 7472601"/>
              <a:gd name="connsiteY460" fmla="*/ 5313202 h 6858000"/>
              <a:gd name="connsiteX461" fmla="*/ 2143004 w 7472601"/>
              <a:gd name="connsiteY461" fmla="*/ 5402420 h 6858000"/>
              <a:gd name="connsiteX462" fmla="*/ 1933391 w 7472601"/>
              <a:gd name="connsiteY462" fmla="*/ 5156971 h 6858000"/>
              <a:gd name="connsiteX463" fmla="*/ 1827118 w 7472601"/>
              <a:gd name="connsiteY463" fmla="*/ 4968410 h 6858000"/>
              <a:gd name="connsiteX464" fmla="*/ 1837349 w 7472601"/>
              <a:gd name="connsiteY464" fmla="*/ 4956357 h 6858000"/>
              <a:gd name="connsiteX465" fmla="*/ 2162835 w 7472601"/>
              <a:gd name="connsiteY465" fmla="*/ 5187853 h 6858000"/>
              <a:gd name="connsiteX466" fmla="*/ 2257167 w 7472601"/>
              <a:gd name="connsiteY466" fmla="*/ 5462123 h 6858000"/>
              <a:gd name="connsiteX467" fmla="*/ 2261598 w 7472601"/>
              <a:gd name="connsiteY467" fmla="*/ 5467998 h 6858000"/>
              <a:gd name="connsiteX468" fmla="*/ 2437177 w 7472601"/>
              <a:gd name="connsiteY468" fmla="*/ 5479608 h 6858000"/>
              <a:gd name="connsiteX469" fmla="*/ 2445247 w 7472601"/>
              <a:gd name="connsiteY469" fmla="*/ 5483476 h 6858000"/>
              <a:gd name="connsiteX470" fmla="*/ 2743626 w 7472601"/>
              <a:gd name="connsiteY470" fmla="*/ 5304819 h 6858000"/>
              <a:gd name="connsiteX471" fmla="*/ 3048102 w 7472601"/>
              <a:gd name="connsiteY471" fmla="*/ 5150595 h 6858000"/>
              <a:gd name="connsiteX472" fmla="*/ 1799414 w 7472601"/>
              <a:gd name="connsiteY472" fmla="*/ 4694732 h 6858000"/>
              <a:gd name="connsiteX473" fmla="*/ 1771735 w 7472601"/>
              <a:gd name="connsiteY473" fmla="*/ 4619929 h 6858000"/>
              <a:gd name="connsiteX474" fmla="*/ 3104273 w 7472601"/>
              <a:gd name="connsiteY474" fmla="*/ 5076159 h 6858000"/>
              <a:gd name="connsiteX475" fmla="*/ 3113245 w 7472601"/>
              <a:gd name="connsiteY475" fmla="*/ 5090705 h 6858000"/>
              <a:gd name="connsiteX476" fmla="*/ 3126294 w 7472601"/>
              <a:gd name="connsiteY476" fmla="*/ 5114400 h 6858000"/>
              <a:gd name="connsiteX477" fmla="*/ 3937433 w 7472601"/>
              <a:gd name="connsiteY477" fmla="*/ 4830473 h 6858000"/>
              <a:gd name="connsiteX478" fmla="*/ 3590475 w 7472601"/>
              <a:gd name="connsiteY478" fmla="*/ 4597974 h 6858000"/>
              <a:gd name="connsiteX479" fmla="*/ 3100264 w 7472601"/>
              <a:gd name="connsiteY479" fmla="*/ 4579845 h 6858000"/>
              <a:gd name="connsiteX480" fmla="*/ 2183576 w 7472601"/>
              <a:gd name="connsiteY480" fmla="*/ 4227150 h 6858000"/>
              <a:gd name="connsiteX481" fmla="*/ 2151029 w 7472601"/>
              <a:gd name="connsiteY481" fmla="*/ 4146947 h 6858000"/>
              <a:gd name="connsiteX482" fmla="*/ 3563434 w 7472601"/>
              <a:gd name="connsiteY482" fmla="*/ 4469115 h 6858000"/>
              <a:gd name="connsiteX483" fmla="*/ 3177952 w 7472601"/>
              <a:gd name="connsiteY483" fmla="*/ 3657386 h 6858000"/>
              <a:gd name="connsiteX484" fmla="*/ 3189263 w 7472601"/>
              <a:gd name="connsiteY484" fmla="*/ 3625726 h 6858000"/>
              <a:gd name="connsiteX485" fmla="*/ 3560912 w 7472601"/>
              <a:gd name="connsiteY485" fmla="*/ 4079863 h 6858000"/>
              <a:gd name="connsiteX486" fmla="*/ 3626636 w 7472601"/>
              <a:gd name="connsiteY486" fmla="*/ 4512230 h 6858000"/>
              <a:gd name="connsiteX487" fmla="*/ 3653088 w 7472601"/>
              <a:gd name="connsiteY487" fmla="*/ 4521417 h 6858000"/>
              <a:gd name="connsiteX488" fmla="*/ 3988128 w 7472601"/>
              <a:gd name="connsiteY488" fmla="*/ 4817267 h 6858000"/>
              <a:gd name="connsiteX489" fmla="*/ 4830582 w 7472601"/>
              <a:gd name="connsiteY489" fmla="*/ 4676000 h 6858000"/>
              <a:gd name="connsiteX490" fmla="*/ 4830100 w 7472601"/>
              <a:gd name="connsiteY490" fmla="*/ 4675554 h 6858000"/>
              <a:gd name="connsiteX491" fmla="*/ 4036318 w 7472601"/>
              <a:gd name="connsiteY491" fmla="*/ 4147013 h 6858000"/>
              <a:gd name="connsiteX492" fmla="*/ 3432098 w 7472601"/>
              <a:gd name="connsiteY492" fmla="*/ 3537312 h 6858000"/>
              <a:gd name="connsiteX493" fmla="*/ 3446761 w 7472601"/>
              <a:gd name="connsiteY493" fmla="*/ 3461278 h 6858000"/>
              <a:gd name="connsiteX494" fmla="*/ 4419733 w 7472601"/>
              <a:gd name="connsiteY494" fmla="*/ 3963555 h 6858000"/>
              <a:gd name="connsiteX495" fmla="*/ 4781371 w 7472601"/>
              <a:gd name="connsiteY495" fmla="*/ 4458604 h 6858000"/>
              <a:gd name="connsiteX496" fmla="*/ 4780440 w 7472601"/>
              <a:gd name="connsiteY496" fmla="*/ 4470290 h 6858000"/>
              <a:gd name="connsiteX497" fmla="*/ 4898954 w 7472601"/>
              <a:gd name="connsiteY497" fmla="*/ 4662092 h 6858000"/>
              <a:gd name="connsiteX498" fmla="*/ 4900699 w 7472601"/>
              <a:gd name="connsiteY498" fmla="*/ 4670867 h 6858000"/>
              <a:gd name="connsiteX499" fmla="*/ 5714511 w 7472601"/>
              <a:gd name="connsiteY499" fmla="*/ 4663483 h 6858000"/>
              <a:gd name="connsiteX500" fmla="*/ 5464793 w 7472601"/>
              <a:gd name="connsiteY500" fmla="*/ 4393556 h 6858000"/>
              <a:gd name="connsiteX501" fmla="*/ 5461897 w 7472601"/>
              <a:gd name="connsiteY501" fmla="*/ 4390879 h 6858000"/>
              <a:gd name="connsiteX502" fmla="*/ 4294126 w 7472601"/>
              <a:gd name="connsiteY502" fmla="*/ 3303048 h 6858000"/>
              <a:gd name="connsiteX503" fmla="*/ 4305321 w 7472601"/>
              <a:gd name="connsiteY503" fmla="*/ 3256953 h 6858000"/>
              <a:gd name="connsiteX504" fmla="*/ 4949299 w 7472601"/>
              <a:gd name="connsiteY504" fmla="*/ 3766336 h 6858000"/>
              <a:gd name="connsiteX505" fmla="*/ 5291452 w 7472601"/>
              <a:gd name="connsiteY505" fmla="*/ 4076801 h 6858000"/>
              <a:gd name="connsiteX506" fmla="*/ 5434998 w 7472601"/>
              <a:gd name="connsiteY506" fmla="*/ 4254100 h 6858000"/>
              <a:gd name="connsiteX507" fmla="*/ 5351015 w 7472601"/>
              <a:gd name="connsiteY507" fmla="*/ 3760989 h 6858000"/>
              <a:gd name="connsiteX508" fmla="*/ 5413780 w 7472601"/>
              <a:gd name="connsiteY508" fmla="*/ 2966265 h 6858000"/>
              <a:gd name="connsiteX509" fmla="*/ 5425627 w 7472601"/>
              <a:gd name="connsiteY509" fmla="*/ 2954192 h 6858000"/>
              <a:gd name="connsiteX510" fmla="*/ 6604735 w 7472601"/>
              <a:gd name="connsiteY510" fmla="*/ 2041381 h 6858000"/>
              <a:gd name="connsiteX511" fmla="*/ 7204487 w 7472601"/>
              <a:gd name="connsiteY511" fmla="*/ 2742112 h 6858000"/>
              <a:gd name="connsiteX512" fmla="*/ 7131592 w 7472601"/>
              <a:gd name="connsiteY512" fmla="*/ 2672096 h 6858000"/>
              <a:gd name="connsiteX513" fmla="*/ 6996344 w 7472601"/>
              <a:gd name="connsiteY513" fmla="*/ 2518310 h 6858000"/>
              <a:gd name="connsiteX514" fmla="*/ 6735495 w 7472601"/>
              <a:gd name="connsiteY514" fmla="*/ 2196890 h 6858000"/>
              <a:gd name="connsiteX515" fmla="*/ 6721901 w 7472601"/>
              <a:gd name="connsiteY515" fmla="*/ 2179274 h 6858000"/>
              <a:gd name="connsiteX516" fmla="*/ 6604735 w 7472601"/>
              <a:gd name="connsiteY516" fmla="*/ 2041381 h 6858000"/>
              <a:gd name="connsiteX517" fmla="*/ 6591670 w 7472601"/>
              <a:gd name="connsiteY517" fmla="*/ 1988277 h 6858000"/>
              <a:gd name="connsiteX518" fmla="*/ 6747349 w 7472601"/>
              <a:gd name="connsiteY518" fmla="*/ 2160069 h 6858000"/>
              <a:gd name="connsiteX519" fmla="*/ 6760943 w 7472601"/>
              <a:gd name="connsiteY519" fmla="*/ 2177686 h 6858000"/>
              <a:gd name="connsiteX520" fmla="*/ 7021065 w 7472601"/>
              <a:gd name="connsiteY520" fmla="*/ 2498102 h 6858000"/>
              <a:gd name="connsiteX521" fmla="*/ 7155223 w 7472601"/>
              <a:gd name="connsiteY521" fmla="*/ 2650386 h 6858000"/>
              <a:gd name="connsiteX522" fmla="*/ 7203167 w 7472601"/>
              <a:gd name="connsiteY522" fmla="*/ 2697288 h 6858000"/>
              <a:gd name="connsiteX523" fmla="*/ 6937703 w 7472601"/>
              <a:gd name="connsiteY523" fmla="*/ 2321981 h 6858000"/>
              <a:gd name="connsiteX524" fmla="*/ 6591670 w 7472601"/>
              <a:gd name="connsiteY524" fmla="*/ 1988277 h 6858000"/>
              <a:gd name="connsiteX525" fmla="*/ 5798671 w 7472601"/>
              <a:gd name="connsiteY525" fmla="*/ 1981601 h 6858000"/>
              <a:gd name="connsiteX526" fmla="*/ 5754709 w 7472601"/>
              <a:gd name="connsiteY526" fmla="*/ 2071454 h 6858000"/>
              <a:gd name="connsiteX527" fmla="*/ 5763044 w 7472601"/>
              <a:gd name="connsiteY527" fmla="*/ 2842206 h 6858000"/>
              <a:gd name="connsiteX528" fmla="*/ 5764974 w 7472601"/>
              <a:gd name="connsiteY528" fmla="*/ 2799609 h 6858000"/>
              <a:gd name="connsiteX529" fmla="*/ 5767665 w 7472601"/>
              <a:gd name="connsiteY529" fmla="*/ 2666409 h 6858000"/>
              <a:gd name="connsiteX530" fmla="*/ 5763055 w 7472601"/>
              <a:gd name="connsiteY530" fmla="*/ 2579705 h 6858000"/>
              <a:gd name="connsiteX531" fmla="*/ 5758079 w 7472601"/>
              <a:gd name="connsiteY531" fmla="*/ 2492508 h 6858000"/>
              <a:gd name="connsiteX532" fmla="*/ 5779325 w 7472601"/>
              <a:gd name="connsiteY532" fmla="*/ 2197069 h 6858000"/>
              <a:gd name="connsiteX533" fmla="*/ 5798671 w 7472601"/>
              <a:gd name="connsiteY533" fmla="*/ 1981601 h 6858000"/>
              <a:gd name="connsiteX534" fmla="*/ 5829202 w 7472601"/>
              <a:gd name="connsiteY534" fmla="*/ 1971679 h 6858000"/>
              <a:gd name="connsiteX535" fmla="*/ 5809558 w 7472601"/>
              <a:gd name="connsiteY535" fmla="*/ 2198043 h 6858000"/>
              <a:gd name="connsiteX536" fmla="*/ 5788653 w 7472601"/>
              <a:gd name="connsiteY536" fmla="*/ 2489430 h 6858000"/>
              <a:gd name="connsiteX537" fmla="*/ 5793439 w 7472601"/>
              <a:gd name="connsiteY537" fmla="*/ 2575235 h 6858000"/>
              <a:gd name="connsiteX538" fmla="*/ 5796837 w 7472601"/>
              <a:gd name="connsiteY538" fmla="*/ 2637633 h 6858000"/>
              <a:gd name="connsiteX539" fmla="*/ 5818614 w 7472601"/>
              <a:gd name="connsiteY539" fmla="*/ 2473055 h 6858000"/>
              <a:gd name="connsiteX540" fmla="*/ 5829202 w 7472601"/>
              <a:gd name="connsiteY540" fmla="*/ 1971679 h 6858000"/>
              <a:gd name="connsiteX541" fmla="*/ 5911389 w 7472601"/>
              <a:gd name="connsiteY541" fmla="*/ 1898371 h 6858000"/>
              <a:gd name="connsiteX542" fmla="*/ 6237627 w 7472601"/>
              <a:gd name="connsiteY542" fmla="*/ 2231921 h 6858000"/>
              <a:gd name="connsiteX543" fmla="*/ 5911389 w 7472601"/>
              <a:gd name="connsiteY543" fmla="*/ 1898371 h 6858000"/>
              <a:gd name="connsiteX544" fmla="*/ 6944437 w 7472601"/>
              <a:gd name="connsiteY544" fmla="*/ 1575402 h 6858000"/>
              <a:gd name="connsiteX545" fmla="*/ 6304730 w 7472601"/>
              <a:gd name="connsiteY545" fmla="*/ 1766654 h 6858000"/>
              <a:gd name="connsiteX546" fmla="*/ 6944437 w 7472601"/>
              <a:gd name="connsiteY546" fmla="*/ 1575402 h 6858000"/>
              <a:gd name="connsiteX547" fmla="*/ 7019523 w 7472601"/>
              <a:gd name="connsiteY547" fmla="*/ 1519450 h 6858000"/>
              <a:gd name="connsiteX548" fmla="*/ 6298091 w 7472601"/>
              <a:gd name="connsiteY548" fmla="*/ 1737122 h 6858000"/>
              <a:gd name="connsiteX549" fmla="*/ 7019523 w 7472601"/>
              <a:gd name="connsiteY549" fmla="*/ 1519450 h 6858000"/>
              <a:gd name="connsiteX550" fmla="*/ 2399523 w 7472601"/>
              <a:gd name="connsiteY550" fmla="*/ 1428234 h 6858000"/>
              <a:gd name="connsiteX551" fmla="*/ 2224982 w 7472601"/>
              <a:gd name="connsiteY551" fmla="*/ 1826201 h 6858000"/>
              <a:gd name="connsiteX552" fmla="*/ 2096099 w 7472601"/>
              <a:gd name="connsiteY552" fmla="*/ 2345900 h 6858000"/>
              <a:gd name="connsiteX553" fmla="*/ 2283317 w 7472601"/>
              <a:gd name="connsiteY553" fmla="*/ 1796925 h 6858000"/>
              <a:gd name="connsiteX554" fmla="*/ 2399523 w 7472601"/>
              <a:gd name="connsiteY554" fmla="*/ 1428234 h 6858000"/>
              <a:gd name="connsiteX555" fmla="*/ 2448558 w 7472601"/>
              <a:gd name="connsiteY555" fmla="*/ 1373435 h 6858000"/>
              <a:gd name="connsiteX556" fmla="*/ 2312521 w 7472601"/>
              <a:gd name="connsiteY556" fmla="*/ 1806140 h 6858000"/>
              <a:gd name="connsiteX557" fmla="*/ 2127533 w 7472601"/>
              <a:gd name="connsiteY557" fmla="*/ 2348380 h 6858000"/>
              <a:gd name="connsiteX558" fmla="*/ 2358080 w 7472601"/>
              <a:gd name="connsiteY558" fmla="*/ 1866134 h 6858000"/>
              <a:gd name="connsiteX559" fmla="*/ 2407436 w 7472601"/>
              <a:gd name="connsiteY559" fmla="*/ 1651070 h 6858000"/>
              <a:gd name="connsiteX560" fmla="*/ 2448558 w 7472601"/>
              <a:gd name="connsiteY560" fmla="*/ 1373435 h 6858000"/>
              <a:gd name="connsiteX561" fmla="*/ 278707 w 7472601"/>
              <a:gd name="connsiteY561" fmla="*/ 1352270 h 6858000"/>
              <a:gd name="connsiteX562" fmla="*/ 321570 w 7472601"/>
              <a:gd name="connsiteY562" fmla="*/ 1861610 h 6858000"/>
              <a:gd name="connsiteX563" fmla="*/ 294281 w 7472601"/>
              <a:gd name="connsiteY563" fmla="*/ 1440658 h 6858000"/>
              <a:gd name="connsiteX564" fmla="*/ 278707 w 7472601"/>
              <a:gd name="connsiteY564" fmla="*/ 1352270 h 6858000"/>
              <a:gd name="connsiteX565" fmla="*/ 1423821 w 7472601"/>
              <a:gd name="connsiteY565" fmla="*/ 1351958 h 6858000"/>
              <a:gd name="connsiteX566" fmla="*/ 1638521 w 7472601"/>
              <a:gd name="connsiteY566" fmla="*/ 1908470 h 6858000"/>
              <a:gd name="connsiteX567" fmla="*/ 1754199 w 7472601"/>
              <a:gd name="connsiteY567" fmla="*/ 2149284 h 6858000"/>
              <a:gd name="connsiteX568" fmla="*/ 1908359 w 7472601"/>
              <a:gd name="connsiteY568" fmla="*/ 2364988 h 6858000"/>
              <a:gd name="connsiteX569" fmla="*/ 1647661 w 7472601"/>
              <a:gd name="connsiteY569" fmla="*/ 1825945 h 6858000"/>
              <a:gd name="connsiteX570" fmla="*/ 1423821 w 7472601"/>
              <a:gd name="connsiteY570" fmla="*/ 1351958 h 6858000"/>
              <a:gd name="connsiteX571" fmla="*/ 1431890 w 7472601"/>
              <a:gd name="connsiteY571" fmla="*/ 1306475 h 6858000"/>
              <a:gd name="connsiteX572" fmla="*/ 1507597 w 7472601"/>
              <a:gd name="connsiteY572" fmla="*/ 1446132 h 6858000"/>
              <a:gd name="connsiteX573" fmla="*/ 1674586 w 7472601"/>
              <a:gd name="connsiteY573" fmla="*/ 1813832 h 6858000"/>
              <a:gd name="connsiteX574" fmla="*/ 1815950 w 7472601"/>
              <a:gd name="connsiteY574" fmla="*/ 2128564 h 6858000"/>
              <a:gd name="connsiteX575" fmla="*/ 1984242 w 7472601"/>
              <a:gd name="connsiteY575" fmla="*/ 2430829 h 6858000"/>
              <a:gd name="connsiteX576" fmla="*/ 2014023 w 7472601"/>
              <a:gd name="connsiteY576" fmla="*/ 2450995 h 6858000"/>
              <a:gd name="connsiteX577" fmla="*/ 1747337 w 7472601"/>
              <a:gd name="connsiteY577" fmla="*/ 1855264 h 6858000"/>
              <a:gd name="connsiteX578" fmla="*/ 1533749 w 7472601"/>
              <a:gd name="connsiteY578" fmla="*/ 1478656 h 6858000"/>
              <a:gd name="connsiteX579" fmla="*/ 1431890 w 7472601"/>
              <a:gd name="connsiteY579" fmla="*/ 1306475 h 6858000"/>
              <a:gd name="connsiteX580" fmla="*/ 5052692 w 7472601"/>
              <a:gd name="connsiteY580" fmla="*/ 1292994 h 6858000"/>
              <a:gd name="connsiteX581" fmla="*/ 5200661 w 7472601"/>
              <a:gd name="connsiteY581" fmla="*/ 1635186 h 6858000"/>
              <a:gd name="connsiteX582" fmla="*/ 5297138 w 7472601"/>
              <a:gd name="connsiteY582" fmla="*/ 1906351 h 6858000"/>
              <a:gd name="connsiteX583" fmla="*/ 5052692 w 7472601"/>
              <a:gd name="connsiteY583" fmla="*/ 1292994 h 6858000"/>
              <a:gd name="connsiteX584" fmla="*/ 5009948 w 7472601"/>
              <a:gd name="connsiteY584" fmla="*/ 1273619 h 6858000"/>
              <a:gd name="connsiteX585" fmla="*/ 5121777 w 7472601"/>
              <a:gd name="connsiteY585" fmla="*/ 1654213 h 6858000"/>
              <a:gd name="connsiteX586" fmla="*/ 5293545 w 7472601"/>
              <a:gd name="connsiteY586" fmla="*/ 2072247 h 6858000"/>
              <a:gd name="connsiteX587" fmla="*/ 5294042 w 7472601"/>
              <a:gd name="connsiteY587" fmla="*/ 2065019 h 6858000"/>
              <a:gd name="connsiteX588" fmla="*/ 5171936 w 7472601"/>
              <a:gd name="connsiteY588" fmla="*/ 1647613 h 6858000"/>
              <a:gd name="connsiteX589" fmla="*/ 5009948 w 7472601"/>
              <a:gd name="connsiteY589" fmla="*/ 1273619 h 6858000"/>
              <a:gd name="connsiteX590" fmla="*/ 655236 w 7472601"/>
              <a:gd name="connsiteY590" fmla="*/ 1268632 h 6858000"/>
              <a:gd name="connsiteX591" fmla="*/ 839521 w 7472601"/>
              <a:gd name="connsiteY591" fmla="*/ 1685315 h 6858000"/>
              <a:gd name="connsiteX592" fmla="*/ 1109416 w 7472601"/>
              <a:gd name="connsiteY592" fmla="*/ 2061663 h 6858000"/>
              <a:gd name="connsiteX593" fmla="*/ 1298300 w 7472601"/>
              <a:gd name="connsiteY593" fmla="*/ 2247742 h 6858000"/>
              <a:gd name="connsiteX594" fmla="*/ 1125871 w 7472601"/>
              <a:gd name="connsiteY594" fmla="*/ 1989513 h 6858000"/>
              <a:gd name="connsiteX595" fmla="*/ 981574 w 7472601"/>
              <a:gd name="connsiteY595" fmla="*/ 1783157 h 6858000"/>
              <a:gd name="connsiteX596" fmla="*/ 922198 w 7472601"/>
              <a:gd name="connsiteY596" fmla="*/ 1677437 h 6858000"/>
              <a:gd name="connsiteX597" fmla="*/ 869293 w 7472601"/>
              <a:gd name="connsiteY597" fmla="*/ 1583214 h 6858000"/>
              <a:gd name="connsiteX598" fmla="*/ 751431 w 7472601"/>
              <a:gd name="connsiteY598" fmla="*/ 1405731 h 6858000"/>
              <a:gd name="connsiteX599" fmla="*/ 655236 w 7472601"/>
              <a:gd name="connsiteY599" fmla="*/ 1268632 h 6858000"/>
              <a:gd name="connsiteX600" fmla="*/ 6516292 w 7472601"/>
              <a:gd name="connsiteY600" fmla="*/ 1263064 h 6858000"/>
              <a:gd name="connsiteX601" fmla="*/ 5736320 w 7472601"/>
              <a:gd name="connsiteY601" fmla="*/ 1501803 h 6858000"/>
              <a:gd name="connsiteX602" fmla="*/ 6516292 w 7472601"/>
              <a:gd name="connsiteY602" fmla="*/ 1263064 h 6858000"/>
              <a:gd name="connsiteX603" fmla="*/ 291466 w 7472601"/>
              <a:gd name="connsiteY603" fmla="*/ 1250369 h 6858000"/>
              <a:gd name="connsiteX604" fmla="*/ 323180 w 7472601"/>
              <a:gd name="connsiteY604" fmla="*/ 1435283 h 6858000"/>
              <a:gd name="connsiteX605" fmla="*/ 349381 w 7472601"/>
              <a:gd name="connsiteY605" fmla="*/ 1875041 h 6858000"/>
              <a:gd name="connsiteX606" fmla="*/ 374363 w 7472601"/>
              <a:gd name="connsiteY606" fmla="*/ 1506494 h 6858000"/>
              <a:gd name="connsiteX607" fmla="*/ 302168 w 7472601"/>
              <a:gd name="connsiteY607" fmla="*/ 1274495 h 6858000"/>
              <a:gd name="connsiteX608" fmla="*/ 291466 w 7472601"/>
              <a:gd name="connsiteY608" fmla="*/ 1250369 h 6858000"/>
              <a:gd name="connsiteX609" fmla="*/ 678222 w 7472601"/>
              <a:gd name="connsiteY609" fmla="*/ 1248670 h 6858000"/>
              <a:gd name="connsiteX610" fmla="*/ 775536 w 7472601"/>
              <a:gd name="connsiteY610" fmla="*/ 1388015 h 6858000"/>
              <a:gd name="connsiteX611" fmla="*/ 894529 w 7472601"/>
              <a:gd name="connsiteY611" fmla="*/ 1567739 h 6858000"/>
              <a:gd name="connsiteX612" fmla="*/ 948000 w 7472601"/>
              <a:gd name="connsiteY612" fmla="*/ 1663088 h 6858000"/>
              <a:gd name="connsiteX613" fmla="*/ 1006812 w 7472601"/>
              <a:gd name="connsiteY613" fmla="*/ 1767683 h 6858000"/>
              <a:gd name="connsiteX614" fmla="*/ 1149133 w 7472601"/>
              <a:gd name="connsiteY614" fmla="*/ 1971513 h 6858000"/>
              <a:gd name="connsiteX615" fmla="*/ 1333952 w 7472601"/>
              <a:gd name="connsiteY615" fmla="*/ 2251620 h 6858000"/>
              <a:gd name="connsiteX616" fmla="*/ 1337329 w 7472601"/>
              <a:gd name="connsiteY616" fmla="*/ 2258350 h 6858000"/>
              <a:gd name="connsiteX617" fmla="*/ 1014726 w 7472601"/>
              <a:gd name="connsiteY617" fmla="*/ 1615556 h 6858000"/>
              <a:gd name="connsiteX618" fmla="*/ 678222 w 7472601"/>
              <a:gd name="connsiteY618" fmla="*/ 1248670 h 6858000"/>
              <a:gd name="connsiteX619" fmla="*/ 6691602 w 7472601"/>
              <a:gd name="connsiteY619" fmla="*/ 1140573 h 6858000"/>
              <a:gd name="connsiteX620" fmla="*/ 6571100 w 7472601"/>
              <a:gd name="connsiteY620" fmla="*/ 1183662 h 6858000"/>
              <a:gd name="connsiteX621" fmla="*/ 6241687 w 7472601"/>
              <a:gd name="connsiteY621" fmla="*/ 1257600 h 6858000"/>
              <a:gd name="connsiteX622" fmla="*/ 5693009 w 7472601"/>
              <a:gd name="connsiteY622" fmla="*/ 1478256 h 6858000"/>
              <a:gd name="connsiteX623" fmla="*/ 6548420 w 7472601"/>
              <a:gd name="connsiteY623" fmla="*/ 1214599 h 6858000"/>
              <a:gd name="connsiteX624" fmla="*/ 6605473 w 7472601"/>
              <a:gd name="connsiteY624" fmla="*/ 1184686 h 6858000"/>
              <a:gd name="connsiteX625" fmla="*/ 6691602 w 7472601"/>
              <a:gd name="connsiteY625" fmla="*/ 1140573 h 6858000"/>
              <a:gd name="connsiteX626" fmla="*/ 4002475 w 7472601"/>
              <a:gd name="connsiteY626" fmla="*/ 1037802 h 6858000"/>
              <a:gd name="connsiteX627" fmla="*/ 4000324 w 7472601"/>
              <a:gd name="connsiteY627" fmla="*/ 1039362 h 6858000"/>
              <a:gd name="connsiteX628" fmla="*/ 4002862 w 7472601"/>
              <a:gd name="connsiteY628" fmla="*/ 1042866 h 6858000"/>
              <a:gd name="connsiteX629" fmla="*/ 4002475 w 7472601"/>
              <a:gd name="connsiteY629" fmla="*/ 1037802 h 6858000"/>
              <a:gd name="connsiteX630" fmla="*/ 506322 w 7472601"/>
              <a:gd name="connsiteY630" fmla="*/ 1020997 h 6858000"/>
              <a:gd name="connsiteX631" fmla="*/ 533068 w 7472601"/>
              <a:gd name="connsiteY631" fmla="*/ 1029409 h 6858000"/>
              <a:gd name="connsiteX632" fmla="*/ 1232525 w 7472601"/>
              <a:gd name="connsiteY632" fmla="*/ 1804675 h 6858000"/>
              <a:gd name="connsiteX633" fmla="*/ 1388858 w 7472601"/>
              <a:gd name="connsiteY633" fmla="*/ 2368011 h 6858000"/>
              <a:gd name="connsiteX634" fmla="*/ 1384098 w 7472601"/>
              <a:gd name="connsiteY634" fmla="*/ 2378125 h 6858000"/>
              <a:gd name="connsiteX635" fmla="*/ 1425393 w 7472601"/>
              <a:gd name="connsiteY635" fmla="*/ 2589124 h 6858000"/>
              <a:gd name="connsiteX636" fmla="*/ 1424001 w 7472601"/>
              <a:gd name="connsiteY636" fmla="*/ 2597541 h 6858000"/>
              <a:gd name="connsiteX637" fmla="*/ 2152729 w 7472601"/>
              <a:gd name="connsiteY637" fmla="*/ 2864487 h 6858000"/>
              <a:gd name="connsiteX638" fmla="*/ 2020609 w 7472601"/>
              <a:gd name="connsiteY638" fmla="*/ 2539671 h 6858000"/>
              <a:gd name="connsiteX639" fmla="*/ 2018920 w 7472601"/>
              <a:gd name="connsiteY639" fmla="*/ 2536309 h 6858000"/>
              <a:gd name="connsiteX640" fmla="*/ 1342441 w 7472601"/>
              <a:gd name="connsiteY640" fmla="*/ 1173017 h 6858000"/>
              <a:gd name="connsiteX641" fmla="*/ 1367925 w 7472601"/>
              <a:gd name="connsiteY641" fmla="*/ 1135648 h 6858000"/>
              <a:gd name="connsiteX642" fmla="*/ 1771401 w 7472601"/>
              <a:gd name="connsiteY642" fmla="*/ 1806673 h 6858000"/>
              <a:gd name="connsiteX643" fmla="*/ 1972385 w 7472601"/>
              <a:gd name="connsiteY643" fmla="*/ 2198735 h 6858000"/>
              <a:gd name="connsiteX644" fmla="*/ 2040892 w 7472601"/>
              <a:gd name="connsiteY644" fmla="*/ 2405205 h 6858000"/>
              <a:gd name="connsiteX645" fmla="*/ 2131689 w 7472601"/>
              <a:gd name="connsiteY645" fmla="*/ 1936926 h 6858000"/>
              <a:gd name="connsiteX646" fmla="*/ 2454820 w 7472601"/>
              <a:gd name="connsiteY646" fmla="*/ 1248808 h 6858000"/>
              <a:gd name="connsiteX647" fmla="*/ 2492512 w 7472601"/>
              <a:gd name="connsiteY647" fmla="*/ 1302920 h 6858000"/>
              <a:gd name="connsiteX648" fmla="*/ 2081216 w 7472601"/>
              <a:gd name="connsiteY648" fmla="*/ 2527513 h 6858000"/>
              <a:gd name="connsiteX649" fmla="*/ 2081211 w 7472601"/>
              <a:gd name="connsiteY649" fmla="*/ 2528916 h 6858000"/>
              <a:gd name="connsiteX650" fmla="*/ 2199067 w 7472601"/>
              <a:gd name="connsiteY650" fmla="*/ 2884061 h 6858000"/>
              <a:gd name="connsiteX651" fmla="*/ 3192586 w 7472601"/>
              <a:gd name="connsiteY651" fmla="*/ 3411496 h 6858000"/>
              <a:gd name="connsiteX652" fmla="*/ 3182620 w 7472601"/>
              <a:gd name="connsiteY652" fmla="*/ 3483279 h 6858000"/>
              <a:gd name="connsiteX653" fmla="*/ 2435119 w 7472601"/>
              <a:gd name="connsiteY653" fmla="*/ 3080173 h 6858000"/>
              <a:gd name="connsiteX654" fmla="*/ 2410152 w 7472601"/>
              <a:gd name="connsiteY654" fmla="*/ 3063751 h 6858000"/>
              <a:gd name="connsiteX655" fmla="*/ 2408099 w 7472601"/>
              <a:gd name="connsiteY655" fmla="*/ 3064403 h 6858000"/>
              <a:gd name="connsiteX656" fmla="*/ 2407218 w 7472601"/>
              <a:gd name="connsiteY656" fmla="*/ 3070324 h 6858000"/>
              <a:gd name="connsiteX657" fmla="*/ 2380138 w 7472601"/>
              <a:gd name="connsiteY657" fmla="*/ 3099341 h 6858000"/>
              <a:gd name="connsiteX658" fmla="*/ 1765923 w 7472601"/>
              <a:gd name="connsiteY658" fmla="*/ 3581043 h 6858000"/>
              <a:gd name="connsiteX659" fmla="*/ 1702258 w 7472601"/>
              <a:gd name="connsiteY659" fmla="*/ 3612286 h 6858000"/>
              <a:gd name="connsiteX660" fmla="*/ 1538370 w 7472601"/>
              <a:gd name="connsiteY660" fmla="*/ 3811804 h 6858000"/>
              <a:gd name="connsiteX661" fmla="*/ 542867 w 7472601"/>
              <a:gd name="connsiteY661" fmla="*/ 4944092 h 6858000"/>
              <a:gd name="connsiteX662" fmla="*/ 515800 w 7472601"/>
              <a:gd name="connsiteY662" fmla="*/ 4862180 h 6858000"/>
              <a:gd name="connsiteX663" fmla="*/ 909145 w 7472601"/>
              <a:gd name="connsiteY663" fmla="*/ 4199225 h 6858000"/>
              <a:gd name="connsiteX664" fmla="*/ 1214067 w 7472601"/>
              <a:gd name="connsiteY664" fmla="*/ 3908561 h 6858000"/>
              <a:gd name="connsiteX665" fmla="*/ 640967 w 7472601"/>
              <a:gd name="connsiteY665" fmla="*/ 4105601 h 6858000"/>
              <a:gd name="connsiteX666" fmla="*/ 112563 w 7472601"/>
              <a:gd name="connsiteY666" fmla="*/ 4396952 h 6858000"/>
              <a:gd name="connsiteX667" fmla="*/ 0 w 7472601"/>
              <a:gd name="connsiteY667" fmla="*/ 4466006 h 6858000"/>
              <a:gd name="connsiteX668" fmla="*/ 0 w 7472601"/>
              <a:gd name="connsiteY668" fmla="*/ 4233763 h 6858000"/>
              <a:gd name="connsiteX669" fmla="*/ 36881 w 7472601"/>
              <a:gd name="connsiteY669" fmla="*/ 4200118 h 6858000"/>
              <a:gd name="connsiteX670" fmla="*/ 910534 w 7472601"/>
              <a:gd name="connsiteY670" fmla="*/ 3629753 h 6858000"/>
              <a:gd name="connsiteX671" fmla="*/ 1578717 w 7472601"/>
              <a:gd name="connsiteY671" fmla="*/ 3575982 h 6858000"/>
              <a:gd name="connsiteX672" fmla="*/ 2338780 w 7472601"/>
              <a:gd name="connsiteY672" fmla="*/ 3033725 h 6858000"/>
              <a:gd name="connsiteX673" fmla="*/ 1807991 w 7472601"/>
              <a:gd name="connsiteY673" fmla="*/ 2807184 h 6858000"/>
              <a:gd name="connsiteX674" fmla="*/ 1416358 w 7472601"/>
              <a:gd name="connsiteY674" fmla="*/ 3112571 h 6858000"/>
              <a:gd name="connsiteX675" fmla="*/ 939066 w 7472601"/>
              <a:gd name="connsiteY675" fmla="*/ 3378798 h 6858000"/>
              <a:gd name="connsiteX676" fmla="*/ 115099 w 7472601"/>
              <a:gd name="connsiteY676" fmla="*/ 3607650 h 6858000"/>
              <a:gd name="connsiteX677" fmla="*/ 97284 w 7472601"/>
              <a:gd name="connsiteY677" fmla="*/ 3520393 h 6858000"/>
              <a:gd name="connsiteX678" fmla="*/ 922050 w 7472601"/>
              <a:gd name="connsiteY678" fmla="*/ 3074867 h 6858000"/>
              <a:gd name="connsiteX679" fmla="*/ 1405265 w 7472601"/>
              <a:gd name="connsiteY679" fmla="*/ 3016319 h 6858000"/>
              <a:gd name="connsiteX680" fmla="*/ 1407512 w 7472601"/>
              <a:gd name="connsiteY680" fmla="*/ 3018001 h 6858000"/>
              <a:gd name="connsiteX681" fmla="*/ 1726266 w 7472601"/>
              <a:gd name="connsiteY681" fmla="*/ 2777274 h 6858000"/>
              <a:gd name="connsiteX682" fmla="*/ 625390 w 7472601"/>
              <a:gd name="connsiteY682" fmla="*/ 2514541 h 6858000"/>
              <a:gd name="connsiteX683" fmla="*/ 619799 w 7472601"/>
              <a:gd name="connsiteY683" fmla="*/ 2527180 h 6858000"/>
              <a:gd name="connsiteX684" fmla="*/ 310030 w 7472601"/>
              <a:gd name="connsiteY684" fmla="*/ 2771818 h 6858000"/>
              <a:gd name="connsiteX685" fmla="*/ 173877 w 7472601"/>
              <a:gd name="connsiteY685" fmla="*/ 2937056 h 6858000"/>
              <a:gd name="connsiteX686" fmla="*/ 77889 w 7472601"/>
              <a:gd name="connsiteY686" fmla="*/ 3138440 h 6858000"/>
              <a:gd name="connsiteX687" fmla="*/ 0 w 7472601"/>
              <a:gd name="connsiteY687" fmla="*/ 3271395 h 6858000"/>
              <a:gd name="connsiteX688" fmla="*/ 0 w 7472601"/>
              <a:gd name="connsiteY688" fmla="*/ 3153002 h 6858000"/>
              <a:gd name="connsiteX689" fmla="*/ 2386 w 7472601"/>
              <a:gd name="connsiteY689" fmla="*/ 3149203 h 6858000"/>
              <a:gd name="connsiteX690" fmla="*/ 89753 w 7472601"/>
              <a:gd name="connsiteY690" fmla="*/ 2987702 h 6858000"/>
              <a:gd name="connsiteX691" fmla="*/ 76869 w 7472601"/>
              <a:gd name="connsiteY691" fmla="*/ 3005404 h 6858000"/>
              <a:gd name="connsiteX692" fmla="*/ 32049 w 7472601"/>
              <a:gd name="connsiteY692" fmla="*/ 3065814 h 6858000"/>
              <a:gd name="connsiteX693" fmla="*/ 0 w 7472601"/>
              <a:gd name="connsiteY693" fmla="*/ 3108744 h 6858000"/>
              <a:gd name="connsiteX694" fmla="*/ 0 w 7472601"/>
              <a:gd name="connsiteY694" fmla="*/ 3058059 h 6858000"/>
              <a:gd name="connsiteX695" fmla="*/ 7610 w 7472601"/>
              <a:gd name="connsiteY695" fmla="*/ 3047889 h 6858000"/>
              <a:gd name="connsiteX696" fmla="*/ 52419 w 7472601"/>
              <a:gd name="connsiteY696" fmla="*/ 2987479 h 6858000"/>
              <a:gd name="connsiteX697" fmla="*/ 59142 w 7472601"/>
              <a:gd name="connsiteY697" fmla="*/ 2978488 h 6858000"/>
              <a:gd name="connsiteX698" fmla="*/ 0 w 7472601"/>
              <a:gd name="connsiteY698" fmla="*/ 3015334 h 6858000"/>
              <a:gd name="connsiteX699" fmla="*/ 0 w 7472601"/>
              <a:gd name="connsiteY699" fmla="*/ 2914286 h 6858000"/>
              <a:gd name="connsiteX700" fmla="*/ 36383 w 7472601"/>
              <a:gd name="connsiteY700" fmla="*/ 2901128 h 6858000"/>
              <a:gd name="connsiteX701" fmla="*/ 156329 w 7472601"/>
              <a:gd name="connsiteY701" fmla="*/ 2840533 h 6858000"/>
              <a:gd name="connsiteX702" fmla="*/ 358355 w 7472601"/>
              <a:gd name="connsiteY702" fmla="*/ 2620471 h 6858000"/>
              <a:gd name="connsiteX703" fmla="*/ 510577 w 7472601"/>
              <a:gd name="connsiteY703" fmla="*/ 2501244 h 6858000"/>
              <a:gd name="connsiteX704" fmla="*/ 211967 w 7472601"/>
              <a:gd name="connsiteY704" fmla="*/ 2479171 h 6858000"/>
              <a:gd name="connsiteX705" fmla="*/ 0 w 7472601"/>
              <a:gd name="connsiteY705" fmla="*/ 2476398 h 6858000"/>
              <a:gd name="connsiteX706" fmla="*/ 0 w 7472601"/>
              <a:gd name="connsiteY706" fmla="*/ 2389189 h 6858000"/>
              <a:gd name="connsiteX707" fmla="*/ 103062 w 7472601"/>
              <a:gd name="connsiteY707" fmla="*/ 2389518 h 6858000"/>
              <a:gd name="connsiteX708" fmla="*/ 510734 w 7472601"/>
              <a:gd name="connsiteY708" fmla="*/ 2416201 h 6858000"/>
              <a:gd name="connsiteX709" fmla="*/ 279257 w 7472601"/>
              <a:gd name="connsiteY709" fmla="*/ 2092102 h 6858000"/>
              <a:gd name="connsiteX710" fmla="*/ 65265 w 7472601"/>
              <a:gd name="connsiteY710" fmla="*/ 2006049 h 6858000"/>
              <a:gd name="connsiteX711" fmla="*/ 0 w 7472601"/>
              <a:gd name="connsiteY711" fmla="*/ 1982532 h 6858000"/>
              <a:gd name="connsiteX712" fmla="*/ 0 w 7472601"/>
              <a:gd name="connsiteY712" fmla="*/ 1912789 h 6858000"/>
              <a:gd name="connsiteX713" fmla="*/ 97460 w 7472601"/>
              <a:gd name="connsiteY713" fmla="*/ 1953725 h 6858000"/>
              <a:gd name="connsiteX714" fmla="*/ 221272 w 7472601"/>
              <a:gd name="connsiteY714" fmla="*/ 1980766 h 6858000"/>
              <a:gd name="connsiteX715" fmla="*/ 116765 w 7472601"/>
              <a:gd name="connsiteY715" fmla="*/ 1911033 h 6858000"/>
              <a:gd name="connsiteX716" fmla="*/ 16405 w 7472601"/>
              <a:gd name="connsiteY716" fmla="*/ 1803412 h 6858000"/>
              <a:gd name="connsiteX717" fmla="*/ 0 w 7472601"/>
              <a:gd name="connsiteY717" fmla="*/ 1784777 h 6858000"/>
              <a:gd name="connsiteX718" fmla="*/ 0 w 7472601"/>
              <a:gd name="connsiteY718" fmla="*/ 1740082 h 6858000"/>
              <a:gd name="connsiteX719" fmla="*/ 39394 w 7472601"/>
              <a:gd name="connsiteY719" fmla="*/ 1784856 h 6858000"/>
              <a:gd name="connsiteX720" fmla="*/ 135813 w 7472601"/>
              <a:gd name="connsiteY720" fmla="*/ 1888838 h 6858000"/>
              <a:gd name="connsiteX721" fmla="*/ 242575 w 7472601"/>
              <a:gd name="connsiteY721" fmla="*/ 1958841 h 6858000"/>
              <a:gd name="connsiteX722" fmla="*/ 82197 w 7472601"/>
              <a:gd name="connsiteY722" fmla="*/ 1754826 h 6858000"/>
              <a:gd name="connsiteX723" fmla="*/ 0 w 7472601"/>
              <a:gd name="connsiteY723" fmla="*/ 1679650 h 6858000"/>
              <a:gd name="connsiteX724" fmla="*/ 0 w 7472601"/>
              <a:gd name="connsiteY724" fmla="*/ 1602463 h 6858000"/>
              <a:gd name="connsiteX725" fmla="*/ 84689 w 7472601"/>
              <a:gd name="connsiteY725" fmla="*/ 1677442 h 6858000"/>
              <a:gd name="connsiteX726" fmla="*/ 298437 w 7472601"/>
              <a:gd name="connsiteY726" fmla="*/ 1968019 h 6858000"/>
              <a:gd name="connsiteX727" fmla="*/ 227269 w 7472601"/>
              <a:gd name="connsiteY727" fmla="*/ 1114064 h 6858000"/>
              <a:gd name="connsiteX728" fmla="*/ 248003 w 7472601"/>
              <a:gd name="connsiteY728" fmla="*/ 1089613 h 6858000"/>
              <a:gd name="connsiteX729" fmla="*/ 427020 w 7472601"/>
              <a:gd name="connsiteY729" fmla="*/ 1619803 h 6858000"/>
              <a:gd name="connsiteX730" fmla="*/ 340345 w 7472601"/>
              <a:gd name="connsiteY730" fmla="*/ 2027739 h 6858000"/>
              <a:gd name="connsiteX731" fmla="*/ 360865 w 7472601"/>
              <a:gd name="connsiteY731" fmla="*/ 2044827 h 6858000"/>
              <a:gd name="connsiteX732" fmla="*/ 560414 w 7472601"/>
              <a:gd name="connsiteY732" fmla="*/ 2421457 h 6858000"/>
              <a:gd name="connsiteX733" fmla="*/ 1359703 w 7472601"/>
              <a:gd name="connsiteY733" fmla="*/ 2578554 h 6858000"/>
              <a:gd name="connsiteX734" fmla="*/ 1359422 w 7472601"/>
              <a:gd name="connsiteY734" fmla="*/ 2577994 h 6858000"/>
              <a:gd name="connsiteX735" fmla="*/ 828701 w 7472601"/>
              <a:gd name="connsiteY735" fmla="*/ 1839520 h 6858000"/>
              <a:gd name="connsiteX736" fmla="*/ 494427 w 7472601"/>
              <a:gd name="connsiteY736" fmla="*/ 1092333 h 6858000"/>
              <a:gd name="connsiteX737" fmla="*/ 506322 w 7472601"/>
              <a:gd name="connsiteY737" fmla="*/ 1020997 h 6858000"/>
              <a:gd name="connsiteX738" fmla="*/ 4570198 w 7472601"/>
              <a:gd name="connsiteY738" fmla="*/ 978081 h 6858000"/>
              <a:gd name="connsiteX739" fmla="*/ 4523691 w 7472601"/>
              <a:gd name="connsiteY739" fmla="*/ 1127776 h 6858000"/>
              <a:gd name="connsiteX740" fmla="*/ 4509875 w 7472601"/>
              <a:gd name="connsiteY740" fmla="*/ 1167552 h 6858000"/>
              <a:gd name="connsiteX741" fmla="*/ 4478168 w 7472601"/>
              <a:gd name="connsiteY741" fmla="*/ 1260735 h 6858000"/>
              <a:gd name="connsiteX742" fmla="*/ 4409309 w 7472601"/>
              <a:gd name="connsiteY742" fmla="*/ 1666996 h 6858000"/>
              <a:gd name="connsiteX743" fmla="*/ 4370031 w 7472601"/>
              <a:gd name="connsiteY743" fmla="*/ 1955666 h 6858000"/>
              <a:gd name="connsiteX744" fmla="*/ 4570198 w 7472601"/>
              <a:gd name="connsiteY744" fmla="*/ 978081 h 6858000"/>
              <a:gd name="connsiteX745" fmla="*/ 4557898 w 7472601"/>
              <a:gd name="connsiteY745" fmla="*/ 900011 h 6858000"/>
              <a:gd name="connsiteX746" fmla="*/ 4344840 w 7472601"/>
              <a:gd name="connsiteY746" fmla="*/ 1922038 h 6858000"/>
              <a:gd name="connsiteX747" fmla="*/ 4378710 w 7472601"/>
              <a:gd name="connsiteY747" fmla="*/ 1665516 h 6858000"/>
              <a:gd name="connsiteX748" fmla="*/ 4448798 w 7472601"/>
              <a:gd name="connsiteY748" fmla="*/ 1253024 h 6858000"/>
              <a:gd name="connsiteX749" fmla="*/ 4480315 w 7472601"/>
              <a:gd name="connsiteY749" fmla="*/ 1158454 h 6858000"/>
              <a:gd name="connsiteX750" fmla="*/ 4494133 w 7472601"/>
              <a:gd name="connsiteY750" fmla="*/ 1118676 h 6858000"/>
              <a:gd name="connsiteX751" fmla="*/ 4557898 w 7472601"/>
              <a:gd name="connsiteY751" fmla="*/ 900011 h 6858000"/>
              <a:gd name="connsiteX752" fmla="*/ 5870151 w 7472601"/>
              <a:gd name="connsiteY752" fmla="*/ 898890 h 6858000"/>
              <a:gd name="connsiteX753" fmla="*/ 5861335 w 7472601"/>
              <a:gd name="connsiteY753" fmla="*/ 899177 h 6858000"/>
              <a:gd name="connsiteX754" fmla="*/ 5843702 w 7472601"/>
              <a:gd name="connsiteY754" fmla="*/ 899748 h 6858000"/>
              <a:gd name="connsiteX755" fmla="*/ 5651107 w 7472601"/>
              <a:gd name="connsiteY755" fmla="*/ 920306 h 6858000"/>
              <a:gd name="connsiteX756" fmla="*/ 5459407 w 7472601"/>
              <a:gd name="connsiteY756" fmla="*/ 940975 h 6858000"/>
              <a:gd name="connsiteX757" fmla="*/ 5374846 w 7472601"/>
              <a:gd name="connsiteY757" fmla="*/ 941988 h 6858000"/>
              <a:gd name="connsiteX758" fmla="*/ 5256105 w 7472601"/>
              <a:gd name="connsiteY758" fmla="*/ 945632 h 6858000"/>
              <a:gd name="connsiteX759" fmla="*/ 5107071 w 7472601"/>
              <a:gd name="connsiteY759" fmla="*/ 969720 h 6858000"/>
              <a:gd name="connsiteX760" fmla="*/ 4998681 w 7472601"/>
              <a:gd name="connsiteY760" fmla="*/ 988771 h 6858000"/>
              <a:gd name="connsiteX761" fmla="*/ 5870151 w 7472601"/>
              <a:gd name="connsiteY761" fmla="*/ 898890 h 6858000"/>
              <a:gd name="connsiteX762" fmla="*/ 5504425 w 7472601"/>
              <a:gd name="connsiteY762" fmla="*/ 848067 h 6858000"/>
              <a:gd name="connsiteX763" fmla="*/ 4968849 w 7472601"/>
              <a:gd name="connsiteY763" fmla="*/ 962318 h 6858000"/>
              <a:gd name="connsiteX764" fmla="*/ 5104039 w 7472601"/>
              <a:gd name="connsiteY764" fmla="*/ 940634 h 6858000"/>
              <a:gd name="connsiteX765" fmla="*/ 5256311 w 7472601"/>
              <a:gd name="connsiteY765" fmla="*/ 916490 h 6858000"/>
              <a:gd name="connsiteX766" fmla="*/ 5377381 w 7472601"/>
              <a:gd name="connsiteY766" fmla="*/ 912671 h 6858000"/>
              <a:gd name="connsiteX767" fmla="*/ 5460148 w 7472601"/>
              <a:gd name="connsiteY767" fmla="*/ 911442 h 6858000"/>
              <a:gd name="connsiteX768" fmla="*/ 5648971 w 7472601"/>
              <a:gd name="connsiteY768" fmla="*/ 891331 h 6858000"/>
              <a:gd name="connsiteX769" fmla="*/ 5844807 w 7472601"/>
              <a:gd name="connsiteY769" fmla="*/ 870718 h 6858000"/>
              <a:gd name="connsiteX770" fmla="*/ 5862975 w 7472601"/>
              <a:gd name="connsiteY770" fmla="*/ 869756 h 6858000"/>
              <a:gd name="connsiteX771" fmla="*/ 5920887 w 7472601"/>
              <a:gd name="connsiteY771" fmla="*/ 865929 h 6858000"/>
              <a:gd name="connsiteX772" fmla="*/ 5504425 w 7472601"/>
              <a:gd name="connsiteY772" fmla="*/ 848067 h 6858000"/>
              <a:gd name="connsiteX773" fmla="*/ 3607114 w 7472601"/>
              <a:gd name="connsiteY773" fmla="*/ 467441 h 6858000"/>
              <a:gd name="connsiteX774" fmla="*/ 3296242 w 7472601"/>
              <a:gd name="connsiteY774" fmla="*/ 807991 h 6858000"/>
              <a:gd name="connsiteX775" fmla="*/ 3174674 w 7472601"/>
              <a:gd name="connsiteY775" fmla="*/ 919759 h 6858000"/>
              <a:gd name="connsiteX776" fmla="*/ 3042978 w 7472601"/>
              <a:gd name="connsiteY776" fmla="*/ 1054894 h 6858000"/>
              <a:gd name="connsiteX777" fmla="*/ 2968914 w 7472601"/>
              <a:gd name="connsiteY777" fmla="*/ 1133756 h 6858000"/>
              <a:gd name="connsiteX778" fmla="*/ 3103823 w 7472601"/>
              <a:gd name="connsiteY778" fmla="*/ 1026814 h 6858000"/>
              <a:gd name="connsiteX779" fmla="*/ 3607114 w 7472601"/>
              <a:gd name="connsiteY779" fmla="*/ 467441 h 6858000"/>
              <a:gd name="connsiteX780" fmla="*/ 3744487 w 7472601"/>
              <a:gd name="connsiteY780" fmla="*/ 383136 h 6858000"/>
              <a:gd name="connsiteX781" fmla="*/ 3970213 w 7472601"/>
              <a:gd name="connsiteY781" fmla="*/ 995559 h 6858000"/>
              <a:gd name="connsiteX782" fmla="*/ 3744487 w 7472601"/>
              <a:gd name="connsiteY782" fmla="*/ 383136 h 6858000"/>
              <a:gd name="connsiteX783" fmla="*/ 3624562 w 7472601"/>
              <a:gd name="connsiteY783" fmla="*/ 367041 h 6858000"/>
              <a:gd name="connsiteX784" fmla="*/ 3489712 w 7472601"/>
              <a:gd name="connsiteY784" fmla="*/ 485386 h 6858000"/>
              <a:gd name="connsiteX785" fmla="*/ 3182994 w 7472601"/>
              <a:gd name="connsiteY785" fmla="*/ 828265 h 6858000"/>
              <a:gd name="connsiteX786" fmla="*/ 2892114 w 7472601"/>
              <a:gd name="connsiteY786" fmla="*/ 1172635 h 6858000"/>
              <a:gd name="connsiteX787" fmla="*/ 3021459 w 7472601"/>
              <a:gd name="connsiteY787" fmla="*/ 1035385 h 6858000"/>
              <a:gd name="connsiteX788" fmla="*/ 3153873 w 7472601"/>
              <a:gd name="connsiteY788" fmla="*/ 898971 h 6858000"/>
              <a:gd name="connsiteX789" fmla="*/ 3276511 w 7472601"/>
              <a:gd name="connsiteY789" fmla="*/ 786423 h 6858000"/>
              <a:gd name="connsiteX790" fmla="*/ 3584154 w 7472601"/>
              <a:gd name="connsiteY790" fmla="*/ 448218 h 6858000"/>
              <a:gd name="connsiteX791" fmla="*/ 3624562 w 7472601"/>
              <a:gd name="connsiteY791" fmla="*/ 367041 h 6858000"/>
              <a:gd name="connsiteX792" fmla="*/ 3766672 w 7472601"/>
              <a:gd name="connsiteY792" fmla="*/ 359429 h 6858000"/>
              <a:gd name="connsiteX793" fmla="*/ 3996338 w 7472601"/>
              <a:gd name="connsiteY793" fmla="*/ 968237 h 6858000"/>
              <a:gd name="connsiteX794" fmla="*/ 3766672 w 7472601"/>
              <a:gd name="connsiteY794" fmla="*/ 359429 h 6858000"/>
              <a:gd name="connsiteX795" fmla="*/ 5805386 w 7472601"/>
              <a:gd name="connsiteY795" fmla="*/ 239240 h 6858000"/>
              <a:gd name="connsiteX796" fmla="*/ 5736947 w 7472601"/>
              <a:gd name="connsiteY796" fmla="*/ 261367 h 6858000"/>
              <a:gd name="connsiteX797" fmla="*/ 5427012 w 7472601"/>
              <a:gd name="connsiteY797" fmla="*/ 311272 h 6858000"/>
              <a:gd name="connsiteX798" fmla="*/ 5147818 w 7472601"/>
              <a:gd name="connsiteY798" fmla="*/ 322112 h 6858000"/>
              <a:gd name="connsiteX799" fmla="*/ 5060854 w 7472601"/>
              <a:gd name="connsiteY799" fmla="*/ 311882 h 6858000"/>
              <a:gd name="connsiteX800" fmla="*/ 4945989 w 7472601"/>
              <a:gd name="connsiteY800" fmla="*/ 300516 h 6858000"/>
              <a:gd name="connsiteX801" fmla="*/ 5410479 w 7472601"/>
              <a:gd name="connsiteY801" fmla="*/ 348434 h 6858000"/>
              <a:gd name="connsiteX802" fmla="*/ 5805386 w 7472601"/>
              <a:gd name="connsiteY802" fmla="*/ 239240 h 6858000"/>
              <a:gd name="connsiteX803" fmla="*/ 5905192 w 7472601"/>
              <a:gd name="connsiteY803" fmla="*/ 163079 h 6858000"/>
              <a:gd name="connsiteX804" fmla="*/ 5865655 w 7472601"/>
              <a:gd name="connsiteY804" fmla="*/ 171901 h 6858000"/>
              <a:gd name="connsiteX805" fmla="*/ 5259740 w 7472601"/>
              <a:gd name="connsiteY805" fmla="*/ 257013 h 6858000"/>
              <a:gd name="connsiteX806" fmla="*/ 5208466 w 7472601"/>
              <a:gd name="connsiteY806" fmla="*/ 257550 h 6858000"/>
              <a:gd name="connsiteX807" fmla="*/ 4980204 w 7472601"/>
              <a:gd name="connsiteY807" fmla="*/ 271903 h 6858000"/>
              <a:gd name="connsiteX808" fmla="*/ 5068068 w 7472601"/>
              <a:gd name="connsiteY808" fmla="*/ 282244 h 6858000"/>
              <a:gd name="connsiteX809" fmla="*/ 5153231 w 7472601"/>
              <a:gd name="connsiteY809" fmla="*/ 292240 h 6858000"/>
              <a:gd name="connsiteX810" fmla="*/ 5426491 w 7472601"/>
              <a:gd name="connsiteY810" fmla="*/ 281128 h 6858000"/>
              <a:gd name="connsiteX811" fmla="*/ 5731212 w 7472601"/>
              <a:gd name="connsiteY811" fmla="*/ 231951 h 6858000"/>
              <a:gd name="connsiteX812" fmla="*/ 5905192 w 7472601"/>
              <a:gd name="connsiteY812" fmla="*/ 163079 h 6858000"/>
              <a:gd name="connsiteX813" fmla="*/ 5944437 w 7472601"/>
              <a:gd name="connsiteY813" fmla="*/ 113829 h 6858000"/>
              <a:gd name="connsiteX814" fmla="*/ 5825032 w 7472601"/>
              <a:gd name="connsiteY814" fmla="*/ 146405 h 6858000"/>
              <a:gd name="connsiteX815" fmla="*/ 4955599 w 7472601"/>
              <a:gd name="connsiteY815" fmla="*/ 247008 h 6858000"/>
              <a:gd name="connsiteX816" fmla="*/ 5210104 w 7472601"/>
              <a:gd name="connsiteY816" fmla="*/ 228123 h 6858000"/>
              <a:gd name="connsiteX817" fmla="*/ 5261015 w 7472601"/>
              <a:gd name="connsiteY817" fmla="*/ 227087 h 6858000"/>
              <a:gd name="connsiteX818" fmla="*/ 5861181 w 7472601"/>
              <a:gd name="connsiteY818" fmla="*/ 143093 h 6858000"/>
              <a:gd name="connsiteX819" fmla="*/ 5961252 w 7472601"/>
              <a:gd name="connsiteY819" fmla="*/ 114820 h 6858000"/>
              <a:gd name="connsiteX820" fmla="*/ 5944437 w 7472601"/>
              <a:gd name="connsiteY820" fmla="*/ 113829 h 6858000"/>
              <a:gd name="connsiteX821" fmla="*/ 3882765 w 7472601"/>
              <a:gd name="connsiteY821" fmla="*/ 0 h 6858000"/>
              <a:gd name="connsiteX822" fmla="*/ 3995099 w 7472601"/>
              <a:gd name="connsiteY822" fmla="*/ 0 h 6858000"/>
              <a:gd name="connsiteX823" fmla="*/ 4163818 w 7472601"/>
              <a:gd name="connsiteY823" fmla="*/ 234104 h 6858000"/>
              <a:gd name="connsiteX824" fmla="*/ 4172099 w 7472601"/>
              <a:gd name="connsiteY824" fmla="*/ 234207 h 6858000"/>
              <a:gd name="connsiteX825" fmla="*/ 4784282 w 7472601"/>
              <a:gd name="connsiteY825" fmla="*/ 276561 h 6858000"/>
              <a:gd name="connsiteX826" fmla="*/ 4801687 w 7472601"/>
              <a:gd name="connsiteY826" fmla="*/ 267764 h 6858000"/>
              <a:gd name="connsiteX827" fmla="*/ 6082788 w 7472601"/>
              <a:gd name="connsiteY827" fmla="*/ 64119 h 6858000"/>
              <a:gd name="connsiteX828" fmla="*/ 6099442 w 7472601"/>
              <a:gd name="connsiteY828" fmla="*/ 82568 h 6858000"/>
              <a:gd name="connsiteX829" fmla="*/ 4804137 w 7472601"/>
              <a:gd name="connsiteY829" fmla="*/ 320931 h 6858000"/>
              <a:gd name="connsiteX830" fmla="*/ 4227047 w 7472601"/>
              <a:gd name="connsiteY830" fmla="*/ 313415 h 6858000"/>
              <a:gd name="connsiteX831" fmla="*/ 4346041 w 7472601"/>
              <a:gd name="connsiteY831" fmla="*/ 456086 h 6858000"/>
              <a:gd name="connsiteX832" fmla="*/ 4870967 w 7472601"/>
              <a:gd name="connsiteY832" fmla="*/ 963061 h 6858000"/>
              <a:gd name="connsiteX833" fmla="*/ 4889647 w 7472601"/>
              <a:gd name="connsiteY833" fmla="*/ 957147 h 6858000"/>
              <a:gd name="connsiteX834" fmla="*/ 5422504 w 7472601"/>
              <a:gd name="connsiteY834" fmla="*/ 805191 h 6858000"/>
              <a:gd name="connsiteX835" fmla="*/ 6087656 w 7472601"/>
              <a:gd name="connsiteY835" fmla="*/ 826703 h 6858000"/>
              <a:gd name="connsiteX836" fmla="*/ 6058717 w 7472601"/>
              <a:gd name="connsiteY836" fmla="*/ 865992 h 6858000"/>
              <a:gd name="connsiteX837" fmla="*/ 4974153 w 7472601"/>
              <a:gd name="connsiteY837" fmla="*/ 1045456 h 6858000"/>
              <a:gd name="connsiteX838" fmla="*/ 5627835 w 7472601"/>
              <a:gd name="connsiteY838" fmla="*/ 1472077 h 6858000"/>
              <a:gd name="connsiteX839" fmla="*/ 5629817 w 7472601"/>
              <a:gd name="connsiteY839" fmla="*/ 1471412 h 6858000"/>
              <a:gd name="connsiteX840" fmla="*/ 5634124 w 7472601"/>
              <a:gd name="connsiteY840" fmla="*/ 1470572 h 6858000"/>
              <a:gd name="connsiteX841" fmla="*/ 5755832 w 7472601"/>
              <a:gd name="connsiteY841" fmla="*/ 1383886 h 6858000"/>
              <a:gd name="connsiteX842" fmla="*/ 6014186 w 7472601"/>
              <a:gd name="connsiteY842" fmla="*/ 1279799 h 6858000"/>
              <a:gd name="connsiteX843" fmla="*/ 6901619 w 7472601"/>
              <a:gd name="connsiteY843" fmla="*/ 1047874 h 6858000"/>
              <a:gd name="connsiteX844" fmla="*/ 6931566 w 7472601"/>
              <a:gd name="connsiteY844" fmla="*/ 1062034 h 6858000"/>
              <a:gd name="connsiteX845" fmla="*/ 5790982 w 7472601"/>
              <a:gd name="connsiteY845" fmla="*/ 1561380 h 6858000"/>
              <a:gd name="connsiteX846" fmla="*/ 6188971 w 7472601"/>
              <a:gd name="connsiteY846" fmla="*/ 1755168 h 6858000"/>
              <a:gd name="connsiteX847" fmla="*/ 6202446 w 7472601"/>
              <a:gd name="connsiteY847" fmla="*/ 1752268 h 6858000"/>
              <a:gd name="connsiteX848" fmla="*/ 7179560 w 7472601"/>
              <a:gd name="connsiteY848" fmla="*/ 1467551 h 6858000"/>
              <a:gd name="connsiteX849" fmla="*/ 7158730 w 7472601"/>
              <a:gd name="connsiteY849" fmla="*/ 1507835 h 6858000"/>
              <a:gd name="connsiteX850" fmla="*/ 6326959 w 7472601"/>
              <a:gd name="connsiteY850" fmla="*/ 1817686 h 6858000"/>
              <a:gd name="connsiteX851" fmla="*/ 6537433 w 7472601"/>
              <a:gd name="connsiteY851" fmla="*/ 1907790 h 6858000"/>
              <a:gd name="connsiteX852" fmla="*/ 6550221 w 7472601"/>
              <a:gd name="connsiteY852" fmla="*/ 1910729 h 6858000"/>
              <a:gd name="connsiteX853" fmla="*/ 6964438 w 7472601"/>
              <a:gd name="connsiteY853" fmla="*/ 2209505 h 6858000"/>
              <a:gd name="connsiteX854" fmla="*/ 7367862 w 7472601"/>
              <a:gd name="connsiteY854" fmla="*/ 2806833 h 6858000"/>
              <a:gd name="connsiteX855" fmla="*/ 7364329 w 7472601"/>
              <a:gd name="connsiteY855" fmla="*/ 2826907 h 6858000"/>
              <a:gd name="connsiteX856" fmla="*/ 7290545 w 7472601"/>
              <a:gd name="connsiteY856" fmla="*/ 2850663 h 6858000"/>
              <a:gd name="connsiteX857" fmla="*/ 6472036 w 7472601"/>
              <a:gd name="connsiteY857" fmla="*/ 1959003 h 6858000"/>
              <a:gd name="connsiteX858" fmla="*/ 5792897 w 7472601"/>
              <a:gd name="connsiteY858" fmla="*/ 1647747 h 6858000"/>
              <a:gd name="connsiteX859" fmla="*/ 5842751 w 7472601"/>
              <a:gd name="connsiteY859" fmla="*/ 1816112 h 6858000"/>
              <a:gd name="connsiteX860" fmla="*/ 5847424 w 7472601"/>
              <a:gd name="connsiteY860" fmla="*/ 1815776 h 6858000"/>
              <a:gd name="connsiteX861" fmla="*/ 6399821 w 7472601"/>
              <a:gd name="connsiteY861" fmla="*/ 2344799 h 6858000"/>
              <a:gd name="connsiteX862" fmla="*/ 6323232 w 7472601"/>
              <a:gd name="connsiteY862" fmla="*/ 2389634 h 6858000"/>
              <a:gd name="connsiteX863" fmla="*/ 5942958 w 7472601"/>
              <a:gd name="connsiteY863" fmla="*/ 2077708 h 6858000"/>
              <a:gd name="connsiteX864" fmla="*/ 5921559 w 7472601"/>
              <a:gd name="connsiteY864" fmla="*/ 2378596 h 6858000"/>
              <a:gd name="connsiteX865" fmla="*/ 5817651 w 7472601"/>
              <a:gd name="connsiteY865" fmla="*/ 3023919 h 6858000"/>
              <a:gd name="connsiteX866" fmla="*/ 5729634 w 7472601"/>
              <a:gd name="connsiteY866" fmla="*/ 3051849 h 6858000"/>
              <a:gd name="connsiteX867" fmla="*/ 5611018 w 7472601"/>
              <a:gd name="connsiteY867" fmla="*/ 2316769 h 6858000"/>
              <a:gd name="connsiteX868" fmla="*/ 5687608 w 7472601"/>
              <a:gd name="connsiteY868" fmla="*/ 2039972 h 6858000"/>
              <a:gd name="connsiteX869" fmla="*/ 5657554 w 7472601"/>
              <a:gd name="connsiteY869" fmla="*/ 1576445 h 6858000"/>
              <a:gd name="connsiteX870" fmla="*/ 5150475 w 7472601"/>
              <a:gd name="connsiteY870" fmla="*/ 1274012 h 6858000"/>
              <a:gd name="connsiteX871" fmla="*/ 5349142 w 7472601"/>
              <a:gd name="connsiteY871" fmla="*/ 2204405 h 6858000"/>
              <a:gd name="connsiteX872" fmla="*/ 5262214 w 7472601"/>
              <a:gd name="connsiteY872" fmla="*/ 2233836 h 6858000"/>
              <a:gd name="connsiteX873" fmla="*/ 4981539 w 7472601"/>
              <a:gd name="connsiteY873" fmla="*/ 1542201 h 6858000"/>
              <a:gd name="connsiteX874" fmla="*/ 4958461 w 7472601"/>
              <a:gd name="connsiteY874" fmla="*/ 1136957 h 6858000"/>
              <a:gd name="connsiteX875" fmla="*/ 4655015 w 7472601"/>
              <a:gd name="connsiteY875" fmla="*/ 891426 h 6858000"/>
              <a:gd name="connsiteX876" fmla="*/ 4348002 w 7472601"/>
              <a:gd name="connsiteY876" fmla="*/ 2205895 h 6858000"/>
              <a:gd name="connsiteX877" fmla="*/ 4262250 w 7472601"/>
              <a:gd name="connsiteY877" fmla="*/ 2219972 h 6858000"/>
              <a:gd name="connsiteX878" fmla="*/ 4550611 w 7472601"/>
              <a:gd name="connsiteY878" fmla="*/ 817540 h 6858000"/>
              <a:gd name="connsiteX879" fmla="*/ 4564418 w 7472601"/>
              <a:gd name="connsiteY879" fmla="*/ 808293 h 6858000"/>
              <a:gd name="connsiteX880" fmla="*/ 4266388 w 7472601"/>
              <a:gd name="connsiteY880" fmla="*/ 500083 h 6858000"/>
              <a:gd name="connsiteX881" fmla="*/ 4032842 w 7472601"/>
              <a:gd name="connsiteY881" fmla="*/ 211809 h 6858000"/>
              <a:gd name="connsiteX882" fmla="*/ 3882765 w 7472601"/>
              <a:gd name="connsiteY882" fmla="*/ 0 h 6858000"/>
              <a:gd name="connsiteX883" fmla="*/ 3721337 w 7472601"/>
              <a:gd name="connsiteY883" fmla="*/ 0 h 6858000"/>
              <a:gd name="connsiteX884" fmla="*/ 3797544 w 7472601"/>
              <a:gd name="connsiteY884" fmla="*/ 0 h 6858000"/>
              <a:gd name="connsiteX885" fmla="*/ 3775734 w 7472601"/>
              <a:gd name="connsiteY885" fmla="*/ 95131 h 6858000"/>
              <a:gd name="connsiteX886" fmla="*/ 3724807 w 7472601"/>
              <a:gd name="connsiteY886" fmla="*/ 272257 h 6858000"/>
              <a:gd name="connsiteX887" fmla="*/ 3726844 w 7472601"/>
              <a:gd name="connsiteY887" fmla="*/ 282988 h 6858000"/>
              <a:gd name="connsiteX888" fmla="*/ 3742664 w 7472601"/>
              <a:gd name="connsiteY888" fmla="*/ 279918 h 6858000"/>
              <a:gd name="connsiteX889" fmla="*/ 4103910 w 7472601"/>
              <a:gd name="connsiteY889" fmla="*/ 1161917 h 6858000"/>
              <a:gd name="connsiteX890" fmla="*/ 4020269 w 7472601"/>
              <a:gd name="connsiteY890" fmla="*/ 1200406 h 6858000"/>
              <a:gd name="connsiteX891" fmla="*/ 3674882 w 7472601"/>
              <a:gd name="connsiteY891" fmla="*/ 488524 h 6858000"/>
              <a:gd name="connsiteX892" fmla="*/ 3132682 w 7472601"/>
              <a:gd name="connsiteY892" fmla="*/ 1072284 h 6858000"/>
              <a:gd name="connsiteX893" fmla="*/ 2716346 w 7472601"/>
              <a:gd name="connsiteY893" fmla="*/ 1276376 h 6858000"/>
              <a:gd name="connsiteX894" fmla="*/ 2716772 w 7472601"/>
              <a:gd name="connsiteY894" fmla="*/ 1255462 h 6858000"/>
              <a:gd name="connsiteX895" fmla="*/ 3471096 w 7472601"/>
              <a:gd name="connsiteY895" fmla="*/ 437072 h 6858000"/>
              <a:gd name="connsiteX896" fmla="*/ 3639057 w 7472601"/>
              <a:gd name="connsiteY896" fmla="*/ 286334 h 6858000"/>
              <a:gd name="connsiteX897" fmla="*/ 3640309 w 7472601"/>
              <a:gd name="connsiteY897" fmla="*/ 284664 h 6858000"/>
              <a:gd name="connsiteX898" fmla="*/ 3646022 w 7472601"/>
              <a:gd name="connsiteY898" fmla="*/ 276711 h 6858000"/>
              <a:gd name="connsiteX899" fmla="*/ 3707943 w 7472601"/>
              <a:gd name="connsiteY899" fmla="*/ 65958 h 6858000"/>
              <a:gd name="connsiteX900" fmla="*/ 3721337 w 7472601"/>
              <a:gd name="connsiteY900" fmla="*/ 0 h 6858000"/>
              <a:gd name="connsiteX901" fmla="*/ 2867960 w 7472601"/>
              <a:gd name="connsiteY901" fmla="*/ 0 h 6858000"/>
              <a:gd name="connsiteX902" fmla="*/ 2926351 w 7472601"/>
              <a:gd name="connsiteY902" fmla="*/ 0 h 6858000"/>
              <a:gd name="connsiteX903" fmla="*/ 2902823 w 7472601"/>
              <a:gd name="connsiteY903" fmla="*/ 262929 h 6858000"/>
              <a:gd name="connsiteX904" fmla="*/ 2940663 w 7472601"/>
              <a:gd name="connsiteY904" fmla="*/ 140884 h 6858000"/>
              <a:gd name="connsiteX905" fmla="*/ 2947039 w 7472601"/>
              <a:gd name="connsiteY905" fmla="*/ 122524 h 6858000"/>
              <a:gd name="connsiteX906" fmla="*/ 2984316 w 7472601"/>
              <a:gd name="connsiteY906" fmla="*/ 0 h 6858000"/>
              <a:gd name="connsiteX907" fmla="*/ 3016114 w 7472601"/>
              <a:gd name="connsiteY907" fmla="*/ 0 h 6858000"/>
              <a:gd name="connsiteX908" fmla="*/ 2979949 w 7472601"/>
              <a:gd name="connsiteY908" fmla="*/ 119274 h 6858000"/>
              <a:gd name="connsiteX909" fmla="*/ 3023879 w 7472601"/>
              <a:gd name="connsiteY909" fmla="*/ 0 h 6858000"/>
              <a:gd name="connsiteX910" fmla="*/ 3105400 w 7472601"/>
              <a:gd name="connsiteY910" fmla="*/ 0 h 6858000"/>
              <a:gd name="connsiteX911" fmla="*/ 3094669 w 7472601"/>
              <a:gd name="connsiteY911" fmla="*/ 30308 h 6858000"/>
              <a:gd name="connsiteX912" fmla="*/ 2901945 w 7472601"/>
              <a:gd name="connsiteY912" fmla="*/ 466538 h 6858000"/>
              <a:gd name="connsiteX913" fmla="*/ 2815209 w 7472601"/>
              <a:gd name="connsiteY913" fmla="*/ 497361 h 6858000"/>
              <a:gd name="connsiteX914" fmla="*/ 2844845 w 7472601"/>
              <a:gd name="connsiteY914" fmla="*/ 127638 h 6858000"/>
              <a:gd name="connsiteX915" fmla="*/ 2867960 w 7472601"/>
              <a:gd name="connsiteY915" fmla="*/ 0 h 6858000"/>
              <a:gd name="connsiteX916" fmla="*/ 1057230 w 7472601"/>
              <a:gd name="connsiteY916" fmla="*/ 0 h 6858000"/>
              <a:gd name="connsiteX917" fmla="*/ 1111003 w 7472601"/>
              <a:gd name="connsiteY917" fmla="*/ 0 h 6858000"/>
              <a:gd name="connsiteX918" fmla="*/ 1125553 w 7472601"/>
              <a:gd name="connsiteY918" fmla="*/ 52588 h 6858000"/>
              <a:gd name="connsiteX919" fmla="*/ 1304276 w 7472601"/>
              <a:gd name="connsiteY919" fmla="*/ 476275 h 6858000"/>
              <a:gd name="connsiteX920" fmla="*/ 1492066 w 7472601"/>
              <a:gd name="connsiteY920" fmla="*/ 886333 h 6858000"/>
              <a:gd name="connsiteX921" fmla="*/ 1423698 w 7472601"/>
              <a:gd name="connsiteY921" fmla="*/ 710817 h 6858000"/>
              <a:gd name="connsiteX922" fmla="*/ 1357609 w 7472601"/>
              <a:gd name="connsiteY922" fmla="*/ 532892 h 6858000"/>
              <a:gd name="connsiteX923" fmla="*/ 1309550 w 7472601"/>
              <a:gd name="connsiteY923" fmla="*/ 374031 h 6858000"/>
              <a:gd name="connsiteX924" fmla="*/ 1193673 w 7472601"/>
              <a:gd name="connsiteY924" fmla="*/ 49533 h 6858000"/>
              <a:gd name="connsiteX925" fmla="*/ 1164391 w 7472601"/>
              <a:gd name="connsiteY925" fmla="*/ 0 h 6858000"/>
              <a:gd name="connsiteX926" fmla="*/ 1200666 w 7472601"/>
              <a:gd name="connsiteY926" fmla="*/ 0 h 6858000"/>
              <a:gd name="connsiteX927" fmla="*/ 1223408 w 7472601"/>
              <a:gd name="connsiteY927" fmla="*/ 38996 h 6858000"/>
              <a:gd name="connsiteX928" fmla="*/ 1339635 w 7472601"/>
              <a:gd name="connsiteY928" fmla="*/ 365517 h 6858000"/>
              <a:gd name="connsiteX929" fmla="*/ 1387469 w 7472601"/>
              <a:gd name="connsiteY929" fmla="*/ 523079 h 6858000"/>
              <a:gd name="connsiteX930" fmla="*/ 1452685 w 7472601"/>
              <a:gd name="connsiteY930" fmla="*/ 699806 h 6858000"/>
              <a:gd name="connsiteX931" fmla="*/ 1492092 w 7472601"/>
              <a:gd name="connsiteY931" fmla="*/ 800424 h 6858000"/>
              <a:gd name="connsiteX932" fmla="*/ 1455302 w 7472601"/>
              <a:gd name="connsiteY932" fmla="*/ 632913 h 6858000"/>
              <a:gd name="connsiteX933" fmla="*/ 1222336 w 7472601"/>
              <a:gd name="connsiteY933" fmla="*/ 9480 h 6858000"/>
              <a:gd name="connsiteX934" fmla="*/ 1214634 w 7472601"/>
              <a:gd name="connsiteY934" fmla="*/ 0 h 6858000"/>
              <a:gd name="connsiteX935" fmla="*/ 1289827 w 7472601"/>
              <a:gd name="connsiteY935" fmla="*/ 0 h 6858000"/>
              <a:gd name="connsiteX936" fmla="*/ 1321076 w 7472601"/>
              <a:gd name="connsiteY936" fmla="*/ 59722 h 6858000"/>
              <a:gd name="connsiteX937" fmla="*/ 1512579 w 7472601"/>
              <a:gd name="connsiteY937" fmla="*/ 626441 h 6858000"/>
              <a:gd name="connsiteX938" fmla="*/ 1506076 w 7472601"/>
              <a:gd name="connsiteY938" fmla="*/ 1089289 h 6858000"/>
              <a:gd name="connsiteX939" fmla="*/ 1486346 w 7472601"/>
              <a:gd name="connsiteY939" fmla="*/ 1079919 h 6858000"/>
              <a:gd name="connsiteX940" fmla="*/ 1070511 w 7472601"/>
              <a:gd name="connsiteY940" fmla="*/ 48609 h 6858000"/>
              <a:gd name="connsiteX941" fmla="*/ 1057230 w 7472601"/>
              <a:gd name="connsiteY941" fmla="*/ 0 h 6858000"/>
              <a:gd name="connsiteX942" fmla="*/ 43151 w 7472601"/>
              <a:gd name="connsiteY942" fmla="*/ 0 h 6858000"/>
              <a:gd name="connsiteX943" fmla="*/ 95283 w 7472601"/>
              <a:gd name="connsiteY943" fmla="*/ 0 h 6858000"/>
              <a:gd name="connsiteX944" fmla="*/ 300708 w 7472601"/>
              <a:gd name="connsiteY944" fmla="*/ 154571 h 6858000"/>
              <a:gd name="connsiteX945" fmla="*/ 530414 w 7472601"/>
              <a:gd name="connsiteY945" fmla="*/ 354673 h 6858000"/>
              <a:gd name="connsiteX946" fmla="*/ 333785 w 7472601"/>
              <a:gd name="connsiteY946" fmla="*/ 161564 h 6858000"/>
              <a:gd name="connsiteX947" fmla="*/ 147005 w 7472601"/>
              <a:gd name="connsiteY947" fmla="*/ 0 h 6858000"/>
              <a:gd name="connsiteX948" fmla="*/ 272509 w 7472601"/>
              <a:gd name="connsiteY948" fmla="*/ 0 h 6858000"/>
              <a:gd name="connsiteX949" fmla="*/ 326276 w 7472601"/>
              <a:gd name="connsiteY949" fmla="*/ 45847 h 6858000"/>
              <a:gd name="connsiteX950" fmla="*/ 823759 w 7472601"/>
              <a:gd name="connsiteY950" fmla="*/ 574145 h 6858000"/>
              <a:gd name="connsiteX951" fmla="*/ 811254 w 7472601"/>
              <a:gd name="connsiteY951" fmla="*/ 665546 h 6858000"/>
              <a:gd name="connsiteX952" fmla="*/ 154042 w 7472601"/>
              <a:gd name="connsiteY952" fmla="*/ 261522 h 6858000"/>
              <a:gd name="connsiteX953" fmla="*/ 13550 w 7472601"/>
              <a:gd name="connsiteY953" fmla="*/ 158423 h 6858000"/>
              <a:gd name="connsiteX954" fmla="*/ 0 w 7472601"/>
              <a:gd name="connsiteY954" fmla="*/ 146618 h 6858000"/>
              <a:gd name="connsiteX955" fmla="*/ 0 w 7472601"/>
              <a:gd name="connsiteY955" fmla="*/ 59161 h 6858000"/>
              <a:gd name="connsiteX956" fmla="*/ 45427 w 7472601"/>
              <a:gd name="connsiteY956" fmla="*/ 101078 h 6858000"/>
              <a:gd name="connsiteX957" fmla="*/ 630103 w 7472601"/>
              <a:gd name="connsiteY957" fmla="*/ 485885 h 6858000"/>
              <a:gd name="connsiteX958" fmla="*/ 532040 w 7472601"/>
              <a:gd name="connsiteY958" fmla="*/ 399359 h 6858000"/>
              <a:gd name="connsiteX959" fmla="*/ 517618 w 7472601"/>
              <a:gd name="connsiteY959" fmla="*/ 385726 h 6858000"/>
              <a:gd name="connsiteX960" fmla="*/ 285074 w 7472601"/>
              <a:gd name="connsiteY960" fmla="*/ 182755 h 6858000"/>
              <a:gd name="connsiteX961" fmla="*/ 43151 w 7472601"/>
              <a:gd name="connsiteY961" fmla="*/ 0 h 6858000"/>
              <a:gd name="connsiteX0" fmla="*/ 369702 w 7472601"/>
              <a:gd name="connsiteY0" fmla="*/ 6712169 h 6858000"/>
              <a:gd name="connsiteX1" fmla="*/ 366575 w 7472601"/>
              <a:gd name="connsiteY1" fmla="*/ 6715556 h 6858000"/>
              <a:gd name="connsiteX2" fmla="*/ 371637 w 7472601"/>
              <a:gd name="connsiteY2" fmla="*/ 6713954 h 6858000"/>
              <a:gd name="connsiteX3" fmla="*/ 369702 w 7472601"/>
              <a:gd name="connsiteY3" fmla="*/ 6712169 h 6858000"/>
              <a:gd name="connsiteX4" fmla="*/ 7088673 w 7472601"/>
              <a:gd name="connsiteY4" fmla="*/ 6610396 h 6858000"/>
              <a:gd name="connsiteX5" fmla="*/ 7440138 w 7472601"/>
              <a:gd name="connsiteY5" fmla="*/ 6622648 h 6858000"/>
              <a:gd name="connsiteX6" fmla="*/ 7467600 w 7472601"/>
              <a:gd name="connsiteY6" fmla="*/ 6628217 h 6858000"/>
              <a:gd name="connsiteX7" fmla="*/ 7467600 w 7472601"/>
              <a:gd name="connsiteY7" fmla="*/ 6668575 h 6858000"/>
              <a:gd name="connsiteX8" fmla="*/ 7392322 w 7472601"/>
              <a:gd name="connsiteY8" fmla="*/ 6658238 h 6858000"/>
              <a:gd name="connsiteX9" fmla="*/ 7467600 w 7472601"/>
              <a:gd name="connsiteY9" fmla="*/ 6683873 h 6858000"/>
              <a:gd name="connsiteX10" fmla="*/ 7467600 w 7472601"/>
              <a:gd name="connsiteY10" fmla="*/ 6714215 h 6858000"/>
              <a:gd name="connsiteX11" fmla="*/ 7447383 w 7472601"/>
              <a:gd name="connsiteY11" fmla="*/ 6707202 h 6858000"/>
              <a:gd name="connsiteX12" fmla="*/ 7289862 w 7472601"/>
              <a:gd name="connsiteY12" fmla="*/ 6659827 h 6858000"/>
              <a:gd name="connsiteX13" fmla="*/ 7434024 w 7472601"/>
              <a:gd name="connsiteY13" fmla="*/ 6722130 h 6858000"/>
              <a:gd name="connsiteX14" fmla="*/ 7467600 w 7472601"/>
              <a:gd name="connsiteY14" fmla="*/ 6736157 h 6858000"/>
              <a:gd name="connsiteX15" fmla="*/ 7467600 w 7472601"/>
              <a:gd name="connsiteY15" fmla="*/ 6767913 h 6858000"/>
              <a:gd name="connsiteX16" fmla="*/ 7392158 w 7472601"/>
              <a:gd name="connsiteY16" fmla="*/ 6771365 h 6858000"/>
              <a:gd name="connsiteX17" fmla="*/ 7467600 w 7472601"/>
              <a:gd name="connsiteY17" fmla="*/ 6805948 h 6858000"/>
              <a:gd name="connsiteX18" fmla="*/ 7467600 w 7472601"/>
              <a:gd name="connsiteY18" fmla="*/ 6831490 h 6858000"/>
              <a:gd name="connsiteX19" fmla="*/ 7410696 w 7472601"/>
              <a:gd name="connsiteY19" fmla="*/ 6803861 h 6858000"/>
              <a:gd name="connsiteX20" fmla="*/ 7088673 w 7472601"/>
              <a:gd name="connsiteY20" fmla="*/ 6610396 h 6858000"/>
              <a:gd name="connsiteX21" fmla="*/ 1019354 w 7472601"/>
              <a:gd name="connsiteY21" fmla="*/ 6315006 h 6858000"/>
              <a:gd name="connsiteX22" fmla="*/ 441046 w 7472601"/>
              <a:gd name="connsiteY22" fmla="*/ 6691153 h 6858000"/>
              <a:gd name="connsiteX23" fmla="*/ 1019354 w 7472601"/>
              <a:gd name="connsiteY23" fmla="*/ 6315006 h 6858000"/>
              <a:gd name="connsiteX24" fmla="*/ 991680 w 7472601"/>
              <a:gd name="connsiteY24" fmla="*/ 6298413 h 6858000"/>
              <a:gd name="connsiteX25" fmla="*/ 409060 w 7472601"/>
              <a:gd name="connsiteY25" fmla="*/ 6671470 h 6858000"/>
              <a:gd name="connsiteX26" fmla="*/ 991680 w 7472601"/>
              <a:gd name="connsiteY26" fmla="*/ 6298413 h 6858000"/>
              <a:gd name="connsiteX27" fmla="*/ 103333 w 7472601"/>
              <a:gd name="connsiteY27" fmla="*/ 5699602 h 6858000"/>
              <a:gd name="connsiteX28" fmla="*/ 233938 w 7472601"/>
              <a:gd name="connsiteY28" fmla="*/ 5809416 h 6858000"/>
              <a:gd name="connsiteX29" fmla="*/ 883580 w 7472601"/>
              <a:gd name="connsiteY29" fmla="*/ 6180710 h 6858000"/>
              <a:gd name="connsiteX30" fmla="*/ 487337 w 7472601"/>
              <a:gd name="connsiteY30" fmla="*/ 5950182 h 6858000"/>
              <a:gd name="connsiteX31" fmla="*/ 354051 w 7472601"/>
              <a:gd name="connsiteY31" fmla="*/ 5854912 h 6858000"/>
              <a:gd name="connsiteX32" fmla="*/ 195436 w 7472601"/>
              <a:gd name="connsiteY32" fmla="*/ 5755068 h 6858000"/>
              <a:gd name="connsiteX33" fmla="*/ 103333 w 7472601"/>
              <a:gd name="connsiteY33" fmla="*/ 5699602 h 6858000"/>
              <a:gd name="connsiteX34" fmla="*/ 5539432 w 7472601"/>
              <a:gd name="connsiteY34" fmla="*/ 5642928 h 6858000"/>
              <a:gd name="connsiteX35" fmla="*/ 5555462 w 7472601"/>
              <a:gd name="connsiteY35" fmla="*/ 5694454 h 6858000"/>
              <a:gd name="connsiteX36" fmla="*/ 5828270 w 7472601"/>
              <a:gd name="connsiteY36" fmla="*/ 6320663 h 6858000"/>
              <a:gd name="connsiteX37" fmla="*/ 5947416 w 7472601"/>
              <a:gd name="connsiteY37" fmla="*/ 6574846 h 6858000"/>
              <a:gd name="connsiteX38" fmla="*/ 5539432 w 7472601"/>
              <a:gd name="connsiteY38" fmla="*/ 5642928 h 6858000"/>
              <a:gd name="connsiteX39" fmla="*/ 51253 w 7472601"/>
              <a:gd name="connsiteY39" fmla="*/ 5631825 h 6858000"/>
              <a:gd name="connsiteX40" fmla="*/ 211622 w 7472601"/>
              <a:gd name="connsiteY40" fmla="*/ 5728803 h 6858000"/>
              <a:gd name="connsiteX41" fmla="*/ 371652 w 7472601"/>
              <a:gd name="connsiteY41" fmla="*/ 5829062 h 6858000"/>
              <a:gd name="connsiteX42" fmla="*/ 505903 w 7472601"/>
              <a:gd name="connsiteY42" fmla="*/ 5925221 h 6858000"/>
              <a:gd name="connsiteX43" fmla="*/ 899240 w 7472601"/>
              <a:gd name="connsiteY43" fmla="*/ 6153068 h 6858000"/>
              <a:gd name="connsiteX44" fmla="*/ 988114 w 7472601"/>
              <a:gd name="connsiteY44" fmla="*/ 6174204 h 6858000"/>
              <a:gd name="connsiteX45" fmla="*/ 845971 w 7472601"/>
              <a:gd name="connsiteY45" fmla="*/ 6067177 h 6858000"/>
              <a:gd name="connsiteX46" fmla="*/ 448057 w 7472601"/>
              <a:gd name="connsiteY46" fmla="*/ 5841376 h 6858000"/>
              <a:gd name="connsiteX47" fmla="*/ 51253 w 7472601"/>
              <a:gd name="connsiteY47" fmla="*/ 5631825 h 6858000"/>
              <a:gd name="connsiteX48" fmla="*/ 2606687 w 7472601"/>
              <a:gd name="connsiteY48" fmla="*/ 5630718 h 6858000"/>
              <a:gd name="connsiteX49" fmla="*/ 2645658 w 7472601"/>
              <a:gd name="connsiteY49" fmla="*/ 6640259 h 6858000"/>
              <a:gd name="connsiteX50" fmla="*/ 2606687 w 7472601"/>
              <a:gd name="connsiteY50" fmla="*/ 5630718 h 6858000"/>
              <a:gd name="connsiteX51" fmla="*/ 3642057 w 7472601"/>
              <a:gd name="connsiteY51" fmla="*/ 5573487 h 6858000"/>
              <a:gd name="connsiteX52" fmla="*/ 3632981 w 7472601"/>
              <a:gd name="connsiteY52" fmla="*/ 5579437 h 6858000"/>
              <a:gd name="connsiteX53" fmla="*/ 3382436 w 7472601"/>
              <a:gd name="connsiteY53" fmla="*/ 5952726 h 6858000"/>
              <a:gd name="connsiteX54" fmla="*/ 3191929 w 7472601"/>
              <a:gd name="connsiteY54" fmla="*/ 6662669 h 6858000"/>
              <a:gd name="connsiteX55" fmla="*/ 3369898 w 7472601"/>
              <a:gd name="connsiteY55" fmla="*/ 6081771 h 6858000"/>
              <a:gd name="connsiteX56" fmla="*/ 3642057 w 7472601"/>
              <a:gd name="connsiteY56" fmla="*/ 5573487 h 6858000"/>
              <a:gd name="connsiteX57" fmla="*/ 2650666 w 7472601"/>
              <a:gd name="connsiteY57" fmla="*/ 5530686 h 6858000"/>
              <a:gd name="connsiteX58" fmla="*/ 2650249 w 7472601"/>
              <a:gd name="connsiteY58" fmla="*/ 5532101 h 6858000"/>
              <a:gd name="connsiteX59" fmla="*/ 2663808 w 7472601"/>
              <a:gd name="connsiteY59" fmla="*/ 6535215 h 6858000"/>
              <a:gd name="connsiteX60" fmla="*/ 2665418 w 7472601"/>
              <a:gd name="connsiteY60" fmla="*/ 6132756 h 6858000"/>
              <a:gd name="connsiteX61" fmla="*/ 2650666 w 7472601"/>
              <a:gd name="connsiteY61" fmla="*/ 5530686 h 6858000"/>
              <a:gd name="connsiteX62" fmla="*/ 2680277 w 7472601"/>
              <a:gd name="connsiteY62" fmla="*/ 5479204 h 6858000"/>
              <a:gd name="connsiteX63" fmla="*/ 2678972 w 7472601"/>
              <a:gd name="connsiteY63" fmla="*/ 5481582 h 6858000"/>
              <a:gd name="connsiteX64" fmla="*/ 2696666 w 7472601"/>
              <a:gd name="connsiteY64" fmla="*/ 6133836 h 6858000"/>
              <a:gd name="connsiteX65" fmla="*/ 2695769 w 7472601"/>
              <a:gd name="connsiteY65" fmla="*/ 6390955 h 6858000"/>
              <a:gd name="connsiteX66" fmla="*/ 2739893 w 7472601"/>
              <a:gd name="connsiteY66" fmla="*/ 6108357 h 6858000"/>
              <a:gd name="connsiteX67" fmla="*/ 2680277 w 7472601"/>
              <a:gd name="connsiteY67" fmla="*/ 5479204 h 6858000"/>
              <a:gd name="connsiteX68" fmla="*/ 1132195 w 7472601"/>
              <a:gd name="connsiteY68" fmla="*/ 5467980 h 6858000"/>
              <a:gd name="connsiteX69" fmla="*/ 1679056 w 7472601"/>
              <a:gd name="connsiteY69" fmla="*/ 5516907 h 6858000"/>
              <a:gd name="connsiteX70" fmla="*/ 2128648 w 7472601"/>
              <a:gd name="connsiteY70" fmla="*/ 5474249 h 6858000"/>
              <a:gd name="connsiteX71" fmla="*/ 1825619 w 7472601"/>
              <a:gd name="connsiteY71" fmla="*/ 5478447 h 6858000"/>
              <a:gd name="connsiteX72" fmla="*/ 1737798 w 7472601"/>
              <a:gd name="connsiteY72" fmla="*/ 5483353 h 6858000"/>
              <a:gd name="connsiteX73" fmla="*/ 1132195 w 7472601"/>
              <a:gd name="connsiteY73" fmla="*/ 5467980 h 6858000"/>
              <a:gd name="connsiteX74" fmla="*/ 7454976 w 7472601"/>
              <a:gd name="connsiteY74" fmla="*/ 6318297 h 6858000"/>
              <a:gd name="connsiteX75" fmla="*/ 7467600 w 7472601"/>
              <a:gd name="connsiteY75" fmla="*/ 6012219 h 6858000"/>
              <a:gd name="connsiteX76" fmla="*/ 7356878 w 7472601"/>
              <a:gd name="connsiteY76" fmla="*/ 5981332 h 6858000"/>
              <a:gd name="connsiteX77" fmla="*/ 7467600 w 7472601"/>
              <a:gd name="connsiteY77" fmla="*/ 6163634 h 6858000"/>
              <a:gd name="connsiteX78" fmla="*/ 7448321 w 7472601"/>
              <a:gd name="connsiteY78" fmla="*/ 6190991 h 6858000"/>
              <a:gd name="connsiteX79" fmla="*/ 7467600 w 7472601"/>
              <a:gd name="connsiteY79" fmla="*/ 6221686 h 6858000"/>
              <a:gd name="connsiteX80" fmla="*/ 7467600 w 7472601"/>
              <a:gd name="connsiteY80" fmla="*/ 6334256 h 6858000"/>
              <a:gd name="connsiteX81" fmla="*/ 7454976 w 7472601"/>
              <a:gd name="connsiteY81" fmla="*/ 6318297 h 6858000"/>
              <a:gd name="connsiteX82" fmla="*/ 1456157 w 7472601"/>
              <a:gd name="connsiteY82" fmla="*/ 5371404 h 6858000"/>
              <a:gd name="connsiteX83" fmla="*/ 1244432 w 7472601"/>
              <a:gd name="connsiteY83" fmla="*/ 5385601 h 6858000"/>
              <a:gd name="connsiteX84" fmla="*/ 973990 w 7472601"/>
              <a:gd name="connsiteY84" fmla="*/ 5424940 h 6858000"/>
              <a:gd name="connsiteX85" fmla="*/ 1103809 w 7472601"/>
              <a:gd name="connsiteY85" fmla="*/ 5433720 h 6858000"/>
              <a:gd name="connsiteX86" fmla="*/ 1123454 w 7472601"/>
              <a:gd name="connsiteY86" fmla="*/ 5435727 h 6858000"/>
              <a:gd name="connsiteX87" fmla="*/ 1737017 w 7472601"/>
              <a:gd name="connsiteY87" fmla="*/ 5452183 h 6858000"/>
              <a:gd name="connsiteX88" fmla="*/ 1824397 w 7472601"/>
              <a:gd name="connsiteY88" fmla="*/ 5447757 h 6858000"/>
              <a:gd name="connsiteX89" fmla="*/ 2070059 w 7472601"/>
              <a:gd name="connsiteY89" fmla="*/ 5441660 h 6858000"/>
              <a:gd name="connsiteX90" fmla="*/ 1456157 w 7472601"/>
              <a:gd name="connsiteY90" fmla="*/ 5371404 h 6858000"/>
              <a:gd name="connsiteX91" fmla="*/ 4988186 w 7472601"/>
              <a:gd name="connsiteY91" fmla="*/ 5216467 h 6858000"/>
              <a:gd name="connsiteX92" fmla="*/ 4777334 w 7472601"/>
              <a:gd name="connsiteY92" fmla="*/ 5406072 h 6858000"/>
              <a:gd name="connsiteX93" fmla="*/ 4718341 w 7472601"/>
              <a:gd name="connsiteY93" fmla="*/ 5468043 h 6858000"/>
              <a:gd name="connsiteX94" fmla="*/ 4604655 w 7472601"/>
              <a:gd name="connsiteY94" fmla="*/ 5583434 h 6858000"/>
              <a:gd name="connsiteX95" fmla="*/ 4565074 w 7472601"/>
              <a:gd name="connsiteY95" fmla="*/ 5618550 h 6858000"/>
              <a:gd name="connsiteX96" fmla="*/ 4988186 w 7472601"/>
              <a:gd name="connsiteY96" fmla="*/ 5216467 h 6858000"/>
              <a:gd name="connsiteX97" fmla="*/ 4978032 w 7472601"/>
              <a:gd name="connsiteY97" fmla="*/ 5183809 h 6858000"/>
              <a:gd name="connsiteX98" fmla="*/ 4463413 w 7472601"/>
              <a:gd name="connsiteY98" fmla="*/ 5615162 h 6858000"/>
              <a:gd name="connsiteX99" fmla="*/ 4358134 w 7472601"/>
              <a:gd name="connsiteY99" fmla="*/ 5742791 h 6858000"/>
              <a:gd name="connsiteX100" fmla="*/ 4376219 w 7472601"/>
              <a:gd name="connsiteY100" fmla="*/ 5729027 h 6858000"/>
              <a:gd name="connsiteX101" fmla="*/ 4582340 w 7472601"/>
              <a:gd name="connsiteY101" fmla="*/ 5561037 h 6858000"/>
              <a:gd name="connsiteX102" fmla="*/ 4694684 w 7472601"/>
              <a:gd name="connsiteY102" fmla="*/ 5447098 h 6858000"/>
              <a:gd name="connsiteX103" fmla="*/ 4754123 w 7472601"/>
              <a:gd name="connsiteY103" fmla="*/ 5384643 h 6858000"/>
              <a:gd name="connsiteX104" fmla="*/ 4978032 w 7472601"/>
              <a:gd name="connsiteY104" fmla="*/ 5183809 h 6858000"/>
              <a:gd name="connsiteX105" fmla="*/ 1903353 w 7472601"/>
              <a:gd name="connsiteY105" fmla="*/ 5044827 h 6858000"/>
              <a:gd name="connsiteX106" fmla="*/ 1936931 w 7472601"/>
              <a:gd name="connsiteY106" fmla="*/ 5093954 h 6858000"/>
              <a:gd name="connsiteX107" fmla="*/ 2195868 w 7472601"/>
              <a:gd name="connsiteY107" fmla="*/ 5396574 h 6858000"/>
              <a:gd name="connsiteX108" fmla="*/ 2088852 w 7472601"/>
              <a:gd name="connsiteY108" fmla="*/ 5166123 h 6858000"/>
              <a:gd name="connsiteX109" fmla="*/ 1958241 w 7472601"/>
              <a:gd name="connsiteY109" fmla="*/ 5067955 h 6858000"/>
              <a:gd name="connsiteX110" fmla="*/ 1903353 w 7472601"/>
              <a:gd name="connsiteY110" fmla="*/ 5044827 h 6858000"/>
              <a:gd name="connsiteX111" fmla="*/ 1979378 w 7472601"/>
              <a:gd name="connsiteY111" fmla="*/ 4769504 h 6858000"/>
              <a:gd name="connsiteX112" fmla="*/ 2882120 w 7472601"/>
              <a:gd name="connsiteY112" fmla="*/ 5064547 h 6858000"/>
              <a:gd name="connsiteX113" fmla="*/ 2793103 w 7472601"/>
              <a:gd name="connsiteY113" fmla="*/ 5039699 h 6858000"/>
              <a:gd name="connsiteX114" fmla="*/ 2770041 w 7472601"/>
              <a:gd name="connsiteY114" fmla="*/ 5033634 h 6858000"/>
              <a:gd name="connsiteX115" fmla="*/ 1979378 w 7472601"/>
              <a:gd name="connsiteY115" fmla="*/ 4769504 h 6858000"/>
              <a:gd name="connsiteX116" fmla="*/ 1927410 w 7472601"/>
              <a:gd name="connsiteY116" fmla="*/ 4716164 h 6858000"/>
              <a:gd name="connsiteX117" fmla="*/ 1959587 w 7472601"/>
              <a:gd name="connsiteY117" fmla="*/ 4728849 h 6858000"/>
              <a:gd name="connsiteX118" fmla="*/ 2777707 w 7472601"/>
              <a:gd name="connsiteY118" fmla="*/ 5003991 h 6858000"/>
              <a:gd name="connsiteX119" fmla="*/ 2800768 w 7472601"/>
              <a:gd name="connsiteY119" fmla="*/ 5010056 h 6858000"/>
              <a:gd name="connsiteX120" fmla="*/ 2879408 w 7472601"/>
              <a:gd name="connsiteY120" fmla="*/ 5031590 h 6858000"/>
              <a:gd name="connsiteX121" fmla="*/ 2862295 w 7472601"/>
              <a:gd name="connsiteY121" fmla="*/ 5022958 h 6858000"/>
              <a:gd name="connsiteX122" fmla="*/ 2813343 w 7472601"/>
              <a:gd name="connsiteY122" fmla="*/ 4998369 h 6858000"/>
              <a:gd name="connsiteX123" fmla="*/ 2646245 w 7472601"/>
              <a:gd name="connsiteY123" fmla="*/ 4930999 h 6858000"/>
              <a:gd name="connsiteX124" fmla="*/ 1999243 w 7472601"/>
              <a:gd name="connsiteY124" fmla="*/ 4730524 h 6858000"/>
              <a:gd name="connsiteX125" fmla="*/ 1979527 w 7472601"/>
              <a:gd name="connsiteY125" fmla="*/ 4726651 h 6858000"/>
              <a:gd name="connsiteX126" fmla="*/ 1927410 w 7472601"/>
              <a:gd name="connsiteY126" fmla="*/ 4716164 h 6858000"/>
              <a:gd name="connsiteX127" fmla="*/ 1997014 w 7472601"/>
              <a:gd name="connsiteY127" fmla="*/ 4698007 h 6858000"/>
              <a:gd name="connsiteX128" fmla="*/ 2005458 w 7472601"/>
              <a:gd name="connsiteY128" fmla="*/ 4699540 h 6858000"/>
              <a:gd name="connsiteX129" fmla="*/ 2657186 w 7472601"/>
              <a:gd name="connsiteY129" fmla="*/ 4901687 h 6858000"/>
              <a:gd name="connsiteX130" fmla="*/ 2826662 w 7472601"/>
              <a:gd name="connsiteY130" fmla="*/ 4970362 h 6858000"/>
              <a:gd name="connsiteX131" fmla="*/ 2876100 w 7472601"/>
              <a:gd name="connsiteY131" fmla="*/ 4995397 h 6858000"/>
              <a:gd name="connsiteX132" fmla="*/ 3042600 w 7472601"/>
              <a:gd name="connsiteY132" fmla="*/ 5059532 h 6858000"/>
              <a:gd name="connsiteX133" fmla="*/ 1997014 w 7472601"/>
              <a:gd name="connsiteY133" fmla="*/ 4698007 h 6858000"/>
              <a:gd name="connsiteX134" fmla="*/ 2305292 w 7472601"/>
              <a:gd name="connsiteY134" fmla="*/ 4219492 h 6858000"/>
              <a:gd name="connsiteX135" fmla="*/ 3360922 w 7472601"/>
              <a:gd name="connsiteY135" fmla="*/ 4529373 h 6858000"/>
              <a:gd name="connsiteX136" fmla="*/ 3492420 w 7472601"/>
              <a:gd name="connsiteY136" fmla="*/ 4510145 h 6858000"/>
              <a:gd name="connsiteX137" fmla="*/ 3364086 w 7472601"/>
              <a:gd name="connsiteY137" fmla="*/ 4480340 h 6858000"/>
              <a:gd name="connsiteX138" fmla="*/ 3225818 w 7472601"/>
              <a:gd name="connsiteY138" fmla="*/ 4411822 h 6858000"/>
              <a:gd name="connsiteX139" fmla="*/ 3129696 w 7472601"/>
              <a:gd name="connsiteY139" fmla="*/ 4360704 h 6858000"/>
              <a:gd name="connsiteX140" fmla="*/ 2814545 w 7472601"/>
              <a:gd name="connsiteY140" fmla="*/ 4282955 h 6858000"/>
              <a:gd name="connsiteX141" fmla="*/ 2305292 w 7472601"/>
              <a:gd name="connsiteY141" fmla="*/ 4219492 h 6858000"/>
              <a:gd name="connsiteX142" fmla="*/ 2626982 w 7472601"/>
              <a:gd name="connsiteY142" fmla="*/ 4206450 h 6858000"/>
              <a:gd name="connsiteX143" fmla="*/ 2490617 w 7472601"/>
              <a:gd name="connsiteY143" fmla="*/ 4206951 h 6858000"/>
              <a:gd name="connsiteX144" fmla="*/ 2819869 w 7472601"/>
              <a:gd name="connsiteY144" fmla="*/ 4252936 h 6858000"/>
              <a:gd name="connsiteX145" fmla="*/ 3143018 w 7472601"/>
              <a:gd name="connsiteY145" fmla="*/ 4332698 h 6858000"/>
              <a:gd name="connsiteX146" fmla="*/ 3241520 w 7472601"/>
              <a:gd name="connsiteY146" fmla="*/ 4385112 h 6858000"/>
              <a:gd name="connsiteX147" fmla="*/ 3374575 w 7472601"/>
              <a:gd name="connsiteY147" fmla="*/ 4451517 h 6858000"/>
              <a:gd name="connsiteX148" fmla="*/ 3505221 w 7472601"/>
              <a:gd name="connsiteY148" fmla="*/ 4480757 h 6858000"/>
              <a:gd name="connsiteX149" fmla="*/ 2626982 w 7472601"/>
              <a:gd name="connsiteY149" fmla="*/ 4206450 h 6858000"/>
              <a:gd name="connsiteX150" fmla="*/ 1310106 w 7472601"/>
              <a:gd name="connsiteY150" fmla="*/ 3943217 h 6858000"/>
              <a:gd name="connsiteX151" fmla="*/ 854994 w 7472601"/>
              <a:gd name="connsiteY151" fmla="*/ 4399136 h 6858000"/>
              <a:gd name="connsiteX152" fmla="*/ 742462 w 7472601"/>
              <a:gd name="connsiteY152" fmla="*/ 4594648 h 6858000"/>
              <a:gd name="connsiteX153" fmla="*/ 820602 w 7472601"/>
              <a:gd name="connsiteY153" fmla="*/ 4485915 h 6858000"/>
              <a:gd name="connsiteX154" fmla="*/ 878295 w 7472601"/>
              <a:gd name="connsiteY154" fmla="*/ 4403594 h 6858000"/>
              <a:gd name="connsiteX155" fmla="*/ 1240607 w 7472601"/>
              <a:gd name="connsiteY155" fmla="*/ 4010401 h 6858000"/>
              <a:gd name="connsiteX156" fmla="*/ 1310106 w 7472601"/>
              <a:gd name="connsiteY156" fmla="*/ 3943217 h 6858000"/>
              <a:gd name="connsiteX157" fmla="*/ 1423113 w 7472601"/>
              <a:gd name="connsiteY157" fmla="*/ 3874565 h 6858000"/>
              <a:gd name="connsiteX158" fmla="*/ 1260565 w 7472601"/>
              <a:gd name="connsiteY158" fmla="*/ 4031982 h 6858000"/>
              <a:gd name="connsiteX159" fmla="*/ 901900 w 7472601"/>
              <a:gd name="connsiteY159" fmla="*/ 4421236 h 6858000"/>
              <a:gd name="connsiteX160" fmla="*/ 845044 w 7472601"/>
              <a:gd name="connsiteY160" fmla="*/ 4502436 h 6858000"/>
              <a:gd name="connsiteX161" fmla="*/ 685926 w 7472601"/>
              <a:gd name="connsiteY161" fmla="*/ 4703069 h 6858000"/>
              <a:gd name="connsiteX162" fmla="*/ 684248 w 7472601"/>
              <a:gd name="connsiteY162" fmla="*/ 4706721 h 6858000"/>
              <a:gd name="connsiteX163" fmla="*/ 1423113 w 7472601"/>
              <a:gd name="connsiteY163" fmla="*/ 3874565 h 6858000"/>
              <a:gd name="connsiteX164" fmla="*/ 3316479 w 7472601"/>
              <a:gd name="connsiteY164" fmla="*/ 3872136 h 6858000"/>
              <a:gd name="connsiteX165" fmla="*/ 3546806 w 7472601"/>
              <a:gd name="connsiteY165" fmla="*/ 4356139 h 6858000"/>
              <a:gd name="connsiteX166" fmla="*/ 3364433 w 7472601"/>
              <a:gd name="connsiteY166" fmla="*/ 3953121 h 6858000"/>
              <a:gd name="connsiteX167" fmla="*/ 3316479 w 7472601"/>
              <a:gd name="connsiteY167" fmla="*/ 3872136 h 6858000"/>
              <a:gd name="connsiteX168" fmla="*/ 3291335 w 7472601"/>
              <a:gd name="connsiteY168" fmla="*/ 3767420 h 6858000"/>
              <a:gd name="connsiteX169" fmla="*/ 3390805 w 7472601"/>
              <a:gd name="connsiteY169" fmla="*/ 3937163 h 6858000"/>
              <a:gd name="connsiteX170" fmla="*/ 3579062 w 7472601"/>
              <a:gd name="connsiteY170" fmla="*/ 4359040 h 6858000"/>
              <a:gd name="connsiteX171" fmla="*/ 3467355 w 7472601"/>
              <a:gd name="connsiteY171" fmla="*/ 3988130 h 6858000"/>
              <a:gd name="connsiteX172" fmla="*/ 3310753 w 7472601"/>
              <a:gd name="connsiteY172" fmla="*/ 3787140 h 6858000"/>
              <a:gd name="connsiteX173" fmla="*/ 3291335 w 7472601"/>
              <a:gd name="connsiteY173" fmla="*/ 3767420 h 6858000"/>
              <a:gd name="connsiteX174" fmla="*/ 1635889 w 7472601"/>
              <a:gd name="connsiteY174" fmla="*/ 3709494 h 6858000"/>
              <a:gd name="connsiteX175" fmla="*/ 1634800 w 7472601"/>
              <a:gd name="connsiteY175" fmla="*/ 3731111 h 6858000"/>
              <a:gd name="connsiteX176" fmla="*/ 1635889 w 7472601"/>
              <a:gd name="connsiteY176" fmla="*/ 3709494 h 6858000"/>
              <a:gd name="connsiteX177" fmla="*/ 1510397 w 7472601"/>
              <a:gd name="connsiteY177" fmla="*/ 3684705 h 6858000"/>
              <a:gd name="connsiteX178" fmla="*/ 1146550 w 7472601"/>
              <a:gd name="connsiteY178" fmla="*/ 3802012 h 6858000"/>
              <a:gd name="connsiteX179" fmla="*/ 698834 w 7472601"/>
              <a:gd name="connsiteY179" fmla="*/ 3952272 h 6858000"/>
              <a:gd name="connsiteX180" fmla="*/ 34256 w 7472601"/>
              <a:gd name="connsiteY180" fmla="*/ 4347603 h 6858000"/>
              <a:gd name="connsiteX181" fmla="*/ 527241 w 7472601"/>
              <a:gd name="connsiteY181" fmla="*/ 4065078 h 6858000"/>
              <a:gd name="connsiteX182" fmla="*/ 1510397 w 7472601"/>
              <a:gd name="connsiteY182" fmla="*/ 3684705 h 6858000"/>
              <a:gd name="connsiteX183" fmla="*/ 1313114 w 7472601"/>
              <a:gd name="connsiteY183" fmla="*/ 3655216 h 6858000"/>
              <a:gd name="connsiteX184" fmla="*/ 1109304 w 7472601"/>
              <a:gd name="connsiteY184" fmla="*/ 3669030 h 6858000"/>
              <a:gd name="connsiteX185" fmla="*/ 8129 w 7472601"/>
              <a:gd name="connsiteY185" fmla="*/ 4330519 h 6858000"/>
              <a:gd name="connsiteX186" fmla="*/ 687572 w 7472601"/>
              <a:gd name="connsiteY186" fmla="*/ 3925629 h 6858000"/>
              <a:gd name="connsiteX187" fmla="*/ 1138365 w 7472601"/>
              <a:gd name="connsiteY187" fmla="*/ 3774515 h 6858000"/>
              <a:gd name="connsiteX188" fmla="*/ 1505579 w 7472601"/>
              <a:gd name="connsiteY188" fmla="*/ 3655526 h 6858000"/>
              <a:gd name="connsiteX189" fmla="*/ 1313114 w 7472601"/>
              <a:gd name="connsiteY189" fmla="*/ 3655216 h 6858000"/>
              <a:gd name="connsiteX190" fmla="*/ 3655073 w 7472601"/>
              <a:gd name="connsiteY190" fmla="*/ 3650884 h 6858000"/>
              <a:gd name="connsiteX191" fmla="*/ 3989938 w 7472601"/>
              <a:gd name="connsiteY191" fmla="*/ 3991685 h 6858000"/>
              <a:gd name="connsiteX192" fmla="*/ 4393907 w 7472601"/>
              <a:gd name="connsiteY192" fmla="*/ 4261258 h 6858000"/>
              <a:gd name="connsiteX193" fmla="*/ 4648051 w 7472601"/>
              <a:gd name="connsiteY193" fmla="*/ 4374051 h 6858000"/>
              <a:gd name="connsiteX194" fmla="*/ 4383389 w 7472601"/>
              <a:gd name="connsiteY194" fmla="*/ 4184369 h 6858000"/>
              <a:gd name="connsiteX195" fmla="*/ 4165508 w 7472601"/>
              <a:gd name="connsiteY195" fmla="*/ 4035196 h 6858000"/>
              <a:gd name="connsiteX196" fmla="*/ 4068162 w 7472601"/>
              <a:gd name="connsiteY196" fmla="*/ 3953394 h 6858000"/>
              <a:gd name="connsiteX197" fmla="*/ 3981416 w 7472601"/>
              <a:gd name="connsiteY197" fmla="*/ 3880482 h 6858000"/>
              <a:gd name="connsiteX198" fmla="*/ 3800147 w 7472601"/>
              <a:gd name="connsiteY198" fmla="*/ 3749872 h 6858000"/>
              <a:gd name="connsiteX199" fmla="*/ 3655073 w 7472601"/>
              <a:gd name="connsiteY199" fmla="*/ 3650884 h 6858000"/>
              <a:gd name="connsiteX200" fmla="*/ 3670252 w 7472601"/>
              <a:gd name="connsiteY200" fmla="*/ 3622798 h 6858000"/>
              <a:gd name="connsiteX201" fmla="*/ 3817258 w 7472601"/>
              <a:gd name="connsiteY201" fmla="*/ 3723577 h 6858000"/>
              <a:gd name="connsiteX202" fmla="*/ 4000461 w 7472601"/>
              <a:gd name="connsiteY202" fmla="*/ 3855966 h 6858000"/>
              <a:gd name="connsiteX203" fmla="*/ 4088180 w 7472601"/>
              <a:gd name="connsiteY203" fmla="*/ 3929774 h 6858000"/>
              <a:gd name="connsiteX204" fmla="*/ 4184555 w 7472601"/>
              <a:gd name="connsiteY204" fmla="*/ 4010683 h 6858000"/>
              <a:gd name="connsiteX205" fmla="*/ 4399563 w 7472601"/>
              <a:gd name="connsiteY205" fmla="*/ 4158106 h 6858000"/>
              <a:gd name="connsiteX206" fmla="*/ 4684469 w 7472601"/>
              <a:gd name="connsiteY206" fmla="*/ 4364680 h 6858000"/>
              <a:gd name="connsiteX207" fmla="*/ 4690271 w 7472601"/>
              <a:gd name="connsiteY207" fmla="*/ 4370034 h 6858000"/>
              <a:gd name="connsiteX208" fmla="*/ 4136093 w 7472601"/>
              <a:gd name="connsiteY208" fmla="*/ 3858466 h 6858000"/>
              <a:gd name="connsiteX209" fmla="*/ 3670252 w 7472601"/>
              <a:gd name="connsiteY209" fmla="*/ 3622798 h 6858000"/>
              <a:gd name="connsiteX210" fmla="*/ 4440129 w 7472601"/>
              <a:gd name="connsiteY210" fmla="*/ 3448571 h 6858000"/>
              <a:gd name="connsiteX211" fmla="*/ 4856525 w 7472601"/>
              <a:gd name="connsiteY211" fmla="*/ 3915351 h 6858000"/>
              <a:gd name="connsiteX212" fmla="*/ 5059055 w 7472601"/>
              <a:gd name="connsiteY212" fmla="*/ 4108918 h 6858000"/>
              <a:gd name="connsiteX213" fmla="*/ 5290070 w 7472601"/>
              <a:gd name="connsiteY213" fmla="*/ 4263619 h 6858000"/>
              <a:gd name="connsiteX214" fmla="*/ 4834991 w 7472601"/>
              <a:gd name="connsiteY214" fmla="*/ 3830985 h 6858000"/>
              <a:gd name="connsiteX215" fmla="*/ 4440129 w 7472601"/>
              <a:gd name="connsiteY215" fmla="*/ 3448571 h 6858000"/>
              <a:gd name="connsiteX216" fmla="*/ 4441737 w 7472601"/>
              <a:gd name="connsiteY216" fmla="*/ 3399734 h 6858000"/>
              <a:gd name="connsiteX217" fmla="*/ 4431236 w 7472601"/>
              <a:gd name="connsiteY217" fmla="*/ 3400954 h 6858000"/>
              <a:gd name="connsiteX218" fmla="*/ 4557150 w 7472601"/>
              <a:gd name="connsiteY218" fmla="*/ 3510023 h 6858000"/>
              <a:gd name="connsiteX219" fmla="*/ 4856936 w 7472601"/>
              <a:gd name="connsiteY219" fmla="*/ 3809146 h 6858000"/>
              <a:gd name="connsiteX220" fmla="*/ 5111996 w 7472601"/>
              <a:gd name="connsiteY220" fmla="*/ 4065759 h 6858000"/>
              <a:gd name="connsiteX221" fmla="*/ 5388878 w 7472601"/>
              <a:gd name="connsiteY221" fmla="*/ 4300185 h 6858000"/>
              <a:gd name="connsiteX222" fmla="*/ 5425556 w 7472601"/>
              <a:gd name="connsiteY222" fmla="*/ 4308967 h 6858000"/>
              <a:gd name="connsiteX223" fmla="*/ 4943646 w 7472601"/>
              <a:gd name="connsiteY223" fmla="*/ 3822916 h 6858000"/>
              <a:gd name="connsiteX224" fmla="*/ 4594837 w 7472601"/>
              <a:gd name="connsiteY224" fmla="*/ 3532274 h 6858000"/>
              <a:gd name="connsiteX225" fmla="*/ 4441737 w 7472601"/>
              <a:gd name="connsiteY225" fmla="*/ 3399734 h 6858000"/>
              <a:gd name="connsiteX226" fmla="*/ 5425834 w 7472601"/>
              <a:gd name="connsiteY226" fmla="*/ 3162785 h 6858000"/>
              <a:gd name="connsiteX227" fmla="*/ 5401644 w 7472601"/>
              <a:gd name="connsiteY227" fmla="*/ 3617847 h 6858000"/>
              <a:gd name="connsiteX228" fmla="*/ 5467256 w 7472601"/>
              <a:gd name="connsiteY228" fmla="*/ 4175494 h 6858000"/>
              <a:gd name="connsiteX229" fmla="*/ 5448069 w 7472601"/>
              <a:gd name="connsiteY229" fmla="*/ 3567554 h 6858000"/>
              <a:gd name="connsiteX230" fmla="*/ 5425834 w 7472601"/>
              <a:gd name="connsiteY230" fmla="*/ 3162785 h 6858000"/>
              <a:gd name="connsiteX231" fmla="*/ 1318687 w 7472601"/>
              <a:gd name="connsiteY231" fmla="*/ 3113840 h 6858000"/>
              <a:gd name="connsiteX232" fmla="*/ 1066793 w 7472601"/>
              <a:gd name="connsiteY232" fmla="*/ 3212171 h 6858000"/>
              <a:gd name="connsiteX233" fmla="*/ 993319 w 7472601"/>
              <a:gd name="connsiteY233" fmla="*/ 3247648 h 6858000"/>
              <a:gd name="connsiteX234" fmla="*/ 853081 w 7472601"/>
              <a:gd name="connsiteY234" fmla="*/ 3312410 h 6858000"/>
              <a:gd name="connsiteX235" fmla="*/ 805957 w 7472601"/>
              <a:gd name="connsiteY235" fmla="*/ 3330443 h 6858000"/>
              <a:gd name="connsiteX236" fmla="*/ 1318687 w 7472601"/>
              <a:gd name="connsiteY236" fmla="*/ 3113840 h 6858000"/>
              <a:gd name="connsiteX237" fmla="*/ 5453702 w 7472601"/>
              <a:gd name="connsiteY237" fmla="*/ 3090882 h 6858000"/>
              <a:gd name="connsiteX238" fmla="*/ 5480135 w 7472601"/>
              <a:gd name="connsiteY238" fmla="*/ 3565802 h 6858000"/>
              <a:gd name="connsiteX239" fmla="*/ 5499023 w 7472601"/>
              <a:gd name="connsiteY239" fmla="*/ 4166310 h 6858000"/>
              <a:gd name="connsiteX240" fmla="*/ 5547022 w 7472601"/>
              <a:gd name="connsiteY240" fmla="*/ 3607838 h 6858000"/>
              <a:gd name="connsiteX241" fmla="*/ 5515964 w 7472601"/>
              <a:gd name="connsiteY241" fmla="*/ 3378541 h 6858000"/>
              <a:gd name="connsiteX242" fmla="*/ 5453702 w 7472601"/>
              <a:gd name="connsiteY242" fmla="*/ 3090882 h 6858000"/>
              <a:gd name="connsiteX243" fmla="*/ 1238695 w 7472601"/>
              <a:gd name="connsiteY243" fmla="*/ 3076820 h 6858000"/>
              <a:gd name="connsiteX244" fmla="*/ 716371 w 7472601"/>
              <a:gd name="connsiteY244" fmla="*/ 3293249 h 6858000"/>
              <a:gd name="connsiteX245" fmla="*/ 579522 w 7472601"/>
              <a:gd name="connsiteY245" fmla="*/ 3371759 h 6858000"/>
              <a:gd name="connsiteX246" fmla="*/ 600288 w 7472601"/>
              <a:gd name="connsiteY246" fmla="*/ 3365555 h 6858000"/>
              <a:gd name="connsiteX247" fmla="*/ 840692 w 7472601"/>
              <a:gd name="connsiteY247" fmla="*/ 3284921 h 6858000"/>
              <a:gd name="connsiteX248" fmla="*/ 979248 w 7472601"/>
              <a:gd name="connsiteY248" fmla="*/ 3221003 h 6858000"/>
              <a:gd name="connsiteX249" fmla="*/ 1053282 w 7472601"/>
              <a:gd name="connsiteY249" fmla="*/ 3185247 h 6858000"/>
              <a:gd name="connsiteX250" fmla="*/ 1320603 w 7472601"/>
              <a:gd name="connsiteY250" fmla="*/ 3081281 h 6858000"/>
              <a:gd name="connsiteX251" fmla="*/ 1238695 w 7472601"/>
              <a:gd name="connsiteY251" fmla="*/ 3076820 h 6858000"/>
              <a:gd name="connsiteX252" fmla="*/ 5425627 w 7472601"/>
              <a:gd name="connsiteY252" fmla="*/ 2954192 h 6858000"/>
              <a:gd name="connsiteX253" fmla="*/ 5470770 w 7472601"/>
              <a:gd name="connsiteY253" fmla="*/ 3005435 h 6858000"/>
              <a:gd name="connsiteX254" fmla="*/ 5519779 w 7472601"/>
              <a:gd name="connsiteY254" fmla="*/ 4359223 h 6858000"/>
              <a:gd name="connsiteX255" fmla="*/ 5520293 w 7472601"/>
              <a:gd name="connsiteY255" fmla="*/ 4360602 h 6858000"/>
              <a:gd name="connsiteX256" fmla="*/ 5767221 w 7472601"/>
              <a:gd name="connsiteY256" fmla="*/ 4665564 h 6858000"/>
              <a:gd name="connsiteX257" fmla="*/ 6937169 w 7472601"/>
              <a:gd name="connsiteY257" fmla="*/ 4815941 h 6858000"/>
              <a:gd name="connsiteX258" fmla="*/ 6953922 w 7472601"/>
              <a:gd name="connsiteY258" fmla="*/ 4890068 h 6858000"/>
              <a:gd name="connsiteX259" fmla="*/ 6071359 w 7472601"/>
              <a:gd name="connsiteY259" fmla="*/ 4770770 h 6858000"/>
              <a:gd name="connsiteX260" fmla="*/ 6038839 w 7472601"/>
              <a:gd name="connsiteY260" fmla="*/ 4764474 h 6858000"/>
              <a:gd name="connsiteX261" fmla="*/ 6038706 w 7472601"/>
              <a:gd name="connsiteY261" fmla="*/ 4763847 h 6858000"/>
              <a:gd name="connsiteX262" fmla="*/ 6037784 w 7472601"/>
              <a:gd name="connsiteY262" fmla="*/ 4764270 h 6858000"/>
              <a:gd name="connsiteX263" fmla="*/ 6038839 w 7472601"/>
              <a:gd name="connsiteY263" fmla="*/ 4764474 h 6858000"/>
              <a:gd name="connsiteX264" fmla="*/ 6040338 w 7472601"/>
              <a:gd name="connsiteY264" fmla="*/ 4771418 h 6858000"/>
              <a:gd name="connsiteX265" fmla="*/ 6024488 w 7472601"/>
              <a:gd name="connsiteY265" fmla="*/ 4809903 h 6858000"/>
              <a:gd name="connsiteX266" fmla="*/ 5599771 w 7472601"/>
              <a:gd name="connsiteY266" fmla="*/ 5509652 h 6858000"/>
              <a:gd name="connsiteX267" fmla="*/ 5548843 w 7472601"/>
              <a:gd name="connsiteY267" fmla="*/ 5563845 h 6858000"/>
              <a:gd name="connsiteX268" fmla="*/ 5940952 w 7472601"/>
              <a:gd name="connsiteY268" fmla="*/ 6250028 h 6858000"/>
              <a:gd name="connsiteX269" fmla="*/ 6043441 w 7472601"/>
              <a:gd name="connsiteY269" fmla="*/ 6665847 h 6858000"/>
              <a:gd name="connsiteX270" fmla="*/ 6093432 w 7472601"/>
              <a:gd name="connsiteY270" fmla="*/ 6858000 h 6858000"/>
              <a:gd name="connsiteX271" fmla="*/ 6034344 w 7472601"/>
              <a:gd name="connsiteY271" fmla="*/ 6858000 h 6858000"/>
              <a:gd name="connsiteX272" fmla="*/ 6026679 w 7472601"/>
              <a:gd name="connsiteY272" fmla="*/ 6836959 h 6858000"/>
              <a:gd name="connsiteX273" fmla="*/ 5800441 w 7472601"/>
              <a:gd name="connsiteY273" fmla="*/ 6335286 h 6858000"/>
              <a:gd name="connsiteX274" fmla="*/ 5526562 w 7472601"/>
              <a:gd name="connsiteY274" fmla="*/ 5705388 h 6858000"/>
              <a:gd name="connsiteX275" fmla="*/ 5519640 w 7472601"/>
              <a:gd name="connsiteY275" fmla="*/ 5683774 h 6858000"/>
              <a:gd name="connsiteX276" fmla="*/ 5844559 w 7472601"/>
              <a:gd name="connsiteY276" fmla="*/ 6553349 h 6858000"/>
              <a:gd name="connsiteX277" fmla="*/ 5975994 w 7472601"/>
              <a:gd name="connsiteY277" fmla="*/ 6858000 h 6858000"/>
              <a:gd name="connsiteX278" fmla="*/ 5898547 w 7472601"/>
              <a:gd name="connsiteY278" fmla="*/ 6858000 h 6858000"/>
              <a:gd name="connsiteX279" fmla="*/ 5682041 w 7472601"/>
              <a:gd name="connsiteY279" fmla="*/ 6355860 h 6858000"/>
              <a:gd name="connsiteX280" fmla="*/ 5461758 w 7472601"/>
              <a:gd name="connsiteY280" fmla="*/ 5820220 h 6858000"/>
              <a:gd name="connsiteX281" fmla="*/ 5237282 w 7472601"/>
              <a:gd name="connsiteY281" fmla="*/ 6579086 h 6858000"/>
              <a:gd name="connsiteX282" fmla="*/ 5115009 w 7472601"/>
              <a:gd name="connsiteY282" fmla="*/ 6858000 h 6858000"/>
              <a:gd name="connsiteX283" fmla="*/ 5028074 w 7472601"/>
              <a:gd name="connsiteY283" fmla="*/ 6858000 h 6858000"/>
              <a:gd name="connsiteX284" fmla="*/ 5079508 w 7472601"/>
              <a:gd name="connsiteY284" fmla="*/ 6749074 h 6858000"/>
              <a:gd name="connsiteX285" fmla="*/ 5371846 w 7472601"/>
              <a:gd name="connsiteY285" fmla="*/ 5924413 h 6858000"/>
              <a:gd name="connsiteX286" fmla="*/ 5270512 w 7472601"/>
              <a:gd name="connsiteY286" fmla="*/ 6138975 h 6858000"/>
              <a:gd name="connsiteX287" fmla="*/ 5062409 w 7472601"/>
              <a:gd name="connsiteY287" fmla="*/ 6653544 h 6858000"/>
              <a:gd name="connsiteX288" fmla="*/ 5036628 w 7472601"/>
              <a:gd name="connsiteY288" fmla="*/ 6754247 h 6858000"/>
              <a:gd name="connsiteX289" fmla="*/ 5009112 w 7472601"/>
              <a:gd name="connsiteY289" fmla="*/ 6858000 h 6858000"/>
              <a:gd name="connsiteX290" fmla="*/ 4976679 w 7472601"/>
              <a:gd name="connsiteY290" fmla="*/ 6858000 h 6858000"/>
              <a:gd name="connsiteX291" fmla="*/ 5006537 w 7472601"/>
              <a:gd name="connsiteY291" fmla="*/ 6747068 h 6858000"/>
              <a:gd name="connsiteX292" fmla="*/ 5032723 w 7472601"/>
              <a:gd name="connsiteY292" fmla="*/ 6644957 h 6858000"/>
              <a:gd name="connsiteX293" fmla="*/ 5242949 w 7472601"/>
              <a:gd name="connsiteY293" fmla="*/ 6125175 h 6858000"/>
              <a:gd name="connsiteX294" fmla="*/ 5286321 w 7472601"/>
              <a:gd name="connsiteY294" fmla="*/ 6033555 h 6858000"/>
              <a:gd name="connsiteX295" fmla="*/ 5008210 w 7472601"/>
              <a:gd name="connsiteY295" fmla="*/ 6649194 h 6858000"/>
              <a:gd name="connsiteX296" fmla="*/ 4986321 w 7472601"/>
              <a:gd name="connsiteY296" fmla="*/ 6765687 h 6858000"/>
              <a:gd name="connsiteX297" fmla="*/ 4973474 w 7472601"/>
              <a:gd name="connsiteY297" fmla="*/ 6858000 h 6858000"/>
              <a:gd name="connsiteX298" fmla="*/ 4907178 w 7472601"/>
              <a:gd name="connsiteY298" fmla="*/ 6858000 h 6858000"/>
              <a:gd name="connsiteX299" fmla="*/ 4910810 w 7472601"/>
              <a:gd name="connsiteY299" fmla="*/ 6829660 h 6858000"/>
              <a:gd name="connsiteX300" fmla="*/ 4987461 w 7472601"/>
              <a:gd name="connsiteY300" fmla="*/ 6432994 h 6858000"/>
              <a:gd name="connsiteX301" fmla="*/ 5179262 w 7472601"/>
              <a:gd name="connsiteY301" fmla="*/ 6035044 h 6858000"/>
              <a:gd name="connsiteX302" fmla="*/ 4689678 w 7472601"/>
              <a:gd name="connsiteY302" fmla="*/ 6440241 h 6858000"/>
              <a:gd name="connsiteX303" fmla="*/ 4477543 w 7472601"/>
              <a:gd name="connsiteY303" fmla="*/ 6674836 h 6858000"/>
              <a:gd name="connsiteX304" fmla="*/ 4329957 w 7472601"/>
              <a:gd name="connsiteY304" fmla="*/ 6858000 h 6858000"/>
              <a:gd name="connsiteX305" fmla="*/ 4218595 w 7472601"/>
              <a:gd name="connsiteY305" fmla="*/ 6858000 h 6858000"/>
              <a:gd name="connsiteX306" fmla="*/ 4368888 w 7472601"/>
              <a:gd name="connsiteY306" fmla="*/ 6668412 h 6858000"/>
              <a:gd name="connsiteX307" fmla="*/ 4563091 w 7472601"/>
              <a:gd name="connsiteY307" fmla="*/ 6442508 h 6858000"/>
              <a:gd name="connsiteX308" fmla="*/ 5387324 w 7472601"/>
              <a:gd name="connsiteY308" fmla="*/ 5705830 h 6858000"/>
              <a:gd name="connsiteX309" fmla="*/ 5073620 w 7472601"/>
              <a:gd name="connsiteY309" fmla="*/ 5955437 h 6858000"/>
              <a:gd name="connsiteX310" fmla="*/ 4689789 w 7472601"/>
              <a:gd name="connsiteY310" fmla="*/ 6268382 h 6858000"/>
              <a:gd name="connsiteX311" fmla="*/ 4418722 w 7472601"/>
              <a:gd name="connsiteY311" fmla="*/ 6570886 h 6858000"/>
              <a:gd name="connsiteX312" fmla="*/ 4214944 w 7472601"/>
              <a:gd name="connsiteY312" fmla="*/ 6858000 h 6858000"/>
              <a:gd name="connsiteX313" fmla="*/ 4177898 w 7472601"/>
              <a:gd name="connsiteY313" fmla="*/ 6858000 h 6858000"/>
              <a:gd name="connsiteX314" fmla="*/ 4391597 w 7472601"/>
              <a:gd name="connsiteY314" fmla="*/ 6556370 h 6858000"/>
              <a:gd name="connsiteX315" fmla="*/ 4668889 w 7472601"/>
              <a:gd name="connsiteY315" fmla="*/ 6246399 h 6858000"/>
              <a:gd name="connsiteX316" fmla="*/ 5055427 w 7472601"/>
              <a:gd name="connsiteY316" fmla="*/ 5931476 h 6858000"/>
              <a:gd name="connsiteX317" fmla="*/ 5371814 w 7472601"/>
              <a:gd name="connsiteY317" fmla="*/ 5678975 h 6858000"/>
              <a:gd name="connsiteX318" fmla="*/ 4987918 w 7472601"/>
              <a:gd name="connsiteY318" fmla="*/ 5838701 h 6858000"/>
              <a:gd name="connsiteX319" fmla="*/ 4317146 w 7472601"/>
              <a:gd name="connsiteY319" fmla="*/ 6587716 h 6858000"/>
              <a:gd name="connsiteX320" fmla="*/ 4171627 w 7472601"/>
              <a:gd name="connsiteY320" fmla="*/ 6858000 h 6858000"/>
              <a:gd name="connsiteX321" fmla="*/ 4081585 w 7472601"/>
              <a:gd name="connsiteY321" fmla="*/ 6858000 h 6858000"/>
              <a:gd name="connsiteX322" fmla="*/ 4238603 w 7472601"/>
              <a:gd name="connsiteY322" fmla="*/ 6559341 h 6858000"/>
              <a:gd name="connsiteX323" fmla="*/ 4778333 w 7472601"/>
              <a:gd name="connsiteY323" fmla="*/ 5873626 h 6858000"/>
              <a:gd name="connsiteX324" fmla="*/ 5414185 w 7472601"/>
              <a:gd name="connsiteY324" fmla="*/ 5573882 h 6858000"/>
              <a:gd name="connsiteX325" fmla="*/ 5959648 w 7472601"/>
              <a:gd name="connsiteY325" fmla="*/ 4760797 h 6858000"/>
              <a:gd name="connsiteX326" fmla="*/ 5355019 w 7472601"/>
              <a:gd name="connsiteY326" fmla="*/ 4734672 h 6858000"/>
              <a:gd name="connsiteX327" fmla="*/ 5083565 w 7472601"/>
              <a:gd name="connsiteY327" fmla="*/ 5179121 h 6858000"/>
              <a:gd name="connsiteX328" fmla="*/ 4713577 w 7472601"/>
              <a:gd name="connsiteY328" fmla="*/ 5616803 h 6858000"/>
              <a:gd name="connsiteX329" fmla="*/ 3989559 w 7472601"/>
              <a:gd name="connsiteY329" fmla="*/ 6145945 h 6858000"/>
              <a:gd name="connsiteX330" fmla="*/ 3939824 w 7472601"/>
              <a:gd name="connsiteY330" fmla="*/ 6066900 h 6858000"/>
              <a:gd name="connsiteX331" fmla="*/ 4584537 w 7472601"/>
              <a:gd name="connsiteY331" fmla="*/ 5324826 h 6858000"/>
              <a:gd name="connsiteX332" fmla="*/ 5037105 w 7472601"/>
              <a:gd name="connsiteY332" fmla="*/ 5088765 h 6858000"/>
              <a:gd name="connsiteX333" fmla="*/ 5039930 w 7472601"/>
              <a:gd name="connsiteY333" fmla="*/ 5089585 h 6858000"/>
              <a:gd name="connsiteX334" fmla="*/ 5263764 w 7472601"/>
              <a:gd name="connsiteY334" fmla="*/ 4735525 h 6858000"/>
              <a:gd name="connsiteX335" fmla="*/ 4086300 w 7472601"/>
              <a:gd name="connsiteY335" fmla="*/ 4884599 h 6858000"/>
              <a:gd name="connsiteX336" fmla="*/ 4085485 w 7472601"/>
              <a:gd name="connsiteY336" fmla="*/ 4899070 h 6858000"/>
              <a:gd name="connsiteX337" fmla="*/ 3871915 w 7472601"/>
              <a:gd name="connsiteY337" fmla="*/ 5253645 h 6858000"/>
              <a:gd name="connsiteX338" fmla="*/ 3799374 w 7472601"/>
              <a:gd name="connsiteY338" fmla="*/ 5466127 h 6858000"/>
              <a:gd name="connsiteX339" fmla="*/ 3498850 w 7472601"/>
              <a:gd name="connsiteY339" fmla="*/ 6661888 h 6858000"/>
              <a:gd name="connsiteX340" fmla="*/ 3399216 w 7472601"/>
              <a:gd name="connsiteY340" fmla="*/ 6858000 h 6858000"/>
              <a:gd name="connsiteX341" fmla="*/ 3303688 w 7472601"/>
              <a:gd name="connsiteY341" fmla="*/ 6858000 h 6858000"/>
              <a:gd name="connsiteX342" fmla="*/ 3391774 w 7472601"/>
              <a:gd name="connsiteY342" fmla="*/ 6697181 h 6858000"/>
              <a:gd name="connsiteX343" fmla="*/ 3735540 w 7472601"/>
              <a:gd name="connsiteY343" fmla="*/ 5546923 h 6858000"/>
              <a:gd name="connsiteX344" fmla="*/ 3729438 w 7472601"/>
              <a:gd name="connsiteY344" fmla="*/ 5569058 h 6858000"/>
              <a:gd name="connsiteX345" fmla="*/ 3707782 w 7472601"/>
              <a:gd name="connsiteY345" fmla="*/ 5644908 h 6858000"/>
              <a:gd name="connsiteX346" fmla="*/ 3583827 w 7472601"/>
              <a:gd name="connsiteY346" fmla="*/ 6039215 h 6858000"/>
              <a:gd name="connsiteX347" fmla="*/ 3547861 w 7472601"/>
              <a:gd name="connsiteY347" fmla="*/ 6129609 h 6858000"/>
              <a:gd name="connsiteX348" fmla="*/ 3490905 w 7472601"/>
              <a:gd name="connsiteY348" fmla="*/ 6277660 h 6858000"/>
              <a:gd name="connsiteX349" fmla="*/ 3455859 w 7472601"/>
              <a:gd name="connsiteY349" fmla="*/ 6391301 h 6858000"/>
              <a:gd name="connsiteX350" fmla="*/ 3429112 w 7472601"/>
              <a:gd name="connsiteY350" fmla="*/ 6479469 h 6858000"/>
              <a:gd name="connsiteX351" fmla="*/ 3304862 w 7472601"/>
              <a:gd name="connsiteY351" fmla="*/ 6796476 h 6858000"/>
              <a:gd name="connsiteX352" fmla="*/ 3276071 w 7472601"/>
              <a:gd name="connsiteY352" fmla="*/ 6858000 h 6858000"/>
              <a:gd name="connsiteX353" fmla="*/ 3240805 w 7472601"/>
              <a:gd name="connsiteY353" fmla="*/ 6858000 h 6858000"/>
              <a:gd name="connsiteX354" fmla="*/ 3275917 w 7472601"/>
              <a:gd name="connsiteY354" fmla="*/ 6783192 h 6858000"/>
              <a:gd name="connsiteX355" fmla="*/ 3399358 w 7472601"/>
              <a:gd name="connsiteY355" fmla="*/ 6469011 h 6858000"/>
              <a:gd name="connsiteX356" fmla="*/ 3425650 w 7472601"/>
              <a:gd name="connsiteY356" fmla="*/ 6381333 h 6858000"/>
              <a:gd name="connsiteX357" fmla="*/ 3460661 w 7472601"/>
              <a:gd name="connsiteY357" fmla="*/ 6266763 h 6858000"/>
              <a:gd name="connsiteX358" fmla="*/ 3518021 w 7472601"/>
              <a:gd name="connsiteY358" fmla="*/ 6117298 h 6858000"/>
              <a:gd name="connsiteX359" fmla="*/ 3554035 w 7472601"/>
              <a:gd name="connsiteY359" fmla="*/ 6027832 h 6858000"/>
              <a:gd name="connsiteX360" fmla="*/ 3677174 w 7472601"/>
              <a:gd name="connsiteY360" fmla="*/ 5636351 h 6858000"/>
              <a:gd name="connsiteX361" fmla="*/ 3698819 w 7472601"/>
              <a:gd name="connsiteY361" fmla="*/ 5560503 h 6858000"/>
              <a:gd name="connsiteX362" fmla="*/ 3702094 w 7472601"/>
              <a:gd name="connsiteY362" fmla="*/ 5549194 h 6858000"/>
              <a:gd name="connsiteX363" fmla="*/ 3398355 w 7472601"/>
              <a:gd name="connsiteY363" fmla="*/ 6094603 h 6858000"/>
              <a:gd name="connsiteX364" fmla="*/ 3193941 w 7472601"/>
              <a:gd name="connsiteY364" fmla="*/ 6798775 h 6858000"/>
              <a:gd name="connsiteX365" fmla="*/ 3184140 w 7472601"/>
              <a:gd name="connsiteY365" fmla="*/ 6858000 h 6858000"/>
              <a:gd name="connsiteX366" fmla="*/ 3099978 w 7472601"/>
              <a:gd name="connsiteY366" fmla="*/ 6858000 h 6858000"/>
              <a:gd name="connsiteX367" fmla="*/ 3101556 w 7472601"/>
              <a:gd name="connsiteY367" fmla="*/ 6843337 h 6858000"/>
              <a:gd name="connsiteX368" fmla="*/ 3370162 w 7472601"/>
              <a:gd name="connsiteY368" fmla="*/ 5785550 h 6858000"/>
              <a:gd name="connsiteX369" fmla="*/ 3746477 w 7472601"/>
              <a:gd name="connsiteY369" fmla="*/ 5377889 h 6858000"/>
              <a:gd name="connsiteX370" fmla="*/ 3863399 w 7472601"/>
              <a:gd name="connsiteY370" fmla="*/ 5087257 h 6858000"/>
              <a:gd name="connsiteX371" fmla="*/ 3968712 w 7472601"/>
              <a:gd name="connsiteY371" fmla="*/ 4913989 h 6858000"/>
              <a:gd name="connsiteX372" fmla="*/ 2792390 w 7472601"/>
              <a:gd name="connsiteY372" fmla="*/ 5382974 h 6858000"/>
              <a:gd name="connsiteX373" fmla="*/ 2714982 w 7472601"/>
              <a:gd name="connsiteY373" fmla="*/ 5427051 h 6858000"/>
              <a:gd name="connsiteX374" fmla="*/ 2813361 w 7472601"/>
              <a:gd name="connsiteY374" fmla="*/ 6023912 h 6858000"/>
              <a:gd name="connsiteX375" fmla="*/ 2688430 w 7472601"/>
              <a:gd name="connsiteY375" fmla="*/ 6801564 h 6858000"/>
              <a:gd name="connsiteX376" fmla="*/ 2629626 w 7472601"/>
              <a:gd name="connsiteY376" fmla="*/ 6763394 h 6858000"/>
              <a:gd name="connsiteX377" fmla="*/ 2565328 w 7472601"/>
              <a:gd name="connsiteY377" fmla="*/ 5516399 h 6858000"/>
              <a:gd name="connsiteX378" fmla="*/ 1922999 w 7472601"/>
              <a:gd name="connsiteY378" fmla="*/ 5980343 h 6858000"/>
              <a:gd name="connsiteX379" fmla="*/ 1950261 w 7472601"/>
              <a:gd name="connsiteY379" fmla="*/ 6405858 h 6858000"/>
              <a:gd name="connsiteX380" fmla="*/ 2365554 w 7472601"/>
              <a:gd name="connsiteY380" fmla="*/ 6759107 h 6858000"/>
              <a:gd name="connsiteX381" fmla="*/ 2424142 w 7472601"/>
              <a:gd name="connsiteY381" fmla="*/ 6858000 h 6858000"/>
              <a:gd name="connsiteX382" fmla="*/ 2395994 w 7472601"/>
              <a:gd name="connsiteY382" fmla="*/ 6858000 h 6858000"/>
              <a:gd name="connsiteX383" fmla="*/ 2392863 w 7472601"/>
              <a:gd name="connsiteY383" fmla="*/ 6852964 h 6858000"/>
              <a:gd name="connsiteX384" fmla="*/ 2017589 w 7472601"/>
              <a:gd name="connsiteY384" fmla="*/ 6493982 h 6858000"/>
              <a:gd name="connsiteX385" fmla="*/ 2147336 w 7472601"/>
              <a:gd name="connsiteY385" fmla="*/ 6594052 h 6858000"/>
              <a:gd name="connsiteX386" fmla="*/ 2207047 w 7472601"/>
              <a:gd name="connsiteY386" fmla="*/ 6654540 h 6858000"/>
              <a:gd name="connsiteX387" fmla="*/ 2299106 w 7472601"/>
              <a:gd name="connsiteY387" fmla="*/ 6778931 h 6858000"/>
              <a:gd name="connsiteX388" fmla="*/ 2314430 w 7472601"/>
              <a:gd name="connsiteY388" fmla="*/ 6801144 h 6858000"/>
              <a:gd name="connsiteX389" fmla="*/ 2352406 w 7472601"/>
              <a:gd name="connsiteY389" fmla="*/ 6858000 h 6858000"/>
              <a:gd name="connsiteX390" fmla="*/ 2314492 w 7472601"/>
              <a:gd name="connsiteY390" fmla="*/ 6858000 h 6858000"/>
              <a:gd name="connsiteX391" fmla="*/ 2288095 w 7472601"/>
              <a:gd name="connsiteY391" fmla="*/ 6818030 h 6858000"/>
              <a:gd name="connsiteX392" fmla="*/ 2272768 w 7472601"/>
              <a:gd name="connsiteY392" fmla="*/ 6795822 h 6858000"/>
              <a:gd name="connsiteX393" fmla="*/ 2182715 w 7472601"/>
              <a:gd name="connsiteY393" fmla="*/ 6675071 h 6858000"/>
              <a:gd name="connsiteX394" fmla="*/ 2032061 w 7472601"/>
              <a:gd name="connsiteY394" fmla="*/ 6541380 h 6858000"/>
              <a:gd name="connsiteX395" fmla="*/ 2257220 w 7472601"/>
              <a:gd name="connsiteY395" fmla="*/ 6826257 h 6858000"/>
              <a:gd name="connsiteX396" fmla="*/ 2281324 w 7472601"/>
              <a:gd name="connsiteY396" fmla="*/ 6858000 h 6858000"/>
              <a:gd name="connsiteX397" fmla="*/ 2242860 w 7472601"/>
              <a:gd name="connsiteY397" fmla="*/ 6858000 h 6858000"/>
              <a:gd name="connsiteX398" fmla="*/ 2232818 w 7472601"/>
              <a:gd name="connsiteY398" fmla="*/ 6844926 h 6858000"/>
              <a:gd name="connsiteX399" fmla="*/ 1990172 w 7472601"/>
              <a:gd name="connsiteY399" fmla="*/ 6542121 h 6858000"/>
              <a:gd name="connsiteX400" fmla="*/ 2124090 w 7472601"/>
              <a:gd name="connsiteY400" fmla="*/ 6761017 h 6858000"/>
              <a:gd name="connsiteX401" fmla="*/ 2200380 w 7472601"/>
              <a:gd name="connsiteY401" fmla="*/ 6858000 h 6858000"/>
              <a:gd name="connsiteX402" fmla="*/ 2147507 w 7472601"/>
              <a:gd name="connsiteY402" fmla="*/ 6858000 h 6858000"/>
              <a:gd name="connsiteX403" fmla="*/ 2070668 w 7472601"/>
              <a:gd name="connsiteY403" fmla="*/ 6761520 h 6858000"/>
              <a:gd name="connsiteX404" fmla="*/ 1975142 w 7472601"/>
              <a:gd name="connsiteY404" fmla="*/ 6585570 h 6858000"/>
              <a:gd name="connsiteX405" fmla="*/ 2050035 w 7472601"/>
              <a:gd name="connsiteY405" fmla="*/ 6813345 h 6858000"/>
              <a:gd name="connsiteX406" fmla="*/ 2063025 w 7472601"/>
              <a:gd name="connsiteY406" fmla="*/ 6858000 h 6858000"/>
              <a:gd name="connsiteX407" fmla="*/ 2021675 w 7472601"/>
              <a:gd name="connsiteY407" fmla="*/ 6858000 h 6858000"/>
              <a:gd name="connsiteX408" fmla="*/ 2019308 w 7472601"/>
              <a:gd name="connsiteY408" fmla="*/ 6847118 h 6858000"/>
              <a:gd name="connsiteX409" fmla="*/ 1938835 w 7472601"/>
              <a:gd name="connsiteY409" fmla="*/ 6551160 h 6858000"/>
              <a:gd name="connsiteX410" fmla="*/ 1953230 w 7472601"/>
              <a:gd name="connsiteY410" fmla="*/ 6759699 h 6858000"/>
              <a:gd name="connsiteX411" fmla="*/ 1956763 w 7472601"/>
              <a:gd name="connsiteY411" fmla="*/ 6778191 h 6858000"/>
              <a:gd name="connsiteX412" fmla="*/ 1967925 w 7472601"/>
              <a:gd name="connsiteY412" fmla="*/ 6858000 h 6858000"/>
              <a:gd name="connsiteX413" fmla="*/ 1936622 w 7472601"/>
              <a:gd name="connsiteY413" fmla="*/ 6858000 h 6858000"/>
              <a:gd name="connsiteX414" fmla="*/ 1926261 w 7472601"/>
              <a:gd name="connsiteY414" fmla="*/ 6784064 h 6858000"/>
              <a:gd name="connsiteX415" fmla="*/ 1922724 w 7472601"/>
              <a:gd name="connsiteY415" fmla="*/ 6765577 h 6858000"/>
              <a:gd name="connsiteX416" fmla="*/ 1904650 w 7472601"/>
              <a:gd name="connsiteY416" fmla="*/ 6639616 h 6858000"/>
              <a:gd name="connsiteX417" fmla="*/ 1885273 w 7472601"/>
              <a:gd name="connsiteY417" fmla="*/ 6858000 h 6858000"/>
              <a:gd name="connsiteX418" fmla="*/ 1854363 w 7472601"/>
              <a:gd name="connsiteY418" fmla="*/ 6858000 h 6858000"/>
              <a:gd name="connsiteX419" fmla="*/ 1880391 w 7472601"/>
              <a:gd name="connsiteY419" fmla="*/ 6603796 h 6858000"/>
              <a:gd name="connsiteX420" fmla="*/ 1818273 w 7472601"/>
              <a:gd name="connsiteY420" fmla="*/ 6715729 h 6858000"/>
              <a:gd name="connsiteX421" fmla="*/ 1794691 w 7472601"/>
              <a:gd name="connsiteY421" fmla="*/ 6843239 h 6858000"/>
              <a:gd name="connsiteX422" fmla="*/ 1794914 w 7472601"/>
              <a:gd name="connsiteY422" fmla="*/ 6858000 h 6858000"/>
              <a:gd name="connsiteX423" fmla="*/ 1746128 w 7472601"/>
              <a:gd name="connsiteY423" fmla="*/ 6858000 h 6858000"/>
              <a:gd name="connsiteX424" fmla="*/ 1753934 w 7472601"/>
              <a:gd name="connsiteY424" fmla="*/ 6724796 h 6858000"/>
              <a:gd name="connsiteX425" fmla="*/ 1792053 w 7472601"/>
              <a:gd name="connsiteY425" fmla="*/ 6572396 h 6858000"/>
              <a:gd name="connsiteX426" fmla="*/ 1862248 w 7472601"/>
              <a:gd name="connsiteY426" fmla="*/ 6266397 h 6858000"/>
              <a:gd name="connsiteX427" fmla="*/ 1862250 w 7472601"/>
              <a:gd name="connsiteY427" fmla="*/ 6033531 h 6858000"/>
              <a:gd name="connsiteX428" fmla="*/ 1211999 w 7472601"/>
              <a:gd name="connsiteY428" fmla="*/ 6683610 h 6858000"/>
              <a:gd name="connsiteX429" fmla="*/ 1213266 w 7472601"/>
              <a:gd name="connsiteY429" fmla="*/ 6691947 h 6858000"/>
              <a:gd name="connsiteX430" fmla="*/ 1203370 w 7472601"/>
              <a:gd name="connsiteY430" fmla="*/ 6850676 h 6858000"/>
              <a:gd name="connsiteX431" fmla="*/ 1203671 w 7472601"/>
              <a:gd name="connsiteY431" fmla="*/ 6858000 h 6858000"/>
              <a:gd name="connsiteX432" fmla="*/ 1143180 w 7472601"/>
              <a:gd name="connsiteY432" fmla="*/ 6858000 h 6858000"/>
              <a:gd name="connsiteX433" fmla="*/ 1142176 w 7472601"/>
              <a:gd name="connsiteY433" fmla="*/ 6766045 h 6858000"/>
              <a:gd name="connsiteX434" fmla="*/ 1067484 w 7472601"/>
              <a:gd name="connsiteY434" fmla="*/ 6858000 h 6858000"/>
              <a:gd name="connsiteX435" fmla="*/ 953928 w 7472601"/>
              <a:gd name="connsiteY435" fmla="*/ 6858000 h 6858000"/>
              <a:gd name="connsiteX436" fmla="*/ 959715 w 7472601"/>
              <a:gd name="connsiteY436" fmla="*/ 6850185 h 6858000"/>
              <a:gd name="connsiteX437" fmla="*/ 1483788 w 7472601"/>
              <a:gd name="connsiteY437" fmla="*/ 6259174 h 6858000"/>
              <a:gd name="connsiteX438" fmla="*/ 1100671 w 7472601"/>
              <a:gd name="connsiteY438" fmla="*/ 6252137 h 6858000"/>
              <a:gd name="connsiteX439" fmla="*/ 1090144 w 7472601"/>
              <a:gd name="connsiteY439" fmla="*/ 6256748 h 6858000"/>
              <a:gd name="connsiteX440" fmla="*/ 1095872 w 7472601"/>
              <a:gd name="connsiteY440" fmla="*/ 6271892 h 6858000"/>
              <a:gd name="connsiteX441" fmla="*/ 262785 w 7472601"/>
              <a:gd name="connsiteY441" fmla="*/ 6845450 h 6858000"/>
              <a:gd name="connsiteX442" fmla="*/ 209968 w 7472601"/>
              <a:gd name="connsiteY442" fmla="*/ 6770713 h 6858000"/>
              <a:gd name="connsiteX443" fmla="*/ 873460 w 7472601"/>
              <a:gd name="connsiteY443" fmla="*/ 6253768 h 6858000"/>
              <a:gd name="connsiteX444" fmla="*/ 192686 w 7472601"/>
              <a:gd name="connsiteY444" fmla="*/ 5849257 h 6858000"/>
              <a:gd name="connsiteX445" fmla="*/ 4696 w 7472601"/>
              <a:gd name="connsiteY445" fmla="*/ 5697668 h 6858000"/>
              <a:gd name="connsiteX446" fmla="*/ 0 w 7472601"/>
              <a:gd name="connsiteY446" fmla="*/ 5689984 h 6858000"/>
              <a:gd name="connsiteX447" fmla="*/ 0 w 7472601"/>
              <a:gd name="connsiteY447" fmla="*/ 5513472 h 6858000"/>
              <a:gd name="connsiteX448" fmla="*/ 174101 w 7472601"/>
              <a:gd name="connsiteY448" fmla="*/ 5620277 h 6858000"/>
              <a:gd name="connsiteX449" fmla="*/ 891800 w 7472601"/>
              <a:gd name="connsiteY449" fmla="*/ 6036935 h 6858000"/>
              <a:gd name="connsiteX450" fmla="*/ 1072219 w 7472601"/>
              <a:gd name="connsiteY450" fmla="*/ 6169443 h 6858000"/>
              <a:gd name="connsiteX451" fmla="*/ 1074117 w 7472601"/>
              <a:gd name="connsiteY451" fmla="*/ 6170301 h 6858000"/>
              <a:gd name="connsiteX452" fmla="*/ 1083114 w 7472601"/>
              <a:gd name="connsiteY452" fmla="*/ 6174131 h 6858000"/>
              <a:gd name="connsiteX453" fmla="*/ 1543010 w 7472601"/>
              <a:gd name="connsiteY453" fmla="*/ 6191140 h 6858000"/>
              <a:gd name="connsiteX454" fmla="*/ 1551080 w 7472601"/>
              <a:gd name="connsiteY454" fmla="*/ 6195006 h 6858000"/>
              <a:gd name="connsiteX455" fmla="*/ 2345443 w 7472601"/>
              <a:gd name="connsiteY455" fmla="*/ 5549882 h 6858000"/>
              <a:gd name="connsiteX456" fmla="*/ 1721499 w 7472601"/>
              <a:gd name="connsiteY456" fmla="*/ 5599969 h 6858000"/>
              <a:gd name="connsiteX457" fmla="*/ 767716 w 7472601"/>
              <a:gd name="connsiteY457" fmla="*/ 5472768 h 6858000"/>
              <a:gd name="connsiteX458" fmla="*/ 722147 w 7472601"/>
              <a:gd name="connsiteY458" fmla="*/ 5393091 h 6858000"/>
              <a:gd name="connsiteX459" fmla="*/ 1485552 w 7472601"/>
              <a:gd name="connsiteY459" fmla="*/ 5313202 h 6858000"/>
              <a:gd name="connsiteX460" fmla="*/ 2143004 w 7472601"/>
              <a:gd name="connsiteY460" fmla="*/ 5402420 h 6858000"/>
              <a:gd name="connsiteX461" fmla="*/ 1933391 w 7472601"/>
              <a:gd name="connsiteY461" fmla="*/ 5156971 h 6858000"/>
              <a:gd name="connsiteX462" fmla="*/ 1827118 w 7472601"/>
              <a:gd name="connsiteY462" fmla="*/ 4968410 h 6858000"/>
              <a:gd name="connsiteX463" fmla="*/ 1837349 w 7472601"/>
              <a:gd name="connsiteY463" fmla="*/ 4956357 h 6858000"/>
              <a:gd name="connsiteX464" fmla="*/ 2162835 w 7472601"/>
              <a:gd name="connsiteY464" fmla="*/ 5187853 h 6858000"/>
              <a:gd name="connsiteX465" fmla="*/ 2257167 w 7472601"/>
              <a:gd name="connsiteY465" fmla="*/ 5462123 h 6858000"/>
              <a:gd name="connsiteX466" fmla="*/ 2261598 w 7472601"/>
              <a:gd name="connsiteY466" fmla="*/ 5467998 h 6858000"/>
              <a:gd name="connsiteX467" fmla="*/ 2437177 w 7472601"/>
              <a:gd name="connsiteY467" fmla="*/ 5479608 h 6858000"/>
              <a:gd name="connsiteX468" fmla="*/ 2445247 w 7472601"/>
              <a:gd name="connsiteY468" fmla="*/ 5483476 h 6858000"/>
              <a:gd name="connsiteX469" fmla="*/ 2743626 w 7472601"/>
              <a:gd name="connsiteY469" fmla="*/ 5304819 h 6858000"/>
              <a:gd name="connsiteX470" fmla="*/ 3048102 w 7472601"/>
              <a:gd name="connsiteY470" fmla="*/ 5150595 h 6858000"/>
              <a:gd name="connsiteX471" fmla="*/ 1799414 w 7472601"/>
              <a:gd name="connsiteY471" fmla="*/ 4694732 h 6858000"/>
              <a:gd name="connsiteX472" fmla="*/ 1771735 w 7472601"/>
              <a:gd name="connsiteY472" fmla="*/ 4619929 h 6858000"/>
              <a:gd name="connsiteX473" fmla="*/ 3104273 w 7472601"/>
              <a:gd name="connsiteY473" fmla="*/ 5076159 h 6858000"/>
              <a:gd name="connsiteX474" fmla="*/ 3113245 w 7472601"/>
              <a:gd name="connsiteY474" fmla="*/ 5090705 h 6858000"/>
              <a:gd name="connsiteX475" fmla="*/ 3126294 w 7472601"/>
              <a:gd name="connsiteY475" fmla="*/ 5114400 h 6858000"/>
              <a:gd name="connsiteX476" fmla="*/ 3937433 w 7472601"/>
              <a:gd name="connsiteY476" fmla="*/ 4830473 h 6858000"/>
              <a:gd name="connsiteX477" fmla="*/ 3590475 w 7472601"/>
              <a:gd name="connsiteY477" fmla="*/ 4597974 h 6858000"/>
              <a:gd name="connsiteX478" fmla="*/ 3100264 w 7472601"/>
              <a:gd name="connsiteY478" fmla="*/ 4579845 h 6858000"/>
              <a:gd name="connsiteX479" fmla="*/ 2183576 w 7472601"/>
              <a:gd name="connsiteY479" fmla="*/ 4227150 h 6858000"/>
              <a:gd name="connsiteX480" fmla="*/ 2151029 w 7472601"/>
              <a:gd name="connsiteY480" fmla="*/ 4146947 h 6858000"/>
              <a:gd name="connsiteX481" fmla="*/ 3563434 w 7472601"/>
              <a:gd name="connsiteY481" fmla="*/ 4469115 h 6858000"/>
              <a:gd name="connsiteX482" fmla="*/ 3177952 w 7472601"/>
              <a:gd name="connsiteY482" fmla="*/ 3657386 h 6858000"/>
              <a:gd name="connsiteX483" fmla="*/ 3189263 w 7472601"/>
              <a:gd name="connsiteY483" fmla="*/ 3625726 h 6858000"/>
              <a:gd name="connsiteX484" fmla="*/ 3560912 w 7472601"/>
              <a:gd name="connsiteY484" fmla="*/ 4079863 h 6858000"/>
              <a:gd name="connsiteX485" fmla="*/ 3626636 w 7472601"/>
              <a:gd name="connsiteY485" fmla="*/ 4512230 h 6858000"/>
              <a:gd name="connsiteX486" fmla="*/ 3653088 w 7472601"/>
              <a:gd name="connsiteY486" fmla="*/ 4521417 h 6858000"/>
              <a:gd name="connsiteX487" fmla="*/ 3988128 w 7472601"/>
              <a:gd name="connsiteY487" fmla="*/ 4817267 h 6858000"/>
              <a:gd name="connsiteX488" fmla="*/ 4830582 w 7472601"/>
              <a:gd name="connsiteY488" fmla="*/ 4676000 h 6858000"/>
              <a:gd name="connsiteX489" fmla="*/ 4830100 w 7472601"/>
              <a:gd name="connsiteY489" fmla="*/ 4675554 h 6858000"/>
              <a:gd name="connsiteX490" fmla="*/ 4036318 w 7472601"/>
              <a:gd name="connsiteY490" fmla="*/ 4147013 h 6858000"/>
              <a:gd name="connsiteX491" fmla="*/ 3432098 w 7472601"/>
              <a:gd name="connsiteY491" fmla="*/ 3537312 h 6858000"/>
              <a:gd name="connsiteX492" fmla="*/ 3446761 w 7472601"/>
              <a:gd name="connsiteY492" fmla="*/ 3461278 h 6858000"/>
              <a:gd name="connsiteX493" fmla="*/ 4419733 w 7472601"/>
              <a:gd name="connsiteY493" fmla="*/ 3963555 h 6858000"/>
              <a:gd name="connsiteX494" fmla="*/ 4781371 w 7472601"/>
              <a:gd name="connsiteY494" fmla="*/ 4458604 h 6858000"/>
              <a:gd name="connsiteX495" fmla="*/ 4780440 w 7472601"/>
              <a:gd name="connsiteY495" fmla="*/ 4470290 h 6858000"/>
              <a:gd name="connsiteX496" fmla="*/ 4898954 w 7472601"/>
              <a:gd name="connsiteY496" fmla="*/ 4662092 h 6858000"/>
              <a:gd name="connsiteX497" fmla="*/ 4900699 w 7472601"/>
              <a:gd name="connsiteY497" fmla="*/ 4670867 h 6858000"/>
              <a:gd name="connsiteX498" fmla="*/ 5714511 w 7472601"/>
              <a:gd name="connsiteY498" fmla="*/ 4663483 h 6858000"/>
              <a:gd name="connsiteX499" fmla="*/ 5464793 w 7472601"/>
              <a:gd name="connsiteY499" fmla="*/ 4393556 h 6858000"/>
              <a:gd name="connsiteX500" fmla="*/ 5461897 w 7472601"/>
              <a:gd name="connsiteY500" fmla="*/ 4390879 h 6858000"/>
              <a:gd name="connsiteX501" fmla="*/ 4294126 w 7472601"/>
              <a:gd name="connsiteY501" fmla="*/ 3303048 h 6858000"/>
              <a:gd name="connsiteX502" fmla="*/ 4305321 w 7472601"/>
              <a:gd name="connsiteY502" fmla="*/ 3256953 h 6858000"/>
              <a:gd name="connsiteX503" fmla="*/ 4949299 w 7472601"/>
              <a:gd name="connsiteY503" fmla="*/ 3766336 h 6858000"/>
              <a:gd name="connsiteX504" fmla="*/ 5291452 w 7472601"/>
              <a:gd name="connsiteY504" fmla="*/ 4076801 h 6858000"/>
              <a:gd name="connsiteX505" fmla="*/ 5434998 w 7472601"/>
              <a:gd name="connsiteY505" fmla="*/ 4254100 h 6858000"/>
              <a:gd name="connsiteX506" fmla="*/ 5351015 w 7472601"/>
              <a:gd name="connsiteY506" fmla="*/ 3760989 h 6858000"/>
              <a:gd name="connsiteX507" fmla="*/ 5413780 w 7472601"/>
              <a:gd name="connsiteY507" fmla="*/ 2966265 h 6858000"/>
              <a:gd name="connsiteX508" fmla="*/ 5425627 w 7472601"/>
              <a:gd name="connsiteY508" fmla="*/ 2954192 h 6858000"/>
              <a:gd name="connsiteX509" fmla="*/ 6604735 w 7472601"/>
              <a:gd name="connsiteY509" fmla="*/ 2041381 h 6858000"/>
              <a:gd name="connsiteX510" fmla="*/ 7204487 w 7472601"/>
              <a:gd name="connsiteY510" fmla="*/ 2742112 h 6858000"/>
              <a:gd name="connsiteX511" fmla="*/ 7131592 w 7472601"/>
              <a:gd name="connsiteY511" fmla="*/ 2672096 h 6858000"/>
              <a:gd name="connsiteX512" fmla="*/ 6996344 w 7472601"/>
              <a:gd name="connsiteY512" fmla="*/ 2518310 h 6858000"/>
              <a:gd name="connsiteX513" fmla="*/ 6735495 w 7472601"/>
              <a:gd name="connsiteY513" fmla="*/ 2196890 h 6858000"/>
              <a:gd name="connsiteX514" fmla="*/ 6721901 w 7472601"/>
              <a:gd name="connsiteY514" fmla="*/ 2179274 h 6858000"/>
              <a:gd name="connsiteX515" fmla="*/ 6604735 w 7472601"/>
              <a:gd name="connsiteY515" fmla="*/ 2041381 h 6858000"/>
              <a:gd name="connsiteX516" fmla="*/ 6591670 w 7472601"/>
              <a:gd name="connsiteY516" fmla="*/ 1988277 h 6858000"/>
              <a:gd name="connsiteX517" fmla="*/ 6747349 w 7472601"/>
              <a:gd name="connsiteY517" fmla="*/ 2160069 h 6858000"/>
              <a:gd name="connsiteX518" fmla="*/ 6760943 w 7472601"/>
              <a:gd name="connsiteY518" fmla="*/ 2177686 h 6858000"/>
              <a:gd name="connsiteX519" fmla="*/ 7021065 w 7472601"/>
              <a:gd name="connsiteY519" fmla="*/ 2498102 h 6858000"/>
              <a:gd name="connsiteX520" fmla="*/ 7155223 w 7472601"/>
              <a:gd name="connsiteY520" fmla="*/ 2650386 h 6858000"/>
              <a:gd name="connsiteX521" fmla="*/ 7203167 w 7472601"/>
              <a:gd name="connsiteY521" fmla="*/ 2697288 h 6858000"/>
              <a:gd name="connsiteX522" fmla="*/ 6937703 w 7472601"/>
              <a:gd name="connsiteY522" fmla="*/ 2321981 h 6858000"/>
              <a:gd name="connsiteX523" fmla="*/ 6591670 w 7472601"/>
              <a:gd name="connsiteY523" fmla="*/ 1988277 h 6858000"/>
              <a:gd name="connsiteX524" fmla="*/ 5798671 w 7472601"/>
              <a:gd name="connsiteY524" fmla="*/ 1981601 h 6858000"/>
              <a:gd name="connsiteX525" fmla="*/ 5754709 w 7472601"/>
              <a:gd name="connsiteY525" fmla="*/ 2071454 h 6858000"/>
              <a:gd name="connsiteX526" fmla="*/ 5763044 w 7472601"/>
              <a:gd name="connsiteY526" fmla="*/ 2842206 h 6858000"/>
              <a:gd name="connsiteX527" fmla="*/ 5764974 w 7472601"/>
              <a:gd name="connsiteY527" fmla="*/ 2799609 h 6858000"/>
              <a:gd name="connsiteX528" fmla="*/ 5767665 w 7472601"/>
              <a:gd name="connsiteY528" fmla="*/ 2666409 h 6858000"/>
              <a:gd name="connsiteX529" fmla="*/ 5763055 w 7472601"/>
              <a:gd name="connsiteY529" fmla="*/ 2579705 h 6858000"/>
              <a:gd name="connsiteX530" fmla="*/ 5758079 w 7472601"/>
              <a:gd name="connsiteY530" fmla="*/ 2492508 h 6858000"/>
              <a:gd name="connsiteX531" fmla="*/ 5779325 w 7472601"/>
              <a:gd name="connsiteY531" fmla="*/ 2197069 h 6858000"/>
              <a:gd name="connsiteX532" fmla="*/ 5798671 w 7472601"/>
              <a:gd name="connsiteY532" fmla="*/ 1981601 h 6858000"/>
              <a:gd name="connsiteX533" fmla="*/ 5829202 w 7472601"/>
              <a:gd name="connsiteY533" fmla="*/ 1971679 h 6858000"/>
              <a:gd name="connsiteX534" fmla="*/ 5809558 w 7472601"/>
              <a:gd name="connsiteY534" fmla="*/ 2198043 h 6858000"/>
              <a:gd name="connsiteX535" fmla="*/ 5788653 w 7472601"/>
              <a:gd name="connsiteY535" fmla="*/ 2489430 h 6858000"/>
              <a:gd name="connsiteX536" fmla="*/ 5793439 w 7472601"/>
              <a:gd name="connsiteY536" fmla="*/ 2575235 h 6858000"/>
              <a:gd name="connsiteX537" fmla="*/ 5796837 w 7472601"/>
              <a:gd name="connsiteY537" fmla="*/ 2637633 h 6858000"/>
              <a:gd name="connsiteX538" fmla="*/ 5818614 w 7472601"/>
              <a:gd name="connsiteY538" fmla="*/ 2473055 h 6858000"/>
              <a:gd name="connsiteX539" fmla="*/ 5829202 w 7472601"/>
              <a:gd name="connsiteY539" fmla="*/ 1971679 h 6858000"/>
              <a:gd name="connsiteX540" fmla="*/ 5911389 w 7472601"/>
              <a:gd name="connsiteY540" fmla="*/ 1898371 h 6858000"/>
              <a:gd name="connsiteX541" fmla="*/ 6237627 w 7472601"/>
              <a:gd name="connsiteY541" fmla="*/ 2231921 h 6858000"/>
              <a:gd name="connsiteX542" fmla="*/ 5911389 w 7472601"/>
              <a:gd name="connsiteY542" fmla="*/ 1898371 h 6858000"/>
              <a:gd name="connsiteX543" fmla="*/ 6944437 w 7472601"/>
              <a:gd name="connsiteY543" fmla="*/ 1575402 h 6858000"/>
              <a:gd name="connsiteX544" fmla="*/ 6304730 w 7472601"/>
              <a:gd name="connsiteY544" fmla="*/ 1766654 h 6858000"/>
              <a:gd name="connsiteX545" fmla="*/ 6944437 w 7472601"/>
              <a:gd name="connsiteY545" fmla="*/ 1575402 h 6858000"/>
              <a:gd name="connsiteX546" fmla="*/ 7019523 w 7472601"/>
              <a:gd name="connsiteY546" fmla="*/ 1519450 h 6858000"/>
              <a:gd name="connsiteX547" fmla="*/ 6298091 w 7472601"/>
              <a:gd name="connsiteY547" fmla="*/ 1737122 h 6858000"/>
              <a:gd name="connsiteX548" fmla="*/ 7019523 w 7472601"/>
              <a:gd name="connsiteY548" fmla="*/ 1519450 h 6858000"/>
              <a:gd name="connsiteX549" fmla="*/ 2399523 w 7472601"/>
              <a:gd name="connsiteY549" fmla="*/ 1428234 h 6858000"/>
              <a:gd name="connsiteX550" fmla="*/ 2224982 w 7472601"/>
              <a:gd name="connsiteY550" fmla="*/ 1826201 h 6858000"/>
              <a:gd name="connsiteX551" fmla="*/ 2096099 w 7472601"/>
              <a:gd name="connsiteY551" fmla="*/ 2345900 h 6858000"/>
              <a:gd name="connsiteX552" fmla="*/ 2283317 w 7472601"/>
              <a:gd name="connsiteY552" fmla="*/ 1796925 h 6858000"/>
              <a:gd name="connsiteX553" fmla="*/ 2399523 w 7472601"/>
              <a:gd name="connsiteY553" fmla="*/ 1428234 h 6858000"/>
              <a:gd name="connsiteX554" fmla="*/ 2448558 w 7472601"/>
              <a:gd name="connsiteY554" fmla="*/ 1373435 h 6858000"/>
              <a:gd name="connsiteX555" fmla="*/ 2312521 w 7472601"/>
              <a:gd name="connsiteY555" fmla="*/ 1806140 h 6858000"/>
              <a:gd name="connsiteX556" fmla="*/ 2127533 w 7472601"/>
              <a:gd name="connsiteY556" fmla="*/ 2348380 h 6858000"/>
              <a:gd name="connsiteX557" fmla="*/ 2358080 w 7472601"/>
              <a:gd name="connsiteY557" fmla="*/ 1866134 h 6858000"/>
              <a:gd name="connsiteX558" fmla="*/ 2407436 w 7472601"/>
              <a:gd name="connsiteY558" fmla="*/ 1651070 h 6858000"/>
              <a:gd name="connsiteX559" fmla="*/ 2448558 w 7472601"/>
              <a:gd name="connsiteY559" fmla="*/ 1373435 h 6858000"/>
              <a:gd name="connsiteX560" fmla="*/ 278707 w 7472601"/>
              <a:gd name="connsiteY560" fmla="*/ 1352270 h 6858000"/>
              <a:gd name="connsiteX561" fmla="*/ 321570 w 7472601"/>
              <a:gd name="connsiteY561" fmla="*/ 1861610 h 6858000"/>
              <a:gd name="connsiteX562" fmla="*/ 294281 w 7472601"/>
              <a:gd name="connsiteY562" fmla="*/ 1440658 h 6858000"/>
              <a:gd name="connsiteX563" fmla="*/ 278707 w 7472601"/>
              <a:gd name="connsiteY563" fmla="*/ 1352270 h 6858000"/>
              <a:gd name="connsiteX564" fmla="*/ 1423821 w 7472601"/>
              <a:gd name="connsiteY564" fmla="*/ 1351958 h 6858000"/>
              <a:gd name="connsiteX565" fmla="*/ 1638521 w 7472601"/>
              <a:gd name="connsiteY565" fmla="*/ 1908470 h 6858000"/>
              <a:gd name="connsiteX566" fmla="*/ 1754199 w 7472601"/>
              <a:gd name="connsiteY566" fmla="*/ 2149284 h 6858000"/>
              <a:gd name="connsiteX567" fmla="*/ 1908359 w 7472601"/>
              <a:gd name="connsiteY567" fmla="*/ 2364988 h 6858000"/>
              <a:gd name="connsiteX568" fmla="*/ 1647661 w 7472601"/>
              <a:gd name="connsiteY568" fmla="*/ 1825945 h 6858000"/>
              <a:gd name="connsiteX569" fmla="*/ 1423821 w 7472601"/>
              <a:gd name="connsiteY569" fmla="*/ 1351958 h 6858000"/>
              <a:gd name="connsiteX570" fmla="*/ 1431890 w 7472601"/>
              <a:gd name="connsiteY570" fmla="*/ 1306475 h 6858000"/>
              <a:gd name="connsiteX571" fmla="*/ 1507597 w 7472601"/>
              <a:gd name="connsiteY571" fmla="*/ 1446132 h 6858000"/>
              <a:gd name="connsiteX572" fmla="*/ 1674586 w 7472601"/>
              <a:gd name="connsiteY572" fmla="*/ 1813832 h 6858000"/>
              <a:gd name="connsiteX573" fmla="*/ 1815950 w 7472601"/>
              <a:gd name="connsiteY573" fmla="*/ 2128564 h 6858000"/>
              <a:gd name="connsiteX574" fmla="*/ 1984242 w 7472601"/>
              <a:gd name="connsiteY574" fmla="*/ 2430829 h 6858000"/>
              <a:gd name="connsiteX575" fmla="*/ 2014023 w 7472601"/>
              <a:gd name="connsiteY575" fmla="*/ 2450995 h 6858000"/>
              <a:gd name="connsiteX576" fmla="*/ 1747337 w 7472601"/>
              <a:gd name="connsiteY576" fmla="*/ 1855264 h 6858000"/>
              <a:gd name="connsiteX577" fmla="*/ 1533749 w 7472601"/>
              <a:gd name="connsiteY577" fmla="*/ 1478656 h 6858000"/>
              <a:gd name="connsiteX578" fmla="*/ 1431890 w 7472601"/>
              <a:gd name="connsiteY578" fmla="*/ 1306475 h 6858000"/>
              <a:gd name="connsiteX579" fmla="*/ 5052692 w 7472601"/>
              <a:gd name="connsiteY579" fmla="*/ 1292994 h 6858000"/>
              <a:gd name="connsiteX580" fmla="*/ 5200661 w 7472601"/>
              <a:gd name="connsiteY580" fmla="*/ 1635186 h 6858000"/>
              <a:gd name="connsiteX581" fmla="*/ 5297138 w 7472601"/>
              <a:gd name="connsiteY581" fmla="*/ 1906351 h 6858000"/>
              <a:gd name="connsiteX582" fmla="*/ 5052692 w 7472601"/>
              <a:gd name="connsiteY582" fmla="*/ 1292994 h 6858000"/>
              <a:gd name="connsiteX583" fmla="*/ 5009948 w 7472601"/>
              <a:gd name="connsiteY583" fmla="*/ 1273619 h 6858000"/>
              <a:gd name="connsiteX584" fmla="*/ 5121777 w 7472601"/>
              <a:gd name="connsiteY584" fmla="*/ 1654213 h 6858000"/>
              <a:gd name="connsiteX585" fmla="*/ 5293545 w 7472601"/>
              <a:gd name="connsiteY585" fmla="*/ 2072247 h 6858000"/>
              <a:gd name="connsiteX586" fmla="*/ 5294042 w 7472601"/>
              <a:gd name="connsiteY586" fmla="*/ 2065019 h 6858000"/>
              <a:gd name="connsiteX587" fmla="*/ 5171936 w 7472601"/>
              <a:gd name="connsiteY587" fmla="*/ 1647613 h 6858000"/>
              <a:gd name="connsiteX588" fmla="*/ 5009948 w 7472601"/>
              <a:gd name="connsiteY588" fmla="*/ 1273619 h 6858000"/>
              <a:gd name="connsiteX589" fmla="*/ 655236 w 7472601"/>
              <a:gd name="connsiteY589" fmla="*/ 1268632 h 6858000"/>
              <a:gd name="connsiteX590" fmla="*/ 839521 w 7472601"/>
              <a:gd name="connsiteY590" fmla="*/ 1685315 h 6858000"/>
              <a:gd name="connsiteX591" fmla="*/ 1109416 w 7472601"/>
              <a:gd name="connsiteY591" fmla="*/ 2061663 h 6858000"/>
              <a:gd name="connsiteX592" fmla="*/ 1298300 w 7472601"/>
              <a:gd name="connsiteY592" fmla="*/ 2247742 h 6858000"/>
              <a:gd name="connsiteX593" fmla="*/ 1125871 w 7472601"/>
              <a:gd name="connsiteY593" fmla="*/ 1989513 h 6858000"/>
              <a:gd name="connsiteX594" fmla="*/ 981574 w 7472601"/>
              <a:gd name="connsiteY594" fmla="*/ 1783157 h 6858000"/>
              <a:gd name="connsiteX595" fmla="*/ 922198 w 7472601"/>
              <a:gd name="connsiteY595" fmla="*/ 1677437 h 6858000"/>
              <a:gd name="connsiteX596" fmla="*/ 869293 w 7472601"/>
              <a:gd name="connsiteY596" fmla="*/ 1583214 h 6858000"/>
              <a:gd name="connsiteX597" fmla="*/ 751431 w 7472601"/>
              <a:gd name="connsiteY597" fmla="*/ 1405731 h 6858000"/>
              <a:gd name="connsiteX598" fmla="*/ 655236 w 7472601"/>
              <a:gd name="connsiteY598" fmla="*/ 1268632 h 6858000"/>
              <a:gd name="connsiteX599" fmla="*/ 6516292 w 7472601"/>
              <a:gd name="connsiteY599" fmla="*/ 1263064 h 6858000"/>
              <a:gd name="connsiteX600" fmla="*/ 5736320 w 7472601"/>
              <a:gd name="connsiteY600" fmla="*/ 1501803 h 6858000"/>
              <a:gd name="connsiteX601" fmla="*/ 6516292 w 7472601"/>
              <a:gd name="connsiteY601" fmla="*/ 1263064 h 6858000"/>
              <a:gd name="connsiteX602" fmla="*/ 291466 w 7472601"/>
              <a:gd name="connsiteY602" fmla="*/ 1250369 h 6858000"/>
              <a:gd name="connsiteX603" fmla="*/ 323180 w 7472601"/>
              <a:gd name="connsiteY603" fmla="*/ 1435283 h 6858000"/>
              <a:gd name="connsiteX604" fmla="*/ 349381 w 7472601"/>
              <a:gd name="connsiteY604" fmla="*/ 1875041 h 6858000"/>
              <a:gd name="connsiteX605" fmla="*/ 374363 w 7472601"/>
              <a:gd name="connsiteY605" fmla="*/ 1506494 h 6858000"/>
              <a:gd name="connsiteX606" fmla="*/ 302168 w 7472601"/>
              <a:gd name="connsiteY606" fmla="*/ 1274495 h 6858000"/>
              <a:gd name="connsiteX607" fmla="*/ 291466 w 7472601"/>
              <a:gd name="connsiteY607" fmla="*/ 1250369 h 6858000"/>
              <a:gd name="connsiteX608" fmla="*/ 678222 w 7472601"/>
              <a:gd name="connsiteY608" fmla="*/ 1248670 h 6858000"/>
              <a:gd name="connsiteX609" fmla="*/ 775536 w 7472601"/>
              <a:gd name="connsiteY609" fmla="*/ 1388015 h 6858000"/>
              <a:gd name="connsiteX610" fmla="*/ 894529 w 7472601"/>
              <a:gd name="connsiteY610" fmla="*/ 1567739 h 6858000"/>
              <a:gd name="connsiteX611" fmla="*/ 948000 w 7472601"/>
              <a:gd name="connsiteY611" fmla="*/ 1663088 h 6858000"/>
              <a:gd name="connsiteX612" fmla="*/ 1006812 w 7472601"/>
              <a:gd name="connsiteY612" fmla="*/ 1767683 h 6858000"/>
              <a:gd name="connsiteX613" fmla="*/ 1149133 w 7472601"/>
              <a:gd name="connsiteY613" fmla="*/ 1971513 h 6858000"/>
              <a:gd name="connsiteX614" fmla="*/ 1333952 w 7472601"/>
              <a:gd name="connsiteY614" fmla="*/ 2251620 h 6858000"/>
              <a:gd name="connsiteX615" fmla="*/ 1337329 w 7472601"/>
              <a:gd name="connsiteY615" fmla="*/ 2258350 h 6858000"/>
              <a:gd name="connsiteX616" fmla="*/ 1014726 w 7472601"/>
              <a:gd name="connsiteY616" fmla="*/ 1615556 h 6858000"/>
              <a:gd name="connsiteX617" fmla="*/ 678222 w 7472601"/>
              <a:gd name="connsiteY617" fmla="*/ 1248670 h 6858000"/>
              <a:gd name="connsiteX618" fmla="*/ 6691602 w 7472601"/>
              <a:gd name="connsiteY618" fmla="*/ 1140573 h 6858000"/>
              <a:gd name="connsiteX619" fmla="*/ 6571100 w 7472601"/>
              <a:gd name="connsiteY619" fmla="*/ 1183662 h 6858000"/>
              <a:gd name="connsiteX620" fmla="*/ 6241687 w 7472601"/>
              <a:gd name="connsiteY620" fmla="*/ 1257600 h 6858000"/>
              <a:gd name="connsiteX621" fmla="*/ 5693009 w 7472601"/>
              <a:gd name="connsiteY621" fmla="*/ 1478256 h 6858000"/>
              <a:gd name="connsiteX622" fmla="*/ 6548420 w 7472601"/>
              <a:gd name="connsiteY622" fmla="*/ 1214599 h 6858000"/>
              <a:gd name="connsiteX623" fmla="*/ 6605473 w 7472601"/>
              <a:gd name="connsiteY623" fmla="*/ 1184686 h 6858000"/>
              <a:gd name="connsiteX624" fmla="*/ 6691602 w 7472601"/>
              <a:gd name="connsiteY624" fmla="*/ 1140573 h 6858000"/>
              <a:gd name="connsiteX625" fmla="*/ 4002475 w 7472601"/>
              <a:gd name="connsiteY625" fmla="*/ 1037802 h 6858000"/>
              <a:gd name="connsiteX626" fmla="*/ 4000324 w 7472601"/>
              <a:gd name="connsiteY626" fmla="*/ 1039362 h 6858000"/>
              <a:gd name="connsiteX627" fmla="*/ 4002862 w 7472601"/>
              <a:gd name="connsiteY627" fmla="*/ 1042866 h 6858000"/>
              <a:gd name="connsiteX628" fmla="*/ 4002475 w 7472601"/>
              <a:gd name="connsiteY628" fmla="*/ 1037802 h 6858000"/>
              <a:gd name="connsiteX629" fmla="*/ 506322 w 7472601"/>
              <a:gd name="connsiteY629" fmla="*/ 1020997 h 6858000"/>
              <a:gd name="connsiteX630" fmla="*/ 533068 w 7472601"/>
              <a:gd name="connsiteY630" fmla="*/ 1029409 h 6858000"/>
              <a:gd name="connsiteX631" fmla="*/ 1232525 w 7472601"/>
              <a:gd name="connsiteY631" fmla="*/ 1804675 h 6858000"/>
              <a:gd name="connsiteX632" fmla="*/ 1388858 w 7472601"/>
              <a:gd name="connsiteY632" fmla="*/ 2368011 h 6858000"/>
              <a:gd name="connsiteX633" fmla="*/ 1384098 w 7472601"/>
              <a:gd name="connsiteY633" fmla="*/ 2378125 h 6858000"/>
              <a:gd name="connsiteX634" fmla="*/ 1425393 w 7472601"/>
              <a:gd name="connsiteY634" fmla="*/ 2589124 h 6858000"/>
              <a:gd name="connsiteX635" fmla="*/ 1424001 w 7472601"/>
              <a:gd name="connsiteY635" fmla="*/ 2597541 h 6858000"/>
              <a:gd name="connsiteX636" fmla="*/ 2152729 w 7472601"/>
              <a:gd name="connsiteY636" fmla="*/ 2864487 h 6858000"/>
              <a:gd name="connsiteX637" fmla="*/ 2020609 w 7472601"/>
              <a:gd name="connsiteY637" fmla="*/ 2539671 h 6858000"/>
              <a:gd name="connsiteX638" fmla="*/ 2018920 w 7472601"/>
              <a:gd name="connsiteY638" fmla="*/ 2536309 h 6858000"/>
              <a:gd name="connsiteX639" fmla="*/ 1342441 w 7472601"/>
              <a:gd name="connsiteY639" fmla="*/ 1173017 h 6858000"/>
              <a:gd name="connsiteX640" fmla="*/ 1367925 w 7472601"/>
              <a:gd name="connsiteY640" fmla="*/ 1135648 h 6858000"/>
              <a:gd name="connsiteX641" fmla="*/ 1771401 w 7472601"/>
              <a:gd name="connsiteY641" fmla="*/ 1806673 h 6858000"/>
              <a:gd name="connsiteX642" fmla="*/ 1972385 w 7472601"/>
              <a:gd name="connsiteY642" fmla="*/ 2198735 h 6858000"/>
              <a:gd name="connsiteX643" fmla="*/ 2040892 w 7472601"/>
              <a:gd name="connsiteY643" fmla="*/ 2405205 h 6858000"/>
              <a:gd name="connsiteX644" fmla="*/ 2131689 w 7472601"/>
              <a:gd name="connsiteY644" fmla="*/ 1936926 h 6858000"/>
              <a:gd name="connsiteX645" fmla="*/ 2454820 w 7472601"/>
              <a:gd name="connsiteY645" fmla="*/ 1248808 h 6858000"/>
              <a:gd name="connsiteX646" fmla="*/ 2492512 w 7472601"/>
              <a:gd name="connsiteY646" fmla="*/ 1302920 h 6858000"/>
              <a:gd name="connsiteX647" fmla="*/ 2081216 w 7472601"/>
              <a:gd name="connsiteY647" fmla="*/ 2527513 h 6858000"/>
              <a:gd name="connsiteX648" fmla="*/ 2081211 w 7472601"/>
              <a:gd name="connsiteY648" fmla="*/ 2528916 h 6858000"/>
              <a:gd name="connsiteX649" fmla="*/ 2199067 w 7472601"/>
              <a:gd name="connsiteY649" fmla="*/ 2884061 h 6858000"/>
              <a:gd name="connsiteX650" fmla="*/ 3192586 w 7472601"/>
              <a:gd name="connsiteY650" fmla="*/ 3411496 h 6858000"/>
              <a:gd name="connsiteX651" fmla="*/ 3182620 w 7472601"/>
              <a:gd name="connsiteY651" fmla="*/ 3483279 h 6858000"/>
              <a:gd name="connsiteX652" fmla="*/ 2435119 w 7472601"/>
              <a:gd name="connsiteY652" fmla="*/ 3080173 h 6858000"/>
              <a:gd name="connsiteX653" fmla="*/ 2410152 w 7472601"/>
              <a:gd name="connsiteY653" fmla="*/ 3063751 h 6858000"/>
              <a:gd name="connsiteX654" fmla="*/ 2408099 w 7472601"/>
              <a:gd name="connsiteY654" fmla="*/ 3064403 h 6858000"/>
              <a:gd name="connsiteX655" fmla="*/ 2407218 w 7472601"/>
              <a:gd name="connsiteY655" fmla="*/ 3070324 h 6858000"/>
              <a:gd name="connsiteX656" fmla="*/ 2380138 w 7472601"/>
              <a:gd name="connsiteY656" fmla="*/ 3099341 h 6858000"/>
              <a:gd name="connsiteX657" fmla="*/ 1765923 w 7472601"/>
              <a:gd name="connsiteY657" fmla="*/ 3581043 h 6858000"/>
              <a:gd name="connsiteX658" fmla="*/ 1702258 w 7472601"/>
              <a:gd name="connsiteY658" fmla="*/ 3612286 h 6858000"/>
              <a:gd name="connsiteX659" fmla="*/ 1538370 w 7472601"/>
              <a:gd name="connsiteY659" fmla="*/ 3811804 h 6858000"/>
              <a:gd name="connsiteX660" fmla="*/ 542867 w 7472601"/>
              <a:gd name="connsiteY660" fmla="*/ 4944092 h 6858000"/>
              <a:gd name="connsiteX661" fmla="*/ 515800 w 7472601"/>
              <a:gd name="connsiteY661" fmla="*/ 4862180 h 6858000"/>
              <a:gd name="connsiteX662" fmla="*/ 909145 w 7472601"/>
              <a:gd name="connsiteY662" fmla="*/ 4199225 h 6858000"/>
              <a:gd name="connsiteX663" fmla="*/ 1214067 w 7472601"/>
              <a:gd name="connsiteY663" fmla="*/ 3908561 h 6858000"/>
              <a:gd name="connsiteX664" fmla="*/ 640967 w 7472601"/>
              <a:gd name="connsiteY664" fmla="*/ 4105601 h 6858000"/>
              <a:gd name="connsiteX665" fmla="*/ 112563 w 7472601"/>
              <a:gd name="connsiteY665" fmla="*/ 4396952 h 6858000"/>
              <a:gd name="connsiteX666" fmla="*/ 0 w 7472601"/>
              <a:gd name="connsiteY666" fmla="*/ 4466006 h 6858000"/>
              <a:gd name="connsiteX667" fmla="*/ 0 w 7472601"/>
              <a:gd name="connsiteY667" fmla="*/ 4233763 h 6858000"/>
              <a:gd name="connsiteX668" fmla="*/ 36881 w 7472601"/>
              <a:gd name="connsiteY668" fmla="*/ 4200118 h 6858000"/>
              <a:gd name="connsiteX669" fmla="*/ 910534 w 7472601"/>
              <a:gd name="connsiteY669" fmla="*/ 3629753 h 6858000"/>
              <a:gd name="connsiteX670" fmla="*/ 1578717 w 7472601"/>
              <a:gd name="connsiteY670" fmla="*/ 3575982 h 6858000"/>
              <a:gd name="connsiteX671" fmla="*/ 2338780 w 7472601"/>
              <a:gd name="connsiteY671" fmla="*/ 3033725 h 6858000"/>
              <a:gd name="connsiteX672" fmla="*/ 1807991 w 7472601"/>
              <a:gd name="connsiteY672" fmla="*/ 2807184 h 6858000"/>
              <a:gd name="connsiteX673" fmla="*/ 1416358 w 7472601"/>
              <a:gd name="connsiteY673" fmla="*/ 3112571 h 6858000"/>
              <a:gd name="connsiteX674" fmla="*/ 939066 w 7472601"/>
              <a:gd name="connsiteY674" fmla="*/ 3378798 h 6858000"/>
              <a:gd name="connsiteX675" fmla="*/ 115099 w 7472601"/>
              <a:gd name="connsiteY675" fmla="*/ 3607650 h 6858000"/>
              <a:gd name="connsiteX676" fmla="*/ 97284 w 7472601"/>
              <a:gd name="connsiteY676" fmla="*/ 3520393 h 6858000"/>
              <a:gd name="connsiteX677" fmla="*/ 922050 w 7472601"/>
              <a:gd name="connsiteY677" fmla="*/ 3074867 h 6858000"/>
              <a:gd name="connsiteX678" fmla="*/ 1405265 w 7472601"/>
              <a:gd name="connsiteY678" fmla="*/ 3016319 h 6858000"/>
              <a:gd name="connsiteX679" fmla="*/ 1407512 w 7472601"/>
              <a:gd name="connsiteY679" fmla="*/ 3018001 h 6858000"/>
              <a:gd name="connsiteX680" fmla="*/ 1726266 w 7472601"/>
              <a:gd name="connsiteY680" fmla="*/ 2777274 h 6858000"/>
              <a:gd name="connsiteX681" fmla="*/ 625390 w 7472601"/>
              <a:gd name="connsiteY681" fmla="*/ 2514541 h 6858000"/>
              <a:gd name="connsiteX682" fmla="*/ 619799 w 7472601"/>
              <a:gd name="connsiteY682" fmla="*/ 2527180 h 6858000"/>
              <a:gd name="connsiteX683" fmla="*/ 310030 w 7472601"/>
              <a:gd name="connsiteY683" fmla="*/ 2771818 h 6858000"/>
              <a:gd name="connsiteX684" fmla="*/ 173877 w 7472601"/>
              <a:gd name="connsiteY684" fmla="*/ 2937056 h 6858000"/>
              <a:gd name="connsiteX685" fmla="*/ 77889 w 7472601"/>
              <a:gd name="connsiteY685" fmla="*/ 3138440 h 6858000"/>
              <a:gd name="connsiteX686" fmla="*/ 0 w 7472601"/>
              <a:gd name="connsiteY686" fmla="*/ 3271395 h 6858000"/>
              <a:gd name="connsiteX687" fmla="*/ 0 w 7472601"/>
              <a:gd name="connsiteY687" fmla="*/ 3153002 h 6858000"/>
              <a:gd name="connsiteX688" fmla="*/ 2386 w 7472601"/>
              <a:gd name="connsiteY688" fmla="*/ 3149203 h 6858000"/>
              <a:gd name="connsiteX689" fmla="*/ 89753 w 7472601"/>
              <a:gd name="connsiteY689" fmla="*/ 2987702 h 6858000"/>
              <a:gd name="connsiteX690" fmla="*/ 76869 w 7472601"/>
              <a:gd name="connsiteY690" fmla="*/ 3005404 h 6858000"/>
              <a:gd name="connsiteX691" fmla="*/ 32049 w 7472601"/>
              <a:gd name="connsiteY691" fmla="*/ 3065814 h 6858000"/>
              <a:gd name="connsiteX692" fmla="*/ 0 w 7472601"/>
              <a:gd name="connsiteY692" fmla="*/ 3108744 h 6858000"/>
              <a:gd name="connsiteX693" fmla="*/ 0 w 7472601"/>
              <a:gd name="connsiteY693" fmla="*/ 3058059 h 6858000"/>
              <a:gd name="connsiteX694" fmla="*/ 7610 w 7472601"/>
              <a:gd name="connsiteY694" fmla="*/ 3047889 h 6858000"/>
              <a:gd name="connsiteX695" fmla="*/ 52419 w 7472601"/>
              <a:gd name="connsiteY695" fmla="*/ 2987479 h 6858000"/>
              <a:gd name="connsiteX696" fmla="*/ 59142 w 7472601"/>
              <a:gd name="connsiteY696" fmla="*/ 2978488 h 6858000"/>
              <a:gd name="connsiteX697" fmla="*/ 0 w 7472601"/>
              <a:gd name="connsiteY697" fmla="*/ 3015334 h 6858000"/>
              <a:gd name="connsiteX698" fmla="*/ 0 w 7472601"/>
              <a:gd name="connsiteY698" fmla="*/ 2914286 h 6858000"/>
              <a:gd name="connsiteX699" fmla="*/ 36383 w 7472601"/>
              <a:gd name="connsiteY699" fmla="*/ 2901128 h 6858000"/>
              <a:gd name="connsiteX700" fmla="*/ 156329 w 7472601"/>
              <a:gd name="connsiteY700" fmla="*/ 2840533 h 6858000"/>
              <a:gd name="connsiteX701" fmla="*/ 358355 w 7472601"/>
              <a:gd name="connsiteY701" fmla="*/ 2620471 h 6858000"/>
              <a:gd name="connsiteX702" fmla="*/ 510577 w 7472601"/>
              <a:gd name="connsiteY702" fmla="*/ 2501244 h 6858000"/>
              <a:gd name="connsiteX703" fmla="*/ 211967 w 7472601"/>
              <a:gd name="connsiteY703" fmla="*/ 2479171 h 6858000"/>
              <a:gd name="connsiteX704" fmla="*/ 0 w 7472601"/>
              <a:gd name="connsiteY704" fmla="*/ 2476398 h 6858000"/>
              <a:gd name="connsiteX705" fmla="*/ 0 w 7472601"/>
              <a:gd name="connsiteY705" fmla="*/ 2389189 h 6858000"/>
              <a:gd name="connsiteX706" fmla="*/ 103062 w 7472601"/>
              <a:gd name="connsiteY706" fmla="*/ 2389518 h 6858000"/>
              <a:gd name="connsiteX707" fmla="*/ 510734 w 7472601"/>
              <a:gd name="connsiteY707" fmla="*/ 2416201 h 6858000"/>
              <a:gd name="connsiteX708" fmla="*/ 279257 w 7472601"/>
              <a:gd name="connsiteY708" fmla="*/ 2092102 h 6858000"/>
              <a:gd name="connsiteX709" fmla="*/ 65265 w 7472601"/>
              <a:gd name="connsiteY709" fmla="*/ 2006049 h 6858000"/>
              <a:gd name="connsiteX710" fmla="*/ 0 w 7472601"/>
              <a:gd name="connsiteY710" fmla="*/ 1982532 h 6858000"/>
              <a:gd name="connsiteX711" fmla="*/ 0 w 7472601"/>
              <a:gd name="connsiteY711" fmla="*/ 1912789 h 6858000"/>
              <a:gd name="connsiteX712" fmla="*/ 97460 w 7472601"/>
              <a:gd name="connsiteY712" fmla="*/ 1953725 h 6858000"/>
              <a:gd name="connsiteX713" fmla="*/ 221272 w 7472601"/>
              <a:gd name="connsiteY713" fmla="*/ 1980766 h 6858000"/>
              <a:gd name="connsiteX714" fmla="*/ 116765 w 7472601"/>
              <a:gd name="connsiteY714" fmla="*/ 1911033 h 6858000"/>
              <a:gd name="connsiteX715" fmla="*/ 16405 w 7472601"/>
              <a:gd name="connsiteY715" fmla="*/ 1803412 h 6858000"/>
              <a:gd name="connsiteX716" fmla="*/ 0 w 7472601"/>
              <a:gd name="connsiteY716" fmla="*/ 1784777 h 6858000"/>
              <a:gd name="connsiteX717" fmla="*/ 0 w 7472601"/>
              <a:gd name="connsiteY717" fmla="*/ 1740082 h 6858000"/>
              <a:gd name="connsiteX718" fmla="*/ 39394 w 7472601"/>
              <a:gd name="connsiteY718" fmla="*/ 1784856 h 6858000"/>
              <a:gd name="connsiteX719" fmla="*/ 135813 w 7472601"/>
              <a:gd name="connsiteY719" fmla="*/ 1888838 h 6858000"/>
              <a:gd name="connsiteX720" fmla="*/ 242575 w 7472601"/>
              <a:gd name="connsiteY720" fmla="*/ 1958841 h 6858000"/>
              <a:gd name="connsiteX721" fmla="*/ 82197 w 7472601"/>
              <a:gd name="connsiteY721" fmla="*/ 1754826 h 6858000"/>
              <a:gd name="connsiteX722" fmla="*/ 0 w 7472601"/>
              <a:gd name="connsiteY722" fmla="*/ 1679650 h 6858000"/>
              <a:gd name="connsiteX723" fmla="*/ 0 w 7472601"/>
              <a:gd name="connsiteY723" fmla="*/ 1602463 h 6858000"/>
              <a:gd name="connsiteX724" fmla="*/ 84689 w 7472601"/>
              <a:gd name="connsiteY724" fmla="*/ 1677442 h 6858000"/>
              <a:gd name="connsiteX725" fmla="*/ 298437 w 7472601"/>
              <a:gd name="connsiteY725" fmla="*/ 1968019 h 6858000"/>
              <a:gd name="connsiteX726" fmla="*/ 227269 w 7472601"/>
              <a:gd name="connsiteY726" fmla="*/ 1114064 h 6858000"/>
              <a:gd name="connsiteX727" fmla="*/ 248003 w 7472601"/>
              <a:gd name="connsiteY727" fmla="*/ 1089613 h 6858000"/>
              <a:gd name="connsiteX728" fmla="*/ 427020 w 7472601"/>
              <a:gd name="connsiteY728" fmla="*/ 1619803 h 6858000"/>
              <a:gd name="connsiteX729" fmla="*/ 340345 w 7472601"/>
              <a:gd name="connsiteY729" fmla="*/ 2027739 h 6858000"/>
              <a:gd name="connsiteX730" fmla="*/ 360865 w 7472601"/>
              <a:gd name="connsiteY730" fmla="*/ 2044827 h 6858000"/>
              <a:gd name="connsiteX731" fmla="*/ 560414 w 7472601"/>
              <a:gd name="connsiteY731" fmla="*/ 2421457 h 6858000"/>
              <a:gd name="connsiteX732" fmla="*/ 1359703 w 7472601"/>
              <a:gd name="connsiteY732" fmla="*/ 2578554 h 6858000"/>
              <a:gd name="connsiteX733" fmla="*/ 1359422 w 7472601"/>
              <a:gd name="connsiteY733" fmla="*/ 2577994 h 6858000"/>
              <a:gd name="connsiteX734" fmla="*/ 828701 w 7472601"/>
              <a:gd name="connsiteY734" fmla="*/ 1839520 h 6858000"/>
              <a:gd name="connsiteX735" fmla="*/ 494427 w 7472601"/>
              <a:gd name="connsiteY735" fmla="*/ 1092333 h 6858000"/>
              <a:gd name="connsiteX736" fmla="*/ 506322 w 7472601"/>
              <a:gd name="connsiteY736" fmla="*/ 1020997 h 6858000"/>
              <a:gd name="connsiteX737" fmla="*/ 4570198 w 7472601"/>
              <a:gd name="connsiteY737" fmla="*/ 978081 h 6858000"/>
              <a:gd name="connsiteX738" fmla="*/ 4523691 w 7472601"/>
              <a:gd name="connsiteY738" fmla="*/ 1127776 h 6858000"/>
              <a:gd name="connsiteX739" fmla="*/ 4509875 w 7472601"/>
              <a:gd name="connsiteY739" fmla="*/ 1167552 h 6858000"/>
              <a:gd name="connsiteX740" fmla="*/ 4478168 w 7472601"/>
              <a:gd name="connsiteY740" fmla="*/ 1260735 h 6858000"/>
              <a:gd name="connsiteX741" fmla="*/ 4409309 w 7472601"/>
              <a:gd name="connsiteY741" fmla="*/ 1666996 h 6858000"/>
              <a:gd name="connsiteX742" fmla="*/ 4370031 w 7472601"/>
              <a:gd name="connsiteY742" fmla="*/ 1955666 h 6858000"/>
              <a:gd name="connsiteX743" fmla="*/ 4570198 w 7472601"/>
              <a:gd name="connsiteY743" fmla="*/ 978081 h 6858000"/>
              <a:gd name="connsiteX744" fmla="*/ 4557898 w 7472601"/>
              <a:gd name="connsiteY744" fmla="*/ 900011 h 6858000"/>
              <a:gd name="connsiteX745" fmla="*/ 4344840 w 7472601"/>
              <a:gd name="connsiteY745" fmla="*/ 1922038 h 6858000"/>
              <a:gd name="connsiteX746" fmla="*/ 4378710 w 7472601"/>
              <a:gd name="connsiteY746" fmla="*/ 1665516 h 6858000"/>
              <a:gd name="connsiteX747" fmla="*/ 4448798 w 7472601"/>
              <a:gd name="connsiteY747" fmla="*/ 1253024 h 6858000"/>
              <a:gd name="connsiteX748" fmla="*/ 4480315 w 7472601"/>
              <a:gd name="connsiteY748" fmla="*/ 1158454 h 6858000"/>
              <a:gd name="connsiteX749" fmla="*/ 4494133 w 7472601"/>
              <a:gd name="connsiteY749" fmla="*/ 1118676 h 6858000"/>
              <a:gd name="connsiteX750" fmla="*/ 4557898 w 7472601"/>
              <a:gd name="connsiteY750" fmla="*/ 900011 h 6858000"/>
              <a:gd name="connsiteX751" fmla="*/ 5870151 w 7472601"/>
              <a:gd name="connsiteY751" fmla="*/ 898890 h 6858000"/>
              <a:gd name="connsiteX752" fmla="*/ 5861335 w 7472601"/>
              <a:gd name="connsiteY752" fmla="*/ 899177 h 6858000"/>
              <a:gd name="connsiteX753" fmla="*/ 5843702 w 7472601"/>
              <a:gd name="connsiteY753" fmla="*/ 899748 h 6858000"/>
              <a:gd name="connsiteX754" fmla="*/ 5651107 w 7472601"/>
              <a:gd name="connsiteY754" fmla="*/ 920306 h 6858000"/>
              <a:gd name="connsiteX755" fmla="*/ 5459407 w 7472601"/>
              <a:gd name="connsiteY755" fmla="*/ 940975 h 6858000"/>
              <a:gd name="connsiteX756" fmla="*/ 5374846 w 7472601"/>
              <a:gd name="connsiteY756" fmla="*/ 941988 h 6858000"/>
              <a:gd name="connsiteX757" fmla="*/ 5256105 w 7472601"/>
              <a:gd name="connsiteY757" fmla="*/ 945632 h 6858000"/>
              <a:gd name="connsiteX758" fmla="*/ 5107071 w 7472601"/>
              <a:gd name="connsiteY758" fmla="*/ 969720 h 6858000"/>
              <a:gd name="connsiteX759" fmla="*/ 4998681 w 7472601"/>
              <a:gd name="connsiteY759" fmla="*/ 988771 h 6858000"/>
              <a:gd name="connsiteX760" fmla="*/ 5870151 w 7472601"/>
              <a:gd name="connsiteY760" fmla="*/ 898890 h 6858000"/>
              <a:gd name="connsiteX761" fmla="*/ 5504425 w 7472601"/>
              <a:gd name="connsiteY761" fmla="*/ 848067 h 6858000"/>
              <a:gd name="connsiteX762" fmla="*/ 4968849 w 7472601"/>
              <a:gd name="connsiteY762" fmla="*/ 962318 h 6858000"/>
              <a:gd name="connsiteX763" fmla="*/ 5104039 w 7472601"/>
              <a:gd name="connsiteY763" fmla="*/ 940634 h 6858000"/>
              <a:gd name="connsiteX764" fmla="*/ 5256311 w 7472601"/>
              <a:gd name="connsiteY764" fmla="*/ 916490 h 6858000"/>
              <a:gd name="connsiteX765" fmla="*/ 5377381 w 7472601"/>
              <a:gd name="connsiteY765" fmla="*/ 912671 h 6858000"/>
              <a:gd name="connsiteX766" fmla="*/ 5460148 w 7472601"/>
              <a:gd name="connsiteY766" fmla="*/ 911442 h 6858000"/>
              <a:gd name="connsiteX767" fmla="*/ 5648971 w 7472601"/>
              <a:gd name="connsiteY767" fmla="*/ 891331 h 6858000"/>
              <a:gd name="connsiteX768" fmla="*/ 5844807 w 7472601"/>
              <a:gd name="connsiteY768" fmla="*/ 870718 h 6858000"/>
              <a:gd name="connsiteX769" fmla="*/ 5862975 w 7472601"/>
              <a:gd name="connsiteY769" fmla="*/ 869756 h 6858000"/>
              <a:gd name="connsiteX770" fmla="*/ 5920887 w 7472601"/>
              <a:gd name="connsiteY770" fmla="*/ 865929 h 6858000"/>
              <a:gd name="connsiteX771" fmla="*/ 5504425 w 7472601"/>
              <a:gd name="connsiteY771" fmla="*/ 848067 h 6858000"/>
              <a:gd name="connsiteX772" fmla="*/ 3607114 w 7472601"/>
              <a:gd name="connsiteY772" fmla="*/ 467441 h 6858000"/>
              <a:gd name="connsiteX773" fmla="*/ 3296242 w 7472601"/>
              <a:gd name="connsiteY773" fmla="*/ 807991 h 6858000"/>
              <a:gd name="connsiteX774" fmla="*/ 3174674 w 7472601"/>
              <a:gd name="connsiteY774" fmla="*/ 919759 h 6858000"/>
              <a:gd name="connsiteX775" fmla="*/ 3042978 w 7472601"/>
              <a:gd name="connsiteY775" fmla="*/ 1054894 h 6858000"/>
              <a:gd name="connsiteX776" fmla="*/ 2968914 w 7472601"/>
              <a:gd name="connsiteY776" fmla="*/ 1133756 h 6858000"/>
              <a:gd name="connsiteX777" fmla="*/ 3103823 w 7472601"/>
              <a:gd name="connsiteY777" fmla="*/ 1026814 h 6858000"/>
              <a:gd name="connsiteX778" fmla="*/ 3607114 w 7472601"/>
              <a:gd name="connsiteY778" fmla="*/ 467441 h 6858000"/>
              <a:gd name="connsiteX779" fmla="*/ 3744487 w 7472601"/>
              <a:gd name="connsiteY779" fmla="*/ 383136 h 6858000"/>
              <a:gd name="connsiteX780" fmla="*/ 3970213 w 7472601"/>
              <a:gd name="connsiteY780" fmla="*/ 995559 h 6858000"/>
              <a:gd name="connsiteX781" fmla="*/ 3744487 w 7472601"/>
              <a:gd name="connsiteY781" fmla="*/ 383136 h 6858000"/>
              <a:gd name="connsiteX782" fmla="*/ 3624562 w 7472601"/>
              <a:gd name="connsiteY782" fmla="*/ 367041 h 6858000"/>
              <a:gd name="connsiteX783" fmla="*/ 3489712 w 7472601"/>
              <a:gd name="connsiteY783" fmla="*/ 485386 h 6858000"/>
              <a:gd name="connsiteX784" fmla="*/ 3182994 w 7472601"/>
              <a:gd name="connsiteY784" fmla="*/ 828265 h 6858000"/>
              <a:gd name="connsiteX785" fmla="*/ 2892114 w 7472601"/>
              <a:gd name="connsiteY785" fmla="*/ 1172635 h 6858000"/>
              <a:gd name="connsiteX786" fmla="*/ 3021459 w 7472601"/>
              <a:gd name="connsiteY786" fmla="*/ 1035385 h 6858000"/>
              <a:gd name="connsiteX787" fmla="*/ 3153873 w 7472601"/>
              <a:gd name="connsiteY787" fmla="*/ 898971 h 6858000"/>
              <a:gd name="connsiteX788" fmla="*/ 3276511 w 7472601"/>
              <a:gd name="connsiteY788" fmla="*/ 786423 h 6858000"/>
              <a:gd name="connsiteX789" fmla="*/ 3584154 w 7472601"/>
              <a:gd name="connsiteY789" fmla="*/ 448218 h 6858000"/>
              <a:gd name="connsiteX790" fmla="*/ 3624562 w 7472601"/>
              <a:gd name="connsiteY790" fmla="*/ 367041 h 6858000"/>
              <a:gd name="connsiteX791" fmla="*/ 3766672 w 7472601"/>
              <a:gd name="connsiteY791" fmla="*/ 359429 h 6858000"/>
              <a:gd name="connsiteX792" fmla="*/ 3996338 w 7472601"/>
              <a:gd name="connsiteY792" fmla="*/ 968237 h 6858000"/>
              <a:gd name="connsiteX793" fmla="*/ 3766672 w 7472601"/>
              <a:gd name="connsiteY793" fmla="*/ 359429 h 6858000"/>
              <a:gd name="connsiteX794" fmla="*/ 5805386 w 7472601"/>
              <a:gd name="connsiteY794" fmla="*/ 239240 h 6858000"/>
              <a:gd name="connsiteX795" fmla="*/ 5736947 w 7472601"/>
              <a:gd name="connsiteY795" fmla="*/ 261367 h 6858000"/>
              <a:gd name="connsiteX796" fmla="*/ 5427012 w 7472601"/>
              <a:gd name="connsiteY796" fmla="*/ 311272 h 6858000"/>
              <a:gd name="connsiteX797" fmla="*/ 5147818 w 7472601"/>
              <a:gd name="connsiteY797" fmla="*/ 322112 h 6858000"/>
              <a:gd name="connsiteX798" fmla="*/ 5060854 w 7472601"/>
              <a:gd name="connsiteY798" fmla="*/ 311882 h 6858000"/>
              <a:gd name="connsiteX799" fmla="*/ 4945989 w 7472601"/>
              <a:gd name="connsiteY799" fmla="*/ 300516 h 6858000"/>
              <a:gd name="connsiteX800" fmla="*/ 5410479 w 7472601"/>
              <a:gd name="connsiteY800" fmla="*/ 348434 h 6858000"/>
              <a:gd name="connsiteX801" fmla="*/ 5805386 w 7472601"/>
              <a:gd name="connsiteY801" fmla="*/ 239240 h 6858000"/>
              <a:gd name="connsiteX802" fmla="*/ 5905192 w 7472601"/>
              <a:gd name="connsiteY802" fmla="*/ 163079 h 6858000"/>
              <a:gd name="connsiteX803" fmla="*/ 5865655 w 7472601"/>
              <a:gd name="connsiteY803" fmla="*/ 171901 h 6858000"/>
              <a:gd name="connsiteX804" fmla="*/ 5259740 w 7472601"/>
              <a:gd name="connsiteY804" fmla="*/ 257013 h 6858000"/>
              <a:gd name="connsiteX805" fmla="*/ 5208466 w 7472601"/>
              <a:gd name="connsiteY805" fmla="*/ 257550 h 6858000"/>
              <a:gd name="connsiteX806" fmla="*/ 4980204 w 7472601"/>
              <a:gd name="connsiteY806" fmla="*/ 271903 h 6858000"/>
              <a:gd name="connsiteX807" fmla="*/ 5068068 w 7472601"/>
              <a:gd name="connsiteY807" fmla="*/ 282244 h 6858000"/>
              <a:gd name="connsiteX808" fmla="*/ 5153231 w 7472601"/>
              <a:gd name="connsiteY808" fmla="*/ 292240 h 6858000"/>
              <a:gd name="connsiteX809" fmla="*/ 5426491 w 7472601"/>
              <a:gd name="connsiteY809" fmla="*/ 281128 h 6858000"/>
              <a:gd name="connsiteX810" fmla="*/ 5731212 w 7472601"/>
              <a:gd name="connsiteY810" fmla="*/ 231951 h 6858000"/>
              <a:gd name="connsiteX811" fmla="*/ 5905192 w 7472601"/>
              <a:gd name="connsiteY811" fmla="*/ 163079 h 6858000"/>
              <a:gd name="connsiteX812" fmla="*/ 5944437 w 7472601"/>
              <a:gd name="connsiteY812" fmla="*/ 113829 h 6858000"/>
              <a:gd name="connsiteX813" fmla="*/ 5825032 w 7472601"/>
              <a:gd name="connsiteY813" fmla="*/ 146405 h 6858000"/>
              <a:gd name="connsiteX814" fmla="*/ 4955599 w 7472601"/>
              <a:gd name="connsiteY814" fmla="*/ 247008 h 6858000"/>
              <a:gd name="connsiteX815" fmla="*/ 5210104 w 7472601"/>
              <a:gd name="connsiteY815" fmla="*/ 228123 h 6858000"/>
              <a:gd name="connsiteX816" fmla="*/ 5261015 w 7472601"/>
              <a:gd name="connsiteY816" fmla="*/ 227087 h 6858000"/>
              <a:gd name="connsiteX817" fmla="*/ 5861181 w 7472601"/>
              <a:gd name="connsiteY817" fmla="*/ 143093 h 6858000"/>
              <a:gd name="connsiteX818" fmla="*/ 5961252 w 7472601"/>
              <a:gd name="connsiteY818" fmla="*/ 114820 h 6858000"/>
              <a:gd name="connsiteX819" fmla="*/ 5944437 w 7472601"/>
              <a:gd name="connsiteY819" fmla="*/ 113829 h 6858000"/>
              <a:gd name="connsiteX820" fmla="*/ 3882765 w 7472601"/>
              <a:gd name="connsiteY820" fmla="*/ 0 h 6858000"/>
              <a:gd name="connsiteX821" fmla="*/ 3995099 w 7472601"/>
              <a:gd name="connsiteY821" fmla="*/ 0 h 6858000"/>
              <a:gd name="connsiteX822" fmla="*/ 4163818 w 7472601"/>
              <a:gd name="connsiteY822" fmla="*/ 234104 h 6858000"/>
              <a:gd name="connsiteX823" fmla="*/ 4172099 w 7472601"/>
              <a:gd name="connsiteY823" fmla="*/ 234207 h 6858000"/>
              <a:gd name="connsiteX824" fmla="*/ 4784282 w 7472601"/>
              <a:gd name="connsiteY824" fmla="*/ 276561 h 6858000"/>
              <a:gd name="connsiteX825" fmla="*/ 4801687 w 7472601"/>
              <a:gd name="connsiteY825" fmla="*/ 267764 h 6858000"/>
              <a:gd name="connsiteX826" fmla="*/ 6082788 w 7472601"/>
              <a:gd name="connsiteY826" fmla="*/ 64119 h 6858000"/>
              <a:gd name="connsiteX827" fmla="*/ 6099442 w 7472601"/>
              <a:gd name="connsiteY827" fmla="*/ 82568 h 6858000"/>
              <a:gd name="connsiteX828" fmla="*/ 4804137 w 7472601"/>
              <a:gd name="connsiteY828" fmla="*/ 320931 h 6858000"/>
              <a:gd name="connsiteX829" fmla="*/ 4227047 w 7472601"/>
              <a:gd name="connsiteY829" fmla="*/ 313415 h 6858000"/>
              <a:gd name="connsiteX830" fmla="*/ 4346041 w 7472601"/>
              <a:gd name="connsiteY830" fmla="*/ 456086 h 6858000"/>
              <a:gd name="connsiteX831" fmla="*/ 4870967 w 7472601"/>
              <a:gd name="connsiteY831" fmla="*/ 963061 h 6858000"/>
              <a:gd name="connsiteX832" fmla="*/ 4889647 w 7472601"/>
              <a:gd name="connsiteY832" fmla="*/ 957147 h 6858000"/>
              <a:gd name="connsiteX833" fmla="*/ 5422504 w 7472601"/>
              <a:gd name="connsiteY833" fmla="*/ 805191 h 6858000"/>
              <a:gd name="connsiteX834" fmla="*/ 6087656 w 7472601"/>
              <a:gd name="connsiteY834" fmla="*/ 826703 h 6858000"/>
              <a:gd name="connsiteX835" fmla="*/ 6058717 w 7472601"/>
              <a:gd name="connsiteY835" fmla="*/ 865992 h 6858000"/>
              <a:gd name="connsiteX836" fmla="*/ 4974153 w 7472601"/>
              <a:gd name="connsiteY836" fmla="*/ 1045456 h 6858000"/>
              <a:gd name="connsiteX837" fmla="*/ 5627835 w 7472601"/>
              <a:gd name="connsiteY837" fmla="*/ 1472077 h 6858000"/>
              <a:gd name="connsiteX838" fmla="*/ 5629817 w 7472601"/>
              <a:gd name="connsiteY838" fmla="*/ 1471412 h 6858000"/>
              <a:gd name="connsiteX839" fmla="*/ 5634124 w 7472601"/>
              <a:gd name="connsiteY839" fmla="*/ 1470572 h 6858000"/>
              <a:gd name="connsiteX840" fmla="*/ 5755832 w 7472601"/>
              <a:gd name="connsiteY840" fmla="*/ 1383886 h 6858000"/>
              <a:gd name="connsiteX841" fmla="*/ 6014186 w 7472601"/>
              <a:gd name="connsiteY841" fmla="*/ 1279799 h 6858000"/>
              <a:gd name="connsiteX842" fmla="*/ 6901619 w 7472601"/>
              <a:gd name="connsiteY842" fmla="*/ 1047874 h 6858000"/>
              <a:gd name="connsiteX843" fmla="*/ 6931566 w 7472601"/>
              <a:gd name="connsiteY843" fmla="*/ 1062034 h 6858000"/>
              <a:gd name="connsiteX844" fmla="*/ 5790982 w 7472601"/>
              <a:gd name="connsiteY844" fmla="*/ 1561380 h 6858000"/>
              <a:gd name="connsiteX845" fmla="*/ 6188971 w 7472601"/>
              <a:gd name="connsiteY845" fmla="*/ 1755168 h 6858000"/>
              <a:gd name="connsiteX846" fmla="*/ 6202446 w 7472601"/>
              <a:gd name="connsiteY846" fmla="*/ 1752268 h 6858000"/>
              <a:gd name="connsiteX847" fmla="*/ 7179560 w 7472601"/>
              <a:gd name="connsiteY847" fmla="*/ 1467551 h 6858000"/>
              <a:gd name="connsiteX848" fmla="*/ 7158730 w 7472601"/>
              <a:gd name="connsiteY848" fmla="*/ 1507835 h 6858000"/>
              <a:gd name="connsiteX849" fmla="*/ 6326959 w 7472601"/>
              <a:gd name="connsiteY849" fmla="*/ 1817686 h 6858000"/>
              <a:gd name="connsiteX850" fmla="*/ 6537433 w 7472601"/>
              <a:gd name="connsiteY850" fmla="*/ 1907790 h 6858000"/>
              <a:gd name="connsiteX851" fmla="*/ 6550221 w 7472601"/>
              <a:gd name="connsiteY851" fmla="*/ 1910729 h 6858000"/>
              <a:gd name="connsiteX852" fmla="*/ 6964438 w 7472601"/>
              <a:gd name="connsiteY852" fmla="*/ 2209505 h 6858000"/>
              <a:gd name="connsiteX853" fmla="*/ 7367862 w 7472601"/>
              <a:gd name="connsiteY853" fmla="*/ 2806833 h 6858000"/>
              <a:gd name="connsiteX854" fmla="*/ 7364329 w 7472601"/>
              <a:gd name="connsiteY854" fmla="*/ 2826907 h 6858000"/>
              <a:gd name="connsiteX855" fmla="*/ 7290545 w 7472601"/>
              <a:gd name="connsiteY855" fmla="*/ 2850663 h 6858000"/>
              <a:gd name="connsiteX856" fmla="*/ 6472036 w 7472601"/>
              <a:gd name="connsiteY856" fmla="*/ 1959003 h 6858000"/>
              <a:gd name="connsiteX857" fmla="*/ 5792897 w 7472601"/>
              <a:gd name="connsiteY857" fmla="*/ 1647747 h 6858000"/>
              <a:gd name="connsiteX858" fmla="*/ 5842751 w 7472601"/>
              <a:gd name="connsiteY858" fmla="*/ 1816112 h 6858000"/>
              <a:gd name="connsiteX859" fmla="*/ 5847424 w 7472601"/>
              <a:gd name="connsiteY859" fmla="*/ 1815776 h 6858000"/>
              <a:gd name="connsiteX860" fmla="*/ 6399821 w 7472601"/>
              <a:gd name="connsiteY860" fmla="*/ 2344799 h 6858000"/>
              <a:gd name="connsiteX861" fmla="*/ 6323232 w 7472601"/>
              <a:gd name="connsiteY861" fmla="*/ 2389634 h 6858000"/>
              <a:gd name="connsiteX862" fmla="*/ 5942958 w 7472601"/>
              <a:gd name="connsiteY862" fmla="*/ 2077708 h 6858000"/>
              <a:gd name="connsiteX863" fmla="*/ 5921559 w 7472601"/>
              <a:gd name="connsiteY863" fmla="*/ 2378596 h 6858000"/>
              <a:gd name="connsiteX864" fmla="*/ 5817651 w 7472601"/>
              <a:gd name="connsiteY864" fmla="*/ 3023919 h 6858000"/>
              <a:gd name="connsiteX865" fmla="*/ 5729634 w 7472601"/>
              <a:gd name="connsiteY865" fmla="*/ 3051849 h 6858000"/>
              <a:gd name="connsiteX866" fmla="*/ 5611018 w 7472601"/>
              <a:gd name="connsiteY866" fmla="*/ 2316769 h 6858000"/>
              <a:gd name="connsiteX867" fmla="*/ 5687608 w 7472601"/>
              <a:gd name="connsiteY867" fmla="*/ 2039972 h 6858000"/>
              <a:gd name="connsiteX868" fmla="*/ 5657554 w 7472601"/>
              <a:gd name="connsiteY868" fmla="*/ 1576445 h 6858000"/>
              <a:gd name="connsiteX869" fmla="*/ 5150475 w 7472601"/>
              <a:gd name="connsiteY869" fmla="*/ 1274012 h 6858000"/>
              <a:gd name="connsiteX870" fmla="*/ 5349142 w 7472601"/>
              <a:gd name="connsiteY870" fmla="*/ 2204405 h 6858000"/>
              <a:gd name="connsiteX871" fmla="*/ 5262214 w 7472601"/>
              <a:gd name="connsiteY871" fmla="*/ 2233836 h 6858000"/>
              <a:gd name="connsiteX872" fmla="*/ 4981539 w 7472601"/>
              <a:gd name="connsiteY872" fmla="*/ 1542201 h 6858000"/>
              <a:gd name="connsiteX873" fmla="*/ 4958461 w 7472601"/>
              <a:gd name="connsiteY873" fmla="*/ 1136957 h 6858000"/>
              <a:gd name="connsiteX874" fmla="*/ 4655015 w 7472601"/>
              <a:gd name="connsiteY874" fmla="*/ 891426 h 6858000"/>
              <a:gd name="connsiteX875" fmla="*/ 4348002 w 7472601"/>
              <a:gd name="connsiteY875" fmla="*/ 2205895 h 6858000"/>
              <a:gd name="connsiteX876" fmla="*/ 4262250 w 7472601"/>
              <a:gd name="connsiteY876" fmla="*/ 2219972 h 6858000"/>
              <a:gd name="connsiteX877" fmla="*/ 4550611 w 7472601"/>
              <a:gd name="connsiteY877" fmla="*/ 817540 h 6858000"/>
              <a:gd name="connsiteX878" fmla="*/ 4564418 w 7472601"/>
              <a:gd name="connsiteY878" fmla="*/ 808293 h 6858000"/>
              <a:gd name="connsiteX879" fmla="*/ 4266388 w 7472601"/>
              <a:gd name="connsiteY879" fmla="*/ 500083 h 6858000"/>
              <a:gd name="connsiteX880" fmla="*/ 4032842 w 7472601"/>
              <a:gd name="connsiteY880" fmla="*/ 211809 h 6858000"/>
              <a:gd name="connsiteX881" fmla="*/ 3882765 w 7472601"/>
              <a:gd name="connsiteY881" fmla="*/ 0 h 6858000"/>
              <a:gd name="connsiteX882" fmla="*/ 3721337 w 7472601"/>
              <a:gd name="connsiteY882" fmla="*/ 0 h 6858000"/>
              <a:gd name="connsiteX883" fmla="*/ 3797544 w 7472601"/>
              <a:gd name="connsiteY883" fmla="*/ 0 h 6858000"/>
              <a:gd name="connsiteX884" fmla="*/ 3775734 w 7472601"/>
              <a:gd name="connsiteY884" fmla="*/ 95131 h 6858000"/>
              <a:gd name="connsiteX885" fmla="*/ 3724807 w 7472601"/>
              <a:gd name="connsiteY885" fmla="*/ 272257 h 6858000"/>
              <a:gd name="connsiteX886" fmla="*/ 3726844 w 7472601"/>
              <a:gd name="connsiteY886" fmla="*/ 282988 h 6858000"/>
              <a:gd name="connsiteX887" fmla="*/ 3742664 w 7472601"/>
              <a:gd name="connsiteY887" fmla="*/ 279918 h 6858000"/>
              <a:gd name="connsiteX888" fmla="*/ 4103910 w 7472601"/>
              <a:gd name="connsiteY888" fmla="*/ 1161917 h 6858000"/>
              <a:gd name="connsiteX889" fmla="*/ 4020269 w 7472601"/>
              <a:gd name="connsiteY889" fmla="*/ 1200406 h 6858000"/>
              <a:gd name="connsiteX890" fmla="*/ 3674882 w 7472601"/>
              <a:gd name="connsiteY890" fmla="*/ 488524 h 6858000"/>
              <a:gd name="connsiteX891" fmla="*/ 3132682 w 7472601"/>
              <a:gd name="connsiteY891" fmla="*/ 1072284 h 6858000"/>
              <a:gd name="connsiteX892" fmla="*/ 2716346 w 7472601"/>
              <a:gd name="connsiteY892" fmla="*/ 1276376 h 6858000"/>
              <a:gd name="connsiteX893" fmla="*/ 2716772 w 7472601"/>
              <a:gd name="connsiteY893" fmla="*/ 1255462 h 6858000"/>
              <a:gd name="connsiteX894" fmla="*/ 3471096 w 7472601"/>
              <a:gd name="connsiteY894" fmla="*/ 437072 h 6858000"/>
              <a:gd name="connsiteX895" fmla="*/ 3639057 w 7472601"/>
              <a:gd name="connsiteY895" fmla="*/ 286334 h 6858000"/>
              <a:gd name="connsiteX896" fmla="*/ 3640309 w 7472601"/>
              <a:gd name="connsiteY896" fmla="*/ 284664 h 6858000"/>
              <a:gd name="connsiteX897" fmla="*/ 3646022 w 7472601"/>
              <a:gd name="connsiteY897" fmla="*/ 276711 h 6858000"/>
              <a:gd name="connsiteX898" fmla="*/ 3707943 w 7472601"/>
              <a:gd name="connsiteY898" fmla="*/ 65958 h 6858000"/>
              <a:gd name="connsiteX899" fmla="*/ 3721337 w 7472601"/>
              <a:gd name="connsiteY899" fmla="*/ 0 h 6858000"/>
              <a:gd name="connsiteX900" fmla="*/ 2867960 w 7472601"/>
              <a:gd name="connsiteY900" fmla="*/ 0 h 6858000"/>
              <a:gd name="connsiteX901" fmla="*/ 2926351 w 7472601"/>
              <a:gd name="connsiteY901" fmla="*/ 0 h 6858000"/>
              <a:gd name="connsiteX902" fmla="*/ 2902823 w 7472601"/>
              <a:gd name="connsiteY902" fmla="*/ 262929 h 6858000"/>
              <a:gd name="connsiteX903" fmla="*/ 2940663 w 7472601"/>
              <a:gd name="connsiteY903" fmla="*/ 140884 h 6858000"/>
              <a:gd name="connsiteX904" fmla="*/ 2947039 w 7472601"/>
              <a:gd name="connsiteY904" fmla="*/ 122524 h 6858000"/>
              <a:gd name="connsiteX905" fmla="*/ 2984316 w 7472601"/>
              <a:gd name="connsiteY905" fmla="*/ 0 h 6858000"/>
              <a:gd name="connsiteX906" fmla="*/ 3016114 w 7472601"/>
              <a:gd name="connsiteY906" fmla="*/ 0 h 6858000"/>
              <a:gd name="connsiteX907" fmla="*/ 2979949 w 7472601"/>
              <a:gd name="connsiteY907" fmla="*/ 119274 h 6858000"/>
              <a:gd name="connsiteX908" fmla="*/ 3023879 w 7472601"/>
              <a:gd name="connsiteY908" fmla="*/ 0 h 6858000"/>
              <a:gd name="connsiteX909" fmla="*/ 3105400 w 7472601"/>
              <a:gd name="connsiteY909" fmla="*/ 0 h 6858000"/>
              <a:gd name="connsiteX910" fmla="*/ 3094669 w 7472601"/>
              <a:gd name="connsiteY910" fmla="*/ 30308 h 6858000"/>
              <a:gd name="connsiteX911" fmla="*/ 2901945 w 7472601"/>
              <a:gd name="connsiteY911" fmla="*/ 466538 h 6858000"/>
              <a:gd name="connsiteX912" fmla="*/ 2815209 w 7472601"/>
              <a:gd name="connsiteY912" fmla="*/ 497361 h 6858000"/>
              <a:gd name="connsiteX913" fmla="*/ 2844845 w 7472601"/>
              <a:gd name="connsiteY913" fmla="*/ 127638 h 6858000"/>
              <a:gd name="connsiteX914" fmla="*/ 2867960 w 7472601"/>
              <a:gd name="connsiteY914" fmla="*/ 0 h 6858000"/>
              <a:gd name="connsiteX915" fmla="*/ 1057230 w 7472601"/>
              <a:gd name="connsiteY915" fmla="*/ 0 h 6858000"/>
              <a:gd name="connsiteX916" fmla="*/ 1111003 w 7472601"/>
              <a:gd name="connsiteY916" fmla="*/ 0 h 6858000"/>
              <a:gd name="connsiteX917" fmla="*/ 1125553 w 7472601"/>
              <a:gd name="connsiteY917" fmla="*/ 52588 h 6858000"/>
              <a:gd name="connsiteX918" fmla="*/ 1304276 w 7472601"/>
              <a:gd name="connsiteY918" fmla="*/ 476275 h 6858000"/>
              <a:gd name="connsiteX919" fmla="*/ 1492066 w 7472601"/>
              <a:gd name="connsiteY919" fmla="*/ 886333 h 6858000"/>
              <a:gd name="connsiteX920" fmla="*/ 1423698 w 7472601"/>
              <a:gd name="connsiteY920" fmla="*/ 710817 h 6858000"/>
              <a:gd name="connsiteX921" fmla="*/ 1357609 w 7472601"/>
              <a:gd name="connsiteY921" fmla="*/ 532892 h 6858000"/>
              <a:gd name="connsiteX922" fmla="*/ 1309550 w 7472601"/>
              <a:gd name="connsiteY922" fmla="*/ 374031 h 6858000"/>
              <a:gd name="connsiteX923" fmla="*/ 1193673 w 7472601"/>
              <a:gd name="connsiteY923" fmla="*/ 49533 h 6858000"/>
              <a:gd name="connsiteX924" fmla="*/ 1164391 w 7472601"/>
              <a:gd name="connsiteY924" fmla="*/ 0 h 6858000"/>
              <a:gd name="connsiteX925" fmla="*/ 1200666 w 7472601"/>
              <a:gd name="connsiteY925" fmla="*/ 0 h 6858000"/>
              <a:gd name="connsiteX926" fmla="*/ 1223408 w 7472601"/>
              <a:gd name="connsiteY926" fmla="*/ 38996 h 6858000"/>
              <a:gd name="connsiteX927" fmla="*/ 1339635 w 7472601"/>
              <a:gd name="connsiteY927" fmla="*/ 365517 h 6858000"/>
              <a:gd name="connsiteX928" fmla="*/ 1387469 w 7472601"/>
              <a:gd name="connsiteY928" fmla="*/ 523079 h 6858000"/>
              <a:gd name="connsiteX929" fmla="*/ 1452685 w 7472601"/>
              <a:gd name="connsiteY929" fmla="*/ 699806 h 6858000"/>
              <a:gd name="connsiteX930" fmla="*/ 1492092 w 7472601"/>
              <a:gd name="connsiteY930" fmla="*/ 800424 h 6858000"/>
              <a:gd name="connsiteX931" fmla="*/ 1455302 w 7472601"/>
              <a:gd name="connsiteY931" fmla="*/ 632913 h 6858000"/>
              <a:gd name="connsiteX932" fmla="*/ 1222336 w 7472601"/>
              <a:gd name="connsiteY932" fmla="*/ 9480 h 6858000"/>
              <a:gd name="connsiteX933" fmla="*/ 1214634 w 7472601"/>
              <a:gd name="connsiteY933" fmla="*/ 0 h 6858000"/>
              <a:gd name="connsiteX934" fmla="*/ 1289827 w 7472601"/>
              <a:gd name="connsiteY934" fmla="*/ 0 h 6858000"/>
              <a:gd name="connsiteX935" fmla="*/ 1321076 w 7472601"/>
              <a:gd name="connsiteY935" fmla="*/ 59722 h 6858000"/>
              <a:gd name="connsiteX936" fmla="*/ 1512579 w 7472601"/>
              <a:gd name="connsiteY936" fmla="*/ 626441 h 6858000"/>
              <a:gd name="connsiteX937" fmla="*/ 1506076 w 7472601"/>
              <a:gd name="connsiteY937" fmla="*/ 1089289 h 6858000"/>
              <a:gd name="connsiteX938" fmla="*/ 1486346 w 7472601"/>
              <a:gd name="connsiteY938" fmla="*/ 1079919 h 6858000"/>
              <a:gd name="connsiteX939" fmla="*/ 1070511 w 7472601"/>
              <a:gd name="connsiteY939" fmla="*/ 48609 h 6858000"/>
              <a:gd name="connsiteX940" fmla="*/ 1057230 w 7472601"/>
              <a:gd name="connsiteY940" fmla="*/ 0 h 6858000"/>
              <a:gd name="connsiteX941" fmla="*/ 43151 w 7472601"/>
              <a:gd name="connsiteY941" fmla="*/ 0 h 6858000"/>
              <a:gd name="connsiteX942" fmla="*/ 95283 w 7472601"/>
              <a:gd name="connsiteY942" fmla="*/ 0 h 6858000"/>
              <a:gd name="connsiteX943" fmla="*/ 300708 w 7472601"/>
              <a:gd name="connsiteY943" fmla="*/ 154571 h 6858000"/>
              <a:gd name="connsiteX944" fmla="*/ 530414 w 7472601"/>
              <a:gd name="connsiteY944" fmla="*/ 354673 h 6858000"/>
              <a:gd name="connsiteX945" fmla="*/ 333785 w 7472601"/>
              <a:gd name="connsiteY945" fmla="*/ 161564 h 6858000"/>
              <a:gd name="connsiteX946" fmla="*/ 147005 w 7472601"/>
              <a:gd name="connsiteY946" fmla="*/ 0 h 6858000"/>
              <a:gd name="connsiteX947" fmla="*/ 272509 w 7472601"/>
              <a:gd name="connsiteY947" fmla="*/ 0 h 6858000"/>
              <a:gd name="connsiteX948" fmla="*/ 326276 w 7472601"/>
              <a:gd name="connsiteY948" fmla="*/ 45847 h 6858000"/>
              <a:gd name="connsiteX949" fmla="*/ 823759 w 7472601"/>
              <a:gd name="connsiteY949" fmla="*/ 574145 h 6858000"/>
              <a:gd name="connsiteX950" fmla="*/ 811254 w 7472601"/>
              <a:gd name="connsiteY950" fmla="*/ 665546 h 6858000"/>
              <a:gd name="connsiteX951" fmla="*/ 154042 w 7472601"/>
              <a:gd name="connsiteY951" fmla="*/ 261522 h 6858000"/>
              <a:gd name="connsiteX952" fmla="*/ 13550 w 7472601"/>
              <a:gd name="connsiteY952" fmla="*/ 158423 h 6858000"/>
              <a:gd name="connsiteX953" fmla="*/ 0 w 7472601"/>
              <a:gd name="connsiteY953" fmla="*/ 146618 h 6858000"/>
              <a:gd name="connsiteX954" fmla="*/ 0 w 7472601"/>
              <a:gd name="connsiteY954" fmla="*/ 59161 h 6858000"/>
              <a:gd name="connsiteX955" fmla="*/ 45427 w 7472601"/>
              <a:gd name="connsiteY955" fmla="*/ 101078 h 6858000"/>
              <a:gd name="connsiteX956" fmla="*/ 630103 w 7472601"/>
              <a:gd name="connsiteY956" fmla="*/ 485885 h 6858000"/>
              <a:gd name="connsiteX957" fmla="*/ 532040 w 7472601"/>
              <a:gd name="connsiteY957" fmla="*/ 399359 h 6858000"/>
              <a:gd name="connsiteX958" fmla="*/ 517618 w 7472601"/>
              <a:gd name="connsiteY958" fmla="*/ 385726 h 6858000"/>
              <a:gd name="connsiteX959" fmla="*/ 285074 w 7472601"/>
              <a:gd name="connsiteY959" fmla="*/ 182755 h 6858000"/>
              <a:gd name="connsiteX960" fmla="*/ 43151 w 7472601"/>
              <a:gd name="connsiteY960" fmla="*/ 0 h 6858000"/>
              <a:gd name="connsiteX0" fmla="*/ 369702 w 7472601"/>
              <a:gd name="connsiteY0" fmla="*/ 6712169 h 6858000"/>
              <a:gd name="connsiteX1" fmla="*/ 366575 w 7472601"/>
              <a:gd name="connsiteY1" fmla="*/ 6715556 h 6858000"/>
              <a:gd name="connsiteX2" fmla="*/ 371637 w 7472601"/>
              <a:gd name="connsiteY2" fmla="*/ 6713954 h 6858000"/>
              <a:gd name="connsiteX3" fmla="*/ 369702 w 7472601"/>
              <a:gd name="connsiteY3" fmla="*/ 6712169 h 6858000"/>
              <a:gd name="connsiteX4" fmla="*/ 7088673 w 7472601"/>
              <a:gd name="connsiteY4" fmla="*/ 6610396 h 6858000"/>
              <a:gd name="connsiteX5" fmla="*/ 7440138 w 7472601"/>
              <a:gd name="connsiteY5" fmla="*/ 6622648 h 6858000"/>
              <a:gd name="connsiteX6" fmla="*/ 7467600 w 7472601"/>
              <a:gd name="connsiteY6" fmla="*/ 6628217 h 6858000"/>
              <a:gd name="connsiteX7" fmla="*/ 7467600 w 7472601"/>
              <a:gd name="connsiteY7" fmla="*/ 6668575 h 6858000"/>
              <a:gd name="connsiteX8" fmla="*/ 7392322 w 7472601"/>
              <a:gd name="connsiteY8" fmla="*/ 6658238 h 6858000"/>
              <a:gd name="connsiteX9" fmla="*/ 7467600 w 7472601"/>
              <a:gd name="connsiteY9" fmla="*/ 6683873 h 6858000"/>
              <a:gd name="connsiteX10" fmla="*/ 7467600 w 7472601"/>
              <a:gd name="connsiteY10" fmla="*/ 6714215 h 6858000"/>
              <a:gd name="connsiteX11" fmla="*/ 7447383 w 7472601"/>
              <a:gd name="connsiteY11" fmla="*/ 6707202 h 6858000"/>
              <a:gd name="connsiteX12" fmla="*/ 7289862 w 7472601"/>
              <a:gd name="connsiteY12" fmla="*/ 6659827 h 6858000"/>
              <a:gd name="connsiteX13" fmla="*/ 7434024 w 7472601"/>
              <a:gd name="connsiteY13" fmla="*/ 6722130 h 6858000"/>
              <a:gd name="connsiteX14" fmla="*/ 7467600 w 7472601"/>
              <a:gd name="connsiteY14" fmla="*/ 6736157 h 6858000"/>
              <a:gd name="connsiteX15" fmla="*/ 7467600 w 7472601"/>
              <a:gd name="connsiteY15" fmla="*/ 6767913 h 6858000"/>
              <a:gd name="connsiteX16" fmla="*/ 7392158 w 7472601"/>
              <a:gd name="connsiteY16" fmla="*/ 6771365 h 6858000"/>
              <a:gd name="connsiteX17" fmla="*/ 7467600 w 7472601"/>
              <a:gd name="connsiteY17" fmla="*/ 6805948 h 6858000"/>
              <a:gd name="connsiteX18" fmla="*/ 7467600 w 7472601"/>
              <a:gd name="connsiteY18" fmla="*/ 6831490 h 6858000"/>
              <a:gd name="connsiteX19" fmla="*/ 7410696 w 7472601"/>
              <a:gd name="connsiteY19" fmla="*/ 6803861 h 6858000"/>
              <a:gd name="connsiteX20" fmla="*/ 7088673 w 7472601"/>
              <a:gd name="connsiteY20" fmla="*/ 6610396 h 6858000"/>
              <a:gd name="connsiteX21" fmla="*/ 1019354 w 7472601"/>
              <a:gd name="connsiteY21" fmla="*/ 6315006 h 6858000"/>
              <a:gd name="connsiteX22" fmla="*/ 441046 w 7472601"/>
              <a:gd name="connsiteY22" fmla="*/ 6691153 h 6858000"/>
              <a:gd name="connsiteX23" fmla="*/ 1019354 w 7472601"/>
              <a:gd name="connsiteY23" fmla="*/ 6315006 h 6858000"/>
              <a:gd name="connsiteX24" fmla="*/ 991680 w 7472601"/>
              <a:gd name="connsiteY24" fmla="*/ 6298413 h 6858000"/>
              <a:gd name="connsiteX25" fmla="*/ 409060 w 7472601"/>
              <a:gd name="connsiteY25" fmla="*/ 6671470 h 6858000"/>
              <a:gd name="connsiteX26" fmla="*/ 991680 w 7472601"/>
              <a:gd name="connsiteY26" fmla="*/ 6298413 h 6858000"/>
              <a:gd name="connsiteX27" fmla="*/ 103333 w 7472601"/>
              <a:gd name="connsiteY27" fmla="*/ 5699602 h 6858000"/>
              <a:gd name="connsiteX28" fmla="*/ 233938 w 7472601"/>
              <a:gd name="connsiteY28" fmla="*/ 5809416 h 6858000"/>
              <a:gd name="connsiteX29" fmla="*/ 883580 w 7472601"/>
              <a:gd name="connsiteY29" fmla="*/ 6180710 h 6858000"/>
              <a:gd name="connsiteX30" fmla="*/ 487337 w 7472601"/>
              <a:gd name="connsiteY30" fmla="*/ 5950182 h 6858000"/>
              <a:gd name="connsiteX31" fmla="*/ 354051 w 7472601"/>
              <a:gd name="connsiteY31" fmla="*/ 5854912 h 6858000"/>
              <a:gd name="connsiteX32" fmla="*/ 195436 w 7472601"/>
              <a:gd name="connsiteY32" fmla="*/ 5755068 h 6858000"/>
              <a:gd name="connsiteX33" fmla="*/ 103333 w 7472601"/>
              <a:gd name="connsiteY33" fmla="*/ 5699602 h 6858000"/>
              <a:gd name="connsiteX34" fmla="*/ 5539432 w 7472601"/>
              <a:gd name="connsiteY34" fmla="*/ 5642928 h 6858000"/>
              <a:gd name="connsiteX35" fmla="*/ 5555462 w 7472601"/>
              <a:gd name="connsiteY35" fmla="*/ 5694454 h 6858000"/>
              <a:gd name="connsiteX36" fmla="*/ 5828270 w 7472601"/>
              <a:gd name="connsiteY36" fmla="*/ 6320663 h 6858000"/>
              <a:gd name="connsiteX37" fmla="*/ 5947416 w 7472601"/>
              <a:gd name="connsiteY37" fmla="*/ 6574846 h 6858000"/>
              <a:gd name="connsiteX38" fmla="*/ 5539432 w 7472601"/>
              <a:gd name="connsiteY38" fmla="*/ 5642928 h 6858000"/>
              <a:gd name="connsiteX39" fmla="*/ 51253 w 7472601"/>
              <a:gd name="connsiteY39" fmla="*/ 5631825 h 6858000"/>
              <a:gd name="connsiteX40" fmla="*/ 211622 w 7472601"/>
              <a:gd name="connsiteY40" fmla="*/ 5728803 h 6858000"/>
              <a:gd name="connsiteX41" fmla="*/ 371652 w 7472601"/>
              <a:gd name="connsiteY41" fmla="*/ 5829062 h 6858000"/>
              <a:gd name="connsiteX42" fmla="*/ 505903 w 7472601"/>
              <a:gd name="connsiteY42" fmla="*/ 5925221 h 6858000"/>
              <a:gd name="connsiteX43" fmla="*/ 899240 w 7472601"/>
              <a:gd name="connsiteY43" fmla="*/ 6153068 h 6858000"/>
              <a:gd name="connsiteX44" fmla="*/ 988114 w 7472601"/>
              <a:gd name="connsiteY44" fmla="*/ 6174204 h 6858000"/>
              <a:gd name="connsiteX45" fmla="*/ 845971 w 7472601"/>
              <a:gd name="connsiteY45" fmla="*/ 6067177 h 6858000"/>
              <a:gd name="connsiteX46" fmla="*/ 448057 w 7472601"/>
              <a:gd name="connsiteY46" fmla="*/ 5841376 h 6858000"/>
              <a:gd name="connsiteX47" fmla="*/ 51253 w 7472601"/>
              <a:gd name="connsiteY47" fmla="*/ 5631825 h 6858000"/>
              <a:gd name="connsiteX48" fmla="*/ 2606687 w 7472601"/>
              <a:gd name="connsiteY48" fmla="*/ 5630718 h 6858000"/>
              <a:gd name="connsiteX49" fmla="*/ 2645658 w 7472601"/>
              <a:gd name="connsiteY49" fmla="*/ 6640259 h 6858000"/>
              <a:gd name="connsiteX50" fmla="*/ 2606687 w 7472601"/>
              <a:gd name="connsiteY50" fmla="*/ 5630718 h 6858000"/>
              <a:gd name="connsiteX51" fmla="*/ 3642057 w 7472601"/>
              <a:gd name="connsiteY51" fmla="*/ 5573487 h 6858000"/>
              <a:gd name="connsiteX52" fmla="*/ 3632981 w 7472601"/>
              <a:gd name="connsiteY52" fmla="*/ 5579437 h 6858000"/>
              <a:gd name="connsiteX53" fmla="*/ 3382436 w 7472601"/>
              <a:gd name="connsiteY53" fmla="*/ 5952726 h 6858000"/>
              <a:gd name="connsiteX54" fmla="*/ 3191929 w 7472601"/>
              <a:gd name="connsiteY54" fmla="*/ 6662669 h 6858000"/>
              <a:gd name="connsiteX55" fmla="*/ 3369898 w 7472601"/>
              <a:gd name="connsiteY55" fmla="*/ 6081771 h 6858000"/>
              <a:gd name="connsiteX56" fmla="*/ 3642057 w 7472601"/>
              <a:gd name="connsiteY56" fmla="*/ 5573487 h 6858000"/>
              <a:gd name="connsiteX57" fmla="*/ 2650666 w 7472601"/>
              <a:gd name="connsiteY57" fmla="*/ 5530686 h 6858000"/>
              <a:gd name="connsiteX58" fmla="*/ 2650249 w 7472601"/>
              <a:gd name="connsiteY58" fmla="*/ 5532101 h 6858000"/>
              <a:gd name="connsiteX59" fmla="*/ 2663808 w 7472601"/>
              <a:gd name="connsiteY59" fmla="*/ 6535215 h 6858000"/>
              <a:gd name="connsiteX60" fmla="*/ 2665418 w 7472601"/>
              <a:gd name="connsiteY60" fmla="*/ 6132756 h 6858000"/>
              <a:gd name="connsiteX61" fmla="*/ 2650666 w 7472601"/>
              <a:gd name="connsiteY61" fmla="*/ 5530686 h 6858000"/>
              <a:gd name="connsiteX62" fmla="*/ 2680277 w 7472601"/>
              <a:gd name="connsiteY62" fmla="*/ 5479204 h 6858000"/>
              <a:gd name="connsiteX63" fmla="*/ 2678972 w 7472601"/>
              <a:gd name="connsiteY63" fmla="*/ 5481582 h 6858000"/>
              <a:gd name="connsiteX64" fmla="*/ 2696666 w 7472601"/>
              <a:gd name="connsiteY64" fmla="*/ 6133836 h 6858000"/>
              <a:gd name="connsiteX65" fmla="*/ 2695769 w 7472601"/>
              <a:gd name="connsiteY65" fmla="*/ 6390955 h 6858000"/>
              <a:gd name="connsiteX66" fmla="*/ 2739893 w 7472601"/>
              <a:gd name="connsiteY66" fmla="*/ 6108357 h 6858000"/>
              <a:gd name="connsiteX67" fmla="*/ 2680277 w 7472601"/>
              <a:gd name="connsiteY67" fmla="*/ 5479204 h 6858000"/>
              <a:gd name="connsiteX68" fmla="*/ 1132195 w 7472601"/>
              <a:gd name="connsiteY68" fmla="*/ 5467980 h 6858000"/>
              <a:gd name="connsiteX69" fmla="*/ 1679056 w 7472601"/>
              <a:gd name="connsiteY69" fmla="*/ 5516907 h 6858000"/>
              <a:gd name="connsiteX70" fmla="*/ 2128648 w 7472601"/>
              <a:gd name="connsiteY70" fmla="*/ 5474249 h 6858000"/>
              <a:gd name="connsiteX71" fmla="*/ 1825619 w 7472601"/>
              <a:gd name="connsiteY71" fmla="*/ 5478447 h 6858000"/>
              <a:gd name="connsiteX72" fmla="*/ 1737798 w 7472601"/>
              <a:gd name="connsiteY72" fmla="*/ 5483353 h 6858000"/>
              <a:gd name="connsiteX73" fmla="*/ 1132195 w 7472601"/>
              <a:gd name="connsiteY73" fmla="*/ 5467980 h 6858000"/>
              <a:gd name="connsiteX74" fmla="*/ 7454976 w 7472601"/>
              <a:gd name="connsiteY74" fmla="*/ 6318297 h 6858000"/>
              <a:gd name="connsiteX75" fmla="*/ 7467600 w 7472601"/>
              <a:gd name="connsiteY75" fmla="*/ 6012219 h 6858000"/>
              <a:gd name="connsiteX76" fmla="*/ 7467600 w 7472601"/>
              <a:gd name="connsiteY76" fmla="*/ 6163634 h 6858000"/>
              <a:gd name="connsiteX77" fmla="*/ 7448321 w 7472601"/>
              <a:gd name="connsiteY77" fmla="*/ 6190991 h 6858000"/>
              <a:gd name="connsiteX78" fmla="*/ 7467600 w 7472601"/>
              <a:gd name="connsiteY78" fmla="*/ 6221686 h 6858000"/>
              <a:gd name="connsiteX79" fmla="*/ 7467600 w 7472601"/>
              <a:gd name="connsiteY79" fmla="*/ 6334256 h 6858000"/>
              <a:gd name="connsiteX80" fmla="*/ 7454976 w 7472601"/>
              <a:gd name="connsiteY80" fmla="*/ 6318297 h 6858000"/>
              <a:gd name="connsiteX81" fmla="*/ 1456157 w 7472601"/>
              <a:gd name="connsiteY81" fmla="*/ 5371404 h 6858000"/>
              <a:gd name="connsiteX82" fmla="*/ 1244432 w 7472601"/>
              <a:gd name="connsiteY82" fmla="*/ 5385601 h 6858000"/>
              <a:gd name="connsiteX83" fmla="*/ 973990 w 7472601"/>
              <a:gd name="connsiteY83" fmla="*/ 5424940 h 6858000"/>
              <a:gd name="connsiteX84" fmla="*/ 1103809 w 7472601"/>
              <a:gd name="connsiteY84" fmla="*/ 5433720 h 6858000"/>
              <a:gd name="connsiteX85" fmla="*/ 1123454 w 7472601"/>
              <a:gd name="connsiteY85" fmla="*/ 5435727 h 6858000"/>
              <a:gd name="connsiteX86" fmla="*/ 1737017 w 7472601"/>
              <a:gd name="connsiteY86" fmla="*/ 5452183 h 6858000"/>
              <a:gd name="connsiteX87" fmla="*/ 1824397 w 7472601"/>
              <a:gd name="connsiteY87" fmla="*/ 5447757 h 6858000"/>
              <a:gd name="connsiteX88" fmla="*/ 2070059 w 7472601"/>
              <a:gd name="connsiteY88" fmla="*/ 5441660 h 6858000"/>
              <a:gd name="connsiteX89" fmla="*/ 1456157 w 7472601"/>
              <a:gd name="connsiteY89" fmla="*/ 5371404 h 6858000"/>
              <a:gd name="connsiteX90" fmla="*/ 4988186 w 7472601"/>
              <a:gd name="connsiteY90" fmla="*/ 5216467 h 6858000"/>
              <a:gd name="connsiteX91" fmla="*/ 4777334 w 7472601"/>
              <a:gd name="connsiteY91" fmla="*/ 5406072 h 6858000"/>
              <a:gd name="connsiteX92" fmla="*/ 4718341 w 7472601"/>
              <a:gd name="connsiteY92" fmla="*/ 5468043 h 6858000"/>
              <a:gd name="connsiteX93" fmla="*/ 4604655 w 7472601"/>
              <a:gd name="connsiteY93" fmla="*/ 5583434 h 6858000"/>
              <a:gd name="connsiteX94" fmla="*/ 4565074 w 7472601"/>
              <a:gd name="connsiteY94" fmla="*/ 5618550 h 6858000"/>
              <a:gd name="connsiteX95" fmla="*/ 4988186 w 7472601"/>
              <a:gd name="connsiteY95" fmla="*/ 5216467 h 6858000"/>
              <a:gd name="connsiteX96" fmla="*/ 4978032 w 7472601"/>
              <a:gd name="connsiteY96" fmla="*/ 5183809 h 6858000"/>
              <a:gd name="connsiteX97" fmla="*/ 4463413 w 7472601"/>
              <a:gd name="connsiteY97" fmla="*/ 5615162 h 6858000"/>
              <a:gd name="connsiteX98" fmla="*/ 4358134 w 7472601"/>
              <a:gd name="connsiteY98" fmla="*/ 5742791 h 6858000"/>
              <a:gd name="connsiteX99" fmla="*/ 4376219 w 7472601"/>
              <a:gd name="connsiteY99" fmla="*/ 5729027 h 6858000"/>
              <a:gd name="connsiteX100" fmla="*/ 4582340 w 7472601"/>
              <a:gd name="connsiteY100" fmla="*/ 5561037 h 6858000"/>
              <a:gd name="connsiteX101" fmla="*/ 4694684 w 7472601"/>
              <a:gd name="connsiteY101" fmla="*/ 5447098 h 6858000"/>
              <a:gd name="connsiteX102" fmla="*/ 4754123 w 7472601"/>
              <a:gd name="connsiteY102" fmla="*/ 5384643 h 6858000"/>
              <a:gd name="connsiteX103" fmla="*/ 4978032 w 7472601"/>
              <a:gd name="connsiteY103" fmla="*/ 5183809 h 6858000"/>
              <a:gd name="connsiteX104" fmla="*/ 1903353 w 7472601"/>
              <a:gd name="connsiteY104" fmla="*/ 5044827 h 6858000"/>
              <a:gd name="connsiteX105" fmla="*/ 1936931 w 7472601"/>
              <a:gd name="connsiteY105" fmla="*/ 5093954 h 6858000"/>
              <a:gd name="connsiteX106" fmla="*/ 2195868 w 7472601"/>
              <a:gd name="connsiteY106" fmla="*/ 5396574 h 6858000"/>
              <a:gd name="connsiteX107" fmla="*/ 2088852 w 7472601"/>
              <a:gd name="connsiteY107" fmla="*/ 5166123 h 6858000"/>
              <a:gd name="connsiteX108" fmla="*/ 1958241 w 7472601"/>
              <a:gd name="connsiteY108" fmla="*/ 5067955 h 6858000"/>
              <a:gd name="connsiteX109" fmla="*/ 1903353 w 7472601"/>
              <a:gd name="connsiteY109" fmla="*/ 5044827 h 6858000"/>
              <a:gd name="connsiteX110" fmla="*/ 1979378 w 7472601"/>
              <a:gd name="connsiteY110" fmla="*/ 4769504 h 6858000"/>
              <a:gd name="connsiteX111" fmla="*/ 2882120 w 7472601"/>
              <a:gd name="connsiteY111" fmla="*/ 5064547 h 6858000"/>
              <a:gd name="connsiteX112" fmla="*/ 2793103 w 7472601"/>
              <a:gd name="connsiteY112" fmla="*/ 5039699 h 6858000"/>
              <a:gd name="connsiteX113" fmla="*/ 2770041 w 7472601"/>
              <a:gd name="connsiteY113" fmla="*/ 5033634 h 6858000"/>
              <a:gd name="connsiteX114" fmla="*/ 1979378 w 7472601"/>
              <a:gd name="connsiteY114" fmla="*/ 4769504 h 6858000"/>
              <a:gd name="connsiteX115" fmla="*/ 1927410 w 7472601"/>
              <a:gd name="connsiteY115" fmla="*/ 4716164 h 6858000"/>
              <a:gd name="connsiteX116" fmla="*/ 1959587 w 7472601"/>
              <a:gd name="connsiteY116" fmla="*/ 4728849 h 6858000"/>
              <a:gd name="connsiteX117" fmla="*/ 2777707 w 7472601"/>
              <a:gd name="connsiteY117" fmla="*/ 5003991 h 6858000"/>
              <a:gd name="connsiteX118" fmla="*/ 2800768 w 7472601"/>
              <a:gd name="connsiteY118" fmla="*/ 5010056 h 6858000"/>
              <a:gd name="connsiteX119" fmla="*/ 2879408 w 7472601"/>
              <a:gd name="connsiteY119" fmla="*/ 5031590 h 6858000"/>
              <a:gd name="connsiteX120" fmla="*/ 2862295 w 7472601"/>
              <a:gd name="connsiteY120" fmla="*/ 5022958 h 6858000"/>
              <a:gd name="connsiteX121" fmla="*/ 2813343 w 7472601"/>
              <a:gd name="connsiteY121" fmla="*/ 4998369 h 6858000"/>
              <a:gd name="connsiteX122" fmla="*/ 2646245 w 7472601"/>
              <a:gd name="connsiteY122" fmla="*/ 4930999 h 6858000"/>
              <a:gd name="connsiteX123" fmla="*/ 1999243 w 7472601"/>
              <a:gd name="connsiteY123" fmla="*/ 4730524 h 6858000"/>
              <a:gd name="connsiteX124" fmla="*/ 1979527 w 7472601"/>
              <a:gd name="connsiteY124" fmla="*/ 4726651 h 6858000"/>
              <a:gd name="connsiteX125" fmla="*/ 1927410 w 7472601"/>
              <a:gd name="connsiteY125" fmla="*/ 4716164 h 6858000"/>
              <a:gd name="connsiteX126" fmla="*/ 1997014 w 7472601"/>
              <a:gd name="connsiteY126" fmla="*/ 4698007 h 6858000"/>
              <a:gd name="connsiteX127" fmla="*/ 2005458 w 7472601"/>
              <a:gd name="connsiteY127" fmla="*/ 4699540 h 6858000"/>
              <a:gd name="connsiteX128" fmla="*/ 2657186 w 7472601"/>
              <a:gd name="connsiteY128" fmla="*/ 4901687 h 6858000"/>
              <a:gd name="connsiteX129" fmla="*/ 2826662 w 7472601"/>
              <a:gd name="connsiteY129" fmla="*/ 4970362 h 6858000"/>
              <a:gd name="connsiteX130" fmla="*/ 2876100 w 7472601"/>
              <a:gd name="connsiteY130" fmla="*/ 4995397 h 6858000"/>
              <a:gd name="connsiteX131" fmla="*/ 3042600 w 7472601"/>
              <a:gd name="connsiteY131" fmla="*/ 5059532 h 6858000"/>
              <a:gd name="connsiteX132" fmla="*/ 1997014 w 7472601"/>
              <a:gd name="connsiteY132" fmla="*/ 4698007 h 6858000"/>
              <a:gd name="connsiteX133" fmla="*/ 2305292 w 7472601"/>
              <a:gd name="connsiteY133" fmla="*/ 4219492 h 6858000"/>
              <a:gd name="connsiteX134" fmla="*/ 3360922 w 7472601"/>
              <a:gd name="connsiteY134" fmla="*/ 4529373 h 6858000"/>
              <a:gd name="connsiteX135" fmla="*/ 3492420 w 7472601"/>
              <a:gd name="connsiteY135" fmla="*/ 4510145 h 6858000"/>
              <a:gd name="connsiteX136" fmla="*/ 3364086 w 7472601"/>
              <a:gd name="connsiteY136" fmla="*/ 4480340 h 6858000"/>
              <a:gd name="connsiteX137" fmla="*/ 3225818 w 7472601"/>
              <a:gd name="connsiteY137" fmla="*/ 4411822 h 6858000"/>
              <a:gd name="connsiteX138" fmla="*/ 3129696 w 7472601"/>
              <a:gd name="connsiteY138" fmla="*/ 4360704 h 6858000"/>
              <a:gd name="connsiteX139" fmla="*/ 2814545 w 7472601"/>
              <a:gd name="connsiteY139" fmla="*/ 4282955 h 6858000"/>
              <a:gd name="connsiteX140" fmla="*/ 2305292 w 7472601"/>
              <a:gd name="connsiteY140" fmla="*/ 4219492 h 6858000"/>
              <a:gd name="connsiteX141" fmla="*/ 2626982 w 7472601"/>
              <a:gd name="connsiteY141" fmla="*/ 4206450 h 6858000"/>
              <a:gd name="connsiteX142" fmla="*/ 2490617 w 7472601"/>
              <a:gd name="connsiteY142" fmla="*/ 4206951 h 6858000"/>
              <a:gd name="connsiteX143" fmla="*/ 2819869 w 7472601"/>
              <a:gd name="connsiteY143" fmla="*/ 4252936 h 6858000"/>
              <a:gd name="connsiteX144" fmla="*/ 3143018 w 7472601"/>
              <a:gd name="connsiteY144" fmla="*/ 4332698 h 6858000"/>
              <a:gd name="connsiteX145" fmla="*/ 3241520 w 7472601"/>
              <a:gd name="connsiteY145" fmla="*/ 4385112 h 6858000"/>
              <a:gd name="connsiteX146" fmla="*/ 3374575 w 7472601"/>
              <a:gd name="connsiteY146" fmla="*/ 4451517 h 6858000"/>
              <a:gd name="connsiteX147" fmla="*/ 3505221 w 7472601"/>
              <a:gd name="connsiteY147" fmla="*/ 4480757 h 6858000"/>
              <a:gd name="connsiteX148" fmla="*/ 2626982 w 7472601"/>
              <a:gd name="connsiteY148" fmla="*/ 4206450 h 6858000"/>
              <a:gd name="connsiteX149" fmla="*/ 1310106 w 7472601"/>
              <a:gd name="connsiteY149" fmla="*/ 3943217 h 6858000"/>
              <a:gd name="connsiteX150" fmla="*/ 854994 w 7472601"/>
              <a:gd name="connsiteY150" fmla="*/ 4399136 h 6858000"/>
              <a:gd name="connsiteX151" fmla="*/ 742462 w 7472601"/>
              <a:gd name="connsiteY151" fmla="*/ 4594648 h 6858000"/>
              <a:gd name="connsiteX152" fmla="*/ 820602 w 7472601"/>
              <a:gd name="connsiteY152" fmla="*/ 4485915 h 6858000"/>
              <a:gd name="connsiteX153" fmla="*/ 878295 w 7472601"/>
              <a:gd name="connsiteY153" fmla="*/ 4403594 h 6858000"/>
              <a:gd name="connsiteX154" fmla="*/ 1240607 w 7472601"/>
              <a:gd name="connsiteY154" fmla="*/ 4010401 h 6858000"/>
              <a:gd name="connsiteX155" fmla="*/ 1310106 w 7472601"/>
              <a:gd name="connsiteY155" fmla="*/ 3943217 h 6858000"/>
              <a:gd name="connsiteX156" fmla="*/ 1423113 w 7472601"/>
              <a:gd name="connsiteY156" fmla="*/ 3874565 h 6858000"/>
              <a:gd name="connsiteX157" fmla="*/ 1260565 w 7472601"/>
              <a:gd name="connsiteY157" fmla="*/ 4031982 h 6858000"/>
              <a:gd name="connsiteX158" fmla="*/ 901900 w 7472601"/>
              <a:gd name="connsiteY158" fmla="*/ 4421236 h 6858000"/>
              <a:gd name="connsiteX159" fmla="*/ 845044 w 7472601"/>
              <a:gd name="connsiteY159" fmla="*/ 4502436 h 6858000"/>
              <a:gd name="connsiteX160" fmla="*/ 685926 w 7472601"/>
              <a:gd name="connsiteY160" fmla="*/ 4703069 h 6858000"/>
              <a:gd name="connsiteX161" fmla="*/ 684248 w 7472601"/>
              <a:gd name="connsiteY161" fmla="*/ 4706721 h 6858000"/>
              <a:gd name="connsiteX162" fmla="*/ 1423113 w 7472601"/>
              <a:gd name="connsiteY162" fmla="*/ 3874565 h 6858000"/>
              <a:gd name="connsiteX163" fmla="*/ 3316479 w 7472601"/>
              <a:gd name="connsiteY163" fmla="*/ 3872136 h 6858000"/>
              <a:gd name="connsiteX164" fmla="*/ 3546806 w 7472601"/>
              <a:gd name="connsiteY164" fmla="*/ 4356139 h 6858000"/>
              <a:gd name="connsiteX165" fmla="*/ 3364433 w 7472601"/>
              <a:gd name="connsiteY165" fmla="*/ 3953121 h 6858000"/>
              <a:gd name="connsiteX166" fmla="*/ 3316479 w 7472601"/>
              <a:gd name="connsiteY166" fmla="*/ 3872136 h 6858000"/>
              <a:gd name="connsiteX167" fmla="*/ 3291335 w 7472601"/>
              <a:gd name="connsiteY167" fmla="*/ 3767420 h 6858000"/>
              <a:gd name="connsiteX168" fmla="*/ 3390805 w 7472601"/>
              <a:gd name="connsiteY168" fmla="*/ 3937163 h 6858000"/>
              <a:gd name="connsiteX169" fmla="*/ 3579062 w 7472601"/>
              <a:gd name="connsiteY169" fmla="*/ 4359040 h 6858000"/>
              <a:gd name="connsiteX170" fmla="*/ 3467355 w 7472601"/>
              <a:gd name="connsiteY170" fmla="*/ 3988130 h 6858000"/>
              <a:gd name="connsiteX171" fmla="*/ 3310753 w 7472601"/>
              <a:gd name="connsiteY171" fmla="*/ 3787140 h 6858000"/>
              <a:gd name="connsiteX172" fmla="*/ 3291335 w 7472601"/>
              <a:gd name="connsiteY172" fmla="*/ 3767420 h 6858000"/>
              <a:gd name="connsiteX173" fmla="*/ 1635889 w 7472601"/>
              <a:gd name="connsiteY173" fmla="*/ 3709494 h 6858000"/>
              <a:gd name="connsiteX174" fmla="*/ 1634800 w 7472601"/>
              <a:gd name="connsiteY174" fmla="*/ 3731111 h 6858000"/>
              <a:gd name="connsiteX175" fmla="*/ 1635889 w 7472601"/>
              <a:gd name="connsiteY175" fmla="*/ 3709494 h 6858000"/>
              <a:gd name="connsiteX176" fmla="*/ 1510397 w 7472601"/>
              <a:gd name="connsiteY176" fmla="*/ 3684705 h 6858000"/>
              <a:gd name="connsiteX177" fmla="*/ 1146550 w 7472601"/>
              <a:gd name="connsiteY177" fmla="*/ 3802012 h 6858000"/>
              <a:gd name="connsiteX178" fmla="*/ 698834 w 7472601"/>
              <a:gd name="connsiteY178" fmla="*/ 3952272 h 6858000"/>
              <a:gd name="connsiteX179" fmla="*/ 34256 w 7472601"/>
              <a:gd name="connsiteY179" fmla="*/ 4347603 h 6858000"/>
              <a:gd name="connsiteX180" fmla="*/ 527241 w 7472601"/>
              <a:gd name="connsiteY180" fmla="*/ 4065078 h 6858000"/>
              <a:gd name="connsiteX181" fmla="*/ 1510397 w 7472601"/>
              <a:gd name="connsiteY181" fmla="*/ 3684705 h 6858000"/>
              <a:gd name="connsiteX182" fmla="*/ 1313114 w 7472601"/>
              <a:gd name="connsiteY182" fmla="*/ 3655216 h 6858000"/>
              <a:gd name="connsiteX183" fmla="*/ 1109304 w 7472601"/>
              <a:gd name="connsiteY183" fmla="*/ 3669030 h 6858000"/>
              <a:gd name="connsiteX184" fmla="*/ 8129 w 7472601"/>
              <a:gd name="connsiteY184" fmla="*/ 4330519 h 6858000"/>
              <a:gd name="connsiteX185" fmla="*/ 687572 w 7472601"/>
              <a:gd name="connsiteY185" fmla="*/ 3925629 h 6858000"/>
              <a:gd name="connsiteX186" fmla="*/ 1138365 w 7472601"/>
              <a:gd name="connsiteY186" fmla="*/ 3774515 h 6858000"/>
              <a:gd name="connsiteX187" fmla="*/ 1505579 w 7472601"/>
              <a:gd name="connsiteY187" fmla="*/ 3655526 h 6858000"/>
              <a:gd name="connsiteX188" fmla="*/ 1313114 w 7472601"/>
              <a:gd name="connsiteY188" fmla="*/ 3655216 h 6858000"/>
              <a:gd name="connsiteX189" fmla="*/ 3655073 w 7472601"/>
              <a:gd name="connsiteY189" fmla="*/ 3650884 h 6858000"/>
              <a:gd name="connsiteX190" fmla="*/ 3989938 w 7472601"/>
              <a:gd name="connsiteY190" fmla="*/ 3991685 h 6858000"/>
              <a:gd name="connsiteX191" fmla="*/ 4393907 w 7472601"/>
              <a:gd name="connsiteY191" fmla="*/ 4261258 h 6858000"/>
              <a:gd name="connsiteX192" fmla="*/ 4648051 w 7472601"/>
              <a:gd name="connsiteY192" fmla="*/ 4374051 h 6858000"/>
              <a:gd name="connsiteX193" fmla="*/ 4383389 w 7472601"/>
              <a:gd name="connsiteY193" fmla="*/ 4184369 h 6858000"/>
              <a:gd name="connsiteX194" fmla="*/ 4165508 w 7472601"/>
              <a:gd name="connsiteY194" fmla="*/ 4035196 h 6858000"/>
              <a:gd name="connsiteX195" fmla="*/ 4068162 w 7472601"/>
              <a:gd name="connsiteY195" fmla="*/ 3953394 h 6858000"/>
              <a:gd name="connsiteX196" fmla="*/ 3981416 w 7472601"/>
              <a:gd name="connsiteY196" fmla="*/ 3880482 h 6858000"/>
              <a:gd name="connsiteX197" fmla="*/ 3800147 w 7472601"/>
              <a:gd name="connsiteY197" fmla="*/ 3749872 h 6858000"/>
              <a:gd name="connsiteX198" fmla="*/ 3655073 w 7472601"/>
              <a:gd name="connsiteY198" fmla="*/ 3650884 h 6858000"/>
              <a:gd name="connsiteX199" fmla="*/ 3670252 w 7472601"/>
              <a:gd name="connsiteY199" fmla="*/ 3622798 h 6858000"/>
              <a:gd name="connsiteX200" fmla="*/ 3817258 w 7472601"/>
              <a:gd name="connsiteY200" fmla="*/ 3723577 h 6858000"/>
              <a:gd name="connsiteX201" fmla="*/ 4000461 w 7472601"/>
              <a:gd name="connsiteY201" fmla="*/ 3855966 h 6858000"/>
              <a:gd name="connsiteX202" fmla="*/ 4088180 w 7472601"/>
              <a:gd name="connsiteY202" fmla="*/ 3929774 h 6858000"/>
              <a:gd name="connsiteX203" fmla="*/ 4184555 w 7472601"/>
              <a:gd name="connsiteY203" fmla="*/ 4010683 h 6858000"/>
              <a:gd name="connsiteX204" fmla="*/ 4399563 w 7472601"/>
              <a:gd name="connsiteY204" fmla="*/ 4158106 h 6858000"/>
              <a:gd name="connsiteX205" fmla="*/ 4684469 w 7472601"/>
              <a:gd name="connsiteY205" fmla="*/ 4364680 h 6858000"/>
              <a:gd name="connsiteX206" fmla="*/ 4690271 w 7472601"/>
              <a:gd name="connsiteY206" fmla="*/ 4370034 h 6858000"/>
              <a:gd name="connsiteX207" fmla="*/ 4136093 w 7472601"/>
              <a:gd name="connsiteY207" fmla="*/ 3858466 h 6858000"/>
              <a:gd name="connsiteX208" fmla="*/ 3670252 w 7472601"/>
              <a:gd name="connsiteY208" fmla="*/ 3622798 h 6858000"/>
              <a:gd name="connsiteX209" fmla="*/ 4440129 w 7472601"/>
              <a:gd name="connsiteY209" fmla="*/ 3448571 h 6858000"/>
              <a:gd name="connsiteX210" fmla="*/ 4856525 w 7472601"/>
              <a:gd name="connsiteY210" fmla="*/ 3915351 h 6858000"/>
              <a:gd name="connsiteX211" fmla="*/ 5059055 w 7472601"/>
              <a:gd name="connsiteY211" fmla="*/ 4108918 h 6858000"/>
              <a:gd name="connsiteX212" fmla="*/ 5290070 w 7472601"/>
              <a:gd name="connsiteY212" fmla="*/ 4263619 h 6858000"/>
              <a:gd name="connsiteX213" fmla="*/ 4834991 w 7472601"/>
              <a:gd name="connsiteY213" fmla="*/ 3830985 h 6858000"/>
              <a:gd name="connsiteX214" fmla="*/ 4440129 w 7472601"/>
              <a:gd name="connsiteY214" fmla="*/ 3448571 h 6858000"/>
              <a:gd name="connsiteX215" fmla="*/ 4441737 w 7472601"/>
              <a:gd name="connsiteY215" fmla="*/ 3399734 h 6858000"/>
              <a:gd name="connsiteX216" fmla="*/ 4431236 w 7472601"/>
              <a:gd name="connsiteY216" fmla="*/ 3400954 h 6858000"/>
              <a:gd name="connsiteX217" fmla="*/ 4557150 w 7472601"/>
              <a:gd name="connsiteY217" fmla="*/ 3510023 h 6858000"/>
              <a:gd name="connsiteX218" fmla="*/ 4856936 w 7472601"/>
              <a:gd name="connsiteY218" fmla="*/ 3809146 h 6858000"/>
              <a:gd name="connsiteX219" fmla="*/ 5111996 w 7472601"/>
              <a:gd name="connsiteY219" fmla="*/ 4065759 h 6858000"/>
              <a:gd name="connsiteX220" fmla="*/ 5388878 w 7472601"/>
              <a:gd name="connsiteY220" fmla="*/ 4300185 h 6858000"/>
              <a:gd name="connsiteX221" fmla="*/ 5425556 w 7472601"/>
              <a:gd name="connsiteY221" fmla="*/ 4308967 h 6858000"/>
              <a:gd name="connsiteX222" fmla="*/ 4943646 w 7472601"/>
              <a:gd name="connsiteY222" fmla="*/ 3822916 h 6858000"/>
              <a:gd name="connsiteX223" fmla="*/ 4594837 w 7472601"/>
              <a:gd name="connsiteY223" fmla="*/ 3532274 h 6858000"/>
              <a:gd name="connsiteX224" fmla="*/ 4441737 w 7472601"/>
              <a:gd name="connsiteY224" fmla="*/ 3399734 h 6858000"/>
              <a:gd name="connsiteX225" fmla="*/ 5425834 w 7472601"/>
              <a:gd name="connsiteY225" fmla="*/ 3162785 h 6858000"/>
              <a:gd name="connsiteX226" fmla="*/ 5401644 w 7472601"/>
              <a:gd name="connsiteY226" fmla="*/ 3617847 h 6858000"/>
              <a:gd name="connsiteX227" fmla="*/ 5467256 w 7472601"/>
              <a:gd name="connsiteY227" fmla="*/ 4175494 h 6858000"/>
              <a:gd name="connsiteX228" fmla="*/ 5448069 w 7472601"/>
              <a:gd name="connsiteY228" fmla="*/ 3567554 h 6858000"/>
              <a:gd name="connsiteX229" fmla="*/ 5425834 w 7472601"/>
              <a:gd name="connsiteY229" fmla="*/ 3162785 h 6858000"/>
              <a:gd name="connsiteX230" fmla="*/ 1318687 w 7472601"/>
              <a:gd name="connsiteY230" fmla="*/ 3113840 h 6858000"/>
              <a:gd name="connsiteX231" fmla="*/ 1066793 w 7472601"/>
              <a:gd name="connsiteY231" fmla="*/ 3212171 h 6858000"/>
              <a:gd name="connsiteX232" fmla="*/ 993319 w 7472601"/>
              <a:gd name="connsiteY232" fmla="*/ 3247648 h 6858000"/>
              <a:gd name="connsiteX233" fmla="*/ 853081 w 7472601"/>
              <a:gd name="connsiteY233" fmla="*/ 3312410 h 6858000"/>
              <a:gd name="connsiteX234" fmla="*/ 805957 w 7472601"/>
              <a:gd name="connsiteY234" fmla="*/ 3330443 h 6858000"/>
              <a:gd name="connsiteX235" fmla="*/ 1318687 w 7472601"/>
              <a:gd name="connsiteY235" fmla="*/ 3113840 h 6858000"/>
              <a:gd name="connsiteX236" fmla="*/ 5453702 w 7472601"/>
              <a:gd name="connsiteY236" fmla="*/ 3090882 h 6858000"/>
              <a:gd name="connsiteX237" fmla="*/ 5480135 w 7472601"/>
              <a:gd name="connsiteY237" fmla="*/ 3565802 h 6858000"/>
              <a:gd name="connsiteX238" fmla="*/ 5499023 w 7472601"/>
              <a:gd name="connsiteY238" fmla="*/ 4166310 h 6858000"/>
              <a:gd name="connsiteX239" fmla="*/ 5547022 w 7472601"/>
              <a:gd name="connsiteY239" fmla="*/ 3607838 h 6858000"/>
              <a:gd name="connsiteX240" fmla="*/ 5515964 w 7472601"/>
              <a:gd name="connsiteY240" fmla="*/ 3378541 h 6858000"/>
              <a:gd name="connsiteX241" fmla="*/ 5453702 w 7472601"/>
              <a:gd name="connsiteY241" fmla="*/ 3090882 h 6858000"/>
              <a:gd name="connsiteX242" fmla="*/ 1238695 w 7472601"/>
              <a:gd name="connsiteY242" fmla="*/ 3076820 h 6858000"/>
              <a:gd name="connsiteX243" fmla="*/ 716371 w 7472601"/>
              <a:gd name="connsiteY243" fmla="*/ 3293249 h 6858000"/>
              <a:gd name="connsiteX244" fmla="*/ 579522 w 7472601"/>
              <a:gd name="connsiteY244" fmla="*/ 3371759 h 6858000"/>
              <a:gd name="connsiteX245" fmla="*/ 600288 w 7472601"/>
              <a:gd name="connsiteY245" fmla="*/ 3365555 h 6858000"/>
              <a:gd name="connsiteX246" fmla="*/ 840692 w 7472601"/>
              <a:gd name="connsiteY246" fmla="*/ 3284921 h 6858000"/>
              <a:gd name="connsiteX247" fmla="*/ 979248 w 7472601"/>
              <a:gd name="connsiteY247" fmla="*/ 3221003 h 6858000"/>
              <a:gd name="connsiteX248" fmla="*/ 1053282 w 7472601"/>
              <a:gd name="connsiteY248" fmla="*/ 3185247 h 6858000"/>
              <a:gd name="connsiteX249" fmla="*/ 1320603 w 7472601"/>
              <a:gd name="connsiteY249" fmla="*/ 3081281 h 6858000"/>
              <a:gd name="connsiteX250" fmla="*/ 1238695 w 7472601"/>
              <a:gd name="connsiteY250" fmla="*/ 3076820 h 6858000"/>
              <a:gd name="connsiteX251" fmla="*/ 5425627 w 7472601"/>
              <a:gd name="connsiteY251" fmla="*/ 2954192 h 6858000"/>
              <a:gd name="connsiteX252" fmla="*/ 5470770 w 7472601"/>
              <a:gd name="connsiteY252" fmla="*/ 3005435 h 6858000"/>
              <a:gd name="connsiteX253" fmla="*/ 5519779 w 7472601"/>
              <a:gd name="connsiteY253" fmla="*/ 4359223 h 6858000"/>
              <a:gd name="connsiteX254" fmla="*/ 5520293 w 7472601"/>
              <a:gd name="connsiteY254" fmla="*/ 4360602 h 6858000"/>
              <a:gd name="connsiteX255" fmla="*/ 5767221 w 7472601"/>
              <a:gd name="connsiteY255" fmla="*/ 4665564 h 6858000"/>
              <a:gd name="connsiteX256" fmla="*/ 6937169 w 7472601"/>
              <a:gd name="connsiteY256" fmla="*/ 4815941 h 6858000"/>
              <a:gd name="connsiteX257" fmla="*/ 6953922 w 7472601"/>
              <a:gd name="connsiteY257" fmla="*/ 4890068 h 6858000"/>
              <a:gd name="connsiteX258" fmla="*/ 6071359 w 7472601"/>
              <a:gd name="connsiteY258" fmla="*/ 4770770 h 6858000"/>
              <a:gd name="connsiteX259" fmla="*/ 6038839 w 7472601"/>
              <a:gd name="connsiteY259" fmla="*/ 4764474 h 6858000"/>
              <a:gd name="connsiteX260" fmla="*/ 6038706 w 7472601"/>
              <a:gd name="connsiteY260" fmla="*/ 4763847 h 6858000"/>
              <a:gd name="connsiteX261" fmla="*/ 6037784 w 7472601"/>
              <a:gd name="connsiteY261" fmla="*/ 4764270 h 6858000"/>
              <a:gd name="connsiteX262" fmla="*/ 6038839 w 7472601"/>
              <a:gd name="connsiteY262" fmla="*/ 4764474 h 6858000"/>
              <a:gd name="connsiteX263" fmla="*/ 6040338 w 7472601"/>
              <a:gd name="connsiteY263" fmla="*/ 4771418 h 6858000"/>
              <a:gd name="connsiteX264" fmla="*/ 6024488 w 7472601"/>
              <a:gd name="connsiteY264" fmla="*/ 4809903 h 6858000"/>
              <a:gd name="connsiteX265" fmla="*/ 5599771 w 7472601"/>
              <a:gd name="connsiteY265" fmla="*/ 5509652 h 6858000"/>
              <a:gd name="connsiteX266" fmla="*/ 5548843 w 7472601"/>
              <a:gd name="connsiteY266" fmla="*/ 5563845 h 6858000"/>
              <a:gd name="connsiteX267" fmla="*/ 5940952 w 7472601"/>
              <a:gd name="connsiteY267" fmla="*/ 6250028 h 6858000"/>
              <a:gd name="connsiteX268" fmla="*/ 6043441 w 7472601"/>
              <a:gd name="connsiteY268" fmla="*/ 6665847 h 6858000"/>
              <a:gd name="connsiteX269" fmla="*/ 6093432 w 7472601"/>
              <a:gd name="connsiteY269" fmla="*/ 6858000 h 6858000"/>
              <a:gd name="connsiteX270" fmla="*/ 6034344 w 7472601"/>
              <a:gd name="connsiteY270" fmla="*/ 6858000 h 6858000"/>
              <a:gd name="connsiteX271" fmla="*/ 6026679 w 7472601"/>
              <a:gd name="connsiteY271" fmla="*/ 6836959 h 6858000"/>
              <a:gd name="connsiteX272" fmla="*/ 5800441 w 7472601"/>
              <a:gd name="connsiteY272" fmla="*/ 6335286 h 6858000"/>
              <a:gd name="connsiteX273" fmla="*/ 5526562 w 7472601"/>
              <a:gd name="connsiteY273" fmla="*/ 5705388 h 6858000"/>
              <a:gd name="connsiteX274" fmla="*/ 5519640 w 7472601"/>
              <a:gd name="connsiteY274" fmla="*/ 5683774 h 6858000"/>
              <a:gd name="connsiteX275" fmla="*/ 5844559 w 7472601"/>
              <a:gd name="connsiteY275" fmla="*/ 6553349 h 6858000"/>
              <a:gd name="connsiteX276" fmla="*/ 5975994 w 7472601"/>
              <a:gd name="connsiteY276" fmla="*/ 6858000 h 6858000"/>
              <a:gd name="connsiteX277" fmla="*/ 5898547 w 7472601"/>
              <a:gd name="connsiteY277" fmla="*/ 6858000 h 6858000"/>
              <a:gd name="connsiteX278" fmla="*/ 5682041 w 7472601"/>
              <a:gd name="connsiteY278" fmla="*/ 6355860 h 6858000"/>
              <a:gd name="connsiteX279" fmla="*/ 5461758 w 7472601"/>
              <a:gd name="connsiteY279" fmla="*/ 5820220 h 6858000"/>
              <a:gd name="connsiteX280" fmla="*/ 5237282 w 7472601"/>
              <a:gd name="connsiteY280" fmla="*/ 6579086 h 6858000"/>
              <a:gd name="connsiteX281" fmla="*/ 5115009 w 7472601"/>
              <a:gd name="connsiteY281" fmla="*/ 6858000 h 6858000"/>
              <a:gd name="connsiteX282" fmla="*/ 5028074 w 7472601"/>
              <a:gd name="connsiteY282" fmla="*/ 6858000 h 6858000"/>
              <a:gd name="connsiteX283" fmla="*/ 5079508 w 7472601"/>
              <a:gd name="connsiteY283" fmla="*/ 6749074 h 6858000"/>
              <a:gd name="connsiteX284" fmla="*/ 5371846 w 7472601"/>
              <a:gd name="connsiteY284" fmla="*/ 5924413 h 6858000"/>
              <a:gd name="connsiteX285" fmla="*/ 5270512 w 7472601"/>
              <a:gd name="connsiteY285" fmla="*/ 6138975 h 6858000"/>
              <a:gd name="connsiteX286" fmla="*/ 5062409 w 7472601"/>
              <a:gd name="connsiteY286" fmla="*/ 6653544 h 6858000"/>
              <a:gd name="connsiteX287" fmla="*/ 5036628 w 7472601"/>
              <a:gd name="connsiteY287" fmla="*/ 6754247 h 6858000"/>
              <a:gd name="connsiteX288" fmla="*/ 5009112 w 7472601"/>
              <a:gd name="connsiteY288" fmla="*/ 6858000 h 6858000"/>
              <a:gd name="connsiteX289" fmla="*/ 4976679 w 7472601"/>
              <a:gd name="connsiteY289" fmla="*/ 6858000 h 6858000"/>
              <a:gd name="connsiteX290" fmla="*/ 5006537 w 7472601"/>
              <a:gd name="connsiteY290" fmla="*/ 6747068 h 6858000"/>
              <a:gd name="connsiteX291" fmla="*/ 5032723 w 7472601"/>
              <a:gd name="connsiteY291" fmla="*/ 6644957 h 6858000"/>
              <a:gd name="connsiteX292" fmla="*/ 5242949 w 7472601"/>
              <a:gd name="connsiteY292" fmla="*/ 6125175 h 6858000"/>
              <a:gd name="connsiteX293" fmla="*/ 5286321 w 7472601"/>
              <a:gd name="connsiteY293" fmla="*/ 6033555 h 6858000"/>
              <a:gd name="connsiteX294" fmla="*/ 5008210 w 7472601"/>
              <a:gd name="connsiteY294" fmla="*/ 6649194 h 6858000"/>
              <a:gd name="connsiteX295" fmla="*/ 4986321 w 7472601"/>
              <a:gd name="connsiteY295" fmla="*/ 6765687 h 6858000"/>
              <a:gd name="connsiteX296" fmla="*/ 4973474 w 7472601"/>
              <a:gd name="connsiteY296" fmla="*/ 6858000 h 6858000"/>
              <a:gd name="connsiteX297" fmla="*/ 4907178 w 7472601"/>
              <a:gd name="connsiteY297" fmla="*/ 6858000 h 6858000"/>
              <a:gd name="connsiteX298" fmla="*/ 4910810 w 7472601"/>
              <a:gd name="connsiteY298" fmla="*/ 6829660 h 6858000"/>
              <a:gd name="connsiteX299" fmla="*/ 4987461 w 7472601"/>
              <a:gd name="connsiteY299" fmla="*/ 6432994 h 6858000"/>
              <a:gd name="connsiteX300" fmla="*/ 5179262 w 7472601"/>
              <a:gd name="connsiteY300" fmla="*/ 6035044 h 6858000"/>
              <a:gd name="connsiteX301" fmla="*/ 4689678 w 7472601"/>
              <a:gd name="connsiteY301" fmla="*/ 6440241 h 6858000"/>
              <a:gd name="connsiteX302" fmla="*/ 4477543 w 7472601"/>
              <a:gd name="connsiteY302" fmla="*/ 6674836 h 6858000"/>
              <a:gd name="connsiteX303" fmla="*/ 4329957 w 7472601"/>
              <a:gd name="connsiteY303" fmla="*/ 6858000 h 6858000"/>
              <a:gd name="connsiteX304" fmla="*/ 4218595 w 7472601"/>
              <a:gd name="connsiteY304" fmla="*/ 6858000 h 6858000"/>
              <a:gd name="connsiteX305" fmla="*/ 4368888 w 7472601"/>
              <a:gd name="connsiteY305" fmla="*/ 6668412 h 6858000"/>
              <a:gd name="connsiteX306" fmla="*/ 4563091 w 7472601"/>
              <a:gd name="connsiteY306" fmla="*/ 6442508 h 6858000"/>
              <a:gd name="connsiteX307" fmla="*/ 5387324 w 7472601"/>
              <a:gd name="connsiteY307" fmla="*/ 5705830 h 6858000"/>
              <a:gd name="connsiteX308" fmla="*/ 5073620 w 7472601"/>
              <a:gd name="connsiteY308" fmla="*/ 5955437 h 6858000"/>
              <a:gd name="connsiteX309" fmla="*/ 4689789 w 7472601"/>
              <a:gd name="connsiteY309" fmla="*/ 6268382 h 6858000"/>
              <a:gd name="connsiteX310" fmla="*/ 4418722 w 7472601"/>
              <a:gd name="connsiteY310" fmla="*/ 6570886 h 6858000"/>
              <a:gd name="connsiteX311" fmla="*/ 4214944 w 7472601"/>
              <a:gd name="connsiteY311" fmla="*/ 6858000 h 6858000"/>
              <a:gd name="connsiteX312" fmla="*/ 4177898 w 7472601"/>
              <a:gd name="connsiteY312" fmla="*/ 6858000 h 6858000"/>
              <a:gd name="connsiteX313" fmla="*/ 4391597 w 7472601"/>
              <a:gd name="connsiteY313" fmla="*/ 6556370 h 6858000"/>
              <a:gd name="connsiteX314" fmla="*/ 4668889 w 7472601"/>
              <a:gd name="connsiteY314" fmla="*/ 6246399 h 6858000"/>
              <a:gd name="connsiteX315" fmla="*/ 5055427 w 7472601"/>
              <a:gd name="connsiteY315" fmla="*/ 5931476 h 6858000"/>
              <a:gd name="connsiteX316" fmla="*/ 5371814 w 7472601"/>
              <a:gd name="connsiteY316" fmla="*/ 5678975 h 6858000"/>
              <a:gd name="connsiteX317" fmla="*/ 4987918 w 7472601"/>
              <a:gd name="connsiteY317" fmla="*/ 5838701 h 6858000"/>
              <a:gd name="connsiteX318" fmla="*/ 4317146 w 7472601"/>
              <a:gd name="connsiteY318" fmla="*/ 6587716 h 6858000"/>
              <a:gd name="connsiteX319" fmla="*/ 4171627 w 7472601"/>
              <a:gd name="connsiteY319" fmla="*/ 6858000 h 6858000"/>
              <a:gd name="connsiteX320" fmla="*/ 4081585 w 7472601"/>
              <a:gd name="connsiteY320" fmla="*/ 6858000 h 6858000"/>
              <a:gd name="connsiteX321" fmla="*/ 4238603 w 7472601"/>
              <a:gd name="connsiteY321" fmla="*/ 6559341 h 6858000"/>
              <a:gd name="connsiteX322" fmla="*/ 4778333 w 7472601"/>
              <a:gd name="connsiteY322" fmla="*/ 5873626 h 6858000"/>
              <a:gd name="connsiteX323" fmla="*/ 5414185 w 7472601"/>
              <a:gd name="connsiteY323" fmla="*/ 5573882 h 6858000"/>
              <a:gd name="connsiteX324" fmla="*/ 5959648 w 7472601"/>
              <a:gd name="connsiteY324" fmla="*/ 4760797 h 6858000"/>
              <a:gd name="connsiteX325" fmla="*/ 5355019 w 7472601"/>
              <a:gd name="connsiteY325" fmla="*/ 4734672 h 6858000"/>
              <a:gd name="connsiteX326" fmla="*/ 5083565 w 7472601"/>
              <a:gd name="connsiteY326" fmla="*/ 5179121 h 6858000"/>
              <a:gd name="connsiteX327" fmla="*/ 4713577 w 7472601"/>
              <a:gd name="connsiteY327" fmla="*/ 5616803 h 6858000"/>
              <a:gd name="connsiteX328" fmla="*/ 3989559 w 7472601"/>
              <a:gd name="connsiteY328" fmla="*/ 6145945 h 6858000"/>
              <a:gd name="connsiteX329" fmla="*/ 3939824 w 7472601"/>
              <a:gd name="connsiteY329" fmla="*/ 6066900 h 6858000"/>
              <a:gd name="connsiteX330" fmla="*/ 4584537 w 7472601"/>
              <a:gd name="connsiteY330" fmla="*/ 5324826 h 6858000"/>
              <a:gd name="connsiteX331" fmla="*/ 5037105 w 7472601"/>
              <a:gd name="connsiteY331" fmla="*/ 5088765 h 6858000"/>
              <a:gd name="connsiteX332" fmla="*/ 5039930 w 7472601"/>
              <a:gd name="connsiteY332" fmla="*/ 5089585 h 6858000"/>
              <a:gd name="connsiteX333" fmla="*/ 5263764 w 7472601"/>
              <a:gd name="connsiteY333" fmla="*/ 4735525 h 6858000"/>
              <a:gd name="connsiteX334" fmla="*/ 4086300 w 7472601"/>
              <a:gd name="connsiteY334" fmla="*/ 4884599 h 6858000"/>
              <a:gd name="connsiteX335" fmla="*/ 4085485 w 7472601"/>
              <a:gd name="connsiteY335" fmla="*/ 4899070 h 6858000"/>
              <a:gd name="connsiteX336" fmla="*/ 3871915 w 7472601"/>
              <a:gd name="connsiteY336" fmla="*/ 5253645 h 6858000"/>
              <a:gd name="connsiteX337" fmla="*/ 3799374 w 7472601"/>
              <a:gd name="connsiteY337" fmla="*/ 5466127 h 6858000"/>
              <a:gd name="connsiteX338" fmla="*/ 3498850 w 7472601"/>
              <a:gd name="connsiteY338" fmla="*/ 6661888 h 6858000"/>
              <a:gd name="connsiteX339" fmla="*/ 3399216 w 7472601"/>
              <a:gd name="connsiteY339" fmla="*/ 6858000 h 6858000"/>
              <a:gd name="connsiteX340" fmla="*/ 3303688 w 7472601"/>
              <a:gd name="connsiteY340" fmla="*/ 6858000 h 6858000"/>
              <a:gd name="connsiteX341" fmla="*/ 3391774 w 7472601"/>
              <a:gd name="connsiteY341" fmla="*/ 6697181 h 6858000"/>
              <a:gd name="connsiteX342" fmla="*/ 3735540 w 7472601"/>
              <a:gd name="connsiteY342" fmla="*/ 5546923 h 6858000"/>
              <a:gd name="connsiteX343" fmla="*/ 3729438 w 7472601"/>
              <a:gd name="connsiteY343" fmla="*/ 5569058 h 6858000"/>
              <a:gd name="connsiteX344" fmla="*/ 3707782 w 7472601"/>
              <a:gd name="connsiteY344" fmla="*/ 5644908 h 6858000"/>
              <a:gd name="connsiteX345" fmla="*/ 3583827 w 7472601"/>
              <a:gd name="connsiteY345" fmla="*/ 6039215 h 6858000"/>
              <a:gd name="connsiteX346" fmla="*/ 3547861 w 7472601"/>
              <a:gd name="connsiteY346" fmla="*/ 6129609 h 6858000"/>
              <a:gd name="connsiteX347" fmla="*/ 3490905 w 7472601"/>
              <a:gd name="connsiteY347" fmla="*/ 6277660 h 6858000"/>
              <a:gd name="connsiteX348" fmla="*/ 3455859 w 7472601"/>
              <a:gd name="connsiteY348" fmla="*/ 6391301 h 6858000"/>
              <a:gd name="connsiteX349" fmla="*/ 3429112 w 7472601"/>
              <a:gd name="connsiteY349" fmla="*/ 6479469 h 6858000"/>
              <a:gd name="connsiteX350" fmla="*/ 3304862 w 7472601"/>
              <a:gd name="connsiteY350" fmla="*/ 6796476 h 6858000"/>
              <a:gd name="connsiteX351" fmla="*/ 3276071 w 7472601"/>
              <a:gd name="connsiteY351" fmla="*/ 6858000 h 6858000"/>
              <a:gd name="connsiteX352" fmla="*/ 3240805 w 7472601"/>
              <a:gd name="connsiteY352" fmla="*/ 6858000 h 6858000"/>
              <a:gd name="connsiteX353" fmla="*/ 3275917 w 7472601"/>
              <a:gd name="connsiteY353" fmla="*/ 6783192 h 6858000"/>
              <a:gd name="connsiteX354" fmla="*/ 3399358 w 7472601"/>
              <a:gd name="connsiteY354" fmla="*/ 6469011 h 6858000"/>
              <a:gd name="connsiteX355" fmla="*/ 3425650 w 7472601"/>
              <a:gd name="connsiteY355" fmla="*/ 6381333 h 6858000"/>
              <a:gd name="connsiteX356" fmla="*/ 3460661 w 7472601"/>
              <a:gd name="connsiteY356" fmla="*/ 6266763 h 6858000"/>
              <a:gd name="connsiteX357" fmla="*/ 3518021 w 7472601"/>
              <a:gd name="connsiteY357" fmla="*/ 6117298 h 6858000"/>
              <a:gd name="connsiteX358" fmla="*/ 3554035 w 7472601"/>
              <a:gd name="connsiteY358" fmla="*/ 6027832 h 6858000"/>
              <a:gd name="connsiteX359" fmla="*/ 3677174 w 7472601"/>
              <a:gd name="connsiteY359" fmla="*/ 5636351 h 6858000"/>
              <a:gd name="connsiteX360" fmla="*/ 3698819 w 7472601"/>
              <a:gd name="connsiteY360" fmla="*/ 5560503 h 6858000"/>
              <a:gd name="connsiteX361" fmla="*/ 3702094 w 7472601"/>
              <a:gd name="connsiteY361" fmla="*/ 5549194 h 6858000"/>
              <a:gd name="connsiteX362" fmla="*/ 3398355 w 7472601"/>
              <a:gd name="connsiteY362" fmla="*/ 6094603 h 6858000"/>
              <a:gd name="connsiteX363" fmla="*/ 3193941 w 7472601"/>
              <a:gd name="connsiteY363" fmla="*/ 6798775 h 6858000"/>
              <a:gd name="connsiteX364" fmla="*/ 3184140 w 7472601"/>
              <a:gd name="connsiteY364" fmla="*/ 6858000 h 6858000"/>
              <a:gd name="connsiteX365" fmla="*/ 3099978 w 7472601"/>
              <a:gd name="connsiteY365" fmla="*/ 6858000 h 6858000"/>
              <a:gd name="connsiteX366" fmla="*/ 3101556 w 7472601"/>
              <a:gd name="connsiteY366" fmla="*/ 6843337 h 6858000"/>
              <a:gd name="connsiteX367" fmla="*/ 3370162 w 7472601"/>
              <a:gd name="connsiteY367" fmla="*/ 5785550 h 6858000"/>
              <a:gd name="connsiteX368" fmla="*/ 3746477 w 7472601"/>
              <a:gd name="connsiteY368" fmla="*/ 5377889 h 6858000"/>
              <a:gd name="connsiteX369" fmla="*/ 3863399 w 7472601"/>
              <a:gd name="connsiteY369" fmla="*/ 5087257 h 6858000"/>
              <a:gd name="connsiteX370" fmla="*/ 3968712 w 7472601"/>
              <a:gd name="connsiteY370" fmla="*/ 4913989 h 6858000"/>
              <a:gd name="connsiteX371" fmla="*/ 2792390 w 7472601"/>
              <a:gd name="connsiteY371" fmla="*/ 5382974 h 6858000"/>
              <a:gd name="connsiteX372" fmla="*/ 2714982 w 7472601"/>
              <a:gd name="connsiteY372" fmla="*/ 5427051 h 6858000"/>
              <a:gd name="connsiteX373" fmla="*/ 2813361 w 7472601"/>
              <a:gd name="connsiteY373" fmla="*/ 6023912 h 6858000"/>
              <a:gd name="connsiteX374" fmla="*/ 2688430 w 7472601"/>
              <a:gd name="connsiteY374" fmla="*/ 6801564 h 6858000"/>
              <a:gd name="connsiteX375" fmla="*/ 2629626 w 7472601"/>
              <a:gd name="connsiteY375" fmla="*/ 6763394 h 6858000"/>
              <a:gd name="connsiteX376" fmla="*/ 2565328 w 7472601"/>
              <a:gd name="connsiteY376" fmla="*/ 5516399 h 6858000"/>
              <a:gd name="connsiteX377" fmla="*/ 1922999 w 7472601"/>
              <a:gd name="connsiteY377" fmla="*/ 5980343 h 6858000"/>
              <a:gd name="connsiteX378" fmla="*/ 1950261 w 7472601"/>
              <a:gd name="connsiteY378" fmla="*/ 6405858 h 6858000"/>
              <a:gd name="connsiteX379" fmla="*/ 2365554 w 7472601"/>
              <a:gd name="connsiteY379" fmla="*/ 6759107 h 6858000"/>
              <a:gd name="connsiteX380" fmla="*/ 2424142 w 7472601"/>
              <a:gd name="connsiteY380" fmla="*/ 6858000 h 6858000"/>
              <a:gd name="connsiteX381" fmla="*/ 2395994 w 7472601"/>
              <a:gd name="connsiteY381" fmla="*/ 6858000 h 6858000"/>
              <a:gd name="connsiteX382" fmla="*/ 2392863 w 7472601"/>
              <a:gd name="connsiteY382" fmla="*/ 6852964 h 6858000"/>
              <a:gd name="connsiteX383" fmla="*/ 2017589 w 7472601"/>
              <a:gd name="connsiteY383" fmla="*/ 6493982 h 6858000"/>
              <a:gd name="connsiteX384" fmla="*/ 2147336 w 7472601"/>
              <a:gd name="connsiteY384" fmla="*/ 6594052 h 6858000"/>
              <a:gd name="connsiteX385" fmla="*/ 2207047 w 7472601"/>
              <a:gd name="connsiteY385" fmla="*/ 6654540 h 6858000"/>
              <a:gd name="connsiteX386" fmla="*/ 2299106 w 7472601"/>
              <a:gd name="connsiteY386" fmla="*/ 6778931 h 6858000"/>
              <a:gd name="connsiteX387" fmla="*/ 2314430 w 7472601"/>
              <a:gd name="connsiteY387" fmla="*/ 6801144 h 6858000"/>
              <a:gd name="connsiteX388" fmla="*/ 2352406 w 7472601"/>
              <a:gd name="connsiteY388" fmla="*/ 6858000 h 6858000"/>
              <a:gd name="connsiteX389" fmla="*/ 2314492 w 7472601"/>
              <a:gd name="connsiteY389" fmla="*/ 6858000 h 6858000"/>
              <a:gd name="connsiteX390" fmla="*/ 2288095 w 7472601"/>
              <a:gd name="connsiteY390" fmla="*/ 6818030 h 6858000"/>
              <a:gd name="connsiteX391" fmla="*/ 2272768 w 7472601"/>
              <a:gd name="connsiteY391" fmla="*/ 6795822 h 6858000"/>
              <a:gd name="connsiteX392" fmla="*/ 2182715 w 7472601"/>
              <a:gd name="connsiteY392" fmla="*/ 6675071 h 6858000"/>
              <a:gd name="connsiteX393" fmla="*/ 2032061 w 7472601"/>
              <a:gd name="connsiteY393" fmla="*/ 6541380 h 6858000"/>
              <a:gd name="connsiteX394" fmla="*/ 2257220 w 7472601"/>
              <a:gd name="connsiteY394" fmla="*/ 6826257 h 6858000"/>
              <a:gd name="connsiteX395" fmla="*/ 2281324 w 7472601"/>
              <a:gd name="connsiteY395" fmla="*/ 6858000 h 6858000"/>
              <a:gd name="connsiteX396" fmla="*/ 2242860 w 7472601"/>
              <a:gd name="connsiteY396" fmla="*/ 6858000 h 6858000"/>
              <a:gd name="connsiteX397" fmla="*/ 2232818 w 7472601"/>
              <a:gd name="connsiteY397" fmla="*/ 6844926 h 6858000"/>
              <a:gd name="connsiteX398" fmla="*/ 1990172 w 7472601"/>
              <a:gd name="connsiteY398" fmla="*/ 6542121 h 6858000"/>
              <a:gd name="connsiteX399" fmla="*/ 2124090 w 7472601"/>
              <a:gd name="connsiteY399" fmla="*/ 6761017 h 6858000"/>
              <a:gd name="connsiteX400" fmla="*/ 2200380 w 7472601"/>
              <a:gd name="connsiteY400" fmla="*/ 6858000 h 6858000"/>
              <a:gd name="connsiteX401" fmla="*/ 2147507 w 7472601"/>
              <a:gd name="connsiteY401" fmla="*/ 6858000 h 6858000"/>
              <a:gd name="connsiteX402" fmla="*/ 2070668 w 7472601"/>
              <a:gd name="connsiteY402" fmla="*/ 6761520 h 6858000"/>
              <a:gd name="connsiteX403" fmla="*/ 1975142 w 7472601"/>
              <a:gd name="connsiteY403" fmla="*/ 6585570 h 6858000"/>
              <a:gd name="connsiteX404" fmla="*/ 2050035 w 7472601"/>
              <a:gd name="connsiteY404" fmla="*/ 6813345 h 6858000"/>
              <a:gd name="connsiteX405" fmla="*/ 2063025 w 7472601"/>
              <a:gd name="connsiteY405" fmla="*/ 6858000 h 6858000"/>
              <a:gd name="connsiteX406" fmla="*/ 2021675 w 7472601"/>
              <a:gd name="connsiteY406" fmla="*/ 6858000 h 6858000"/>
              <a:gd name="connsiteX407" fmla="*/ 2019308 w 7472601"/>
              <a:gd name="connsiteY407" fmla="*/ 6847118 h 6858000"/>
              <a:gd name="connsiteX408" fmla="*/ 1938835 w 7472601"/>
              <a:gd name="connsiteY408" fmla="*/ 6551160 h 6858000"/>
              <a:gd name="connsiteX409" fmla="*/ 1953230 w 7472601"/>
              <a:gd name="connsiteY409" fmla="*/ 6759699 h 6858000"/>
              <a:gd name="connsiteX410" fmla="*/ 1956763 w 7472601"/>
              <a:gd name="connsiteY410" fmla="*/ 6778191 h 6858000"/>
              <a:gd name="connsiteX411" fmla="*/ 1967925 w 7472601"/>
              <a:gd name="connsiteY411" fmla="*/ 6858000 h 6858000"/>
              <a:gd name="connsiteX412" fmla="*/ 1936622 w 7472601"/>
              <a:gd name="connsiteY412" fmla="*/ 6858000 h 6858000"/>
              <a:gd name="connsiteX413" fmla="*/ 1926261 w 7472601"/>
              <a:gd name="connsiteY413" fmla="*/ 6784064 h 6858000"/>
              <a:gd name="connsiteX414" fmla="*/ 1922724 w 7472601"/>
              <a:gd name="connsiteY414" fmla="*/ 6765577 h 6858000"/>
              <a:gd name="connsiteX415" fmla="*/ 1904650 w 7472601"/>
              <a:gd name="connsiteY415" fmla="*/ 6639616 h 6858000"/>
              <a:gd name="connsiteX416" fmla="*/ 1885273 w 7472601"/>
              <a:gd name="connsiteY416" fmla="*/ 6858000 h 6858000"/>
              <a:gd name="connsiteX417" fmla="*/ 1854363 w 7472601"/>
              <a:gd name="connsiteY417" fmla="*/ 6858000 h 6858000"/>
              <a:gd name="connsiteX418" fmla="*/ 1880391 w 7472601"/>
              <a:gd name="connsiteY418" fmla="*/ 6603796 h 6858000"/>
              <a:gd name="connsiteX419" fmla="*/ 1818273 w 7472601"/>
              <a:gd name="connsiteY419" fmla="*/ 6715729 h 6858000"/>
              <a:gd name="connsiteX420" fmla="*/ 1794691 w 7472601"/>
              <a:gd name="connsiteY420" fmla="*/ 6843239 h 6858000"/>
              <a:gd name="connsiteX421" fmla="*/ 1794914 w 7472601"/>
              <a:gd name="connsiteY421" fmla="*/ 6858000 h 6858000"/>
              <a:gd name="connsiteX422" fmla="*/ 1746128 w 7472601"/>
              <a:gd name="connsiteY422" fmla="*/ 6858000 h 6858000"/>
              <a:gd name="connsiteX423" fmla="*/ 1753934 w 7472601"/>
              <a:gd name="connsiteY423" fmla="*/ 6724796 h 6858000"/>
              <a:gd name="connsiteX424" fmla="*/ 1792053 w 7472601"/>
              <a:gd name="connsiteY424" fmla="*/ 6572396 h 6858000"/>
              <a:gd name="connsiteX425" fmla="*/ 1862248 w 7472601"/>
              <a:gd name="connsiteY425" fmla="*/ 6266397 h 6858000"/>
              <a:gd name="connsiteX426" fmla="*/ 1862250 w 7472601"/>
              <a:gd name="connsiteY426" fmla="*/ 6033531 h 6858000"/>
              <a:gd name="connsiteX427" fmla="*/ 1211999 w 7472601"/>
              <a:gd name="connsiteY427" fmla="*/ 6683610 h 6858000"/>
              <a:gd name="connsiteX428" fmla="*/ 1213266 w 7472601"/>
              <a:gd name="connsiteY428" fmla="*/ 6691947 h 6858000"/>
              <a:gd name="connsiteX429" fmla="*/ 1203370 w 7472601"/>
              <a:gd name="connsiteY429" fmla="*/ 6850676 h 6858000"/>
              <a:gd name="connsiteX430" fmla="*/ 1203671 w 7472601"/>
              <a:gd name="connsiteY430" fmla="*/ 6858000 h 6858000"/>
              <a:gd name="connsiteX431" fmla="*/ 1143180 w 7472601"/>
              <a:gd name="connsiteY431" fmla="*/ 6858000 h 6858000"/>
              <a:gd name="connsiteX432" fmla="*/ 1142176 w 7472601"/>
              <a:gd name="connsiteY432" fmla="*/ 6766045 h 6858000"/>
              <a:gd name="connsiteX433" fmla="*/ 1067484 w 7472601"/>
              <a:gd name="connsiteY433" fmla="*/ 6858000 h 6858000"/>
              <a:gd name="connsiteX434" fmla="*/ 953928 w 7472601"/>
              <a:gd name="connsiteY434" fmla="*/ 6858000 h 6858000"/>
              <a:gd name="connsiteX435" fmla="*/ 959715 w 7472601"/>
              <a:gd name="connsiteY435" fmla="*/ 6850185 h 6858000"/>
              <a:gd name="connsiteX436" fmla="*/ 1483788 w 7472601"/>
              <a:gd name="connsiteY436" fmla="*/ 6259174 h 6858000"/>
              <a:gd name="connsiteX437" fmla="*/ 1100671 w 7472601"/>
              <a:gd name="connsiteY437" fmla="*/ 6252137 h 6858000"/>
              <a:gd name="connsiteX438" fmla="*/ 1090144 w 7472601"/>
              <a:gd name="connsiteY438" fmla="*/ 6256748 h 6858000"/>
              <a:gd name="connsiteX439" fmla="*/ 1095872 w 7472601"/>
              <a:gd name="connsiteY439" fmla="*/ 6271892 h 6858000"/>
              <a:gd name="connsiteX440" fmla="*/ 262785 w 7472601"/>
              <a:gd name="connsiteY440" fmla="*/ 6845450 h 6858000"/>
              <a:gd name="connsiteX441" fmla="*/ 209968 w 7472601"/>
              <a:gd name="connsiteY441" fmla="*/ 6770713 h 6858000"/>
              <a:gd name="connsiteX442" fmla="*/ 873460 w 7472601"/>
              <a:gd name="connsiteY442" fmla="*/ 6253768 h 6858000"/>
              <a:gd name="connsiteX443" fmla="*/ 192686 w 7472601"/>
              <a:gd name="connsiteY443" fmla="*/ 5849257 h 6858000"/>
              <a:gd name="connsiteX444" fmla="*/ 4696 w 7472601"/>
              <a:gd name="connsiteY444" fmla="*/ 5697668 h 6858000"/>
              <a:gd name="connsiteX445" fmla="*/ 0 w 7472601"/>
              <a:gd name="connsiteY445" fmla="*/ 5689984 h 6858000"/>
              <a:gd name="connsiteX446" fmla="*/ 0 w 7472601"/>
              <a:gd name="connsiteY446" fmla="*/ 5513472 h 6858000"/>
              <a:gd name="connsiteX447" fmla="*/ 174101 w 7472601"/>
              <a:gd name="connsiteY447" fmla="*/ 5620277 h 6858000"/>
              <a:gd name="connsiteX448" fmla="*/ 891800 w 7472601"/>
              <a:gd name="connsiteY448" fmla="*/ 6036935 h 6858000"/>
              <a:gd name="connsiteX449" fmla="*/ 1072219 w 7472601"/>
              <a:gd name="connsiteY449" fmla="*/ 6169443 h 6858000"/>
              <a:gd name="connsiteX450" fmla="*/ 1074117 w 7472601"/>
              <a:gd name="connsiteY450" fmla="*/ 6170301 h 6858000"/>
              <a:gd name="connsiteX451" fmla="*/ 1083114 w 7472601"/>
              <a:gd name="connsiteY451" fmla="*/ 6174131 h 6858000"/>
              <a:gd name="connsiteX452" fmla="*/ 1543010 w 7472601"/>
              <a:gd name="connsiteY452" fmla="*/ 6191140 h 6858000"/>
              <a:gd name="connsiteX453" fmla="*/ 1551080 w 7472601"/>
              <a:gd name="connsiteY453" fmla="*/ 6195006 h 6858000"/>
              <a:gd name="connsiteX454" fmla="*/ 2345443 w 7472601"/>
              <a:gd name="connsiteY454" fmla="*/ 5549882 h 6858000"/>
              <a:gd name="connsiteX455" fmla="*/ 1721499 w 7472601"/>
              <a:gd name="connsiteY455" fmla="*/ 5599969 h 6858000"/>
              <a:gd name="connsiteX456" fmla="*/ 767716 w 7472601"/>
              <a:gd name="connsiteY456" fmla="*/ 5472768 h 6858000"/>
              <a:gd name="connsiteX457" fmla="*/ 722147 w 7472601"/>
              <a:gd name="connsiteY457" fmla="*/ 5393091 h 6858000"/>
              <a:gd name="connsiteX458" fmla="*/ 1485552 w 7472601"/>
              <a:gd name="connsiteY458" fmla="*/ 5313202 h 6858000"/>
              <a:gd name="connsiteX459" fmla="*/ 2143004 w 7472601"/>
              <a:gd name="connsiteY459" fmla="*/ 5402420 h 6858000"/>
              <a:gd name="connsiteX460" fmla="*/ 1933391 w 7472601"/>
              <a:gd name="connsiteY460" fmla="*/ 5156971 h 6858000"/>
              <a:gd name="connsiteX461" fmla="*/ 1827118 w 7472601"/>
              <a:gd name="connsiteY461" fmla="*/ 4968410 h 6858000"/>
              <a:gd name="connsiteX462" fmla="*/ 1837349 w 7472601"/>
              <a:gd name="connsiteY462" fmla="*/ 4956357 h 6858000"/>
              <a:gd name="connsiteX463" fmla="*/ 2162835 w 7472601"/>
              <a:gd name="connsiteY463" fmla="*/ 5187853 h 6858000"/>
              <a:gd name="connsiteX464" fmla="*/ 2257167 w 7472601"/>
              <a:gd name="connsiteY464" fmla="*/ 5462123 h 6858000"/>
              <a:gd name="connsiteX465" fmla="*/ 2261598 w 7472601"/>
              <a:gd name="connsiteY465" fmla="*/ 5467998 h 6858000"/>
              <a:gd name="connsiteX466" fmla="*/ 2437177 w 7472601"/>
              <a:gd name="connsiteY466" fmla="*/ 5479608 h 6858000"/>
              <a:gd name="connsiteX467" fmla="*/ 2445247 w 7472601"/>
              <a:gd name="connsiteY467" fmla="*/ 5483476 h 6858000"/>
              <a:gd name="connsiteX468" fmla="*/ 2743626 w 7472601"/>
              <a:gd name="connsiteY468" fmla="*/ 5304819 h 6858000"/>
              <a:gd name="connsiteX469" fmla="*/ 3048102 w 7472601"/>
              <a:gd name="connsiteY469" fmla="*/ 5150595 h 6858000"/>
              <a:gd name="connsiteX470" fmla="*/ 1799414 w 7472601"/>
              <a:gd name="connsiteY470" fmla="*/ 4694732 h 6858000"/>
              <a:gd name="connsiteX471" fmla="*/ 1771735 w 7472601"/>
              <a:gd name="connsiteY471" fmla="*/ 4619929 h 6858000"/>
              <a:gd name="connsiteX472" fmla="*/ 3104273 w 7472601"/>
              <a:gd name="connsiteY472" fmla="*/ 5076159 h 6858000"/>
              <a:gd name="connsiteX473" fmla="*/ 3113245 w 7472601"/>
              <a:gd name="connsiteY473" fmla="*/ 5090705 h 6858000"/>
              <a:gd name="connsiteX474" fmla="*/ 3126294 w 7472601"/>
              <a:gd name="connsiteY474" fmla="*/ 5114400 h 6858000"/>
              <a:gd name="connsiteX475" fmla="*/ 3937433 w 7472601"/>
              <a:gd name="connsiteY475" fmla="*/ 4830473 h 6858000"/>
              <a:gd name="connsiteX476" fmla="*/ 3590475 w 7472601"/>
              <a:gd name="connsiteY476" fmla="*/ 4597974 h 6858000"/>
              <a:gd name="connsiteX477" fmla="*/ 3100264 w 7472601"/>
              <a:gd name="connsiteY477" fmla="*/ 4579845 h 6858000"/>
              <a:gd name="connsiteX478" fmla="*/ 2183576 w 7472601"/>
              <a:gd name="connsiteY478" fmla="*/ 4227150 h 6858000"/>
              <a:gd name="connsiteX479" fmla="*/ 2151029 w 7472601"/>
              <a:gd name="connsiteY479" fmla="*/ 4146947 h 6858000"/>
              <a:gd name="connsiteX480" fmla="*/ 3563434 w 7472601"/>
              <a:gd name="connsiteY480" fmla="*/ 4469115 h 6858000"/>
              <a:gd name="connsiteX481" fmla="*/ 3177952 w 7472601"/>
              <a:gd name="connsiteY481" fmla="*/ 3657386 h 6858000"/>
              <a:gd name="connsiteX482" fmla="*/ 3189263 w 7472601"/>
              <a:gd name="connsiteY482" fmla="*/ 3625726 h 6858000"/>
              <a:gd name="connsiteX483" fmla="*/ 3560912 w 7472601"/>
              <a:gd name="connsiteY483" fmla="*/ 4079863 h 6858000"/>
              <a:gd name="connsiteX484" fmla="*/ 3626636 w 7472601"/>
              <a:gd name="connsiteY484" fmla="*/ 4512230 h 6858000"/>
              <a:gd name="connsiteX485" fmla="*/ 3653088 w 7472601"/>
              <a:gd name="connsiteY485" fmla="*/ 4521417 h 6858000"/>
              <a:gd name="connsiteX486" fmla="*/ 3988128 w 7472601"/>
              <a:gd name="connsiteY486" fmla="*/ 4817267 h 6858000"/>
              <a:gd name="connsiteX487" fmla="*/ 4830582 w 7472601"/>
              <a:gd name="connsiteY487" fmla="*/ 4676000 h 6858000"/>
              <a:gd name="connsiteX488" fmla="*/ 4830100 w 7472601"/>
              <a:gd name="connsiteY488" fmla="*/ 4675554 h 6858000"/>
              <a:gd name="connsiteX489" fmla="*/ 4036318 w 7472601"/>
              <a:gd name="connsiteY489" fmla="*/ 4147013 h 6858000"/>
              <a:gd name="connsiteX490" fmla="*/ 3432098 w 7472601"/>
              <a:gd name="connsiteY490" fmla="*/ 3537312 h 6858000"/>
              <a:gd name="connsiteX491" fmla="*/ 3446761 w 7472601"/>
              <a:gd name="connsiteY491" fmla="*/ 3461278 h 6858000"/>
              <a:gd name="connsiteX492" fmla="*/ 4419733 w 7472601"/>
              <a:gd name="connsiteY492" fmla="*/ 3963555 h 6858000"/>
              <a:gd name="connsiteX493" fmla="*/ 4781371 w 7472601"/>
              <a:gd name="connsiteY493" fmla="*/ 4458604 h 6858000"/>
              <a:gd name="connsiteX494" fmla="*/ 4780440 w 7472601"/>
              <a:gd name="connsiteY494" fmla="*/ 4470290 h 6858000"/>
              <a:gd name="connsiteX495" fmla="*/ 4898954 w 7472601"/>
              <a:gd name="connsiteY495" fmla="*/ 4662092 h 6858000"/>
              <a:gd name="connsiteX496" fmla="*/ 4900699 w 7472601"/>
              <a:gd name="connsiteY496" fmla="*/ 4670867 h 6858000"/>
              <a:gd name="connsiteX497" fmla="*/ 5714511 w 7472601"/>
              <a:gd name="connsiteY497" fmla="*/ 4663483 h 6858000"/>
              <a:gd name="connsiteX498" fmla="*/ 5464793 w 7472601"/>
              <a:gd name="connsiteY498" fmla="*/ 4393556 h 6858000"/>
              <a:gd name="connsiteX499" fmla="*/ 5461897 w 7472601"/>
              <a:gd name="connsiteY499" fmla="*/ 4390879 h 6858000"/>
              <a:gd name="connsiteX500" fmla="*/ 4294126 w 7472601"/>
              <a:gd name="connsiteY500" fmla="*/ 3303048 h 6858000"/>
              <a:gd name="connsiteX501" fmla="*/ 4305321 w 7472601"/>
              <a:gd name="connsiteY501" fmla="*/ 3256953 h 6858000"/>
              <a:gd name="connsiteX502" fmla="*/ 4949299 w 7472601"/>
              <a:gd name="connsiteY502" fmla="*/ 3766336 h 6858000"/>
              <a:gd name="connsiteX503" fmla="*/ 5291452 w 7472601"/>
              <a:gd name="connsiteY503" fmla="*/ 4076801 h 6858000"/>
              <a:gd name="connsiteX504" fmla="*/ 5434998 w 7472601"/>
              <a:gd name="connsiteY504" fmla="*/ 4254100 h 6858000"/>
              <a:gd name="connsiteX505" fmla="*/ 5351015 w 7472601"/>
              <a:gd name="connsiteY505" fmla="*/ 3760989 h 6858000"/>
              <a:gd name="connsiteX506" fmla="*/ 5413780 w 7472601"/>
              <a:gd name="connsiteY506" fmla="*/ 2966265 h 6858000"/>
              <a:gd name="connsiteX507" fmla="*/ 5425627 w 7472601"/>
              <a:gd name="connsiteY507" fmla="*/ 2954192 h 6858000"/>
              <a:gd name="connsiteX508" fmla="*/ 6604735 w 7472601"/>
              <a:gd name="connsiteY508" fmla="*/ 2041381 h 6858000"/>
              <a:gd name="connsiteX509" fmla="*/ 7204487 w 7472601"/>
              <a:gd name="connsiteY509" fmla="*/ 2742112 h 6858000"/>
              <a:gd name="connsiteX510" fmla="*/ 7131592 w 7472601"/>
              <a:gd name="connsiteY510" fmla="*/ 2672096 h 6858000"/>
              <a:gd name="connsiteX511" fmla="*/ 6996344 w 7472601"/>
              <a:gd name="connsiteY511" fmla="*/ 2518310 h 6858000"/>
              <a:gd name="connsiteX512" fmla="*/ 6735495 w 7472601"/>
              <a:gd name="connsiteY512" fmla="*/ 2196890 h 6858000"/>
              <a:gd name="connsiteX513" fmla="*/ 6721901 w 7472601"/>
              <a:gd name="connsiteY513" fmla="*/ 2179274 h 6858000"/>
              <a:gd name="connsiteX514" fmla="*/ 6604735 w 7472601"/>
              <a:gd name="connsiteY514" fmla="*/ 2041381 h 6858000"/>
              <a:gd name="connsiteX515" fmla="*/ 6591670 w 7472601"/>
              <a:gd name="connsiteY515" fmla="*/ 1988277 h 6858000"/>
              <a:gd name="connsiteX516" fmla="*/ 6747349 w 7472601"/>
              <a:gd name="connsiteY516" fmla="*/ 2160069 h 6858000"/>
              <a:gd name="connsiteX517" fmla="*/ 6760943 w 7472601"/>
              <a:gd name="connsiteY517" fmla="*/ 2177686 h 6858000"/>
              <a:gd name="connsiteX518" fmla="*/ 7021065 w 7472601"/>
              <a:gd name="connsiteY518" fmla="*/ 2498102 h 6858000"/>
              <a:gd name="connsiteX519" fmla="*/ 7155223 w 7472601"/>
              <a:gd name="connsiteY519" fmla="*/ 2650386 h 6858000"/>
              <a:gd name="connsiteX520" fmla="*/ 7203167 w 7472601"/>
              <a:gd name="connsiteY520" fmla="*/ 2697288 h 6858000"/>
              <a:gd name="connsiteX521" fmla="*/ 6937703 w 7472601"/>
              <a:gd name="connsiteY521" fmla="*/ 2321981 h 6858000"/>
              <a:gd name="connsiteX522" fmla="*/ 6591670 w 7472601"/>
              <a:gd name="connsiteY522" fmla="*/ 1988277 h 6858000"/>
              <a:gd name="connsiteX523" fmla="*/ 5798671 w 7472601"/>
              <a:gd name="connsiteY523" fmla="*/ 1981601 h 6858000"/>
              <a:gd name="connsiteX524" fmla="*/ 5754709 w 7472601"/>
              <a:gd name="connsiteY524" fmla="*/ 2071454 h 6858000"/>
              <a:gd name="connsiteX525" fmla="*/ 5763044 w 7472601"/>
              <a:gd name="connsiteY525" fmla="*/ 2842206 h 6858000"/>
              <a:gd name="connsiteX526" fmla="*/ 5764974 w 7472601"/>
              <a:gd name="connsiteY526" fmla="*/ 2799609 h 6858000"/>
              <a:gd name="connsiteX527" fmla="*/ 5767665 w 7472601"/>
              <a:gd name="connsiteY527" fmla="*/ 2666409 h 6858000"/>
              <a:gd name="connsiteX528" fmla="*/ 5763055 w 7472601"/>
              <a:gd name="connsiteY528" fmla="*/ 2579705 h 6858000"/>
              <a:gd name="connsiteX529" fmla="*/ 5758079 w 7472601"/>
              <a:gd name="connsiteY529" fmla="*/ 2492508 h 6858000"/>
              <a:gd name="connsiteX530" fmla="*/ 5779325 w 7472601"/>
              <a:gd name="connsiteY530" fmla="*/ 2197069 h 6858000"/>
              <a:gd name="connsiteX531" fmla="*/ 5798671 w 7472601"/>
              <a:gd name="connsiteY531" fmla="*/ 1981601 h 6858000"/>
              <a:gd name="connsiteX532" fmla="*/ 5829202 w 7472601"/>
              <a:gd name="connsiteY532" fmla="*/ 1971679 h 6858000"/>
              <a:gd name="connsiteX533" fmla="*/ 5809558 w 7472601"/>
              <a:gd name="connsiteY533" fmla="*/ 2198043 h 6858000"/>
              <a:gd name="connsiteX534" fmla="*/ 5788653 w 7472601"/>
              <a:gd name="connsiteY534" fmla="*/ 2489430 h 6858000"/>
              <a:gd name="connsiteX535" fmla="*/ 5793439 w 7472601"/>
              <a:gd name="connsiteY535" fmla="*/ 2575235 h 6858000"/>
              <a:gd name="connsiteX536" fmla="*/ 5796837 w 7472601"/>
              <a:gd name="connsiteY536" fmla="*/ 2637633 h 6858000"/>
              <a:gd name="connsiteX537" fmla="*/ 5818614 w 7472601"/>
              <a:gd name="connsiteY537" fmla="*/ 2473055 h 6858000"/>
              <a:gd name="connsiteX538" fmla="*/ 5829202 w 7472601"/>
              <a:gd name="connsiteY538" fmla="*/ 1971679 h 6858000"/>
              <a:gd name="connsiteX539" fmla="*/ 5911389 w 7472601"/>
              <a:gd name="connsiteY539" fmla="*/ 1898371 h 6858000"/>
              <a:gd name="connsiteX540" fmla="*/ 6237627 w 7472601"/>
              <a:gd name="connsiteY540" fmla="*/ 2231921 h 6858000"/>
              <a:gd name="connsiteX541" fmla="*/ 5911389 w 7472601"/>
              <a:gd name="connsiteY541" fmla="*/ 1898371 h 6858000"/>
              <a:gd name="connsiteX542" fmla="*/ 6944437 w 7472601"/>
              <a:gd name="connsiteY542" fmla="*/ 1575402 h 6858000"/>
              <a:gd name="connsiteX543" fmla="*/ 6304730 w 7472601"/>
              <a:gd name="connsiteY543" fmla="*/ 1766654 h 6858000"/>
              <a:gd name="connsiteX544" fmla="*/ 6944437 w 7472601"/>
              <a:gd name="connsiteY544" fmla="*/ 1575402 h 6858000"/>
              <a:gd name="connsiteX545" fmla="*/ 7019523 w 7472601"/>
              <a:gd name="connsiteY545" fmla="*/ 1519450 h 6858000"/>
              <a:gd name="connsiteX546" fmla="*/ 6298091 w 7472601"/>
              <a:gd name="connsiteY546" fmla="*/ 1737122 h 6858000"/>
              <a:gd name="connsiteX547" fmla="*/ 7019523 w 7472601"/>
              <a:gd name="connsiteY547" fmla="*/ 1519450 h 6858000"/>
              <a:gd name="connsiteX548" fmla="*/ 2399523 w 7472601"/>
              <a:gd name="connsiteY548" fmla="*/ 1428234 h 6858000"/>
              <a:gd name="connsiteX549" fmla="*/ 2224982 w 7472601"/>
              <a:gd name="connsiteY549" fmla="*/ 1826201 h 6858000"/>
              <a:gd name="connsiteX550" fmla="*/ 2096099 w 7472601"/>
              <a:gd name="connsiteY550" fmla="*/ 2345900 h 6858000"/>
              <a:gd name="connsiteX551" fmla="*/ 2283317 w 7472601"/>
              <a:gd name="connsiteY551" fmla="*/ 1796925 h 6858000"/>
              <a:gd name="connsiteX552" fmla="*/ 2399523 w 7472601"/>
              <a:gd name="connsiteY552" fmla="*/ 1428234 h 6858000"/>
              <a:gd name="connsiteX553" fmla="*/ 2448558 w 7472601"/>
              <a:gd name="connsiteY553" fmla="*/ 1373435 h 6858000"/>
              <a:gd name="connsiteX554" fmla="*/ 2312521 w 7472601"/>
              <a:gd name="connsiteY554" fmla="*/ 1806140 h 6858000"/>
              <a:gd name="connsiteX555" fmla="*/ 2127533 w 7472601"/>
              <a:gd name="connsiteY555" fmla="*/ 2348380 h 6858000"/>
              <a:gd name="connsiteX556" fmla="*/ 2358080 w 7472601"/>
              <a:gd name="connsiteY556" fmla="*/ 1866134 h 6858000"/>
              <a:gd name="connsiteX557" fmla="*/ 2407436 w 7472601"/>
              <a:gd name="connsiteY557" fmla="*/ 1651070 h 6858000"/>
              <a:gd name="connsiteX558" fmla="*/ 2448558 w 7472601"/>
              <a:gd name="connsiteY558" fmla="*/ 1373435 h 6858000"/>
              <a:gd name="connsiteX559" fmla="*/ 278707 w 7472601"/>
              <a:gd name="connsiteY559" fmla="*/ 1352270 h 6858000"/>
              <a:gd name="connsiteX560" fmla="*/ 321570 w 7472601"/>
              <a:gd name="connsiteY560" fmla="*/ 1861610 h 6858000"/>
              <a:gd name="connsiteX561" fmla="*/ 294281 w 7472601"/>
              <a:gd name="connsiteY561" fmla="*/ 1440658 h 6858000"/>
              <a:gd name="connsiteX562" fmla="*/ 278707 w 7472601"/>
              <a:gd name="connsiteY562" fmla="*/ 1352270 h 6858000"/>
              <a:gd name="connsiteX563" fmla="*/ 1423821 w 7472601"/>
              <a:gd name="connsiteY563" fmla="*/ 1351958 h 6858000"/>
              <a:gd name="connsiteX564" fmla="*/ 1638521 w 7472601"/>
              <a:gd name="connsiteY564" fmla="*/ 1908470 h 6858000"/>
              <a:gd name="connsiteX565" fmla="*/ 1754199 w 7472601"/>
              <a:gd name="connsiteY565" fmla="*/ 2149284 h 6858000"/>
              <a:gd name="connsiteX566" fmla="*/ 1908359 w 7472601"/>
              <a:gd name="connsiteY566" fmla="*/ 2364988 h 6858000"/>
              <a:gd name="connsiteX567" fmla="*/ 1647661 w 7472601"/>
              <a:gd name="connsiteY567" fmla="*/ 1825945 h 6858000"/>
              <a:gd name="connsiteX568" fmla="*/ 1423821 w 7472601"/>
              <a:gd name="connsiteY568" fmla="*/ 1351958 h 6858000"/>
              <a:gd name="connsiteX569" fmla="*/ 1431890 w 7472601"/>
              <a:gd name="connsiteY569" fmla="*/ 1306475 h 6858000"/>
              <a:gd name="connsiteX570" fmla="*/ 1507597 w 7472601"/>
              <a:gd name="connsiteY570" fmla="*/ 1446132 h 6858000"/>
              <a:gd name="connsiteX571" fmla="*/ 1674586 w 7472601"/>
              <a:gd name="connsiteY571" fmla="*/ 1813832 h 6858000"/>
              <a:gd name="connsiteX572" fmla="*/ 1815950 w 7472601"/>
              <a:gd name="connsiteY572" fmla="*/ 2128564 h 6858000"/>
              <a:gd name="connsiteX573" fmla="*/ 1984242 w 7472601"/>
              <a:gd name="connsiteY573" fmla="*/ 2430829 h 6858000"/>
              <a:gd name="connsiteX574" fmla="*/ 2014023 w 7472601"/>
              <a:gd name="connsiteY574" fmla="*/ 2450995 h 6858000"/>
              <a:gd name="connsiteX575" fmla="*/ 1747337 w 7472601"/>
              <a:gd name="connsiteY575" fmla="*/ 1855264 h 6858000"/>
              <a:gd name="connsiteX576" fmla="*/ 1533749 w 7472601"/>
              <a:gd name="connsiteY576" fmla="*/ 1478656 h 6858000"/>
              <a:gd name="connsiteX577" fmla="*/ 1431890 w 7472601"/>
              <a:gd name="connsiteY577" fmla="*/ 1306475 h 6858000"/>
              <a:gd name="connsiteX578" fmla="*/ 5052692 w 7472601"/>
              <a:gd name="connsiteY578" fmla="*/ 1292994 h 6858000"/>
              <a:gd name="connsiteX579" fmla="*/ 5200661 w 7472601"/>
              <a:gd name="connsiteY579" fmla="*/ 1635186 h 6858000"/>
              <a:gd name="connsiteX580" fmla="*/ 5297138 w 7472601"/>
              <a:gd name="connsiteY580" fmla="*/ 1906351 h 6858000"/>
              <a:gd name="connsiteX581" fmla="*/ 5052692 w 7472601"/>
              <a:gd name="connsiteY581" fmla="*/ 1292994 h 6858000"/>
              <a:gd name="connsiteX582" fmla="*/ 5009948 w 7472601"/>
              <a:gd name="connsiteY582" fmla="*/ 1273619 h 6858000"/>
              <a:gd name="connsiteX583" fmla="*/ 5121777 w 7472601"/>
              <a:gd name="connsiteY583" fmla="*/ 1654213 h 6858000"/>
              <a:gd name="connsiteX584" fmla="*/ 5293545 w 7472601"/>
              <a:gd name="connsiteY584" fmla="*/ 2072247 h 6858000"/>
              <a:gd name="connsiteX585" fmla="*/ 5294042 w 7472601"/>
              <a:gd name="connsiteY585" fmla="*/ 2065019 h 6858000"/>
              <a:gd name="connsiteX586" fmla="*/ 5171936 w 7472601"/>
              <a:gd name="connsiteY586" fmla="*/ 1647613 h 6858000"/>
              <a:gd name="connsiteX587" fmla="*/ 5009948 w 7472601"/>
              <a:gd name="connsiteY587" fmla="*/ 1273619 h 6858000"/>
              <a:gd name="connsiteX588" fmla="*/ 655236 w 7472601"/>
              <a:gd name="connsiteY588" fmla="*/ 1268632 h 6858000"/>
              <a:gd name="connsiteX589" fmla="*/ 839521 w 7472601"/>
              <a:gd name="connsiteY589" fmla="*/ 1685315 h 6858000"/>
              <a:gd name="connsiteX590" fmla="*/ 1109416 w 7472601"/>
              <a:gd name="connsiteY590" fmla="*/ 2061663 h 6858000"/>
              <a:gd name="connsiteX591" fmla="*/ 1298300 w 7472601"/>
              <a:gd name="connsiteY591" fmla="*/ 2247742 h 6858000"/>
              <a:gd name="connsiteX592" fmla="*/ 1125871 w 7472601"/>
              <a:gd name="connsiteY592" fmla="*/ 1989513 h 6858000"/>
              <a:gd name="connsiteX593" fmla="*/ 981574 w 7472601"/>
              <a:gd name="connsiteY593" fmla="*/ 1783157 h 6858000"/>
              <a:gd name="connsiteX594" fmla="*/ 922198 w 7472601"/>
              <a:gd name="connsiteY594" fmla="*/ 1677437 h 6858000"/>
              <a:gd name="connsiteX595" fmla="*/ 869293 w 7472601"/>
              <a:gd name="connsiteY595" fmla="*/ 1583214 h 6858000"/>
              <a:gd name="connsiteX596" fmla="*/ 751431 w 7472601"/>
              <a:gd name="connsiteY596" fmla="*/ 1405731 h 6858000"/>
              <a:gd name="connsiteX597" fmla="*/ 655236 w 7472601"/>
              <a:gd name="connsiteY597" fmla="*/ 1268632 h 6858000"/>
              <a:gd name="connsiteX598" fmla="*/ 6516292 w 7472601"/>
              <a:gd name="connsiteY598" fmla="*/ 1263064 h 6858000"/>
              <a:gd name="connsiteX599" fmla="*/ 5736320 w 7472601"/>
              <a:gd name="connsiteY599" fmla="*/ 1501803 h 6858000"/>
              <a:gd name="connsiteX600" fmla="*/ 6516292 w 7472601"/>
              <a:gd name="connsiteY600" fmla="*/ 1263064 h 6858000"/>
              <a:gd name="connsiteX601" fmla="*/ 291466 w 7472601"/>
              <a:gd name="connsiteY601" fmla="*/ 1250369 h 6858000"/>
              <a:gd name="connsiteX602" fmla="*/ 323180 w 7472601"/>
              <a:gd name="connsiteY602" fmla="*/ 1435283 h 6858000"/>
              <a:gd name="connsiteX603" fmla="*/ 349381 w 7472601"/>
              <a:gd name="connsiteY603" fmla="*/ 1875041 h 6858000"/>
              <a:gd name="connsiteX604" fmla="*/ 374363 w 7472601"/>
              <a:gd name="connsiteY604" fmla="*/ 1506494 h 6858000"/>
              <a:gd name="connsiteX605" fmla="*/ 302168 w 7472601"/>
              <a:gd name="connsiteY605" fmla="*/ 1274495 h 6858000"/>
              <a:gd name="connsiteX606" fmla="*/ 291466 w 7472601"/>
              <a:gd name="connsiteY606" fmla="*/ 1250369 h 6858000"/>
              <a:gd name="connsiteX607" fmla="*/ 678222 w 7472601"/>
              <a:gd name="connsiteY607" fmla="*/ 1248670 h 6858000"/>
              <a:gd name="connsiteX608" fmla="*/ 775536 w 7472601"/>
              <a:gd name="connsiteY608" fmla="*/ 1388015 h 6858000"/>
              <a:gd name="connsiteX609" fmla="*/ 894529 w 7472601"/>
              <a:gd name="connsiteY609" fmla="*/ 1567739 h 6858000"/>
              <a:gd name="connsiteX610" fmla="*/ 948000 w 7472601"/>
              <a:gd name="connsiteY610" fmla="*/ 1663088 h 6858000"/>
              <a:gd name="connsiteX611" fmla="*/ 1006812 w 7472601"/>
              <a:gd name="connsiteY611" fmla="*/ 1767683 h 6858000"/>
              <a:gd name="connsiteX612" fmla="*/ 1149133 w 7472601"/>
              <a:gd name="connsiteY612" fmla="*/ 1971513 h 6858000"/>
              <a:gd name="connsiteX613" fmla="*/ 1333952 w 7472601"/>
              <a:gd name="connsiteY613" fmla="*/ 2251620 h 6858000"/>
              <a:gd name="connsiteX614" fmla="*/ 1337329 w 7472601"/>
              <a:gd name="connsiteY614" fmla="*/ 2258350 h 6858000"/>
              <a:gd name="connsiteX615" fmla="*/ 1014726 w 7472601"/>
              <a:gd name="connsiteY615" fmla="*/ 1615556 h 6858000"/>
              <a:gd name="connsiteX616" fmla="*/ 678222 w 7472601"/>
              <a:gd name="connsiteY616" fmla="*/ 1248670 h 6858000"/>
              <a:gd name="connsiteX617" fmla="*/ 6691602 w 7472601"/>
              <a:gd name="connsiteY617" fmla="*/ 1140573 h 6858000"/>
              <a:gd name="connsiteX618" fmla="*/ 6571100 w 7472601"/>
              <a:gd name="connsiteY618" fmla="*/ 1183662 h 6858000"/>
              <a:gd name="connsiteX619" fmla="*/ 6241687 w 7472601"/>
              <a:gd name="connsiteY619" fmla="*/ 1257600 h 6858000"/>
              <a:gd name="connsiteX620" fmla="*/ 5693009 w 7472601"/>
              <a:gd name="connsiteY620" fmla="*/ 1478256 h 6858000"/>
              <a:gd name="connsiteX621" fmla="*/ 6548420 w 7472601"/>
              <a:gd name="connsiteY621" fmla="*/ 1214599 h 6858000"/>
              <a:gd name="connsiteX622" fmla="*/ 6605473 w 7472601"/>
              <a:gd name="connsiteY622" fmla="*/ 1184686 h 6858000"/>
              <a:gd name="connsiteX623" fmla="*/ 6691602 w 7472601"/>
              <a:gd name="connsiteY623" fmla="*/ 1140573 h 6858000"/>
              <a:gd name="connsiteX624" fmla="*/ 4002475 w 7472601"/>
              <a:gd name="connsiteY624" fmla="*/ 1037802 h 6858000"/>
              <a:gd name="connsiteX625" fmla="*/ 4000324 w 7472601"/>
              <a:gd name="connsiteY625" fmla="*/ 1039362 h 6858000"/>
              <a:gd name="connsiteX626" fmla="*/ 4002862 w 7472601"/>
              <a:gd name="connsiteY626" fmla="*/ 1042866 h 6858000"/>
              <a:gd name="connsiteX627" fmla="*/ 4002475 w 7472601"/>
              <a:gd name="connsiteY627" fmla="*/ 1037802 h 6858000"/>
              <a:gd name="connsiteX628" fmla="*/ 506322 w 7472601"/>
              <a:gd name="connsiteY628" fmla="*/ 1020997 h 6858000"/>
              <a:gd name="connsiteX629" fmla="*/ 533068 w 7472601"/>
              <a:gd name="connsiteY629" fmla="*/ 1029409 h 6858000"/>
              <a:gd name="connsiteX630" fmla="*/ 1232525 w 7472601"/>
              <a:gd name="connsiteY630" fmla="*/ 1804675 h 6858000"/>
              <a:gd name="connsiteX631" fmla="*/ 1388858 w 7472601"/>
              <a:gd name="connsiteY631" fmla="*/ 2368011 h 6858000"/>
              <a:gd name="connsiteX632" fmla="*/ 1384098 w 7472601"/>
              <a:gd name="connsiteY632" fmla="*/ 2378125 h 6858000"/>
              <a:gd name="connsiteX633" fmla="*/ 1425393 w 7472601"/>
              <a:gd name="connsiteY633" fmla="*/ 2589124 h 6858000"/>
              <a:gd name="connsiteX634" fmla="*/ 1424001 w 7472601"/>
              <a:gd name="connsiteY634" fmla="*/ 2597541 h 6858000"/>
              <a:gd name="connsiteX635" fmla="*/ 2152729 w 7472601"/>
              <a:gd name="connsiteY635" fmla="*/ 2864487 h 6858000"/>
              <a:gd name="connsiteX636" fmla="*/ 2020609 w 7472601"/>
              <a:gd name="connsiteY636" fmla="*/ 2539671 h 6858000"/>
              <a:gd name="connsiteX637" fmla="*/ 2018920 w 7472601"/>
              <a:gd name="connsiteY637" fmla="*/ 2536309 h 6858000"/>
              <a:gd name="connsiteX638" fmla="*/ 1342441 w 7472601"/>
              <a:gd name="connsiteY638" fmla="*/ 1173017 h 6858000"/>
              <a:gd name="connsiteX639" fmla="*/ 1367925 w 7472601"/>
              <a:gd name="connsiteY639" fmla="*/ 1135648 h 6858000"/>
              <a:gd name="connsiteX640" fmla="*/ 1771401 w 7472601"/>
              <a:gd name="connsiteY640" fmla="*/ 1806673 h 6858000"/>
              <a:gd name="connsiteX641" fmla="*/ 1972385 w 7472601"/>
              <a:gd name="connsiteY641" fmla="*/ 2198735 h 6858000"/>
              <a:gd name="connsiteX642" fmla="*/ 2040892 w 7472601"/>
              <a:gd name="connsiteY642" fmla="*/ 2405205 h 6858000"/>
              <a:gd name="connsiteX643" fmla="*/ 2131689 w 7472601"/>
              <a:gd name="connsiteY643" fmla="*/ 1936926 h 6858000"/>
              <a:gd name="connsiteX644" fmla="*/ 2454820 w 7472601"/>
              <a:gd name="connsiteY644" fmla="*/ 1248808 h 6858000"/>
              <a:gd name="connsiteX645" fmla="*/ 2492512 w 7472601"/>
              <a:gd name="connsiteY645" fmla="*/ 1302920 h 6858000"/>
              <a:gd name="connsiteX646" fmla="*/ 2081216 w 7472601"/>
              <a:gd name="connsiteY646" fmla="*/ 2527513 h 6858000"/>
              <a:gd name="connsiteX647" fmla="*/ 2081211 w 7472601"/>
              <a:gd name="connsiteY647" fmla="*/ 2528916 h 6858000"/>
              <a:gd name="connsiteX648" fmla="*/ 2199067 w 7472601"/>
              <a:gd name="connsiteY648" fmla="*/ 2884061 h 6858000"/>
              <a:gd name="connsiteX649" fmla="*/ 3192586 w 7472601"/>
              <a:gd name="connsiteY649" fmla="*/ 3411496 h 6858000"/>
              <a:gd name="connsiteX650" fmla="*/ 3182620 w 7472601"/>
              <a:gd name="connsiteY650" fmla="*/ 3483279 h 6858000"/>
              <a:gd name="connsiteX651" fmla="*/ 2435119 w 7472601"/>
              <a:gd name="connsiteY651" fmla="*/ 3080173 h 6858000"/>
              <a:gd name="connsiteX652" fmla="*/ 2410152 w 7472601"/>
              <a:gd name="connsiteY652" fmla="*/ 3063751 h 6858000"/>
              <a:gd name="connsiteX653" fmla="*/ 2408099 w 7472601"/>
              <a:gd name="connsiteY653" fmla="*/ 3064403 h 6858000"/>
              <a:gd name="connsiteX654" fmla="*/ 2407218 w 7472601"/>
              <a:gd name="connsiteY654" fmla="*/ 3070324 h 6858000"/>
              <a:gd name="connsiteX655" fmla="*/ 2380138 w 7472601"/>
              <a:gd name="connsiteY655" fmla="*/ 3099341 h 6858000"/>
              <a:gd name="connsiteX656" fmla="*/ 1765923 w 7472601"/>
              <a:gd name="connsiteY656" fmla="*/ 3581043 h 6858000"/>
              <a:gd name="connsiteX657" fmla="*/ 1702258 w 7472601"/>
              <a:gd name="connsiteY657" fmla="*/ 3612286 h 6858000"/>
              <a:gd name="connsiteX658" fmla="*/ 1538370 w 7472601"/>
              <a:gd name="connsiteY658" fmla="*/ 3811804 h 6858000"/>
              <a:gd name="connsiteX659" fmla="*/ 542867 w 7472601"/>
              <a:gd name="connsiteY659" fmla="*/ 4944092 h 6858000"/>
              <a:gd name="connsiteX660" fmla="*/ 515800 w 7472601"/>
              <a:gd name="connsiteY660" fmla="*/ 4862180 h 6858000"/>
              <a:gd name="connsiteX661" fmla="*/ 909145 w 7472601"/>
              <a:gd name="connsiteY661" fmla="*/ 4199225 h 6858000"/>
              <a:gd name="connsiteX662" fmla="*/ 1214067 w 7472601"/>
              <a:gd name="connsiteY662" fmla="*/ 3908561 h 6858000"/>
              <a:gd name="connsiteX663" fmla="*/ 640967 w 7472601"/>
              <a:gd name="connsiteY663" fmla="*/ 4105601 h 6858000"/>
              <a:gd name="connsiteX664" fmla="*/ 112563 w 7472601"/>
              <a:gd name="connsiteY664" fmla="*/ 4396952 h 6858000"/>
              <a:gd name="connsiteX665" fmla="*/ 0 w 7472601"/>
              <a:gd name="connsiteY665" fmla="*/ 4466006 h 6858000"/>
              <a:gd name="connsiteX666" fmla="*/ 0 w 7472601"/>
              <a:gd name="connsiteY666" fmla="*/ 4233763 h 6858000"/>
              <a:gd name="connsiteX667" fmla="*/ 36881 w 7472601"/>
              <a:gd name="connsiteY667" fmla="*/ 4200118 h 6858000"/>
              <a:gd name="connsiteX668" fmla="*/ 910534 w 7472601"/>
              <a:gd name="connsiteY668" fmla="*/ 3629753 h 6858000"/>
              <a:gd name="connsiteX669" fmla="*/ 1578717 w 7472601"/>
              <a:gd name="connsiteY669" fmla="*/ 3575982 h 6858000"/>
              <a:gd name="connsiteX670" fmla="*/ 2338780 w 7472601"/>
              <a:gd name="connsiteY670" fmla="*/ 3033725 h 6858000"/>
              <a:gd name="connsiteX671" fmla="*/ 1807991 w 7472601"/>
              <a:gd name="connsiteY671" fmla="*/ 2807184 h 6858000"/>
              <a:gd name="connsiteX672" fmla="*/ 1416358 w 7472601"/>
              <a:gd name="connsiteY672" fmla="*/ 3112571 h 6858000"/>
              <a:gd name="connsiteX673" fmla="*/ 939066 w 7472601"/>
              <a:gd name="connsiteY673" fmla="*/ 3378798 h 6858000"/>
              <a:gd name="connsiteX674" fmla="*/ 115099 w 7472601"/>
              <a:gd name="connsiteY674" fmla="*/ 3607650 h 6858000"/>
              <a:gd name="connsiteX675" fmla="*/ 97284 w 7472601"/>
              <a:gd name="connsiteY675" fmla="*/ 3520393 h 6858000"/>
              <a:gd name="connsiteX676" fmla="*/ 922050 w 7472601"/>
              <a:gd name="connsiteY676" fmla="*/ 3074867 h 6858000"/>
              <a:gd name="connsiteX677" fmla="*/ 1405265 w 7472601"/>
              <a:gd name="connsiteY677" fmla="*/ 3016319 h 6858000"/>
              <a:gd name="connsiteX678" fmla="*/ 1407512 w 7472601"/>
              <a:gd name="connsiteY678" fmla="*/ 3018001 h 6858000"/>
              <a:gd name="connsiteX679" fmla="*/ 1726266 w 7472601"/>
              <a:gd name="connsiteY679" fmla="*/ 2777274 h 6858000"/>
              <a:gd name="connsiteX680" fmla="*/ 625390 w 7472601"/>
              <a:gd name="connsiteY680" fmla="*/ 2514541 h 6858000"/>
              <a:gd name="connsiteX681" fmla="*/ 619799 w 7472601"/>
              <a:gd name="connsiteY681" fmla="*/ 2527180 h 6858000"/>
              <a:gd name="connsiteX682" fmla="*/ 310030 w 7472601"/>
              <a:gd name="connsiteY682" fmla="*/ 2771818 h 6858000"/>
              <a:gd name="connsiteX683" fmla="*/ 173877 w 7472601"/>
              <a:gd name="connsiteY683" fmla="*/ 2937056 h 6858000"/>
              <a:gd name="connsiteX684" fmla="*/ 77889 w 7472601"/>
              <a:gd name="connsiteY684" fmla="*/ 3138440 h 6858000"/>
              <a:gd name="connsiteX685" fmla="*/ 0 w 7472601"/>
              <a:gd name="connsiteY685" fmla="*/ 3271395 h 6858000"/>
              <a:gd name="connsiteX686" fmla="*/ 0 w 7472601"/>
              <a:gd name="connsiteY686" fmla="*/ 3153002 h 6858000"/>
              <a:gd name="connsiteX687" fmla="*/ 2386 w 7472601"/>
              <a:gd name="connsiteY687" fmla="*/ 3149203 h 6858000"/>
              <a:gd name="connsiteX688" fmla="*/ 89753 w 7472601"/>
              <a:gd name="connsiteY688" fmla="*/ 2987702 h 6858000"/>
              <a:gd name="connsiteX689" fmla="*/ 76869 w 7472601"/>
              <a:gd name="connsiteY689" fmla="*/ 3005404 h 6858000"/>
              <a:gd name="connsiteX690" fmla="*/ 32049 w 7472601"/>
              <a:gd name="connsiteY690" fmla="*/ 3065814 h 6858000"/>
              <a:gd name="connsiteX691" fmla="*/ 0 w 7472601"/>
              <a:gd name="connsiteY691" fmla="*/ 3108744 h 6858000"/>
              <a:gd name="connsiteX692" fmla="*/ 0 w 7472601"/>
              <a:gd name="connsiteY692" fmla="*/ 3058059 h 6858000"/>
              <a:gd name="connsiteX693" fmla="*/ 7610 w 7472601"/>
              <a:gd name="connsiteY693" fmla="*/ 3047889 h 6858000"/>
              <a:gd name="connsiteX694" fmla="*/ 52419 w 7472601"/>
              <a:gd name="connsiteY694" fmla="*/ 2987479 h 6858000"/>
              <a:gd name="connsiteX695" fmla="*/ 59142 w 7472601"/>
              <a:gd name="connsiteY695" fmla="*/ 2978488 h 6858000"/>
              <a:gd name="connsiteX696" fmla="*/ 0 w 7472601"/>
              <a:gd name="connsiteY696" fmla="*/ 3015334 h 6858000"/>
              <a:gd name="connsiteX697" fmla="*/ 0 w 7472601"/>
              <a:gd name="connsiteY697" fmla="*/ 2914286 h 6858000"/>
              <a:gd name="connsiteX698" fmla="*/ 36383 w 7472601"/>
              <a:gd name="connsiteY698" fmla="*/ 2901128 h 6858000"/>
              <a:gd name="connsiteX699" fmla="*/ 156329 w 7472601"/>
              <a:gd name="connsiteY699" fmla="*/ 2840533 h 6858000"/>
              <a:gd name="connsiteX700" fmla="*/ 358355 w 7472601"/>
              <a:gd name="connsiteY700" fmla="*/ 2620471 h 6858000"/>
              <a:gd name="connsiteX701" fmla="*/ 510577 w 7472601"/>
              <a:gd name="connsiteY701" fmla="*/ 2501244 h 6858000"/>
              <a:gd name="connsiteX702" fmla="*/ 211967 w 7472601"/>
              <a:gd name="connsiteY702" fmla="*/ 2479171 h 6858000"/>
              <a:gd name="connsiteX703" fmla="*/ 0 w 7472601"/>
              <a:gd name="connsiteY703" fmla="*/ 2476398 h 6858000"/>
              <a:gd name="connsiteX704" fmla="*/ 0 w 7472601"/>
              <a:gd name="connsiteY704" fmla="*/ 2389189 h 6858000"/>
              <a:gd name="connsiteX705" fmla="*/ 103062 w 7472601"/>
              <a:gd name="connsiteY705" fmla="*/ 2389518 h 6858000"/>
              <a:gd name="connsiteX706" fmla="*/ 510734 w 7472601"/>
              <a:gd name="connsiteY706" fmla="*/ 2416201 h 6858000"/>
              <a:gd name="connsiteX707" fmla="*/ 279257 w 7472601"/>
              <a:gd name="connsiteY707" fmla="*/ 2092102 h 6858000"/>
              <a:gd name="connsiteX708" fmla="*/ 65265 w 7472601"/>
              <a:gd name="connsiteY708" fmla="*/ 2006049 h 6858000"/>
              <a:gd name="connsiteX709" fmla="*/ 0 w 7472601"/>
              <a:gd name="connsiteY709" fmla="*/ 1982532 h 6858000"/>
              <a:gd name="connsiteX710" fmla="*/ 0 w 7472601"/>
              <a:gd name="connsiteY710" fmla="*/ 1912789 h 6858000"/>
              <a:gd name="connsiteX711" fmla="*/ 97460 w 7472601"/>
              <a:gd name="connsiteY711" fmla="*/ 1953725 h 6858000"/>
              <a:gd name="connsiteX712" fmla="*/ 221272 w 7472601"/>
              <a:gd name="connsiteY712" fmla="*/ 1980766 h 6858000"/>
              <a:gd name="connsiteX713" fmla="*/ 116765 w 7472601"/>
              <a:gd name="connsiteY713" fmla="*/ 1911033 h 6858000"/>
              <a:gd name="connsiteX714" fmla="*/ 16405 w 7472601"/>
              <a:gd name="connsiteY714" fmla="*/ 1803412 h 6858000"/>
              <a:gd name="connsiteX715" fmla="*/ 0 w 7472601"/>
              <a:gd name="connsiteY715" fmla="*/ 1784777 h 6858000"/>
              <a:gd name="connsiteX716" fmla="*/ 0 w 7472601"/>
              <a:gd name="connsiteY716" fmla="*/ 1740082 h 6858000"/>
              <a:gd name="connsiteX717" fmla="*/ 39394 w 7472601"/>
              <a:gd name="connsiteY717" fmla="*/ 1784856 h 6858000"/>
              <a:gd name="connsiteX718" fmla="*/ 135813 w 7472601"/>
              <a:gd name="connsiteY718" fmla="*/ 1888838 h 6858000"/>
              <a:gd name="connsiteX719" fmla="*/ 242575 w 7472601"/>
              <a:gd name="connsiteY719" fmla="*/ 1958841 h 6858000"/>
              <a:gd name="connsiteX720" fmla="*/ 82197 w 7472601"/>
              <a:gd name="connsiteY720" fmla="*/ 1754826 h 6858000"/>
              <a:gd name="connsiteX721" fmla="*/ 0 w 7472601"/>
              <a:gd name="connsiteY721" fmla="*/ 1679650 h 6858000"/>
              <a:gd name="connsiteX722" fmla="*/ 0 w 7472601"/>
              <a:gd name="connsiteY722" fmla="*/ 1602463 h 6858000"/>
              <a:gd name="connsiteX723" fmla="*/ 84689 w 7472601"/>
              <a:gd name="connsiteY723" fmla="*/ 1677442 h 6858000"/>
              <a:gd name="connsiteX724" fmla="*/ 298437 w 7472601"/>
              <a:gd name="connsiteY724" fmla="*/ 1968019 h 6858000"/>
              <a:gd name="connsiteX725" fmla="*/ 227269 w 7472601"/>
              <a:gd name="connsiteY725" fmla="*/ 1114064 h 6858000"/>
              <a:gd name="connsiteX726" fmla="*/ 248003 w 7472601"/>
              <a:gd name="connsiteY726" fmla="*/ 1089613 h 6858000"/>
              <a:gd name="connsiteX727" fmla="*/ 427020 w 7472601"/>
              <a:gd name="connsiteY727" fmla="*/ 1619803 h 6858000"/>
              <a:gd name="connsiteX728" fmla="*/ 340345 w 7472601"/>
              <a:gd name="connsiteY728" fmla="*/ 2027739 h 6858000"/>
              <a:gd name="connsiteX729" fmla="*/ 360865 w 7472601"/>
              <a:gd name="connsiteY729" fmla="*/ 2044827 h 6858000"/>
              <a:gd name="connsiteX730" fmla="*/ 560414 w 7472601"/>
              <a:gd name="connsiteY730" fmla="*/ 2421457 h 6858000"/>
              <a:gd name="connsiteX731" fmla="*/ 1359703 w 7472601"/>
              <a:gd name="connsiteY731" fmla="*/ 2578554 h 6858000"/>
              <a:gd name="connsiteX732" fmla="*/ 1359422 w 7472601"/>
              <a:gd name="connsiteY732" fmla="*/ 2577994 h 6858000"/>
              <a:gd name="connsiteX733" fmla="*/ 828701 w 7472601"/>
              <a:gd name="connsiteY733" fmla="*/ 1839520 h 6858000"/>
              <a:gd name="connsiteX734" fmla="*/ 494427 w 7472601"/>
              <a:gd name="connsiteY734" fmla="*/ 1092333 h 6858000"/>
              <a:gd name="connsiteX735" fmla="*/ 506322 w 7472601"/>
              <a:gd name="connsiteY735" fmla="*/ 1020997 h 6858000"/>
              <a:gd name="connsiteX736" fmla="*/ 4570198 w 7472601"/>
              <a:gd name="connsiteY736" fmla="*/ 978081 h 6858000"/>
              <a:gd name="connsiteX737" fmla="*/ 4523691 w 7472601"/>
              <a:gd name="connsiteY737" fmla="*/ 1127776 h 6858000"/>
              <a:gd name="connsiteX738" fmla="*/ 4509875 w 7472601"/>
              <a:gd name="connsiteY738" fmla="*/ 1167552 h 6858000"/>
              <a:gd name="connsiteX739" fmla="*/ 4478168 w 7472601"/>
              <a:gd name="connsiteY739" fmla="*/ 1260735 h 6858000"/>
              <a:gd name="connsiteX740" fmla="*/ 4409309 w 7472601"/>
              <a:gd name="connsiteY740" fmla="*/ 1666996 h 6858000"/>
              <a:gd name="connsiteX741" fmla="*/ 4370031 w 7472601"/>
              <a:gd name="connsiteY741" fmla="*/ 1955666 h 6858000"/>
              <a:gd name="connsiteX742" fmla="*/ 4570198 w 7472601"/>
              <a:gd name="connsiteY742" fmla="*/ 978081 h 6858000"/>
              <a:gd name="connsiteX743" fmla="*/ 4557898 w 7472601"/>
              <a:gd name="connsiteY743" fmla="*/ 900011 h 6858000"/>
              <a:gd name="connsiteX744" fmla="*/ 4344840 w 7472601"/>
              <a:gd name="connsiteY744" fmla="*/ 1922038 h 6858000"/>
              <a:gd name="connsiteX745" fmla="*/ 4378710 w 7472601"/>
              <a:gd name="connsiteY745" fmla="*/ 1665516 h 6858000"/>
              <a:gd name="connsiteX746" fmla="*/ 4448798 w 7472601"/>
              <a:gd name="connsiteY746" fmla="*/ 1253024 h 6858000"/>
              <a:gd name="connsiteX747" fmla="*/ 4480315 w 7472601"/>
              <a:gd name="connsiteY747" fmla="*/ 1158454 h 6858000"/>
              <a:gd name="connsiteX748" fmla="*/ 4494133 w 7472601"/>
              <a:gd name="connsiteY748" fmla="*/ 1118676 h 6858000"/>
              <a:gd name="connsiteX749" fmla="*/ 4557898 w 7472601"/>
              <a:gd name="connsiteY749" fmla="*/ 900011 h 6858000"/>
              <a:gd name="connsiteX750" fmla="*/ 5870151 w 7472601"/>
              <a:gd name="connsiteY750" fmla="*/ 898890 h 6858000"/>
              <a:gd name="connsiteX751" fmla="*/ 5861335 w 7472601"/>
              <a:gd name="connsiteY751" fmla="*/ 899177 h 6858000"/>
              <a:gd name="connsiteX752" fmla="*/ 5843702 w 7472601"/>
              <a:gd name="connsiteY752" fmla="*/ 899748 h 6858000"/>
              <a:gd name="connsiteX753" fmla="*/ 5651107 w 7472601"/>
              <a:gd name="connsiteY753" fmla="*/ 920306 h 6858000"/>
              <a:gd name="connsiteX754" fmla="*/ 5459407 w 7472601"/>
              <a:gd name="connsiteY754" fmla="*/ 940975 h 6858000"/>
              <a:gd name="connsiteX755" fmla="*/ 5374846 w 7472601"/>
              <a:gd name="connsiteY755" fmla="*/ 941988 h 6858000"/>
              <a:gd name="connsiteX756" fmla="*/ 5256105 w 7472601"/>
              <a:gd name="connsiteY756" fmla="*/ 945632 h 6858000"/>
              <a:gd name="connsiteX757" fmla="*/ 5107071 w 7472601"/>
              <a:gd name="connsiteY757" fmla="*/ 969720 h 6858000"/>
              <a:gd name="connsiteX758" fmla="*/ 4998681 w 7472601"/>
              <a:gd name="connsiteY758" fmla="*/ 988771 h 6858000"/>
              <a:gd name="connsiteX759" fmla="*/ 5870151 w 7472601"/>
              <a:gd name="connsiteY759" fmla="*/ 898890 h 6858000"/>
              <a:gd name="connsiteX760" fmla="*/ 5504425 w 7472601"/>
              <a:gd name="connsiteY760" fmla="*/ 848067 h 6858000"/>
              <a:gd name="connsiteX761" fmla="*/ 4968849 w 7472601"/>
              <a:gd name="connsiteY761" fmla="*/ 962318 h 6858000"/>
              <a:gd name="connsiteX762" fmla="*/ 5104039 w 7472601"/>
              <a:gd name="connsiteY762" fmla="*/ 940634 h 6858000"/>
              <a:gd name="connsiteX763" fmla="*/ 5256311 w 7472601"/>
              <a:gd name="connsiteY763" fmla="*/ 916490 h 6858000"/>
              <a:gd name="connsiteX764" fmla="*/ 5377381 w 7472601"/>
              <a:gd name="connsiteY764" fmla="*/ 912671 h 6858000"/>
              <a:gd name="connsiteX765" fmla="*/ 5460148 w 7472601"/>
              <a:gd name="connsiteY765" fmla="*/ 911442 h 6858000"/>
              <a:gd name="connsiteX766" fmla="*/ 5648971 w 7472601"/>
              <a:gd name="connsiteY766" fmla="*/ 891331 h 6858000"/>
              <a:gd name="connsiteX767" fmla="*/ 5844807 w 7472601"/>
              <a:gd name="connsiteY767" fmla="*/ 870718 h 6858000"/>
              <a:gd name="connsiteX768" fmla="*/ 5862975 w 7472601"/>
              <a:gd name="connsiteY768" fmla="*/ 869756 h 6858000"/>
              <a:gd name="connsiteX769" fmla="*/ 5920887 w 7472601"/>
              <a:gd name="connsiteY769" fmla="*/ 865929 h 6858000"/>
              <a:gd name="connsiteX770" fmla="*/ 5504425 w 7472601"/>
              <a:gd name="connsiteY770" fmla="*/ 848067 h 6858000"/>
              <a:gd name="connsiteX771" fmla="*/ 3607114 w 7472601"/>
              <a:gd name="connsiteY771" fmla="*/ 467441 h 6858000"/>
              <a:gd name="connsiteX772" fmla="*/ 3296242 w 7472601"/>
              <a:gd name="connsiteY772" fmla="*/ 807991 h 6858000"/>
              <a:gd name="connsiteX773" fmla="*/ 3174674 w 7472601"/>
              <a:gd name="connsiteY773" fmla="*/ 919759 h 6858000"/>
              <a:gd name="connsiteX774" fmla="*/ 3042978 w 7472601"/>
              <a:gd name="connsiteY774" fmla="*/ 1054894 h 6858000"/>
              <a:gd name="connsiteX775" fmla="*/ 2968914 w 7472601"/>
              <a:gd name="connsiteY775" fmla="*/ 1133756 h 6858000"/>
              <a:gd name="connsiteX776" fmla="*/ 3103823 w 7472601"/>
              <a:gd name="connsiteY776" fmla="*/ 1026814 h 6858000"/>
              <a:gd name="connsiteX777" fmla="*/ 3607114 w 7472601"/>
              <a:gd name="connsiteY777" fmla="*/ 467441 h 6858000"/>
              <a:gd name="connsiteX778" fmla="*/ 3744487 w 7472601"/>
              <a:gd name="connsiteY778" fmla="*/ 383136 h 6858000"/>
              <a:gd name="connsiteX779" fmla="*/ 3970213 w 7472601"/>
              <a:gd name="connsiteY779" fmla="*/ 995559 h 6858000"/>
              <a:gd name="connsiteX780" fmla="*/ 3744487 w 7472601"/>
              <a:gd name="connsiteY780" fmla="*/ 383136 h 6858000"/>
              <a:gd name="connsiteX781" fmla="*/ 3624562 w 7472601"/>
              <a:gd name="connsiteY781" fmla="*/ 367041 h 6858000"/>
              <a:gd name="connsiteX782" fmla="*/ 3489712 w 7472601"/>
              <a:gd name="connsiteY782" fmla="*/ 485386 h 6858000"/>
              <a:gd name="connsiteX783" fmla="*/ 3182994 w 7472601"/>
              <a:gd name="connsiteY783" fmla="*/ 828265 h 6858000"/>
              <a:gd name="connsiteX784" fmla="*/ 2892114 w 7472601"/>
              <a:gd name="connsiteY784" fmla="*/ 1172635 h 6858000"/>
              <a:gd name="connsiteX785" fmla="*/ 3021459 w 7472601"/>
              <a:gd name="connsiteY785" fmla="*/ 1035385 h 6858000"/>
              <a:gd name="connsiteX786" fmla="*/ 3153873 w 7472601"/>
              <a:gd name="connsiteY786" fmla="*/ 898971 h 6858000"/>
              <a:gd name="connsiteX787" fmla="*/ 3276511 w 7472601"/>
              <a:gd name="connsiteY787" fmla="*/ 786423 h 6858000"/>
              <a:gd name="connsiteX788" fmla="*/ 3584154 w 7472601"/>
              <a:gd name="connsiteY788" fmla="*/ 448218 h 6858000"/>
              <a:gd name="connsiteX789" fmla="*/ 3624562 w 7472601"/>
              <a:gd name="connsiteY789" fmla="*/ 367041 h 6858000"/>
              <a:gd name="connsiteX790" fmla="*/ 3766672 w 7472601"/>
              <a:gd name="connsiteY790" fmla="*/ 359429 h 6858000"/>
              <a:gd name="connsiteX791" fmla="*/ 3996338 w 7472601"/>
              <a:gd name="connsiteY791" fmla="*/ 968237 h 6858000"/>
              <a:gd name="connsiteX792" fmla="*/ 3766672 w 7472601"/>
              <a:gd name="connsiteY792" fmla="*/ 359429 h 6858000"/>
              <a:gd name="connsiteX793" fmla="*/ 5805386 w 7472601"/>
              <a:gd name="connsiteY793" fmla="*/ 239240 h 6858000"/>
              <a:gd name="connsiteX794" fmla="*/ 5736947 w 7472601"/>
              <a:gd name="connsiteY794" fmla="*/ 261367 h 6858000"/>
              <a:gd name="connsiteX795" fmla="*/ 5427012 w 7472601"/>
              <a:gd name="connsiteY795" fmla="*/ 311272 h 6858000"/>
              <a:gd name="connsiteX796" fmla="*/ 5147818 w 7472601"/>
              <a:gd name="connsiteY796" fmla="*/ 322112 h 6858000"/>
              <a:gd name="connsiteX797" fmla="*/ 5060854 w 7472601"/>
              <a:gd name="connsiteY797" fmla="*/ 311882 h 6858000"/>
              <a:gd name="connsiteX798" fmla="*/ 4945989 w 7472601"/>
              <a:gd name="connsiteY798" fmla="*/ 300516 h 6858000"/>
              <a:gd name="connsiteX799" fmla="*/ 5410479 w 7472601"/>
              <a:gd name="connsiteY799" fmla="*/ 348434 h 6858000"/>
              <a:gd name="connsiteX800" fmla="*/ 5805386 w 7472601"/>
              <a:gd name="connsiteY800" fmla="*/ 239240 h 6858000"/>
              <a:gd name="connsiteX801" fmla="*/ 5905192 w 7472601"/>
              <a:gd name="connsiteY801" fmla="*/ 163079 h 6858000"/>
              <a:gd name="connsiteX802" fmla="*/ 5865655 w 7472601"/>
              <a:gd name="connsiteY802" fmla="*/ 171901 h 6858000"/>
              <a:gd name="connsiteX803" fmla="*/ 5259740 w 7472601"/>
              <a:gd name="connsiteY803" fmla="*/ 257013 h 6858000"/>
              <a:gd name="connsiteX804" fmla="*/ 5208466 w 7472601"/>
              <a:gd name="connsiteY804" fmla="*/ 257550 h 6858000"/>
              <a:gd name="connsiteX805" fmla="*/ 4980204 w 7472601"/>
              <a:gd name="connsiteY805" fmla="*/ 271903 h 6858000"/>
              <a:gd name="connsiteX806" fmla="*/ 5068068 w 7472601"/>
              <a:gd name="connsiteY806" fmla="*/ 282244 h 6858000"/>
              <a:gd name="connsiteX807" fmla="*/ 5153231 w 7472601"/>
              <a:gd name="connsiteY807" fmla="*/ 292240 h 6858000"/>
              <a:gd name="connsiteX808" fmla="*/ 5426491 w 7472601"/>
              <a:gd name="connsiteY808" fmla="*/ 281128 h 6858000"/>
              <a:gd name="connsiteX809" fmla="*/ 5731212 w 7472601"/>
              <a:gd name="connsiteY809" fmla="*/ 231951 h 6858000"/>
              <a:gd name="connsiteX810" fmla="*/ 5905192 w 7472601"/>
              <a:gd name="connsiteY810" fmla="*/ 163079 h 6858000"/>
              <a:gd name="connsiteX811" fmla="*/ 5944437 w 7472601"/>
              <a:gd name="connsiteY811" fmla="*/ 113829 h 6858000"/>
              <a:gd name="connsiteX812" fmla="*/ 5825032 w 7472601"/>
              <a:gd name="connsiteY812" fmla="*/ 146405 h 6858000"/>
              <a:gd name="connsiteX813" fmla="*/ 4955599 w 7472601"/>
              <a:gd name="connsiteY813" fmla="*/ 247008 h 6858000"/>
              <a:gd name="connsiteX814" fmla="*/ 5210104 w 7472601"/>
              <a:gd name="connsiteY814" fmla="*/ 228123 h 6858000"/>
              <a:gd name="connsiteX815" fmla="*/ 5261015 w 7472601"/>
              <a:gd name="connsiteY815" fmla="*/ 227087 h 6858000"/>
              <a:gd name="connsiteX816" fmla="*/ 5861181 w 7472601"/>
              <a:gd name="connsiteY816" fmla="*/ 143093 h 6858000"/>
              <a:gd name="connsiteX817" fmla="*/ 5961252 w 7472601"/>
              <a:gd name="connsiteY817" fmla="*/ 114820 h 6858000"/>
              <a:gd name="connsiteX818" fmla="*/ 5944437 w 7472601"/>
              <a:gd name="connsiteY818" fmla="*/ 113829 h 6858000"/>
              <a:gd name="connsiteX819" fmla="*/ 3882765 w 7472601"/>
              <a:gd name="connsiteY819" fmla="*/ 0 h 6858000"/>
              <a:gd name="connsiteX820" fmla="*/ 3995099 w 7472601"/>
              <a:gd name="connsiteY820" fmla="*/ 0 h 6858000"/>
              <a:gd name="connsiteX821" fmla="*/ 4163818 w 7472601"/>
              <a:gd name="connsiteY821" fmla="*/ 234104 h 6858000"/>
              <a:gd name="connsiteX822" fmla="*/ 4172099 w 7472601"/>
              <a:gd name="connsiteY822" fmla="*/ 234207 h 6858000"/>
              <a:gd name="connsiteX823" fmla="*/ 4784282 w 7472601"/>
              <a:gd name="connsiteY823" fmla="*/ 276561 h 6858000"/>
              <a:gd name="connsiteX824" fmla="*/ 4801687 w 7472601"/>
              <a:gd name="connsiteY824" fmla="*/ 267764 h 6858000"/>
              <a:gd name="connsiteX825" fmla="*/ 6082788 w 7472601"/>
              <a:gd name="connsiteY825" fmla="*/ 64119 h 6858000"/>
              <a:gd name="connsiteX826" fmla="*/ 6099442 w 7472601"/>
              <a:gd name="connsiteY826" fmla="*/ 82568 h 6858000"/>
              <a:gd name="connsiteX827" fmla="*/ 4804137 w 7472601"/>
              <a:gd name="connsiteY827" fmla="*/ 320931 h 6858000"/>
              <a:gd name="connsiteX828" fmla="*/ 4227047 w 7472601"/>
              <a:gd name="connsiteY828" fmla="*/ 313415 h 6858000"/>
              <a:gd name="connsiteX829" fmla="*/ 4346041 w 7472601"/>
              <a:gd name="connsiteY829" fmla="*/ 456086 h 6858000"/>
              <a:gd name="connsiteX830" fmla="*/ 4870967 w 7472601"/>
              <a:gd name="connsiteY830" fmla="*/ 963061 h 6858000"/>
              <a:gd name="connsiteX831" fmla="*/ 4889647 w 7472601"/>
              <a:gd name="connsiteY831" fmla="*/ 957147 h 6858000"/>
              <a:gd name="connsiteX832" fmla="*/ 5422504 w 7472601"/>
              <a:gd name="connsiteY832" fmla="*/ 805191 h 6858000"/>
              <a:gd name="connsiteX833" fmla="*/ 6087656 w 7472601"/>
              <a:gd name="connsiteY833" fmla="*/ 826703 h 6858000"/>
              <a:gd name="connsiteX834" fmla="*/ 6058717 w 7472601"/>
              <a:gd name="connsiteY834" fmla="*/ 865992 h 6858000"/>
              <a:gd name="connsiteX835" fmla="*/ 4974153 w 7472601"/>
              <a:gd name="connsiteY835" fmla="*/ 1045456 h 6858000"/>
              <a:gd name="connsiteX836" fmla="*/ 5627835 w 7472601"/>
              <a:gd name="connsiteY836" fmla="*/ 1472077 h 6858000"/>
              <a:gd name="connsiteX837" fmla="*/ 5629817 w 7472601"/>
              <a:gd name="connsiteY837" fmla="*/ 1471412 h 6858000"/>
              <a:gd name="connsiteX838" fmla="*/ 5634124 w 7472601"/>
              <a:gd name="connsiteY838" fmla="*/ 1470572 h 6858000"/>
              <a:gd name="connsiteX839" fmla="*/ 5755832 w 7472601"/>
              <a:gd name="connsiteY839" fmla="*/ 1383886 h 6858000"/>
              <a:gd name="connsiteX840" fmla="*/ 6014186 w 7472601"/>
              <a:gd name="connsiteY840" fmla="*/ 1279799 h 6858000"/>
              <a:gd name="connsiteX841" fmla="*/ 6901619 w 7472601"/>
              <a:gd name="connsiteY841" fmla="*/ 1047874 h 6858000"/>
              <a:gd name="connsiteX842" fmla="*/ 6931566 w 7472601"/>
              <a:gd name="connsiteY842" fmla="*/ 1062034 h 6858000"/>
              <a:gd name="connsiteX843" fmla="*/ 5790982 w 7472601"/>
              <a:gd name="connsiteY843" fmla="*/ 1561380 h 6858000"/>
              <a:gd name="connsiteX844" fmla="*/ 6188971 w 7472601"/>
              <a:gd name="connsiteY844" fmla="*/ 1755168 h 6858000"/>
              <a:gd name="connsiteX845" fmla="*/ 6202446 w 7472601"/>
              <a:gd name="connsiteY845" fmla="*/ 1752268 h 6858000"/>
              <a:gd name="connsiteX846" fmla="*/ 7179560 w 7472601"/>
              <a:gd name="connsiteY846" fmla="*/ 1467551 h 6858000"/>
              <a:gd name="connsiteX847" fmla="*/ 7158730 w 7472601"/>
              <a:gd name="connsiteY847" fmla="*/ 1507835 h 6858000"/>
              <a:gd name="connsiteX848" fmla="*/ 6326959 w 7472601"/>
              <a:gd name="connsiteY848" fmla="*/ 1817686 h 6858000"/>
              <a:gd name="connsiteX849" fmla="*/ 6537433 w 7472601"/>
              <a:gd name="connsiteY849" fmla="*/ 1907790 h 6858000"/>
              <a:gd name="connsiteX850" fmla="*/ 6550221 w 7472601"/>
              <a:gd name="connsiteY850" fmla="*/ 1910729 h 6858000"/>
              <a:gd name="connsiteX851" fmla="*/ 6964438 w 7472601"/>
              <a:gd name="connsiteY851" fmla="*/ 2209505 h 6858000"/>
              <a:gd name="connsiteX852" fmla="*/ 7367862 w 7472601"/>
              <a:gd name="connsiteY852" fmla="*/ 2806833 h 6858000"/>
              <a:gd name="connsiteX853" fmla="*/ 7364329 w 7472601"/>
              <a:gd name="connsiteY853" fmla="*/ 2826907 h 6858000"/>
              <a:gd name="connsiteX854" fmla="*/ 7290545 w 7472601"/>
              <a:gd name="connsiteY854" fmla="*/ 2850663 h 6858000"/>
              <a:gd name="connsiteX855" fmla="*/ 6472036 w 7472601"/>
              <a:gd name="connsiteY855" fmla="*/ 1959003 h 6858000"/>
              <a:gd name="connsiteX856" fmla="*/ 5792897 w 7472601"/>
              <a:gd name="connsiteY856" fmla="*/ 1647747 h 6858000"/>
              <a:gd name="connsiteX857" fmla="*/ 5842751 w 7472601"/>
              <a:gd name="connsiteY857" fmla="*/ 1816112 h 6858000"/>
              <a:gd name="connsiteX858" fmla="*/ 5847424 w 7472601"/>
              <a:gd name="connsiteY858" fmla="*/ 1815776 h 6858000"/>
              <a:gd name="connsiteX859" fmla="*/ 6399821 w 7472601"/>
              <a:gd name="connsiteY859" fmla="*/ 2344799 h 6858000"/>
              <a:gd name="connsiteX860" fmla="*/ 6323232 w 7472601"/>
              <a:gd name="connsiteY860" fmla="*/ 2389634 h 6858000"/>
              <a:gd name="connsiteX861" fmla="*/ 5942958 w 7472601"/>
              <a:gd name="connsiteY861" fmla="*/ 2077708 h 6858000"/>
              <a:gd name="connsiteX862" fmla="*/ 5921559 w 7472601"/>
              <a:gd name="connsiteY862" fmla="*/ 2378596 h 6858000"/>
              <a:gd name="connsiteX863" fmla="*/ 5817651 w 7472601"/>
              <a:gd name="connsiteY863" fmla="*/ 3023919 h 6858000"/>
              <a:gd name="connsiteX864" fmla="*/ 5729634 w 7472601"/>
              <a:gd name="connsiteY864" fmla="*/ 3051849 h 6858000"/>
              <a:gd name="connsiteX865" fmla="*/ 5611018 w 7472601"/>
              <a:gd name="connsiteY865" fmla="*/ 2316769 h 6858000"/>
              <a:gd name="connsiteX866" fmla="*/ 5687608 w 7472601"/>
              <a:gd name="connsiteY866" fmla="*/ 2039972 h 6858000"/>
              <a:gd name="connsiteX867" fmla="*/ 5657554 w 7472601"/>
              <a:gd name="connsiteY867" fmla="*/ 1576445 h 6858000"/>
              <a:gd name="connsiteX868" fmla="*/ 5150475 w 7472601"/>
              <a:gd name="connsiteY868" fmla="*/ 1274012 h 6858000"/>
              <a:gd name="connsiteX869" fmla="*/ 5349142 w 7472601"/>
              <a:gd name="connsiteY869" fmla="*/ 2204405 h 6858000"/>
              <a:gd name="connsiteX870" fmla="*/ 5262214 w 7472601"/>
              <a:gd name="connsiteY870" fmla="*/ 2233836 h 6858000"/>
              <a:gd name="connsiteX871" fmla="*/ 4981539 w 7472601"/>
              <a:gd name="connsiteY871" fmla="*/ 1542201 h 6858000"/>
              <a:gd name="connsiteX872" fmla="*/ 4958461 w 7472601"/>
              <a:gd name="connsiteY872" fmla="*/ 1136957 h 6858000"/>
              <a:gd name="connsiteX873" fmla="*/ 4655015 w 7472601"/>
              <a:gd name="connsiteY873" fmla="*/ 891426 h 6858000"/>
              <a:gd name="connsiteX874" fmla="*/ 4348002 w 7472601"/>
              <a:gd name="connsiteY874" fmla="*/ 2205895 h 6858000"/>
              <a:gd name="connsiteX875" fmla="*/ 4262250 w 7472601"/>
              <a:gd name="connsiteY875" fmla="*/ 2219972 h 6858000"/>
              <a:gd name="connsiteX876" fmla="*/ 4550611 w 7472601"/>
              <a:gd name="connsiteY876" fmla="*/ 817540 h 6858000"/>
              <a:gd name="connsiteX877" fmla="*/ 4564418 w 7472601"/>
              <a:gd name="connsiteY877" fmla="*/ 808293 h 6858000"/>
              <a:gd name="connsiteX878" fmla="*/ 4266388 w 7472601"/>
              <a:gd name="connsiteY878" fmla="*/ 500083 h 6858000"/>
              <a:gd name="connsiteX879" fmla="*/ 4032842 w 7472601"/>
              <a:gd name="connsiteY879" fmla="*/ 211809 h 6858000"/>
              <a:gd name="connsiteX880" fmla="*/ 3882765 w 7472601"/>
              <a:gd name="connsiteY880" fmla="*/ 0 h 6858000"/>
              <a:gd name="connsiteX881" fmla="*/ 3721337 w 7472601"/>
              <a:gd name="connsiteY881" fmla="*/ 0 h 6858000"/>
              <a:gd name="connsiteX882" fmla="*/ 3797544 w 7472601"/>
              <a:gd name="connsiteY882" fmla="*/ 0 h 6858000"/>
              <a:gd name="connsiteX883" fmla="*/ 3775734 w 7472601"/>
              <a:gd name="connsiteY883" fmla="*/ 95131 h 6858000"/>
              <a:gd name="connsiteX884" fmla="*/ 3724807 w 7472601"/>
              <a:gd name="connsiteY884" fmla="*/ 272257 h 6858000"/>
              <a:gd name="connsiteX885" fmla="*/ 3726844 w 7472601"/>
              <a:gd name="connsiteY885" fmla="*/ 282988 h 6858000"/>
              <a:gd name="connsiteX886" fmla="*/ 3742664 w 7472601"/>
              <a:gd name="connsiteY886" fmla="*/ 279918 h 6858000"/>
              <a:gd name="connsiteX887" fmla="*/ 4103910 w 7472601"/>
              <a:gd name="connsiteY887" fmla="*/ 1161917 h 6858000"/>
              <a:gd name="connsiteX888" fmla="*/ 4020269 w 7472601"/>
              <a:gd name="connsiteY888" fmla="*/ 1200406 h 6858000"/>
              <a:gd name="connsiteX889" fmla="*/ 3674882 w 7472601"/>
              <a:gd name="connsiteY889" fmla="*/ 488524 h 6858000"/>
              <a:gd name="connsiteX890" fmla="*/ 3132682 w 7472601"/>
              <a:gd name="connsiteY890" fmla="*/ 1072284 h 6858000"/>
              <a:gd name="connsiteX891" fmla="*/ 2716346 w 7472601"/>
              <a:gd name="connsiteY891" fmla="*/ 1276376 h 6858000"/>
              <a:gd name="connsiteX892" fmla="*/ 2716772 w 7472601"/>
              <a:gd name="connsiteY892" fmla="*/ 1255462 h 6858000"/>
              <a:gd name="connsiteX893" fmla="*/ 3471096 w 7472601"/>
              <a:gd name="connsiteY893" fmla="*/ 437072 h 6858000"/>
              <a:gd name="connsiteX894" fmla="*/ 3639057 w 7472601"/>
              <a:gd name="connsiteY894" fmla="*/ 286334 h 6858000"/>
              <a:gd name="connsiteX895" fmla="*/ 3640309 w 7472601"/>
              <a:gd name="connsiteY895" fmla="*/ 284664 h 6858000"/>
              <a:gd name="connsiteX896" fmla="*/ 3646022 w 7472601"/>
              <a:gd name="connsiteY896" fmla="*/ 276711 h 6858000"/>
              <a:gd name="connsiteX897" fmla="*/ 3707943 w 7472601"/>
              <a:gd name="connsiteY897" fmla="*/ 65958 h 6858000"/>
              <a:gd name="connsiteX898" fmla="*/ 3721337 w 7472601"/>
              <a:gd name="connsiteY898" fmla="*/ 0 h 6858000"/>
              <a:gd name="connsiteX899" fmla="*/ 2867960 w 7472601"/>
              <a:gd name="connsiteY899" fmla="*/ 0 h 6858000"/>
              <a:gd name="connsiteX900" fmla="*/ 2926351 w 7472601"/>
              <a:gd name="connsiteY900" fmla="*/ 0 h 6858000"/>
              <a:gd name="connsiteX901" fmla="*/ 2902823 w 7472601"/>
              <a:gd name="connsiteY901" fmla="*/ 262929 h 6858000"/>
              <a:gd name="connsiteX902" fmla="*/ 2940663 w 7472601"/>
              <a:gd name="connsiteY902" fmla="*/ 140884 h 6858000"/>
              <a:gd name="connsiteX903" fmla="*/ 2947039 w 7472601"/>
              <a:gd name="connsiteY903" fmla="*/ 122524 h 6858000"/>
              <a:gd name="connsiteX904" fmla="*/ 2984316 w 7472601"/>
              <a:gd name="connsiteY904" fmla="*/ 0 h 6858000"/>
              <a:gd name="connsiteX905" fmla="*/ 3016114 w 7472601"/>
              <a:gd name="connsiteY905" fmla="*/ 0 h 6858000"/>
              <a:gd name="connsiteX906" fmla="*/ 2979949 w 7472601"/>
              <a:gd name="connsiteY906" fmla="*/ 119274 h 6858000"/>
              <a:gd name="connsiteX907" fmla="*/ 3023879 w 7472601"/>
              <a:gd name="connsiteY907" fmla="*/ 0 h 6858000"/>
              <a:gd name="connsiteX908" fmla="*/ 3105400 w 7472601"/>
              <a:gd name="connsiteY908" fmla="*/ 0 h 6858000"/>
              <a:gd name="connsiteX909" fmla="*/ 3094669 w 7472601"/>
              <a:gd name="connsiteY909" fmla="*/ 30308 h 6858000"/>
              <a:gd name="connsiteX910" fmla="*/ 2901945 w 7472601"/>
              <a:gd name="connsiteY910" fmla="*/ 466538 h 6858000"/>
              <a:gd name="connsiteX911" fmla="*/ 2815209 w 7472601"/>
              <a:gd name="connsiteY911" fmla="*/ 497361 h 6858000"/>
              <a:gd name="connsiteX912" fmla="*/ 2844845 w 7472601"/>
              <a:gd name="connsiteY912" fmla="*/ 127638 h 6858000"/>
              <a:gd name="connsiteX913" fmla="*/ 2867960 w 7472601"/>
              <a:gd name="connsiteY913" fmla="*/ 0 h 6858000"/>
              <a:gd name="connsiteX914" fmla="*/ 1057230 w 7472601"/>
              <a:gd name="connsiteY914" fmla="*/ 0 h 6858000"/>
              <a:gd name="connsiteX915" fmla="*/ 1111003 w 7472601"/>
              <a:gd name="connsiteY915" fmla="*/ 0 h 6858000"/>
              <a:gd name="connsiteX916" fmla="*/ 1125553 w 7472601"/>
              <a:gd name="connsiteY916" fmla="*/ 52588 h 6858000"/>
              <a:gd name="connsiteX917" fmla="*/ 1304276 w 7472601"/>
              <a:gd name="connsiteY917" fmla="*/ 476275 h 6858000"/>
              <a:gd name="connsiteX918" fmla="*/ 1492066 w 7472601"/>
              <a:gd name="connsiteY918" fmla="*/ 886333 h 6858000"/>
              <a:gd name="connsiteX919" fmla="*/ 1423698 w 7472601"/>
              <a:gd name="connsiteY919" fmla="*/ 710817 h 6858000"/>
              <a:gd name="connsiteX920" fmla="*/ 1357609 w 7472601"/>
              <a:gd name="connsiteY920" fmla="*/ 532892 h 6858000"/>
              <a:gd name="connsiteX921" fmla="*/ 1309550 w 7472601"/>
              <a:gd name="connsiteY921" fmla="*/ 374031 h 6858000"/>
              <a:gd name="connsiteX922" fmla="*/ 1193673 w 7472601"/>
              <a:gd name="connsiteY922" fmla="*/ 49533 h 6858000"/>
              <a:gd name="connsiteX923" fmla="*/ 1164391 w 7472601"/>
              <a:gd name="connsiteY923" fmla="*/ 0 h 6858000"/>
              <a:gd name="connsiteX924" fmla="*/ 1200666 w 7472601"/>
              <a:gd name="connsiteY924" fmla="*/ 0 h 6858000"/>
              <a:gd name="connsiteX925" fmla="*/ 1223408 w 7472601"/>
              <a:gd name="connsiteY925" fmla="*/ 38996 h 6858000"/>
              <a:gd name="connsiteX926" fmla="*/ 1339635 w 7472601"/>
              <a:gd name="connsiteY926" fmla="*/ 365517 h 6858000"/>
              <a:gd name="connsiteX927" fmla="*/ 1387469 w 7472601"/>
              <a:gd name="connsiteY927" fmla="*/ 523079 h 6858000"/>
              <a:gd name="connsiteX928" fmla="*/ 1452685 w 7472601"/>
              <a:gd name="connsiteY928" fmla="*/ 699806 h 6858000"/>
              <a:gd name="connsiteX929" fmla="*/ 1492092 w 7472601"/>
              <a:gd name="connsiteY929" fmla="*/ 800424 h 6858000"/>
              <a:gd name="connsiteX930" fmla="*/ 1455302 w 7472601"/>
              <a:gd name="connsiteY930" fmla="*/ 632913 h 6858000"/>
              <a:gd name="connsiteX931" fmla="*/ 1222336 w 7472601"/>
              <a:gd name="connsiteY931" fmla="*/ 9480 h 6858000"/>
              <a:gd name="connsiteX932" fmla="*/ 1214634 w 7472601"/>
              <a:gd name="connsiteY932" fmla="*/ 0 h 6858000"/>
              <a:gd name="connsiteX933" fmla="*/ 1289827 w 7472601"/>
              <a:gd name="connsiteY933" fmla="*/ 0 h 6858000"/>
              <a:gd name="connsiteX934" fmla="*/ 1321076 w 7472601"/>
              <a:gd name="connsiteY934" fmla="*/ 59722 h 6858000"/>
              <a:gd name="connsiteX935" fmla="*/ 1512579 w 7472601"/>
              <a:gd name="connsiteY935" fmla="*/ 626441 h 6858000"/>
              <a:gd name="connsiteX936" fmla="*/ 1506076 w 7472601"/>
              <a:gd name="connsiteY936" fmla="*/ 1089289 h 6858000"/>
              <a:gd name="connsiteX937" fmla="*/ 1486346 w 7472601"/>
              <a:gd name="connsiteY937" fmla="*/ 1079919 h 6858000"/>
              <a:gd name="connsiteX938" fmla="*/ 1070511 w 7472601"/>
              <a:gd name="connsiteY938" fmla="*/ 48609 h 6858000"/>
              <a:gd name="connsiteX939" fmla="*/ 1057230 w 7472601"/>
              <a:gd name="connsiteY939" fmla="*/ 0 h 6858000"/>
              <a:gd name="connsiteX940" fmla="*/ 43151 w 7472601"/>
              <a:gd name="connsiteY940" fmla="*/ 0 h 6858000"/>
              <a:gd name="connsiteX941" fmla="*/ 95283 w 7472601"/>
              <a:gd name="connsiteY941" fmla="*/ 0 h 6858000"/>
              <a:gd name="connsiteX942" fmla="*/ 300708 w 7472601"/>
              <a:gd name="connsiteY942" fmla="*/ 154571 h 6858000"/>
              <a:gd name="connsiteX943" fmla="*/ 530414 w 7472601"/>
              <a:gd name="connsiteY943" fmla="*/ 354673 h 6858000"/>
              <a:gd name="connsiteX944" fmla="*/ 333785 w 7472601"/>
              <a:gd name="connsiteY944" fmla="*/ 161564 h 6858000"/>
              <a:gd name="connsiteX945" fmla="*/ 147005 w 7472601"/>
              <a:gd name="connsiteY945" fmla="*/ 0 h 6858000"/>
              <a:gd name="connsiteX946" fmla="*/ 272509 w 7472601"/>
              <a:gd name="connsiteY946" fmla="*/ 0 h 6858000"/>
              <a:gd name="connsiteX947" fmla="*/ 326276 w 7472601"/>
              <a:gd name="connsiteY947" fmla="*/ 45847 h 6858000"/>
              <a:gd name="connsiteX948" fmla="*/ 823759 w 7472601"/>
              <a:gd name="connsiteY948" fmla="*/ 574145 h 6858000"/>
              <a:gd name="connsiteX949" fmla="*/ 811254 w 7472601"/>
              <a:gd name="connsiteY949" fmla="*/ 665546 h 6858000"/>
              <a:gd name="connsiteX950" fmla="*/ 154042 w 7472601"/>
              <a:gd name="connsiteY950" fmla="*/ 261522 h 6858000"/>
              <a:gd name="connsiteX951" fmla="*/ 13550 w 7472601"/>
              <a:gd name="connsiteY951" fmla="*/ 158423 h 6858000"/>
              <a:gd name="connsiteX952" fmla="*/ 0 w 7472601"/>
              <a:gd name="connsiteY952" fmla="*/ 146618 h 6858000"/>
              <a:gd name="connsiteX953" fmla="*/ 0 w 7472601"/>
              <a:gd name="connsiteY953" fmla="*/ 59161 h 6858000"/>
              <a:gd name="connsiteX954" fmla="*/ 45427 w 7472601"/>
              <a:gd name="connsiteY954" fmla="*/ 101078 h 6858000"/>
              <a:gd name="connsiteX955" fmla="*/ 630103 w 7472601"/>
              <a:gd name="connsiteY955" fmla="*/ 485885 h 6858000"/>
              <a:gd name="connsiteX956" fmla="*/ 532040 w 7472601"/>
              <a:gd name="connsiteY956" fmla="*/ 399359 h 6858000"/>
              <a:gd name="connsiteX957" fmla="*/ 517618 w 7472601"/>
              <a:gd name="connsiteY957" fmla="*/ 385726 h 6858000"/>
              <a:gd name="connsiteX958" fmla="*/ 285074 w 7472601"/>
              <a:gd name="connsiteY958" fmla="*/ 182755 h 6858000"/>
              <a:gd name="connsiteX959" fmla="*/ 43151 w 7472601"/>
              <a:gd name="connsiteY959" fmla="*/ 0 h 6858000"/>
              <a:gd name="connsiteX0" fmla="*/ 369702 w 7467663"/>
              <a:gd name="connsiteY0" fmla="*/ 6712169 h 6858000"/>
              <a:gd name="connsiteX1" fmla="*/ 366575 w 7467663"/>
              <a:gd name="connsiteY1" fmla="*/ 6715556 h 6858000"/>
              <a:gd name="connsiteX2" fmla="*/ 371637 w 7467663"/>
              <a:gd name="connsiteY2" fmla="*/ 6713954 h 6858000"/>
              <a:gd name="connsiteX3" fmla="*/ 369702 w 7467663"/>
              <a:gd name="connsiteY3" fmla="*/ 6712169 h 6858000"/>
              <a:gd name="connsiteX4" fmla="*/ 7088673 w 7467663"/>
              <a:gd name="connsiteY4" fmla="*/ 6610396 h 6858000"/>
              <a:gd name="connsiteX5" fmla="*/ 7440138 w 7467663"/>
              <a:gd name="connsiteY5" fmla="*/ 6622648 h 6858000"/>
              <a:gd name="connsiteX6" fmla="*/ 7467600 w 7467663"/>
              <a:gd name="connsiteY6" fmla="*/ 6628217 h 6858000"/>
              <a:gd name="connsiteX7" fmla="*/ 7467600 w 7467663"/>
              <a:gd name="connsiteY7" fmla="*/ 6668575 h 6858000"/>
              <a:gd name="connsiteX8" fmla="*/ 7392322 w 7467663"/>
              <a:gd name="connsiteY8" fmla="*/ 6658238 h 6858000"/>
              <a:gd name="connsiteX9" fmla="*/ 7467600 w 7467663"/>
              <a:gd name="connsiteY9" fmla="*/ 6683873 h 6858000"/>
              <a:gd name="connsiteX10" fmla="*/ 7467600 w 7467663"/>
              <a:gd name="connsiteY10" fmla="*/ 6714215 h 6858000"/>
              <a:gd name="connsiteX11" fmla="*/ 7447383 w 7467663"/>
              <a:gd name="connsiteY11" fmla="*/ 6707202 h 6858000"/>
              <a:gd name="connsiteX12" fmla="*/ 7289862 w 7467663"/>
              <a:gd name="connsiteY12" fmla="*/ 6659827 h 6858000"/>
              <a:gd name="connsiteX13" fmla="*/ 7434024 w 7467663"/>
              <a:gd name="connsiteY13" fmla="*/ 6722130 h 6858000"/>
              <a:gd name="connsiteX14" fmla="*/ 7467600 w 7467663"/>
              <a:gd name="connsiteY14" fmla="*/ 6736157 h 6858000"/>
              <a:gd name="connsiteX15" fmla="*/ 7467600 w 7467663"/>
              <a:gd name="connsiteY15" fmla="*/ 6767913 h 6858000"/>
              <a:gd name="connsiteX16" fmla="*/ 7392158 w 7467663"/>
              <a:gd name="connsiteY16" fmla="*/ 6771365 h 6858000"/>
              <a:gd name="connsiteX17" fmla="*/ 7467600 w 7467663"/>
              <a:gd name="connsiteY17" fmla="*/ 6805948 h 6858000"/>
              <a:gd name="connsiteX18" fmla="*/ 7467600 w 7467663"/>
              <a:gd name="connsiteY18" fmla="*/ 6831490 h 6858000"/>
              <a:gd name="connsiteX19" fmla="*/ 7410696 w 7467663"/>
              <a:gd name="connsiteY19" fmla="*/ 6803861 h 6858000"/>
              <a:gd name="connsiteX20" fmla="*/ 7088673 w 7467663"/>
              <a:gd name="connsiteY20" fmla="*/ 6610396 h 6858000"/>
              <a:gd name="connsiteX21" fmla="*/ 1019354 w 7467663"/>
              <a:gd name="connsiteY21" fmla="*/ 6315006 h 6858000"/>
              <a:gd name="connsiteX22" fmla="*/ 441046 w 7467663"/>
              <a:gd name="connsiteY22" fmla="*/ 6691153 h 6858000"/>
              <a:gd name="connsiteX23" fmla="*/ 1019354 w 7467663"/>
              <a:gd name="connsiteY23" fmla="*/ 6315006 h 6858000"/>
              <a:gd name="connsiteX24" fmla="*/ 991680 w 7467663"/>
              <a:gd name="connsiteY24" fmla="*/ 6298413 h 6858000"/>
              <a:gd name="connsiteX25" fmla="*/ 409060 w 7467663"/>
              <a:gd name="connsiteY25" fmla="*/ 6671470 h 6858000"/>
              <a:gd name="connsiteX26" fmla="*/ 991680 w 7467663"/>
              <a:gd name="connsiteY26" fmla="*/ 6298413 h 6858000"/>
              <a:gd name="connsiteX27" fmla="*/ 103333 w 7467663"/>
              <a:gd name="connsiteY27" fmla="*/ 5699602 h 6858000"/>
              <a:gd name="connsiteX28" fmla="*/ 233938 w 7467663"/>
              <a:gd name="connsiteY28" fmla="*/ 5809416 h 6858000"/>
              <a:gd name="connsiteX29" fmla="*/ 883580 w 7467663"/>
              <a:gd name="connsiteY29" fmla="*/ 6180710 h 6858000"/>
              <a:gd name="connsiteX30" fmla="*/ 487337 w 7467663"/>
              <a:gd name="connsiteY30" fmla="*/ 5950182 h 6858000"/>
              <a:gd name="connsiteX31" fmla="*/ 354051 w 7467663"/>
              <a:gd name="connsiteY31" fmla="*/ 5854912 h 6858000"/>
              <a:gd name="connsiteX32" fmla="*/ 195436 w 7467663"/>
              <a:gd name="connsiteY32" fmla="*/ 5755068 h 6858000"/>
              <a:gd name="connsiteX33" fmla="*/ 103333 w 7467663"/>
              <a:gd name="connsiteY33" fmla="*/ 5699602 h 6858000"/>
              <a:gd name="connsiteX34" fmla="*/ 5539432 w 7467663"/>
              <a:gd name="connsiteY34" fmla="*/ 5642928 h 6858000"/>
              <a:gd name="connsiteX35" fmla="*/ 5555462 w 7467663"/>
              <a:gd name="connsiteY35" fmla="*/ 5694454 h 6858000"/>
              <a:gd name="connsiteX36" fmla="*/ 5828270 w 7467663"/>
              <a:gd name="connsiteY36" fmla="*/ 6320663 h 6858000"/>
              <a:gd name="connsiteX37" fmla="*/ 5947416 w 7467663"/>
              <a:gd name="connsiteY37" fmla="*/ 6574846 h 6858000"/>
              <a:gd name="connsiteX38" fmla="*/ 5539432 w 7467663"/>
              <a:gd name="connsiteY38" fmla="*/ 5642928 h 6858000"/>
              <a:gd name="connsiteX39" fmla="*/ 51253 w 7467663"/>
              <a:gd name="connsiteY39" fmla="*/ 5631825 h 6858000"/>
              <a:gd name="connsiteX40" fmla="*/ 211622 w 7467663"/>
              <a:gd name="connsiteY40" fmla="*/ 5728803 h 6858000"/>
              <a:gd name="connsiteX41" fmla="*/ 371652 w 7467663"/>
              <a:gd name="connsiteY41" fmla="*/ 5829062 h 6858000"/>
              <a:gd name="connsiteX42" fmla="*/ 505903 w 7467663"/>
              <a:gd name="connsiteY42" fmla="*/ 5925221 h 6858000"/>
              <a:gd name="connsiteX43" fmla="*/ 899240 w 7467663"/>
              <a:gd name="connsiteY43" fmla="*/ 6153068 h 6858000"/>
              <a:gd name="connsiteX44" fmla="*/ 988114 w 7467663"/>
              <a:gd name="connsiteY44" fmla="*/ 6174204 h 6858000"/>
              <a:gd name="connsiteX45" fmla="*/ 845971 w 7467663"/>
              <a:gd name="connsiteY45" fmla="*/ 6067177 h 6858000"/>
              <a:gd name="connsiteX46" fmla="*/ 448057 w 7467663"/>
              <a:gd name="connsiteY46" fmla="*/ 5841376 h 6858000"/>
              <a:gd name="connsiteX47" fmla="*/ 51253 w 7467663"/>
              <a:gd name="connsiteY47" fmla="*/ 5631825 h 6858000"/>
              <a:gd name="connsiteX48" fmla="*/ 2606687 w 7467663"/>
              <a:gd name="connsiteY48" fmla="*/ 5630718 h 6858000"/>
              <a:gd name="connsiteX49" fmla="*/ 2645658 w 7467663"/>
              <a:gd name="connsiteY49" fmla="*/ 6640259 h 6858000"/>
              <a:gd name="connsiteX50" fmla="*/ 2606687 w 7467663"/>
              <a:gd name="connsiteY50" fmla="*/ 5630718 h 6858000"/>
              <a:gd name="connsiteX51" fmla="*/ 3642057 w 7467663"/>
              <a:gd name="connsiteY51" fmla="*/ 5573487 h 6858000"/>
              <a:gd name="connsiteX52" fmla="*/ 3632981 w 7467663"/>
              <a:gd name="connsiteY52" fmla="*/ 5579437 h 6858000"/>
              <a:gd name="connsiteX53" fmla="*/ 3382436 w 7467663"/>
              <a:gd name="connsiteY53" fmla="*/ 5952726 h 6858000"/>
              <a:gd name="connsiteX54" fmla="*/ 3191929 w 7467663"/>
              <a:gd name="connsiteY54" fmla="*/ 6662669 h 6858000"/>
              <a:gd name="connsiteX55" fmla="*/ 3369898 w 7467663"/>
              <a:gd name="connsiteY55" fmla="*/ 6081771 h 6858000"/>
              <a:gd name="connsiteX56" fmla="*/ 3642057 w 7467663"/>
              <a:gd name="connsiteY56" fmla="*/ 5573487 h 6858000"/>
              <a:gd name="connsiteX57" fmla="*/ 2650666 w 7467663"/>
              <a:gd name="connsiteY57" fmla="*/ 5530686 h 6858000"/>
              <a:gd name="connsiteX58" fmla="*/ 2650249 w 7467663"/>
              <a:gd name="connsiteY58" fmla="*/ 5532101 h 6858000"/>
              <a:gd name="connsiteX59" fmla="*/ 2663808 w 7467663"/>
              <a:gd name="connsiteY59" fmla="*/ 6535215 h 6858000"/>
              <a:gd name="connsiteX60" fmla="*/ 2665418 w 7467663"/>
              <a:gd name="connsiteY60" fmla="*/ 6132756 h 6858000"/>
              <a:gd name="connsiteX61" fmla="*/ 2650666 w 7467663"/>
              <a:gd name="connsiteY61" fmla="*/ 5530686 h 6858000"/>
              <a:gd name="connsiteX62" fmla="*/ 2680277 w 7467663"/>
              <a:gd name="connsiteY62" fmla="*/ 5479204 h 6858000"/>
              <a:gd name="connsiteX63" fmla="*/ 2678972 w 7467663"/>
              <a:gd name="connsiteY63" fmla="*/ 5481582 h 6858000"/>
              <a:gd name="connsiteX64" fmla="*/ 2696666 w 7467663"/>
              <a:gd name="connsiteY64" fmla="*/ 6133836 h 6858000"/>
              <a:gd name="connsiteX65" fmla="*/ 2695769 w 7467663"/>
              <a:gd name="connsiteY65" fmla="*/ 6390955 h 6858000"/>
              <a:gd name="connsiteX66" fmla="*/ 2739893 w 7467663"/>
              <a:gd name="connsiteY66" fmla="*/ 6108357 h 6858000"/>
              <a:gd name="connsiteX67" fmla="*/ 2680277 w 7467663"/>
              <a:gd name="connsiteY67" fmla="*/ 5479204 h 6858000"/>
              <a:gd name="connsiteX68" fmla="*/ 1132195 w 7467663"/>
              <a:gd name="connsiteY68" fmla="*/ 5467980 h 6858000"/>
              <a:gd name="connsiteX69" fmla="*/ 1679056 w 7467663"/>
              <a:gd name="connsiteY69" fmla="*/ 5516907 h 6858000"/>
              <a:gd name="connsiteX70" fmla="*/ 2128648 w 7467663"/>
              <a:gd name="connsiteY70" fmla="*/ 5474249 h 6858000"/>
              <a:gd name="connsiteX71" fmla="*/ 1825619 w 7467663"/>
              <a:gd name="connsiteY71" fmla="*/ 5478447 h 6858000"/>
              <a:gd name="connsiteX72" fmla="*/ 1737798 w 7467663"/>
              <a:gd name="connsiteY72" fmla="*/ 5483353 h 6858000"/>
              <a:gd name="connsiteX73" fmla="*/ 1132195 w 7467663"/>
              <a:gd name="connsiteY73" fmla="*/ 5467980 h 6858000"/>
              <a:gd name="connsiteX74" fmla="*/ 7454976 w 7467663"/>
              <a:gd name="connsiteY74" fmla="*/ 6318297 h 6858000"/>
              <a:gd name="connsiteX75" fmla="*/ 7467600 w 7467663"/>
              <a:gd name="connsiteY75" fmla="*/ 6163634 h 6858000"/>
              <a:gd name="connsiteX76" fmla="*/ 7448321 w 7467663"/>
              <a:gd name="connsiteY76" fmla="*/ 6190991 h 6858000"/>
              <a:gd name="connsiteX77" fmla="*/ 7467600 w 7467663"/>
              <a:gd name="connsiteY77" fmla="*/ 6221686 h 6858000"/>
              <a:gd name="connsiteX78" fmla="*/ 7467600 w 7467663"/>
              <a:gd name="connsiteY78" fmla="*/ 6334256 h 6858000"/>
              <a:gd name="connsiteX79" fmla="*/ 7454976 w 7467663"/>
              <a:gd name="connsiteY79" fmla="*/ 6318297 h 6858000"/>
              <a:gd name="connsiteX80" fmla="*/ 1456157 w 7467663"/>
              <a:gd name="connsiteY80" fmla="*/ 5371404 h 6858000"/>
              <a:gd name="connsiteX81" fmla="*/ 1244432 w 7467663"/>
              <a:gd name="connsiteY81" fmla="*/ 5385601 h 6858000"/>
              <a:gd name="connsiteX82" fmla="*/ 973990 w 7467663"/>
              <a:gd name="connsiteY82" fmla="*/ 5424940 h 6858000"/>
              <a:gd name="connsiteX83" fmla="*/ 1103809 w 7467663"/>
              <a:gd name="connsiteY83" fmla="*/ 5433720 h 6858000"/>
              <a:gd name="connsiteX84" fmla="*/ 1123454 w 7467663"/>
              <a:gd name="connsiteY84" fmla="*/ 5435727 h 6858000"/>
              <a:gd name="connsiteX85" fmla="*/ 1737017 w 7467663"/>
              <a:gd name="connsiteY85" fmla="*/ 5452183 h 6858000"/>
              <a:gd name="connsiteX86" fmla="*/ 1824397 w 7467663"/>
              <a:gd name="connsiteY86" fmla="*/ 5447757 h 6858000"/>
              <a:gd name="connsiteX87" fmla="*/ 2070059 w 7467663"/>
              <a:gd name="connsiteY87" fmla="*/ 5441660 h 6858000"/>
              <a:gd name="connsiteX88" fmla="*/ 1456157 w 7467663"/>
              <a:gd name="connsiteY88" fmla="*/ 5371404 h 6858000"/>
              <a:gd name="connsiteX89" fmla="*/ 4988186 w 7467663"/>
              <a:gd name="connsiteY89" fmla="*/ 5216467 h 6858000"/>
              <a:gd name="connsiteX90" fmla="*/ 4777334 w 7467663"/>
              <a:gd name="connsiteY90" fmla="*/ 5406072 h 6858000"/>
              <a:gd name="connsiteX91" fmla="*/ 4718341 w 7467663"/>
              <a:gd name="connsiteY91" fmla="*/ 5468043 h 6858000"/>
              <a:gd name="connsiteX92" fmla="*/ 4604655 w 7467663"/>
              <a:gd name="connsiteY92" fmla="*/ 5583434 h 6858000"/>
              <a:gd name="connsiteX93" fmla="*/ 4565074 w 7467663"/>
              <a:gd name="connsiteY93" fmla="*/ 5618550 h 6858000"/>
              <a:gd name="connsiteX94" fmla="*/ 4988186 w 7467663"/>
              <a:gd name="connsiteY94" fmla="*/ 5216467 h 6858000"/>
              <a:gd name="connsiteX95" fmla="*/ 4978032 w 7467663"/>
              <a:gd name="connsiteY95" fmla="*/ 5183809 h 6858000"/>
              <a:gd name="connsiteX96" fmla="*/ 4463413 w 7467663"/>
              <a:gd name="connsiteY96" fmla="*/ 5615162 h 6858000"/>
              <a:gd name="connsiteX97" fmla="*/ 4358134 w 7467663"/>
              <a:gd name="connsiteY97" fmla="*/ 5742791 h 6858000"/>
              <a:gd name="connsiteX98" fmla="*/ 4376219 w 7467663"/>
              <a:gd name="connsiteY98" fmla="*/ 5729027 h 6858000"/>
              <a:gd name="connsiteX99" fmla="*/ 4582340 w 7467663"/>
              <a:gd name="connsiteY99" fmla="*/ 5561037 h 6858000"/>
              <a:gd name="connsiteX100" fmla="*/ 4694684 w 7467663"/>
              <a:gd name="connsiteY100" fmla="*/ 5447098 h 6858000"/>
              <a:gd name="connsiteX101" fmla="*/ 4754123 w 7467663"/>
              <a:gd name="connsiteY101" fmla="*/ 5384643 h 6858000"/>
              <a:gd name="connsiteX102" fmla="*/ 4978032 w 7467663"/>
              <a:gd name="connsiteY102" fmla="*/ 5183809 h 6858000"/>
              <a:gd name="connsiteX103" fmla="*/ 1903353 w 7467663"/>
              <a:gd name="connsiteY103" fmla="*/ 5044827 h 6858000"/>
              <a:gd name="connsiteX104" fmla="*/ 1936931 w 7467663"/>
              <a:gd name="connsiteY104" fmla="*/ 5093954 h 6858000"/>
              <a:gd name="connsiteX105" fmla="*/ 2195868 w 7467663"/>
              <a:gd name="connsiteY105" fmla="*/ 5396574 h 6858000"/>
              <a:gd name="connsiteX106" fmla="*/ 2088852 w 7467663"/>
              <a:gd name="connsiteY106" fmla="*/ 5166123 h 6858000"/>
              <a:gd name="connsiteX107" fmla="*/ 1958241 w 7467663"/>
              <a:gd name="connsiteY107" fmla="*/ 5067955 h 6858000"/>
              <a:gd name="connsiteX108" fmla="*/ 1903353 w 7467663"/>
              <a:gd name="connsiteY108" fmla="*/ 5044827 h 6858000"/>
              <a:gd name="connsiteX109" fmla="*/ 1979378 w 7467663"/>
              <a:gd name="connsiteY109" fmla="*/ 4769504 h 6858000"/>
              <a:gd name="connsiteX110" fmla="*/ 2882120 w 7467663"/>
              <a:gd name="connsiteY110" fmla="*/ 5064547 h 6858000"/>
              <a:gd name="connsiteX111" fmla="*/ 2793103 w 7467663"/>
              <a:gd name="connsiteY111" fmla="*/ 5039699 h 6858000"/>
              <a:gd name="connsiteX112" fmla="*/ 2770041 w 7467663"/>
              <a:gd name="connsiteY112" fmla="*/ 5033634 h 6858000"/>
              <a:gd name="connsiteX113" fmla="*/ 1979378 w 7467663"/>
              <a:gd name="connsiteY113" fmla="*/ 4769504 h 6858000"/>
              <a:gd name="connsiteX114" fmla="*/ 1927410 w 7467663"/>
              <a:gd name="connsiteY114" fmla="*/ 4716164 h 6858000"/>
              <a:gd name="connsiteX115" fmla="*/ 1959587 w 7467663"/>
              <a:gd name="connsiteY115" fmla="*/ 4728849 h 6858000"/>
              <a:gd name="connsiteX116" fmla="*/ 2777707 w 7467663"/>
              <a:gd name="connsiteY116" fmla="*/ 5003991 h 6858000"/>
              <a:gd name="connsiteX117" fmla="*/ 2800768 w 7467663"/>
              <a:gd name="connsiteY117" fmla="*/ 5010056 h 6858000"/>
              <a:gd name="connsiteX118" fmla="*/ 2879408 w 7467663"/>
              <a:gd name="connsiteY118" fmla="*/ 5031590 h 6858000"/>
              <a:gd name="connsiteX119" fmla="*/ 2862295 w 7467663"/>
              <a:gd name="connsiteY119" fmla="*/ 5022958 h 6858000"/>
              <a:gd name="connsiteX120" fmla="*/ 2813343 w 7467663"/>
              <a:gd name="connsiteY120" fmla="*/ 4998369 h 6858000"/>
              <a:gd name="connsiteX121" fmla="*/ 2646245 w 7467663"/>
              <a:gd name="connsiteY121" fmla="*/ 4930999 h 6858000"/>
              <a:gd name="connsiteX122" fmla="*/ 1999243 w 7467663"/>
              <a:gd name="connsiteY122" fmla="*/ 4730524 h 6858000"/>
              <a:gd name="connsiteX123" fmla="*/ 1979527 w 7467663"/>
              <a:gd name="connsiteY123" fmla="*/ 4726651 h 6858000"/>
              <a:gd name="connsiteX124" fmla="*/ 1927410 w 7467663"/>
              <a:gd name="connsiteY124" fmla="*/ 4716164 h 6858000"/>
              <a:gd name="connsiteX125" fmla="*/ 1997014 w 7467663"/>
              <a:gd name="connsiteY125" fmla="*/ 4698007 h 6858000"/>
              <a:gd name="connsiteX126" fmla="*/ 2005458 w 7467663"/>
              <a:gd name="connsiteY126" fmla="*/ 4699540 h 6858000"/>
              <a:gd name="connsiteX127" fmla="*/ 2657186 w 7467663"/>
              <a:gd name="connsiteY127" fmla="*/ 4901687 h 6858000"/>
              <a:gd name="connsiteX128" fmla="*/ 2826662 w 7467663"/>
              <a:gd name="connsiteY128" fmla="*/ 4970362 h 6858000"/>
              <a:gd name="connsiteX129" fmla="*/ 2876100 w 7467663"/>
              <a:gd name="connsiteY129" fmla="*/ 4995397 h 6858000"/>
              <a:gd name="connsiteX130" fmla="*/ 3042600 w 7467663"/>
              <a:gd name="connsiteY130" fmla="*/ 5059532 h 6858000"/>
              <a:gd name="connsiteX131" fmla="*/ 1997014 w 7467663"/>
              <a:gd name="connsiteY131" fmla="*/ 4698007 h 6858000"/>
              <a:gd name="connsiteX132" fmla="*/ 2305292 w 7467663"/>
              <a:gd name="connsiteY132" fmla="*/ 4219492 h 6858000"/>
              <a:gd name="connsiteX133" fmla="*/ 3360922 w 7467663"/>
              <a:gd name="connsiteY133" fmla="*/ 4529373 h 6858000"/>
              <a:gd name="connsiteX134" fmla="*/ 3492420 w 7467663"/>
              <a:gd name="connsiteY134" fmla="*/ 4510145 h 6858000"/>
              <a:gd name="connsiteX135" fmla="*/ 3364086 w 7467663"/>
              <a:gd name="connsiteY135" fmla="*/ 4480340 h 6858000"/>
              <a:gd name="connsiteX136" fmla="*/ 3225818 w 7467663"/>
              <a:gd name="connsiteY136" fmla="*/ 4411822 h 6858000"/>
              <a:gd name="connsiteX137" fmla="*/ 3129696 w 7467663"/>
              <a:gd name="connsiteY137" fmla="*/ 4360704 h 6858000"/>
              <a:gd name="connsiteX138" fmla="*/ 2814545 w 7467663"/>
              <a:gd name="connsiteY138" fmla="*/ 4282955 h 6858000"/>
              <a:gd name="connsiteX139" fmla="*/ 2305292 w 7467663"/>
              <a:gd name="connsiteY139" fmla="*/ 4219492 h 6858000"/>
              <a:gd name="connsiteX140" fmla="*/ 2626982 w 7467663"/>
              <a:gd name="connsiteY140" fmla="*/ 4206450 h 6858000"/>
              <a:gd name="connsiteX141" fmla="*/ 2490617 w 7467663"/>
              <a:gd name="connsiteY141" fmla="*/ 4206951 h 6858000"/>
              <a:gd name="connsiteX142" fmla="*/ 2819869 w 7467663"/>
              <a:gd name="connsiteY142" fmla="*/ 4252936 h 6858000"/>
              <a:gd name="connsiteX143" fmla="*/ 3143018 w 7467663"/>
              <a:gd name="connsiteY143" fmla="*/ 4332698 h 6858000"/>
              <a:gd name="connsiteX144" fmla="*/ 3241520 w 7467663"/>
              <a:gd name="connsiteY144" fmla="*/ 4385112 h 6858000"/>
              <a:gd name="connsiteX145" fmla="*/ 3374575 w 7467663"/>
              <a:gd name="connsiteY145" fmla="*/ 4451517 h 6858000"/>
              <a:gd name="connsiteX146" fmla="*/ 3505221 w 7467663"/>
              <a:gd name="connsiteY146" fmla="*/ 4480757 h 6858000"/>
              <a:gd name="connsiteX147" fmla="*/ 2626982 w 7467663"/>
              <a:gd name="connsiteY147" fmla="*/ 4206450 h 6858000"/>
              <a:gd name="connsiteX148" fmla="*/ 1310106 w 7467663"/>
              <a:gd name="connsiteY148" fmla="*/ 3943217 h 6858000"/>
              <a:gd name="connsiteX149" fmla="*/ 854994 w 7467663"/>
              <a:gd name="connsiteY149" fmla="*/ 4399136 h 6858000"/>
              <a:gd name="connsiteX150" fmla="*/ 742462 w 7467663"/>
              <a:gd name="connsiteY150" fmla="*/ 4594648 h 6858000"/>
              <a:gd name="connsiteX151" fmla="*/ 820602 w 7467663"/>
              <a:gd name="connsiteY151" fmla="*/ 4485915 h 6858000"/>
              <a:gd name="connsiteX152" fmla="*/ 878295 w 7467663"/>
              <a:gd name="connsiteY152" fmla="*/ 4403594 h 6858000"/>
              <a:gd name="connsiteX153" fmla="*/ 1240607 w 7467663"/>
              <a:gd name="connsiteY153" fmla="*/ 4010401 h 6858000"/>
              <a:gd name="connsiteX154" fmla="*/ 1310106 w 7467663"/>
              <a:gd name="connsiteY154" fmla="*/ 3943217 h 6858000"/>
              <a:gd name="connsiteX155" fmla="*/ 1423113 w 7467663"/>
              <a:gd name="connsiteY155" fmla="*/ 3874565 h 6858000"/>
              <a:gd name="connsiteX156" fmla="*/ 1260565 w 7467663"/>
              <a:gd name="connsiteY156" fmla="*/ 4031982 h 6858000"/>
              <a:gd name="connsiteX157" fmla="*/ 901900 w 7467663"/>
              <a:gd name="connsiteY157" fmla="*/ 4421236 h 6858000"/>
              <a:gd name="connsiteX158" fmla="*/ 845044 w 7467663"/>
              <a:gd name="connsiteY158" fmla="*/ 4502436 h 6858000"/>
              <a:gd name="connsiteX159" fmla="*/ 685926 w 7467663"/>
              <a:gd name="connsiteY159" fmla="*/ 4703069 h 6858000"/>
              <a:gd name="connsiteX160" fmla="*/ 684248 w 7467663"/>
              <a:gd name="connsiteY160" fmla="*/ 4706721 h 6858000"/>
              <a:gd name="connsiteX161" fmla="*/ 1423113 w 7467663"/>
              <a:gd name="connsiteY161" fmla="*/ 3874565 h 6858000"/>
              <a:gd name="connsiteX162" fmla="*/ 3316479 w 7467663"/>
              <a:gd name="connsiteY162" fmla="*/ 3872136 h 6858000"/>
              <a:gd name="connsiteX163" fmla="*/ 3546806 w 7467663"/>
              <a:gd name="connsiteY163" fmla="*/ 4356139 h 6858000"/>
              <a:gd name="connsiteX164" fmla="*/ 3364433 w 7467663"/>
              <a:gd name="connsiteY164" fmla="*/ 3953121 h 6858000"/>
              <a:gd name="connsiteX165" fmla="*/ 3316479 w 7467663"/>
              <a:gd name="connsiteY165" fmla="*/ 3872136 h 6858000"/>
              <a:gd name="connsiteX166" fmla="*/ 3291335 w 7467663"/>
              <a:gd name="connsiteY166" fmla="*/ 3767420 h 6858000"/>
              <a:gd name="connsiteX167" fmla="*/ 3390805 w 7467663"/>
              <a:gd name="connsiteY167" fmla="*/ 3937163 h 6858000"/>
              <a:gd name="connsiteX168" fmla="*/ 3579062 w 7467663"/>
              <a:gd name="connsiteY168" fmla="*/ 4359040 h 6858000"/>
              <a:gd name="connsiteX169" fmla="*/ 3467355 w 7467663"/>
              <a:gd name="connsiteY169" fmla="*/ 3988130 h 6858000"/>
              <a:gd name="connsiteX170" fmla="*/ 3310753 w 7467663"/>
              <a:gd name="connsiteY170" fmla="*/ 3787140 h 6858000"/>
              <a:gd name="connsiteX171" fmla="*/ 3291335 w 7467663"/>
              <a:gd name="connsiteY171" fmla="*/ 3767420 h 6858000"/>
              <a:gd name="connsiteX172" fmla="*/ 1635889 w 7467663"/>
              <a:gd name="connsiteY172" fmla="*/ 3709494 h 6858000"/>
              <a:gd name="connsiteX173" fmla="*/ 1634800 w 7467663"/>
              <a:gd name="connsiteY173" fmla="*/ 3731111 h 6858000"/>
              <a:gd name="connsiteX174" fmla="*/ 1635889 w 7467663"/>
              <a:gd name="connsiteY174" fmla="*/ 3709494 h 6858000"/>
              <a:gd name="connsiteX175" fmla="*/ 1510397 w 7467663"/>
              <a:gd name="connsiteY175" fmla="*/ 3684705 h 6858000"/>
              <a:gd name="connsiteX176" fmla="*/ 1146550 w 7467663"/>
              <a:gd name="connsiteY176" fmla="*/ 3802012 h 6858000"/>
              <a:gd name="connsiteX177" fmla="*/ 698834 w 7467663"/>
              <a:gd name="connsiteY177" fmla="*/ 3952272 h 6858000"/>
              <a:gd name="connsiteX178" fmla="*/ 34256 w 7467663"/>
              <a:gd name="connsiteY178" fmla="*/ 4347603 h 6858000"/>
              <a:gd name="connsiteX179" fmla="*/ 527241 w 7467663"/>
              <a:gd name="connsiteY179" fmla="*/ 4065078 h 6858000"/>
              <a:gd name="connsiteX180" fmla="*/ 1510397 w 7467663"/>
              <a:gd name="connsiteY180" fmla="*/ 3684705 h 6858000"/>
              <a:gd name="connsiteX181" fmla="*/ 1313114 w 7467663"/>
              <a:gd name="connsiteY181" fmla="*/ 3655216 h 6858000"/>
              <a:gd name="connsiteX182" fmla="*/ 1109304 w 7467663"/>
              <a:gd name="connsiteY182" fmla="*/ 3669030 h 6858000"/>
              <a:gd name="connsiteX183" fmla="*/ 8129 w 7467663"/>
              <a:gd name="connsiteY183" fmla="*/ 4330519 h 6858000"/>
              <a:gd name="connsiteX184" fmla="*/ 687572 w 7467663"/>
              <a:gd name="connsiteY184" fmla="*/ 3925629 h 6858000"/>
              <a:gd name="connsiteX185" fmla="*/ 1138365 w 7467663"/>
              <a:gd name="connsiteY185" fmla="*/ 3774515 h 6858000"/>
              <a:gd name="connsiteX186" fmla="*/ 1505579 w 7467663"/>
              <a:gd name="connsiteY186" fmla="*/ 3655526 h 6858000"/>
              <a:gd name="connsiteX187" fmla="*/ 1313114 w 7467663"/>
              <a:gd name="connsiteY187" fmla="*/ 3655216 h 6858000"/>
              <a:gd name="connsiteX188" fmla="*/ 3655073 w 7467663"/>
              <a:gd name="connsiteY188" fmla="*/ 3650884 h 6858000"/>
              <a:gd name="connsiteX189" fmla="*/ 3989938 w 7467663"/>
              <a:gd name="connsiteY189" fmla="*/ 3991685 h 6858000"/>
              <a:gd name="connsiteX190" fmla="*/ 4393907 w 7467663"/>
              <a:gd name="connsiteY190" fmla="*/ 4261258 h 6858000"/>
              <a:gd name="connsiteX191" fmla="*/ 4648051 w 7467663"/>
              <a:gd name="connsiteY191" fmla="*/ 4374051 h 6858000"/>
              <a:gd name="connsiteX192" fmla="*/ 4383389 w 7467663"/>
              <a:gd name="connsiteY192" fmla="*/ 4184369 h 6858000"/>
              <a:gd name="connsiteX193" fmla="*/ 4165508 w 7467663"/>
              <a:gd name="connsiteY193" fmla="*/ 4035196 h 6858000"/>
              <a:gd name="connsiteX194" fmla="*/ 4068162 w 7467663"/>
              <a:gd name="connsiteY194" fmla="*/ 3953394 h 6858000"/>
              <a:gd name="connsiteX195" fmla="*/ 3981416 w 7467663"/>
              <a:gd name="connsiteY195" fmla="*/ 3880482 h 6858000"/>
              <a:gd name="connsiteX196" fmla="*/ 3800147 w 7467663"/>
              <a:gd name="connsiteY196" fmla="*/ 3749872 h 6858000"/>
              <a:gd name="connsiteX197" fmla="*/ 3655073 w 7467663"/>
              <a:gd name="connsiteY197" fmla="*/ 3650884 h 6858000"/>
              <a:gd name="connsiteX198" fmla="*/ 3670252 w 7467663"/>
              <a:gd name="connsiteY198" fmla="*/ 3622798 h 6858000"/>
              <a:gd name="connsiteX199" fmla="*/ 3817258 w 7467663"/>
              <a:gd name="connsiteY199" fmla="*/ 3723577 h 6858000"/>
              <a:gd name="connsiteX200" fmla="*/ 4000461 w 7467663"/>
              <a:gd name="connsiteY200" fmla="*/ 3855966 h 6858000"/>
              <a:gd name="connsiteX201" fmla="*/ 4088180 w 7467663"/>
              <a:gd name="connsiteY201" fmla="*/ 3929774 h 6858000"/>
              <a:gd name="connsiteX202" fmla="*/ 4184555 w 7467663"/>
              <a:gd name="connsiteY202" fmla="*/ 4010683 h 6858000"/>
              <a:gd name="connsiteX203" fmla="*/ 4399563 w 7467663"/>
              <a:gd name="connsiteY203" fmla="*/ 4158106 h 6858000"/>
              <a:gd name="connsiteX204" fmla="*/ 4684469 w 7467663"/>
              <a:gd name="connsiteY204" fmla="*/ 4364680 h 6858000"/>
              <a:gd name="connsiteX205" fmla="*/ 4690271 w 7467663"/>
              <a:gd name="connsiteY205" fmla="*/ 4370034 h 6858000"/>
              <a:gd name="connsiteX206" fmla="*/ 4136093 w 7467663"/>
              <a:gd name="connsiteY206" fmla="*/ 3858466 h 6858000"/>
              <a:gd name="connsiteX207" fmla="*/ 3670252 w 7467663"/>
              <a:gd name="connsiteY207" fmla="*/ 3622798 h 6858000"/>
              <a:gd name="connsiteX208" fmla="*/ 4440129 w 7467663"/>
              <a:gd name="connsiteY208" fmla="*/ 3448571 h 6858000"/>
              <a:gd name="connsiteX209" fmla="*/ 4856525 w 7467663"/>
              <a:gd name="connsiteY209" fmla="*/ 3915351 h 6858000"/>
              <a:gd name="connsiteX210" fmla="*/ 5059055 w 7467663"/>
              <a:gd name="connsiteY210" fmla="*/ 4108918 h 6858000"/>
              <a:gd name="connsiteX211" fmla="*/ 5290070 w 7467663"/>
              <a:gd name="connsiteY211" fmla="*/ 4263619 h 6858000"/>
              <a:gd name="connsiteX212" fmla="*/ 4834991 w 7467663"/>
              <a:gd name="connsiteY212" fmla="*/ 3830985 h 6858000"/>
              <a:gd name="connsiteX213" fmla="*/ 4440129 w 7467663"/>
              <a:gd name="connsiteY213" fmla="*/ 3448571 h 6858000"/>
              <a:gd name="connsiteX214" fmla="*/ 4441737 w 7467663"/>
              <a:gd name="connsiteY214" fmla="*/ 3399734 h 6858000"/>
              <a:gd name="connsiteX215" fmla="*/ 4431236 w 7467663"/>
              <a:gd name="connsiteY215" fmla="*/ 3400954 h 6858000"/>
              <a:gd name="connsiteX216" fmla="*/ 4557150 w 7467663"/>
              <a:gd name="connsiteY216" fmla="*/ 3510023 h 6858000"/>
              <a:gd name="connsiteX217" fmla="*/ 4856936 w 7467663"/>
              <a:gd name="connsiteY217" fmla="*/ 3809146 h 6858000"/>
              <a:gd name="connsiteX218" fmla="*/ 5111996 w 7467663"/>
              <a:gd name="connsiteY218" fmla="*/ 4065759 h 6858000"/>
              <a:gd name="connsiteX219" fmla="*/ 5388878 w 7467663"/>
              <a:gd name="connsiteY219" fmla="*/ 4300185 h 6858000"/>
              <a:gd name="connsiteX220" fmla="*/ 5425556 w 7467663"/>
              <a:gd name="connsiteY220" fmla="*/ 4308967 h 6858000"/>
              <a:gd name="connsiteX221" fmla="*/ 4943646 w 7467663"/>
              <a:gd name="connsiteY221" fmla="*/ 3822916 h 6858000"/>
              <a:gd name="connsiteX222" fmla="*/ 4594837 w 7467663"/>
              <a:gd name="connsiteY222" fmla="*/ 3532274 h 6858000"/>
              <a:gd name="connsiteX223" fmla="*/ 4441737 w 7467663"/>
              <a:gd name="connsiteY223" fmla="*/ 3399734 h 6858000"/>
              <a:gd name="connsiteX224" fmla="*/ 5425834 w 7467663"/>
              <a:gd name="connsiteY224" fmla="*/ 3162785 h 6858000"/>
              <a:gd name="connsiteX225" fmla="*/ 5401644 w 7467663"/>
              <a:gd name="connsiteY225" fmla="*/ 3617847 h 6858000"/>
              <a:gd name="connsiteX226" fmla="*/ 5467256 w 7467663"/>
              <a:gd name="connsiteY226" fmla="*/ 4175494 h 6858000"/>
              <a:gd name="connsiteX227" fmla="*/ 5448069 w 7467663"/>
              <a:gd name="connsiteY227" fmla="*/ 3567554 h 6858000"/>
              <a:gd name="connsiteX228" fmla="*/ 5425834 w 7467663"/>
              <a:gd name="connsiteY228" fmla="*/ 3162785 h 6858000"/>
              <a:gd name="connsiteX229" fmla="*/ 1318687 w 7467663"/>
              <a:gd name="connsiteY229" fmla="*/ 3113840 h 6858000"/>
              <a:gd name="connsiteX230" fmla="*/ 1066793 w 7467663"/>
              <a:gd name="connsiteY230" fmla="*/ 3212171 h 6858000"/>
              <a:gd name="connsiteX231" fmla="*/ 993319 w 7467663"/>
              <a:gd name="connsiteY231" fmla="*/ 3247648 h 6858000"/>
              <a:gd name="connsiteX232" fmla="*/ 853081 w 7467663"/>
              <a:gd name="connsiteY232" fmla="*/ 3312410 h 6858000"/>
              <a:gd name="connsiteX233" fmla="*/ 805957 w 7467663"/>
              <a:gd name="connsiteY233" fmla="*/ 3330443 h 6858000"/>
              <a:gd name="connsiteX234" fmla="*/ 1318687 w 7467663"/>
              <a:gd name="connsiteY234" fmla="*/ 3113840 h 6858000"/>
              <a:gd name="connsiteX235" fmla="*/ 5453702 w 7467663"/>
              <a:gd name="connsiteY235" fmla="*/ 3090882 h 6858000"/>
              <a:gd name="connsiteX236" fmla="*/ 5480135 w 7467663"/>
              <a:gd name="connsiteY236" fmla="*/ 3565802 h 6858000"/>
              <a:gd name="connsiteX237" fmla="*/ 5499023 w 7467663"/>
              <a:gd name="connsiteY237" fmla="*/ 4166310 h 6858000"/>
              <a:gd name="connsiteX238" fmla="*/ 5547022 w 7467663"/>
              <a:gd name="connsiteY238" fmla="*/ 3607838 h 6858000"/>
              <a:gd name="connsiteX239" fmla="*/ 5515964 w 7467663"/>
              <a:gd name="connsiteY239" fmla="*/ 3378541 h 6858000"/>
              <a:gd name="connsiteX240" fmla="*/ 5453702 w 7467663"/>
              <a:gd name="connsiteY240" fmla="*/ 3090882 h 6858000"/>
              <a:gd name="connsiteX241" fmla="*/ 1238695 w 7467663"/>
              <a:gd name="connsiteY241" fmla="*/ 3076820 h 6858000"/>
              <a:gd name="connsiteX242" fmla="*/ 716371 w 7467663"/>
              <a:gd name="connsiteY242" fmla="*/ 3293249 h 6858000"/>
              <a:gd name="connsiteX243" fmla="*/ 579522 w 7467663"/>
              <a:gd name="connsiteY243" fmla="*/ 3371759 h 6858000"/>
              <a:gd name="connsiteX244" fmla="*/ 600288 w 7467663"/>
              <a:gd name="connsiteY244" fmla="*/ 3365555 h 6858000"/>
              <a:gd name="connsiteX245" fmla="*/ 840692 w 7467663"/>
              <a:gd name="connsiteY245" fmla="*/ 3284921 h 6858000"/>
              <a:gd name="connsiteX246" fmla="*/ 979248 w 7467663"/>
              <a:gd name="connsiteY246" fmla="*/ 3221003 h 6858000"/>
              <a:gd name="connsiteX247" fmla="*/ 1053282 w 7467663"/>
              <a:gd name="connsiteY247" fmla="*/ 3185247 h 6858000"/>
              <a:gd name="connsiteX248" fmla="*/ 1320603 w 7467663"/>
              <a:gd name="connsiteY248" fmla="*/ 3081281 h 6858000"/>
              <a:gd name="connsiteX249" fmla="*/ 1238695 w 7467663"/>
              <a:gd name="connsiteY249" fmla="*/ 3076820 h 6858000"/>
              <a:gd name="connsiteX250" fmla="*/ 5425627 w 7467663"/>
              <a:gd name="connsiteY250" fmla="*/ 2954192 h 6858000"/>
              <a:gd name="connsiteX251" fmla="*/ 5470770 w 7467663"/>
              <a:gd name="connsiteY251" fmla="*/ 3005435 h 6858000"/>
              <a:gd name="connsiteX252" fmla="*/ 5519779 w 7467663"/>
              <a:gd name="connsiteY252" fmla="*/ 4359223 h 6858000"/>
              <a:gd name="connsiteX253" fmla="*/ 5520293 w 7467663"/>
              <a:gd name="connsiteY253" fmla="*/ 4360602 h 6858000"/>
              <a:gd name="connsiteX254" fmla="*/ 5767221 w 7467663"/>
              <a:gd name="connsiteY254" fmla="*/ 4665564 h 6858000"/>
              <a:gd name="connsiteX255" fmla="*/ 6937169 w 7467663"/>
              <a:gd name="connsiteY255" fmla="*/ 4815941 h 6858000"/>
              <a:gd name="connsiteX256" fmla="*/ 6953922 w 7467663"/>
              <a:gd name="connsiteY256" fmla="*/ 4890068 h 6858000"/>
              <a:gd name="connsiteX257" fmla="*/ 6071359 w 7467663"/>
              <a:gd name="connsiteY257" fmla="*/ 4770770 h 6858000"/>
              <a:gd name="connsiteX258" fmla="*/ 6038839 w 7467663"/>
              <a:gd name="connsiteY258" fmla="*/ 4764474 h 6858000"/>
              <a:gd name="connsiteX259" fmla="*/ 6038706 w 7467663"/>
              <a:gd name="connsiteY259" fmla="*/ 4763847 h 6858000"/>
              <a:gd name="connsiteX260" fmla="*/ 6037784 w 7467663"/>
              <a:gd name="connsiteY260" fmla="*/ 4764270 h 6858000"/>
              <a:gd name="connsiteX261" fmla="*/ 6038839 w 7467663"/>
              <a:gd name="connsiteY261" fmla="*/ 4764474 h 6858000"/>
              <a:gd name="connsiteX262" fmla="*/ 6040338 w 7467663"/>
              <a:gd name="connsiteY262" fmla="*/ 4771418 h 6858000"/>
              <a:gd name="connsiteX263" fmla="*/ 6024488 w 7467663"/>
              <a:gd name="connsiteY263" fmla="*/ 4809903 h 6858000"/>
              <a:gd name="connsiteX264" fmla="*/ 5599771 w 7467663"/>
              <a:gd name="connsiteY264" fmla="*/ 5509652 h 6858000"/>
              <a:gd name="connsiteX265" fmla="*/ 5548843 w 7467663"/>
              <a:gd name="connsiteY265" fmla="*/ 5563845 h 6858000"/>
              <a:gd name="connsiteX266" fmla="*/ 5940952 w 7467663"/>
              <a:gd name="connsiteY266" fmla="*/ 6250028 h 6858000"/>
              <a:gd name="connsiteX267" fmla="*/ 6043441 w 7467663"/>
              <a:gd name="connsiteY267" fmla="*/ 6665847 h 6858000"/>
              <a:gd name="connsiteX268" fmla="*/ 6093432 w 7467663"/>
              <a:gd name="connsiteY268" fmla="*/ 6858000 h 6858000"/>
              <a:gd name="connsiteX269" fmla="*/ 6034344 w 7467663"/>
              <a:gd name="connsiteY269" fmla="*/ 6858000 h 6858000"/>
              <a:gd name="connsiteX270" fmla="*/ 6026679 w 7467663"/>
              <a:gd name="connsiteY270" fmla="*/ 6836959 h 6858000"/>
              <a:gd name="connsiteX271" fmla="*/ 5800441 w 7467663"/>
              <a:gd name="connsiteY271" fmla="*/ 6335286 h 6858000"/>
              <a:gd name="connsiteX272" fmla="*/ 5526562 w 7467663"/>
              <a:gd name="connsiteY272" fmla="*/ 5705388 h 6858000"/>
              <a:gd name="connsiteX273" fmla="*/ 5519640 w 7467663"/>
              <a:gd name="connsiteY273" fmla="*/ 5683774 h 6858000"/>
              <a:gd name="connsiteX274" fmla="*/ 5844559 w 7467663"/>
              <a:gd name="connsiteY274" fmla="*/ 6553349 h 6858000"/>
              <a:gd name="connsiteX275" fmla="*/ 5975994 w 7467663"/>
              <a:gd name="connsiteY275" fmla="*/ 6858000 h 6858000"/>
              <a:gd name="connsiteX276" fmla="*/ 5898547 w 7467663"/>
              <a:gd name="connsiteY276" fmla="*/ 6858000 h 6858000"/>
              <a:gd name="connsiteX277" fmla="*/ 5682041 w 7467663"/>
              <a:gd name="connsiteY277" fmla="*/ 6355860 h 6858000"/>
              <a:gd name="connsiteX278" fmla="*/ 5461758 w 7467663"/>
              <a:gd name="connsiteY278" fmla="*/ 5820220 h 6858000"/>
              <a:gd name="connsiteX279" fmla="*/ 5237282 w 7467663"/>
              <a:gd name="connsiteY279" fmla="*/ 6579086 h 6858000"/>
              <a:gd name="connsiteX280" fmla="*/ 5115009 w 7467663"/>
              <a:gd name="connsiteY280" fmla="*/ 6858000 h 6858000"/>
              <a:gd name="connsiteX281" fmla="*/ 5028074 w 7467663"/>
              <a:gd name="connsiteY281" fmla="*/ 6858000 h 6858000"/>
              <a:gd name="connsiteX282" fmla="*/ 5079508 w 7467663"/>
              <a:gd name="connsiteY282" fmla="*/ 6749074 h 6858000"/>
              <a:gd name="connsiteX283" fmla="*/ 5371846 w 7467663"/>
              <a:gd name="connsiteY283" fmla="*/ 5924413 h 6858000"/>
              <a:gd name="connsiteX284" fmla="*/ 5270512 w 7467663"/>
              <a:gd name="connsiteY284" fmla="*/ 6138975 h 6858000"/>
              <a:gd name="connsiteX285" fmla="*/ 5062409 w 7467663"/>
              <a:gd name="connsiteY285" fmla="*/ 6653544 h 6858000"/>
              <a:gd name="connsiteX286" fmla="*/ 5036628 w 7467663"/>
              <a:gd name="connsiteY286" fmla="*/ 6754247 h 6858000"/>
              <a:gd name="connsiteX287" fmla="*/ 5009112 w 7467663"/>
              <a:gd name="connsiteY287" fmla="*/ 6858000 h 6858000"/>
              <a:gd name="connsiteX288" fmla="*/ 4976679 w 7467663"/>
              <a:gd name="connsiteY288" fmla="*/ 6858000 h 6858000"/>
              <a:gd name="connsiteX289" fmla="*/ 5006537 w 7467663"/>
              <a:gd name="connsiteY289" fmla="*/ 6747068 h 6858000"/>
              <a:gd name="connsiteX290" fmla="*/ 5032723 w 7467663"/>
              <a:gd name="connsiteY290" fmla="*/ 6644957 h 6858000"/>
              <a:gd name="connsiteX291" fmla="*/ 5242949 w 7467663"/>
              <a:gd name="connsiteY291" fmla="*/ 6125175 h 6858000"/>
              <a:gd name="connsiteX292" fmla="*/ 5286321 w 7467663"/>
              <a:gd name="connsiteY292" fmla="*/ 6033555 h 6858000"/>
              <a:gd name="connsiteX293" fmla="*/ 5008210 w 7467663"/>
              <a:gd name="connsiteY293" fmla="*/ 6649194 h 6858000"/>
              <a:gd name="connsiteX294" fmla="*/ 4986321 w 7467663"/>
              <a:gd name="connsiteY294" fmla="*/ 6765687 h 6858000"/>
              <a:gd name="connsiteX295" fmla="*/ 4973474 w 7467663"/>
              <a:gd name="connsiteY295" fmla="*/ 6858000 h 6858000"/>
              <a:gd name="connsiteX296" fmla="*/ 4907178 w 7467663"/>
              <a:gd name="connsiteY296" fmla="*/ 6858000 h 6858000"/>
              <a:gd name="connsiteX297" fmla="*/ 4910810 w 7467663"/>
              <a:gd name="connsiteY297" fmla="*/ 6829660 h 6858000"/>
              <a:gd name="connsiteX298" fmla="*/ 4987461 w 7467663"/>
              <a:gd name="connsiteY298" fmla="*/ 6432994 h 6858000"/>
              <a:gd name="connsiteX299" fmla="*/ 5179262 w 7467663"/>
              <a:gd name="connsiteY299" fmla="*/ 6035044 h 6858000"/>
              <a:gd name="connsiteX300" fmla="*/ 4689678 w 7467663"/>
              <a:gd name="connsiteY300" fmla="*/ 6440241 h 6858000"/>
              <a:gd name="connsiteX301" fmla="*/ 4477543 w 7467663"/>
              <a:gd name="connsiteY301" fmla="*/ 6674836 h 6858000"/>
              <a:gd name="connsiteX302" fmla="*/ 4329957 w 7467663"/>
              <a:gd name="connsiteY302" fmla="*/ 6858000 h 6858000"/>
              <a:gd name="connsiteX303" fmla="*/ 4218595 w 7467663"/>
              <a:gd name="connsiteY303" fmla="*/ 6858000 h 6858000"/>
              <a:gd name="connsiteX304" fmla="*/ 4368888 w 7467663"/>
              <a:gd name="connsiteY304" fmla="*/ 6668412 h 6858000"/>
              <a:gd name="connsiteX305" fmla="*/ 4563091 w 7467663"/>
              <a:gd name="connsiteY305" fmla="*/ 6442508 h 6858000"/>
              <a:gd name="connsiteX306" fmla="*/ 5387324 w 7467663"/>
              <a:gd name="connsiteY306" fmla="*/ 5705830 h 6858000"/>
              <a:gd name="connsiteX307" fmla="*/ 5073620 w 7467663"/>
              <a:gd name="connsiteY307" fmla="*/ 5955437 h 6858000"/>
              <a:gd name="connsiteX308" fmla="*/ 4689789 w 7467663"/>
              <a:gd name="connsiteY308" fmla="*/ 6268382 h 6858000"/>
              <a:gd name="connsiteX309" fmla="*/ 4418722 w 7467663"/>
              <a:gd name="connsiteY309" fmla="*/ 6570886 h 6858000"/>
              <a:gd name="connsiteX310" fmla="*/ 4214944 w 7467663"/>
              <a:gd name="connsiteY310" fmla="*/ 6858000 h 6858000"/>
              <a:gd name="connsiteX311" fmla="*/ 4177898 w 7467663"/>
              <a:gd name="connsiteY311" fmla="*/ 6858000 h 6858000"/>
              <a:gd name="connsiteX312" fmla="*/ 4391597 w 7467663"/>
              <a:gd name="connsiteY312" fmla="*/ 6556370 h 6858000"/>
              <a:gd name="connsiteX313" fmla="*/ 4668889 w 7467663"/>
              <a:gd name="connsiteY313" fmla="*/ 6246399 h 6858000"/>
              <a:gd name="connsiteX314" fmla="*/ 5055427 w 7467663"/>
              <a:gd name="connsiteY314" fmla="*/ 5931476 h 6858000"/>
              <a:gd name="connsiteX315" fmla="*/ 5371814 w 7467663"/>
              <a:gd name="connsiteY315" fmla="*/ 5678975 h 6858000"/>
              <a:gd name="connsiteX316" fmla="*/ 4987918 w 7467663"/>
              <a:gd name="connsiteY316" fmla="*/ 5838701 h 6858000"/>
              <a:gd name="connsiteX317" fmla="*/ 4317146 w 7467663"/>
              <a:gd name="connsiteY317" fmla="*/ 6587716 h 6858000"/>
              <a:gd name="connsiteX318" fmla="*/ 4171627 w 7467663"/>
              <a:gd name="connsiteY318" fmla="*/ 6858000 h 6858000"/>
              <a:gd name="connsiteX319" fmla="*/ 4081585 w 7467663"/>
              <a:gd name="connsiteY319" fmla="*/ 6858000 h 6858000"/>
              <a:gd name="connsiteX320" fmla="*/ 4238603 w 7467663"/>
              <a:gd name="connsiteY320" fmla="*/ 6559341 h 6858000"/>
              <a:gd name="connsiteX321" fmla="*/ 4778333 w 7467663"/>
              <a:gd name="connsiteY321" fmla="*/ 5873626 h 6858000"/>
              <a:gd name="connsiteX322" fmla="*/ 5414185 w 7467663"/>
              <a:gd name="connsiteY322" fmla="*/ 5573882 h 6858000"/>
              <a:gd name="connsiteX323" fmla="*/ 5959648 w 7467663"/>
              <a:gd name="connsiteY323" fmla="*/ 4760797 h 6858000"/>
              <a:gd name="connsiteX324" fmla="*/ 5355019 w 7467663"/>
              <a:gd name="connsiteY324" fmla="*/ 4734672 h 6858000"/>
              <a:gd name="connsiteX325" fmla="*/ 5083565 w 7467663"/>
              <a:gd name="connsiteY325" fmla="*/ 5179121 h 6858000"/>
              <a:gd name="connsiteX326" fmla="*/ 4713577 w 7467663"/>
              <a:gd name="connsiteY326" fmla="*/ 5616803 h 6858000"/>
              <a:gd name="connsiteX327" fmla="*/ 3989559 w 7467663"/>
              <a:gd name="connsiteY327" fmla="*/ 6145945 h 6858000"/>
              <a:gd name="connsiteX328" fmla="*/ 3939824 w 7467663"/>
              <a:gd name="connsiteY328" fmla="*/ 6066900 h 6858000"/>
              <a:gd name="connsiteX329" fmla="*/ 4584537 w 7467663"/>
              <a:gd name="connsiteY329" fmla="*/ 5324826 h 6858000"/>
              <a:gd name="connsiteX330" fmla="*/ 5037105 w 7467663"/>
              <a:gd name="connsiteY330" fmla="*/ 5088765 h 6858000"/>
              <a:gd name="connsiteX331" fmla="*/ 5039930 w 7467663"/>
              <a:gd name="connsiteY331" fmla="*/ 5089585 h 6858000"/>
              <a:gd name="connsiteX332" fmla="*/ 5263764 w 7467663"/>
              <a:gd name="connsiteY332" fmla="*/ 4735525 h 6858000"/>
              <a:gd name="connsiteX333" fmla="*/ 4086300 w 7467663"/>
              <a:gd name="connsiteY333" fmla="*/ 4884599 h 6858000"/>
              <a:gd name="connsiteX334" fmla="*/ 4085485 w 7467663"/>
              <a:gd name="connsiteY334" fmla="*/ 4899070 h 6858000"/>
              <a:gd name="connsiteX335" fmla="*/ 3871915 w 7467663"/>
              <a:gd name="connsiteY335" fmla="*/ 5253645 h 6858000"/>
              <a:gd name="connsiteX336" fmla="*/ 3799374 w 7467663"/>
              <a:gd name="connsiteY336" fmla="*/ 5466127 h 6858000"/>
              <a:gd name="connsiteX337" fmla="*/ 3498850 w 7467663"/>
              <a:gd name="connsiteY337" fmla="*/ 6661888 h 6858000"/>
              <a:gd name="connsiteX338" fmla="*/ 3399216 w 7467663"/>
              <a:gd name="connsiteY338" fmla="*/ 6858000 h 6858000"/>
              <a:gd name="connsiteX339" fmla="*/ 3303688 w 7467663"/>
              <a:gd name="connsiteY339" fmla="*/ 6858000 h 6858000"/>
              <a:gd name="connsiteX340" fmla="*/ 3391774 w 7467663"/>
              <a:gd name="connsiteY340" fmla="*/ 6697181 h 6858000"/>
              <a:gd name="connsiteX341" fmla="*/ 3735540 w 7467663"/>
              <a:gd name="connsiteY341" fmla="*/ 5546923 h 6858000"/>
              <a:gd name="connsiteX342" fmla="*/ 3729438 w 7467663"/>
              <a:gd name="connsiteY342" fmla="*/ 5569058 h 6858000"/>
              <a:gd name="connsiteX343" fmla="*/ 3707782 w 7467663"/>
              <a:gd name="connsiteY343" fmla="*/ 5644908 h 6858000"/>
              <a:gd name="connsiteX344" fmla="*/ 3583827 w 7467663"/>
              <a:gd name="connsiteY344" fmla="*/ 6039215 h 6858000"/>
              <a:gd name="connsiteX345" fmla="*/ 3547861 w 7467663"/>
              <a:gd name="connsiteY345" fmla="*/ 6129609 h 6858000"/>
              <a:gd name="connsiteX346" fmla="*/ 3490905 w 7467663"/>
              <a:gd name="connsiteY346" fmla="*/ 6277660 h 6858000"/>
              <a:gd name="connsiteX347" fmla="*/ 3455859 w 7467663"/>
              <a:gd name="connsiteY347" fmla="*/ 6391301 h 6858000"/>
              <a:gd name="connsiteX348" fmla="*/ 3429112 w 7467663"/>
              <a:gd name="connsiteY348" fmla="*/ 6479469 h 6858000"/>
              <a:gd name="connsiteX349" fmla="*/ 3304862 w 7467663"/>
              <a:gd name="connsiteY349" fmla="*/ 6796476 h 6858000"/>
              <a:gd name="connsiteX350" fmla="*/ 3276071 w 7467663"/>
              <a:gd name="connsiteY350" fmla="*/ 6858000 h 6858000"/>
              <a:gd name="connsiteX351" fmla="*/ 3240805 w 7467663"/>
              <a:gd name="connsiteY351" fmla="*/ 6858000 h 6858000"/>
              <a:gd name="connsiteX352" fmla="*/ 3275917 w 7467663"/>
              <a:gd name="connsiteY352" fmla="*/ 6783192 h 6858000"/>
              <a:gd name="connsiteX353" fmla="*/ 3399358 w 7467663"/>
              <a:gd name="connsiteY353" fmla="*/ 6469011 h 6858000"/>
              <a:gd name="connsiteX354" fmla="*/ 3425650 w 7467663"/>
              <a:gd name="connsiteY354" fmla="*/ 6381333 h 6858000"/>
              <a:gd name="connsiteX355" fmla="*/ 3460661 w 7467663"/>
              <a:gd name="connsiteY355" fmla="*/ 6266763 h 6858000"/>
              <a:gd name="connsiteX356" fmla="*/ 3518021 w 7467663"/>
              <a:gd name="connsiteY356" fmla="*/ 6117298 h 6858000"/>
              <a:gd name="connsiteX357" fmla="*/ 3554035 w 7467663"/>
              <a:gd name="connsiteY357" fmla="*/ 6027832 h 6858000"/>
              <a:gd name="connsiteX358" fmla="*/ 3677174 w 7467663"/>
              <a:gd name="connsiteY358" fmla="*/ 5636351 h 6858000"/>
              <a:gd name="connsiteX359" fmla="*/ 3698819 w 7467663"/>
              <a:gd name="connsiteY359" fmla="*/ 5560503 h 6858000"/>
              <a:gd name="connsiteX360" fmla="*/ 3702094 w 7467663"/>
              <a:gd name="connsiteY360" fmla="*/ 5549194 h 6858000"/>
              <a:gd name="connsiteX361" fmla="*/ 3398355 w 7467663"/>
              <a:gd name="connsiteY361" fmla="*/ 6094603 h 6858000"/>
              <a:gd name="connsiteX362" fmla="*/ 3193941 w 7467663"/>
              <a:gd name="connsiteY362" fmla="*/ 6798775 h 6858000"/>
              <a:gd name="connsiteX363" fmla="*/ 3184140 w 7467663"/>
              <a:gd name="connsiteY363" fmla="*/ 6858000 h 6858000"/>
              <a:gd name="connsiteX364" fmla="*/ 3099978 w 7467663"/>
              <a:gd name="connsiteY364" fmla="*/ 6858000 h 6858000"/>
              <a:gd name="connsiteX365" fmla="*/ 3101556 w 7467663"/>
              <a:gd name="connsiteY365" fmla="*/ 6843337 h 6858000"/>
              <a:gd name="connsiteX366" fmla="*/ 3370162 w 7467663"/>
              <a:gd name="connsiteY366" fmla="*/ 5785550 h 6858000"/>
              <a:gd name="connsiteX367" fmla="*/ 3746477 w 7467663"/>
              <a:gd name="connsiteY367" fmla="*/ 5377889 h 6858000"/>
              <a:gd name="connsiteX368" fmla="*/ 3863399 w 7467663"/>
              <a:gd name="connsiteY368" fmla="*/ 5087257 h 6858000"/>
              <a:gd name="connsiteX369" fmla="*/ 3968712 w 7467663"/>
              <a:gd name="connsiteY369" fmla="*/ 4913989 h 6858000"/>
              <a:gd name="connsiteX370" fmla="*/ 2792390 w 7467663"/>
              <a:gd name="connsiteY370" fmla="*/ 5382974 h 6858000"/>
              <a:gd name="connsiteX371" fmla="*/ 2714982 w 7467663"/>
              <a:gd name="connsiteY371" fmla="*/ 5427051 h 6858000"/>
              <a:gd name="connsiteX372" fmla="*/ 2813361 w 7467663"/>
              <a:gd name="connsiteY372" fmla="*/ 6023912 h 6858000"/>
              <a:gd name="connsiteX373" fmla="*/ 2688430 w 7467663"/>
              <a:gd name="connsiteY373" fmla="*/ 6801564 h 6858000"/>
              <a:gd name="connsiteX374" fmla="*/ 2629626 w 7467663"/>
              <a:gd name="connsiteY374" fmla="*/ 6763394 h 6858000"/>
              <a:gd name="connsiteX375" fmla="*/ 2565328 w 7467663"/>
              <a:gd name="connsiteY375" fmla="*/ 5516399 h 6858000"/>
              <a:gd name="connsiteX376" fmla="*/ 1922999 w 7467663"/>
              <a:gd name="connsiteY376" fmla="*/ 5980343 h 6858000"/>
              <a:gd name="connsiteX377" fmla="*/ 1950261 w 7467663"/>
              <a:gd name="connsiteY377" fmla="*/ 6405858 h 6858000"/>
              <a:gd name="connsiteX378" fmla="*/ 2365554 w 7467663"/>
              <a:gd name="connsiteY378" fmla="*/ 6759107 h 6858000"/>
              <a:gd name="connsiteX379" fmla="*/ 2424142 w 7467663"/>
              <a:gd name="connsiteY379" fmla="*/ 6858000 h 6858000"/>
              <a:gd name="connsiteX380" fmla="*/ 2395994 w 7467663"/>
              <a:gd name="connsiteY380" fmla="*/ 6858000 h 6858000"/>
              <a:gd name="connsiteX381" fmla="*/ 2392863 w 7467663"/>
              <a:gd name="connsiteY381" fmla="*/ 6852964 h 6858000"/>
              <a:gd name="connsiteX382" fmla="*/ 2017589 w 7467663"/>
              <a:gd name="connsiteY382" fmla="*/ 6493982 h 6858000"/>
              <a:gd name="connsiteX383" fmla="*/ 2147336 w 7467663"/>
              <a:gd name="connsiteY383" fmla="*/ 6594052 h 6858000"/>
              <a:gd name="connsiteX384" fmla="*/ 2207047 w 7467663"/>
              <a:gd name="connsiteY384" fmla="*/ 6654540 h 6858000"/>
              <a:gd name="connsiteX385" fmla="*/ 2299106 w 7467663"/>
              <a:gd name="connsiteY385" fmla="*/ 6778931 h 6858000"/>
              <a:gd name="connsiteX386" fmla="*/ 2314430 w 7467663"/>
              <a:gd name="connsiteY386" fmla="*/ 6801144 h 6858000"/>
              <a:gd name="connsiteX387" fmla="*/ 2352406 w 7467663"/>
              <a:gd name="connsiteY387" fmla="*/ 6858000 h 6858000"/>
              <a:gd name="connsiteX388" fmla="*/ 2314492 w 7467663"/>
              <a:gd name="connsiteY388" fmla="*/ 6858000 h 6858000"/>
              <a:gd name="connsiteX389" fmla="*/ 2288095 w 7467663"/>
              <a:gd name="connsiteY389" fmla="*/ 6818030 h 6858000"/>
              <a:gd name="connsiteX390" fmla="*/ 2272768 w 7467663"/>
              <a:gd name="connsiteY390" fmla="*/ 6795822 h 6858000"/>
              <a:gd name="connsiteX391" fmla="*/ 2182715 w 7467663"/>
              <a:gd name="connsiteY391" fmla="*/ 6675071 h 6858000"/>
              <a:gd name="connsiteX392" fmla="*/ 2032061 w 7467663"/>
              <a:gd name="connsiteY392" fmla="*/ 6541380 h 6858000"/>
              <a:gd name="connsiteX393" fmla="*/ 2257220 w 7467663"/>
              <a:gd name="connsiteY393" fmla="*/ 6826257 h 6858000"/>
              <a:gd name="connsiteX394" fmla="*/ 2281324 w 7467663"/>
              <a:gd name="connsiteY394" fmla="*/ 6858000 h 6858000"/>
              <a:gd name="connsiteX395" fmla="*/ 2242860 w 7467663"/>
              <a:gd name="connsiteY395" fmla="*/ 6858000 h 6858000"/>
              <a:gd name="connsiteX396" fmla="*/ 2232818 w 7467663"/>
              <a:gd name="connsiteY396" fmla="*/ 6844926 h 6858000"/>
              <a:gd name="connsiteX397" fmla="*/ 1990172 w 7467663"/>
              <a:gd name="connsiteY397" fmla="*/ 6542121 h 6858000"/>
              <a:gd name="connsiteX398" fmla="*/ 2124090 w 7467663"/>
              <a:gd name="connsiteY398" fmla="*/ 6761017 h 6858000"/>
              <a:gd name="connsiteX399" fmla="*/ 2200380 w 7467663"/>
              <a:gd name="connsiteY399" fmla="*/ 6858000 h 6858000"/>
              <a:gd name="connsiteX400" fmla="*/ 2147507 w 7467663"/>
              <a:gd name="connsiteY400" fmla="*/ 6858000 h 6858000"/>
              <a:gd name="connsiteX401" fmla="*/ 2070668 w 7467663"/>
              <a:gd name="connsiteY401" fmla="*/ 6761520 h 6858000"/>
              <a:gd name="connsiteX402" fmla="*/ 1975142 w 7467663"/>
              <a:gd name="connsiteY402" fmla="*/ 6585570 h 6858000"/>
              <a:gd name="connsiteX403" fmla="*/ 2050035 w 7467663"/>
              <a:gd name="connsiteY403" fmla="*/ 6813345 h 6858000"/>
              <a:gd name="connsiteX404" fmla="*/ 2063025 w 7467663"/>
              <a:gd name="connsiteY404" fmla="*/ 6858000 h 6858000"/>
              <a:gd name="connsiteX405" fmla="*/ 2021675 w 7467663"/>
              <a:gd name="connsiteY405" fmla="*/ 6858000 h 6858000"/>
              <a:gd name="connsiteX406" fmla="*/ 2019308 w 7467663"/>
              <a:gd name="connsiteY406" fmla="*/ 6847118 h 6858000"/>
              <a:gd name="connsiteX407" fmla="*/ 1938835 w 7467663"/>
              <a:gd name="connsiteY407" fmla="*/ 6551160 h 6858000"/>
              <a:gd name="connsiteX408" fmla="*/ 1953230 w 7467663"/>
              <a:gd name="connsiteY408" fmla="*/ 6759699 h 6858000"/>
              <a:gd name="connsiteX409" fmla="*/ 1956763 w 7467663"/>
              <a:gd name="connsiteY409" fmla="*/ 6778191 h 6858000"/>
              <a:gd name="connsiteX410" fmla="*/ 1967925 w 7467663"/>
              <a:gd name="connsiteY410" fmla="*/ 6858000 h 6858000"/>
              <a:gd name="connsiteX411" fmla="*/ 1936622 w 7467663"/>
              <a:gd name="connsiteY411" fmla="*/ 6858000 h 6858000"/>
              <a:gd name="connsiteX412" fmla="*/ 1926261 w 7467663"/>
              <a:gd name="connsiteY412" fmla="*/ 6784064 h 6858000"/>
              <a:gd name="connsiteX413" fmla="*/ 1922724 w 7467663"/>
              <a:gd name="connsiteY413" fmla="*/ 6765577 h 6858000"/>
              <a:gd name="connsiteX414" fmla="*/ 1904650 w 7467663"/>
              <a:gd name="connsiteY414" fmla="*/ 6639616 h 6858000"/>
              <a:gd name="connsiteX415" fmla="*/ 1885273 w 7467663"/>
              <a:gd name="connsiteY415" fmla="*/ 6858000 h 6858000"/>
              <a:gd name="connsiteX416" fmla="*/ 1854363 w 7467663"/>
              <a:gd name="connsiteY416" fmla="*/ 6858000 h 6858000"/>
              <a:gd name="connsiteX417" fmla="*/ 1880391 w 7467663"/>
              <a:gd name="connsiteY417" fmla="*/ 6603796 h 6858000"/>
              <a:gd name="connsiteX418" fmla="*/ 1818273 w 7467663"/>
              <a:gd name="connsiteY418" fmla="*/ 6715729 h 6858000"/>
              <a:gd name="connsiteX419" fmla="*/ 1794691 w 7467663"/>
              <a:gd name="connsiteY419" fmla="*/ 6843239 h 6858000"/>
              <a:gd name="connsiteX420" fmla="*/ 1794914 w 7467663"/>
              <a:gd name="connsiteY420" fmla="*/ 6858000 h 6858000"/>
              <a:gd name="connsiteX421" fmla="*/ 1746128 w 7467663"/>
              <a:gd name="connsiteY421" fmla="*/ 6858000 h 6858000"/>
              <a:gd name="connsiteX422" fmla="*/ 1753934 w 7467663"/>
              <a:gd name="connsiteY422" fmla="*/ 6724796 h 6858000"/>
              <a:gd name="connsiteX423" fmla="*/ 1792053 w 7467663"/>
              <a:gd name="connsiteY423" fmla="*/ 6572396 h 6858000"/>
              <a:gd name="connsiteX424" fmla="*/ 1862248 w 7467663"/>
              <a:gd name="connsiteY424" fmla="*/ 6266397 h 6858000"/>
              <a:gd name="connsiteX425" fmla="*/ 1862250 w 7467663"/>
              <a:gd name="connsiteY425" fmla="*/ 6033531 h 6858000"/>
              <a:gd name="connsiteX426" fmla="*/ 1211999 w 7467663"/>
              <a:gd name="connsiteY426" fmla="*/ 6683610 h 6858000"/>
              <a:gd name="connsiteX427" fmla="*/ 1213266 w 7467663"/>
              <a:gd name="connsiteY427" fmla="*/ 6691947 h 6858000"/>
              <a:gd name="connsiteX428" fmla="*/ 1203370 w 7467663"/>
              <a:gd name="connsiteY428" fmla="*/ 6850676 h 6858000"/>
              <a:gd name="connsiteX429" fmla="*/ 1203671 w 7467663"/>
              <a:gd name="connsiteY429" fmla="*/ 6858000 h 6858000"/>
              <a:gd name="connsiteX430" fmla="*/ 1143180 w 7467663"/>
              <a:gd name="connsiteY430" fmla="*/ 6858000 h 6858000"/>
              <a:gd name="connsiteX431" fmla="*/ 1142176 w 7467663"/>
              <a:gd name="connsiteY431" fmla="*/ 6766045 h 6858000"/>
              <a:gd name="connsiteX432" fmla="*/ 1067484 w 7467663"/>
              <a:gd name="connsiteY432" fmla="*/ 6858000 h 6858000"/>
              <a:gd name="connsiteX433" fmla="*/ 953928 w 7467663"/>
              <a:gd name="connsiteY433" fmla="*/ 6858000 h 6858000"/>
              <a:gd name="connsiteX434" fmla="*/ 959715 w 7467663"/>
              <a:gd name="connsiteY434" fmla="*/ 6850185 h 6858000"/>
              <a:gd name="connsiteX435" fmla="*/ 1483788 w 7467663"/>
              <a:gd name="connsiteY435" fmla="*/ 6259174 h 6858000"/>
              <a:gd name="connsiteX436" fmla="*/ 1100671 w 7467663"/>
              <a:gd name="connsiteY436" fmla="*/ 6252137 h 6858000"/>
              <a:gd name="connsiteX437" fmla="*/ 1090144 w 7467663"/>
              <a:gd name="connsiteY437" fmla="*/ 6256748 h 6858000"/>
              <a:gd name="connsiteX438" fmla="*/ 1095872 w 7467663"/>
              <a:gd name="connsiteY438" fmla="*/ 6271892 h 6858000"/>
              <a:gd name="connsiteX439" fmla="*/ 262785 w 7467663"/>
              <a:gd name="connsiteY439" fmla="*/ 6845450 h 6858000"/>
              <a:gd name="connsiteX440" fmla="*/ 209968 w 7467663"/>
              <a:gd name="connsiteY440" fmla="*/ 6770713 h 6858000"/>
              <a:gd name="connsiteX441" fmla="*/ 873460 w 7467663"/>
              <a:gd name="connsiteY441" fmla="*/ 6253768 h 6858000"/>
              <a:gd name="connsiteX442" fmla="*/ 192686 w 7467663"/>
              <a:gd name="connsiteY442" fmla="*/ 5849257 h 6858000"/>
              <a:gd name="connsiteX443" fmla="*/ 4696 w 7467663"/>
              <a:gd name="connsiteY443" fmla="*/ 5697668 h 6858000"/>
              <a:gd name="connsiteX444" fmla="*/ 0 w 7467663"/>
              <a:gd name="connsiteY444" fmla="*/ 5689984 h 6858000"/>
              <a:gd name="connsiteX445" fmla="*/ 0 w 7467663"/>
              <a:gd name="connsiteY445" fmla="*/ 5513472 h 6858000"/>
              <a:gd name="connsiteX446" fmla="*/ 174101 w 7467663"/>
              <a:gd name="connsiteY446" fmla="*/ 5620277 h 6858000"/>
              <a:gd name="connsiteX447" fmla="*/ 891800 w 7467663"/>
              <a:gd name="connsiteY447" fmla="*/ 6036935 h 6858000"/>
              <a:gd name="connsiteX448" fmla="*/ 1072219 w 7467663"/>
              <a:gd name="connsiteY448" fmla="*/ 6169443 h 6858000"/>
              <a:gd name="connsiteX449" fmla="*/ 1074117 w 7467663"/>
              <a:gd name="connsiteY449" fmla="*/ 6170301 h 6858000"/>
              <a:gd name="connsiteX450" fmla="*/ 1083114 w 7467663"/>
              <a:gd name="connsiteY450" fmla="*/ 6174131 h 6858000"/>
              <a:gd name="connsiteX451" fmla="*/ 1543010 w 7467663"/>
              <a:gd name="connsiteY451" fmla="*/ 6191140 h 6858000"/>
              <a:gd name="connsiteX452" fmla="*/ 1551080 w 7467663"/>
              <a:gd name="connsiteY452" fmla="*/ 6195006 h 6858000"/>
              <a:gd name="connsiteX453" fmla="*/ 2345443 w 7467663"/>
              <a:gd name="connsiteY453" fmla="*/ 5549882 h 6858000"/>
              <a:gd name="connsiteX454" fmla="*/ 1721499 w 7467663"/>
              <a:gd name="connsiteY454" fmla="*/ 5599969 h 6858000"/>
              <a:gd name="connsiteX455" fmla="*/ 767716 w 7467663"/>
              <a:gd name="connsiteY455" fmla="*/ 5472768 h 6858000"/>
              <a:gd name="connsiteX456" fmla="*/ 722147 w 7467663"/>
              <a:gd name="connsiteY456" fmla="*/ 5393091 h 6858000"/>
              <a:gd name="connsiteX457" fmla="*/ 1485552 w 7467663"/>
              <a:gd name="connsiteY457" fmla="*/ 5313202 h 6858000"/>
              <a:gd name="connsiteX458" fmla="*/ 2143004 w 7467663"/>
              <a:gd name="connsiteY458" fmla="*/ 5402420 h 6858000"/>
              <a:gd name="connsiteX459" fmla="*/ 1933391 w 7467663"/>
              <a:gd name="connsiteY459" fmla="*/ 5156971 h 6858000"/>
              <a:gd name="connsiteX460" fmla="*/ 1827118 w 7467663"/>
              <a:gd name="connsiteY460" fmla="*/ 4968410 h 6858000"/>
              <a:gd name="connsiteX461" fmla="*/ 1837349 w 7467663"/>
              <a:gd name="connsiteY461" fmla="*/ 4956357 h 6858000"/>
              <a:gd name="connsiteX462" fmla="*/ 2162835 w 7467663"/>
              <a:gd name="connsiteY462" fmla="*/ 5187853 h 6858000"/>
              <a:gd name="connsiteX463" fmla="*/ 2257167 w 7467663"/>
              <a:gd name="connsiteY463" fmla="*/ 5462123 h 6858000"/>
              <a:gd name="connsiteX464" fmla="*/ 2261598 w 7467663"/>
              <a:gd name="connsiteY464" fmla="*/ 5467998 h 6858000"/>
              <a:gd name="connsiteX465" fmla="*/ 2437177 w 7467663"/>
              <a:gd name="connsiteY465" fmla="*/ 5479608 h 6858000"/>
              <a:gd name="connsiteX466" fmla="*/ 2445247 w 7467663"/>
              <a:gd name="connsiteY466" fmla="*/ 5483476 h 6858000"/>
              <a:gd name="connsiteX467" fmla="*/ 2743626 w 7467663"/>
              <a:gd name="connsiteY467" fmla="*/ 5304819 h 6858000"/>
              <a:gd name="connsiteX468" fmla="*/ 3048102 w 7467663"/>
              <a:gd name="connsiteY468" fmla="*/ 5150595 h 6858000"/>
              <a:gd name="connsiteX469" fmla="*/ 1799414 w 7467663"/>
              <a:gd name="connsiteY469" fmla="*/ 4694732 h 6858000"/>
              <a:gd name="connsiteX470" fmla="*/ 1771735 w 7467663"/>
              <a:gd name="connsiteY470" fmla="*/ 4619929 h 6858000"/>
              <a:gd name="connsiteX471" fmla="*/ 3104273 w 7467663"/>
              <a:gd name="connsiteY471" fmla="*/ 5076159 h 6858000"/>
              <a:gd name="connsiteX472" fmla="*/ 3113245 w 7467663"/>
              <a:gd name="connsiteY472" fmla="*/ 5090705 h 6858000"/>
              <a:gd name="connsiteX473" fmla="*/ 3126294 w 7467663"/>
              <a:gd name="connsiteY473" fmla="*/ 5114400 h 6858000"/>
              <a:gd name="connsiteX474" fmla="*/ 3937433 w 7467663"/>
              <a:gd name="connsiteY474" fmla="*/ 4830473 h 6858000"/>
              <a:gd name="connsiteX475" fmla="*/ 3590475 w 7467663"/>
              <a:gd name="connsiteY475" fmla="*/ 4597974 h 6858000"/>
              <a:gd name="connsiteX476" fmla="*/ 3100264 w 7467663"/>
              <a:gd name="connsiteY476" fmla="*/ 4579845 h 6858000"/>
              <a:gd name="connsiteX477" fmla="*/ 2183576 w 7467663"/>
              <a:gd name="connsiteY477" fmla="*/ 4227150 h 6858000"/>
              <a:gd name="connsiteX478" fmla="*/ 2151029 w 7467663"/>
              <a:gd name="connsiteY478" fmla="*/ 4146947 h 6858000"/>
              <a:gd name="connsiteX479" fmla="*/ 3563434 w 7467663"/>
              <a:gd name="connsiteY479" fmla="*/ 4469115 h 6858000"/>
              <a:gd name="connsiteX480" fmla="*/ 3177952 w 7467663"/>
              <a:gd name="connsiteY480" fmla="*/ 3657386 h 6858000"/>
              <a:gd name="connsiteX481" fmla="*/ 3189263 w 7467663"/>
              <a:gd name="connsiteY481" fmla="*/ 3625726 h 6858000"/>
              <a:gd name="connsiteX482" fmla="*/ 3560912 w 7467663"/>
              <a:gd name="connsiteY482" fmla="*/ 4079863 h 6858000"/>
              <a:gd name="connsiteX483" fmla="*/ 3626636 w 7467663"/>
              <a:gd name="connsiteY483" fmla="*/ 4512230 h 6858000"/>
              <a:gd name="connsiteX484" fmla="*/ 3653088 w 7467663"/>
              <a:gd name="connsiteY484" fmla="*/ 4521417 h 6858000"/>
              <a:gd name="connsiteX485" fmla="*/ 3988128 w 7467663"/>
              <a:gd name="connsiteY485" fmla="*/ 4817267 h 6858000"/>
              <a:gd name="connsiteX486" fmla="*/ 4830582 w 7467663"/>
              <a:gd name="connsiteY486" fmla="*/ 4676000 h 6858000"/>
              <a:gd name="connsiteX487" fmla="*/ 4830100 w 7467663"/>
              <a:gd name="connsiteY487" fmla="*/ 4675554 h 6858000"/>
              <a:gd name="connsiteX488" fmla="*/ 4036318 w 7467663"/>
              <a:gd name="connsiteY488" fmla="*/ 4147013 h 6858000"/>
              <a:gd name="connsiteX489" fmla="*/ 3432098 w 7467663"/>
              <a:gd name="connsiteY489" fmla="*/ 3537312 h 6858000"/>
              <a:gd name="connsiteX490" fmla="*/ 3446761 w 7467663"/>
              <a:gd name="connsiteY490" fmla="*/ 3461278 h 6858000"/>
              <a:gd name="connsiteX491" fmla="*/ 4419733 w 7467663"/>
              <a:gd name="connsiteY491" fmla="*/ 3963555 h 6858000"/>
              <a:gd name="connsiteX492" fmla="*/ 4781371 w 7467663"/>
              <a:gd name="connsiteY492" fmla="*/ 4458604 h 6858000"/>
              <a:gd name="connsiteX493" fmla="*/ 4780440 w 7467663"/>
              <a:gd name="connsiteY493" fmla="*/ 4470290 h 6858000"/>
              <a:gd name="connsiteX494" fmla="*/ 4898954 w 7467663"/>
              <a:gd name="connsiteY494" fmla="*/ 4662092 h 6858000"/>
              <a:gd name="connsiteX495" fmla="*/ 4900699 w 7467663"/>
              <a:gd name="connsiteY495" fmla="*/ 4670867 h 6858000"/>
              <a:gd name="connsiteX496" fmla="*/ 5714511 w 7467663"/>
              <a:gd name="connsiteY496" fmla="*/ 4663483 h 6858000"/>
              <a:gd name="connsiteX497" fmla="*/ 5464793 w 7467663"/>
              <a:gd name="connsiteY497" fmla="*/ 4393556 h 6858000"/>
              <a:gd name="connsiteX498" fmla="*/ 5461897 w 7467663"/>
              <a:gd name="connsiteY498" fmla="*/ 4390879 h 6858000"/>
              <a:gd name="connsiteX499" fmla="*/ 4294126 w 7467663"/>
              <a:gd name="connsiteY499" fmla="*/ 3303048 h 6858000"/>
              <a:gd name="connsiteX500" fmla="*/ 4305321 w 7467663"/>
              <a:gd name="connsiteY500" fmla="*/ 3256953 h 6858000"/>
              <a:gd name="connsiteX501" fmla="*/ 4949299 w 7467663"/>
              <a:gd name="connsiteY501" fmla="*/ 3766336 h 6858000"/>
              <a:gd name="connsiteX502" fmla="*/ 5291452 w 7467663"/>
              <a:gd name="connsiteY502" fmla="*/ 4076801 h 6858000"/>
              <a:gd name="connsiteX503" fmla="*/ 5434998 w 7467663"/>
              <a:gd name="connsiteY503" fmla="*/ 4254100 h 6858000"/>
              <a:gd name="connsiteX504" fmla="*/ 5351015 w 7467663"/>
              <a:gd name="connsiteY504" fmla="*/ 3760989 h 6858000"/>
              <a:gd name="connsiteX505" fmla="*/ 5413780 w 7467663"/>
              <a:gd name="connsiteY505" fmla="*/ 2966265 h 6858000"/>
              <a:gd name="connsiteX506" fmla="*/ 5425627 w 7467663"/>
              <a:gd name="connsiteY506" fmla="*/ 2954192 h 6858000"/>
              <a:gd name="connsiteX507" fmla="*/ 6604735 w 7467663"/>
              <a:gd name="connsiteY507" fmla="*/ 2041381 h 6858000"/>
              <a:gd name="connsiteX508" fmla="*/ 7204487 w 7467663"/>
              <a:gd name="connsiteY508" fmla="*/ 2742112 h 6858000"/>
              <a:gd name="connsiteX509" fmla="*/ 7131592 w 7467663"/>
              <a:gd name="connsiteY509" fmla="*/ 2672096 h 6858000"/>
              <a:gd name="connsiteX510" fmla="*/ 6996344 w 7467663"/>
              <a:gd name="connsiteY510" fmla="*/ 2518310 h 6858000"/>
              <a:gd name="connsiteX511" fmla="*/ 6735495 w 7467663"/>
              <a:gd name="connsiteY511" fmla="*/ 2196890 h 6858000"/>
              <a:gd name="connsiteX512" fmla="*/ 6721901 w 7467663"/>
              <a:gd name="connsiteY512" fmla="*/ 2179274 h 6858000"/>
              <a:gd name="connsiteX513" fmla="*/ 6604735 w 7467663"/>
              <a:gd name="connsiteY513" fmla="*/ 2041381 h 6858000"/>
              <a:gd name="connsiteX514" fmla="*/ 6591670 w 7467663"/>
              <a:gd name="connsiteY514" fmla="*/ 1988277 h 6858000"/>
              <a:gd name="connsiteX515" fmla="*/ 6747349 w 7467663"/>
              <a:gd name="connsiteY515" fmla="*/ 2160069 h 6858000"/>
              <a:gd name="connsiteX516" fmla="*/ 6760943 w 7467663"/>
              <a:gd name="connsiteY516" fmla="*/ 2177686 h 6858000"/>
              <a:gd name="connsiteX517" fmla="*/ 7021065 w 7467663"/>
              <a:gd name="connsiteY517" fmla="*/ 2498102 h 6858000"/>
              <a:gd name="connsiteX518" fmla="*/ 7155223 w 7467663"/>
              <a:gd name="connsiteY518" fmla="*/ 2650386 h 6858000"/>
              <a:gd name="connsiteX519" fmla="*/ 7203167 w 7467663"/>
              <a:gd name="connsiteY519" fmla="*/ 2697288 h 6858000"/>
              <a:gd name="connsiteX520" fmla="*/ 6937703 w 7467663"/>
              <a:gd name="connsiteY520" fmla="*/ 2321981 h 6858000"/>
              <a:gd name="connsiteX521" fmla="*/ 6591670 w 7467663"/>
              <a:gd name="connsiteY521" fmla="*/ 1988277 h 6858000"/>
              <a:gd name="connsiteX522" fmla="*/ 5798671 w 7467663"/>
              <a:gd name="connsiteY522" fmla="*/ 1981601 h 6858000"/>
              <a:gd name="connsiteX523" fmla="*/ 5754709 w 7467663"/>
              <a:gd name="connsiteY523" fmla="*/ 2071454 h 6858000"/>
              <a:gd name="connsiteX524" fmla="*/ 5763044 w 7467663"/>
              <a:gd name="connsiteY524" fmla="*/ 2842206 h 6858000"/>
              <a:gd name="connsiteX525" fmla="*/ 5764974 w 7467663"/>
              <a:gd name="connsiteY525" fmla="*/ 2799609 h 6858000"/>
              <a:gd name="connsiteX526" fmla="*/ 5767665 w 7467663"/>
              <a:gd name="connsiteY526" fmla="*/ 2666409 h 6858000"/>
              <a:gd name="connsiteX527" fmla="*/ 5763055 w 7467663"/>
              <a:gd name="connsiteY527" fmla="*/ 2579705 h 6858000"/>
              <a:gd name="connsiteX528" fmla="*/ 5758079 w 7467663"/>
              <a:gd name="connsiteY528" fmla="*/ 2492508 h 6858000"/>
              <a:gd name="connsiteX529" fmla="*/ 5779325 w 7467663"/>
              <a:gd name="connsiteY529" fmla="*/ 2197069 h 6858000"/>
              <a:gd name="connsiteX530" fmla="*/ 5798671 w 7467663"/>
              <a:gd name="connsiteY530" fmla="*/ 1981601 h 6858000"/>
              <a:gd name="connsiteX531" fmla="*/ 5829202 w 7467663"/>
              <a:gd name="connsiteY531" fmla="*/ 1971679 h 6858000"/>
              <a:gd name="connsiteX532" fmla="*/ 5809558 w 7467663"/>
              <a:gd name="connsiteY532" fmla="*/ 2198043 h 6858000"/>
              <a:gd name="connsiteX533" fmla="*/ 5788653 w 7467663"/>
              <a:gd name="connsiteY533" fmla="*/ 2489430 h 6858000"/>
              <a:gd name="connsiteX534" fmla="*/ 5793439 w 7467663"/>
              <a:gd name="connsiteY534" fmla="*/ 2575235 h 6858000"/>
              <a:gd name="connsiteX535" fmla="*/ 5796837 w 7467663"/>
              <a:gd name="connsiteY535" fmla="*/ 2637633 h 6858000"/>
              <a:gd name="connsiteX536" fmla="*/ 5818614 w 7467663"/>
              <a:gd name="connsiteY536" fmla="*/ 2473055 h 6858000"/>
              <a:gd name="connsiteX537" fmla="*/ 5829202 w 7467663"/>
              <a:gd name="connsiteY537" fmla="*/ 1971679 h 6858000"/>
              <a:gd name="connsiteX538" fmla="*/ 5911389 w 7467663"/>
              <a:gd name="connsiteY538" fmla="*/ 1898371 h 6858000"/>
              <a:gd name="connsiteX539" fmla="*/ 6237627 w 7467663"/>
              <a:gd name="connsiteY539" fmla="*/ 2231921 h 6858000"/>
              <a:gd name="connsiteX540" fmla="*/ 5911389 w 7467663"/>
              <a:gd name="connsiteY540" fmla="*/ 1898371 h 6858000"/>
              <a:gd name="connsiteX541" fmla="*/ 6944437 w 7467663"/>
              <a:gd name="connsiteY541" fmla="*/ 1575402 h 6858000"/>
              <a:gd name="connsiteX542" fmla="*/ 6304730 w 7467663"/>
              <a:gd name="connsiteY542" fmla="*/ 1766654 h 6858000"/>
              <a:gd name="connsiteX543" fmla="*/ 6944437 w 7467663"/>
              <a:gd name="connsiteY543" fmla="*/ 1575402 h 6858000"/>
              <a:gd name="connsiteX544" fmla="*/ 7019523 w 7467663"/>
              <a:gd name="connsiteY544" fmla="*/ 1519450 h 6858000"/>
              <a:gd name="connsiteX545" fmla="*/ 6298091 w 7467663"/>
              <a:gd name="connsiteY545" fmla="*/ 1737122 h 6858000"/>
              <a:gd name="connsiteX546" fmla="*/ 7019523 w 7467663"/>
              <a:gd name="connsiteY546" fmla="*/ 1519450 h 6858000"/>
              <a:gd name="connsiteX547" fmla="*/ 2399523 w 7467663"/>
              <a:gd name="connsiteY547" fmla="*/ 1428234 h 6858000"/>
              <a:gd name="connsiteX548" fmla="*/ 2224982 w 7467663"/>
              <a:gd name="connsiteY548" fmla="*/ 1826201 h 6858000"/>
              <a:gd name="connsiteX549" fmla="*/ 2096099 w 7467663"/>
              <a:gd name="connsiteY549" fmla="*/ 2345900 h 6858000"/>
              <a:gd name="connsiteX550" fmla="*/ 2283317 w 7467663"/>
              <a:gd name="connsiteY550" fmla="*/ 1796925 h 6858000"/>
              <a:gd name="connsiteX551" fmla="*/ 2399523 w 7467663"/>
              <a:gd name="connsiteY551" fmla="*/ 1428234 h 6858000"/>
              <a:gd name="connsiteX552" fmla="*/ 2448558 w 7467663"/>
              <a:gd name="connsiteY552" fmla="*/ 1373435 h 6858000"/>
              <a:gd name="connsiteX553" fmla="*/ 2312521 w 7467663"/>
              <a:gd name="connsiteY553" fmla="*/ 1806140 h 6858000"/>
              <a:gd name="connsiteX554" fmla="*/ 2127533 w 7467663"/>
              <a:gd name="connsiteY554" fmla="*/ 2348380 h 6858000"/>
              <a:gd name="connsiteX555" fmla="*/ 2358080 w 7467663"/>
              <a:gd name="connsiteY555" fmla="*/ 1866134 h 6858000"/>
              <a:gd name="connsiteX556" fmla="*/ 2407436 w 7467663"/>
              <a:gd name="connsiteY556" fmla="*/ 1651070 h 6858000"/>
              <a:gd name="connsiteX557" fmla="*/ 2448558 w 7467663"/>
              <a:gd name="connsiteY557" fmla="*/ 1373435 h 6858000"/>
              <a:gd name="connsiteX558" fmla="*/ 278707 w 7467663"/>
              <a:gd name="connsiteY558" fmla="*/ 1352270 h 6858000"/>
              <a:gd name="connsiteX559" fmla="*/ 321570 w 7467663"/>
              <a:gd name="connsiteY559" fmla="*/ 1861610 h 6858000"/>
              <a:gd name="connsiteX560" fmla="*/ 294281 w 7467663"/>
              <a:gd name="connsiteY560" fmla="*/ 1440658 h 6858000"/>
              <a:gd name="connsiteX561" fmla="*/ 278707 w 7467663"/>
              <a:gd name="connsiteY561" fmla="*/ 1352270 h 6858000"/>
              <a:gd name="connsiteX562" fmla="*/ 1423821 w 7467663"/>
              <a:gd name="connsiteY562" fmla="*/ 1351958 h 6858000"/>
              <a:gd name="connsiteX563" fmla="*/ 1638521 w 7467663"/>
              <a:gd name="connsiteY563" fmla="*/ 1908470 h 6858000"/>
              <a:gd name="connsiteX564" fmla="*/ 1754199 w 7467663"/>
              <a:gd name="connsiteY564" fmla="*/ 2149284 h 6858000"/>
              <a:gd name="connsiteX565" fmla="*/ 1908359 w 7467663"/>
              <a:gd name="connsiteY565" fmla="*/ 2364988 h 6858000"/>
              <a:gd name="connsiteX566" fmla="*/ 1647661 w 7467663"/>
              <a:gd name="connsiteY566" fmla="*/ 1825945 h 6858000"/>
              <a:gd name="connsiteX567" fmla="*/ 1423821 w 7467663"/>
              <a:gd name="connsiteY567" fmla="*/ 1351958 h 6858000"/>
              <a:gd name="connsiteX568" fmla="*/ 1431890 w 7467663"/>
              <a:gd name="connsiteY568" fmla="*/ 1306475 h 6858000"/>
              <a:gd name="connsiteX569" fmla="*/ 1507597 w 7467663"/>
              <a:gd name="connsiteY569" fmla="*/ 1446132 h 6858000"/>
              <a:gd name="connsiteX570" fmla="*/ 1674586 w 7467663"/>
              <a:gd name="connsiteY570" fmla="*/ 1813832 h 6858000"/>
              <a:gd name="connsiteX571" fmla="*/ 1815950 w 7467663"/>
              <a:gd name="connsiteY571" fmla="*/ 2128564 h 6858000"/>
              <a:gd name="connsiteX572" fmla="*/ 1984242 w 7467663"/>
              <a:gd name="connsiteY572" fmla="*/ 2430829 h 6858000"/>
              <a:gd name="connsiteX573" fmla="*/ 2014023 w 7467663"/>
              <a:gd name="connsiteY573" fmla="*/ 2450995 h 6858000"/>
              <a:gd name="connsiteX574" fmla="*/ 1747337 w 7467663"/>
              <a:gd name="connsiteY574" fmla="*/ 1855264 h 6858000"/>
              <a:gd name="connsiteX575" fmla="*/ 1533749 w 7467663"/>
              <a:gd name="connsiteY575" fmla="*/ 1478656 h 6858000"/>
              <a:gd name="connsiteX576" fmla="*/ 1431890 w 7467663"/>
              <a:gd name="connsiteY576" fmla="*/ 1306475 h 6858000"/>
              <a:gd name="connsiteX577" fmla="*/ 5052692 w 7467663"/>
              <a:gd name="connsiteY577" fmla="*/ 1292994 h 6858000"/>
              <a:gd name="connsiteX578" fmla="*/ 5200661 w 7467663"/>
              <a:gd name="connsiteY578" fmla="*/ 1635186 h 6858000"/>
              <a:gd name="connsiteX579" fmla="*/ 5297138 w 7467663"/>
              <a:gd name="connsiteY579" fmla="*/ 1906351 h 6858000"/>
              <a:gd name="connsiteX580" fmla="*/ 5052692 w 7467663"/>
              <a:gd name="connsiteY580" fmla="*/ 1292994 h 6858000"/>
              <a:gd name="connsiteX581" fmla="*/ 5009948 w 7467663"/>
              <a:gd name="connsiteY581" fmla="*/ 1273619 h 6858000"/>
              <a:gd name="connsiteX582" fmla="*/ 5121777 w 7467663"/>
              <a:gd name="connsiteY582" fmla="*/ 1654213 h 6858000"/>
              <a:gd name="connsiteX583" fmla="*/ 5293545 w 7467663"/>
              <a:gd name="connsiteY583" fmla="*/ 2072247 h 6858000"/>
              <a:gd name="connsiteX584" fmla="*/ 5294042 w 7467663"/>
              <a:gd name="connsiteY584" fmla="*/ 2065019 h 6858000"/>
              <a:gd name="connsiteX585" fmla="*/ 5171936 w 7467663"/>
              <a:gd name="connsiteY585" fmla="*/ 1647613 h 6858000"/>
              <a:gd name="connsiteX586" fmla="*/ 5009948 w 7467663"/>
              <a:gd name="connsiteY586" fmla="*/ 1273619 h 6858000"/>
              <a:gd name="connsiteX587" fmla="*/ 655236 w 7467663"/>
              <a:gd name="connsiteY587" fmla="*/ 1268632 h 6858000"/>
              <a:gd name="connsiteX588" fmla="*/ 839521 w 7467663"/>
              <a:gd name="connsiteY588" fmla="*/ 1685315 h 6858000"/>
              <a:gd name="connsiteX589" fmla="*/ 1109416 w 7467663"/>
              <a:gd name="connsiteY589" fmla="*/ 2061663 h 6858000"/>
              <a:gd name="connsiteX590" fmla="*/ 1298300 w 7467663"/>
              <a:gd name="connsiteY590" fmla="*/ 2247742 h 6858000"/>
              <a:gd name="connsiteX591" fmla="*/ 1125871 w 7467663"/>
              <a:gd name="connsiteY591" fmla="*/ 1989513 h 6858000"/>
              <a:gd name="connsiteX592" fmla="*/ 981574 w 7467663"/>
              <a:gd name="connsiteY592" fmla="*/ 1783157 h 6858000"/>
              <a:gd name="connsiteX593" fmla="*/ 922198 w 7467663"/>
              <a:gd name="connsiteY593" fmla="*/ 1677437 h 6858000"/>
              <a:gd name="connsiteX594" fmla="*/ 869293 w 7467663"/>
              <a:gd name="connsiteY594" fmla="*/ 1583214 h 6858000"/>
              <a:gd name="connsiteX595" fmla="*/ 751431 w 7467663"/>
              <a:gd name="connsiteY595" fmla="*/ 1405731 h 6858000"/>
              <a:gd name="connsiteX596" fmla="*/ 655236 w 7467663"/>
              <a:gd name="connsiteY596" fmla="*/ 1268632 h 6858000"/>
              <a:gd name="connsiteX597" fmla="*/ 6516292 w 7467663"/>
              <a:gd name="connsiteY597" fmla="*/ 1263064 h 6858000"/>
              <a:gd name="connsiteX598" fmla="*/ 5736320 w 7467663"/>
              <a:gd name="connsiteY598" fmla="*/ 1501803 h 6858000"/>
              <a:gd name="connsiteX599" fmla="*/ 6516292 w 7467663"/>
              <a:gd name="connsiteY599" fmla="*/ 1263064 h 6858000"/>
              <a:gd name="connsiteX600" fmla="*/ 291466 w 7467663"/>
              <a:gd name="connsiteY600" fmla="*/ 1250369 h 6858000"/>
              <a:gd name="connsiteX601" fmla="*/ 323180 w 7467663"/>
              <a:gd name="connsiteY601" fmla="*/ 1435283 h 6858000"/>
              <a:gd name="connsiteX602" fmla="*/ 349381 w 7467663"/>
              <a:gd name="connsiteY602" fmla="*/ 1875041 h 6858000"/>
              <a:gd name="connsiteX603" fmla="*/ 374363 w 7467663"/>
              <a:gd name="connsiteY603" fmla="*/ 1506494 h 6858000"/>
              <a:gd name="connsiteX604" fmla="*/ 302168 w 7467663"/>
              <a:gd name="connsiteY604" fmla="*/ 1274495 h 6858000"/>
              <a:gd name="connsiteX605" fmla="*/ 291466 w 7467663"/>
              <a:gd name="connsiteY605" fmla="*/ 1250369 h 6858000"/>
              <a:gd name="connsiteX606" fmla="*/ 678222 w 7467663"/>
              <a:gd name="connsiteY606" fmla="*/ 1248670 h 6858000"/>
              <a:gd name="connsiteX607" fmla="*/ 775536 w 7467663"/>
              <a:gd name="connsiteY607" fmla="*/ 1388015 h 6858000"/>
              <a:gd name="connsiteX608" fmla="*/ 894529 w 7467663"/>
              <a:gd name="connsiteY608" fmla="*/ 1567739 h 6858000"/>
              <a:gd name="connsiteX609" fmla="*/ 948000 w 7467663"/>
              <a:gd name="connsiteY609" fmla="*/ 1663088 h 6858000"/>
              <a:gd name="connsiteX610" fmla="*/ 1006812 w 7467663"/>
              <a:gd name="connsiteY610" fmla="*/ 1767683 h 6858000"/>
              <a:gd name="connsiteX611" fmla="*/ 1149133 w 7467663"/>
              <a:gd name="connsiteY611" fmla="*/ 1971513 h 6858000"/>
              <a:gd name="connsiteX612" fmla="*/ 1333952 w 7467663"/>
              <a:gd name="connsiteY612" fmla="*/ 2251620 h 6858000"/>
              <a:gd name="connsiteX613" fmla="*/ 1337329 w 7467663"/>
              <a:gd name="connsiteY613" fmla="*/ 2258350 h 6858000"/>
              <a:gd name="connsiteX614" fmla="*/ 1014726 w 7467663"/>
              <a:gd name="connsiteY614" fmla="*/ 1615556 h 6858000"/>
              <a:gd name="connsiteX615" fmla="*/ 678222 w 7467663"/>
              <a:gd name="connsiteY615" fmla="*/ 1248670 h 6858000"/>
              <a:gd name="connsiteX616" fmla="*/ 6691602 w 7467663"/>
              <a:gd name="connsiteY616" fmla="*/ 1140573 h 6858000"/>
              <a:gd name="connsiteX617" fmla="*/ 6571100 w 7467663"/>
              <a:gd name="connsiteY617" fmla="*/ 1183662 h 6858000"/>
              <a:gd name="connsiteX618" fmla="*/ 6241687 w 7467663"/>
              <a:gd name="connsiteY618" fmla="*/ 1257600 h 6858000"/>
              <a:gd name="connsiteX619" fmla="*/ 5693009 w 7467663"/>
              <a:gd name="connsiteY619" fmla="*/ 1478256 h 6858000"/>
              <a:gd name="connsiteX620" fmla="*/ 6548420 w 7467663"/>
              <a:gd name="connsiteY620" fmla="*/ 1214599 h 6858000"/>
              <a:gd name="connsiteX621" fmla="*/ 6605473 w 7467663"/>
              <a:gd name="connsiteY621" fmla="*/ 1184686 h 6858000"/>
              <a:gd name="connsiteX622" fmla="*/ 6691602 w 7467663"/>
              <a:gd name="connsiteY622" fmla="*/ 1140573 h 6858000"/>
              <a:gd name="connsiteX623" fmla="*/ 4002475 w 7467663"/>
              <a:gd name="connsiteY623" fmla="*/ 1037802 h 6858000"/>
              <a:gd name="connsiteX624" fmla="*/ 4000324 w 7467663"/>
              <a:gd name="connsiteY624" fmla="*/ 1039362 h 6858000"/>
              <a:gd name="connsiteX625" fmla="*/ 4002862 w 7467663"/>
              <a:gd name="connsiteY625" fmla="*/ 1042866 h 6858000"/>
              <a:gd name="connsiteX626" fmla="*/ 4002475 w 7467663"/>
              <a:gd name="connsiteY626" fmla="*/ 1037802 h 6858000"/>
              <a:gd name="connsiteX627" fmla="*/ 506322 w 7467663"/>
              <a:gd name="connsiteY627" fmla="*/ 1020997 h 6858000"/>
              <a:gd name="connsiteX628" fmla="*/ 533068 w 7467663"/>
              <a:gd name="connsiteY628" fmla="*/ 1029409 h 6858000"/>
              <a:gd name="connsiteX629" fmla="*/ 1232525 w 7467663"/>
              <a:gd name="connsiteY629" fmla="*/ 1804675 h 6858000"/>
              <a:gd name="connsiteX630" fmla="*/ 1388858 w 7467663"/>
              <a:gd name="connsiteY630" fmla="*/ 2368011 h 6858000"/>
              <a:gd name="connsiteX631" fmla="*/ 1384098 w 7467663"/>
              <a:gd name="connsiteY631" fmla="*/ 2378125 h 6858000"/>
              <a:gd name="connsiteX632" fmla="*/ 1425393 w 7467663"/>
              <a:gd name="connsiteY632" fmla="*/ 2589124 h 6858000"/>
              <a:gd name="connsiteX633" fmla="*/ 1424001 w 7467663"/>
              <a:gd name="connsiteY633" fmla="*/ 2597541 h 6858000"/>
              <a:gd name="connsiteX634" fmla="*/ 2152729 w 7467663"/>
              <a:gd name="connsiteY634" fmla="*/ 2864487 h 6858000"/>
              <a:gd name="connsiteX635" fmla="*/ 2020609 w 7467663"/>
              <a:gd name="connsiteY635" fmla="*/ 2539671 h 6858000"/>
              <a:gd name="connsiteX636" fmla="*/ 2018920 w 7467663"/>
              <a:gd name="connsiteY636" fmla="*/ 2536309 h 6858000"/>
              <a:gd name="connsiteX637" fmla="*/ 1342441 w 7467663"/>
              <a:gd name="connsiteY637" fmla="*/ 1173017 h 6858000"/>
              <a:gd name="connsiteX638" fmla="*/ 1367925 w 7467663"/>
              <a:gd name="connsiteY638" fmla="*/ 1135648 h 6858000"/>
              <a:gd name="connsiteX639" fmla="*/ 1771401 w 7467663"/>
              <a:gd name="connsiteY639" fmla="*/ 1806673 h 6858000"/>
              <a:gd name="connsiteX640" fmla="*/ 1972385 w 7467663"/>
              <a:gd name="connsiteY640" fmla="*/ 2198735 h 6858000"/>
              <a:gd name="connsiteX641" fmla="*/ 2040892 w 7467663"/>
              <a:gd name="connsiteY641" fmla="*/ 2405205 h 6858000"/>
              <a:gd name="connsiteX642" fmla="*/ 2131689 w 7467663"/>
              <a:gd name="connsiteY642" fmla="*/ 1936926 h 6858000"/>
              <a:gd name="connsiteX643" fmla="*/ 2454820 w 7467663"/>
              <a:gd name="connsiteY643" fmla="*/ 1248808 h 6858000"/>
              <a:gd name="connsiteX644" fmla="*/ 2492512 w 7467663"/>
              <a:gd name="connsiteY644" fmla="*/ 1302920 h 6858000"/>
              <a:gd name="connsiteX645" fmla="*/ 2081216 w 7467663"/>
              <a:gd name="connsiteY645" fmla="*/ 2527513 h 6858000"/>
              <a:gd name="connsiteX646" fmla="*/ 2081211 w 7467663"/>
              <a:gd name="connsiteY646" fmla="*/ 2528916 h 6858000"/>
              <a:gd name="connsiteX647" fmla="*/ 2199067 w 7467663"/>
              <a:gd name="connsiteY647" fmla="*/ 2884061 h 6858000"/>
              <a:gd name="connsiteX648" fmla="*/ 3192586 w 7467663"/>
              <a:gd name="connsiteY648" fmla="*/ 3411496 h 6858000"/>
              <a:gd name="connsiteX649" fmla="*/ 3182620 w 7467663"/>
              <a:gd name="connsiteY649" fmla="*/ 3483279 h 6858000"/>
              <a:gd name="connsiteX650" fmla="*/ 2435119 w 7467663"/>
              <a:gd name="connsiteY650" fmla="*/ 3080173 h 6858000"/>
              <a:gd name="connsiteX651" fmla="*/ 2410152 w 7467663"/>
              <a:gd name="connsiteY651" fmla="*/ 3063751 h 6858000"/>
              <a:gd name="connsiteX652" fmla="*/ 2408099 w 7467663"/>
              <a:gd name="connsiteY652" fmla="*/ 3064403 h 6858000"/>
              <a:gd name="connsiteX653" fmla="*/ 2407218 w 7467663"/>
              <a:gd name="connsiteY653" fmla="*/ 3070324 h 6858000"/>
              <a:gd name="connsiteX654" fmla="*/ 2380138 w 7467663"/>
              <a:gd name="connsiteY654" fmla="*/ 3099341 h 6858000"/>
              <a:gd name="connsiteX655" fmla="*/ 1765923 w 7467663"/>
              <a:gd name="connsiteY655" fmla="*/ 3581043 h 6858000"/>
              <a:gd name="connsiteX656" fmla="*/ 1702258 w 7467663"/>
              <a:gd name="connsiteY656" fmla="*/ 3612286 h 6858000"/>
              <a:gd name="connsiteX657" fmla="*/ 1538370 w 7467663"/>
              <a:gd name="connsiteY657" fmla="*/ 3811804 h 6858000"/>
              <a:gd name="connsiteX658" fmla="*/ 542867 w 7467663"/>
              <a:gd name="connsiteY658" fmla="*/ 4944092 h 6858000"/>
              <a:gd name="connsiteX659" fmla="*/ 515800 w 7467663"/>
              <a:gd name="connsiteY659" fmla="*/ 4862180 h 6858000"/>
              <a:gd name="connsiteX660" fmla="*/ 909145 w 7467663"/>
              <a:gd name="connsiteY660" fmla="*/ 4199225 h 6858000"/>
              <a:gd name="connsiteX661" fmla="*/ 1214067 w 7467663"/>
              <a:gd name="connsiteY661" fmla="*/ 3908561 h 6858000"/>
              <a:gd name="connsiteX662" fmla="*/ 640967 w 7467663"/>
              <a:gd name="connsiteY662" fmla="*/ 4105601 h 6858000"/>
              <a:gd name="connsiteX663" fmla="*/ 112563 w 7467663"/>
              <a:gd name="connsiteY663" fmla="*/ 4396952 h 6858000"/>
              <a:gd name="connsiteX664" fmla="*/ 0 w 7467663"/>
              <a:gd name="connsiteY664" fmla="*/ 4466006 h 6858000"/>
              <a:gd name="connsiteX665" fmla="*/ 0 w 7467663"/>
              <a:gd name="connsiteY665" fmla="*/ 4233763 h 6858000"/>
              <a:gd name="connsiteX666" fmla="*/ 36881 w 7467663"/>
              <a:gd name="connsiteY666" fmla="*/ 4200118 h 6858000"/>
              <a:gd name="connsiteX667" fmla="*/ 910534 w 7467663"/>
              <a:gd name="connsiteY667" fmla="*/ 3629753 h 6858000"/>
              <a:gd name="connsiteX668" fmla="*/ 1578717 w 7467663"/>
              <a:gd name="connsiteY668" fmla="*/ 3575982 h 6858000"/>
              <a:gd name="connsiteX669" fmla="*/ 2338780 w 7467663"/>
              <a:gd name="connsiteY669" fmla="*/ 3033725 h 6858000"/>
              <a:gd name="connsiteX670" fmla="*/ 1807991 w 7467663"/>
              <a:gd name="connsiteY670" fmla="*/ 2807184 h 6858000"/>
              <a:gd name="connsiteX671" fmla="*/ 1416358 w 7467663"/>
              <a:gd name="connsiteY671" fmla="*/ 3112571 h 6858000"/>
              <a:gd name="connsiteX672" fmla="*/ 939066 w 7467663"/>
              <a:gd name="connsiteY672" fmla="*/ 3378798 h 6858000"/>
              <a:gd name="connsiteX673" fmla="*/ 115099 w 7467663"/>
              <a:gd name="connsiteY673" fmla="*/ 3607650 h 6858000"/>
              <a:gd name="connsiteX674" fmla="*/ 97284 w 7467663"/>
              <a:gd name="connsiteY674" fmla="*/ 3520393 h 6858000"/>
              <a:gd name="connsiteX675" fmla="*/ 922050 w 7467663"/>
              <a:gd name="connsiteY675" fmla="*/ 3074867 h 6858000"/>
              <a:gd name="connsiteX676" fmla="*/ 1405265 w 7467663"/>
              <a:gd name="connsiteY676" fmla="*/ 3016319 h 6858000"/>
              <a:gd name="connsiteX677" fmla="*/ 1407512 w 7467663"/>
              <a:gd name="connsiteY677" fmla="*/ 3018001 h 6858000"/>
              <a:gd name="connsiteX678" fmla="*/ 1726266 w 7467663"/>
              <a:gd name="connsiteY678" fmla="*/ 2777274 h 6858000"/>
              <a:gd name="connsiteX679" fmla="*/ 625390 w 7467663"/>
              <a:gd name="connsiteY679" fmla="*/ 2514541 h 6858000"/>
              <a:gd name="connsiteX680" fmla="*/ 619799 w 7467663"/>
              <a:gd name="connsiteY680" fmla="*/ 2527180 h 6858000"/>
              <a:gd name="connsiteX681" fmla="*/ 310030 w 7467663"/>
              <a:gd name="connsiteY681" fmla="*/ 2771818 h 6858000"/>
              <a:gd name="connsiteX682" fmla="*/ 173877 w 7467663"/>
              <a:gd name="connsiteY682" fmla="*/ 2937056 h 6858000"/>
              <a:gd name="connsiteX683" fmla="*/ 77889 w 7467663"/>
              <a:gd name="connsiteY683" fmla="*/ 3138440 h 6858000"/>
              <a:gd name="connsiteX684" fmla="*/ 0 w 7467663"/>
              <a:gd name="connsiteY684" fmla="*/ 3271395 h 6858000"/>
              <a:gd name="connsiteX685" fmla="*/ 0 w 7467663"/>
              <a:gd name="connsiteY685" fmla="*/ 3153002 h 6858000"/>
              <a:gd name="connsiteX686" fmla="*/ 2386 w 7467663"/>
              <a:gd name="connsiteY686" fmla="*/ 3149203 h 6858000"/>
              <a:gd name="connsiteX687" fmla="*/ 89753 w 7467663"/>
              <a:gd name="connsiteY687" fmla="*/ 2987702 h 6858000"/>
              <a:gd name="connsiteX688" fmla="*/ 76869 w 7467663"/>
              <a:gd name="connsiteY688" fmla="*/ 3005404 h 6858000"/>
              <a:gd name="connsiteX689" fmla="*/ 32049 w 7467663"/>
              <a:gd name="connsiteY689" fmla="*/ 3065814 h 6858000"/>
              <a:gd name="connsiteX690" fmla="*/ 0 w 7467663"/>
              <a:gd name="connsiteY690" fmla="*/ 3108744 h 6858000"/>
              <a:gd name="connsiteX691" fmla="*/ 0 w 7467663"/>
              <a:gd name="connsiteY691" fmla="*/ 3058059 h 6858000"/>
              <a:gd name="connsiteX692" fmla="*/ 7610 w 7467663"/>
              <a:gd name="connsiteY692" fmla="*/ 3047889 h 6858000"/>
              <a:gd name="connsiteX693" fmla="*/ 52419 w 7467663"/>
              <a:gd name="connsiteY693" fmla="*/ 2987479 h 6858000"/>
              <a:gd name="connsiteX694" fmla="*/ 59142 w 7467663"/>
              <a:gd name="connsiteY694" fmla="*/ 2978488 h 6858000"/>
              <a:gd name="connsiteX695" fmla="*/ 0 w 7467663"/>
              <a:gd name="connsiteY695" fmla="*/ 3015334 h 6858000"/>
              <a:gd name="connsiteX696" fmla="*/ 0 w 7467663"/>
              <a:gd name="connsiteY696" fmla="*/ 2914286 h 6858000"/>
              <a:gd name="connsiteX697" fmla="*/ 36383 w 7467663"/>
              <a:gd name="connsiteY697" fmla="*/ 2901128 h 6858000"/>
              <a:gd name="connsiteX698" fmla="*/ 156329 w 7467663"/>
              <a:gd name="connsiteY698" fmla="*/ 2840533 h 6858000"/>
              <a:gd name="connsiteX699" fmla="*/ 358355 w 7467663"/>
              <a:gd name="connsiteY699" fmla="*/ 2620471 h 6858000"/>
              <a:gd name="connsiteX700" fmla="*/ 510577 w 7467663"/>
              <a:gd name="connsiteY700" fmla="*/ 2501244 h 6858000"/>
              <a:gd name="connsiteX701" fmla="*/ 211967 w 7467663"/>
              <a:gd name="connsiteY701" fmla="*/ 2479171 h 6858000"/>
              <a:gd name="connsiteX702" fmla="*/ 0 w 7467663"/>
              <a:gd name="connsiteY702" fmla="*/ 2476398 h 6858000"/>
              <a:gd name="connsiteX703" fmla="*/ 0 w 7467663"/>
              <a:gd name="connsiteY703" fmla="*/ 2389189 h 6858000"/>
              <a:gd name="connsiteX704" fmla="*/ 103062 w 7467663"/>
              <a:gd name="connsiteY704" fmla="*/ 2389518 h 6858000"/>
              <a:gd name="connsiteX705" fmla="*/ 510734 w 7467663"/>
              <a:gd name="connsiteY705" fmla="*/ 2416201 h 6858000"/>
              <a:gd name="connsiteX706" fmla="*/ 279257 w 7467663"/>
              <a:gd name="connsiteY706" fmla="*/ 2092102 h 6858000"/>
              <a:gd name="connsiteX707" fmla="*/ 65265 w 7467663"/>
              <a:gd name="connsiteY707" fmla="*/ 2006049 h 6858000"/>
              <a:gd name="connsiteX708" fmla="*/ 0 w 7467663"/>
              <a:gd name="connsiteY708" fmla="*/ 1982532 h 6858000"/>
              <a:gd name="connsiteX709" fmla="*/ 0 w 7467663"/>
              <a:gd name="connsiteY709" fmla="*/ 1912789 h 6858000"/>
              <a:gd name="connsiteX710" fmla="*/ 97460 w 7467663"/>
              <a:gd name="connsiteY710" fmla="*/ 1953725 h 6858000"/>
              <a:gd name="connsiteX711" fmla="*/ 221272 w 7467663"/>
              <a:gd name="connsiteY711" fmla="*/ 1980766 h 6858000"/>
              <a:gd name="connsiteX712" fmla="*/ 116765 w 7467663"/>
              <a:gd name="connsiteY712" fmla="*/ 1911033 h 6858000"/>
              <a:gd name="connsiteX713" fmla="*/ 16405 w 7467663"/>
              <a:gd name="connsiteY713" fmla="*/ 1803412 h 6858000"/>
              <a:gd name="connsiteX714" fmla="*/ 0 w 7467663"/>
              <a:gd name="connsiteY714" fmla="*/ 1784777 h 6858000"/>
              <a:gd name="connsiteX715" fmla="*/ 0 w 7467663"/>
              <a:gd name="connsiteY715" fmla="*/ 1740082 h 6858000"/>
              <a:gd name="connsiteX716" fmla="*/ 39394 w 7467663"/>
              <a:gd name="connsiteY716" fmla="*/ 1784856 h 6858000"/>
              <a:gd name="connsiteX717" fmla="*/ 135813 w 7467663"/>
              <a:gd name="connsiteY717" fmla="*/ 1888838 h 6858000"/>
              <a:gd name="connsiteX718" fmla="*/ 242575 w 7467663"/>
              <a:gd name="connsiteY718" fmla="*/ 1958841 h 6858000"/>
              <a:gd name="connsiteX719" fmla="*/ 82197 w 7467663"/>
              <a:gd name="connsiteY719" fmla="*/ 1754826 h 6858000"/>
              <a:gd name="connsiteX720" fmla="*/ 0 w 7467663"/>
              <a:gd name="connsiteY720" fmla="*/ 1679650 h 6858000"/>
              <a:gd name="connsiteX721" fmla="*/ 0 w 7467663"/>
              <a:gd name="connsiteY721" fmla="*/ 1602463 h 6858000"/>
              <a:gd name="connsiteX722" fmla="*/ 84689 w 7467663"/>
              <a:gd name="connsiteY722" fmla="*/ 1677442 h 6858000"/>
              <a:gd name="connsiteX723" fmla="*/ 298437 w 7467663"/>
              <a:gd name="connsiteY723" fmla="*/ 1968019 h 6858000"/>
              <a:gd name="connsiteX724" fmla="*/ 227269 w 7467663"/>
              <a:gd name="connsiteY724" fmla="*/ 1114064 h 6858000"/>
              <a:gd name="connsiteX725" fmla="*/ 248003 w 7467663"/>
              <a:gd name="connsiteY725" fmla="*/ 1089613 h 6858000"/>
              <a:gd name="connsiteX726" fmla="*/ 427020 w 7467663"/>
              <a:gd name="connsiteY726" fmla="*/ 1619803 h 6858000"/>
              <a:gd name="connsiteX727" fmla="*/ 340345 w 7467663"/>
              <a:gd name="connsiteY727" fmla="*/ 2027739 h 6858000"/>
              <a:gd name="connsiteX728" fmla="*/ 360865 w 7467663"/>
              <a:gd name="connsiteY728" fmla="*/ 2044827 h 6858000"/>
              <a:gd name="connsiteX729" fmla="*/ 560414 w 7467663"/>
              <a:gd name="connsiteY729" fmla="*/ 2421457 h 6858000"/>
              <a:gd name="connsiteX730" fmla="*/ 1359703 w 7467663"/>
              <a:gd name="connsiteY730" fmla="*/ 2578554 h 6858000"/>
              <a:gd name="connsiteX731" fmla="*/ 1359422 w 7467663"/>
              <a:gd name="connsiteY731" fmla="*/ 2577994 h 6858000"/>
              <a:gd name="connsiteX732" fmla="*/ 828701 w 7467663"/>
              <a:gd name="connsiteY732" fmla="*/ 1839520 h 6858000"/>
              <a:gd name="connsiteX733" fmla="*/ 494427 w 7467663"/>
              <a:gd name="connsiteY733" fmla="*/ 1092333 h 6858000"/>
              <a:gd name="connsiteX734" fmla="*/ 506322 w 7467663"/>
              <a:gd name="connsiteY734" fmla="*/ 1020997 h 6858000"/>
              <a:gd name="connsiteX735" fmla="*/ 4570198 w 7467663"/>
              <a:gd name="connsiteY735" fmla="*/ 978081 h 6858000"/>
              <a:gd name="connsiteX736" fmla="*/ 4523691 w 7467663"/>
              <a:gd name="connsiteY736" fmla="*/ 1127776 h 6858000"/>
              <a:gd name="connsiteX737" fmla="*/ 4509875 w 7467663"/>
              <a:gd name="connsiteY737" fmla="*/ 1167552 h 6858000"/>
              <a:gd name="connsiteX738" fmla="*/ 4478168 w 7467663"/>
              <a:gd name="connsiteY738" fmla="*/ 1260735 h 6858000"/>
              <a:gd name="connsiteX739" fmla="*/ 4409309 w 7467663"/>
              <a:gd name="connsiteY739" fmla="*/ 1666996 h 6858000"/>
              <a:gd name="connsiteX740" fmla="*/ 4370031 w 7467663"/>
              <a:gd name="connsiteY740" fmla="*/ 1955666 h 6858000"/>
              <a:gd name="connsiteX741" fmla="*/ 4570198 w 7467663"/>
              <a:gd name="connsiteY741" fmla="*/ 978081 h 6858000"/>
              <a:gd name="connsiteX742" fmla="*/ 4557898 w 7467663"/>
              <a:gd name="connsiteY742" fmla="*/ 900011 h 6858000"/>
              <a:gd name="connsiteX743" fmla="*/ 4344840 w 7467663"/>
              <a:gd name="connsiteY743" fmla="*/ 1922038 h 6858000"/>
              <a:gd name="connsiteX744" fmla="*/ 4378710 w 7467663"/>
              <a:gd name="connsiteY744" fmla="*/ 1665516 h 6858000"/>
              <a:gd name="connsiteX745" fmla="*/ 4448798 w 7467663"/>
              <a:gd name="connsiteY745" fmla="*/ 1253024 h 6858000"/>
              <a:gd name="connsiteX746" fmla="*/ 4480315 w 7467663"/>
              <a:gd name="connsiteY746" fmla="*/ 1158454 h 6858000"/>
              <a:gd name="connsiteX747" fmla="*/ 4494133 w 7467663"/>
              <a:gd name="connsiteY747" fmla="*/ 1118676 h 6858000"/>
              <a:gd name="connsiteX748" fmla="*/ 4557898 w 7467663"/>
              <a:gd name="connsiteY748" fmla="*/ 900011 h 6858000"/>
              <a:gd name="connsiteX749" fmla="*/ 5870151 w 7467663"/>
              <a:gd name="connsiteY749" fmla="*/ 898890 h 6858000"/>
              <a:gd name="connsiteX750" fmla="*/ 5861335 w 7467663"/>
              <a:gd name="connsiteY750" fmla="*/ 899177 h 6858000"/>
              <a:gd name="connsiteX751" fmla="*/ 5843702 w 7467663"/>
              <a:gd name="connsiteY751" fmla="*/ 899748 h 6858000"/>
              <a:gd name="connsiteX752" fmla="*/ 5651107 w 7467663"/>
              <a:gd name="connsiteY752" fmla="*/ 920306 h 6858000"/>
              <a:gd name="connsiteX753" fmla="*/ 5459407 w 7467663"/>
              <a:gd name="connsiteY753" fmla="*/ 940975 h 6858000"/>
              <a:gd name="connsiteX754" fmla="*/ 5374846 w 7467663"/>
              <a:gd name="connsiteY754" fmla="*/ 941988 h 6858000"/>
              <a:gd name="connsiteX755" fmla="*/ 5256105 w 7467663"/>
              <a:gd name="connsiteY755" fmla="*/ 945632 h 6858000"/>
              <a:gd name="connsiteX756" fmla="*/ 5107071 w 7467663"/>
              <a:gd name="connsiteY756" fmla="*/ 969720 h 6858000"/>
              <a:gd name="connsiteX757" fmla="*/ 4998681 w 7467663"/>
              <a:gd name="connsiteY757" fmla="*/ 988771 h 6858000"/>
              <a:gd name="connsiteX758" fmla="*/ 5870151 w 7467663"/>
              <a:gd name="connsiteY758" fmla="*/ 898890 h 6858000"/>
              <a:gd name="connsiteX759" fmla="*/ 5504425 w 7467663"/>
              <a:gd name="connsiteY759" fmla="*/ 848067 h 6858000"/>
              <a:gd name="connsiteX760" fmla="*/ 4968849 w 7467663"/>
              <a:gd name="connsiteY760" fmla="*/ 962318 h 6858000"/>
              <a:gd name="connsiteX761" fmla="*/ 5104039 w 7467663"/>
              <a:gd name="connsiteY761" fmla="*/ 940634 h 6858000"/>
              <a:gd name="connsiteX762" fmla="*/ 5256311 w 7467663"/>
              <a:gd name="connsiteY762" fmla="*/ 916490 h 6858000"/>
              <a:gd name="connsiteX763" fmla="*/ 5377381 w 7467663"/>
              <a:gd name="connsiteY763" fmla="*/ 912671 h 6858000"/>
              <a:gd name="connsiteX764" fmla="*/ 5460148 w 7467663"/>
              <a:gd name="connsiteY764" fmla="*/ 911442 h 6858000"/>
              <a:gd name="connsiteX765" fmla="*/ 5648971 w 7467663"/>
              <a:gd name="connsiteY765" fmla="*/ 891331 h 6858000"/>
              <a:gd name="connsiteX766" fmla="*/ 5844807 w 7467663"/>
              <a:gd name="connsiteY766" fmla="*/ 870718 h 6858000"/>
              <a:gd name="connsiteX767" fmla="*/ 5862975 w 7467663"/>
              <a:gd name="connsiteY767" fmla="*/ 869756 h 6858000"/>
              <a:gd name="connsiteX768" fmla="*/ 5920887 w 7467663"/>
              <a:gd name="connsiteY768" fmla="*/ 865929 h 6858000"/>
              <a:gd name="connsiteX769" fmla="*/ 5504425 w 7467663"/>
              <a:gd name="connsiteY769" fmla="*/ 848067 h 6858000"/>
              <a:gd name="connsiteX770" fmla="*/ 3607114 w 7467663"/>
              <a:gd name="connsiteY770" fmla="*/ 467441 h 6858000"/>
              <a:gd name="connsiteX771" fmla="*/ 3296242 w 7467663"/>
              <a:gd name="connsiteY771" fmla="*/ 807991 h 6858000"/>
              <a:gd name="connsiteX772" fmla="*/ 3174674 w 7467663"/>
              <a:gd name="connsiteY772" fmla="*/ 919759 h 6858000"/>
              <a:gd name="connsiteX773" fmla="*/ 3042978 w 7467663"/>
              <a:gd name="connsiteY773" fmla="*/ 1054894 h 6858000"/>
              <a:gd name="connsiteX774" fmla="*/ 2968914 w 7467663"/>
              <a:gd name="connsiteY774" fmla="*/ 1133756 h 6858000"/>
              <a:gd name="connsiteX775" fmla="*/ 3103823 w 7467663"/>
              <a:gd name="connsiteY775" fmla="*/ 1026814 h 6858000"/>
              <a:gd name="connsiteX776" fmla="*/ 3607114 w 7467663"/>
              <a:gd name="connsiteY776" fmla="*/ 467441 h 6858000"/>
              <a:gd name="connsiteX777" fmla="*/ 3744487 w 7467663"/>
              <a:gd name="connsiteY777" fmla="*/ 383136 h 6858000"/>
              <a:gd name="connsiteX778" fmla="*/ 3970213 w 7467663"/>
              <a:gd name="connsiteY778" fmla="*/ 995559 h 6858000"/>
              <a:gd name="connsiteX779" fmla="*/ 3744487 w 7467663"/>
              <a:gd name="connsiteY779" fmla="*/ 383136 h 6858000"/>
              <a:gd name="connsiteX780" fmla="*/ 3624562 w 7467663"/>
              <a:gd name="connsiteY780" fmla="*/ 367041 h 6858000"/>
              <a:gd name="connsiteX781" fmla="*/ 3489712 w 7467663"/>
              <a:gd name="connsiteY781" fmla="*/ 485386 h 6858000"/>
              <a:gd name="connsiteX782" fmla="*/ 3182994 w 7467663"/>
              <a:gd name="connsiteY782" fmla="*/ 828265 h 6858000"/>
              <a:gd name="connsiteX783" fmla="*/ 2892114 w 7467663"/>
              <a:gd name="connsiteY783" fmla="*/ 1172635 h 6858000"/>
              <a:gd name="connsiteX784" fmla="*/ 3021459 w 7467663"/>
              <a:gd name="connsiteY784" fmla="*/ 1035385 h 6858000"/>
              <a:gd name="connsiteX785" fmla="*/ 3153873 w 7467663"/>
              <a:gd name="connsiteY785" fmla="*/ 898971 h 6858000"/>
              <a:gd name="connsiteX786" fmla="*/ 3276511 w 7467663"/>
              <a:gd name="connsiteY786" fmla="*/ 786423 h 6858000"/>
              <a:gd name="connsiteX787" fmla="*/ 3584154 w 7467663"/>
              <a:gd name="connsiteY787" fmla="*/ 448218 h 6858000"/>
              <a:gd name="connsiteX788" fmla="*/ 3624562 w 7467663"/>
              <a:gd name="connsiteY788" fmla="*/ 367041 h 6858000"/>
              <a:gd name="connsiteX789" fmla="*/ 3766672 w 7467663"/>
              <a:gd name="connsiteY789" fmla="*/ 359429 h 6858000"/>
              <a:gd name="connsiteX790" fmla="*/ 3996338 w 7467663"/>
              <a:gd name="connsiteY790" fmla="*/ 968237 h 6858000"/>
              <a:gd name="connsiteX791" fmla="*/ 3766672 w 7467663"/>
              <a:gd name="connsiteY791" fmla="*/ 359429 h 6858000"/>
              <a:gd name="connsiteX792" fmla="*/ 5805386 w 7467663"/>
              <a:gd name="connsiteY792" fmla="*/ 239240 h 6858000"/>
              <a:gd name="connsiteX793" fmla="*/ 5736947 w 7467663"/>
              <a:gd name="connsiteY793" fmla="*/ 261367 h 6858000"/>
              <a:gd name="connsiteX794" fmla="*/ 5427012 w 7467663"/>
              <a:gd name="connsiteY794" fmla="*/ 311272 h 6858000"/>
              <a:gd name="connsiteX795" fmla="*/ 5147818 w 7467663"/>
              <a:gd name="connsiteY795" fmla="*/ 322112 h 6858000"/>
              <a:gd name="connsiteX796" fmla="*/ 5060854 w 7467663"/>
              <a:gd name="connsiteY796" fmla="*/ 311882 h 6858000"/>
              <a:gd name="connsiteX797" fmla="*/ 4945989 w 7467663"/>
              <a:gd name="connsiteY797" fmla="*/ 300516 h 6858000"/>
              <a:gd name="connsiteX798" fmla="*/ 5410479 w 7467663"/>
              <a:gd name="connsiteY798" fmla="*/ 348434 h 6858000"/>
              <a:gd name="connsiteX799" fmla="*/ 5805386 w 7467663"/>
              <a:gd name="connsiteY799" fmla="*/ 239240 h 6858000"/>
              <a:gd name="connsiteX800" fmla="*/ 5905192 w 7467663"/>
              <a:gd name="connsiteY800" fmla="*/ 163079 h 6858000"/>
              <a:gd name="connsiteX801" fmla="*/ 5865655 w 7467663"/>
              <a:gd name="connsiteY801" fmla="*/ 171901 h 6858000"/>
              <a:gd name="connsiteX802" fmla="*/ 5259740 w 7467663"/>
              <a:gd name="connsiteY802" fmla="*/ 257013 h 6858000"/>
              <a:gd name="connsiteX803" fmla="*/ 5208466 w 7467663"/>
              <a:gd name="connsiteY803" fmla="*/ 257550 h 6858000"/>
              <a:gd name="connsiteX804" fmla="*/ 4980204 w 7467663"/>
              <a:gd name="connsiteY804" fmla="*/ 271903 h 6858000"/>
              <a:gd name="connsiteX805" fmla="*/ 5068068 w 7467663"/>
              <a:gd name="connsiteY805" fmla="*/ 282244 h 6858000"/>
              <a:gd name="connsiteX806" fmla="*/ 5153231 w 7467663"/>
              <a:gd name="connsiteY806" fmla="*/ 292240 h 6858000"/>
              <a:gd name="connsiteX807" fmla="*/ 5426491 w 7467663"/>
              <a:gd name="connsiteY807" fmla="*/ 281128 h 6858000"/>
              <a:gd name="connsiteX808" fmla="*/ 5731212 w 7467663"/>
              <a:gd name="connsiteY808" fmla="*/ 231951 h 6858000"/>
              <a:gd name="connsiteX809" fmla="*/ 5905192 w 7467663"/>
              <a:gd name="connsiteY809" fmla="*/ 163079 h 6858000"/>
              <a:gd name="connsiteX810" fmla="*/ 5944437 w 7467663"/>
              <a:gd name="connsiteY810" fmla="*/ 113829 h 6858000"/>
              <a:gd name="connsiteX811" fmla="*/ 5825032 w 7467663"/>
              <a:gd name="connsiteY811" fmla="*/ 146405 h 6858000"/>
              <a:gd name="connsiteX812" fmla="*/ 4955599 w 7467663"/>
              <a:gd name="connsiteY812" fmla="*/ 247008 h 6858000"/>
              <a:gd name="connsiteX813" fmla="*/ 5210104 w 7467663"/>
              <a:gd name="connsiteY813" fmla="*/ 228123 h 6858000"/>
              <a:gd name="connsiteX814" fmla="*/ 5261015 w 7467663"/>
              <a:gd name="connsiteY814" fmla="*/ 227087 h 6858000"/>
              <a:gd name="connsiteX815" fmla="*/ 5861181 w 7467663"/>
              <a:gd name="connsiteY815" fmla="*/ 143093 h 6858000"/>
              <a:gd name="connsiteX816" fmla="*/ 5961252 w 7467663"/>
              <a:gd name="connsiteY816" fmla="*/ 114820 h 6858000"/>
              <a:gd name="connsiteX817" fmla="*/ 5944437 w 7467663"/>
              <a:gd name="connsiteY817" fmla="*/ 113829 h 6858000"/>
              <a:gd name="connsiteX818" fmla="*/ 3882765 w 7467663"/>
              <a:gd name="connsiteY818" fmla="*/ 0 h 6858000"/>
              <a:gd name="connsiteX819" fmla="*/ 3995099 w 7467663"/>
              <a:gd name="connsiteY819" fmla="*/ 0 h 6858000"/>
              <a:gd name="connsiteX820" fmla="*/ 4163818 w 7467663"/>
              <a:gd name="connsiteY820" fmla="*/ 234104 h 6858000"/>
              <a:gd name="connsiteX821" fmla="*/ 4172099 w 7467663"/>
              <a:gd name="connsiteY821" fmla="*/ 234207 h 6858000"/>
              <a:gd name="connsiteX822" fmla="*/ 4784282 w 7467663"/>
              <a:gd name="connsiteY822" fmla="*/ 276561 h 6858000"/>
              <a:gd name="connsiteX823" fmla="*/ 4801687 w 7467663"/>
              <a:gd name="connsiteY823" fmla="*/ 267764 h 6858000"/>
              <a:gd name="connsiteX824" fmla="*/ 6082788 w 7467663"/>
              <a:gd name="connsiteY824" fmla="*/ 64119 h 6858000"/>
              <a:gd name="connsiteX825" fmla="*/ 6099442 w 7467663"/>
              <a:gd name="connsiteY825" fmla="*/ 82568 h 6858000"/>
              <a:gd name="connsiteX826" fmla="*/ 4804137 w 7467663"/>
              <a:gd name="connsiteY826" fmla="*/ 320931 h 6858000"/>
              <a:gd name="connsiteX827" fmla="*/ 4227047 w 7467663"/>
              <a:gd name="connsiteY827" fmla="*/ 313415 h 6858000"/>
              <a:gd name="connsiteX828" fmla="*/ 4346041 w 7467663"/>
              <a:gd name="connsiteY828" fmla="*/ 456086 h 6858000"/>
              <a:gd name="connsiteX829" fmla="*/ 4870967 w 7467663"/>
              <a:gd name="connsiteY829" fmla="*/ 963061 h 6858000"/>
              <a:gd name="connsiteX830" fmla="*/ 4889647 w 7467663"/>
              <a:gd name="connsiteY830" fmla="*/ 957147 h 6858000"/>
              <a:gd name="connsiteX831" fmla="*/ 5422504 w 7467663"/>
              <a:gd name="connsiteY831" fmla="*/ 805191 h 6858000"/>
              <a:gd name="connsiteX832" fmla="*/ 6087656 w 7467663"/>
              <a:gd name="connsiteY832" fmla="*/ 826703 h 6858000"/>
              <a:gd name="connsiteX833" fmla="*/ 6058717 w 7467663"/>
              <a:gd name="connsiteY833" fmla="*/ 865992 h 6858000"/>
              <a:gd name="connsiteX834" fmla="*/ 4974153 w 7467663"/>
              <a:gd name="connsiteY834" fmla="*/ 1045456 h 6858000"/>
              <a:gd name="connsiteX835" fmla="*/ 5627835 w 7467663"/>
              <a:gd name="connsiteY835" fmla="*/ 1472077 h 6858000"/>
              <a:gd name="connsiteX836" fmla="*/ 5629817 w 7467663"/>
              <a:gd name="connsiteY836" fmla="*/ 1471412 h 6858000"/>
              <a:gd name="connsiteX837" fmla="*/ 5634124 w 7467663"/>
              <a:gd name="connsiteY837" fmla="*/ 1470572 h 6858000"/>
              <a:gd name="connsiteX838" fmla="*/ 5755832 w 7467663"/>
              <a:gd name="connsiteY838" fmla="*/ 1383886 h 6858000"/>
              <a:gd name="connsiteX839" fmla="*/ 6014186 w 7467663"/>
              <a:gd name="connsiteY839" fmla="*/ 1279799 h 6858000"/>
              <a:gd name="connsiteX840" fmla="*/ 6901619 w 7467663"/>
              <a:gd name="connsiteY840" fmla="*/ 1047874 h 6858000"/>
              <a:gd name="connsiteX841" fmla="*/ 6931566 w 7467663"/>
              <a:gd name="connsiteY841" fmla="*/ 1062034 h 6858000"/>
              <a:gd name="connsiteX842" fmla="*/ 5790982 w 7467663"/>
              <a:gd name="connsiteY842" fmla="*/ 1561380 h 6858000"/>
              <a:gd name="connsiteX843" fmla="*/ 6188971 w 7467663"/>
              <a:gd name="connsiteY843" fmla="*/ 1755168 h 6858000"/>
              <a:gd name="connsiteX844" fmla="*/ 6202446 w 7467663"/>
              <a:gd name="connsiteY844" fmla="*/ 1752268 h 6858000"/>
              <a:gd name="connsiteX845" fmla="*/ 7179560 w 7467663"/>
              <a:gd name="connsiteY845" fmla="*/ 1467551 h 6858000"/>
              <a:gd name="connsiteX846" fmla="*/ 7158730 w 7467663"/>
              <a:gd name="connsiteY846" fmla="*/ 1507835 h 6858000"/>
              <a:gd name="connsiteX847" fmla="*/ 6326959 w 7467663"/>
              <a:gd name="connsiteY847" fmla="*/ 1817686 h 6858000"/>
              <a:gd name="connsiteX848" fmla="*/ 6537433 w 7467663"/>
              <a:gd name="connsiteY848" fmla="*/ 1907790 h 6858000"/>
              <a:gd name="connsiteX849" fmla="*/ 6550221 w 7467663"/>
              <a:gd name="connsiteY849" fmla="*/ 1910729 h 6858000"/>
              <a:gd name="connsiteX850" fmla="*/ 6964438 w 7467663"/>
              <a:gd name="connsiteY850" fmla="*/ 2209505 h 6858000"/>
              <a:gd name="connsiteX851" fmla="*/ 7367862 w 7467663"/>
              <a:gd name="connsiteY851" fmla="*/ 2806833 h 6858000"/>
              <a:gd name="connsiteX852" fmla="*/ 7364329 w 7467663"/>
              <a:gd name="connsiteY852" fmla="*/ 2826907 h 6858000"/>
              <a:gd name="connsiteX853" fmla="*/ 7290545 w 7467663"/>
              <a:gd name="connsiteY853" fmla="*/ 2850663 h 6858000"/>
              <a:gd name="connsiteX854" fmla="*/ 6472036 w 7467663"/>
              <a:gd name="connsiteY854" fmla="*/ 1959003 h 6858000"/>
              <a:gd name="connsiteX855" fmla="*/ 5792897 w 7467663"/>
              <a:gd name="connsiteY855" fmla="*/ 1647747 h 6858000"/>
              <a:gd name="connsiteX856" fmla="*/ 5842751 w 7467663"/>
              <a:gd name="connsiteY856" fmla="*/ 1816112 h 6858000"/>
              <a:gd name="connsiteX857" fmla="*/ 5847424 w 7467663"/>
              <a:gd name="connsiteY857" fmla="*/ 1815776 h 6858000"/>
              <a:gd name="connsiteX858" fmla="*/ 6399821 w 7467663"/>
              <a:gd name="connsiteY858" fmla="*/ 2344799 h 6858000"/>
              <a:gd name="connsiteX859" fmla="*/ 6323232 w 7467663"/>
              <a:gd name="connsiteY859" fmla="*/ 2389634 h 6858000"/>
              <a:gd name="connsiteX860" fmla="*/ 5942958 w 7467663"/>
              <a:gd name="connsiteY860" fmla="*/ 2077708 h 6858000"/>
              <a:gd name="connsiteX861" fmla="*/ 5921559 w 7467663"/>
              <a:gd name="connsiteY861" fmla="*/ 2378596 h 6858000"/>
              <a:gd name="connsiteX862" fmla="*/ 5817651 w 7467663"/>
              <a:gd name="connsiteY862" fmla="*/ 3023919 h 6858000"/>
              <a:gd name="connsiteX863" fmla="*/ 5729634 w 7467663"/>
              <a:gd name="connsiteY863" fmla="*/ 3051849 h 6858000"/>
              <a:gd name="connsiteX864" fmla="*/ 5611018 w 7467663"/>
              <a:gd name="connsiteY864" fmla="*/ 2316769 h 6858000"/>
              <a:gd name="connsiteX865" fmla="*/ 5687608 w 7467663"/>
              <a:gd name="connsiteY865" fmla="*/ 2039972 h 6858000"/>
              <a:gd name="connsiteX866" fmla="*/ 5657554 w 7467663"/>
              <a:gd name="connsiteY866" fmla="*/ 1576445 h 6858000"/>
              <a:gd name="connsiteX867" fmla="*/ 5150475 w 7467663"/>
              <a:gd name="connsiteY867" fmla="*/ 1274012 h 6858000"/>
              <a:gd name="connsiteX868" fmla="*/ 5349142 w 7467663"/>
              <a:gd name="connsiteY868" fmla="*/ 2204405 h 6858000"/>
              <a:gd name="connsiteX869" fmla="*/ 5262214 w 7467663"/>
              <a:gd name="connsiteY869" fmla="*/ 2233836 h 6858000"/>
              <a:gd name="connsiteX870" fmla="*/ 4981539 w 7467663"/>
              <a:gd name="connsiteY870" fmla="*/ 1542201 h 6858000"/>
              <a:gd name="connsiteX871" fmla="*/ 4958461 w 7467663"/>
              <a:gd name="connsiteY871" fmla="*/ 1136957 h 6858000"/>
              <a:gd name="connsiteX872" fmla="*/ 4655015 w 7467663"/>
              <a:gd name="connsiteY872" fmla="*/ 891426 h 6858000"/>
              <a:gd name="connsiteX873" fmla="*/ 4348002 w 7467663"/>
              <a:gd name="connsiteY873" fmla="*/ 2205895 h 6858000"/>
              <a:gd name="connsiteX874" fmla="*/ 4262250 w 7467663"/>
              <a:gd name="connsiteY874" fmla="*/ 2219972 h 6858000"/>
              <a:gd name="connsiteX875" fmla="*/ 4550611 w 7467663"/>
              <a:gd name="connsiteY875" fmla="*/ 817540 h 6858000"/>
              <a:gd name="connsiteX876" fmla="*/ 4564418 w 7467663"/>
              <a:gd name="connsiteY876" fmla="*/ 808293 h 6858000"/>
              <a:gd name="connsiteX877" fmla="*/ 4266388 w 7467663"/>
              <a:gd name="connsiteY877" fmla="*/ 500083 h 6858000"/>
              <a:gd name="connsiteX878" fmla="*/ 4032842 w 7467663"/>
              <a:gd name="connsiteY878" fmla="*/ 211809 h 6858000"/>
              <a:gd name="connsiteX879" fmla="*/ 3882765 w 7467663"/>
              <a:gd name="connsiteY879" fmla="*/ 0 h 6858000"/>
              <a:gd name="connsiteX880" fmla="*/ 3721337 w 7467663"/>
              <a:gd name="connsiteY880" fmla="*/ 0 h 6858000"/>
              <a:gd name="connsiteX881" fmla="*/ 3797544 w 7467663"/>
              <a:gd name="connsiteY881" fmla="*/ 0 h 6858000"/>
              <a:gd name="connsiteX882" fmla="*/ 3775734 w 7467663"/>
              <a:gd name="connsiteY882" fmla="*/ 95131 h 6858000"/>
              <a:gd name="connsiteX883" fmla="*/ 3724807 w 7467663"/>
              <a:gd name="connsiteY883" fmla="*/ 272257 h 6858000"/>
              <a:gd name="connsiteX884" fmla="*/ 3726844 w 7467663"/>
              <a:gd name="connsiteY884" fmla="*/ 282988 h 6858000"/>
              <a:gd name="connsiteX885" fmla="*/ 3742664 w 7467663"/>
              <a:gd name="connsiteY885" fmla="*/ 279918 h 6858000"/>
              <a:gd name="connsiteX886" fmla="*/ 4103910 w 7467663"/>
              <a:gd name="connsiteY886" fmla="*/ 1161917 h 6858000"/>
              <a:gd name="connsiteX887" fmla="*/ 4020269 w 7467663"/>
              <a:gd name="connsiteY887" fmla="*/ 1200406 h 6858000"/>
              <a:gd name="connsiteX888" fmla="*/ 3674882 w 7467663"/>
              <a:gd name="connsiteY888" fmla="*/ 488524 h 6858000"/>
              <a:gd name="connsiteX889" fmla="*/ 3132682 w 7467663"/>
              <a:gd name="connsiteY889" fmla="*/ 1072284 h 6858000"/>
              <a:gd name="connsiteX890" fmla="*/ 2716346 w 7467663"/>
              <a:gd name="connsiteY890" fmla="*/ 1276376 h 6858000"/>
              <a:gd name="connsiteX891" fmla="*/ 2716772 w 7467663"/>
              <a:gd name="connsiteY891" fmla="*/ 1255462 h 6858000"/>
              <a:gd name="connsiteX892" fmla="*/ 3471096 w 7467663"/>
              <a:gd name="connsiteY892" fmla="*/ 437072 h 6858000"/>
              <a:gd name="connsiteX893" fmla="*/ 3639057 w 7467663"/>
              <a:gd name="connsiteY893" fmla="*/ 286334 h 6858000"/>
              <a:gd name="connsiteX894" fmla="*/ 3640309 w 7467663"/>
              <a:gd name="connsiteY894" fmla="*/ 284664 h 6858000"/>
              <a:gd name="connsiteX895" fmla="*/ 3646022 w 7467663"/>
              <a:gd name="connsiteY895" fmla="*/ 276711 h 6858000"/>
              <a:gd name="connsiteX896" fmla="*/ 3707943 w 7467663"/>
              <a:gd name="connsiteY896" fmla="*/ 65958 h 6858000"/>
              <a:gd name="connsiteX897" fmla="*/ 3721337 w 7467663"/>
              <a:gd name="connsiteY897" fmla="*/ 0 h 6858000"/>
              <a:gd name="connsiteX898" fmla="*/ 2867960 w 7467663"/>
              <a:gd name="connsiteY898" fmla="*/ 0 h 6858000"/>
              <a:gd name="connsiteX899" fmla="*/ 2926351 w 7467663"/>
              <a:gd name="connsiteY899" fmla="*/ 0 h 6858000"/>
              <a:gd name="connsiteX900" fmla="*/ 2902823 w 7467663"/>
              <a:gd name="connsiteY900" fmla="*/ 262929 h 6858000"/>
              <a:gd name="connsiteX901" fmla="*/ 2940663 w 7467663"/>
              <a:gd name="connsiteY901" fmla="*/ 140884 h 6858000"/>
              <a:gd name="connsiteX902" fmla="*/ 2947039 w 7467663"/>
              <a:gd name="connsiteY902" fmla="*/ 122524 h 6858000"/>
              <a:gd name="connsiteX903" fmla="*/ 2984316 w 7467663"/>
              <a:gd name="connsiteY903" fmla="*/ 0 h 6858000"/>
              <a:gd name="connsiteX904" fmla="*/ 3016114 w 7467663"/>
              <a:gd name="connsiteY904" fmla="*/ 0 h 6858000"/>
              <a:gd name="connsiteX905" fmla="*/ 2979949 w 7467663"/>
              <a:gd name="connsiteY905" fmla="*/ 119274 h 6858000"/>
              <a:gd name="connsiteX906" fmla="*/ 3023879 w 7467663"/>
              <a:gd name="connsiteY906" fmla="*/ 0 h 6858000"/>
              <a:gd name="connsiteX907" fmla="*/ 3105400 w 7467663"/>
              <a:gd name="connsiteY907" fmla="*/ 0 h 6858000"/>
              <a:gd name="connsiteX908" fmla="*/ 3094669 w 7467663"/>
              <a:gd name="connsiteY908" fmla="*/ 30308 h 6858000"/>
              <a:gd name="connsiteX909" fmla="*/ 2901945 w 7467663"/>
              <a:gd name="connsiteY909" fmla="*/ 466538 h 6858000"/>
              <a:gd name="connsiteX910" fmla="*/ 2815209 w 7467663"/>
              <a:gd name="connsiteY910" fmla="*/ 497361 h 6858000"/>
              <a:gd name="connsiteX911" fmla="*/ 2844845 w 7467663"/>
              <a:gd name="connsiteY911" fmla="*/ 127638 h 6858000"/>
              <a:gd name="connsiteX912" fmla="*/ 2867960 w 7467663"/>
              <a:gd name="connsiteY912" fmla="*/ 0 h 6858000"/>
              <a:gd name="connsiteX913" fmla="*/ 1057230 w 7467663"/>
              <a:gd name="connsiteY913" fmla="*/ 0 h 6858000"/>
              <a:gd name="connsiteX914" fmla="*/ 1111003 w 7467663"/>
              <a:gd name="connsiteY914" fmla="*/ 0 h 6858000"/>
              <a:gd name="connsiteX915" fmla="*/ 1125553 w 7467663"/>
              <a:gd name="connsiteY915" fmla="*/ 52588 h 6858000"/>
              <a:gd name="connsiteX916" fmla="*/ 1304276 w 7467663"/>
              <a:gd name="connsiteY916" fmla="*/ 476275 h 6858000"/>
              <a:gd name="connsiteX917" fmla="*/ 1492066 w 7467663"/>
              <a:gd name="connsiteY917" fmla="*/ 886333 h 6858000"/>
              <a:gd name="connsiteX918" fmla="*/ 1423698 w 7467663"/>
              <a:gd name="connsiteY918" fmla="*/ 710817 h 6858000"/>
              <a:gd name="connsiteX919" fmla="*/ 1357609 w 7467663"/>
              <a:gd name="connsiteY919" fmla="*/ 532892 h 6858000"/>
              <a:gd name="connsiteX920" fmla="*/ 1309550 w 7467663"/>
              <a:gd name="connsiteY920" fmla="*/ 374031 h 6858000"/>
              <a:gd name="connsiteX921" fmla="*/ 1193673 w 7467663"/>
              <a:gd name="connsiteY921" fmla="*/ 49533 h 6858000"/>
              <a:gd name="connsiteX922" fmla="*/ 1164391 w 7467663"/>
              <a:gd name="connsiteY922" fmla="*/ 0 h 6858000"/>
              <a:gd name="connsiteX923" fmla="*/ 1200666 w 7467663"/>
              <a:gd name="connsiteY923" fmla="*/ 0 h 6858000"/>
              <a:gd name="connsiteX924" fmla="*/ 1223408 w 7467663"/>
              <a:gd name="connsiteY924" fmla="*/ 38996 h 6858000"/>
              <a:gd name="connsiteX925" fmla="*/ 1339635 w 7467663"/>
              <a:gd name="connsiteY925" fmla="*/ 365517 h 6858000"/>
              <a:gd name="connsiteX926" fmla="*/ 1387469 w 7467663"/>
              <a:gd name="connsiteY926" fmla="*/ 523079 h 6858000"/>
              <a:gd name="connsiteX927" fmla="*/ 1452685 w 7467663"/>
              <a:gd name="connsiteY927" fmla="*/ 699806 h 6858000"/>
              <a:gd name="connsiteX928" fmla="*/ 1492092 w 7467663"/>
              <a:gd name="connsiteY928" fmla="*/ 800424 h 6858000"/>
              <a:gd name="connsiteX929" fmla="*/ 1455302 w 7467663"/>
              <a:gd name="connsiteY929" fmla="*/ 632913 h 6858000"/>
              <a:gd name="connsiteX930" fmla="*/ 1222336 w 7467663"/>
              <a:gd name="connsiteY930" fmla="*/ 9480 h 6858000"/>
              <a:gd name="connsiteX931" fmla="*/ 1214634 w 7467663"/>
              <a:gd name="connsiteY931" fmla="*/ 0 h 6858000"/>
              <a:gd name="connsiteX932" fmla="*/ 1289827 w 7467663"/>
              <a:gd name="connsiteY932" fmla="*/ 0 h 6858000"/>
              <a:gd name="connsiteX933" fmla="*/ 1321076 w 7467663"/>
              <a:gd name="connsiteY933" fmla="*/ 59722 h 6858000"/>
              <a:gd name="connsiteX934" fmla="*/ 1512579 w 7467663"/>
              <a:gd name="connsiteY934" fmla="*/ 626441 h 6858000"/>
              <a:gd name="connsiteX935" fmla="*/ 1506076 w 7467663"/>
              <a:gd name="connsiteY935" fmla="*/ 1089289 h 6858000"/>
              <a:gd name="connsiteX936" fmla="*/ 1486346 w 7467663"/>
              <a:gd name="connsiteY936" fmla="*/ 1079919 h 6858000"/>
              <a:gd name="connsiteX937" fmla="*/ 1070511 w 7467663"/>
              <a:gd name="connsiteY937" fmla="*/ 48609 h 6858000"/>
              <a:gd name="connsiteX938" fmla="*/ 1057230 w 7467663"/>
              <a:gd name="connsiteY938" fmla="*/ 0 h 6858000"/>
              <a:gd name="connsiteX939" fmla="*/ 43151 w 7467663"/>
              <a:gd name="connsiteY939" fmla="*/ 0 h 6858000"/>
              <a:gd name="connsiteX940" fmla="*/ 95283 w 7467663"/>
              <a:gd name="connsiteY940" fmla="*/ 0 h 6858000"/>
              <a:gd name="connsiteX941" fmla="*/ 300708 w 7467663"/>
              <a:gd name="connsiteY941" fmla="*/ 154571 h 6858000"/>
              <a:gd name="connsiteX942" fmla="*/ 530414 w 7467663"/>
              <a:gd name="connsiteY942" fmla="*/ 354673 h 6858000"/>
              <a:gd name="connsiteX943" fmla="*/ 333785 w 7467663"/>
              <a:gd name="connsiteY943" fmla="*/ 161564 h 6858000"/>
              <a:gd name="connsiteX944" fmla="*/ 147005 w 7467663"/>
              <a:gd name="connsiteY944" fmla="*/ 0 h 6858000"/>
              <a:gd name="connsiteX945" fmla="*/ 272509 w 7467663"/>
              <a:gd name="connsiteY945" fmla="*/ 0 h 6858000"/>
              <a:gd name="connsiteX946" fmla="*/ 326276 w 7467663"/>
              <a:gd name="connsiteY946" fmla="*/ 45847 h 6858000"/>
              <a:gd name="connsiteX947" fmla="*/ 823759 w 7467663"/>
              <a:gd name="connsiteY947" fmla="*/ 574145 h 6858000"/>
              <a:gd name="connsiteX948" fmla="*/ 811254 w 7467663"/>
              <a:gd name="connsiteY948" fmla="*/ 665546 h 6858000"/>
              <a:gd name="connsiteX949" fmla="*/ 154042 w 7467663"/>
              <a:gd name="connsiteY949" fmla="*/ 261522 h 6858000"/>
              <a:gd name="connsiteX950" fmla="*/ 13550 w 7467663"/>
              <a:gd name="connsiteY950" fmla="*/ 158423 h 6858000"/>
              <a:gd name="connsiteX951" fmla="*/ 0 w 7467663"/>
              <a:gd name="connsiteY951" fmla="*/ 146618 h 6858000"/>
              <a:gd name="connsiteX952" fmla="*/ 0 w 7467663"/>
              <a:gd name="connsiteY952" fmla="*/ 59161 h 6858000"/>
              <a:gd name="connsiteX953" fmla="*/ 45427 w 7467663"/>
              <a:gd name="connsiteY953" fmla="*/ 101078 h 6858000"/>
              <a:gd name="connsiteX954" fmla="*/ 630103 w 7467663"/>
              <a:gd name="connsiteY954" fmla="*/ 485885 h 6858000"/>
              <a:gd name="connsiteX955" fmla="*/ 532040 w 7467663"/>
              <a:gd name="connsiteY955" fmla="*/ 399359 h 6858000"/>
              <a:gd name="connsiteX956" fmla="*/ 517618 w 7467663"/>
              <a:gd name="connsiteY956" fmla="*/ 385726 h 6858000"/>
              <a:gd name="connsiteX957" fmla="*/ 285074 w 7467663"/>
              <a:gd name="connsiteY957" fmla="*/ 182755 h 6858000"/>
              <a:gd name="connsiteX958" fmla="*/ 43151 w 7467663"/>
              <a:gd name="connsiteY958" fmla="*/ 0 h 6858000"/>
              <a:gd name="connsiteX0" fmla="*/ 369702 w 7467663"/>
              <a:gd name="connsiteY0" fmla="*/ 6712169 h 6858000"/>
              <a:gd name="connsiteX1" fmla="*/ 366575 w 7467663"/>
              <a:gd name="connsiteY1" fmla="*/ 6715556 h 6858000"/>
              <a:gd name="connsiteX2" fmla="*/ 371637 w 7467663"/>
              <a:gd name="connsiteY2" fmla="*/ 6713954 h 6858000"/>
              <a:gd name="connsiteX3" fmla="*/ 369702 w 7467663"/>
              <a:gd name="connsiteY3" fmla="*/ 6712169 h 6858000"/>
              <a:gd name="connsiteX4" fmla="*/ 7088673 w 7467663"/>
              <a:gd name="connsiteY4" fmla="*/ 6610396 h 6858000"/>
              <a:gd name="connsiteX5" fmla="*/ 7440138 w 7467663"/>
              <a:gd name="connsiteY5" fmla="*/ 6622648 h 6858000"/>
              <a:gd name="connsiteX6" fmla="*/ 7467600 w 7467663"/>
              <a:gd name="connsiteY6" fmla="*/ 6628217 h 6858000"/>
              <a:gd name="connsiteX7" fmla="*/ 7467600 w 7467663"/>
              <a:gd name="connsiteY7" fmla="*/ 6668575 h 6858000"/>
              <a:gd name="connsiteX8" fmla="*/ 7392322 w 7467663"/>
              <a:gd name="connsiteY8" fmla="*/ 6658238 h 6858000"/>
              <a:gd name="connsiteX9" fmla="*/ 7467600 w 7467663"/>
              <a:gd name="connsiteY9" fmla="*/ 6683873 h 6858000"/>
              <a:gd name="connsiteX10" fmla="*/ 7467600 w 7467663"/>
              <a:gd name="connsiteY10" fmla="*/ 6714215 h 6858000"/>
              <a:gd name="connsiteX11" fmla="*/ 7447383 w 7467663"/>
              <a:gd name="connsiteY11" fmla="*/ 6707202 h 6858000"/>
              <a:gd name="connsiteX12" fmla="*/ 7289862 w 7467663"/>
              <a:gd name="connsiteY12" fmla="*/ 6659827 h 6858000"/>
              <a:gd name="connsiteX13" fmla="*/ 7434024 w 7467663"/>
              <a:gd name="connsiteY13" fmla="*/ 6722130 h 6858000"/>
              <a:gd name="connsiteX14" fmla="*/ 7467600 w 7467663"/>
              <a:gd name="connsiteY14" fmla="*/ 6736157 h 6858000"/>
              <a:gd name="connsiteX15" fmla="*/ 7467600 w 7467663"/>
              <a:gd name="connsiteY15" fmla="*/ 6767913 h 6858000"/>
              <a:gd name="connsiteX16" fmla="*/ 7392158 w 7467663"/>
              <a:gd name="connsiteY16" fmla="*/ 6771365 h 6858000"/>
              <a:gd name="connsiteX17" fmla="*/ 7467600 w 7467663"/>
              <a:gd name="connsiteY17" fmla="*/ 6805948 h 6858000"/>
              <a:gd name="connsiteX18" fmla="*/ 7467600 w 7467663"/>
              <a:gd name="connsiteY18" fmla="*/ 6831490 h 6858000"/>
              <a:gd name="connsiteX19" fmla="*/ 7410696 w 7467663"/>
              <a:gd name="connsiteY19" fmla="*/ 6803861 h 6858000"/>
              <a:gd name="connsiteX20" fmla="*/ 7088673 w 7467663"/>
              <a:gd name="connsiteY20" fmla="*/ 6610396 h 6858000"/>
              <a:gd name="connsiteX21" fmla="*/ 1019354 w 7467663"/>
              <a:gd name="connsiteY21" fmla="*/ 6315006 h 6858000"/>
              <a:gd name="connsiteX22" fmla="*/ 441046 w 7467663"/>
              <a:gd name="connsiteY22" fmla="*/ 6691153 h 6858000"/>
              <a:gd name="connsiteX23" fmla="*/ 1019354 w 7467663"/>
              <a:gd name="connsiteY23" fmla="*/ 6315006 h 6858000"/>
              <a:gd name="connsiteX24" fmla="*/ 991680 w 7467663"/>
              <a:gd name="connsiteY24" fmla="*/ 6298413 h 6858000"/>
              <a:gd name="connsiteX25" fmla="*/ 409060 w 7467663"/>
              <a:gd name="connsiteY25" fmla="*/ 6671470 h 6858000"/>
              <a:gd name="connsiteX26" fmla="*/ 991680 w 7467663"/>
              <a:gd name="connsiteY26" fmla="*/ 6298413 h 6858000"/>
              <a:gd name="connsiteX27" fmla="*/ 103333 w 7467663"/>
              <a:gd name="connsiteY27" fmla="*/ 5699602 h 6858000"/>
              <a:gd name="connsiteX28" fmla="*/ 233938 w 7467663"/>
              <a:gd name="connsiteY28" fmla="*/ 5809416 h 6858000"/>
              <a:gd name="connsiteX29" fmla="*/ 883580 w 7467663"/>
              <a:gd name="connsiteY29" fmla="*/ 6180710 h 6858000"/>
              <a:gd name="connsiteX30" fmla="*/ 487337 w 7467663"/>
              <a:gd name="connsiteY30" fmla="*/ 5950182 h 6858000"/>
              <a:gd name="connsiteX31" fmla="*/ 354051 w 7467663"/>
              <a:gd name="connsiteY31" fmla="*/ 5854912 h 6858000"/>
              <a:gd name="connsiteX32" fmla="*/ 195436 w 7467663"/>
              <a:gd name="connsiteY32" fmla="*/ 5755068 h 6858000"/>
              <a:gd name="connsiteX33" fmla="*/ 103333 w 7467663"/>
              <a:gd name="connsiteY33" fmla="*/ 5699602 h 6858000"/>
              <a:gd name="connsiteX34" fmla="*/ 5539432 w 7467663"/>
              <a:gd name="connsiteY34" fmla="*/ 5642928 h 6858000"/>
              <a:gd name="connsiteX35" fmla="*/ 5555462 w 7467663"/>
              <a:gd name="connsiteY35" fmla="*/ 5694454 h 6858000"/>
              <a:gd name="connsiteX36" fmla="*/ 5828270 w 7467663"/>
              <a:gd name="connsiteY36" fmla="*/ 6320663 h 6858000"/>
              <a:gd name="connsiteX37" fmla="*/ 5947416 w 7467663"/>
              <a:gd name="connsiteY37" fmla="*/ 6574846 h 6858000"/>
              <a:gd name="connsiteX38" fmla="*/ 5539432 w 7467663"/>
              <a:gd name="connsiteY38" fmla="*/ 5642928 h 6858000"/>
              <a:gd name="connsiteX39" fmla="*/ 51253 w 7467663"/>
              <a:gd name="connsiteY39" fmla="*/ 5631825 h 6858000"/>
              <a:gd name="connsiteX40" fmla="*/ 211622 w 7467663"/>
              <a:gd name="connsiteY40" fmla="*/ 5728803 h 6858000"/>
              <a:gd name="connsiteX41" fmla="*/ 371652 w 7467663"/>
              <a:gd name="connsiteY41" fmla="*/ 5829062 h 6858000"/>
              <a:gd name="connsiteX42" fmla="*/ 505903 w 7467663"/>
              <a:gd name="connsiteY42" fmla="*/ 5925221 h 6858000"/>
              <a:gd name="connsiteX43" fmla="*/ 899240 w 7467663"/>
              <a:gd name="connsiteY43" fmla="*/ 6153068 h 6858000"/>
              <a:gd name="connsiteX44" fmla="*/ 988114 w 7467663"/>
              <a:gd name="connsiteY44" fmla="*/ 6174204 h 6858000"/>
              <a:gd name="connsiteX45" fmla="*/ 845971 w 7467663"/>
              <a:gd name="connsiteY45" fmla="*/ 6067177 h 6858000"/>
              <a:gd name="connsiteX46" fmla="*/ 448057 w 7467663"/>
              <a:gd name="connsiteY46" fmla="*/ 5841376 h 6858000"/>
              <a:gd name="connsiteX47" fmla="*/ 51253 w 7467663"/>
              <a:gd name="connsiteY47" fmla="*/ 5631825 h 6858000"/>
              <a:gd name="connsiteX48" fmla="*/ 2606687 w 7467663"/>
              <a:gd name="connsiteY48" fmla="*/ 5630718 h 6858000"/>
              <a:gd name="connsiteX49" fmla="*/ 2645658 w 7467663"/>
              <a:gd name="connsiteY49" fmla="*/ 6640259 h 6858000"/>
              <a:gd name="connsiteX50" fmla="*/ 2606687 w 7467663"/>
              <a:gd name="connsiteY50" fmla="*/ 5630718 h 6858000"/>
              <a:gd name="connsiteX51" fmla="*/ 3642057 w 7467663"/>
              <a:gd name="connsiteY51" fmla="*/ 5573487 h 6858000"/>
              <a:gd name="connsiteX52" fmla="*/ 3632981 w 7467663"/>
              <a:gd name="connsiteY52" fmla="*/ 5579437 h 6858000"/>
              <a:gd name="connsiteX53" fmla="*/ 3382436 w 7467663"/>
              <a:gd name="connsiteY53" fmla="*/ 5952726 h 6858000"/>
              <a:gd name="connsiteX54" fmla="*/ 3191929 w 7467663"/>
              <a:gd name="connsiteY54" fmla="*/ 6662669 h 6858000"/>
              <a:gd name="connsiteX55" fmla="*/ 3369898 w 7467663"/>
              <a:gd name="connsiteY55" fmla="*/ 6081771 h 6858000"/>
              <a:gd name="connsiteX56" fmla="*/ 3642057 w 7467663"/>
              <a:gd name="connsiteY56" fmla="*/ 5573487 h 6858000"/>
              <a:gd name="connsiteX57" fmla="*/ 2650666 w 7467663"/>
              <a:gd name="connsiteY57" fmla="*/ 5530686 h 6858000"/>
              <a:gd name="connsiteX58" fmla="*/ 2650249 w 7467663"/>
              <a:gd name="connsiteY58" fmla="*/ 5532101 h 6858000"/>
              <a:gd name="connsiteX59" fmla="*/ 2663808 w 7467663"/>
              <a:gd name="connsiteY59" fmla="*/ 6535215 h 6858000"/>
              <a:gd name="connsiteX60" fmla="*/ 2665418 w 7467663"/>
              <a:gd name="connsiteY60" fmla="*/ 6132756 h 6858000"/>
              <a:gd name="connsiteX61" fmla="*/ 2650666 w 7467663"/>
              <a:gd name="connsiteY61" fmla="*/ 5530686 h 6858000"/>
              <a:gd name="connsiteX62" fmla="*/ 2680277 w 7467663"/>
              <a:gd name="connsiteY62" fmla="*/ 5479204 h 6858000"/>
              <a:gd name="connsiteX63" fmla="*/ 2678972 w 7467663"/>
              <a:gd name="connsiteY63" fmla="*/ 5481582 h 6858000"/>
              <a:gd name="connsiteX64" fmla="*/ 2696666 w 7467663"/>
              <a:gd name="connsiteY64" fmla="*/ 6133836 h 6858000"/>
              <a:gd name="connsiteX65" fmla="*/ 2695769 w 7467663"/>
              <a:gd name="connsiteY65" fmla="*/ 6390955 h 6858000"/>
              <a:gd name="connsiteX66" fmla="*/ 2739893 w 7467663"/>
              <a:gd name="connsiteY66" fmla="*/ 6108357 h 6858000"/>
              <a:gd name="connsiteX67" fmla="*/ 2680277 w 7467663"/>
              <a:gd name="connsiteY67" fmla="*/ 5479204 h 6858000"/>
              <a:gd name="connsiteX68" fmla="*/ 1132195 w 7467663"/>
              <a:gd name="connsiteY68" fmla="*/ 5467980 h 6858000"/>
              <a:gd name="connsiteX69" fmla="*/ 1679056 w 7467663"/>
              <a:gd name="connsiteY69" fmla="*/ 5516907 h 6858000"/>
              <a:gd name="connsiteX70" fmla="*/ 2128648 w 7467663"/>
              <a:gd name="connsiteY70" fmla="*/ 5474249 h 6858000"/>
              <a:gd name="connsiteX71" fmla="*/ 1825619 w 7467663"/>
              <a:gd name="connsiteY71" fmla="*/ 5478447 h 6858000"/>
              <a:gd name="connsiteX72" fmla="*/ 1737798 w 7467663"/>
              <a:gd name="connsiteY72" fmla="*/ 5483353 h 6858000"/>
              <a:gd name="connsiteX73" fmla="*/ 1132195 w 7467663"/>
              <a:gd name="connsiteY73" fmla="*/ 5467980 h 6858000"/>
              <a:gd name="connsiteX74" fmla="*/ 7454976 w 7467663"/>
              <a:gd name="connsiteY74" fmla="*/ 6318297 h 6858000"/>
              <a:gd name="connsiteX75" fmla="*/ 7467600 w 7467663"/>
              <a:gd name="connsiteY75" fmla="*/ 6163634 h 6858000"/>
              <a:gd name="connsiteX76" fmla="*/ 7448321 w 7467663"/>
              <a:gd name="connsiteY76" fmla="*/ 6190991 h 6858000"/>
              <a:gd name="connsiteX77" fmla="*/ 7467600 w 7467663"/>
              <a:gd name="connsiteY77" fmla="*/ 6334256 h 6858000"/>
              <a:gd name="connsiteX78" fmla="*/ 7454976 w 7467663"/>
              <a:gd name="connsiteY78" fmla="*/ 6318297 h 6858000"/>
              <a:gd name="connsiteX79" fmla="*/ 1456157 w 7467663"/>
              <a:gd name="connsiteY79" fmla="*/ 5371404 h 6858000"/>
              <a:gd name="connsiteX80" fmla="*/ 1244432 w 7467663"/>
              <a:gd name="connsiteY80" fmla="*/ 5385601 h 6858000"/>
              <a:gd name="connsiteX81" fmla="*/ 973990 w 7467663"/>
              <a:gd name="connsiteY81" fmla="*/ 5424940 h 6858000"/>
              <a:gd name="connsiteX82" fmla="*/ 1103809 w 7467663"/>
              <a:gd name="connsiteY82" fmla="*/ 5433720 h 6858000"/>
              <a:gd name="connsiteX83" fmla="*/ 1123454 w 7467663"/>
              <a:gd name="connsiteY83" fmla="*/ 5435727 h 6858000"/>
              <a:gd name="connsiteX84" fmla="*/ 1737017 w 7467663"/>
              <a:gd name="connsiteY84" fmla="*/ 5452183 h 6858000"/>
              <a:gd name="connsiteX85" fmla="*/ 1824397 w 7467663"/>
              <a:gd name="connsiteY85" fmla="*/ 5447757 h 6858000"/>
              <a:gd name="connsiteX86" fmla="*/ 2070059 w 7467663"/>
              <a:gd name="connsiteY86" fmla="*/ 5441660 h 6858000"/>
              <a:gd name="connsiteX87" fmla="*/ 1456157 w 7467663"/>
              <a:gd name="connsiteY87" fmla="*/ 5371404 h 6858000"/>
              <a:gd name="connsiteX88" fmla="*/ 4988186 w 7467663"/>
              <a:gd name="connsiteY88" fmla="*/ 5216467 h 6858000"/>
              <a:gd name="connsiteX89" fmla="*/ 4777334 w 7467663"/>
              <a:gd name="connsiteY89" fmla="*/ 5406072 h 6858000"/>
              <a:gd name="connsiteX90" fmla="*/ 4718341 w 7467663"/>
              <a:gd name="connsiteY90" fmla="*/ 5468043 h 6858000"/>
              <a:gd name="connsiteX91" fmla="*/ 4604655 w 7467663"/>
              <a:gd name="connsiteY91" fmla="*/ 5583434 h 6858000"/>
              <a:gd name="connsiteX92" fmla="*/ 4565074 w 7467663"/>
              <a:gd name="connsiteY92" fmla="*/ 5618550 h 6858000"/>
              <a:gd name="connsiteX93" fmla="*/ 4988186 w 7467663"/>
              <a:gd name="connsiteY93" fmla="*/ 5216467 h 6858000"/>
              <a:gd name="connsiteX94" fmla="*/ 4978032 w 7467663"/>
              <a:gd name="connsiteY94" fmla="*/ 5183809 h 6858000"/>
              <a:gd name="connsiteX95" fmla="*/ 4463413 w 7467663"/>
              <a:gd name="connsiteY95" fmla="*/ 5615162 h 6858000"/>
              <a:gd name="connsiteX96" fmla="*/ 4358134 w 7467663"/>
              <a:gd name="connsiteY96" fmla="*/ 5742791 h 6858000"/>
              <a:gd name="connsiteX97" fmla="*/ 4376219 w 7467663"/>
              <a:gd name="connsiteY97" fmla="*/ 5729027 h 6858000"/>
              <a:gd name="connsiteX98" fmla="*/ 4582340 w 7467663"/>
              <a:gd name="connsiteY98" fmla="*/ 5561037 h 6858000"/>
              <a:gd name="connsiteX99" fmla="*/ 4694684 w 7467663"/>
              <a:gd name="connsiteY99" fmla="*/ 5447098 h 6858000"/>
              <a:gd name="connsiteX100" fmla="*/ 4754123 w 7467663"/>
              <a:gd name="connsiteY100" fmla="*/ 5384643 h 6858000"/>
              <a:gd name="connsiteX101" fmla="*/ 4978032 w 7467663"/>
              <a:gd name="connsiteY101" fmla="*/ 5183809 h 6858000"/>
              <a:gd name="connsiteX102" fmla="*/ 1903353 w 7467663"/>
              <a:gd name="connsiteY102" fmla="*/ 5044827 h 6858000"/>
              <a:gd name="connsiteX103" fmla="*/ 1936931 w 7467663"/>
              <a:gd name="connsiteY103" fmla="*/ 5093954 h 6858000"/>
              <a:gd name="connsiteX104" fmla="*/ 2195868 w 7467663"/>
              <a:gd name="connsiteY104" fmla="*/ 5396574 h 6858000"/>
              <a:gd name="connsiteX105" fmla="*/ 2088852 w 7467663"/>
              <a:gd name="connsiteY105" fmla="*/ 5166123 h 6858000"/>
              <a:gd name="connsiteX106" fmla="*/ 1958241 w 7467663"/>
              <a:gd name="connsiteY106" fmla="*/ 5067955 h 6858000"/>
              <a:gd name="connsiteX107" fmla="*/ 1903353 w 7467663"/>
              <a:gd name="connsiteY107" fmla="*/ 5044827 h 6858000"/>
              <a:gd name="connsiteX108" fmla="*/ 1979378 w 7467663"/>
              <a:gd name="connsiteY108" fmla="*/ 4769504 h 6858000"/>
              <a:gd name="connsiteX109" fmla="*/ 2882120 w 7467663"/>
              <a:gd name="connsiteY109" fmla="*/ 5064547 h 6858000"/>
              <a:gd name="connsiteX110" fmla="*/ 2793103 w 7467663"/>
              <a:gd name="connsiteY110" fmla="*/ 5039699 h 6858000"/>
              <a:gd name="connsiteX111" fmla="*/ 2770041 w 7467663"/>
              <a:gd name="connsiteY111" fmla="*/ 5033634 h 6858000"/>
              <a:gd name="connsiteX112" fmla="*/ 1979378 w 7467663"/>
              <a:gd name="connsiteY112" fmla="*/ 4769504 h 6858000"/>
              <a:gd name="connsiteX113" fmla="*/ 1927410 w 7467663"/>
              <a:gd name="connsiteY113" fmla="*/ 4716164 h 6858000"/>
              <a:gd name="connsiteX114" fmla="*/ 1959587 w 7467663"/>
              <a:gd name="connsiteY114" fmla="*/ 4728849 h 6858000"/>
              <a:gd name="connsiteX115" fmla="*/ 2777707 w 7467663"/>
              <a:gd name="connsiteY115" fmla="*/ 5003991 h 6858000"/>
              <a:gd name="connsiteX116" fmla="*/ 2800768 w 7467663"/>
              <a:gd name="connsiteY116" fmla="*/ 5010056 h 6858000"/>
              <a:gd name="connsiteX117" fmla="*/ 2879408 w 7467663"/>
              <a:gd name="connsiteY117" fmla="*/ 5031590 h 6858000"/>
              <a:gd name="connsiteX118" fmla="*/ 2862295 w 7467663"/>
              <a:gd name="connsiteY118" fmla="*/ 5022958 h 6858000"/>
              <a:gd name="connsiteX119" fmla="*/ 2813343 w 7467663"/>
              <a:gd name="connsiteY119" fmla="*/ 4998369 h 6858000"/>
              <a:gd name="connsiteX120" fmla="*/ 2646245 w 7467663"/>
              <a:gd name="connsiteY120" fmla="*/ 4930999 h 6858000"/>
              <a:gd name="connsiteX121" fmla="*/ 1999243 w 7467663"/>
              <a:gd name="connsiteY121" fmla="*/ 4730524 h 6858000"/>
              <a:gd name="connsiteX122" fmla="*/ 1979527 w 7467663"/>
              <a:gd name="connsiteY122" fmla="*/ 4726651 h 6858000"/>
              <a:gd name="connsiteX123" fmla="*/ 1927410 w 7467663"/>
              <a:gd name="connsiteY123" fmla="*/ 4716164 h 6858000"/>
              <a:gd name="connsiteX124" fmla="*/ 1997014 w 7467663"/>
              <a:gd name="connsiteY124" fmla="*/ 4698007 h 6858000"/>
              <a:gd name="connsiteX125" fmla="*/ 2005458 w 7467663"/>
              <a:gd name="connsiteY125" fmla="*/ 4699540 h 6858000"/>
              <a:gd name="connsiteX126" fmla="*/ 2657186 w 7467663"/>
              <a:gd name="connsiteY126" fmla="*/ 4901687 h 6858000"/>
              <a:gd name="connsiteX127" fmla="*/ 2826662 w 7467663"/>
              <a:gd name="connsiteY127" fmla="*/ 4970362 h 6858000"/>
              <a:gd name="connsiteX128" fmla="*/ 2876100 w 7467663"/>
              <a:gd name="connsiteY128" fmla="*/ 4995397 h 6858000"/>
              <a:gd name="connsiteX129" fmla="*/ 3042600 w 7467663"/>
              <a:gd name="connsiteY129" fmla="*/ 5059532 h 6858000"/>
              <a:gd name="connsiteX130" fmla="*/ 1997014 w 7467663"/>
              <a:gd name="connsiteY130" fmla="*/ 4698007 h 6858000"/>
              <a:gd name="connsiteX131" fmla="*/ 2305292 w 7467663"/>
              <a:gd name="connsiteY131" fmla="*/ 4219492 h 6858000"/>
              <a:gd name="connsiteX132" fmla="*/ 3360922 w 7467663"/>
              <a:gd name="connsiteY132" fmla="*/ 4529373 h 6858000"/>
              <a:gd name="connsiteX133" fmla="*/ 3492420 w 7467663"/>
              <a:gd name="connsiteY133" fmla="*/ 4510145 h 6858000"/>
              <a:gd name="connsiteX134" fmla="*/ 3364086 w 7467663"/>
              <a:gd name="connsiteY134" fmla="*/ 4480340 h 6858000"/>
              <a:gd name="connsiteX135" fmla="*/ 3225818 w 7467663"/>
              <a:gd name="connsiteY135" fmla="*/ 4411822 h 6858000"/>
              <a:gd name="connsiteX136" fmla="*/ 3129696 w 7467663"/>
              <a:gd name="connsiteY136" fmla="*/ 4360704 h 6858000"/>
              <a:gd name="connsiteX137" fmla="*/ 2814545 w 7467663"/>
              <a:gd name="connsiteY137" fmla="*/ 4282955 h 6858000"/>
              <a:gd name="connsiteX138" fmla="*/ 2305292 w 7467663"/>
              <a:gd name="connsiteY138" fmla="*/ 4219492 h 6858000"/>
              <a:gd name="connsiteX139" fmla="*/ 2626982 w 7467663"/>
              <a:gd name="connsiteY139" fmla="*/ 4206450 h 6858000"/>
              <a:gd name="connsiteX140" fmla="*/ 2490617 w 7467663"/>
              <a:gd name="connsiteY140" fmla="*/ 4206951 h 6858000"/>
              <a:gd name="connsiteX141" fmla="*/ 2819869 w 7467663"/>
              <a:gd name="connsiteY141" fmla="*/ 4252936 h 6858000"/>
              <a:gd name="connsiteX142" fmla="*/ 3143018 w 7467663"/>
              <a:gd name="connsiteY142" fmla="*/ 4332698 h 6858000"/>
              <a:gd name="connsiteX143" fmla="*/ 3241520 w 7467663"/>
              <a:gd name="connsiteY143" fmla="*/ 4385112 h 6858000"/>
              <a:gd name="connsiteX144" fmla="*/ 3374575 w 7467663"/>
              <a:gd name="connsiteY144" fmla="*/ 4451517 h 6858000"/>
              <a:gd name="connsiteX145" fmla="*/ 3505221 w 7467663"/>
              <a:gd name="connsiteY145" fmla="*/ 4480757 h 6858000"/>
              <a:gd name="connsiteX146" fmla="*/ 2626982 w 7467663"/>
              <a:gd name="connsiteY146" fmla="*/ 4206450 h 6858000"/>
              <a:gd name="connsiteX147" fmla="*/ 1310106 w 7467663"/>
              <a:gd name="connsiteY147" fmla="*/ 3943217 h 6858000"/>
              <a:gd name="connsiteX148" fmla="*/ 854994 w 7467663"/>
              <a:gd name="connsiteY148" fmla="*/ 4399136 h 6858000"/>
              <a:gd name="connsiteX149" fmla="*/ 742462 w 7467663"/>
              <a:gd name="connsiteY149" fmla="*/ 4594648 h 6858000"/>
              <a:gd name="connsiteX150" fmla="*/ 820602 w 7467663"/>
              <a:gd name="connsiteY150" fmla="*/ 4485915 h 6858000"/>
              <a:gd name="connsiteX151" fmla="*/ 878295 w 7467663"/>
              <a:gd name="connsiteY151" fmla="*/ 4403594 h 6858000"/>
              <a:gd name="connsiteX152" fmla="*/ 1240607 w 7467663"/>
              <a:gd name="connsiteY152" fmla="*/ 4010401 h 6858000"/>
              <a:gd name="connsiteX153" fmla="*/ 1310106 w 7467663"/>
              <a:gd name="connsiteY153" fmla="*/ 3943217 h 6858000"/>
              <a:gd name="connsiteX154" fmla="*/ 1423113 w 7467663"/>
              <a:gd name="connsiteY154" fmla="*/ 3874565 h 6858000"/>
              <a:gd name="connsiteX155" fmla="*/ 1260565 w 7467663"/>
              <a:gd name="connsiteY155" fmla="*/ 4031982 h 6858000"/>
              <a:gd name="connsiteX156" fmla="*/ 901900 w 7467663"/>
              <a:gd name="connsiteY156" fmla="*/ 4421236 h 6858000"/>
              <a:gd name="connsiteX157" fmla="*/ 845044 w 7467663"/>
              <a:gd name="connsiteY157" fmla="*/ 4502436 h 6858000"/>
              <a:gd name="connsiteX158" fmla="*/ 685926 w 7467663"/>
              <a:gd name="connsiteY158" fmla="*/ 4703069 h 6858000"/>
              <a:gd name="connsiteX159" fmla="*/ 684248 w 7467663"/>
              <a:gd name="connsiteY159" fmla="*/ 4706721 h 6858000"/>
              <a:gd name="connsiteX160" fmla="*/ 1423113 w 7467663"/>
              <a:gd name="connsiteY160" fmla="*/ 3874565 h 6858000"/>
              <a:gd name="connsiteX161" fmla="*/ 3316479 w 7467663"/>
              <a:gd name="connsiteY161" fmla="*/ 3872136 h 6858000"/>
              <a:gd name="connsiteX162" fmla="*/ 3546806 w 7467663"/>
              <a:gd name="connsiteY162" fmla="*/ 4356139 h 6858000"/>
              <a:gd name="connsiteX163" fmla="*/ 3364433 w 7467663"/>
              <a:gd name="connsiteY163" fmla="*/ 3953121 h 6858000"/>
              <a:gd name="connsiteX164" fmla="*/ 3316479 w 7467663"/>
              <a:gd name="connsiteY164" fmla="*/ 3872136 h 6858000"/>
              <a:gd name="connsiteX165" fmla="*/ 3291335 w 7467663"/>
              <a:gd name="connsiteY165" fmla="*/ 3767420 h 6858000"/>
              <a:gd name="connsiteX166" fmla="*/ 3390805 w 7467663"/>
              <a:gd name="connsiteY166" fmla="*/ 3937163 h 6858000"/>
              <a:gd name="connsiteX167" fmla="*/ 3579062 w 7467663"/>
              <a:gd name="connsiteY167" fmla="*/ 4359040 h 6858000"/>
              <a:gd name="connsiteX168" fmla="*/ 3467355 w 7467663"/>
              <a:gd name="connsiteY168" fmla="*/ 3988130 h 6858000"/>
              <a:gd name="connsiteX169" fmla="*/ 3310753 w 7467663"/>
              <a:gd name="connsiteY169" fmla="*/ 3787140 h 6858000"/>
              <a:gd name="connsiteX170" fmla="*/ 3291335 w 7467663"/>
              <a:gd name="connsiteY170" fmla="*/ 3767420 h 6858000"/>
              <a:gd name="connsiteX171" fmla="*/ 1635889 w 7467663"/>
              <a:gd name="connsiteY171" fmla="*/ 3709494 h 6858000"/>
              <a:gd name="connsiteX172" fmla="*/ 1634800 w 7467663"/>
              <a:gd name="connsiteY172" fmla="*/ 3731111 h 6858000"/>
              <a:gd name="connsiteX173" fmla="*/ 1635889 w 7467663"/>
              <a:gd name="connsiteY173" fmla="*/ 3709494 h 6858000"/>
              <a:gd name="connsiteX174" fmla="*/ 1510397 w 7467663"/>
              <a:gd name="connsiteY174" fmla="*/ 3684705 h 6858000"/>
              <a:gd name="connsiteX175" fmla="*/ 1146550 w 7467663"/>
              <a:gd name="connsiteY175" fmla="*/ 3802012 h 6858000"/>
              <a:gd name="connsiteX176" fmla="*/ 698834 w 7467663"/>
              <a:gd name="connsiteY176" fmla="*/ 3952272 h 6858000"/>
              <a:gd name="connsiteX177" fmla="*/ 34256 w 7467663"/>
              <a:gd name="connsiteY177" fmla="*/ 4347603 h 6858000"/>
              <a:gd name="connsiteX178" fmla="*/ 527241 w 7467663"/>
              <a:gd name="connsiteY178" fmla="*/ 4065078 h 6858000"/>
              <a:gd name="connsiteX179" fmla="*/ 1510397 w 7467663"/>
              <a:gd name="connsiteY179" fmla="*/ 3684705 h 6858000"/>
              <a:gd name="connsiteX180" fmla="*/ 1313114 w 7467663"/>
              <a:gd name="connsiteY180" fmla="*/ 3655216 h 6858000"/>
              <a:gd name="connsiteX181" fmla="*/ 1109304 w 7467663"/>
              <a:gd name="connsiteY181" fmla="*/ 3669030 h 6858000"/>
              <a:gd name="connsiteX182" fmla="*/ 8129 w 7467663"/>
              <a:gd name="connsiteY182" fmla="*/ 4330519 h 6858000"/>
              <a:gd name="connsiteX183" fmla="*/ 687572 w 7467663"/>
              <a:gd name="connsiteY183" fmla="*/ 3925629 h 6858000"/>
              <a:gd name="connsiteX184" fmla="*/ 1138365 w 7467663"/>
              <a:gd name="connsiteY184" fmla="*/ 3774515 h 6858000"/>
              <a:gd name="connsiteX185" fmla="*/ 1505579 w 7467663"/>
              <a:gd name="connsiteY185" fmla="*/ 3655526 h 6858000"/>
              <a:gd name="connsiteX186" fmla="*/ 1313114 w 7467663"/>
              <a:gd name="connsiteY186" fmla="*/ 3655216 h 6858000"/>
              <a:gd name="connsiteX187" fmla="*/ 3655073 w 7467663"/>
              <a:gd name="connsiteY187" fmla="*/ 3650884 h 6858000"/>
              <a:gd name="connsiteX188" fmla="*/ 3989938 w 7467663"/>
              <a:gd name="connsiteY188" fmla="*/ 3991685 h 6858000"/>
              <a:gd name="connsiteX189" fmla="*/ 4393907 w 7467663"/>
              <a:gd name="connsiteY189" fmla="*/ 4261258 h 6858000"/>
              <a:gd name="connsiteX190" fmla="*/ 4648051 w 7467663"/>
              <a:gd name="connsiteY190" fmla="*/ 4374051 h 6858000"/>
              <a:gd name="connsiteX191" fmla="*/ 4383389 w 7467663"/>
              <a:gd name="connsiteY191" fmla="*/ 4184369 h 6858000"/>
              <a:gd name="connsiteX192" fmla="*/ 4165508 w 7467663"/>
              <a:gd name="connsiteY192" fmla="*/ 4035196 h 6858000"/>
              <a:gd name="connsiteX193" fmla="*/ 4068162 w 7467663"/>
              <a:gd name="connsiteY193" fmla="*/ 3953394 h 6858000"/>
              <a:gd name="connsiteX194" fmla="*/ 3981416 w 7467663"/>
              <a:gd name="connsiteY194" fmla="*/ 3880482 h 6858000"/>
              <a:gd name="connsiteX195" fmla="*/ 3800147 w 7467663"/>
              <a:gd name="connsiteY195" fmla="*/ 3749872 h 6858000"/>
              <a:gd name="connsiteX196" fmla="*/ 3655073 w 7467663"/>
              <a:gd name="connsiteY196" fmla="*/ 3650884 h 6858000"/>
              <a:gd name="connsiteX197" fmla="*/ 3670252 w 7467663"/>
              <a:gd name="connsiteY197" fmla="*/ 3622798 h 6858000"/>
              <a:gd name="connsiteX198" fmla="*/ 3817258 w 7467663"/>
              <a:gd name="connsiteY198" fmla="*/ 3723577 h 6858000"/>
              <a:gd name="connsiteX199" fmla="*/ 4000461 w 7467663"/>
              <a:gd name="connsiteY199" fmla="*/ 3855966 h 6858000"/>
              <a:gd name="connsiteX200" fmla="*/ 4088180 w 7467663"/>
              <a:gd name="connsiteY200" fmla="*/ 3929774 h 6858000"/>
              <a:gd name="connsiteX201" fmla="*/ 4184555 w 7467663"/>
              <a:gd name="connsiteY201" fmla="*/ 4010683 h 6858000"/>
              <a:gd name="connsiteX202" fmla="*/ 4399563 w 7467663"/>
              <a:gd name="connsiteY202" fmla="*/ 4158106 h 6858000"/>
              <a:gd name="connsiteX203" fmla="*/ 4684469 w 7467663"/>
              <a:gd name="connsiteY203" fmla="*/ 4364680 h 6858000"/>
              <a:gd name="connsiteX204" fmla="*/ 4690271 w 7467663"/>
              <a:gd name="connsiteY204" fmla="*/ 4370034 h 6858000"/>
              <a:gd name="connsiteX205" fmla="*/ 4136093 w 7467663"/>
              <a:gd name="connsiteY205" fmla="*/ 3858466 h 6858000"/>
              <a:gd name="connsiteX206" fmla="*/ 3670252 w 7467663"/>
              <a:gd name="connsiteY206" fmla="*/ 3622798 h 6858000"/>
              <a:gd name="connsiteX207" fmla="*/ 4440129 w 7467663"/>
              <a:gd name="connsiteY207" fmla="*/ 3448571 h 6858000"/>
              <a:gd name="connsiteX208" fmla="*/ 4856525 w 7467663"/>
              <a:gd name="connsiteY208" fmla="*/ 3915351 h 6858000"/>
              <a:gd name="connsiteX209" fmla="*/ 5059055 w 7467663"/>
              <a:gd name="connsiteY209" fmla="*/ 4108918 h 6858000"/>
              <a:gd name="connsiteX210" fmla="*/ 5290070 w 7467663"/>
              <a:gd name="connsiteY210" fmla="*/ 4263619 h 6858000"/>
              <a:gd name="connsiteX211" fmla="*/ 4834991 w 7467663"/>
              <a:gd name="connsiteY211" fmla="*/ 3830985 h 6858000"/>
              <a:gd name="connsiteX212" fmla="*/ 4440129 w 7467663"/>
              <a:gd name="connsiteY212" fmla="*/ 3448571 h 6858000"/>
              <a:gd name="connsiteX213" fmla="*/ 4441737 w 7467663"/>
              <a:gd name="connsiteY213" fmla="*/ 3399734 h 6858000"/>
              <a:gd name="connsiteX214" fmla="*/ 4431236 w 7467663"/>
              <a:gd name="connsiteY214" fmla="*/ 3400954 h 6858000"/>
              <a:gd name="connsiteX215" fmla="*/ 4557150 w 7467663"/>
              <a:gd name="connsiteY215" fmla="*/ 3510023 h 6858000"/>
              <a:gd name="connsiteX216" fmla="*/ 4856936 w 7467663"/>
              <a:gd name="connsiteY216" fmla="*/ 3809146 h 6858000"/>
              <a:gd name="connsiteX217" fmla="*/ 5111996 w 7467663"/>
              <a:gd name="connsiteY217" fmla="*/ 4065759 h 6858000"/>
              <a:gd name="connsiteX218" fmla="*/ 5388878 w 7467663"/>
              <a:gd name="connsiteY218" fmla="*/ 4300185 h 6858000"/>
              <a:gd name="connsiteX219" fmla="*/ 5425556 w 7467663"/>
              <a:gd name="connsiteY219" fmla="*/ 4308967 h 6858000"/>
              <a:gd name="connsiteX220" fmla="*/ 4943646 w 7467663"/>
              <a:gd name="connsiteY220" fmla="*/ 3822916 h 6858000"/>
              <a:gd name="connsiteX221" fmla="*/ 4594837 w 7467663"/>
              <a:gd name="connsiteY221" fmla="*/ 3532274 h 6858000"/>
              <a:gd name="connsiteX222" fmla="*/ 4441737 w 7467663"/>
              <a:gd name="connsiteY222" fmla="*/ 3399734 h 6858000"/>
              <a:gd name="connsiteX223" fmla="*/ 5425834 w 7467663"/>
              <a:gd name="connsiteY223" fmla="*/ 3162785 h 6858000"/>
              <a:gd name="connsiteX224" fmla="*/ 5401644 w 7467663"/>
              <a:gd name="connsiteY224" fmla="*/ 3617847 h 6858000"/>
              <a:gd name="connsiteX225" fmla="*/ 5467256 w 7467663"/>
              <a:gd name="connsiteY225" fmla="*/ 4175494 h 6858000"/>
              <a:gd name="connsiteX226" fmla="*/ 5448069 w 7467663"/>
              <a:gd name="connsiteY226" fmla="*/ 3567554 h 6858000"/>
              <a:gd name="connsiteX227" fmla="*/ 5425834 w 7467663"/>
              <a:gd name="connsiteY227" fmla="*/ 3162785 h 6858000"/>
              <a:gd name="connsiteX228" fmla="*/ 1318687 w 7467663"/>
              <a:gd name="connsiteY228" fmla="*/ 3113840 h 6858000"/>
              <a:gd name="connsiteX229" fmla="*/ 1066793 w 7467663"/>
              <a:gd name="connsiteY229" fmla="*/ 3212171 h 6858000"/>
              <a:gd name="connsiteX230" fmla="*/ 993319 w 7467663"/>
              <a:gd name="connsiteY230" fmla="*/ 3247648 h 6858000"/>
              <a:gd name="connsiteX231" fmla="*/ 853081 w 7467663"/>
              <a:gd name="connsiteY231" fmla="*/ 3312410 h 6858000"/>
              <a:gd name="connsiteX232" fmla="*/ 805957 w 7467663"/>
              <a:gd name="connsiteY232" fmla="*/ 3330443 h 6858000"/>
              <a:gd name="connsiteX233" fmla="*/ 1318687 w 7467663"/>
              <a:gd name="connsiteY233" fmla="*/ 3113840 h 6858000"/>
              <a:gd name="connsiteX234" fmla="*/ 5453702 w 7467663"/>
              <a:gd name="connsiteY234" fmla="*/ 3090882 h 6858000"/>
              <a:gd name="connsiteX235" fmla="*/ 5480135 w 7467663"/>
              <a:gd name="connsiteY235" fmla="*/ 3565802 h 6858000"/>
              <a:gd name="connsiteX236" fmla="*/ 5499023 w 7467663"/>
              <a:gd name="connsiteY236" fmla="*/ 4166310 h 6858000"/>
              <a:gd name="connsiteX237" fmla="*/ 5547022 w 7467663"/>
              <a:gd name="connsiteY237" fmla="*/ 3607838 h 6858000"/>
              <a:gd name="connsiteX238" fmla="*/ 5515964 w 7467663"/>
              <a:gd name="connsiteY238" fmla="*/ 3378541 h 6858000"/>
              <a:gd name="connsiteX239" fmla="*/ 5453702 w 7467663"/>
              <a:gd name="connsiteY239" fmla="*/ 3090882 h 6858000"/>
              <a:gd name="connsiteX240" fmla="*/ 1238695 w 7467663"/>
              <a:gd name="connsiteY240" fmla="*/ 3076820 h 6858000"/>
              <a:gd name="connsiteX241" fmla="*/ 716371 w 7467663"/>
              <a:gd name="connsiteY241" fmla="*/ 3293249 h 6858000"/>
              <a:gd name="connsiteX242" fmla="*/ 579522 w 7467663"/>
              <a:gd name="connsiteY242" fmla="*/ 3371759 h 6858000"/>
              <a:gd name="connsiteX243" fmla="*/ 600288 w 7467663"/>
              <a:gd name="connsiteY243" fmla="*/ 3365555 h 6858000"/>
              <a:gd name="connsiteX244" fmla="*/ 840692 w 7467663"/>
              <a:gd name="connsiteY244" fmla="*/ 3284921 h 6858000"/>
              <a:gd name="connsiteX245" fmla="*/ 979248 w 7467663"/>
              <a:gd name="connsiteY245" fmla="*/ 3221003 h 6858000"/>
              <a:gd name="connsiteX246" fmla="*/ 1053282 w 7467663"/>
              <a:gd name="connsiteY246" fmla="*/ 3185247 h 6858000"/>
              <a:gd name="connsiteX247" fmla="*/ 1320603 w 7467663"/>
              <a:gd name="connsiteY247" fmla="*/ 3081281 h 6858000"/>
              <a:gd name="connsiteX248" fmla="*/ 1238695 w 7467663"/>
              <a:gd name="connsiteY248" fmla="*/ 3076820 h 6858000"/>
              <a:gd name="connsiteX249" fmla="*/ 5425627 w 7467663"/>
              <a:gd name="connsiteY249" fmla="*/ 2954192 h 6858000"/>
              <a:gd name="connsiteX250" fmla="*/ 5470770 w 7467663"/>
              <a:gd name="connsiteY250" fmla="*/ 3005435 h 6858000"/>
              <a:gd name="connsiteX251" fmla="*/ 5519779 w 7467663"/>
              <a:gd name="connsiteY251" fmla="*/ 4359223 h 6858000"/>
              <a:gd name="connsiteX252" fmla="*/ 5520293 w 7467663"/>
              <a:gd name="connsiteY252" fmla="*/ 4360602 h 6858000"/>
              <a:gd name="connsiteX253" fmla="*/ 5767221 w 7467663"/>
              <a:gd name="connsiteY253" fmla="*/ 4665564 h 6858000"/>
              <a:gd name="connsiteX254" fmla="*/ 6937169 w 7467663"/>
              <a:gd name="connsiteY254" fmla="*/ 4815941 h 6858000"/>
              <a:gd name="connsiteX255" fmla="*/ 6953922 w 7467663"/>
              <a:gd name="connsiteY255" fmla="*/ 4890068 h 6858000"/>
              <a:gd name="connsiteX256" fmla="*/ 6071359 w 7467663"/>
              <a:gd name="connsiteY256" fmla="*/ 4770770 h 6858000"/>
              <a:gd name="connsiteX257" fmla="*/ 6038839 w 7467663"/>
              <a:gd name="connsiteY257" fmla="*/ 4764474 h 6858000"/>
              <a:gd name="connsiteX258" fmla="*/ 6038706 w 7467663"/>
              <a:gd name="connsiteY258" fmla="*/ 4763847 h 6858000"/>
              <a:gd name="connsiteX259" fmla="*/ 6037784 w 7467663"/>
              <a:gd name="connsiteY259" fmla="*/ 4764270 h 6858000"/>
              <a:gd name="connsiteX260" fmla="*/ 6038839 w 7467663"/>
              <a:gd name="connsiteY260" fmla="*/ 4764474 h 6858000"/>
              <a:gd name="connsiteX261" fmla="*/ 6040338 w 7467663"/>
              <a:gd name="connsiteY261" fmla="*/ 4771418 h 6858000"/>
              <a:gd name="connsiteX262" fmla="*/ 6024488 w 7467663"/>
              <a:gd name="connsiteY262" fmla="*/ 4809903 h 6858000"/>
              <a:gd name="connsiteX263" fmla="*/ 5599771 w 7467663"/>
              <a:gd name="connsiteY263" fmla="*/ 5509652 h 6858000"/>
              <a:gd name="connsiteX264" fmla="*/ 5548843 w 7467663"/>
              <a:gd name="connsiteY264" fmla="*/ 5563845 h 6858000"/>
              <a:gd name="connsiteX265" fmla="*/ 5940952 w 7467663"/>
              <a:gd name="connsiteY265" fmla="*/ 6250028 h 6858000"/>
              <a:gd name="connsiteX266" fmla="*/ 6043441 w 7467663"/>
              <a:gd name="connsiteY266" fmla="*/ 6665847 h 6858000"/>
              <a:gd name="connsiteX267" fmla="*/ 6093432 w 7467663"/>
              <a:gd name="connsiteY267" fmla="*/ 6858000 h 6858000"/>
              <a:gd name="connsiteX268" fmla="*/ 6034344 w 7467663"/>
              <a:gd name="connsiteY268" fmla="*/ 6858000 h 6858000"/>
              <a:gd name="connsiteX269" fmla="*/ 6026679 w 7467663"/>
              <a:gd name="connsiteY269" fmla="*/ 6836959 h 6858000"/>
              <a:gd name="connsiteX270" fmla="*/ 5800441 w 7467663"/>
              <a:gd name="connsiteY270" fmla="*/ 6335286 h 6858000"/>
              <a:gd name="connsiteX271" fmla="*/ 5526562 w 7467663"/>
              <a:gd name="connsiteY271" fmla="*/ 5705388 h 6858000"/>
              <a:gd name="connsiteX272" fmla="*/ 5519640 w 7467663"/>
              <a:gd name="connsiteY272" fmla="*/ 5683774 h 6858000"/>
              <a:gd name="connsiteX273" fmla="*/ 5844559 w 7467663"/>
              <a:gd name="connsiteY273" fmla="*/ 6553349 h 6858000"/>
              <a:gd name="connsiteX274" fmla="*/ 5975994 w 7467663"/>
              <a:gd name="connsiteY274" fmla="*/ 6858000 h 6858000"/>
              <a:gd name="connsiteX275" fmla="*/ 5898547 w 7467663"/>
              <a:gd name="connsiteY275" fmla="*/ 6858000 h 6858000"/>
              <a:gd name="connsiteX276" fmla="*/ 5682041 w 7467663"/>
              <a:gd name="connsiteY276" fmla="*/ 6355860 h 6858000"/>
              <a:gd name="connsiteX277" fmla="*/ 5461758 w 7467663"/>
              <a:gd name="connsiteY277" fmla="*/ 5820220 h 6858000"/>
              <a:gd name="connsiteX278" fmla="*/ 5237282 w 7467663"/>
              <a:gd name="connsiteY278" fmla="*/ 6579086 h 6858000"/>
              <a:gd name="connsiteX279" fmla="*/ 5115009 w 7467663"/>
              <a:gd name="connsiteY279" fmla="*/ 6858000 h 6858000"/>
              <a:gd name="connsiteX280" fmla="*/ 5028074 w 7467663"/>
              <a:gd name="connsiteY280" fmla="*/ 6858000 h 6858000"/>
              <a:gd name="connsiteX281" fmla="*/ 5079508 w 7467663"/>
              <a:gd name="connsiteY281" fmla="*/ 6749074 h 6858000"/>
              <a:gd name="connsiteX282" fmla="*/ 5371846 w 7467663"/>
              <a:gd name="connsiteY282" fmla="*/ 5924413 h 6858000"/>
              <a:gd name="connsiteX283" fmla="*/ 5270512 w 7467663"/>
              <a:gd name="connsiteY283" fmla="*/ 6138975 h 6858000"/>
              <a:gd name="connsiteX284" fmla="*/ 5062409 w 7467663"/>
              <a:gd name="connsiteY284" fmla="*/ 6653544 h 6858000"/>
              <a:gd name="connsiteX285" fmla="*/ 5036628 w 7467663"/>
              <a:gd name="connsiteY285" fmla="*/ 6754247 h 6858000"/>
              <a:gd name="connsiteX286" fmla="*/ 5009112 w 7467663"/>
              <a:gd name="connsiteY286" fmla="*/ 6858000 h 6858000"/>
              <a:gd name="connsiteX287" fmla="*/ 4976679 w 7467663"/>
              <a:gd name="connsiteY287" fmla="*/ 6858000 h 6858000"/>
              <a:gd name="connsiteX288" fmla="*/ 5006537 w 7467663"/>
              <a:gd name="connsiteY288" fmla="*/ 6747068 h 6858000"/>
              <a:gd name="connsiteX289" fmla="*/ 5032723 w 7467663"/>
              <a:gd name="connsiteY289" fmla="*/ 6644957 h 6858000"/>
              <a:gd name="connsiteX290" fmla="*/ 5242949 w 7467663"/>
              <a:gd name="connsiteY290" fmla="*/ 6125175 h 6858000"/>
              <a:gd name="connsiteX291" fmla="*/ 5286321 w 7467663"/>
              <a:gd name="connsiteY291" fmla="*/ 6033555 h 6858000"/>
              <a:gd name="connsiteX292" fmla="*/ 5008210 w 7467663"/>
              <a:gd name="connsiteY292" fmla="*/ 6649194 h 6858000"/>
              <a:gd name="connsiteX293" fmla="*/ 4986321 w 7467663"/>
              <a:gd name="connsiteY293" fmla="*/ 6765687 h 6858000"/>
              <a:gd name="connsiteX294" fmla="*/ 4973474 w 7467663"/>
              <a:gd name="connsiteY294" fmla="*/ 6858000 h 6858000"/>
              <a:gd name="connsiteX295" fmla="*/ 4907178 w 7467663"/>
              <a:gd name="connsiteY295" fmla="*/ 6858000 h 6858000"/>
              <a:gd name="connsiteX296" fmla="*/ 4910810 w 7467663"/>
              <a:gd name="connsiteY296" fmla="*/ 6829660 h 6858000"/>
              <a:gd name="connsiteX297" fmla="*/ 4987461 w 7467663"/>
              <a:gd name="connsiteY297" fmla="*/ 6432994 h 6858000"/>
              <a:gd name="connsiteX298" fmla="*/ 5179262 w 7467663"/>
              <a:gd name="connsiteY298" fmla="*/ 6035044 h 6858000"/>
              <a:gd name="connsiteX299" fmla="*/ 4689678 w 7467663"/>
              <a:gd name="connsiteY299" fmla="*/ 6440241 h 6858000"/>
              <a:gd name="connsiteX300" fmla="*/ 4477543 w 7467663"/>
              <a:gd name="connsiteY300" fmla="*/ 6674836 h 6858000"/>
              <a:gd name="connsiteX301" fmla="*/ 4329957 w 7467663"/>
              <a:gd name="connsiteY301" fmla="*/ 6858000 h 6858000"/>
              <a:gd name="connsiteX302" fmla="*/ 4218595 w 7467663"/>
              <a:gd name="connsiteY302" fmla="*/ 6858000 h 6858000"/>
              <a:gd name="connsiteX303" fmla="*/ 4368888 w 7467663"/>
              <a:gd name="connsiteY303" fmla="*/ 6668412 h 6858000"/>
              <a:gd name="connsiteX304" fmla="*/ 4563091 w 7467663"/>
              <a:gd name="connsiteY304" fmla="*/ 6442508 h 6858000"/>
              <a:gd name="connsiteX305" fmla="*/ 5387324 w 7467663"/>
              <a:gd name="connsiteY305" fmla="*/ 5705830 h 6858000"/>
              <a:gd name="connsiteX306" fmla="*/ 5073620 w 7467663"/>
              <a:gd name="connsiteY306" fmla="*/ 5955437 h 6858000"/>
              <a:gd name="connsiteX307" fmla="*/ 4689789 w 7467663"/>
              <a:gd name="connsiteY307" fmla="*/ 6268382 h 6858000"/>
              <a:gd name="connsiteX308" fmla="*/ 4418722 w 7467663"/>
              <a:gd name="connsiteY308" fmla="*/ 6570886 h 6858000"/>
              <a:gd name="connsiteX309" fmla="*/ 4214944 w 7467663"/>
              <a:gd name="connsiteY309" fmla="*/ 6858000 h 6858000"/>
              <a:gd name="connsiteX310" fmla="*/ 4177898 w 7467663"/>
              <a:gd name="connsiteY310" fmla="*/ 6858000 h 6858000"/>
              <a:gd name="connsiteX311" fmla="*/ 4391597 w 7467663"/>
              <a:gd name="connsiteY311" fmla="*/ 6556370 h 6858000"/>
              <a:gd name="connsiteX312" fmla="*/ 4668889 w 7467663"/>
              <a:gd name="connsiteY312" fmla="*/ 6246399 h 6858000"/>
              <a:gd name="connsiteX313" fmla="*/ 5055427 w 7467663"/>
              <a:gd name="connsiteY313" fmla="*/ 5931476 h 6858000"/>
              <a:gd name="connsiteX314" fmla="*/ 5371814 w 7467663"/>
              <a:gd name="connsiteY314" fmla="*/ 5678975 h 6858000"/>
              <a:gd name="connsiteX315" fmla="*/ 4987918 w 7467663"/>
              <a:gd name="connsiteY315" fmla="*/ 5838701 h 6858000"/>
              <a:gd name="connsiteX316" fmla="*/ 4317146 w 7467663"/>
              <a:gd name="connsiteY316" fmla="*/ 6587716 h 6858000"/>
              <a:gd name="connsiteX317" fmla="*/ 4171627 w 7467663"/>
              <a:gd name="connsiteY317" fmla="*/ 6858000 h 6858000"/>
              <a:gd name="connsiteX318" fmla="*/ 4081585 w 7467663"/>
              <a:gd name="connsiteY318" fmla="*/ 6858000 h 6858000"/>
              <a:gd name="connsiteX319" fmla="*/ 4238603 w 7467663"/>
              <a:gd name="connsiteY319" fmla="*/ 6559341 h 6858000"/>
              <a:gd name="connsiteX320" fmla="*/ 4778333 w 7467663"/>
              <a:gd name="connsiteY320" fmla="*/ 5873626 h 6858000"/>
              <a:gd name="connsiteX321" fmla="*/ 5414185 w 7467663"/>
              <a:gd name="connsiteY321" fmla="*/ 5573882 h 6858000"/>
              <a:gd name="connsiteX322" fmla="*/ 5959648 w 7467663"/>
              <a:gd name="connsiteY322" fmla="*/ 4760797 h 6858000"/>
              <a:gd name="connsiteX323" fmla="*/ 5355019 w 7467663"/>
              <a:gd name="connsiteY323" fmla="*/ 4734672 h 6858000"/>
              <a:gd name="connsiteX324" fmla="*/ 5083565 w 7467663"/>
              <a:gd name="connsiteY324" fmla="*/ 5179121 h 6858000"/>
              <a:gd name="connsiteX325" fmla="*/ 4713577 w 7467663"/>
              <a:gd name="connsiteY325" fmla="*/ 5616803 h 6858000"/>
              <a:gd name="connsiteX326" fmla="*/ 3989559 w 7467663"/>
              <a:gd name="connsiteY326" fmla="*/ 6145945 h 6858000"/>
              <a:gd name="connsiteX327" fmla="*/ 3939824 w 7467663"/>
              <a:gd name="connsiteY327" fmla="*/ 6066900 h 6858000"/>
              <a:gd name="connsiteX328" fmla="*/ 4584537 w 7467663"/>
              <a:gd name="connsiteY328" fmla="*/ 5324826 h 6858000"/>
              <a:gd name="connsiteX329" fmla="*/ 5037105 w 7467663"/>
              <a:gd name="connsiteY329" fmla="*/ 5088765 h 6858000"/>
              <a:gd name="connsiteX330" fmla="*/ 5039930 w 7467663"/>
              <a:gd name="connsiteY330" fmla="*/ 5089585 h 6858000"/>
              <a:gd name="connsiteX331" fmla="*/ 5263764 w 7467663"/>
              <a:gd name="connsiteY331" fmla="*/ 4735525 h 6858000"/>
              <a:gd name="connsiteX332" fmla="*/ 4086300 w 7467663"/>
              <a:gd name="connsiteY332" fmla="*/ 4884599 h 6858000"/>
              <a:gd name="connsiteX333" fmla="*/ 4085485 w 7467663"/>
              <a:gd name="connsiteY333" fmla="*/ 4899070 h 6858000"/>
              <a:gd name="connsiteX334" fmla="*/ 3871915 w 7467663"/>
              <a:gd name="connsiteY334" fmla="*/ 5253645 h 6858000"/>
              <a:gd name="connsiteX335" fmla="*/ 3799374 w 7467663"/>
              <a:gd name="connsiteY335" fmla="*/ 5466127 h 6858000"/>
              <a:gd name="connsiteX336" fmla="*/ 3498850 w 7467663"/>
              <a:gd name="connsiteY336" fmla="*/ 6661888 h 6858000"/>
              <a:gd name="connsiteX337" fmla="*/ 3399216 w 7467663"/>
              <a:gd name="connsiteY337" fmla="*/ 6858000 h 6858000"/>
              <a:gd name="connsiteX338" fmla="*/ 3303688 w 7467663"/>
              <a:gd name="connsiteY338" fmla="*/ 6858000 h 6858000"/>
              <a:gd name="connsiteX339" fmla="*/ 3391774 w 7467663"/>
              <a:gd name="connsiteY339" fmla="*/ 6697181 h 6858000"/>
              <a:gd name="connsiteX340" fmla="*/ 3735540 w 7467663"/>
              <a:gd name="connsiteY340" fmla="*/ 5546923 h 6858000"/>
              <a:gd name="connsiteX341" fmla="*/ 3729438 w 7467663"/>
              <a:gd name="connsiteY341" fmla="*/ 5569058 h 6858000"/>
              <a:gd name="connsiteX342" fmla="*/ 3707782 w 7467663"/>
              <a:gd name="connsiteY342" fmla="*/ 5644908 h 6858000"/>
              <a:gd name="connsiteX343" fmla="*/ 3583827 w 7467663"/>
              <a:gd name="connsiteY343" fmla="*/ 6039215 h 6858000"/>
              <a:gd name="connsiteX344" fmla="*/ 3547861 w 7467663"/>
              <a:gd name="connsiteY344" fmla="*/ 6129609 h 6858000"/>
              <a:gd name="connsiteX345" fmla="*/ 3490905 w 7467663"/>
              <a:gd name="connsiteY345" fmla="*/ 6277660 h 6858000"/>
              <a:gd name="connsiteX346" fmla="*/ 3455859 w 7467663"/>
              <a:gd name="connsiteY346" fmla="*/ 6391301 h 6858000"/>
              <a:gd name="connsiteX347" fmla="*/ 3429112 w 7467663"/>
              <a:gd name="connsiteY347" fmla="*/ 6479469 h 6858000"/>
              <a:gd name="connsiteX348" fmla="*/ 3304862 w 7467663"/>
              <a:gd name="connsiteY348" fmla="*/ 6796476 h 6858000"/>
              <a:gd name="connsiteX349" fmla="*/ 3276071 w 7467663"/>
              <a:gd name="connsiteY349" fmla="*/ 6858000 h 6858000"/>
              <a:gd name="connsiteX350" fmla="*/ 3240805 w 7467663"/>
              <a:gd name="connsiteY350" fmla="*/ 6858000 h 6858000"/>
              <a:gd name="connsiteX351" fmla="*/ 3275917 w 7467663"/>
              <a:gd name="connsiteY351" fmla="*/ 6783192 h 6858000"/>
              <a:gd name="connsiteX352" fmla="*/ 3399358 w 7467663"/>
              <a:gd name="connsiteY352" fmla="*/ 6469011 h 6858000"/>
              <a:gd name="connsiteX353" fmla="*/ 3425650 w 7467663"/>
              <a:gd name="connsiteY353" fmla="*/ 6381333 h 6858000"/>
              <a:gd name="connsiteX354" fmla="*/ 3460661 w 7467663"/>
              <a:gd name="connsiteY354" fmla="*/ 6266763 h 6858000"/>
              <a:gd name="connsiteX355" fmla="*/ 3518021 w 7467663"/>
              <a:gd name="connsiteY355" fmla="*/ 6117298 h 6858000"/>
              <a:gd name="connsiteX356" fmla="*/ 3554035 w 7467663"/>
              <a:gd name="connsiteY356" fmla="*/ 6027832 h 6858000"/>
              <a:gd name="connsiteX357" fmla="*/ 3677174 w 7467663"/>
              <a:gd name="connsiteY357" fmla="*/ 5636351 h 6858000"/>
              <a:gd name="connsiteX358" fmla="*/ 3698819 w 7467663"/>
              <a:gd name="connsiteY358" fmla="*/ 5560503 h 6858000"/>
              <a:gd name="connsiteX359" fmla="*/ 3702094 w 7467663"/>
              <a:gd name="connsiteY359" fmla="*/ 5549194 h 6858000"/>
              <a:gd name="connsiteX360" fmla="*/ 3398355 w 7467663"/>
              <a:gd name="connsiteY360" fmla="*/ 6094603 h 6858000"/>
              <a:gd name="connsiteX361" fmla="*/ 3193941 w 7467663"/>
              <a:gd name="connsiteY361" fmla="*/ 6798775 h 6858000"/>
              <a:gd name="connsiteX362" fmla="*/ 3184140 w 7467663"/>
              <a:gd name="connsiteY362" fmla="*/ 6858000 h 6858000"/>
              <a:gd name="connsiteX363" fmla="*/ 3099978 w 7467663"/>
              <a:gd name="connsiteY363" fmla="*/ 6858000 h 6858000"/>
              <a:gd name="connsiteX364" fmla="*/ 3101556 w 7467663"/>
              <a:gd name="connsiteY364" fmla="*/ 6843337 h 6858000"/>
              <a:gd name="connsiteX365" fmla="*/ 3370162 w 7467663"/>
              <a:gd name="connsiteY365" fmla="*/ 5785550 h 6858000"/>
              <a:gd name="connsiteX366" fmla="*/ 3746477 w 7467663"/>
              <a:gd name="connsiteY366" fmla="*/ 5377889 h 6858000"/>
              <a:gd name="connsiteX367" fmla="*/ 3863399 w 7467663"/>
              <a:gd name="connsiteY367" fmla="*/ 5087257 h 6858000"/>
              <a:gd name="connsiteX368" fmla="*/ 3968712 w 7467663"/>
              <a:gd name="connsiteY368" fmla="*/ 4913989 h 6858000"/>
              <a:gd name="connsiteX369" fmla="*/ 2792390 w 7467663"/>
              <a:gd name="connsiteY369" fmla="*/ 5382974 h 6858000"/>
              <a:gd name="connsiteX370" fmla="*/ 2714982 w 7467663"/>
              <a:gd name="connsiteY370" fmla="*/ 5427051 h 6858000"/>
              <a:gd name="connsiteX371" fmla="*/ 2813361 w 7467663"/>
              <a:gd name="connsiteY371" fmla="*/ 6023912 h 6858000"/>
              <a:gd name="connsiteX372" fmla="*/ 2688430 w 7467663"/>
              <a:gd name="connsiteY372" fmla="*/ 6801564 h 6858000"/>
              <a:gd name="connsiteX373" fmla="*/ 2629626 w 7467663"/>
              <a:gd name="connsiteY373" fmla="*/ 6763394 h 6858000"/>
              <a:gd name="connsiteX374" fmla="*/ 2565328 w 7467663"/>
              <a:gd name="connsiteY374" fmla="*/ 5516399 h 6858000"/>
              <a:gd name="connsiteX375" fmla="*/ 1922999 w 7467663"/>
              <a:gd name="connsiteY375" fmla="*/ 5980343 h 6858000"/>
              <a:gd name="connsiteX376" fmla="*/ 1950261 w 7467663"/>
              <a:gd name="connsiteY376" fmla="*/ 6405858 h 6858000"/>
              <a:gd name="connsiteX377" fmla="*/ 2365554 w 7467663"/>
              <a:gd name="connsiteY377" fmla="*/ 6759107 h 6858000"/>
              <a:gd name="connsiteX378" fmla="*/ 2424142 w 7467663"/>
              <a:gd name="connsiteY378" fmla="*/ 6858000 h 6858000"/>
              <a:gd name="connsiteX379" fmla="*/ 2395994 w 7467663"/>
              <a:gd name="connsiteY379" fmla="*/ 6858000 h 6858000"/>
              <a:gd name="connsiteX380" fmla="*/ 2392863 w 7467663"/>
              <a:gd name="connsiteY380" fmla="*/ 6852964 h 6858000"/>
              <a:gd name="connsiteX381" fmla="*/ 2017589 w 7467663"/>
              <a:gd name="connsiteY381" fmla="*/ 6493982 h 6858000"/>
              <a:gd name="connsiteX382" fmla="*/ 2147336 w 7467663"/>
              <a:gd name="connsiteY382" fmla="*/ 6594052 h 6858000"/>
              <a:gd name="connsiteX383" fmla="*/ 2207047 w 7467663"/>
              <a:gd name="connsiteY383" fmla="*/ 6654540 h 6858000"/>
              <a:gd name="connsiteX384" fmla="*/ 2299106 w 7467663"/>
              <a:gd name="connsiteY384" fmla="*/ 6778931 h 6858000"/>
              <a:gd name="connsiteX385" fmla="*/ 2314430 w 7467663"/>
              <a:gd name="connsiteY385" fmla="*/ 6801144 h 6858000"/>
              <a:gd name="connsiteX386" fmla="*/ 2352406 w 7467663"/>
              <a:gd name="connsiteY386" fmla="*/ 6858000 h 6858000"/>
              <a:gd name="connsiteX387" fmla="*/ 2314492 w 7467663"/>
              <a:gd name="connsiteY387" fmla="*/ 6858000 h 6858000"/>
              <a:gd name="connsiteX388" fmla="*/ 2288095 w 7467663"/>
              <a:gd name="connsiteY388" fmla="*/ 6818030 h 6858000"/>
              <a:gd name="connsiteX389" fmla="*/ 2272768 w 7467663"/>
              <a:gd name="connsiteY389" fmla="*/ 6795822 h 6858000"/>
              <a:gd name="connsiteX390" fmla="*/ 2182715 w 7467663"/>
              <a:gd name="connsiteY390" fmla="*/ 6675071 h 6858000"/>
              <a:gd name="connsiteX391" fmla="*/ 2032061 w 7467663"/>
              <a:gd name="connsiteY391" fmla="*/ 6541380 h 6858000"/>
              <a:gd name="connsiteX392" fmla="*/ 2257220 w 7467663"/>
              <a:gd name="connsiteY392" fmla="*/ 6826257 h 6858000"/>
              <a:gd name="connsiteX393" fmla="*/ 2281324 w 7467663"/>
              <a:gd name="connsiteY393" fmla="*/ 6858000 h 6858000"/>
              <a:gd name="connsiteX394" fmla="*/ 2242860 w 7467663"/>
              <a:gd name="connsiteY394" fmla="*/ 6858000 h 6858000"/>
              <a:gd name="connsiteX395" fmla="*/ 2232818 w 7467663"/>
              <a:gd name="connsiteY395" fmla="*/ 6844926 h 6858000"/>
              <a:gd name="connsiteX396" fmla="*/ 1990172 w 7467663"/>
              <a:gd name="connsiteY396" fmla="*/ 6542121 h 6858000"/>
              <a:gd name="connsiteX397" fmla="*/ 2124090 w 7467663"/>
              <a:gd name="connsiteY397" fmla="*/ 6761017 h 6858000"/>
              <a:gd name="connsiteX398" fmla="*/ 2200380 w 7467663"/>
              <a:gd name="connsiteY398" fmla="*/ 6858000 h 6858000"/>
              <a:gd name="connsiteX399" fmla="*/ 2147507 w 7467663"/>
              <a:gd name="connsiteY399" fmla="*/ 6858000 h 6858000"/>
              <a:gd name="connsiteX400" fmla="*/ 2070668 w 7467663"/>
              <a:gd name="connsiteY400" fmla="*/ 6761520 h 6858000"/>
              <a:gd name="connsiteX401" fmla="*/ 1975142 w 7467663"/>
              <a:gd name="connsiteY401" fmla="*/ 6585570 h 6858000"/>
              <a:gd name="connsiteX402" fmla="*/ 2050035 w 7467663"/>
              <a:gd name="connsiteY402" fmla="*/ 6813345 h 6858000"/>
              <a:gd name="connsiteX403" fmla="*/ 2063025 w 7467663"/>
              <a:gd name="connsiteY403" fmla="*/ 6858000 h 6858000"/>
              <a:gd name="connsiteX404" fmla="*/ 2021675 w 7467663"/>
              <a:gd name="connsiteY404" fmla="*/ 6858000 h 6858000"/>
              <a:gd name="connsiteX405" fmla="*/ 2019308 w 7467663"/>
              <a:gd name="connsiteY405" fmla="*/ 6847118 h 6858000"/>
              <a:gd name="connsiteX406" fmla="*/ 1938835 w 7467663"/>
              <a:gd name="connsiteY406" fmla="*/ 6551160 h 6858000"/>
              <a:gd name="connsiteX407" fmla="*/ 1953230 w 7467663"/>
              <a:gd name="connsiteY407" fmla="*/ 6759699 h 6858000"/>
              <a:gd name="connsiteX408" fmla="*/ 1956763 w 7467663"/>
              <a:gd name="connsiteY408" fmla="*/ 6778191 h 6858000"/>
              <a:gd name="connsiteX409" fmla="*/ 1967925 w 7467663"/>
              <a:gd name="connsiteY409" fmla="*/ 6858000 h 6858000"/>
              <a:gd name="connsiteX410" fmla="*/ 1936622 w 7467663"/>
              <a:gd name="connsiteY410" fmla="*/ 6858000 h 6858000"/>
              <a:gd name="connsiteX411" fmla="*/ 1926261 w 7467663"/>
              <a:gd name="connsiteY411" fmla="*/ 6784064 h 6858000"/>
              <a:gd name="connsiteX412" fmla="*/ 1922724 w 7467663"/>
              <a:gd name="connsiteY412" fmla="*/ 6765577 h 6858000"/>
              <a:gd name="connsiteX413" fmla="*/ 1904650 w 7467663"/>
              <a:gd name="connsiteY413" fmla="*/ 6639616 h 6858000"/>
              <a:gd name="connsiteX414" fmla="*/ 1885273 w 7467663"/>
              <a:gd name="connsiteY414" fmla="*/ 6858000 h 6858000"/>
              <a:gd name="connsiteX415" fmla="*/ 1854363 w 7467663"/>
              <a:gd name="connsiteY415" fmla="*/ 6858000 h 6858000"/>
              <a:gd name="connsiteX416" fmla="*/ 1880391 w 7467663"/>
              <a:gd name="connsiteY416" fmla="*/ 6603796 h 6858000"/>
              <a:gd name="connsiteX417" fmla="*/ 1818273 w 7467663"/>
              <a:gd name="connsiteY417" fmla="*/ 6715729 h 6858000"/>
              <a:gd name="connsiteX418" fmla="*/ 1794691 w 7467663"/>
              <a:gd name="connsiteY418" fmla="*/ 6843239 h 6858000"/>
              <a:gd name="connsiteX419" fmla="*/ 1794914 w 7467663"/>
              <a:gd name="connsiteY419" fmla="*/ 6858000 h 6858000"/>
              <a:gd name="connsiteX420" fmla="*/ 1746128 w 7467663"/>
              <a:gd name="connsiteY420" fmla="*/ 6858000 h 6858000"/>
              <a:gd name="connsiteX421" fmla="*/ 1753934 w 7467663"/>
              <a:gd name="connsiteY421" fmla="*/ 6724796 h 6858000"/>
              <a:gd name="connsiteX422" fmla="*/ 1792053 w 7467663"/>
              <a:gd name="connsiteY422" fmla="*/ 6572396 h 6858000"/>
              <a:gd name="connsiteX423" fmla="*/ 1862248 w 7467663"/>
              <a:gd name="connsiteY423" fmla="*/ 6266397 h 6858000"/>
              <a:gd name="connsiteX424" fmla="*/ 1862250 w 7467663"/>
              <a:gd name="connsiteY424" fmla="*/ 6033531 h 6858000"/>
              <a:gd name="connsiteX425" fmla="*/ 1211999 w 7467663"/>
              <a:gd name="connsiteY425" fmla="*/ 6683610 h 6858000"/>
              <a:gd name="connsiteX426" fmla="*/ 1213266 w 7467663"/>
              <a:gd name="connsiteY426" fmla="*/ 6691947 h 6858000"/>
              <a:gd name="connsiteX427" fmla="*/ 1203370 w 7467663"/>
              <a:gd name="connsiteY427" fmla="*/ 6850676 h 6858000"/>
              <a:gd name="connsiteX428" fmla="*/ 1203671 w 7467663"/>
              <a:gd name="connsiteY428" fmla="*/ 6858000 h 6858000"/>
              <a:gd name="connsiteX429" fmla="*/ 1143180 w 7467663"/>
              <a:gd name="connsiteY429" fmla="*/ 6858000 h 6858000"/>
              <a:gd name="connsiteX430" fmla="*/ 1142176 w 7467663"/>
              <a:gd name="connsiteY430" fmla="*/ 6766045 h 6858000"/>
              <a:gd name="connsiteX431" fmla="*/ 1067484 w 7467663"/>
              <a:gd name="connsiteY431" fmla="*/ 6858000 h 6858000"/>
              <a:gd name="connsiteX432" fmla="*/ 953928 w 7467663"/>
              <a:gd name="connsiteY432" fmla="*/ 6858000 h 6858000"/>
              <a:gd name="connsiteX433" fmla="*/ 959715 w 7467663"/>
              <a:gd name="connsiteY433" fmla="*/ 6850185 h 6858000"/>
              <a:gd name="connsiteX434" fmla="*/ 1483788 w 7467663"/>
              <a:gd name="connsiteY434" fmla="*/ 6259174 h 6858000"/>
              <a:gd name="connsiteX435" fmla="*/ 1100671 w 7467663"/>
              <a:gd name="connsiteY435" fmla="*/ 6252137 h 6858000"/>
              <a:gd name="connsiteX436" fmla="*/ 1090144 w 7467663"/>
              <a:gd name="connsiteY436" fmla="*/ 6256748 h 6858000"/>
              <a:gd name="connsiteX437" fmla="*/ 1095872 w 7467663"/>
              <a:gd name="connsiteY437" fmla="*/ 6271892 h 6858000"/>
              <a:gd name="connsiteX438" fmla="*/ 262785 w 7467663"/>
              <a:gd name="connsiteY438" fmla="*/ 6845450 h 6858000"/>
              <a:gd name="connsiteX439" fmla="*/ 209968 w 7467663"/>
              <a:gd name="connsiteY439" fmla="*/ 6770713 h 6858000"/>
              <a:gd name="connsiteX440" fmla="*/ 873460 w 7467663"/>
              <a:gd name="connsiteY440" fmla="*/ 6253768 h 6858000"/>
              <a:gd name="connsiteX441" fmla="*/ 192686 w 7467663"/>
              <a:gd name="connsiteY441" fmla="*/ 5849257 h 6858000"/>
              <a:gd name="connsiteX442" fmla="*/ 4696 w 7467663"/>
              <a:gd name="connsiteY442" fmla="*/ 5697668 h 6858000"/>
              <a:gd name="connsiteX443" fmla="*/ 0 w 7467663"/>
              <a:gd name="connsiteY443" fmla="*/ 5689984 h 6858000"/>
              <a:gd name="connsiteX444" fmla="*/ 0 w 7467663"/>
              <a:gd name="connsiteY444" fmla="*/ 5513472 h 6858000"/>
              <a:gd name="connsiteX445" fmla="*/ 174101 w 7467663"/>
              <a:gd name="connsiteY445" fmla="*/ 5620277 h 6858000"/>
              <a:gd name="connsiteX446" fmla="*/ 891800 w 7467663"/>
              <a:gd name="connsiteY446" fmla="*/ 6036935 h 6858000"/>
              <a:gd name="connsiteX447" fmla="*/ 1072219 w 7467663"/>
              <a:gd name="connsiteY447" fmla="*/ 6169443 h 6858000"/>
              <a:gd name="connsiteX448" fmla="*/ 1074117 w 7467663"/>
              <a:gd name="connsiteY448" fmla="*/ 6170301 h 6858000"/>
              <a:gd name="connsiteX449" fmla="*/ 1083114 w 7467663"/>
              <a:gd name="connsiteY449" fmla="*/ 6174131 h 6858000"/>
              <a:gd name="connsiteX450" fmla="*/ 1543010 w 7467663"/>
              <a:gd name="connsiteY450" fmla="*/ 6191140 h 6858000"/>
              <a:gd name="connsiteX451" fmla="*/ 1551080 w 7467663"/>
              <a:gd name="connsiteY451" fmla="*/ 6195006 h 6858000"/>
              <a:gd name="connsiteX452" fmla="*/ 2345443 w 7467663"/>
              <a:gd name="connsiteY452" fmla="*/ 5549882 h 6858000"/>
              <a:gd name="connsiteX453" fmla="*/ 1721499 w 7467663"/>
              <a:gd name="connsiteY453" fmla="*/ 5599969 h 6858000"/>
              <a:gd name="connsiteX454" fmla="*/ 767716 w 7467663"/>
              <a:gd name="connsiteY454" fmla="*/ 5472768 h 6858000"/>
              <a:gd name="connsiteX455" fmla="*/ 722147 w 7467663"/>
              <a:gd name="connsiteY455" fmla="*/ 5393091 h 6858000"/>
              <a:gd name="connsiteX456" fmla="*/ 1485552 w 7467663"/>
              <a:gd name="connsiteY456" fmla="*/ 5313202 h 6858000"/>
              <a:gd name="connsiteX457" fmla="*/ 2143004 w 7467663"/>
              <a:gd name="connsiteY457" fmla="*/ 5402420 h 6858000"/>
              <a:gd name="connsiteX458" fmla="*/ 1933391 w 7467663"/>
              <a:gd name="connsiteY458" fmla="*/ 5156971 h 6858000"/>
              <a:gd name="connsiteX459" fmla="*/ 1827118 w 7467663"/>
              <a:gd name="connsiteY459" fmla="*/ 4968410 h 6858000"/>
              <a:gd name="connsiteX460" fmla="*/ 1837349 w 7467663"/>
              <a:gd name="connsiteY460" fmla="*/ 4956357 h 6858000"/>
              <a:gd name="connsiteX461" fmla="*/ 2162835 w 7467663"/>
              <a:gd name="connsiteY461" fmla="*/ 5187853 h 6858000"/>
              <a:gd name="connsiteX462" fmla="*/ 2257167 w 7467663"/>
              <a:gd name="connsiteY462" fmla="*/ 5462123 h 6858000"/>
              <a:gd name="connsiteX463" fmla="*/ 2261598 w 7467663"/>
              <a:gd name="connsiteY463" fmla="*/ 5467998 h 6858000"/>
              <a:gd name="connsiteX464" fmla="*/ 2437177 w 7467663"/>
              <a:gd name="connsiteY464" fmla="*/ 5479608 h 6858000"/>
              <a:gd name="connsiteX465" fmla="*/ 2445247 w 7467663"/>
              <a:gd name="connsiteY465" fmla="*/ 5483476 h 6858000"/>
              <a:gd name="connsiteX466" fmla="*/ 2743626 w 7467663"/>
              <a:gd name="connsiteY466" fmla="*/ 5304819 h 6858000"/>
              <a:gd name="connsiteX467" fmla="*/ 3048102 w 7467663"/>
              <a:gd name="connsiteY467" fmla="*/ 5150595 h 6858000"/>
              <a:gd name="connsiteX468" fmla="*/ 1799414 w 7467663"/>
              <a:gd name="connsiteY468" fmla="*/ 4694732 h 6858000"/>
              <a:gd name="connsiteX469" fmla="*/ 1771735 w 7467663"/>
              <a:gd name="connsiteY469" fmla="*/ 4619929 h 6858000"/>
              <a:gd name="connsiteX470" fmla="*/ 3104273 w 7467663"/>
              <a:gd name="connsiteY470" fmla="*/ 5076159 h 6858000"/>
              <a:gd name="connsiteX471" fmla="*/ 3113245 w 7467663"/>
              <a:gd name="connsiteY471" fmla="*/ 5090705 h 6858000"/>
              <a:gd name="connsiteX472" fmla="*/ 3126294 w 7467663"/>
              <a:gd name="connsiteY472" fmla="*/ 5114400 h 6858000"/>
              <a:gd name="connsiteX473" fmla="*/ 3937433 w 7467663"/>
              <a:gd name="connsiteY473" fmla="*/ 4830473 h 6858000"/>
              <a:gd name="connsiteX474" fmla="*/ 3590475 w 7467663"/>
              <a:gd name="connsiteY474" fmla="*/ 4597974 h 6858000"/>
              <a:gd name="connsiteX475" fmla="*/ 3100264 w 7467663"/>
              <a:gd name="connsiteY475" fmla="*/ 4579845 h 6858000"/>
              <a:gd name="connsiteX476" fmla="*/ 2183576 w 7467663"/>
              <a:gd name="connsiteY476" fmla="*/ 4227150 h 6858000"/>
              <a:gd name="connsiteX477" fmla="*/ 2151029 w 7467663"/>
              <a:gd name="connsiteY477" fmla="*/ 4146947 h 6858000"/>
              <a:gd name="connsiteX478" fmla="*/ 3563434 w 7467663"/>
              <a:gd name="connsiteY478" fmla="*/ 4469115 h 6858000"/>
              <a:gd name="connsiteX479" fmla="*/ 3177952 w 7467663"/>
              <a:gd name="connsiteY479" fmla="*/ 3657386 h 6858000"/>
              <a:gd name="connsiteX480" fmla="*/ 3189263 w 7467663"/>
              <a:gd name="connsiteY480" fmla="*/ 3625726 h 6858000"/>
              <a:gd name="connsiteX481" fmla="*/ 3560912 w 7467663"/>
              <a:gd name="connsiteY481" fmla="*/ 4079863 h 6858000"/>
              <a:gd name="connsiteX482" fmla="*/ 3626636 w 7467663"/>
              <a:gd name="connsiteY482" fmla="*/ 4512230 h 6858000"/>
              <a:gd name="connsiteX483" fmla="*/ 3653088 w 7467663"/>
              <a:gd name="connsiteY483" fmla="*/ 4521417 h 6858000"/>
              <a:gd name="connsiteX484" fmla="*/ 3988128 w 7467663"/>
              <a:gd name="connsiteY484" fmla="*/ 4817267 h 6858000"/>
              <a:gd name="connsiteX485" fmla="*/ 4830582 w 7467663"/>
              <a:gd name="connsiteY485" fmla="*/ 4676000 h 6858000"/>
              <a:gd name="connsiteX486" fmla="*/ 4830100 w 7467663"/>
              <a:gd name="connsiteY486" fmla="*/ 4675554 h 6858000"/>
              <a:gd name="connsiteX487" fmla="*/ 4036318 w 7467663"/>
              <a:gd name="connsiteY487" fmla="*/ 4147013 h 6858000"/>
              <a:gd name="connsiteX488" fmla="*/ 3432098 w 7467663"/>
              <a:gd name="connsiteY488" fmla="*/ 3537312 h 6858000"/>
              <a:gd name="connsiteX489" fmla="*/ 3446761 w 7467663"/>
              <a:gd name="connsiteY489" fmla="*/ 3461278 h 6858000"/>
              <a:gd name="connsiteX490" fmla="*/ 4419733 w 7467663"/>
              <a:gd name="connsiteY490" fmla="*/ 3963555 h 6858000"/>
              <a:gd name="connsiteX491" fmla="*/ 4781371 w 7467663"/>
              <a:gd name="connsiteY491" fmla="*/ 4458604 h 6858000"/>
              <a:gd name="connsiteX492" fmla="*/ 4780440 w 7467663"/>
              <a:gd name="connsiteY492" fmla="*/ 4470290 h 6858000"/>
              <a:gd name="connsiteX493" fmla="*/ 4898954 w 7467663"/>
              <a:gd name="connsiteY493" fmla="*/ 4662092 h 6858000"/>
              <a:gd name="connsiteX494" fmla="*/ 4900699 w 7467663"/>
              <a:gd name="connsiteY494" fmla="*/ 4670867 h 6858000"/>
              <a:gd name="connsiteX495" fmla="*/ 5714511 w 7467663"/>
              <a:gd name="connsiteY495" fmla="*/ 4663483 h 6858000"/>
              <a:gd name="connsiteX496" fmla="*/ 5464793 w 7467663"/>
              <a:gd name="connsiteY496" fmla="*/ 4393556 h 6858000"/>
              <a:gd name="connsiteX497" fmla="*/ 5461897 w 7467663"/>
              <a:gd name="connsiteY497" fmla="*/ 4390879 h 6858000"/>
              <a:gd name="connsiteX498" fmla="*/ 4294126 w 7467663"/>
              <a:gd name="connsiteY498" fmla="*/ 3303048 h 6858000"/>
              <a:gd name="connsiteX499" fmla="*/ 4305321 w 7467663"/>
              <a:gd name="connsiteY499" fmla="*/ 3256953 h 6858000"/>
              <a:gd name="connsiteX500" fmla="*/ 4949299 w 7467663"/>
              <a:gd name="connsiteY500" fmla="*/ 3766336 h 6858000"/>
              <a:gd name="connsiteX501" fmla="*/ 5291452 w 7467663"/>
              <a:gd name="connsiteY501" fmla="*/ 4076801 h 6858000"/>
              <a:gd name="connsiteX502" fmla="*/ 5434998 w 7467663"/>
              <a:gd name="connsiteY502" fmla="*/ 4254100 h 6858000"/>
              <a:gd name="connsiteX503" fmla="*/ 5351015 w 7467663"/>
              <a:gd name="connsiteY503" fmla="*/ 3760989 h 6858000"/>
              <a:gd name="connsiteX504" fmla="*/ 5413780 w 7467663"/>
              <a:gd name="connsiteY504" fmla="*/ 2966265 h 6858000"/>
              <a:gd name="connsiteX505" fmla="*/ 5425627 w 7467663"/>
              <a:gd name="connsiteY505" fmla="*/ 2954192 h 6858000"/>
              <a:gd name="connsiteX506" fmla="*/ 6604735 w 7467663"/>
              <a:gd name="connsiteY506" fmla="*/ 2041381 h 6858000"/>
              <a:gd name="connsiteX507" fmla="*/ 7204487 w 7467663"/>
              <a:gd name="connsiteY507" fmla="*/ 2742112 h 6858000"/>
              <a:gd name="connsiteX508" fmla="*/ 7131592 w 7467663"/>
              <a:gd name="connsiteY508" fmla="*/ 2672096 h 6858000"/>
              <a:gd name="connsiteX509" fmla="*/ 6996344 w 7467663"/>
              <a:gd name="connsiteY509" fmla="*/ 2518310 h 6858000"/>
              <a:gd name="connsiteX510" fmla="*/ 6735495 w 7467663"/>
              <a:gd name="connsiteY510" fmla="*/ 2196890 h 6858000"/>
              <a:gd name="connsiteX511" fmla="*/ 6721901 w 7467663"/>
              <a:gd name="connsiteY511" fmla="*/ 2179274 h 6858000"/>
              <a:gd name="connsiteX512" fmla="*/ 6604735 w 7467663"/>
              <a:gd name="connsiteY512" fmla="*/ 2041381 h 6858000"/>
              <a:gd name="connsiteX513" fmla="*/ 6591670 w 7467663"/>
              <a:gd name="connsiteY513" fmla="*/ 1988277 h 6858000"/>
              <a:gd name="connsiteX514" fmla="*/ 6747349 w 7467663"/>
              <a:gd name="connsiteY514" fmla="*/ 2160069 h 6858000"/>
              <a:gd name="connsiteX515" fmla="*/ 6760943 w 7467663"/>
              <a:gd name="connsiteY515" fmla="*/ 2177686 h 6858000"/>
              <a:gd name="connsiteX516" fmla="*/ 7021065 w 7467663"/>
              <a:gd name="connsiteY516" fmla="*/ 2498102 h 6858000"/>
              <a:gd name="connsiteX517" fmla="*/ 7155223 w 7467663"/>
              <a:gd name="connsiteY517" fmla="*/ 2650386 h 6858000"/>
              <a:gd name="connsiteX518" fmla="*/ 7203167 w 7467663"/>
              <a:gd name="connsiteY518" fmla="*/ 2697288 h 6858000"/>
              <a:gd name="connsiteX519" fmla="*/ 6937703 w 7467663"/>
              <a:gd name="connsiteY519" fmla="*/ 2321981 h 6858000"/>
              <a:gd name="connsiteX520" fmla="*/ 6591670 w 7467663"/>
              <a:gd name="connsiteY520" fmla="*/ 1988277 h 6858000"/>
              <a:gd name="connsiteX521" fmla="*/ 5798671 w 7467663"/>
              <a:gd name="connsiteY521" fmla="*/ 1981601 h 6858000"/>
              <a:gd name="connsiteX522" fmla="*/ 5754709 w 7467663"/>
              <a:gd name="connsiteY522" fmla="*/ 2071454 h 6858000"/>
              <a:gd name="connsiteX523" fmla="*/ 5763044 w 7467663"/>
              <a:gd name="connsiteY523" fmla="*/ 2842206 h 6858000"/>
              <a:gd name="connsiteX524" fmla="*/ 5764974 w 7467663"/>
              <a:gd name="connsiteY524" fmla="*/ 2799609 h 6858000"/>
              <a:gd name="connsiteX525" fmla="*/ 5767665 w 7467663"/>
              <a:gd name="connsiteY525" fmla="*/ 2666409 h 6858000"/>
              <a:gd name="connsiteX526" fmla="*/ 5763055 w 7467663"/>
              <a:gd name="connsiteY526" fmla="*/ 2579705 h 6858000"/>
              <a:gd name="connsiteX527" fmla="*/ 5758079 w 7467663"/>
              <a:gd name="connsiteY527" fmla="*/ 2492508 h 6858000"/>
              <a:gd name="connsiteX528" fmla="*/ 5779325 w 7467663"/>
              <a:gd name="connsiteY528" fmla="*/ 2197069 h 6858000"/>
              <a:gd name="connsiteX529" fmla="*/ 5798671 w 7467663"/>
              <a:gd name="connsiteY529" fmla="*/ 1981601 h 6858000"/>
              <a:gd name="connsiteX530" fmla="*/ 5829202 w 7467663"/>
              <a:gd name="connsiteY530" fmla="*/ 1971679 h 6858000"/>
              <a:gd name="connsiteX531" fmla="*/ 5809558 w 7467663"/>
              <a:gd name="connsiteY531" fmla="*/ 2198043 h 6858000"/>
              <a:gd name="connsiteX532" fmla="*/ 5788653 w 7467663"/>
              <a:gd name="connsiteY532" fmla="*/ 2489430 h 6858000"/>
              <a:gd name="connsiteX533" fmla="*/ 5793439 w 7467663"/>
              <a:gd name="connsiteY533" fmla="*/ 2575235 h 6858000"/>
              <a:gd name="connsiteX534" fmla="*/ 5796837 w 7467663"/>
              <a:gd name="connsiteY534" fmla="*/ 2637633 h 6858000"/>
              <a:gd name="connsiteX535" fmla="*/ 5818614 w 7467663"/>
              <a:gd name="connsiteY535" fmla="*/ 2473055 h 6858000"/>
              <a:gd name="connsiteX536" fmla="*/ 5829202 w 7467663"/>
              <a:gd name="connsiteY536" fmla="*/ 1971679 h 6858000"/>
              <a:gd name="connsiteX537" fmla="*/ 5911389 w 7467663"/>
              <a:gd name="connsiteY537" fmla="*/ 1898371 h 6858000"/>
              <a:gd name="connsiteX538" fmla="*/ 6237627 w 7467663"/>
              <a:gd name="connsiteY538" fmla="*/ 2231921 h 6858000"/>
              <a:gd name="connsiteX539" fmla="*/ 5911389 w 7467663"/>
              <a:gd name="connsiteY539" fmla="*/ 1898371 h 6858000"/>
              <a:gd name="connsiteX540" fmla="*/ 6944437 w 7467663"/>
              <a:gd name="connsiteY540" fmla="*/ 1575402 h 6858000"/>
              <a:gd name="connsiteX541" fmla="*/ 6304730 w 7467663"/>
              <a:gd name="connsiteY541" fmla="*/ 1766654 h 6858000"/>
              <a:gd name="connsiteX542" fmla="*/ 6944437 w 7467663"/>
              <a:gd name="connsiteY542" fmla="*/ 1575402 h 6858000"/>
              <a:gd name="connsiteX543" fmla="*/ 7019523 w 7467663"/>
              <a:gd name="connsiteY543" fmla="*/ 1519450 h 6858000"/>
              <a:gd name="connsiteX544" fmla="*/ 6298091 w 7467663"/>
              <a:gd name="connsiteY544" fmla="*/ 1737122 h 6858000"/>
              <a:gd name="connsiteX545" fmla="*/ 7019523 w 7467663"/>
              <a:gd name="connsiteY545" fmla="*/ 1519450 h 6858000"/>
              <a:gd name="connsiteX546" fmla="*/ 2399523 w 7467663"/>
              <a:gd name="connsiteY546" fmla="*/ 1428234 h 6858000"/>
              <a:gd name="connsiteX547" fmla="*/ 2224982 w 7467663"/>
              <a:gd name="connsiteY547" fmla="*/ 1826201 h 6858000"/>
              <a:gd name="connsiteX548" fmla="*/ 2096099 w 7467663"/>
              <a:gd name="connsiteY548" fmla="*/ 2345900 h 6858000"/>
              <a:gd name="connsiteX549" fmla="*/ 2283317 w 7467663"/>
              <a:gd name="connsiteY549" fmla="*/ 1796925 h 6858000"/>
              <a:gd name="connsiteX550" fmla="*/ 2399523 w 7467663"/>
              <a:gd name="connsiteY550" fmla="*/ 1428234 h 6858000"/>
              <a:gd name="connsiteX551" fmla="*/ 2448558 w 7467663"/>
              <a:gd name="connsiteY551" fmla="*/ 1373435 h 6858000"/>
              <a:gd name="connsiteX552" fmla="*/ 2312521 w 7467663"/>
              <a:gd name="connsiteY552" fmla="*/ 1806140 h 6858000"/>
              <a:gd name="connsiteX553" fmla="*/ 2127533 w 7467663"/>
              <a:gd name="connsiteY553" fmla="*/ 2348380 h 6858000"/>
              <a:gd name="connsiteX554" fmla="*/ 2358080 w 7467663"/>
              <a:gd name="connsiteY554" fmla="*/ 1866134 h 6858000"/>
              <a:gd name="connsiteX555" fmla="*/ 2407436 w 7467663"/>
              <a:gd name="connsiteY555" fmla="*/ 1651070 h 6858000"/>
              <a:gd name="connsiteX556" fmla="*/ 2448558 w 7467663"/>
              <a:gd name="connsiteY556" fmla="*/ 1373435 h 6858000"/>
              <a:gd name="connsiteX557" fmla="*/ 278707 w 7467663"/>
              <a:gd name="connsiteY557" fmla="*/ 1352270 h 6858000"/>
              <a:gd name="connsiteX558" fmla="*/ 321570 w 7467663"/>
              <a:gd name="connsiteY558" fmla="*/ 1861610 h 6858000"/>
              <a:gd name="connsiteX559" fmla="*/ 294281 w 7467663"/>
              <a:gd name="connsiteY559" fmla="*/ 1440658 h 6858000"/>
              <a:gd name="connsiteX560" fmla="*/ 278707 w 7467663"/>
              <a:gd name="connsiteY560" fmla="*/ 1352270 h 6858000"/>
              <a:gd name="connsiteX561" fmla="*/ 1423821 w 7467663"/>
              <a:gd name="connsiteY561" fmla="*/ 1351958 h 6858000"/>
              <a:gd name="connsiteX562" fmla="*/ 1638521 w 7467663"/>
              <a:gd name="connsiteY562" fmla="*/ 1908470 h 6858000"/>
              <a:gd name="connsiteX563" fmla="*/ 1754199 w 7467663"/>
              <a:gd name="connsiteY563" fmla="*/ 2149284 h 6858000"/>
              <a:gd name="connsiteX564" fmla="*/ 1908359 w 7467663"/>
              <a:gd name="connsiteY564" fmla="*/ 2364988 h 6858000"/>
              <a:gd name="connsiteX565" fmla="*/ 1647661 w 7467663"/>
              <a:gd name="connsiteY565" fmla="*/ 1825945 h 6858000"/>
              <a:gd name="connsiteX566" fmla="*/ 1423821 w 7467663"/>
              <a:gd name="connsiteY566" fmla="*/ 1351958 h 6858000"/>
              <a:gd name="connsiteX567" fmla="*/ 1431890 w 7467663"/>
              <a:gd name="connsiteY567" fmla="*/ 1306475 h 6858000"/>
              <a:gd name="connsiteX568" fmla="*/ 1507597 w 7467663"/>
              <a:gd name="connsiteY568" fmla="*/ 1446132 h 6858000"/>
              <a:gd name="connsiteX569" fmla="*/ 1674586 w 7467663"/>
              <a:gd name="connsiteY569" fmla="*/ 1813832 h 6858000"/>
              <a:gd name="connsiteX570" fmla="*/ 1815950 w 7467663"/>
              <a:gd name="connsiteY570" fmla="*/ 2128564 h 6858000"/>
              <a:gd name="connsiteX571" fmla="*/ 1984242 w 7467663"/>
              <a:gd name="connsiteY571" fmla="*/ 2430829 h 6858000"/>
              <a:gd name="connsiteX572" fmla="*/ 2014023 w 7467663"/>
              <a:gd name="connsiteY572" fmla="*/ 2450995 h 6858000"/>
              <a:gd name="connsiteX573" fmla="*/ 1747337 w 7467663"/>
              <a:gd name="connsiteY573" fmla="*/ 1855264 h 6858000"/>
              <a:gd name="connsiteX574" fmla="*/ 1533749 w 7467663"/>
              <a:gd name="connsiteY574" fmla="*/ 1478656 h 6858000"/>
              <a:gd name="connsiteX575" fmla="*/ 1431890 w 7467663"/>
              <a:gd name="connsiteY575" fmla="*/ 1306475 h 6858000"/>
              <a:gd name="connsiteX576" fmla="*/ 5052692 w 7467663"/>
              <a:gd name="connsiteY576" fmla="*/ 1292994 h 6858000"/>
              <a:gd name="connsiteX577" fmla="*/ 5200661 w 7467663"/>
              <a:gd name="connsiteY577" fmla="*/ 1635186 h 6858000"/>
              <a:gd name="connsiteX578" fmla="*/ 5297138 w 7467663"/>
              <a:gd name="connsiteY578" fmla="*/ 1906351 h 6858000"/>
              <a:gd name="connsiteX579" fmla="*/ 5052692 w 7467663"/>
              <a:gd name="connsiteY579" fmla="*/ 1292994 h 6858000"/>
              <a:gd name="connsiteX580" fmla="*/ 5009948 w 7467663"/>
              <a:gd name="connsiteY580" fmla="*/ 1273619 h 6858000"/>
              <a:gd name="connsiteX581" fmla="*/ 5121777 w 7467663"/>
              <a:gd name="connsiteY581" fmla="*/ 1654213 h 6858000"/>
              <a:gd name="connsiteX582" fmla="*/ 5293545 w 7467663"/>
              <a:gd name="connsiteY582" fmla="*/ 2072247 h 6858000"/>
              <a:gd name="connsiteX583" fmla="*/ 5294042 w 7467663"/>
              <a:gd name="connsiteY583" fmla="*/ 2065019 h 6858000"/>
              <a:gd name="connsiteX584" fmla="*/ 5171936 w 7467663"/>
              <a:gd name="connsiteY584" fmla="*/ 1647613 h 6858000"/>
              <a:gd name="connsiteX585" fmla="*/ 5009948 w 7467663"/>
              <a:gd name="connsiteY585" fmla="*/ 1273619 h 6858000"/>
              <a:gd name="connsiteX586" fmla="*/ 655236 w 7467663"/>
              <a:gd name="connsiteY586" fmla="*/ 1268632 h 6858000"/>
              <a:gd name="connsiteX587" fmla="*/ 839521 w 7467663"/>
              <a:gd name="connsiteY587" fmla="*/ 1685315 h 6858000"/>
              <a:gd name="connsiteX588" fmla="*/ 1109416 w 7467663"/>
              <a:gd name="connsiteY588" fmla="*/ 2061663 h 6858000"/>
              <a:gd name="connsiteX589" fmla="*/ 1298300 w 7467663"/>
              <a:gd name="connsiteY589" fmla="*/ 2247742 h 6858000"/>
              <a:gd name="connsiteX590" fmla="*/ 1125871 w 7467663"/>
              <a:gd name="connsiteY590" fmla="*/ 1989513 h 6858000"/>
              <a:gd name="connsiteX591" fmla="*/ 981574 w 7467663"/>
              <a:gd name="connsiteY591" fmla="*/ 1783157 h 6858000"/>
              <a:gd name="connsiteX592" fmla="*/ 922198 w 7467663"/>
              <a:gd name="connsiteY592" fmla="*/ 1677437 h 6858000"/>
              <a:gd name="connsiteX593" fmla="*/ 869293 w 7467663"/>
              <a:gd name="connsiteY593" fmla="*/ 1583214 h 6858000"/>
              <a:gd name="connsiteX594" fmla="*/ 751431 w 7467663"/>
              <a:gd name="connsiteY594" fmla="*/ 1405731 h 6858000"/>
              <a:gd name="connsiteX595" fmla="*/ 655236 w 7467663"/>
              <a:gd name="connsiteY595" fmla="*/ 1268632 h 6858000"/>
              <a:gd name="connsiteX596" fmla="*/ 6516292 w 7467663"/>
              <a:gd name="connsiteY596" fmla="*/ 1263064 h 6858000"/>
              <a:gd name="connsiteX597" fmla="*/ 5736320 w 7467663"/>
              <a:gd name="connsiteY597" fmla="*/ 1501803 h 6858000"/>
              <a:gd name="connsiteX598" fmla="*/ 6516292 w 7467663"/>
              <a:gd name="connsiteY598" fmla="*/ 1263064 h 6858000"/>
              <a:gd name="connsiteX599" fmla="*/ 291466 w 7467663"/>
              <a:gd name="connsiteY599" fmla="*/ 1250369 h 6858000"/>
              <a:gd name="connsiteX600" fmla="*/ 323180 w 7467663"/>
              <a:gd name="connsiteY600" fmla="*/ 1435283 h 6858000"/>
              <a:gd name="connsiteX601" fmla="*/ 349381 w 7467663"/>
              <a:gd name="connsiteY601" fmla="*/ 1875041 h 6858000"/>
              <a:gd name="connsiteX602" fmla="*/ 374363 w 7467663"/>
              <a:gd name="connsiteY602" fmla="*/ 1506494 h 6858000"/>
              <a:gd name="connsiteX603" fmla="*/ 302168 w 7467663"/>
              <a:gd name="connsiteY603" fmla="*/ 1274495 h 6858000"/>
              <a:gd name="connsiteX604" fmla="*/ 291466 w 7467663"/>
              <a:gd name="connsiteY604" fmla="*/ 1250369 h 6858000"/>
              <a:gd name="connsiteX605" fmla="*/ 678222 w 7467663"/>
              <a:gd name="connsiteY605" fmla="*/ 1248670 h 6858000"/>
              <a:gd name="connsiteX606" fmla="*/ 775536 w 7467663"/>
              <a:gd name="connsiteY606" fmla="*/ 1388015 h 6858000"/>
              <a:gd name="connsiteX607" fmla="*/ 894529 w 7467663"/>
              <a:gd name="connsiteY607" fmla="*/ 1567739 h 6858000"/>
              <a:gd name="connsiteX608" fmla="*/ 948000 w 7467663"/>
              <a:gd name="connsiteY608" fmla="*/ 1663088 h 6858000"/>
              <a:gd name="connsiteX609" fmla="*/ 1006812 w 7467663"/>
              <a:gd name="connsiteY609" fmla="*/ 1767683 h 6858000"/>
              <a:gd name="connsiteX610" fmla="*/ 1149133 w 7467663"/>
              <a:gd name="connsiteY610" fmla="*/ 1971513 h 6858000"/>
              <a:gd name="connsiteX611" fmla="*/ 1333952 w 7467663"/>
              <a:gd name="connsiteY611" fmla="*/ 2251620 h 6858000"/>
              <a:gd name="connsiteX612" fmla="*/ 1337329 w 7467663"/>
              <a:gd name="connsiteY612" fmla="*/ 2258350 h 6858000"/>
              <a:gd name="connsiteX613" fmla="*/ 1014726 w 7467663"/>
              <a:gd name="connsiteY613" fmla="*/ 1615556 h 6858000"/>
              <a:gd name="connsiteX614" fmla="*/ 678222 w 7467663"/>
              <a:gd name="connsiteY614" fmla="*/ 1248670 h 6858000"/>
              <a:gd name="connsiteX615" fmla="*/ 6691602 w 7467663"/>
              <a:gd name="connsiteY615" fmla="*/ 1140573 h 6858000"/>
              <a:gd name="connsiteX616" fmla="*/ 6571100 w 7467663"/>
              <a:gd name="connsiteY616" fmla="*/ 1183662 h 6858000"/>
              <a:gd name="connsiteX617" fmla="*/ 6241687 w 7467663"/>
              <a:gd name="connsiteY617" fmla="*/ 1257600 h 6858000"/>
              <a:gd name="connsiteX618" fmla="*/ 5693009 w 7467663"/>
              <a:gd name="connsiteY618" fmla="*/ 1478256 h 6858000"/>
              <a:gd name="connsiteX619" fmla="*/ 6548420 w 7467663"/>
              <a:gd name="connsiteY619" fmla="*/ 1214599 h 6858000"/>
              <a:gd name="connsiteX620" fmla="*/ 6605473 w 7467663"/>
              <a:gd name="connsiteY620" fmla="*/ 1184686 h 6858000"/>
              <a:gd name="connsiteX621" fmla="*/ 6691602 w 7467663"/>
              <a:gd name="connsiteY621" fmla="*/ 1140573 h 6858000"/>
              <a:gd name="connsiteX622" fmla="*/ 4002475 w 7467663"/>
              <a:gd name="connsiteY622" fmla="*/ 1037802 h 6858000"/>
              <a:gd name="connsiteX623" fmla="*/ 4000324 w 7467663"/>
              <a:gd name="connsiteY623" fmla="*/ 1039362 h 6858000"/>
              <a:gd name="connsiteX624" fmla="*/ 4002862 w 7467663"/>
              <a:gd name="connsiteY624" fmla="*/ 1042866 h 6858000"/>
              <a:gd name="connsiteX625" fmla="*/ 4002475 w 7467663"/>
              <a:gd name="connsiteY625" fmla="*/ 1037802 h 6858000"/>
              <a:gd name="connsiteX626" fmla="*/ 506322 w 7467663"/>
              <a:gd name="connsiteY626" fmla="*/ 1020997 h 6858000"/>
              <a:gd name="connsiteX627" fmla="*/ 533068 w 7467663"/>
              <a:gd name="connsiteY627" fmla="*/ 1029409 h 6858000"/>
              <a:gd name="connsiteX628" fmla="*/ 1232525 w 7467663"/>
              <a:gd name="connsiteY628" fmla="*/ 1804675 h 6858000"/>
              <a:gd name="connsiteX629" fmla="*/ 1388858 w 7467663"/>
              <a:gd name="connsiteY629" fmla="*/ 2368011 h 6858000"/>
              <a:gd name="connsiteX630" fmla="*/ 1384098 w 7467663"/>
              <a:gd name="connsiteY630" fmla="*/ 2378125 h 6858000"/>
              <a:gd name="connsiteX631" fmla="*/ 1425393 w 7467663"/>
              <a:gd name="connsiteY631" fmla="*/ 2589124 h 6858000"/>
              <a:gd name="connsiteX632" fmla="*/ 1424001 w 7467663"/>
              <a:gd name="connsiteY632" fmla="*/ 2597541 h 6858000"/>
              <a:gd name="connsiteX633" fmla="*/ 2152729 w 7467663"/>
              <a:gd name="connsiteY633" fmla="*/ 2864487 h 6858000"/>
              <a:gd name="connsiteX634" fmla="*/ 2020609 w 7467663"/>
              <a:gd name="connsiteY634" fmla="*/ 2539671 h 6858000"/>
              <a:gd name="connsiteX635" fmla="*/ 2018920 w 7467663"/>
              <a:gd name="connsiteY635" fmla="*/ 2536309 h 6858000"/>
              <a:gd name="connsiteX636" fmla="*/ 1342441 w 7467663"/>
              <a:gd name="connsiteY636" fmla="*/ 1173017 h 6858000"/>
              <a:gd name="connsiteX637" fmla="*/ 1367925 w 7467663"/>
              <a:gd name="connsiteY637" fmla="*/ 1135648 h 6858000"/>
              <a:gd name="connsiteX638" fmla="*/ 1771401 w 7467663"/>
              <a:gd name="connsiteY638" fmla="*/ 1806673 h 6858000"/>
              <a:gd name="connsiteX639" fmla="*/ 1972385 w 7467663"/>
              <a:gd name="connsiteY639" fmla="*/ 2198735 h 6858000"/>
              <a:gd name="connsiteX640" fmla="*/ 2040892 w 7467663"/>
              <a:gd name="connsiteY640" fmla="*/ 2405205 h 6858000"/>
              <a:gd name="connsiteX641" fmla="*/ 2131689 w 7467663"/>
              <a:gd name="connsiteY641" fmla="*/ 1936926 h 6858000"/>
              <a:gd name="connsiteX642" fmla="*/ 2454820 w 7467663"/>
              <a:gd name="connsiteY642" fmla="*/ 1248808 h 6858000"/>
              <a:gd name="connsiteX643" fmla="*/ 2492512 w 7467663"/>
              <a:gd name="connsiteY643" fmla="*/ 1302920 h 6858000"/>
              <a:gd name="connsiteX644" fmla="*/ 2081216 w 7467663"/>
              <a:gd name="connsiteY644" fmla="*/ 2527513 h 6858000"/>
              <a:gd name="connsiteX645" fmla="*/ 2081211 w 7467663"/>
              <a:gd name="connsiteY645" fmla="*/ 2528916 h 6858000"/>
              <a:gd name="connsiteX646" fmla="*/ 2199067 w 7467663"/>
              <a:gd name="connsiteY646" fmla="*/ 2884061 h 6858000"/>
              <a:gd name="connsiteX647" fmla="*/ 3192586 w 7467663"/>
              <a:gd name="connsiteY647" fmla="*/ 3411496 h 6858000"/>
              <a:gd name="connsiteX648" fmla="*/ 3182620 w 7467663"/>
              <a:gd name="connsiteY648" fmla="*/ 3483279 h 6858000"/>
              <a:gd name="connsiteX649" fmla="*/ 2435119 w 7467663"/>
              <a:gd name="connsiteY649" fmla="*/ 3080173 h 6858000"/>
              <a:gd name="connsiteX650" fmla="*/ 2410152 w 7467663"/>
              <a:gd name="connsiteY650" fmla="*/ 3063751 h 6858000"/>
              <a:gd name="connsiteX651" fmla="*/ 2408099 w 7467663"/>
              <a:gd name="connsiteY651" fmla="*/ 3064403 h 6858000"/>
              <a:gd name="connsiteX652" fmla="*/ 2407218 w 7467663"/>
              <a:gd name="connsiteY652" fmla="*/ 3070324 h 6858000"/>
              <a:gd name="connsiteX653" fmla="*/ 2380138 w 7467663"/>
              <a:gd name="connsiteY653" fmla="*/ 3099341 h 6858000"/>
              <a:gd name="connsiteX654" fmla="*/ 1765923 w 7467663"/>
              <a:gd name="connsiteY654" fmla="*/ 3581043 h 6858000"/>
              <a:gd name="connsiteX655" fmla="*/ 1702258 w 7467663"/>
              <a:gd name="connsiteY655" fmla="*/ 3612286 h 6858000"/>
              <a:gd name="connsiteX656" fmla="*/ 1538370 w 7467663"/>
              <a:gd name="connsiteY656" fmla="*/ 3811804 h 6858000"/>
              <a:gd name="connsiteX657" fmla="*/ 542867 w 7467663"/>
              <a:gd name="connsiteY657" fmla="*/ 4944092 h 6858000"/>
              <a:gd name="connsiteX658" fmla="*/ 515800 w 7467663"/>
              <a:gd name="connsiteY658" fmla="*/ 4862180 h 6858000"/>
              <a:gd name="connsiteX659" fmla="*/ 909145 w 7467663"/>
              <a:gd name="connsiteY659" fmla="*/ 4199225 h 6858000"/>
              <a:gd name="connsiteX660" fmla="*/ 1214067 w 7467663"/>
              <a:gd name="connsiteY660" fmla="*/ 3908561 h 6858000"/>
              <a:gd name="connsiteX661" fmla="*/ 640967 w 7467663"/>
              <a:gd name="connsiteY661" fmla="*/ 4105601 h 6858000"/>
              <a:gd name="connsiteX662" fmla="*/ 112563 w 7467663"/>
              <a:gd name="connsiteY662" fmla="*/ 4396952 h 6858000"/>
              <a:gd name="connsiteX663" fmla="*/ 0 w 7467663"/>
              <a:gd name="connsiteY663" fmla="*/ 4466006 h 6858000"/>
              <a:gd name="connsiteX664" fmla="*/ 0 w 7467663"/>
              <a:gd name="connsiteY664" fmla="*/ 4233763 h 6858000"/>
              <a:gd name="connsiteX665" fmla="*/ 36881 w 7467663"/>
              <a:gd name="connsiteY665" fmla="*/ 4200118 h 6858000"/>
              <a:gd name="connsiteX666" fmla="*/ 910534 w 7467663"/>
              <a:gd name="connsiteY666" fmla="*/ 3629753 h 6858000"/>
              <a:gd name="connsiteX667" fmla="*/ 1578717 w 7467663"/>
              <a:gd name="connsiteY667" fmla="*/ 3575982 h 6858000"/>
              <a:gd name="connsiteX668" fmla="*/ 2338780 w 7467663"/>
              <a:gd name="connsiteY668" fmla="*/ 3033725 h 6858000"/>
              <a:gd name="connsiteX669" fmla="*/ 1807991 w 7467663"/>
              <a:gd name="connsiteY669" fmla="*/ 2807184 h 6858000"/>
              <a:gd name="connsiteX670" fmla="*/ 1416358 w 7467663"/>
              <a:gd name="connsiteY670" fmla="*/ 3112571 h 6858000"/>
              <a:gd name="connsiteX671" fmla="*/ 939066 w 7467663"/>
              <a:gd name="connsiteY671" fmla="*/ 3378798 h 6858000"/>
              <a:gd name="connsiteX672" fmla="*/ 115099 w 7467663"/>
              <a:gd name="connsiteY672" fmla="*/ 3607650 h 6858000"/>
              <a:gd name="connsiteX673" fmla="*/ 97284 w 7467663"/>
              <a:gd name="connsiteY673" fmla="*/ 3520393 h 6858000"/>
              <a:gd name="connsiteX674" fmla="*/ 922050 w 7467663"/>
              <a:gd name="connsiteY674" fmla="*/ 3074867 h 6858000"/>
              <a:gd name="connsiteX675" fmla="*/ 1405265 w 7467663"/>
              <a:gd name="connsiteY675" fmla="*/ 3016319 h 6858000"/>
              <a:gd name="connsiteX676" fmla="*/ 1407512 w 7467663"/>
              <a:gd name="connsiteY676" fmla="*/ 3018001 h 6858000"/>
              <a:gd name="connsiteX677" fmla="*/ 1726266 w 7467663"/>
              <a:gd name="connsiteY677" fmla="*/ 2777274 h 6858000"/>
              <a:gd name="connsiteX678" fmla="*/ 625390 w 7467663"/>
              <a:gd name="connsiteY678" fmla="*/ 2514541 h 6858000"/>
              <a:gd name="connsiteX679" fmla="*/ 619799 w 7467663"/>
              <a:gd name="connsiteY679" fmla="*/ 2527180 h 6858000"/>
              <a:gd name="connsiteX680" fmla="*/ 310030 w 7467663"/>
              <a:gd name="connsiteY680" fmla="*/ 2771818 h 6858000"/>
              <a:gd name="connsiteX681" fmla="*/ 173877 w 7467663"/>
              <a:gd name="connsiteY681" fmla="*/ 2937056 h 6858000"/>
              <a:gd name="connsiteX682" fmla="*/ 77889 w 7467663"/>
              <a:gd name="connsiteY682" fmla="*/ 3138440 h 6858000"/>
              <a:gd name="connsiteX683" fmla="*/ 0 w 7467663"/>
              <a:gd name="connsiteY683" fmla="*/ 3271395 h 6858000"/>
              <a:gd name="connsiteX684" fmla="*/ 0 w 7467663"/>
              <a:gd name="connsiteY684" fmla="*/ 3153002 h 6858000"/>
              <a:gd name="connsiteX685" fmla="*/ 2386 w 7467663"/>
              <a:gd name="connsiteY685" fmla="*/ 3149203 h 6858000"/>
              <a:gd name="connsiteX686" fmla="*/ 89753 w 7467663"/>
              <a:gd name="connsiteY686" fmla="*/ 2987702 h 6858000"/>
              <a:gd name="connsiteX687" fmla="*/ 76869 w 7467663"/>
              <a:gd name="connsiteY687" fmla="*/ 3005404 h 6858000"/>
              <a:gd name="connsiteX688" fmla="*/ 32049 w 7467663"/>
              <a:gd name="connsiteY688" fmla="*/ 3065814 h 6858000"/>
              <a:gd name="connsiteX689" fmla="*/ 0 w 7467663"/>
              <a:gd name="connsiteY689" fmla="*/ 3108744 h 6858000"/>
              <a:gd name="connsiteX690" fmla="*/ 0 w 7467663"/>
              <a:gd name="connsiteY690" fmla="*/ 3058059 h 6858000"/>
              <a:gd name="connsiteX691" fmla="*/ 7610 w 7467663"/>
              <a:gd name="connsiteY691" fmla="*/ 3047889 h 6858000"/>
              <a:gd name="connsiteX692" fmla="*/ 52419 w 7467663"/>
              <a:gd name="connsiteY692" fmla="*/ 2987479 h 6858000"/>
              <a:gd name="connsiteX693" fmla="*/ 59142 w 7467663"/>
              <a:gd name="connsiteY693" fmla="*/ 2978488 h 6858000"/>
              <a:gd name="connsiteX694" fmla="*/ 0 w 7467663"/>
              <a:gd name="connsiteY694" fmla="*/ 3015334 h 6858000"/>
              <a:gd name="connsiteX695" fmla="*/ 0 w 7467663"/>
              <a:gd name="connsiteY695" fmla="*/ 2914286 h 6858000"/>
              <a:gd name="connsiteX696" fmla="*/ 36383 w 7467663"/>
              <a:gd name="connsiteY696" fmla="*/ 2901128 h 6858000"/>
              <a:gd name="connsiteX697" fmla="*/ 156329 w 7467663"/>
              <a:gd name="connsiteY697" fmla="*/ 2840533 h 6858000"/>
              <a:gd name="connsiteX698" fmla="*/ 358355 w 7467663"/>
              <a:gd name="connsiteY698" fmla="*/ 2620471 h 6858000"/>
              <a:gd name="connsiteX699" fmla="*/ 510577 w 7467663"/>
              <a:gd name="connsiteY699" fmla="*/ 2501244 h 6858000"/>
              <a:gd name="connsiteX700" fmla="*/ 211967 w 7467663"/>
              <a:gd name="connsiteY700" fmla="*/ 2479171 h 6858000"/>
              <a:gd name="connsiteX701" fmla="*/ 0 w 7467663"/>
              <a:gd name="connsiteY701" fmla="*/ 2476398 h 6858000"/>
              <a:gd name="connsiteX702" fmla="*/ 0 w 7467663"/>
              <a:gd name="connsiteY702" fmla="*/ 2389189 h 6858000"/>
              <a:gd name="connsiteX703" fmla="*/ 103062 w 7467663"/>
              <a:gd name="connsiteY703" fmla="*/ 2389518 h 6858000"/>
              <a:gd name="connsiteX704" fmla="*/ 510734 w 7467663"/>
              <a:gd name="connsiteY704" fmla="*/ 2416201 h 6858000"/>
              <a:gd name="connsiteX705" fmla="*/ 279257 w 7467663"/>
              <a:gd name="connsiteY705" fmla="*/ 2092102 h 6858000"/>
              <a:gd name="connsiteX706" fmla="*/ 65265 w 7467663"/>
              <a:gd name="connsiteY706" fmla="*/ 2006049 h 6858000"/>
              <a:gd name="connsiteX707" fmla="*/ 0 w 7467663"/>
              <a:gd name="connsiteY707" fmla="*/ 1982532 h 6858000"/>
              <a:gd name="connsiteX708" fmla="*/ 0 w 7467663"/>
              <a:gd name="connsiteY708" fmla="*/ 1912789 h 6858000"/>
              <a:gd name="connsiteX709" fmla="*/ 97460 w 7467663"/>
              <a:gd name="connsiteY709" fmla="*/ 1953725 h 6858000"/>
              <a:gd name="connsiteX710" fmla="*/ 221272 w 7467663"/>
              <a:gd name="connsiteY710" fmla="*/ 1980766 h 6858000"/>
              <a:gd name="connsiteX711" fmla="*/ 116765 w 7467663"/>
              <a:gd name="connsiteY711" fmla="*/ 1911033 h 6858000"/>
              <a:gd name="connsiteX712" fmla="*/ 16405 w 7467663"/>
              <a:gd name="connsiteY712" fmla="*/ 1803412 h 6858000"/>
              <a:gd name="connsiteX713" fmla="*/ 0 w 7467663"/>
              <a:gd name="connsiteY713" fmla="*/ 1784777 h 6858000"/>
              <a:gd name="connsiteX714" fmla="*/ 0 w 7467663"/>
              <a:gd name="connsiteY714" fmla="*/ 1740082 h 6858000"/>
              <a:gd name="connsiteX715" fmla="*/ 39394 w 7467663"/>
              <a:gd name="connsiteY715" fmla="*/ 1784856 h 6858000"/>
              <a:gd name="connsiteX716" fmla="*/ 135813 w 7467663"/>
              <a:gd name="connsiteY716" fmla="*/ 1888838 h 6858000"/>
              <a:gd name="connsiteX717" fmla="*/ 242575 w 7467663"/>
              <a:gd name="connsiteY717" fmla="*/ 1958841 h 6858000"/>
              <a:gd name="connsiteX718" fmla="*/ 82197 w 7467663"/>
              <a:gd name="connsiteY718" fmla="*/ 1754826 h 6858000"/>
              <a:gd name="connsiteX719" fmla="*/ 0 w 7467663"/>
              <a:gd name="connsiteY719" fmla="*/ 1679650 h 6858000"/>
              <a:gd name="connsiteX720" fmla="*/ 0 w 7467663"/>
              <a:gd name="connsiteY720" fmla="*/ 1602463 h 6858000"/>
              <a:gd name="connsiteX721" fmla="*/ 84689 w 7467663"/>
              <a:gd name="connsiteY721" fmla="*/ 1677442 h 6858000"/>
              <a:gd name="connsiteX722" fmla="*/ 298437 w 7467663"/>
              <a:gd name="connsiteY722" fmla="*/ 1968019 h 6858000"/>
              <a:gd name="connsiteX723" fmla="*/ 227269 w 7467663"/>
              <a:gd name="connsiteY723" fmla="*/ 1114064 h 6858000"/>
              <a:gd name="connsiteX724" fmla="*/ 248003 w 7467663"/>
              <a:gd name="connsiteY724" fmla="*/ 1089613 h 6858000"/>
              <a:gd name="connsiteX725" fmla="*/ 427020 w 7467663"/>
              <a:gd name="connsiteY725" fmla="*/ 1619803 h 6858000"/>
              <a:gd name="connsiteX726" fmla="*/ 340345 w 7467663"/>
              <a:gd name="connsiteY726" fmla="*/ 2027739 h 6858000"/>
              <a:gd name="connsiteX727" fmla="*/ 360865 w 7467663"/>
              <a:gd name="connsiteY727" fmla="*/ 2044827 h 6858000"/>
              <a:gd name="connsiteX728" fmla="*/ 560414 w 7467663"/>
              <a:gd name="connsiteY728" fmla="*/ 2421457 h 6858000"/>
              <a:gd name="connsiteX729" fmla="*/ 1359703 w 7467663"/>
              <a:gd name="connsiteY729" fmla="*/ 2578554 h 6858000"/>
              <a:gd name="connsiteX730" fmla="*/ 1359422 w 7467663"/>
              <a:gd name="connsiteY730" fmla="*/ 2577994 h 6858000"/>
              <a:gd name="connsiteX731" fmla="*/ 828701 w 7467663"/>
              <a:gd name="connsiteY731" fmla="*/ 1839520 h 6858000"/>
              <a:gd name="connsiteX732" fmla="*/ 494427 w 7467663"/>
              <a:gd name="connsiteY732" fmla="*/ 1092333 h 6858000"/>
              <a:gd name="connsiteX733" fmla="*/ 506322 w 7467663"/>
              <a:gd name="connsiteY733" fmla="*/ 1020997 h 6858000"/>
              <a:gd name="connsiteX734" fmla="*/ 4570198 w 7467663"/>
              <a:gd name="connsiteY734" fmla="*/ 978081 h 6858000"/>
              <a:gd name="connsiteX735" fmla="*/ 4523691 w 7467663"/>
              <a:gd name="connsiteY735" fmla="*/ 1127776 h 6858000"/>
              <a:gd name="connsiteX736" fmla="*/ 4509875 w 7467663"/>
              <a:gd name="connsiteY736" fmla="*/ 1167552 h 6858000"/>
              <a:gd name="connsiteX737" fmla="*/ 4478168 w 7467663"/>
              <a:gd name="connsiteY737" fmla="*/ 1260735 h 6858000"/>
              <a:gd name="connsiteX738" fmla="*/ 4409309 w 7467663"/>
              <a:gd name="connsiteY738" fmla="*/ 1666996 h 6858000"/>
              <a:gd name="connsiteX739" fmla="*/ 4370031 w 7467663"/>
              <a:gd name="connsiteY739" fmla="*/ 1955666 h 6858000"/>
              <a:gd name="connsiteX740" fmla="*/ 4570198 w 7467663"/>
              <a:gd name="connsiteY740" fmla="*/ 978081 h 6858000"/>
              <a:gd name="connsiteX741" fmla="*/ 4557898 w 7467663"/>
              <a:gd name="connsiteY741" fmla="*/ 900011 h 6858000"/>
              <a:gd name="connsiteX742" fmla="*/ 4344840 w 7467663"/>
              <a:gd name="connsiteY742" fmla="*/ 1922038 h 6858000"/>
              <a:gd name="connsiteX743" fmla="*/ 4378710 w 7467663"/>
              <a:gd name="connsiteY743" fmla="*/ 1665516 h 6858000"/>
              <a:gd name="connsiteX744" fmla="*/ 4448798 w 7467663"/>
              <a:gd name="connsiteY744" fmla="*/ 1253024 h 6858000"/>
              <a:gd name="connsiteX745" fmla="*/ 4480315 w 7467663"/>
              <a:gd name="connsiteY745" fmla="*/ 1158454 h 6858000"/>
              <a:gd name="connsiteX746" fmla="*/ 4494133 w 7467663"/>
              <a:gd name="connsiteY746" fmla="*/ 1118676 h 6858000"/>
              <a:gd name="connsiteX747" fmla="*/ 4557898 w 7467663"/>
              <a:gd name="connsiteY747" fmla="*/ 900011 h 6858000"/>
              <a:gd name="connsiteX748" fmla="*/ 5870151 w 7467663"/>
              <a:gd name="connsiteY748" fmla="*/ 898890 h 6858000"/>
              <a:gd name="connsiteX749" fmla="*/ 5861335 w 7467663"/>
              <a:gd name="connsiteY749" fmla="*/ 899177 h 6858000"/>
              <a:gd name="connsiteX750" fmla="*/ 5843702 w 7467663"/>
              <a:gd name="connsiteY750" fmla="*/ 899748 h 6858000"/>
              <a:gd name="connsiteX751" fmla="*/ 5651107 w 7467663"/>
              <a:gd name="connsiteY751" fmla="*/ 920306 h 6858000"/>
              <a:gd name="connsiteX752" fmla="*/ 5459407 w 7467663"/>
              <a:gd name="connsiteY752" fmla="*/ 940975 h 6858000"/>
              <a:gd name="connsiteX753" fmla="*/ 5374846 w 7467663"/>
              <a:gd name="connsiteY753" fmla="*/ 941988 h 6858000"/>
              <a:gd name="connsiteX754" fmla="*/ 5256105 w 7467663"/>
              <a:gd name="connsiteY754" fmla="*/ 945632 h 6858000"/>
              <a:gd name="connsiteX755" fmla="*/ 5107071 w 7467663"/>
              <a:gd name="connsiteY755" fmla="*/ 969720 h 6858000"/>
              <a:gd name="connsiteX756" fmla="*/ 4998681 w 7467663"/>
              <a:gd name="connsiteY756" fmla="*/ 988771 h 6858000"/>
              <a:gd name="connsiteX757" fmla="*/ 5870151 w 7467663"/>
              <a:gd name="connsiteY757" fmla="*/ 898890 h 6858000"/>
              <a:gd name="connsiteX758" fmla="*/ 5504425 w 7467663"/>
              <a:gd name="connsiteY758" fmla="*/ 848067 h 6858000"/>
              <a:gd name="connsiteX759" fmla="*/ 4968849 w 7467663"/>
              <a:gd name="connsiteY759" fmla="*/ 962318 h 6858000"/>
              <a:gd name="connsiteX760" fmla="*/ 5104039 w 7467663"/>
              <a:gd name="connsiteY760" fmla="*/ 940634 h 6858000"/>
              <a:gd name="connsiteX761" fmla="*/ 5256311 w 7467663"/>
              <a:gd name="connsiteY761" fmla="*/ 916490 h 6858000"/>
              <a:gd name="connsiteX762" fmla="*/ 5377381 w 7467663"/>
              <a:gd name="connsiteY762" fmla="*/ 912671 h 6858000"/>
              <a:gd name="connsiteX763" fmla="*/ 5460148 w 7467663"/>
              <a:gd name="connsiteY763" fmla="*/ 911442 h 6858000"/>
              <a:gd name="connsiteX764" fmla="*/ 5648971 w 7467663"/>
              <a:gd name="connsiteY764" fmla="*/ 891331 h 6858000"/>
              <a:gd name="connsiteX765" fmla="*/ 5844807 w 7467663"/>
              <a:gd name="connsiteY765" fmla="*/ 870718 h 6858000"/>
              <a:gd name="connsiteX766" fmla="*/ 5862975 w 7467663"/>
              <a:gd name="connsiteY766" fmla="*/ 869756 h 6858000"/>
              <a:gd name="connsiteX767" fmla="*/ 5920887 w 7467663"/>
              <a:gd name="connsiteY767" fmla="*/ 865929 h 6858000"/>
              <a:gd name="connsiteX768" fmla="*/ 5504425 w 7467663"/>
              <a:gd name="connsiteY768" fmla="*/ 848067 h 6858000"/>
              <a:gd name="connsiteX769" fmla="*/ 3607114 w 7467663"/>
              <a:gd name="connsiteY769" fmla="*/ 467441 h 6858000"/>
              <a:gd name="connsiteX770" fmla="*/ 3296242 w 7467663"/>
              <a:gd name="connsiteY770" fmla="*/ 807991 h 6858000"/>
              <a:gd name="connsiteX771" fmla="*/ 3174674 w 7467663"/>
              <a:gd name="connsiteY771" fmla="*/ 919759 h 6858000"/>
              <a:gd name="connsiteX772" fmla="*/ 3042978 w 7467663"/>
              <a:gd name="connsiteY772" fmla="*/ 1054894 h 6858000"/>
              <a:gd name="connsiteX773" fmla="*/ 2968914 w 7467663"/>
              <a:gd name="connsiteY773" fmla="*/ 1133756 h 6858000"/>
              <a:gd name="connsiteX774" fmla="*/ 3103823 w 7467663"/>
              <a:gd name="connsiteY774" fmla="*/ 1026814 h 6858000"/>
              <a:gd name="connsiteX775" fmla="*/ 3607114 w 7467663"/>
              <a:gd name="connsiteY775" fmla="*/ 467441 h 6858000"/>
              <a:gd name="connsiteX776" fmla="*/ 3744487 w 7467663"/>
              <a:gd name="connsiteY776" fmla="*/ 383136 h 6858000"/>
              <a:gd name="connsiteX777" fmla="*/ 3970213 w 7467663"/>
              <a:gd name="connsiteY777" fmla="*/ 995559 h 6858000"/>
              <a:gd name="connsiteX778" fmla="*/ 3744487 w 7467663"/>
              <a:gd name="connsiteY778" fmla="*/ 383136 h 6858000"/>
              <a:gd name="connsiteX779" fmla="*/ 3624562 w 7467663"/>
              <a:gd name="connsiteY779" fmla="*/ 367041 h 6858000"/>
              <a:gd name="connsiteX780" fmla="*/ 3489712 w 7467663"/>
              <a:gd name="connsiteY780" fmla="*/ 485386 h 6858000"/>
              <a:gd name="connsiteX781" fmla="*/ 3182994 w 7467663"/>
              <a:gd name="connsiteY781" fmla="*/ 828265 h 6858000"/>
              <a:gd name="connsiteX782" fmla="*/ 2892114 w 7467663"/>
              <a:gd name="connsiteY782" fmla="*/ 1172635 h 6858000"/>
              <a:gd name="connsiteX783" fmla="*/ 3021459 w 7467663"/>
              <a:gd name="connsiteY783" fmla="*/ 1035385 h 6858000"/>
              <a:gd name="connsiteX784" fmla="*/ 3153873 w 7467663"/>
              <a:gd name="connsiteY784" fmla="*/ 898971 h 6858000"/>
              <a:gd name="connsiteX785" fmla="*/ 3276511 w 7467663"/>
              <a:gd name="connsiteY785" fmla="*/ 786423 h 6858000"/>
              <a:gd name="connsiteX786" fmla="*/ 3584154 w 7467663"/>
              <a:gd name="connsiteY786" fmla="*/ 448218 h 6858000"/>
              <a:gd name="connsiteX787" fmla="*/ 3624562 w 7467663"/>
              <a:gd name="connsiteY787" fmla="*/ 367041 h 6858000"/>
              <a:gd name="connsiteX788" fmla="*/ 3766672 w 7467663"/>
              <a:gd name="connsiteY788" fmla="*/ 359429 h 6858000"/>
              <a:gd name="connsiteX789" fmla="*/ 3996338 w 7467663"/>
              <a:gd name="connsiteY789" fmla="*/ 968237 h 6858000"/>
              <a:gd name="connsiteX790" fmla="*/ 3766672 w 7467663"/>
              <a:gd name="connsiteY790" fmla="*/ 359429 h 6858000"/>
              <a:gd name="connsiteX791" fmla="*/ 5805386 w 7467663"/>
              <a:gd name="connsiteY791" fmla="*/ 239240 h 6858000"/>
              <a:gd name="connsiteX792" fmla="*/ 5736947 w 7467663"/>
              <a:gd name="connsiteY792" fmla="*/ 261367 h 6858000"/>
              <a:gd name="connsiteX793" fmla="*/ 5427012 w 7467663"/>
              <a:gd name="connsiteY793" fmla="*/ 311272 h 6858000"/>
              <a:gd name="connsiteX794" fmla="*/ 5147818 w 7467663"/>
              <a:gd name="connsiteY794" fmla="*/ 322112 h 6858000"/>
              <a:gd name="connsiteX795" fmla="*/ 5060854 w 7467663"/>
              <a:gd name="connsiteY795" fmla="*/ 311882 h 6858000"/>
              <a:gd name="connsiteX796" fmla="*/ 4945989 w 7467663"/>
              <a:gd name="connsiteY796" fmla="*/ 300516 h 6858000"/>
              <a:gd name="connsiteX797" fmla="*/ 5410479 w 7467663"/>
              <a:gd name="connsiteY797" fmla="*/ 348434 h 6858000"/>
              <a:gd name="connsiteX798" fmla="*/ 5805386 w 7467663"/>
              <a:gd name="connsiteY798" fmla="*/ 239240 h 6858000"/>
              <a:gd name="connsiteX799" fmla="*/ 5905192 w 7467663"/>
              <a:gd name="connsiteY799" fmla="*/ 163079 h 6858000"/>
              <a:gd name="connsiteX800" fmla="*/ 5865655 w 7467663"/>
              <a:gd name="connsiteY800" fmla="*/ 171901 h 6858000"/>
              <a:gd name="connsiteX801" fmla="*/ 5259740 w 7467663"/>
              <a:gd name="connsiteY801" fmla="*/ 257013 h 6858000"/>
              <a:gd name="connsiteX802" fmla="*/ 5208466 w 7467663"/>
              <a:gd name="connsiteY802" fmla="*/ 257550 h 6858000"/>
              <a:gd name="connsiteX803" fmla="*/ 4980204 w 7467663"/>
              <a:gd name="connsiteY803" fmla="*/ 271903 h 6858000"/>
              <a:gd name="connsiteX804" fmla="*/ 5068068 w 7467663"/>
              <a:gd name="connsiteY804" fmla="*/ 282244 h 6858000"/>
              <a:gd name="connsiteX805" fmla="*/ 5153231 w 7467663"/>
              <a:gd name="connsiteY805" fmla="*/ 292240 h 6858000"/>
              <a:gd name="connsiteX806" fmla="*/ 5426491 w 7467663"/>
              <a:gd name="connsiteY806" fmla="*/ 281128 h 6858000"/>
              <a:gd name="connsiteX807" fmla="*/ 5731212 w 7467663"/>
              <a:gd name="connsiteY807" fmla="*/ 231951 h 6858000"/>
              <a:gd name="connsiteX808" fmla="*/ 5905192 w 7467663"/>
              <a:gd name="connsiteY808" fmla="*/ 163079 h 6858000"/>
              <a:gd name="connsiteX809" fmla="*/ 5944437 w 7467663"/>
              <a:gd name="connsiteY809" fmla="*/ 113829 h 6858000"/>
              <a:gd name="connsiteX810" fmla="*/ 5825032 w 7467663"/>
              <a:gd name="connsiteY810" fmla="*/ 146405 h 6858000"/>
              <a:gd name="connsiteX811" fmla="*/ 4955599 w 7467663"/>
              <a:gd name="connsiteY811" fmla="*/ 247008 h 6858000"/>
              <a:gd name="connsiteX812" fmla="*/ 5210104 w 7467663"/>
              <a:gd name="connsiteY812" fmla="*/ 228123 h 6858000"/>
              <a:gd name="connsiteX813" fmla="*/ 5261015 w 7467663"/>
              <a:gd name="connsiteY813" fmla="*/ 227087 h 6858000"/>
              <a:gd name="connsiteX814" fmla="*/ 5861181 w 7467663"/>
              <a:gd name="connsiteY814" fmla="*/ 143093 h 6858000"/>
              <a:gd name="connsiteX815" fmla="*/ 5961252 w 7467663"/>
              <a:gd name="connsiteY815" fmla="*/ 114820 h 6858000"/>
              <a:gd name="connsiteX816" fmla="*/ 5944437 w 7467663"/>
              <a:gd name="connsiteY816" fmla="*/ 113829 h 6858000"/>
              <a:gd name="connsiteX817" fmla="*/ 3882765 w 7467663"/>
              <a:gd name="connsiteY817" fmla="*/ 0 h 6858000"/>
              <a:gd name="connsiteX818" fmla="*/ 3995099 w 7467663"/>
              <a:gd name="connsiteY818" fmla="*/ 0 h 6858000"/>
              <a:gd name="connsiteX819" fmla="*/ 4163818 w 7467663"/>
              <a:gd name="connsiteY819" fmla="*/ 234104 h 6858000"/>
              <a:gd name="connsiteX820" fmla="*/ 4172099 w 7467663"/>
              <a:gd name="connsiteY820" fmla="*/ 234207 h 6858000"/>
              <a:gd name="connsiteX821" fmla="*/ 4784282 w 7467663"/>
              <a:gd name="connsiteY821" fmla="*/ 276561 h 6858000"/>
              <a:gd name="connsiteX822" fmla="*/ 4801687 w 7467663"/>
              <a:gd name="connsiteY822" fmla="*/ 267764 h 6858000"/>
              <a:gd name="connsiteX823" fmla="*/ 6082788 w 7467663"/>
              <a:gd name="connsiteY823" fmla="*/ 64119 h 6858000"/>
              <a:gd name="connsiteX824" fmla="*/ 6099442 w 7467663"/>
              <a:gd name="connsiteY824" fmla="*/ 82568 h 6858000"/>
              <a:gd name="connsiteX825" fmla="*/ 4804137 w 7467663"/>
              <a:gd name="connsiteY825" fmla="*/ 320931 h 6858000"/>
              <a:gd name="connsiteX826" fmla="*/ 4227047 w 7467663"/>
              <a:gd name="connsiteY826" fmla="*/ 313415 h 6858000"/>
              <a:gd name="connsiteX827" fmla="*/ 4346041 w 7467663"/>
              <a:gd name="connsiteY827" fmla="*/ 456086 h 6858000"/>
              <a:gd name="connsiteX828" fmla="*/ 4870967 w 7467663"/>
              <a:gd name="connsiteY828" fmla="*/ 963061 h 6858000"/>
              <a:gd name="connsiteX829" fmla="*/ 4889647 w 7467663"/>
              <a:gd name="connsiteY829" fmla="*/ 957147 h 6858000"/>
              <a:gd name="connsiteX830" fmla="*/ 5422504 w 7467663"/>
              <a:gd name="connsiteY830" fmla="*/ 805191 h 6858000"/>
              <a:gd name="connsiteX831" fmla="*/ 6087656 w 7467663"/>
              <a:gd name="connsiteY831" fmla="*/ 826703 h 6858000"/>
              <a:gd name="connsiteX832" fmla="*/ 6058717 w 7467663"/>
              <a:gd name="connsiteY832" fmla="*/ 865992 h 6858000"/>
              <a:gd name="connsiteX833" fmla="*/ 4974153 w 7467663"/>
              <a:gd name="connsiteY833" fmla="*/ 1045456 h 6858000"/>
              <a:gd name="connsiteX834" fmla="*/ 5627835 w 7467663"/>
              <a:gd name="connsiteY834" fmla="*/ 1472077 h 6858000"/>
              <a:gd name="connsiteX835" fmla="*/ 5629817 w 7467663"/>
              <a:gd name="connsiteY835" fmla="*/ 1471412 h 6858000"/>
              <a:gd name="connsiteX836" fmla="*/ 5634124 w 7467663"/>
              <a:gd name="connsiteY836" fmla="*/ 1470572 h 6858000"/>
              <a:gd name="connsiteX837" fmla="*/ 5755832 w 7467663"/>
              <a:gd name="connsiteY837" fmla="*/ 1383886 h 6858000"/>
              <a:gd name="connsiteX838" fmla="*/ 6014186 w 7467663"/>
              <a:gd name="connsiteY838" fmla="*/ 1279799 h 6858000"/>
              <a:gd name="connsiteX839" fmla="*/ 6901619 w 7467663"/>
              <a:gd name="connsiteY839" fmla="*/ 1047874 h 6858000"/>
              <a:gd name="connsiteX840" fmla="*/ 6931566 w 7467663"/>
              <a:gd name="connsiteY840" fmla="*/ 1062034 h 6858000"/>
              <a:gd name="connsiteX841" fmla="*/ 5790982 w 7467663"/>
              <a:gd name="connsiteY841" fmla="*/ 1561380 h 6858000"/>
              <a:gd name="connsiteX842" fmla="*/ 6188971 w 7467663"/>
              <a:gd name="connsiteY842" fmla="*/ 1755168 h 6858000"/>
              <a:gd name="connsiteX843" fmla="*/ 6202446 w 7467663"/>
              <a:gd name="connsiteY843" fmla="*/ 1752268 h 6858000"/>
              <a:gd name="connsiteX844" fmla="*/ 7179560 w 7467663"/>
              <a:gd name="connsiteY844" fmla="*/ 1467551 h 6858000"/>
              <a:gd name="connsiteX845" fmla="*/ 7158730 w 7467663"/>
              <a:gd name="connsiteY845" fmla="*/ 1507835 h 6858000"/>
              <a:gd name="connsiteX846" fmla="*/ 6326959 w 7467663"/>
              <a:gd name="connsiteY846" fmla="*/ 1817686 h 6858000"/>
              <a:gd name="connsiteX847" fmla="*/ 6537433 w 7467663"/>
              <a:gd name="connsiteY847" fmla="*/ 1907790 h 6858000"/>
              <a:gd name="connsiteX848" fmla="*/ 6550221 w 7467663"/>
              <a:gd name="connsiteY848" fmla="*/ 1910729 h 6858000"/>
              <a:gd name="connsiteX849" fmla="*/ 6964438 w 7467663"/>
              <a:gd name="connsiteY849" fmla="*/ 2209505 h 6858000"/>
              <a:gd name="connsiteX850" fmla="*/ 7367862 w 7467663"/>
              <a:gd name="connsiteY850" fmla="*/ 2806833 h 6858000"/>
              <a:gd name="connsiteX851" fmla="*/ 7364329 w 7467663"/>
              <a:gd name="connsiteY851" fmla="*/ 2826907 h 6858000"/>
              <a:gd name="connsiteX852" fmla="*/ 7290545 w 7467663"/>
              <a:gd name="connsiteY852" fmla="*/ 2850663 h 6858000"/>
              <a:gd name="connsiteX853" fmla="*/ 6472036 w 7467663"/>
              <a:gd name="connsiteY853" fmla="*/ 1959003 h 6858000"/>
              <a:gd name="connsiteX854" fmla="*/ 5792897 w 7467663"/>
              <a:gd name="connsiteY854" fmla="*/ 1647747 h 6858000"/>
              <a:gd name="connsiteX855" fmla="*/ 5842751 w 7467663"/>
              <a:gd name="connsiteY855" fmla="*/ 1816112 h 6858000"/>
              <a:gd name="connsiteX856" fmla="*/ 5847424 w 7467663"/>
              <a:gd name="connsiteY856" fmla="*/ 1815776 h 6858000"/>
              <a:gd name="connsiteX857" fmla="*/ 6399821 w 7467663"/>
              <a:gd name="connsiteY857" fmla="*/ 2344799 h 6858000"/>
              <a:gd name="connsiteX858" fmla="*/ 6323232 w 7467663"/>
              <a:gd name="connsiteY858" fmla="*/ 2389634 h 6858000"/>
              <a:gd name="connsiteX859" fmla="*/ 5942958 w 7467663"/>
              <a:gd name="connsiteY859" fmla="*/ 2077708 h 6858000"/>
              <a:gd name="connsiteX860" fmla="*/ 5921559 w 7467663"/>
              <a:gd name="connsiteY860" fmla="*/ 2378596 h 6858000"/>
              <a:gd name="connsiteX861" fmla="*/ 5817651 w 7467663"/>
              <a:gd name="connsiteY861" fmla="*/ 3023919 h 6858000"/>
              <a:gd name="connsiteX862" fmla="*/ 5729634 w 7467663"/>
              <a:gd name="connsiteY862" fmla="*/ 3051849 h 6858000"/>
              <a:gd name="connsiteX863" fmla="*/ 5611018 w 7467663"/>
              <a:gd name="connsiteY863" fmla="*/ 2316769 h 6858000"/>
              <a:gd name="connsiteX864" fmla="*/ 5687608 w 7467663"/>
              <a:gd name="connsiteY864" fmla="*/ 2039972 h 6858000"/>
              <a:gd name="connsiteX865" fmla="*/ 5657554 w 7467663"/>
              <a:gd name="connsiteY865" fmla="*/ 1576445 h 6858000"/>
              <a:gd name="connsiteX866" fmla="*/ 5150475 w 7467663"/>
              <a:gd name="connsiteY866" fmla="*/ 1274012 h 6858000"/>
              <a:gd name="connsiteX867" fmla="*/ 5349142 w 7467663"/>
              <a:gd name="connsiteY867" fmla="*/ 2204405 h 6858000"/>
              <a:gd name="connsiteX868" fmla="*/ 5262214 w 7467663"/>
              <a:gd name="connsiteY868" fmla="*/ 2233836 h 6858000"/>
              <a:gd name="connsiteX869" fmla="*/ 4981539 w 7467663"/>
              <a:gd name="connsiteY869" fmla="*/ 1542201 h 6858000"/>
              <a:gd name="connsiteX870" fmla="*/ 4958461 w 7467663"/>
              <a:gd name="connsiteY870" fmla="*/ 1136957 h 6858000"/>
              <a:gd name="connsiteX871" fmla="*/ 4655015 w 7467663"/>
              <a:gd name="connsiteY871" fmla="*/ 891426 h 6858000"/>
              <a:gd name="connsiteX872" fmla="*/ 4348002 w 7467663"/>
              <a:gd name="connsiteY872" fmla="*/ 2205895 h 6858000"/>
              <a:gd name="connsiteX873" fmla="*/ 4262250 w 7467663"/>
              <a:gd name="connsiteY873" fmla="*/ 2219972 h 6858000"/>
              <a:gd name="connsiteX874" fmla="*/ 4550611 w 7467663"/>
              <a:gd name="connsiteY874" fmla="*/ 817540 h 6858000"/>
              <a:gd name="connsiteX875" fmla="*/ 4564418 w 7467663"/>
              <a:gd name="connsiteY875" fmla="*/ 808293 h 6858000"/>
              <a:gd name="connsiteX876" fmla="*/ 4266388 w 7467663"/>
              <a:gd name="connsiteY876" fmla="*/ 500083 h 6858000"/>
              <a:gd name="connsiteX877" fmla="*/ 4032842 w 7467663"/>
              <a:gd name="connsiteY877" fmla="*/ 211809 h 6858000"/>
              <a:gd name="connsiteX878" fmla="*/ 3882765 w 7467663"/>
              <a:gd name="connsiteY878" fmla="*/ 0 h 6858000"/>
              <a:gd name="connsiteX879" fmla="*/ 3721337 w 7467663"/>
              <a:gd name="connsiteY879" fmla="*/ 0 h 6858000"/>
              <a:gd name="connsiteX880" fmla="*/ 3797544 w 7467663"/>
              <a:gd name="connsiteY880" fmla="*/ 0 h 6858000"/>
              <a:gd name="connsiteX881" fmla="*/ 3775734 w 7467663"/>
              <a:gd name="connsiteY881" fmla="*/ 95131 h 6858000"/>
              <a:gd name="connsiteX882" fmla="*/ 3724807 w 7467663"/>
              <a:gd name="connsiteY882" fmla="*/ 272257 h 6858000"/>
              <a:gd name="connsiteX883" fmla="*/ 3726844 w 7467663"/>
              <a:gd name="connsiteY883" fmla="*/ 282988 h 6858000"/>
              <a:gd name="connsiteX884" fmla="*/ 3742664 w 7467663"/>
              <a:gd name="connsiteY884" fmla="*/ 279918 h 6858000"/>
              <a:gd name="connsiteX885" fmla="*/ 4103910 w 7467663"/>
              <a:gd name="connsiteY885" fmla="*/ 1161917 h 6858000"/>
              <a:gd name="connsiteX886" fmla="*/ 4020269 w 7467663"/>
              <a:gd name="connsiteY886" fmla="*/ 1200406 h 6858000"/>
              <a:gd name="connsiteX887" fmla="*/ 3674882 w 7467663"/>
              <a:gd name="connsiteY887" fmla="*/ 488524 h 6858000"/>
              <a:gd name="connsiteX888" fmla="*/ 3132682 w 7467663"/>
              <a:gd name="connsiteY888" fmla="*/ 1072284 h 6858000"/>
              <a:gd name="connsiteX889" fmla="*/ 2716346 w 7467663"/>
              <a:gd name="connsiteY889" fmla="*/ 1276376 h 6858000"/>
              <a:gd name="connsiteX890" fmla="*/ 2716772 w 7467663"/>
              <a:gd name="connsiteY890" fmla="*/ 1255462 h 6858000"/>
              <a:gd name="connsiteX891" fmla="*/ 3471096 w 7467663"/>
              <a:gd name="connsiteY891" fmla="*/ 437072 h 6858000"/>
              <a:gd name="connsiteX892" fmla="*/ 3639057 w 7467663"/>
              <a:gd name="connsiteY892" fmla="*/ 286334 h 6858000"/>
              <a:gd name="connsiteX893" fmla="*/ 3640309 w 7467663"/>
              <a:gd name="connsiteY893" fmla="*/ 284664 h 6858000"/>
              <a:gd name="connsiteX894" fmla="*/ 3646022 w 7467663"/>
              <a:gd name="connsiteY894" fmla="*/ 276711 h 6858000"/>
              <a:gd name="connsiteX895" fmla="*/ 3707943 w 7467663"/>
              <a:gd name="connsiteY895" fmla="*/ 65958 h 6858000"/>
              <a:gd name="connsiteX896" fmla="*/ 3721337 w 7467663"/>
              <a:gd name="connsiteY896" fmla="*/ 0 h 6858000"/>
              <a:gd name="connsiteX897" fmla="*/ 2867960 w 7467663"/>
              <a:gd name="connsiteY897" fmla="*/ 0 h 6858000"/>
              <a:gd name="connsiteX898" fmla="*/ 2926351 w 7467663"/>
              <a:gd name="connsiteY898" fmla="*/ 0 h 6858000"/>
              <a:gd name="connsiteX899" fmla="*/ 2902823 w 7467663"/>
              <a:gd name="connsiteY899" fmla="*/ 262929 h 6858000"/>
              <a:gd name="connsiteX900" fmla="*/ 2940663 w 7467663"/>
              <a:gd name="connsiteY900" fmla="*/ 140884 h 6858000"/>
              <a:gd name="connsiteX901" fmla="*/ 2947039 w 7467663"/>
              <a:gd name="connsiteY901" fmla="*/ 122524 h 6858000"/>
              <a:gd name="connsiteX902" fmla="*/ 2984316 w 7467663"/>
              <a:gd name="connsiteY902" fmla="*/ 0 h 6858000"/>
              <a:gd name="connsiteX903" fmla="*/ 3016114 w 7467663"/>
              <a:gd name="connsiteY903" fmla="*/ 0 h 6858000"/>
              <a:gd name="connsiteX904" fmla="*/ 2979949 w 7467663"/>
              <a:gd name="connsiteY904" fmla="*/ 119274 h 6858000"/>
              <a:gd name="connsiteX905" fmla="*/ 3023879 w 7467663"/>
              <a:gd name="connsiteY905" fmla="*/ 0 h 6858000"/>
              <a:gd name="connsiteX906" fmla="*/ 3105400 w 7467663"/>
              <a:gd name="connsiteY906" fmla="*/ 0 h 6858000"/>
              <a:gd name="connsiteX907" fmla="*/ 3094669 w 7467663"/>
              <a:gd name="connsiteY907" fmla="*/ 30308 h 6858000"/>
              <a:gd name="connsiteX908" fmla="*/ 2901945 w 7467663"/>
              <a:gd name="connsiteY908" fmla="*/ 466538 h 6858000"/>
              <a:gd name="connsiteX909" fmla="*/ 2815209 w 7467663"/>
              <a:gd name="connsiteY909" fmla="*/ 497361 h 6858000"/>
              <a:gd name="connsiteX910" fmla="*/ 2844845 w 7467663"/>
              <a:gd name="connsiteY910" fmla="*/ 127638 h 6858000"/>
              <a:gd name="connsiteX911" fmla="*/ 2867960 w 7467663"/>
              <a:gd name="connsiteY911" fmla="*/ 0 h 6858000"/>
              <a:gd name="connsiteX912" fmla="*/ 1057230 w 7467663"/>
              <a:gd name="connsiteY912" fmla="*/ 0 h 6858000"/>
              <a:gd name="connsiteX913" fmla="*/ 1111003 w 7467663"/>
              <a:gd name="connsiteY913" fmla="*/ 0 h 6858000"/>
              <a:gd name="connsiteX914" fmla="*/ 1125553 w 7467663"/>
              <a:gd name="connsiteY914" fmla="*/ 52588 h 6858000"/>
              <a:gd name="connsiteX915" fmla="*/ 1304276 w 7467663"/>
              <a:gd name="connsiteY915" fmla="*/ 476275 h 6858000"/>
              <a:gd name="connsiteX916" fmla="*/ 1492066 w 7467663"/>
              <a:gd name="connsiteY916" fmla="*/ 886333 h 6858000"/>
              <a:gd name="connsiteX917" fmla="*/ 1423698 w 7467663"/>
              <a:gd name="connsiteY917" fmla="*/ 710817 h 6858000"/>
              <a:gd name="connsiteX918" fmla="*/ 1357609 w 7467663"/>
              <a:gd name="connsiteY918" fmla="*/ 532892 h 6858000"/>
              <a:gd name="connsiteX919" fmla="*/ 1309550 w 7467663"/>
              <a:gd name="connsiteY919" fmla="*/ 374031 h 6858000"/>
              <a:gd name="connsiteX920" fmla="*/ 1193673 w 7467663"/>
              <a:gd name="connsiteY920" fmla="*/ 49533 h 6858000"/>
              <a:gd name="connsiteX921" fmla="*/ 1164391 w 7467663"/>
              <a:gd name="connsiteY921" fmla="*/ 0 h 6858000"/>
              <a:gd name="connsiteX922" fmla="*/ 1200666 w 7467663"/>
              <a:gd name="connsiteY922" fmla="*/ 0 h 6858000"/>
              <a:gd name="connsiteX923" fmla="*/ 1223408 w 7467663"/>
              <a:gd name="connsiteY923" fmla="*/ 38996 h 6858000"/>
              <a:gd name="connsiteX924" fmla="*/ 1339635 w 7467663"/>
              <a:gd name="connsiteY924" fmla="*/ 365517 h 6858000"/>
              <a:gd name="connsiteX925" fmla="*/ 1387469 w 7467663"/>
              <a:gd name="connsiteY925" fmla="*/ 523079 h 6858000"/>
              <a:gd name="connsiteX926" fmla="*/ 1452685 w 7467663"/>
              <a:gd name="connsiteY926" fmla="*/ 699806 h 6858000"/>
              <a:gd name="connsiteX927" fmla="*/ 1492092 w 7467663"/>
              <a:gd name="connsiteY927" fmla="*/ 800424 h 6858000"/>
              <a:gd name="connsiteX928" fmla="*/ 1455302 w 7467663"/>
              <a:gd name="connsiteY928" fmla="*/ 632913 h 6858000"/>
              <a:gd name="connsiteX929" fmla="*/ 1222336 w 7467663"/>
              <a:gd name="connsiteY929" fmla="*/ 9480 h 6858000"/>
              <a:gd name="connsiteX930" fmla="*/ 1214634 w 7467663"/>
              <a:gd name="connsiteY930" fmla="*/ 0 h 6858000"/>
              <a:gd name="connsiteX931" fmla="*/ 1289827 w 7467663"/>
              <a:gd name="connsiteY931" fmla="*/ 0 h 6858000"/>
              <a:gd name="connsiteX932" fmla="*/ 1321076 w 7467663"/>
              <a:gd name="connsiteY932" fmla="*/ 59722 h 6858000"/>
              <a:gd name="connsiteX933" fmla="*/ 1512579 w 7467663"/>
              <a:gd name="connsiteY933" fmla="*/ 626441 h 6858000"/>
              <a:gd name="connsiteX934" fmla="*/ 1506076 w 7467663"/>
              <a:gd name="connsiteY934" fmla="*/ 1089289 h 6858000"/>
              <a:gd name="connsiteX935" fmla="*/ 1486346 w 7467663"/>
              <a:gd name="connsiteY935" fmla="*/ 1079919 h 6858000"/>
              <a:gd name="connsiteX936" fmla="*/ 1070511 w 7467663"/>
              <a:gd name="connsiteY936" fmla="*/ 48609 h 6858000"/>
              <a:gd name="connsiteX937" fmla="*/ 1057230 w 7467663"/>
              <a:gd name="connsiteY937" fmla="*/ 0 h 6858000"/>
              <a:gd name="connsiteX938" fmla="*/ 43151 w 7467663"/>
              <a:gd name="connsiteY938" fmla="*/ 0 h 6858000"/>
              <a:gd name="connsiteX939" fmla="*/ 95283 w 7467663"/>
              <a:gd name="connsiteY939" fmla="*/ 0 h 6858000"/>
              <a:gd name="connsiteX940" fmla="*/ 300708 w 7467663"/>
              <a:gd name="connsiteY940" fmla="*/ 154571 h 6858000"/>
              <a:gd name="connsiteX941" fmla="*/ 530414 w 7467663"/>
              <a:gd name="connsiteY941" fmla="*/ 354673 h 6858000"/>
              <a:gd name="connsiteX942" fmla="*/ 333785 w 7467663"/>
              <a:gd name="connsiteY942" fmla="*/ 161564 h 6858000"/>
              <a:gd name="connsiteX943" fmla="*/ 147005 w 7467663"/>
              <a:gd name="connsiteY943" fmla="*/ 0 h 6858000"/>
              <a:gd name="connsiteX944" fmla="*/ 272509 w 7467663"/>
              <a:gd name="connsiteY944" fmla="*/ 0 h 6858000"/>
              <a:gd name="connsiteX945" fmla="*/ 326276 w 7467663"/>
              <a:gd name="connsiteY945" fmla="*/ 45847 h 6858000"/>
              <a:gd name="connsiteX946" fmla="*/ 823759 w 7467663"/>
              <a:gd name="connsiteY946" fmla="*/ 574145 h 6858000"/>
              <a:gd name="connsiteX947" fmla="*/ 811254 w 7467663"/>
              <a:gd name="connsiteY947" fmla="*/ 665546 h 6858000"/>
              <a:gd name="connsiteX948" fmla="*/ 154042 w 7467663"/>
              <a:gd name="connsiteY948" fmla="*/ 261522 h 6858000"/>
              <a:gd name="connsiteX949" fmla="*/ 13550 w 7467663"/>
              <a:gd name="connsiteY949" fmla="*/ 158423 h 6858000"/>
              <a:gd name="connsiteX950" fmla="*/ 0 w 7467663"/>
              <a:gd name="connsiteY950" fmla="*/ 146618 h 6858000"/>
              <a:gd name="connsiteX951" fmla="*/ 0 w 7467663"/>
              <a:gd name="connsiteY951" fmla="*/ 59161 h 6858000"/>
              <a:gd name="connsiteX952" fmla="*/ 45427 w 7467663"/>
              <a:gd name="connsiteY952" fmla="*/ 101078 h 6858000"/>
              <a:gd name="connsiteX953" fmla="*/ 630103 w 7467663"/>
              <a:gd name="connsiteY953" fmla="*/ 485885 h 6858000"/>
              <a:gd name="connsiteX954" fmla="*/ 532040 w 7467663"/>
              <a:gd name="connsiteY954" fmla="*/ 399359 h 6858000"/>
              <a:gd name="connsiteX955" fmla="*/ 517618 w 7467663"/>
              <a:gd name="connsiteY955" fmla="*/ 385726 h 6858000"/>
              <a:gd name="connsiteX956" fmla="*/ 285074 w 7467663"/>
              <a:gd name="connsiteY956" fmla="*/ 182755 h 6858000"/>
              <a:gd name="connsiteX957" fmla="*/ 43151 w 7467663"/>
              <a:gd name="connsiteY957" fmla="*/ 0 h 6858000"/>
              <a:gd name="connsiteX0" fmla="*/ 369702 w 7467663"/>
              <a:gd name="connsiteY0" fmla="*/ 6712169 h 6858000"/>
              <a:gd name="connsiteX1" fmla="*/ 366575 w 7467663"/>
              <a:gd name="connsiteY1" fmla="*/ 6715556 h 6858000"/>
              <a:gd name="connsiteX2" fmla="*/ 371637 w 7467663"/>
              <a:gd name="connsiteY2" fmla="*/ 6713954 h 6858000"/>
              <a:gd name="connsiteX3" fmla="*/ 369702 w 7467663"/>
              <a:gd name="connsiteY3" fmla="*/ 6712169 h 6858000"/>
              <a:gd name="connsiteX4" fmla="*/ 7088673 w 7467663"/>
              <a:gd name="connsiteY4" fmla="*/ 6610396 h 6858000"/>
              <a:gd name="connsiteX5" fmla="*/ 7440138 w 7467663"/>
              <a:gd name="connsiteY5" fmla="*/ 6622648 h 6858000"/>
              <a:gd name="connsiteX6" fmla="*/ 7467600 w 7467663"/>
              <a:gd name="connsiteY6" fmla="*/ 6628217 h 6858000"/>
              <a:gd name="connsiteX7" fmla="*/ 7467600 w 7467663"/>
              <a:gd name="connsiteY7" fmla="*/ 6668575 h 6858000"/>
              <a:gd name="connsiteX8" fmla="*/ 7392322 w 7467663"/>
              <a:gd name="connsiteY8" fmla="*/ 6658238 h 6858000"/>
              <a:gd name="connsiteX9" fmla="*/ 7467600 w 7467663"/>
              <a:gd name="connsiteY9" fmla="*/ 6683873 h 6858000"/>
              <a:gd name="connsiteX10" fmla="*/ 7467600 w 7467663"/>
              <a:gd name="connsiteY10" fmla="*/ 6714215 h 6858000"/>
              <a:gd name="connsiteX11" fmla="*/ 7447383 w 7467663"/>
              <a:gd name="connsiteY11" fmla="*/ 6707202 h 6858000"/>
              <a:gd name="connsiteX12" fmla="*/ 7289862 w 7467663"/>
              <a:gd name="connsiteY12" fmla="*/ 6659827 h 6858000"/>
              <a:gd name="connsiteX13" fmla="*/ 7434024 w 7467663"/>
              <a:gd name="connsiteY13" fmla="*/ 6722130 h 6858000"/>
              <a:gd name="connsiteX14" fmla="*/ 7467600 w 7467663"/>
              <a:gd name="connsiteY14" fmla="*/ 6736157 h 6858000"/>
              <a:gd name="connsiteX15" fmla="*/ 7467600 w 7467663"/>
              <a:gd name="connsiteY15" fmla="*/ 6767913 h 6858000"/>
              <a:gd name="connsiteX16" fmla="*/ 7392158 w 7467663"/>
              <a:gd name="connsiteY16" fmla="*/ 6771365 h 6858000"/>
              <a:gd name="connsiteX17" fmla="*/ 7467600 w 7467663"/>
              <a:gd name="connsiteY17" fmla="*/ 6805948 h 6858000"/>
              <a:gd name="connsiteX18" fmla="*/ 7467600 w 7467663"/>
              <a:gd name="connsiteY18" fmla="*/ 6831490 h 6858000"/>
              <a:gd name="connsiteX19" fmla="*/ 7410696 w 7467663"/>
              <a:gd name="connsiteY19" fmla="*/ 6803861 h 6858000"/>
              <a:gd name="connsiteX20" fmla="*/ 7088673 w 7467663"/>
              <a:gd name="connsiteY20" fmla="*/ 6610396 h 6858000"/>
              <a:gd name="connsiteX21" fmla="*/ 1019354 w 7467663"/>
              <a:gd name="connsiteY21" fmla="*/ 6315006 h 6858000"/>
              <a:gd name="connsiteX22" fmla="*/ 441046 w 7467663"/>
              <a:gd name="connsiteY22" fmla="*/ 6691153 h 6858000"/>
              <a:gd name="connsiteX23" fmla="*/ 1019354 w 7467663"/>
              <a:gd name="connsiteY23" fmla="*/ 6315006 h 6858000"/>
              <a:gd name="connsiteX24" fmla="*/ 991680 w 7467663"/>
              <a:gd name="connsiteY24" fmla="*/ 6298413 h 6858000"/>
              <a:gd name="connsiteX25" fmla="*/ 409060 w 7467663"/>
              <a:gd name="connsiteY25" fmla="*/ 6671470 h 6858000"/>
              <a:gd name="connsiteX26" fmla="*/ 991680 w 7467663"/>
              <a:gd name="connsiteY26" fmla="*/ 6298413 h 6858000"/>
              <a:gd name="connsiteX27" fmla="*/ 103333 w 7467663"/>
              <a:gd name="connsiteY27" fmla="*/ 5699602 h 6858000"/>
              <a:gd name="connsiteX28" fmla="*/ 233938 w 7467663"/>
              <a:gd name="connsiteY28" fmla="*/ 5809416 h 6858000"/>
              <a:gd name="connsiteX29" fmla="*/ 883580 w 7467663"/>
              <a:gd name="connsiteY29" fmla="*/ 6180710 h 6858000"/>
              <a:gd name="connsiteX30" fmla="*/ 487337 w 7467663"/>
              <a:gd name="connsiteY30" fmla="*/ 5950182 h 6858000"/>
              <a:gd name="connsiteX31" fmla="*/ 354051 w 7467663"/>
              <a:gd name="connsiteY31" fmla="*/ 5854912 h 6858000"/>
              <a:gd name="connsiteX32" fmla="*/ 195436 w 7467663"/>
              <a:gd name="connsiteY32" fmla="*/ 5755068 h 6858000"/>
              <a:gd name="connsiteX33" fmla="*/ 103333 w 7467663"/>
              <a:gd name="connsiteY33" fmla="*/ 5699602 h 6858000"/>
              <a:gd name="connsiteX34" fmla="*/ 5539432 w 7467663"/>
              <a:gd name="connsiteY34" fmla="*/ 5642928 h 6858000"/>
              <a:gd name="connsiteX35" fmla="*/ 5555462 w 7467663"/>
              <a:gd name="connsiteY35" fmla="*/ 5694454 h 6858000"/>
              <a:gd name="connsiteX36" fmla="*/ 5828270 w 7467663"/>
              <a:gd name="connsiteY36" fmla="*/ 6320663 h 6858000"/>
              <a:gd name="connsiteX37" fmla="*/ 5947416 w 7467663"/>
              <a:gd name="connsiteY37" fmla="*/ 6574846 h 6858000"/>
              <a:gd name="connsiteX38" fmla="*/ 5539432 w 7467663"/>
              <a:gd name="connsiteY38" fmla="*/ 5642928 h 6858000"/>
              <a:gd name="connsiteX39" fmla="*/ 51253 w 7467663"/>
              <a:gd name="connsiteY39" fmla="*/ 5631825 h 6858000"/>
              <a:gd name="connsiteX40" fmla="*/ 211622 w 7467663"/>
              <a:gd name="connsiteY40" fmla="*/ 5728803 h 6858000"/>
              <a:gd name="connsiteX41" fmla="*/ 371652 w 7467663"/>
              <a:gd name="connsiteY41" fmla="*/ 5829062 h 6858000"/>
              <a:gd name="connsiteX42" fmla="*/ 505903 w 7467663"/>
              <a:gd name="connsiteY42" fmla="*/ 5925221 h 6858000"/>
              <a:gd name="connsiteX43" fmla="*/ 899240 w 7467663"/>
              <a:gd name="connsiteY43" fmla="*/ 6153068 h 6858000"/>
              <a:gd name="connsiteX44" fmla="*/ 988114 w 7467663"/>
              <a:gd name="connsiteY44" fmla="*/ 6174204 h 6858000"/>
              <a:gd name="connsiteX45" fmla="*/ 845971 w 7467663"/>
              <a:gd name="connsiteY45" fmla="*/ 6067177 h 6858000"/>
              <a:gd name="connsiteX46" fmla="*/ 448057 w 7467663"/>
              <a:gd name="connsiteY46" fmla="*/ 5841376 h 6858000"/>
              <a:gd name="connsiteX47" fmla="*/ 51253 w 7467663"/>
              <a:gd name="connsiteY47" fmla="*/ 5631825 h 6858000"/>
              <a:gd name="connsiteX48" fmla="*/ 2606687 w 7467663"/>
              <a:gd name="connsiteY48" fmla="*/ 5630718 h 6858000"/>
              <a:gd name="connsiteX49" fmla="*/ 2645658 w 7467663"/>
              <a:gd name="connsiteY49" fmla="*/ 6640259 h 6858000"/>
              <a:gd name="connsiteX50" fmla="*/ 2606687 w 7467663"/>
              <a:gd name="connsiteY50" fmla="*/ 5630718 h 6858000"/>
              <a:gd name="connsiteX51" fmla="*/ 3642057 w 7467663"/>
              <a:gd name="connsiteY51" fmla="*/ 5573487 h 6858000"/>
              <a:gd name="connsiteX52" fmla="*/ 3632981 w 7467663"/>
              <a:gd name="connsiteY52" fmla="*/ 5579437 h 6858000"/>
              <a:gd name="connsiteX53" fmla="*/ 3382436 w 7467663"/>
              <a:gd name="connsiteY53" fmla="*/ 5952726 h 6858000"/>
              <a:gd name="connsiteX54" fmla="*/ 3191929 w 7467663"/>
              <a:gd name="connsiteY54" fmla="*/ 6662669 h 6858000"/>
              <a:gd name="connsiteX55" fmla="*/ 3369898 w 7467663"/>
              <a:gd name="connsiteY55" fmla="*/ 6081771 h 6858000"/>
              <a:gd name="connsiteX56" fmla="*/ 3642057 w 7467663"/>
              <a:gd name="connsiteY56" fmla="*/ 5573487 h 6858000"/>
              <a:gd name="connsiteX57" fmla="*/ 2650666 w 7467663"/>
              <a:gd name="connsiteY57" fmla="*/ 5530686 h 6858000"/>
              <a:gd name="connsiteX58" fmla="*/ 2650249 w 7467663"/>
              <a:gd name="connsiteY58" fmla="*/ 5532101 h 6858000"/>
              <a:gd name="connsiteX59" fmla="*/ 2663808 w 7467663"/>
              <a:gd name="connsiteY59" fmla="*/ 6535215 h 6858000"/>
              <a:gd name="connsiteX60" fmla="*/ 2665418 w 7467663"/>
              <a:gd name="connsiteY60" fmla="*/ 6132756 h 6858000"/>
              <a:gd name="connsiteX61" fmla="*/ 2650666 w 7467663"/>
              <a:gd name="connsiteY61" fmla="*/ 5530686 h 6858000"/>
              <a:gd name="connsiteX62" fmla="*/ 2680277 w 7467663"/>
              <a:gd name="connsiteY62" fmla="*/ 5479204 h 6858000"/>
              <a:gd name="connsiteX63" fmla="*/ 2678972 w 7467663"/>
              <a:gd name="connsiteY63" fmla="*/ 5481582 h 6858000"/>
              <a:gd name="connsiteX64" fmla="*/ 2696666 w 7467663"/>
              <a:gd name="connsiteY64" fmla="*/ 6133836 h 6858000"/>
              <a:gd name="connsiteX65" fmla="*/ 2695769 w 7467663"/>
              <a:gd name="connsiteY65" fmla="*/ 6390955 h 6858000"/>
              <a:gd name="connsiteX66" fmla="*/ 2739893 w 7467663"/>
              <a:gd name="connsiteY66" fmla="*/ 6108357 h 6858000"/>
              <a:gd name="connsiteX67" fmla="*/ 2680277 w 7467663"/>
              <a:gd name="connsiteY67" fmla="*/ 5479204 h 6858000"/>
              <a:gd name="connsiteX68" fmla="*/ 1132195 w 7467663"/>
              <a:gd name="connsiteY68" fmla="*/ 5467980 h 6858000"/>
              <a:gd name="connsiteX69" fmla="*/ 1679056 w 7467663"/>
              <a:gd name="connsiteY69" fmla="*/ 5516907 h 6858000"/>
              <a:gd name="connsiteX70" fmla="*/ 2128648 w 7467663"/>
              <a:gd name="connsiteY70" fmla="*/ 5474249 h 6858000"/>
              <a:gd name="connsiteX71" fmla="*/ 1825619 w 7467663"/>
              <a:gd name="connsiteY71" fmla="*/ 5478447 h 6858000"/>
              <a:gd name="connsiteX72" fmla="*/ 1737798 w 7467663"/>
              <a:gd name="connsiteY72" fmla="*/ 5483353 h 6858000"/>
              <a:gd name="connsiteX73" fmla="*/ 1132195 w 7467663"/>
              <a:gd name="connsiteY73" fmla="*/ 5467980 h 6858000"/>
              <a:gd name="connsiteX74" fmla="*/ 7454976 w 7467663"/>
              <a:gd name="connsiteY74" fmla="*/ 6318297 h 6858000"/>
              <a:gd name="connsiteX75" fmla="*/ 7467600 w 7467663"/>
              <a:gd name="connsiteY75" fmla="*/ 6163634 h 6858000"/>
              <a:gd name="connsiteX76" fmla="*/ 7467600 w 7467663"/>
              <a:gd name="connsiteY76" fmla="*/ 6334256 h 6858000"/>
              <a:gd name="connsiteX77" fmla="*/ 7454976 w 7467663"/>
              <a:gd name="connsiteY77" fmla="*/ 6318297 h 6858000"/>
              <a:gd name="connsiteX78" fmla="*/ 1456157 w 7467663"/>
              <a:gd name="connsiteY78" fmla="*/ 5371404 h 6858000"/>
              <a:gd name="connsiteX79" fmla="*/ 1244432 w 7467663"/>
              <a:gd name="connsiteY79" fmla="*/ 5385601 h 6858000"/>
              <a:gd name="connsiteX80" fmla="*/ 973990 w 7467663"/>
              <a:gd name="connsiteY80" fmla="*/ 5424940 h 6858000"/>
              <a:gd name="connsiteX81" fmla="*/ 1103809 w 7467663"/>
              <a:gd name="connsiteY81" fmla="*/ 5433720 h 6858000"/>
              <a:gd name="connsiteX82" fmla="*/ 1123454 w 7467663"/>
              <a:gd name="connsiteY82" fmla="*/ 5435727 h 6858000"/>
              <a:gd name="connsiteX83" fmla="*/ 1737017 w 7467663"/>
              <a:gd name="connsiteY83" fmla="*/ 5452183 h 6858000"/>
              <a:gd name="connsiteX84" fmla="*/ 1824397 w 7467663"/>
              <a:gd name="connsiteY84" fmla="*/ 5447757 h 6858000"/>
              <a:gd name="connsiteX85" fmla="*/ 2070059 w 7467663"/>
              <a:gd name="connsiteY85" fmla="*/ 5441660 h 6858000"/>
              <a:gd name="connsiteX86" fmla="*/ 1456157 w 7467663"/>
              <a:gd name="connsiteY86" fmla="*/ 5371404 h 6858000"/>
              <a:gd name="connsiteX87" fmla="*/ 4988186 w 7467663"/>
              <a:gd name="connsiteY87" fmla="*/ 5216467 h 6858000"/>
              <a:gd name="connsiteX88" fmla="*/ 4777334 w 7467663"/>
              <a:gd name="connsiteY88" fmla="*/ 5406072 h 6858000"/>
              <a:gd name="connsiteX89" fmla="*/ 4718341 w 7467663"/>
              <a:gd name="connsiteY89" fmla="*/ 5468043 h 6858000"/>
              <a:gd name="connsiteX90" fmla="*/ 4604655 w 7467663"/>
              <a:gd name="connsiteY90" fmla="*/ 5583434 h 6858000"/>
              <a:gd name="connsiteX91" fmla="*/ 4565074 w 7467663"/>
              <a:gd name="connsiteY91" fmla="*/ 5618550 h 6858000"/>
              <a:gd name="connsiteX92" fmla="*/ 4988186 w 7467663"/>
              <a:gd name="connsiteY92" fmla="*/ 5216467 h 6858000"/>
              <a:gd name="connsiteX93" fmla="*/ 4978032 w 7467663"/>
              <a:gd name="connsiteY93" fmla="*/ 5183809 h 6858000"/>
              <a:gd name="connsiteX94" fmla="*/ 4463413 w 7467663"/>
              <a:gd name="connsiteY94" fmla="*/ 5615162 h 6858000"/>
              <a:gd name="connsiteX95" fmla="*/ 4358134 w 7467663"/>
              <a:gd name="connsiteY95" fmla="*/ 5742791 h 6858000"/>
              <a:gd name="connsiteX96" fmla="*/ 4376219 w 7467663"/>
              <a:gd name="connsiteY96" fmla="*/ 5729027 h 6858000"/>
              <a:gd name="connsiteX97" fmla="*/ 4582340 w 7467663"/>
              <a:gd name="connsiteY97" fmla="*/ 5561037 h 6858000"/>
              <a:gd name="connsiteX98" fmla="*/ 4694684 w 7467663"/>
              <a:gd name="connsiteY98" fmla="*/ 5447098 h 6858000"/>
              <a:gd name="connsiteX99" fmla="*/ 4754123 w 7467663"/>
              <a:gd name="connsiteY99" fmla="*/ 5384643 h 6858000"/>
              <a:gd name="connsiteX100" fmla="*/ 4978032 w 7467663"/>
              <a:gd name="connsiteY100" fmla="*/ 5183809 h 6858000"/>
              <a:gd name="connsiteX101" fmla="*/ 1903353 w 7467663"/>
              <a:gd name="connsiteY101" fmla="*/ 5044827 h 6858000"/>
              <a:gd name="connsiteX102" fmla="*/ 1936931 w 7467663"/>
              <a:gd name="connsiteY102" fmla="*/ 5093954 h 6858000"/>
              <a:gd name="connsiteX103" fmla="*/ 2195868 w 7467663"/>
              <a:gd name="connsiteY103" fmla="*/ 5396574 h 6858000"/>
              <a:gd name="connsiteX104" fmla="*/ 2088852 w 7467663"/>
              <a:gd name="connsiteY104" fmla="*/ 5166123 h 6858000"/>
              <a:gd name="connsiteX105" fmla="*/ 1958241 w 7467663"/>
              <a:gd name="connsiteY105" fmla="*/ 5067955 h 6858000"/>
              <a:gd name="connsiteX106" fmla="*/ 1903353 w 7467663"/>
              <a:gd name="connsiteY106" fmla="*/ 5044827 h 6858000"/>
              <a:gd name="connsiteX107" fmla="*/ 1979378 w 7467663"/>
              <a:gd name="connsiteY107" fmla="*/ 4769504 h 6858000"/>
              <a:gd name="connsiteX108" fmla="*/ 2882120 w 7467663"/>
              <a:gd name="connsiteY108" fmla="*/ 5064547 h 6858000"/>
              <a:gd name="connsiteX109" fmla="*/ 2793103 w 7467663"/>
              <a:gd name="connsiteY109" fmla="*/ 5039699 h 6858000"/>
              <a:gd name="connsiteX110" fmla="*/ 2770041 w 7467663"/>
              <a:gd name="connsiteY110" fmla="*/ 5033634 h 6858000"/>
              <a:gd name="connsiteX111" fmla="*/ 1979378 w 7467663"/>
              <a:gd name="connsiteY111" fmla="*/ 4769504 h 6858000"/>
              <a:gd name="connsiteX112" fmla="*/ 1927410 w 7467663"/>
              <a:gd name="connsiteY112" fmla="*/ 4716164 h 6858000"/>
              <a:gd name="connsiteX113" fmla="*/ 1959587 w 7467663"/>
              <a:gd name="connsiteY113" fmla="*/ 4728849 h 6858000"/>
              <a:gd name="connsiteX114" fmla="*/ 2777707 w 7467663"/>
              <a:gd name="connsiteY114" fmla="*/ 5003991 h 6858000"/>
              <a:gd name="connsiteX115" fmla="*/ 2800768 w 7467663"/>
              <a:gd name="connsiteY115" fmla="*/ 5010056 h 6858000"/>
              <a:gd name="connsiteX116" fmla="*/ 2879408 w 7467663"/>
              <a:gd name="connsiteY116" fmla="*/ 5031590 h 6858000"/>
              <a:gd name="connsiteX117" fmla="*/ 2862295 w 7467663"/>
              <a:gd name="connsiteY117" fmla="*/ 5022958 h 6858000"/>
              <a:gd name="connsiteX118" fmla="*/ 2813343 w 7467663"/>
              <a:gd name="connsiteY118" fmla="*/ 4998369 h 6858000"/>
              <a:gd name="connsiteX119" fmla="*/ 2646245 w 7467663"/>
              <a:gd name="connsiteY119" fmla="*/ 4930999 h 6858000"/>
              <a:gd name="connsiteX120" fmla="*/ 1999243 w 7467663"/>
              <a:gd name="connsiteY120" fmla="*/ 4730524 h 6858000"/>
              <a:gd name="connsiteX121" fmla="*/ 1979527 w 7467663"/>
              <a:gd name="connsiteY121" fmla="*/ 4726651 h 6858000"/>
              <a:gd name="connsiteX122" fmla="*/ 1927410 w 7467663"/>
              <a:gd name="connsiteY122" fmla="*/ 4716164 h 6858000"/>
              <a:gd name="connsiteX123" fmla="*/ 1997014 w 7467663"/>
              <a:gd name="connsiteY123" fmla="*/ 4698007 h 6858000"/>
              <a:gd name="connsiteX124" fmla="*/ 2005458 w 7467663"/>
              <a:gd name="connsiteY124" fmla="*/ 4699540 h 6858000"/>
              <a:gd name="connsiteX125" fmla="*/ 2657186 w 7467663"/>
              <a:gd name="connsiteY125" fmla="*/ 4901687 h 6858000"/>
              <a:gd name="connsiteX126" fmla="*/ 2826662 w 7467663"/>
              <a:gd name="connsiteY126" fmla="*/ 4970362 h 6858000"/>
              <a:gd name="connsiteX127" fmla="*/ 2876100 w 7467663"/>
              <a:gd name="connsiteY127" fmla="*/ 4995397 h 6858000"/>
              <a:gd name="connsiteX128" fmla="*/ 3042600 w 7467663"/>
              <a:gd name="connsiteY128" fmla="*/ 5059532 h 6858000"/>
              <a:gd name="connsiteX129" fmla="*/ 1997014 w 7467663"/>
              <a:gd name="connsiteY129" fmla="*/ 4698007 h 6858000"/>
              <a:gd name="connsiteX130" fmla="*/ 2305292 w 7467663"/>
              <a:gd name="connsiteY130" fmla="*/ 4219492 h 6858000"/>
              <a:gd name="connsiteX131" fmla="*/ 3360922 w 7467663"/>
              <a:gd name="connsiteY131" fmla="*/ 4529373 h 6858000"/>
              <a:gd name="connsiteX132" fmla="*/ 3492420 w 7467663"/>
              <a:gd name="connsiteY132" fmla="*/ 4510145 h 6858000"/>
              <a:gd name="connsiteX133" fmla="*/ 3364086 w 7467663"/>
              <a:gd name="connsiteY133" fmla="*/ 4480340 h 6858000"/>
              <a:gd name="connsiteX134" fmla="*/ 3225818 w 7467663"/>
              <a:gd name="connsiteY134" fmla="*/ 4411822 h 6858000"/>
              <a:gd name="connsiteX135" fmla="*/ 3129696 w 7467663"/>
              <a:gd name="connsiteY135" fmla="*/ 4360704 h 6858000"/>
              <a:gd name="connsiteX136" fmla="*/ 2814545 w 7467663"/>
              <a:gd name="connsiteY136" fmla="*/ 4282955 h 6858000"/>
              <a:gd name="connsiteX137" fmla="*/ 2305292 w 7467663"/>
              <a:gd name="connsiteY137" fmla="*/ 4219492 h 6858000"/>
              <a:gd name="connsiteX138" fmla="*/ 2626982 w 7467663"/>
              <a:gd name="connsiteY138" fmla="*/ 4206450 h 6858000"/>
              <a:gd name="connsiteX139" fmla="*/ 2490617 w 7467663"/>
              <a:gd name="connsiteY139" fmla="*/ 4206951 h 6858000"/>
              <a:gd name="connsiteX140" fmla="*/ 2819869 w 7467663"/>
              <a:gd name="connsiteY140" fmla="*/ 4252936 h 6858000"/>
              <a:gd name="connsiteX141" fmla="*/ 3143018 w 7467663"/>
              <a:gd name="connsiteY141" fmla="*/ 4332698 h 6858000"/>
              <a:gd name="connsiteX142" fmla="*/ 3241520 w 7467663"/>
              <a:gd name="connsiteY142" fmla="*/ 4385112 h 6858000"/>
              <a:gd name="connsiteX143" fmla="*/ 3374575 w 7467663"/>
              <a:gd name="connsiteY143" fmla="*/ 4451517 h 6858000"/>
              <a:gd name="connsiteX144" fmla="*/ 3505221 w 7467663"/>
              <a:gd name="connsiteY144" fmla="*/ 4480757 h 6858000"/>
              <a:gd name="connsiteX145" fmla="*/ 2626982 w 7467663"/>
              <a:gd name="connsiteY145" fmla="*/ 4206450 h 6858000"/>
              <a:gd name="connsiteX146" fmla="*/ 1310106 w 7467663"/>
              <a:gd name="connsiteY146" fmla="*/ 3943217 h 6858000"/>
              <a:gd name="connsiteX147" fmla="*/ 854994 w 7467663"/>
              <a:gd name="connsiteY147" fmla="*/ 4399136 h 6858000"/>
              <a:gd name="connsiteX148" fmla="*/ 742462 w 7467663"/>
              <a:gd name="connsiteY148" fmla="*/ 4594648 h 6858000"/>
              <a:gd name="connsiteX149" fmla="*/ 820602 w 7467663"/>
              <a:gd name="connsiteY149" fmla="*/ 4485915 h 6858000"/>
              <a:gd name="connsiteX150" fmla="*/ 878295 w 7467663"/>
              <a:gd name="connsiteY150" fmla="*/ 4403594 h 6858000"/>
              <a:gd name="connsiteX151" fmla="*/ 1240607 w 7467663"/>
              <a:gd name="connsiteY151" fmla="*/ 4010401 h 6858000"/>
              <a:gd name="connsiteX152" fmla="*/ 1310106 w 7467663"/>
              <a:gd name="connsiteY152" fmla="*/ 3943217 h 6858000"/>
              <a:gd name="connsiteX153" fmla="*/ 1423113 w 7467663"/>
              <a:gd name="connsiteY153" fmla="*/ 3874565 h 6858000"/>
              <a:gd name="connsiteX154" fmla="*/ 1260565 w 7467663"/>
              <a:gd name="connsiteY154" fmla="*/ 4031982 h 6858000"/>
              <a:gd name="connsiteX155" fmla="*/ 901900 w 7467663"/>
              <a:gd name="connsiteY155" fmla="*/ 4421236 h 6858000"/>
              <a:gd name="connsiteX156" fmla="*/ 845044 w 7467663"/>
              <a:gd name="connsiteY156" fmla="*/ 4502436 h 6858000"/>
              <a:gd name="connsiteX157" fmla="*/ 685926 w 7467663"/>
              <a:gd name="connsiteY157" fmla="*/ 4703069 h 6858000"/>
              <a:gd name="connsiteX158" fmla="*/ 684248 w 7467663"/>
              <a:gd name="connsiteY158" fmla="*/ 4706721 h 6858000"/>
              <a:gd name="connsiteX159" fmla="*/ 1423113 w 7467663"/>
              <a:gd name="connsiteY159" fmla="*/ 3874565 h 6858000"/>
              <a:gd name="connsiteX160" fmla="*/ 3316479 w 7467663"/>
              <a:gd name="connsiteY160" fmla="*/ 3872136 h 6858000"/>
              <a:gd name="connsiteX161" fmla="*/ 3546806 w 7467663"/>
              <a:gd name="connsiteY161" fmla="*/ 4356139 h 6858000"/>
              <a:gd name="connsiteX162" fmla="*/ 3364433 w 7467663"/>
              <a:gd name="connsiteY162" fmla="*/ 3953121 h 6858000"/>
              <a:gd name="connsiteX163" fmla="*/ 3316479 w 7467663"/>
              <a:gd name="connsiteY163" fmla="*/ 3872136 h 6858000"/>
              <a:gd name="connsiteX164" fmla="*/ 3291335 w 7467663"/>
              <a:gd name="connsiteY164" fmla="*/ 3767420 h 6858000"/>
              <a:gd name="connsiteX165" fmla="*/ 3390805 w 7467663"/>
              <a:gd name="connsiteY165" fmla="*/ 3937163 h 6858000"/>
              <a:gd name="connsiteX166" fmla="*/ 3579062 w 7467663"/>
              <a:gd name="connsiteY166" fmla="*/ 4359040 h 6858000"/>
              <a:gd name="connsiteX167" fmla="*/ 3467355 w 7467663"/>
              <a:gd name="connsiteY167" fmla="*/ 3988130 h 6858000"/>
              <a:gd name="connsiteX168" fmla="*/ 3310753 w 7467663"/>
              <a:gd name="connsiteY168" fmla="*/ 3787140 h 6858000"/>
              <a:gd name="connsiteX169" fmla="*/ 3291335 w 7467663"/>
              <a:gd name="connsiteY169" fmla="*/ 3767420 h 6858000"/>
              <a:gd name="connsiteX170" fmla="*/ 1635889 w 7467663"/>
              <a:gd name="connsiteY170" fmla="*/ 3709494 h 6858000"/>
              <a:gd name="connsiteX171" fmla="*/ 1634800 w 7467663"/>
              <a:gd name="connsiteY171" fmla="*/ 3731111 h 6858000"/>
              <a:gd name="connsiteX172" fmla="*/ 1635889 w 7467663"/>
              <a:gd name="connsiteY172" fmla="*/ 3709494 h 6858000"/>
              <a:gd name="connsiteX173" fmla="*/ 1510397 w 7467663"/>
              <a:gd name="connsiteY173" fmla="*/ 3684705 h 6858000"/>
              <a:gd name="connsiteX174" fmla="*/ 1146550 w 7467663"/>
              <a:gd name="connsiteY174" fmla="*/ 3802012 h 6858000"/>
              <a:gd name="connsiteX175" fmla="*/ 698834 w 7467663"/>
              <a:gd name="connsiteY175" fmla="*/ 3952272 h 6858000"/>
              <a:gd name="connsiteX176" fmla="*/ 34256 w 7467663"/>
              <a:gd name="connsiteY176" fmla="*/ 4347603 h 6858000"/>
              <a:gd name="connsiteX177" fmla="*/ 527241 w 7467663"/>
              <a:gd name="connsiteY177" fmla="*/ 4065078 h 6858000"/>
              <a:gd name="connsiteX178" fmla="*/ 1510397 w 7467663"/>
              <a:gd name="connsiteY178" fmla="*/ 3684705 h 6858000"/>
              <a:gd name="connsiteX179" fmla="*/ 1313114 w 7467663"/>
              <a:gd name="connsiteY179" fmla="*/ 3655216 h 6858000"/>
              <a:gd name="connsiteX180" fmla="*/ 1109304 w 7467663"/>
              <a:gd name="connsiteY180" fmla="*/ 3669030 h 6858000"/>
              <a:gd name="connsiteX181" fmla="*/ 8129 w 7467663"/>
              <a:gd name="connsiteY181" fmla="*/ 4330519 h 6858000"/>
              <a:gd name="connsiteX182" fmla="*/ 687572 w 7467663"/>
              <a:gd name="connsiteY182" fmla="*/ 3925629 h 6858000"/>
              <a:gd name="connsiteX183" fmla="*/ 1138365 w 7467663"/>
              <a:gd name="connsiteY183" fmla="*/ 3774515 h 6858000"/>
              <a:gd name="connsiteX184" fmla="*/ 1505579 w 7467663"/>
              <a:gd name="connsiteY184" fmla="*/ 3655526 h 6858000"/>
              <a:gd name="connsiteX185" fmla="*/ 1313114 w 7467663"/>
              <a:gd name="connsiteY185" fmla="*/ 3655216 h 6858000"/>
              <a:gd name="connsiteX186" fmla="*/ 3655073 w 7467663"/>
              <a:gd name="connsiteY186" fmla="*/ 3650884 h 6858000"/>
              <a:gd name="connsiteX187" fmla="*/ 3989938 w 7467663"/>
              <a:gd name="connsiteY187" fmla="*/ 3991685 h 6858000"/>
              <a:gd name="connsiteX188" fmla="*/ 4393907 w 7467663"/>
              <a:gd name="connsiteY188" fmla="*/ 4261258 h 6858000"/>
              <a:gd name="connsiteX189" fmla="*/ 4648051 w 7467663"/>
              <a:gd name="connsiteY189" fmla="*/ 4374051 h 6858000"/>
              <a:gd name="connsiteX190" fmla="*/ 4383389 w 7467663"/>
              <a:gd name="connsiteY190" fmla="*/ 4184369 h 6858000"/>
              <a:gd name="connsiteX191" fmla="*/ 4165508 w 7467663"/>
              <a:gd name="connsiteY191" fmla="*/ 4035196 h 6858000"/>
              <a:gd name="connsiteX192" fmla="*/ 4068162 w 7467663"/>
              <a:gd name="connsiteY192" fmla="*/ 3953394 h 6858000"/>
              <a:gd name="connsiteX193" fmla="*/ 3981416 w 7467663"/>
              <a:gd name="connsiteY193" fmla="*/ 3880482 h 6858000"/>
              <a:gd name="connsiteX194" fmla="*/ 3800147 w 7467663"/>
              <a:gd name="connsiteY194" fmla="*/ 3749872 h 6858000"/>
              <a:gd name="connsiteX195" fmla="*/ 3655073 w 7467663"/>
              <a:gd name="connsiteY195" fmla="*/ 3650884 h 6858000"/>
              <a:gd name="connsiteX196" fmla="*/ 3670252 w 7467663"/>
              <a:gd name="connsiteY196" fmla="*/ 3622798 h 6858000"/>
              <a:gd name="connsiteX197" fmla="*/ 3817258 w 7467663"/>
              <a:gd name="connsiteY197" fmla="*/ 3723577 h 6858000"/>
              <a:gd name="connsiteX198" fmla="*/ 4000461 w 7467663"/>
              <a:gd name="connsiteY198" fmla="*/ 3855966 h 6858000"/>
              <a:gd name="connsiteX199" fmla="*/ 4088180 w 7467663"/>
              <a:gd name="connsiteY199" fmla="*/ 3929774 h 6858000"/>
              <a:gd name="connsiteX200" fmla="*/ 4184555 w 7467663"/>
              <a:gd name="connsiteY200" fmla="*/ 4010683 h 6858000"/>
              <a:gd name="connsiteX201" fmla="*/ 4399563 w 7467663"/>
              <a:gd name="connsiteY201" fmla="*/ 4158106 h 6858000"/>
              <a:gd name="connsiteX202" fmla="*/ 4684469 w 7467663"/>
              <a:gd name="connsiteY202" fmla="*/ 4364680 h 6858000"/>
              <a:gd name="connsiteX203" fmla="*/ 4690271 w 7467663"/>
              <a:gd name="connsiteY203" fmla="*/ 4370034 h 6858000"/>
              <a:gd name="connsiteX204" fmla="*/ 4136093 w 7467663"/>
              <a:gd name="connsiteY204" fmla="*/ 3858466 h 6858000"/>
              <a:gd name="connsiteX205" fmla="*/ 3670252 w 7467663"/>
              <a:gd name="connsiteY205" fmla="*/ 3622798 h 6858000"/>
              <a:gd name="connsiteX206" fmla="*/ 4440129 w 7467663"/>
              <a:gd name="connsiteY206" fmla="*/ 3448571 h 6858000"/>
              <a:gd name="connsiteX207" fmla="*/ 4856525 w 7467663"/>
              <a:gd name="connsiteY207" fmla="*/ 3915351 h 6858000"/>
              <a:gd name="connsiteX208" fmla="*/ 5059055 w 7467663"/>
              <a:gd name="connsiteY208" fmla="*/ 4108918 h 6858000"/>
              <a:gd name="connsiteX209" fmla="*/ 5290070 w 7467663"/>
              <a:gd name="connsiteY209" fmla="*/ 4263619 h 6858000"/>
              <a:gd name="connsiteX210" fmla="*/ 4834991 w 7467663"/>
              <a:gd name="connsiteY210" fmla="*/ 3830985 h 6858000"/>
              <a:gd name="connsiteX211" fmla="*/ 4440129 w 7467663"/>
              <a:gd name="connsiteY211" fmla="*/ 3448571 h 6858000"/>
              <a:gd name="connsiteX212" fmla="*/ 4441737 w 7467663"/>
              <a:gd name="connsiteY212" fmla="*/ 3399734 h 6858000"/>
              <a:gd name="connsiteX213" fmla="*/ 4431236 w 7467663"/>
              <a:gd name="connsiteY213" fmla="*/ 3400954 h 6858000"/>
              <a:gd name="connsiteX214" fmla="*/ 4557150 w 7467663"/>
              <a:gd name="connsiteY214" fmla="*/ 3510023 h 6858000"/>
              <a:gd name="connsiteX215" fmla="*/ 4856936 w 7467663"/>
              <a:gd name="connsiteY215" fmla="*/ 3809146 h 6858000"/>
              <a:gd name="connsiteX216" fmla="*/ 5111996 w 7467663"/>
              <a:gd name="connsiteY216" fmla="*/ 4065759 h 6858000"/>
              <a:gd name="connsiteX217" fmla="*/ 5388878 w 7467663"/>
              <a:gd name="connsiteY217" fmla="*/ 4300185 h 6858000"/>
              <a:gd name="connsiteX218" fmla="*/ 5425556 w 7467663"/>
              <a:gd name="connsiteY218" fmla="*/ 4308967 h 6858000"/>
              <a:gd name="connsiteX219" fmla="*/ 4943646 w 7467663"/>
              <a:gd name="connsiteY219" fmla="*/ 3822916 h 6858000"/>
              <a:gd name="connsiteX220" fmla="*/ 4594837 w 7467663"/>
              <a:gd name="connsiteY220" fmla="*/ 3532274 h 6858000"/>
              <a:gd name="connsiteX221" fmla="*/ 4441737 w 7467663"/>
              <a:gd name="connsiteY221" fmla="*/ 3399734 h 6858000"/>
              <a:gd name="connsiteX222" fmla="*/ 5425834 w 7467663"/>
              <a:gd name="connsiteY222" fmla="*/ 3162785 h 6858000"/>
              <a:gd name="connsiteX223" fmla="*/ 5401644 w 7467663"/>
              <a:gd name="connsiteY223" fmla="*/ 3617847 h 6858000"/>
              <a:gd name="connsiteX224" fmla="*/ 5467256 w 7467663"/>
              <a:gd name="connsiteY224" fmla="*/ 4175494 h 6858000"/>
              <a:gd name="connsiteX225" fmla="*/ 5448069 w 7467663"/>
              <a:gd name="connsiteY225" fmla="*/ 3567554 h 6858000"/>
              <a:gd name="connsiteX226" fmla="*/ 5425834 w 7467663"/>
              <a:gd name="connsiteY226" fmla="*/ 3162785 h 6858000"/>
              <a:gd name="connsiteX227" fmla="*/ 1318687 w 7467663"/>
              <a:gd name="connsiteY227" fmla="*/ 3113840 h 6858000"/>
              <a:gd name="connsiteX228" fmla="*/ 1066793 w 7467663"/>
              <a:gd name="connsiteY228" fmla="*/ 3212171 h 6858000"/>
              <a:gd name="connsiteX229" fmla="*/ 993319 w 7467663"/>
              <a:gd name="connsiteY229" fmla="*/ 3247648 h 6858000"/>
              <a:gd name="connsiteX230" fmla="*/ 853081 w 7467663"/>
              <a:gd name="connsiteY230" fmla="*/ 3312410 h 6858000"/>
              <a:gd name="connsiteX231" fmla="*/ 805957 w 7467663"/>
              <a:gd name="connsiteY231" fmla="*/ 3330443 h 6858000"/>
              <a:gd name="connsiteX232" fmla="*/ 1318687 w 7467663"/>
              <a:gd name="connsiteY232" fmla="*/ 3113840 h 6858000"/>
              <a:gd name="connsiteX233" fmla="*/ 5453702 w 7467663"/>
              <a:gd name="connsiteY233" fmla="*/ 3090882 h 6858000"/>
              <a:gd name="connsiteX234" fmla="*/ 5480135 w 7467663"/>
              <a:gd name="connsiteY234" fmla="*/ 3565802 h 6858000"/>
              <a:gd name="connsiteX235" fmla="*/ 5499023 w 7467663"/>
              <a:gd name="connsiteY235" fmla="*/ 4166310 h 6858000"/>
              <a:gd name="connsiteX236" fmla="*/ 5547022 w 7467663"/>
              <a:gd name="connsiteY236" fmla="*/ 3607838 h 6858000"/>
              <a:gd name="connsiteX237" fmla="*/ 5515964 w 7467663"/>
              <a:gd name="connsiteY237" fmla="*/ 3378541 h 6858000"/>
              <a:gd name="connsiteX238" fmla="*/ 5453702 w 7467663"/>
              <a:gd name="connsiteY238" fmla="*/ 3090882 h 6858000"/>
              <a:gd name="connsiteX239" fmla="*/ 1238695 w 7467663"/>
              <a:gd name="connsiteY239" fmla="*/ 3076820 h 6858000"/>
              <a:gd name="connsiteX240" fmla="*/ 716371 w 7467663"/>
              <a:gd name="connsiteY240" fmla="*/ 3293249 h 6858000"/>
              <a:gd name="connsiteX241" fmla="*/ 579522 w 7467663"/>
              <a:gd name="connsiteY241" fmla="*/ 3371759 h 6858000"/>
              <a:gd name="connsiteX242" fmla="*/ 600288 w 7467663"/>
              <a:gd name="connsiteY242" fmla="*/ 3365555 h 6858000"/>
              <a:gd name="connsiteX243" fmla="*/ 840692 w 7467663"/>
              <a:gd name="connsiteY243" fmla="*/ 3284921 h 6858000"/>
              <a:gd name="connsiteX244" fmla="*/ 979248 w 7467663"/>
              <a:gd name="connsiteY244" fmla="*/ 3221003 h 6858000"/>
              <a:gd name="connsiteX245" fmla="*/ 1053282 w 7467663"/>
              <a:gd name="connsiteY245" fmla="*/ 3185247 h 6858000"/>
              <a:gd name="connsiteX246" fmla="*/ 1320603 w 7467663"/>
              <a:gd name="connsiteY246" fmla="*/ 3081281 h 6858000"/>
              <a:gd name="connsiteX247" fmla="*/ 1238695 w 7467663"/>
              <a:gd name="connsiteY247" fmla="*/ 3076820 h 6858000"/>
              <a:gd name="connsiteX248" fmla="*/ 5425627 w 7467663"/>
              <a:gd name="connsiteY248" fmla="*/ 2954192 h 6858000"/>
              <a:gd name="connsiteX249" fmla="*/ 5470770 w 7467663"/>
              <a:gd name="connsiteY249" fmla="*/ 3005435 h 6858000"/>
              <a:gd name="connsiteX250" fmla="*/ 5519779 w 7467663"/>
              <a:gd name="connsiteY250" fmla="*/ 4359223 h 6858000"/>
              <a:gd name="connsiteX251" fmla="*/ 5520293 w 7467663"/>
              <a:gd name="connsiteY251" fmla="*/ 4360602 h 6858000"/>
              <a:gd name="connsiteX252" fmla="*/ 5767221 w 7467663"/>
              <a:gd name="connsiteY252" fmla="*/ 4665564 h 6858000"/>
              <a:gd name="connsiteX253" fmla="*/ 6937169 w 7467663"/>
              <a:gd name="connsiteY253" fmla="*/ 4815941 h 6858000"/>
              <a:gd name="connsiteX254" fmla="*/ 6953922 w 7467663"/>
              <a:gd name="connsiteY254" fmla="*/ 4890068 h 6858000"/>
              <a:gd name="connsiteX255" fmla="*/ 6071359 w 7467663"/>
              <a:gd name="connsiteY255" fmla="*/ 4770770 h 6858000"/>
              <a:gd name="connsiteX256" fmla="*/ 6038839 w 7467663"/>
              <a:gd name="connsiteY256" fmla="*/ 4764474 h 6858000"/>
              <a:gd name="connsiteX257" fmla="*/ 6038706 w 7467663"/>
              <a:gd name="connsiteY257" fmla="*/ 4763847 h 6858000"/>
              <a:gd name="connsiteX258" fmla="*/ 6037784 w 7467663"/>
              <a:gd name="connsiteY258" fmla="*/ 4764270 h 6858000"/>
              <a:gd name="connsiteX259" fmla="*/ 6038839 w 7467663"/>
              <a:gd name="connsiteY259" fmla="*/ 4764474 h 6858000"/>
              <a:gd name="connsiteX260" fmla="*/ 6040338 w 7467663"/>
              <a:gd name="connsiteY260" fmla="*/ 4771418 h 6858000"/>
              <a:gd name="connsiteX261" fmla="*/ 6024488 w 7467663"/>
              <a:gd name="connsiteY261" fmla="*/ 4809903 h 6858000"/>
              <a:gd name="connsiteX262" fmla="*/ 5599771 w 7467663"/>
              <a:gd name="connsiteY262" fmla="*/ 5509652 h 6858000"/>
              <a:gd name="connsiteX263" fmla="*/ 5548843 w 7467663"/>
              <a:gd name="connsiteY263" fmla="*/ 5563845 h 6858000"/>
              <a:gd name="connsiteX264" fmla="*/ 5940952 w 7467663"/>
              <a:gd name="connsiteY264" fmla="*/ 6250028 h 6858000"/>
              <a:gd name="connsiteX265" fmla="*/ 6043441 w 7467663"/>
              <a:gd name="connsiteY265" fmla="*/ 6665847 h 6858000"/>
              <a:gd name="connsiteX266" fmla="*/ 6093432 w 7467663"/>
              <a:gd name="connsiteY266" fmla="*/ 6858000 h 6858000"/>
              <a:gd name="connsiteX267" fmla="*/ 6034344 w 7467663"/>
              <a:gd name="connsiteY267" fmla="*/ 6858000 h 6858000"/>
              <a:gd name="connsiteX268" fmla="*/ 6026679 w 7467663"/>
              <a:gd name="connsiteY268" fmla="*/ 6836959 h 6858000"/>
              <a:gd name="connsiteX269" fmla="*/ 5800441 w 7467663"/>
              <a:gd name="connsiteY269" fmla="*/ 6335286 h 6858000"/>
              <a:gd name="connsiteX270" fmla="*/ 5526562 w 7467663"/>
              <a:gd name="connsiteY270" fmla="*/ 5705388 h 6858000"/>
              <a:gd name="connsiteX271" fmla="*/ 5519640 w 7467663"/>
              <a:gd name="connsiteY271" fmla="*/ 5683774 h 6858000"/>
              <a:gd name="connsiteX272" fmla="*/ 5844559 w 7467663"/>
              <a:gd name="connsiteY272" fmla="*/ 6553349 h 6858000"/>
              <a:gd name="connsiteX273" fmla="*/ 5975994 w 7467663"/>
              <a:gd name="connsiteY273" fmla="*/ 6858000 h 6858000"/>
              <a:gd name="connsiteX274" fmla="*/ 5898547 w 7467663"/>
              <a:gd name="connsiteY274" fmla="*/ 6858000 h 6858000"/>
              <a:gd name="connsiteX275" fmla="*/ 5682041 w 7467663"/>
              <a:gd name="connsiteY275" fmla="*/ 6355860 h 6858000"/>
              <a:gd name="connsiteX276" fmla="*/ 5461758 w 7467663"/>
              <a:gd name="connsiteY276" fmla="*/ 5820220 h 6858000"/>
              <a:gd name="connsiteX277" fmla="*/ 5237282 w 7467663"/>
              <a:gd name="connsiteY277" fmla="*/ 6579086 h 6858000"/>
              <a:gd name="connsiteX278" fmla="*/ 5115009 w 7467663"/>
              <a:gd name="connsiteY278" fmla="*/ 6858000 h 6858000"/>
              <a:gd name="connsiteX279" fmla="*/ 5028074 w 7467663"/>
              <a:gd name="connsiteY279" fmla="*/ 6858000 h 6858000"/>
              <a:gd name="connsiteX280" fmla="*/ 5079508 w 7467663"/>
              <a:gd name="connsiteY280" fmla="*/ 6749074 h 6858000"/>
              <a:gd name="connsiteX281" fmla="*/ 5371846 w 7467663"/>
              <a:gd name="connsiteY281" fmla="*/ 5924413 h 6858000"/>
              <a:gd name="connsiteX282" fmla="*/ 5270512 w 7467663"/>
              <a:gd name="connsiteY282" fmla="*/ 6138975 h 6858000"/>
              <a:gd name="connsiteX283" fmla="*/ 5062409 w 7467663"/>
              <a:gd name="connsiteY283" fmla="*/ 6653544 h 6858000"/>
              <a:gd name="connsiteX284" fmla="*/ 5036628 w 7467663"/>
              <a:gd name="connsiteY284" fmla="*/ 6754247 h 6858000"/>
              <a:gd name="connsiteX285" fmla="*/ 5009112 w 7467663"/>
              <a:gd name="connsiteY285" fmla="*/ 6858000 h 6858000"/>
              <a:gd name="connsiteX286" fmla="*/ 4976679 w 7467663"/>
              <a:gd name="connsiteY286" fmla="*/ 6858000 h 6858000"/>
              <a:gd name="connsiteX287" fmla="*/ 5006537 w 7467663"/>
              <a:gd name="connsiteY287" fmla="*/ 6747068 h 6858000"/>
              <a:gd name="connsiteX288" fmla="*/ 5032723 w 7467663"/>
              <a:gd name="connsiteY288" fmla="*/ 6644957 h 6858000"/>
              <a:gd name="connsiteX289" fmla="*/ 5242949 w 7467663"/>
              <a:gd name="connsiteY289" fmla="*/ 6125175 h 6858000"/>
              <a:gd name="connsiteX290" fmla="*/ 5286321 w 7467663"/>
              <a:gd name="connsiteY290" fmla="*/ 6033555 h 6858000"/>
              <a:gd name="connsiteX291" fmla="*/ 5008210 w 7467663"/>
              <a:gd name="connsiteY291" fmla="*/ 6649194 h 6858000"/>
              <a:gd name="connsiteX292" fmla="*/ 4986321 w 7467663"/>
              <a:gd name="connsiteY292" fmla="*/ 6765687 h 6858000"/>
              <a:gd name="connsiteX293" fmla="*/ 4973474 w 7467663"/>
              <a:gd name="connsiteY293" fmla="*/ 6858000 h 6858000"/>
              <a:gd name="connsiteX294" fmla="*/ 4907178 w 7467663"/>
              <a:gd name="connsiteY294" fmla="*/ 6858000 h 6858000"/>
              <a:gd name="connsiteX295" fmla="*/ 4910810 w 7467663"/>
              <a:gd name="connsiteY295" fmla="*/ 6829660 h 6858000"/>
              <a:gd name="connsiteX296" fmla="*/ 4987461 w 7467663"/>
              <a:gd name="connsiteY296" fmla="*/ 6432994 h 6858000"/>
              <a:gd name="connsiteX297" fmla="*/ 5179262 w 7467663"/>
              <a:gd name="connsiteY297" fmla="*/ 6035044 h 6858000"/>
              <a:gd name="connsiteX298" fmla="*/ 4689678 w 7467663"/>
              <a:gd name="connsiteY298" fmla="*/ 6440241 h 6858000"/>
              <a:gd name="connsiteX299" fmla="*/ 4477543 w 7467663"/>
              <a:gd name="connsiteY299" fmla="*/ 6674836 h 6858000"/>
              <a:gd name="connsiteX300" fmla="*/ 4329957 w 7467663"/>
              <a:gd name="connsiteY300" fmla="*/ 6858000 h 6858000"/>
              <a:gd name="connsiteX301" fmla="*/ 4218595 w 7467663"/>
              <a:gd name="connsiteY301" fmla="*/ 6858000 h 6858000"/>
              <a:gd name="connsiteX302" fmla="*/ 4368888 w 7467663"/>
              <a:gd name="connsiteY302" fmla="*/ 6668412 h 6858000"/>
              <a:gd name="connsiteX303" fmla="*/ 4563091 w 7467663"/>
              <a:gd name="connsiteY303" fmla="*/ 6442508 h 6858000"/>
              <a:gd name="connsiteX304" fmla="*/ 5387324 w 7467663"/>
              <a:gd name="connsiteY304" fmla="*/ 5705830 h 6858000"/>
              <a:gd name="connsiteX305" fmla="*/ 5073620 w 7467663"/>
              <a:gd name="connsiteY305" fmla="*/ 5955437 h 6858000"/>
              <a:gd name="connsiteX306" fmla="*/ 4689789 w 7467663"/>
              <a:gd name="connsiteY306" fmla="*/ 6268382 h 6858000"/>
              <a:gd name="connsiteX307" fmla="*/ 4418722 w 7467663"/>
              <a:gd name="connsiteY307" fmla="*/ 6570886 h 6858000"/>
              <a:gd name="connsiteX308" fmla="*/ 4214944 w 7467663"/>
              <a:gd name="connsiteY308" fmla="*/ 6858000 h 6858000"/>
              <a:gd name="connsiteX309" fmla="*/ 4177898 w 7467663"/>
              <a:gd name="connsiteY309" fmla="*/ 6858000 h 6858000"/>
              <a:gd name="connsiteX310" fmla="*/ 4391597 w 7467663"/>
              <a:gd name="connsiteY310" fmla="*/ 6556370 h 6858000"/>
              <a:gd name="connsiteX311" fmla="*/ 4668889 w 7467663"/>
              <a:gd name="connsiteY311" fmla="*/ 6246399 h 6858000"/>
              <a:gd name="connsiteX312" fmla="*/ 5055427 w 7467663"/>
              <a:gd name="connsiteY312" fmla="*/ 5931476 h 6858000"/>
              <a:gd name="connsiteX313" fmla="*/ 5371814 w 7467663"/>
              <a:gd name="connsiteY313" fmla="*/ 5678975 h 6858000"/>
              <a:gd name="connsiteX314" fmla="*/ 4987918 w 7467663"/>
              <a:gd name="connsiteY314" fmla="*/ 5838701 h 6858000"/>
              <a:gd name="connsiteX315" fmla="*/ 4317146 w 7467663"/>
              <a:gd name="connsiteY315" fmla="*/ 6587716 h 6858000"/>
              <a:gd name="connsiteX316" fmla="*/ 4171627 w 7467663"/>
              <a:gd name="connsiteY316" fmla="*/ 6858000 h 6858000"/>
              <a:gd name="connsiteX317" fmla="*/ 4081585 w 7467663"/>
              <a:gd name="connsiteY317" fmla="*/ 6858000 h 6858000"/>
              <a:gd name="connsiteX318" fmla="*/ 4238603 w 7467663"/>
              <a:gd name="connsiteY318" fmla="*/ 6559341 h 6858000"/>
              <a:gd name="connsiteX319" fmla="*/ 4778333 w 7467663"/>
              <a:gd name="connsiteY319" fmla="*/ 5873626 h 6858000"/>
              <a:gd name="connsiteX320" fmla="*/ 5414185 w 7467663"/>
              <a:gd name="connsiteY320" fmla="*/ 5573882 h 6858000"/>
              <a:gd name="connsiteX321" fmla="*/ 5959648 w 7467663"/>
              <a:gd name="connsiteY321" fmla="*/ 4760797 h 6858000"/>
              <a:gd name="connsiteX322" fmla="*/ 5355019 w 7467663"/>
              <a:gd name="connsiteY322" fmla="*/ 4734672 h 6858000"/>
              <a:gd name="connsiteX323" fmla="*/ 5083565 w 7467663"/>
              <a:gd name="connsiteY323" fmla="*/ 5179121 h 6858000"/>
              <a:gd name="connsiteX324" fmla="*/ 4713577 w 7467663"/>
              <a:gd name="connsiteY324" fmla="*/ 5616803 h 6858000"/>
              <a:gd name="connsiteX325" fmla="*/ 3989559 w 7467663"/>
              <a:gd name="connsiteY325" fmla="*/ 6145945 h 6858000"/>
              <a:gd name="connsiteX326" fmla="*/ 3939824 w 7467663"/>
              <a:gd name="connsiteY326" fmla="*/ 6066900 h 6858000"/>
              <a:gd name="connsiteX327" fmla="*/ 4584537 w 7467663"/>
              <a:gd name="connsiteY327" fmla="*/ 5324826 h 6858000"/>
              <a:gd name="connsiteX328" fmla="*/ 5037105 w 7467663"/>
              <a:gd name="connsiteY328" fmla="*/ 5088765 h 6858000"/>
              <a:gd name="connsiteX329" fmla="*/ 5039930 w 7467663"/>
              <a:gd name="connsiteY329" fmla="*/ 5089585 h 6858000"/>
              <a:gd name="connsiteX330" fmla="*/ 5263764 w 7467663"/>
              <a:gd name="connsiteY330" fmla="*/ 4735525 h 6858000"/>
              <a:gd name="connsiteX331" fmla="*/ 4086300 w 7467663"/>
              <a:gd name="connsiteY331" fmla="*/ 4884599 h 6858000"/>
              <a:gd name="connsiteX332" fmla="*/ 4085485 w 7467663"/>
              <a:gd name="connsiteY332" fmla="*/ 4899070 h 6858000"/>
              <a:gd name="connsiteX333" fmla="*/ 3871915 w 7467663"/>
              <a:gd name="connsiteY333" fmla="*/ 5253645 h 6858000"/>
              <a:gd name="connsiteX334" fmla="*/ 3799374 w 7467663"/>
              <a:gd name="connsiteY334" fmla="*/ 5466127 h 6858000"/>
              <a:gd name="connsiteX335" fmla="*/ 3498850 w 7467663"/>
              <a:gd name="connsiteY335" fmla="*/ 6661888 h 6858000"/>
              <a:gd name="connsiteX336" fmla="*/ 3399216 w 7467663"/>
              <a:gd name="connsiteY336" fmla="*/ 6858000 h 6858000"/>
              <a:gd name="connsiteX337" fmla="*/ 3303688 w 7467663"/>
              <a:gd name="connsiteY337" fmla="*/ 6858000 h 6858000"/>
              <a:gd name="connsiteX338" fmla="*/ 3391774 w 7467663"/>
              <a:gd name="connsiteY338" fmla="*/ 6697181 h 6858000"/>
              <a:gd name="connsiteX339" fmla="*/ 3735540 w 7467663"/>
              <a:gd name="connsiteY339" fmla="*/ 5546923 h 6858000"/>
              <a:gd name="connsiteX340" fmla="*/ 3729438 w 7467663"/>
              <a:gd name="connsiteY340" fmla="*/ 5569058 h 6858000"/>
              <a:gd name="connsiteX341" fmla="*/ 3707782 w 7467663"/>
              <a:gd name="connsiteY341" fmla="*/ 5644908 h 6858000"/>
              <a:gd name="connsiteX342" fmla="*/ 3583827 w 7467663"/>
              <a:gd name="connsiteY342" fmla="*/ 6039215 h 6858000"/>
              <a:gd name="connsiteX343" fmla="*/ 3547861 w 7467663"/>
              <a:gd name="connsiteY343" fmla="*/ 6129609 h 6858000"/>
              <a:gd name="connsiteX344" fmla="*/ 3490905 w 7467663"/>
              <a:gd name="connsiteY344" fmla="*/ 6277660 h 6858000"/>
              <a:gd name="connsiteX345" fmla="*/ 3455859 w 7467663"/>
              <a:gd name="connsiteY345" fmla="*/ 6391301 h 6858000"/>
              <a:gd name="connsiteX346" fmla="*/ 3429112 w 7467663"/>
              <a:gd name="connsiteY346" fmla="*/ 6479469 h 6858000"/>
              <a:gd name="connsiteX347" fmla="*/ 3304862 w 7467663"/>
              <a:gd name="connsiteY347" fmla="*/ 6796476 h 6858000"/>
              <a:gd name="connsiteX348" fmla="*/ 3276071 w 7467663"/>
              <a:gd name="connsiteY348" fmla="*/ 6858000 h 6858000"/>
              <a:gd name="connsiteX349" fmla="*/ 3240805 w 7467663"/>
              <a:gd name="connsiteY349" fmla="*/ 6858000 h 6858000"/>
              <a:gd name="connsiteX350" fmla="*/ 3275917 w 7467663"/>
              <a:gd name="connsiteY350" fmla="*/ 6783192 h 6858000"/>
              <a:gd name="connsiteX351" fmla="*/ 3399358 w 7467663"/>
              <a:gd name="connsiteY351" fmla="*/ 6469011 h 6858000"/>
              <a:gd name="connsiteX352" fmla="*/ 3425650 w 7467663"/>
              <a:gd name="connsiteY352" fmla="*/ 6381333 h 6858000"/>
              <a:gd name="connsiteX353" fmla="*/ 3460661 w 7467663"/>
              <a:gd name="connsiteY353" fmla="*/ 6266763 h 6858000"/>
              <a:gd name="connsiteX354" fmla="*/ 3518021 w 7467663"/>
              <a:gd name="connsiteY354" fmla="*/ 6117298 h 6858000"/>
              <a:gd name="connsiteX355" fmla="*/ 3554035 w 7467663"/>
              <a:gd name="connsiteY355" fmla="*/ 6027832 h 6858000"/>
              <a:gd name="connsiteX356" fmla="*/ 3677174 w 7467663"/>
              <a:gd name="connsiteY356" fmla="*/ 5636351 h 6858000"/>
              <a:gd name="connsiteX357" fmla="*/ 3698819 w 7467663"/>
              <a:gd name="connsiteY357" fmla="*/ 5560503 h 6858000"/>
              <a:gd name="connsiteX358" fmla="*/ 3702094 w 7467663"/>
              <a:gd name="connsiteY358" fmla="*/ 5549194 h 6858000"/>
              <a:gd name="connsiteX359" fmla="*/ 3398355 w 7467663"/>
              <a:gd name="connsiteY359" fmla="*/ 6094603 h 6858000"/>
              <a:gd name="connsiteX360" fmla="*/ 3193941 w 7467663"/>
              <a:gd name="connsiteY360" fmla="*/ 6798775 h 6858000"/>
              <a:gd name="connsiteX361" fmla="*/ 3184140 w 7467663"/>
              <a:gd name="connsiteY361" fmla="*/ 6858000 h 6858000"/>
              <a:gd name="connsiteX362" fmla="*/ 3099978 w 7467663"/>
              <a:gd name="connsiteY362" fmla="*/ 6858000 h 6858000"/>
              <a:gd name="connsiteX363" fmla="*/ 3101556 w 7467663"/>
              <a:gd name="connsiteY363" fmla="*/ 6843337 h 6858000"/>
              <a:gd name="connsiteX364" fmla="*/ 3370162 w 7467663"/>
              <a:gd name="connsiteY364" fmla="*/ 5785550 h 6858000"/>
              <a:gd name="connsiteX365" fmla="*/ 3746477 w 7467663"/>
              <a:gd name="connsiteY365" fmla="*/ 5377889 h 6858000"/>
              <a:gd name="connsiteX366" fmla="*/ 3863399 w 7467663"/>
              <a:gd name="connsiteY366" fmla="*/ 5087257 h 6858000"/>
              <a:gd name="connsiteX367" fmla="*/ 3968712 w 7467663"/>
              <a:gd name="connsiteY367" fmla="*/ 4913989 h 6858000"/>
              <a:gd name="connsiteX368" fmla="*/ 2792390 w 7467663"/>
              <a:gd name="connsiteY368" fmla="*/ 5382974 h 6858000"/>
              <a:gd name="connsiteX369" fmla="*/ 2714982 w 7467663"/>
              <a:gd name="connsiteY369" fmla="*/ 5427051 h 6858000"/>
              <a:gd name="connsiteX370" fmla="*/ 2813361 w 7467663"/>
              <a:gd name="connsiteY370" fmla="*/ 6023912 h 6858000"/>
              <a:gd name="connsiteX371" fmla="*/ 2688430 w 7467663"/>
              <a:gd name="connsiteY371" fmla="*/ 6801564 h 6858000"/>
              <a:gd name="connsiteX372" fmla="*/ 2629626 w 7467663"/>
              <a:gd name="connsiteY372" fmla="*/ 6763394 h 6858000"/>
              <a:gd name="connsiteX373" fmla="*/ 2565328 w 7467663"/>
              <a:gd name="connsiteY373" fmla="*/ 5516399 h 6858000"/>
              <a:gd name="connsiteX374" fmla="*/ 1922999 w 7467663"/>
              <a:gd name="connsiteY374" fmla="*/ 5980343 h 6858000"/>
              <a:gd name="connsiteX375" fmla="*/ 1950261 w 7467663"/>
              <a:gd name="connsiteY375" fmla="*/ 6405858 h 6858000"/>
              <a:gd name="connsiteX376" fmla="*/ 2365554 w 7467663"/>
              <a:gd name="connsiteY376" fmla="*/ 6759107 h 6858000"/>
              <a:gd name="connsiteX377" fmla="*/ 2424142 w 7467663"/>
              <a:gd name="connsiteY377" fmla="*/ 6858000 h 6858000"/>
              <a:gd name="connsiteX378" fmla="*/ 2395994 w 7467663"/>
              <a:gd name="connsiteY378" fmla="*/ 6858000 h 6858000"/>
              <a:gd name="connsiteX379" fmla="*/ 2392863 w 7467663"/>
              <a:gd name="connsiteY379" fmla="*/ 6852964 h 6858000"/>
              <a:gd name="connsiteX380" fmla="*/ 2017589 w 7467663"/>
              <a:gd name="connsiteY380" fmla="*/ 6493982 h 6858000"/>
              <a:gd name="connsiteX381" fmla="*/ 2147336 w 7467663"/>
              <a:gd name="connsiteY381" fmla="*/ 6594052 h 6858000"/>
              <a:gd name="connsiteX382" fmla="*/ 2207047 w 7467663"/>
              <a:gd name="connsiteY382" fmla="*/ 6654540 h 6858000"/>
              <a:gd name="connsiteX383" fmla="*/ 2299106 w 7467663"/>
              <a:gd name="connsiteY383" fmla="*/ 6778931 h 6858000"/>
              <a:gd name="connsiteX384" fmla="*/ 2314430 w 7467663"/>
              <a:gd name="connsiteY384" fmla="*/ 6801144 h 6858000"/>
              <a:gd name="connsiteX385" fmla="*/ 2352406 w 7467663"/>
              <a:gd name="connsiteY385" fmla="*/ 6858000 h 6858000"/>
              <a:gd name="connsiteX386" fmla="*/ 2314492 w 7467663"/>
              <a:gd name="connsiteY386" fmla="*/ 6858000 h 6858000"/>
              <a:gd name="connsiteX387" fmla="*/ 2288095 w 7467663"/>
              <a:gd name="connsiteY387" fmla="*/ 6818030 h 6858000"/>
              <a:gd name="connsiteX388" fmla="*/ 2272768 w 7467663"/>
              <a:gd name="connsiteY388" fmla="*/ 6795822 h 6858000"/>
              <a:gd name="connsiteX389" fmla="*/ 2182715 w 7467663"/>
              <a:gd name="connsiteY389" fmla="*/ 6675071 h 6858000"/>
              <a:gd name="connsiteX390" fmla="*/ 2032061 w 7467663"/>
              <a:gd name="connsiteY390" fmla="*/ 6541380 h 6858000"/>
              <a:gd name="connsiteX391" fmla="*/ 2257220 w 7467663"/>
              <a:gd name="connsiteY391" fmla="*/ 6826257 h 6858000"/>
              <a:gd name="connsiteX392" fmla="*/ 2281324 w 7467663"/>
              <a:gd name="connsiteY392" fmla="*/ 6858000 h 6858000"/>
              <a:gd name="connsiteX393" fmla="*/ 2242860 w 7467663"/>
              <a:gd name="connsiteY393" fmla="*/ 6858000 h 6858000"/>
              <a:gd name="connsiteX394" fmla="*/ 2232818 w 7467663"/>
              <a:gd name="connsiteY394" fmla="*/ 6844926 h 6858000"/>
              <a:gd name="connsiteX395" fmla="*/ 1990172 w 7467663"/>
              <a:gd name="connsiteY395" fmla="*/ 6542121 h 6858000"/>
              <a:gd name="connsiteX396" fmla="*/ 2124090 w 7467663"/>
              <a:gd name="connsiteY396" fmla="*/ 6761017 h 6858000"/>
              <a:gd name="connsiteX397" fmla="*/ 2200380 w 7467663"/>
              <a:gd name="connsiteY397" fmla="*/ 6858000 h 6858000"/>
              <a:gd name="connsiteX398" fmla="*/ 2147507 w 7467663"/>
              <a:gd name="connsiteY398" fmla="*/ 6858000 h 6858000"/>
              <a:gd name="connsiteX399" fmla="*/ 2070668 w 7467663"/>
              <a:gd name="connsiteY399" fmla="*/ 6761520 h 6858000"/>
              <a:gd name="connsiteX400" fmla="*/ 1975142 w 7467663"/>
              <a:gd name="connsiteY400" fmla="*/ 6585570 h 6858000"/>
              <a:gd name="connsiteX401" fmla="*/ 2050035 w 7467663"/>
              <a:gd name="connsiteY401" fmla="*/ 6813345 h 6858000"/>
              <a:gd name="connsiteX402" fmla="*/ 2063025 w 7467663"/>
              <a:gd name="connsiteY402" fmla="*/ 6858000 h 6858000"/>
              <a:gd name="connsiteX403" fmla="*/ 2021675 w 7467663"/>
              <a:gd name="connsiteY403" fmla="*/ 6858000 h 6858000"/>
              <a:gd name="connsiteX404" fmla="*/ 2019308 w 7467663"/>
              <a:gd name="connsiteY404" fmla="*/ 6847118 h 6858000"/>
              <a:gd name="connsiteX405" fmla="*/ 1938835 w 7467663"/>
              <a:gd name="connsiteY405" fmla="*/ 6551160 h 6858000"/>
              <a:gd name="connsiteX406" fmla="*/ 1953230 w 7467663"/>
              <a:gd name="connsiteY406" fmla="*/ 6759699 h 6858000"/>
              <a:gd name="connsiteX407" fmla="*/ 1956763 w 7467663"/>
              <a:gd name="connsiteY407" fmla="*/ 6778191 h 6858000"/>
              <a:gd name="connsiteX408" fmla="*/ 1967925 w 7467663"/>
              <a:gd name="connsiteY408" fmla="*/ 6858000 h 6858000"/>
              <a:gd name="connsiteX409" fmla="*/ 1936622 w 7467663"/>
              <a:gd name="connsiteY409" fmla="*/ 6858000 h 6858000"/>
              <a:gd name="connsiteX410" fmla="*/ 1926261 w 7467663"/>
              <a:gd name="connsiteY410" fmla="*/ 6784064 h 6858000"/>
              <a:gd name="connsiteX411" fmla="*/ 1922724 w 7467663"/>
              <a:gd name="connsiteY411" fmla="*/ 6765577 h 6858000"/>
              <a:gd name="connsiteX412" fmla="*/ 1904650 w 7467663"/>
              <a:gd name="connsiteY412" fmla="*/ 6639616 h 6858000"/>
              <a:gd name="connsiteX413" fmla="*/ 1885273 w 7467663"/>
              <a:gd name="connsiteY413" fmla="*/ 6858000 h 6858000"/>
              <a:gd name="connsiteX414" fmla="*/ 1854363 w 7467663"/>
              <a:gd name="connsiteY414" fmla="*/ 6858000 h 6858000"/>
              <a:gd name="connsiteX415" fmla="*/ 1880391 w 7467663"/>
              <a:gd name="connsiteY415" fmla="*/ 6603796 h 6858000"/>
              <a:gd name="connsiteX416" fmla="*/ 1818273 w 7467663"/>
              <a:gd name="connsiteY416" fmla="*/ 6715729 h 6858000"/>
              <a:gd name="connsiteX417" fmla="*/ 1794691 w 7467663"/>
              <a:gd name="connsiteY417" fmla="*/ 6843239 h 6858000"/>
              <a:gd name="connsiteX418" fmla="*/ 1794914 w 7467663"/>
              <a:gd name="connsiteY418" fmla="*/ 6858000 h 6858000"/>
              <a:gd name="connsiteX419" fmla="*/ 1746128 w 7467663"/>
              <a:gd name="connsiteY419" fmla="*/ 6858000 h 6858000"/>
              <a:gd name="connsiteX420" fmla="*/ 1753934 w 7467663"/>
              <a:gd name="connsiteY420" fmla="*/ 6724796 h 6858000"/>
              <a:gd name="connsiteX421" fmla="*/ 1792053 w 7467663"/>
              <a:gd name="connsiteY421" fmla="*/ 6572396 h 6858000"/>
              <a:gd name="connsiteX422" fmla="*/ 1862248 w 7467663"/>
              <a:gd name="connsiteY422" fmla="*/ 6266397 h 6858000"/>
              <a:gd name="connsiteX423" fmla="*/ 1862250 w 7467663"/>
              <a:gd name="connsiteY423" fmla="*/ 6033531 h 6858000"/>
              <a:gd name="connsiteX424" fmla="*/ 1211999 w 7467663"/>
              <a:gd name="connsiteY424" fmla="*/ 6683610 h 6858000"/>
              <a:gd name="connsiteX425" fmla="*/ 1213266 w 7467663"/>
              <a:gd name="connsiteY425" fmla="*/ 6691947 h 6858000"/>
              <a:gd name="connsiteX426" fmla="*/ 1203370 w 7467663"/>
              <a:gd name="connsiteY426" fmla="*/ 6850676 h 6858000"/>
              <a:gd name="connsiteX427" fmla="*/ 1203671 w 7467663"/>
              <a:gd name="connsiteY427" fmla="*/ 6858000 h 6858000"/>
              <a:gd name="connsiteX428" fmla="*/ 1143180 w 7467663"/>
              <a:gd name="connsiteY428" fmla="*/ 6858000 h 6858000"/>
              <a:gd name="connsiteX429" fmla="*/ 1142176 w 7467663"/>
              <a:gd name="connsiteY429" fmla="*/ 6766045 h 6858000"/>
              <a:gd name="connsiteX430" fmla="*/ 1067484 w 7467663"/>
              <a:gd name="connsiteY430" fmla="*/ 6858000 h 6858000"/>
              <a:gd name="connsiteX431" fmla="*/ 953928 w 7467663"/>
              <a:gd name="connsiteY431" fmla="*/ 6858000 h 6858000"/>
              <a:gd name="connsiteX432" fmla="*/ 959715 w 7467663"/>
              <a:gd name="connsiteY432" fmla="*/ 6850185 h 6858000"/>
              <a:gd name="connsiteX433" fmla="*/ 1483788 w 7467663"/>
              <a:gd name="connsiteY433" fmla="*/ 6259174 h 6858000"/>
              <a:gd name="connsiteX434" fmla="*/ 1100671 w 7467663"/>
              <a:gd name="connsiteY434" fmla="*/ 6252137 h 6858000"/>
              <a:gd name="connsiteX435" fmla="*/ 1090144 w 7467663"/>
              <a:gd name="connsiteY435" fmla="*/ 6256748 h 6858000"/>
              <a:gd name="connsiteX436" fmla="*/ 1095872 w 7467663"/>
              <a:gd name="connsiteY436" fmla="*/ 6271892 h 6858000"/>
              <a:gd name="connsiteX437" fmla="*/ 262785 w 7467663"/>
              <a:gd name="connsiteY437" fmla="*/ 6845450 h 6858000"/>
              <a:gd name="connsiteX438" fmla="*/ 209968 w 7467663"/>
              <a:gd name="connsiteY438" fmla="*/ 6770713 h 6858000"/>
              <a:gd name="connsiteX439" fmla="*/ 873460 w 7467663"/>
              <a:gd name="connsiteY439" fmla="*/ 6253768 h 6858000"/>
              <a:gd name="connsiteX440" fmla="*/ 192686 w 7467663"/>
              <a:gd name="connsiteY440" fmla="*/ 5849257 h 6858000"/>
              <a:gd name="connsiteX441" fmla="*/ 4696 w 7467663"/>
              <a:gd name="connsiteY441" fmla="*/ 5697668 h 6858000"/>
              <a:gd name="connsiteX442" fmla="*/ 0 w 7467663"/>
              <a:gd name="connsiteY442" fmla="*/ 5689984 h 6858000"/>
              <a:gd name="connsiteX443" fmla="*/ 0 w 7467663"/>
              <a:gd name="connsiteY443" fmla="*/ 5513472 h 6858000"/>
              <a:gd name="connsiteX444" fmla="*/ 174101 w 7467663"/>
              <a:gd name="connsiteY444" fmla="*/ 5620277 h 6858000"/>
              <a:gd name="connsiteX445" fmla="*/ 891800 w 7467663"/>
              <a:gd name="connsiteY445" fmla="*/ 6036935 h 6858000"/>
              <a:gd name="connsiteX446" fmla="*/ 1072219 w 7467663"/>
              <a:gd name="connsiteY446" fmla="*/ 6169443 h 6858000"/>
              <a:gd name="connsiteX447" fmla="*/ 1074117 w 7467663"/>
              <a:gd name="connsiteY447" fmla="*/ 6170301 h 6858000"/>
              <a:gd name="connsiteX448" fmla="*/ 1083114 w 7467663"/>
              <a:gd name="connsiteY448" fmla="*/ 6174131 h 6858000"/>
              <a:gd name="connsiteX449" fmla="*/ 1543010 w 7467663"/>
              <a:gd name="connsiteY449" fmla="*/ 6191140 h 6858000"/>
              <a:gd name="connsiteX450" fmla="*/ 1551080 w 7467663"/>
              <a:gd name="connsiteY450" fmla="*/ 6195006 h 6858000"/>
              <a:gd name="connsiteX451" fmla="*/ 2345443 w 7467663"/>
              <a:gd name="connsiteY451" fmla="*/ 5549882 h 6858000"/>
              <a:gd name="connsiteX452" fmla="*/ 1721499 w 7467663"/>
              <a:gd name="connsiteY452" fmla="*/ 5599969 h 6858000"/>
              <a:gd name="connsiteX453" fmla="*/ 767716 w 7467663"/>
              <a:gd name="connsiteY453" fmla="*/ 5472768 h 6858000"/>
              <a:gd name="connsiteX454" fmla="*/ 722147 w 7467663"/>
              <a:gd name="connsiteY454" fmla="*/ 5393091 h 6858000"/>
              <a:gd name="connsiteX455" fmla="*/ 1485552 w 7467663"/>
              <a:gd name="connsiteY455" fmla="*/ 5313202 h 6858000"/>
              <a:gd name="connsiteX456" fmla="*/ 2143004 w 7467663"/>
              <a:gd name="connsiteY456" fmla="*/ 5402420 h 6858000"/>
              <a:gd name="connsiteX457" fmla="*/ 1933391 w 7467663"/>
              <a:gd name="connsiteY457" fmla="*/ 5156971 h 6858000"/>
              <a:gd name="connsiteX458" fmla="*/ 1827118 w 7467663"/>
              <a:gd name="connsiteY458" fmla="*/ 4968410 h 6858000"/>
              <a:gd name="connsiteX459" fmla="*/ 1837349 w 7467663"/>
              <a:gd name="connsiteY459" fmla="*/ 4956357 h 6858000"/>
              <a:gd name="connsiteX460" fmla="*/ 2162835 w 7467663"/>
              <a:gd name="connsiteY460" fmla="*/ 5187853 h 6858000"/>
              <a:gd name="connsiteX461" fmla="*/ 2257167 w 7467663"/>
              <a:gd name="connsiteY461" fmla="*/ 5462123 h 6858000"/>
              <a:gd name="connsiteX462" fmla="*/ 2261598 w 7467663"/>
              <a:gd name="connsiteY462" fmla="*/ 5467998 h 6858000"/>
              <a:gd name="connsiteX463" fmla="*/ 2437177 w 7467663"/>
              <a:gd name="connsiteY463" fmla="*/ 5479608 h 6858000"/>
              <a:gd name="connsiteX464" fmla="*/ 2445247 w 7467663"/>
              <a:gd name="connsiteY464" fmla="*/ 5483476 h 6858000"/>
              <a:gd name="connsiteX465" fmla="*/ 2743626 w 7467663"/>
              <a:gd name="connsiteY465" fmla="*/ 5304819 h 6858000"/>
              <a:gd name="connsiteX466" fmla="*/ 3048102 w 7467663"/>
              <a:gd name="connsiteY466" fmla="*/ 5150595 h 6858000"/>
              <a:gd name="connsiteX467" fmla="*/ 1799414 w 7467663"/>
              <a:gd name="connsiteY467" fmla="*/ 4694732 h 6858000"/>
              <a:gd name="connsiteX468" fmla="*/ 1771735 w 7467663"/>
              <a:gd name="connsiteY468" fmla="*/ 4619929 h 6858000"/>
              <a:gd name="connsiteX469" fmla="*/ 3104273 w 7467663"/>
              <a:gd name="connsiteY469" fmla="*/ 5076159 h 6858000"/>
              <a:gd name="connsiteX470" fmla="*/ 3113245 w 7467663"/>
              <a:gd name="connsiteY470" fmla="*/ 5090705 h 6858000"/>
              <a:gd name="connsiteX471" fmla="*/ 3126294 w 7467663"/>
              <a:gd name="connsiteY471" fmla="*/ 5114400 h 6858000"/>
              <a:gd name="connsiteX472" fmla="*/ 3937433 w 7467663"/>
              <a:gd name="connsiteY472" fmla="*/ 4830473 h 6858000"/>
              <a:gd name="connsiteX473" fmla="*/ 3590475 w 7467663"/>
              <a:gd name="connsiteY473" fmla="*/ 4597974 h 6858000"/>
              <a:gd name="connsiteX474" fmla="*/ 3100264 w 7467663"/>
              <a:gd name="connsiteY474" fmla="*/ 4579845 h 6858000"/>
              <a:gd name="connsiteX475" fmla="*/ 2183576 w 7467663"/>
              <a:gd name="connsiteY475" fmla="*/ 4227150 h 6858000"/>
              <a:gd name="connsiteX476" fmla="*/ 2151029 w 7467663"/>
              <a:gd name="connsiteY476" fmla="*/ 4146947 h 6858000"/>
              <a:gd name="connsiteX477" fmla="*/ 3563434 w 7467663"/>
              <a:gd name="connsiteY477" fmla="*/ 4469115 h 6858000"/>
              <a:gd name="connsiteX478" fmla="*/ 3177952 w 7467663"/>
              <a:gd name="connsiteY478" fmla="*/ 3657386 h 6858000"/>
              <a:gd name="connsiteX479" fmla="*/ 3189263 w 7467663"/>
              <a:gd name="connsiteY479" fmla="*/ 3625726 h 6858000"/>
              <a:gd name="connsiteX480" fmla="*/ 3560912 w 7467663"/>
              <a:gd name="connsiteY480" fmla="*/ 4079863 h 6858000"/>
              <a:gd name="connsiteX481" fmla="*/ 3626636 w 7467663"/>
              <a:gd name="connsiteY481" fmla="*/ 4512230 h 6858000"/>
              <a:gd name="connsiteX482" fmla="*/ 3653088 w 7467663"/>
              <a:gd name="connsiteY482" fmla="*/ 4521417 h 6858000"/>
              <a:gd name="connsiteX483" fmla="*/ 3988128 w 7467663"/>
              <a:gd name="connsiteY483" fmla="*/ 4817267 h 6858000"/>
              <a:gd name="connsiteX484" fmla="*/ 4830582 w 7467663"/>
              <a:gd name="connsiteY484" fmla="*/ 4676000 h 6858000"/>
              <a:gd name="connsiteX485" fmla="*/ 4830100 w 7467663"/>
              <a:gd name="connsiteY485" fmla="*/ 4675554 h 6858000"/>
              <a:gd name="connsiteX486" fmla="*/ 4036318 w 7467663"/>
              <a:gd name="connsiteY486" fmla="*/ 4147013 h 6858000"/>
              <a:gd name="connsiteX487" fmla="*/ 3432098 w 7467663"/>
              <a:gd name="connsiteY487" fmla="*/ 3537312 h 6858000"/>
              <a:gd name="connsiteX488" fmla="*/ 3446761 w 7467663"/>
              <a:gd name="connsiteY488" fmla="*/ 3461278 h 6858000"/>
              <a:gd name="connsiteX489" fmla="*/ 4419733 w 7467663"/>
              <a:gd name="connsiteY489" fmla="*/ 3963555 h 6858000"/>
              <a:gd name="connsiteX490" fmla="*/ 4781371 w 7467663"/>
              <a:gd name="connsiteY490" fmla="*/ 4458604 h 6858000"/>
              <a:gd name="connsiteX491" fmla="*/ 4780440 w 7467663"/>
              <a:gd name="connsiteY491" fmla="*/ 4470290 h 6858000"/>
              <a:gd name="connsiteX492" fmla="*/ 4898954 w 7467663"/>
              <a:gd name="connsiteY492" fmla="*/ 4662092 h 6858000"/>
              <a:gd name="connsiteX493" fmla="*/ 4900699 w 7467663"/>
              <a:gd name="connsiteY493" fmla="*/ 4670867 h 6858000"/>
              <a:gd name="connsiteX494" fmla="*/ 5714511 w 7467663"/>
              <a:gd name="connsiteY494" fmla="*/ 4663483 h 6858000"/>
              <a:gd name="connsiteX495" fmla="*/ 5464793 w 7467663"/>
              <a:gd name="connsiteY495" fmla="*/ 4393556 h 6858000"/>
              <a:gd name="connsiteX496" fmla="*/ 5461897 w 7467663"/>
              <a:gd name="connsiteY496" fmla="*/ 4390879 h 6858000"/>
              <a:gd name="connsiteX497" fmla="*/ 4294126 w 7467663"/>
              <a:gd name="connsiteY497" fmla="*/ 3303048 h 6858000"/>
              <a:gd name="connsiteX498" fmla="*/ 4305321 w 7467663"/>
              <a:gd name="connsiteY498" fmla="*/ 3256953 h 6858000"/>
              <a:gd name="connsiteX499" fmla="*/ 4949299 w 7467663"/>
              <a:gd name="connsiteY499" fmla="*/ 3766336 h 6858000"/>
              <a:gd name="connsiteX500" fmla="*/ 5291452 w 7467663"/>
              <a:gd name="connsiteY500" fmla="*/ 4076801 h 6858000"/>
              <a:gd name="connsiteX501" fmla="*/ 5434998 w 7467663"/>
              <a:gd name="connsiteY501" fmla="*/ 4254100 h 6858000"/>
              <a:gd name="connsiteX502" fmla="*/ 5351015 w 7467663"/>
              <a:gd name="connsiteY502" fmla="*/ 3760989 h 6858000"/>
              <a:gd name="connsiteX503" fmla="*/ 5413780 w 7467663"/>
              <a:gd name="connsiteY503" fmla="*/ 2966265 h 6858000"/>
              <a:gd name="connsiteX504" fmla="*/ 5425627 w 7467663"/>
              <a:gd name="connsiteY504" fmla="*/ 2954192 h 6858000"/>
              <a:gd name="connsiteX505" fmla="*/ 6604735 w 7467663"/>
              <a:gd name="connsiteY505" fmla="*/ 2041381 h 6858000"/>
              <a:gd name="connsiteX506" fmla="*/ 7204487 w 7467663"/>
              <a:gd name="connsiteY506" fmla="*/ 2742112 h 6858000"/>
              <a:gd name="connsiteX507" fmla="*/ 7131592 w 7467663"/>
              <a:gd name="connsiteY507" fmla="*/ 2672096 h 6858000"/>
              <a:gd name="connsiteX508" fmla="*/ 6996344 w 7467663"/>
              <a:gd name="connsiteY508" fmla="*/ 2518310 h 6858000"/>
              <a:gd name="connsiteX509" fmla="*/ 6735495 w 7467663"/>
              <a:gd name="connsiteY509" fmla="*/ 2196890 h 6858000"/>
              <a:gd name="connsiteX510" fmla="*/ 6721901 w 7467663"/>
              <a:gd name="connsiteY510" fmla="*/ 2179274 h 6858000"/>
              <a:gd name="connsiteX511" fmla="*/ 6604735 w 7467663"/>
              <a:gd name="connsiteY511" fmla="*/ 2041381 h 6858000"/>
              <a:gd name="connsiteX512" fmla="*/ 6591670 w 7467663"/>
              <a:gd name="connsiteY512" fmla="*/ 1988277 h 6858000"/>
              <a:gd name="connsiteX513" fmla="*/ 6747349 w 7467663"/>
              <a:gd name="connsiteY513" fmla="*/ 2160069 h 6858000"/>
              <a:gd name="connsiteX514" fmla="*/ 6760943 w 7467663"/>
              <a:gd name="connsiteY514" fmla="*/ 2177686 h 6858000"/>
              <a:gd name="connsiteX515" fmla="*/ 7021065 w 7467663"/>
              <a:gd name="connsiteY515" fmla="*/ 2498102 h 6858000"/>
              <a:gd name="connsiteX516" fmla="*/ 7155223 w 7467663"/>
              <a:gd name="connsiteY516" fmla="*/ 2650386 h 6858000"/>
              <a:gd name="connsiteX517" fmla="*/ 7203167 w 7467663"/>
              <a:gd name="connsiteY517" fmla="*/ 2697288 h 6858000"/>
              <a:gd name="connsiteX518" fmla="*/ 6937703 w 7467663"/>
              <a:gd name="connsiteY518" fmla="*/ 2321981 h 6858000"/>
              <a:gd name="connsiteX519" fmla="*/ 6591670 w 7467663"/>
              <a:gd name="connsiteY519" fmla="*/ 1988277 h 6858000"/>
              <a:gd name="connsiteX520" fmla="*/ 5798671 w 7467663"/>
              <a:gd name="connsiteY520" fmla="*/ 1981601 h 6858000"/>
              <a:gd name="connsiteX521" fmla="*/ 5754709 w 7467663"/>
              <a:gd name="connsiteY521" fmla="*/ 2071454 h 6858000"/>
              <a:gd name="connsiteX522" fmla="*/ 5763044 w 7467663"/>
              <a:gd name="connsiteY522" fmla="*/ 2842206 h 6858000"/>
              <a:gd name="connsiteX523" fmla="*/ 5764974 w 7467663"/>
              <a:gd name="connsiteY523" fmla="*/ 2799609 h 6858000"/>
              <a:gd name="connsiteX524" fmla="*/ 5767665 w 7467663"/>
              <a:gd name="connsiteY524" fmla="*/ 2666409 h 6858000"/>
              <a:gd name="connsiteX525" fmla="*/ 5763055 w 7467663"/>
              <a:gd name="connsiteY525" fmla="*/ 2579705 h 6858000"/>
              <a:gd name="connsiteX526" fmla="*/ 5758079 w 7467663"/>
              <a:gd name="connsiteY526" fmla="*/ 2492508 h 6858000"/>
              <a:gd name="connsiteX527" fmla="*/ 5779325 w 7467663"/>
              <a:gd name="connsiteY527" fmla="*/ 2197069 h 6858000"/>
              <a:gd name="connsiteX528" fmla="*/ 5798671 w 7467663"/>
              <a:gd name="connsiteY528" fmla="*/ 1981601 h 6858000"/>
              <a:gd name="connsiteX529" fmla="*/ 5829202 w 7467663"/>
              <a:gd name="connsiteY529" fmla="*/ 1971679 h 6858000"/>
              <a:gd name="connsiteX530" fmla="*/ 5809558 w 7467663"/>
              <a:gd name="connsiteY530" fmla="*/ 2198043 h 6858000"/>
              <a:gd name="connsiteX531" fmla="*/ 5788653 w 7467663"/>
              <a:gd name="connsiteY531" fmla="*/ 2489430 h 6858000"/>
              <a:gd name="connsiteX532" fmla="*/ 5793439 w 7467663"/>
              <a:gd name="connsiteY532" fmla="*/ 2575235 h 6858000"/>
              <a:gd name="connsiteX533" fmla="*/ 5796837 w 7467663"/>
              <a:gd name="connsiteY533" fmla="*/ 2637633 h 6858000"/>
              <a:gd name="connsiteX534" fmla="*/ 5818614 w 7467663"/>
              <a:gd name="connsiteY534" fmla="*/ 2473055 h 6858000"/>
              <a:gd name="connsiteX535" fmla="*/ 5829202 w 7467663"/>
              <a:gd name="connsiteY535" fmla="*/ 1971679 h 6858000"/>
              <a:gd name="connsiteX536" fmla="*/ 5911389 w 7467663"/>
              <a:gd name="connsiteY536" fmla="*/ 1898371 h 6858000"/>
              <a:gd name="connsiteX537" fmla="*/ 6237627 w 7467663"/>
              <a:gd name="connsiteY537" fmla="*/ 2231921 h 6858000"/>
              <a:gd name="connsiteX538" fmla="*/ 5911389 w 7467663"/>
              <a:gd name="connsiteY538" fmla="*/ 1898371 h 6858000"/>
              <a:gd name="connsiteX539" fmla="*/ 6944437 w 7467663"/>
              <a:gd name="connsiteY539" fmla="*/ 1575402 h 6858000"/>
              <a:gd name="connsiteX540" fmla="*/ 6304730 w 7467663"/>
              <a:gd name="connsiteY540" fmla="*/ 1766654 h 6858000"/>
              <a:gd name="connsiteX541" fmla="*/ 6944437 w 7467663"/>
              <a:gd name="connsiteY541" fmla="*/ 1575402 h 6858000"/>
              <a:gd name="connsiteX542" fmla="*/ 7019523 w 7467663"/>
              <a:gd name="connsiteY542" fmla="*/ 1519450 h 6858000"/>
              <a:gd name="connsiteX543" fmla="*/ 6298091 w 7467663"/>
              <a:gd name="connsiteY543" fmla="*/ 1737122 h 6858000"/>
              <a:gd name="connsiteX544" fmla="*/ 7019523 w 7467663"/>
              <a:gd name="connsiteY544" fmla="*/ 1519450 h 6858000"/>
              <a:gd name="connsiteX545" fmla="*/ 2399523 w 7467663"/>
              <a:gd name="connsiteY545" fmla="*/ 1428234 h 6858000"/>
              <a:gd name="connsiteX546" fmla="*/ 2224982 w 7467663"/>
              <a:gd name="connsiteY546" fmla="*/ 1826201 h 6858000"/>
              <a:gd name="connsiteX547" fmla="*/ 2096099 w 7467663"/>
              <a:gd name="connsiteY547" fmla="*/ 2345900 h 6858000"/>
              <a:gd name="connsiteX548" fmla="*/ 2283317 w 7467663"/>
              <a:gd name="connsiteY548" fmla="*/ 1796925 h 6858000"/>
              <a:gd name="connsiteX549" fmla="*/ 2399523 w 7467663"/>
              <a:gd name="connsiteY549" fmla="*/ 1428234 h 6858000"/>
              <a:gd name="connsiteX550" fmla="*/ 2448558 w 7467663"/>
              <a:gd name="connsiteY550" fmla="*/ 1373435 h 6858000"/>
              <a:gd name="connsiteX551" fmla="*/ 2312521 w 7467663"/>
              <a:gd name="connsiteY551" fmla="*/ 1806140 h 6858000"/>
              <a:gd name="connsiteX552" fmla="*/ 2127533 w 7467663"/>
              <a:gd name="connsiteY552" fmla="*/ 2348380 h 6858000"/>
              <a:gd name="connsiteX553" fmla="*/ 2358080 w 7467663"/>
              <a:gd name="connsiteY553" fmla="*/ 1866134 h 6858000"/>
              <a:gd name="connsiteX554" fmla="*/ 2407436 w 7467663"/>
              <a:gd name="connsiteY554" fmla="*/ 1651070 h 6858000"/>
              <a:gd name="connsiteX555" fmla="*/ 2448558 w 7467663"/>
              <a:gd name="connsiteY555" fmla="*/ 1373435 h 6858000"/>
              <a:gd name="connsiteX556" fmla="*/ 278707 w 7467663"/>
              <a:gd name="connsiteY556" fmla="*/ 1352270 h 6858000"/>
              <a:gd name="connsiteX557" fmla="*/ 321570 w 7467663"/>
              <a:gd name="connsiteY557" fmla="*/ 1861610 h 6858000"/>
              <a:gd name="connsiteX558" fmla="*/ 294281 w 7467663"/>
              <a:gd name="connsiteY558" fmla="*/ 1440658 h 6858000"/>
              <a:gd name="connsiteX559" fmla="*/ 278707 w 7467663"/>
              <a:gd name="connsiteY559" fmla="*/ 1352270 h 6858000"/>
              <a:gd name="connsiteX560" fmla="*/ 1423821 w 7467663"/>
              <a:gd name="connsiteY560" fmla="*/ 1351958 h 6858000"/>
              <a:gd name="connsiteX561" fmla="*/ 1638521 w 7467663"/>
              <a:gd name="connsiteY561" fmla="*/ 1908470 h 6858000"/>
              <a:gd name="connsiteX562" fmla="*/ 1754199 w 7467663"/>
              <a:gd name="connsiteY562" fmla="*/ 2149284 h 6858000"/>
              <a:gd name="connsiteX563" fmla="*/ 1908359 w 7467663"/>
              <a:gd name="connsiteY563" fmla="*/ 2364988 h 6858000"/>
              <a:gd name="connsiteX564" fmla="*/ 1647661 w 7467663"/>
              <a:gd name="connsiteY564" fmla="*/ 1825945 h 6858000"/>
              <a:gd name="connsiteX565" fmla="*/ 1423821 w 7467663"/>
              <a:gd name="connsiteY565" fmla="*/ 1351958 h 6858000"/>
              <a:gd name="connsiteX566" fmla="*/ 1431890 w 7467663"/>
              <a:gd name="connsiteY566" fmla="*/ 1306475 h 6858000"/>
              <a:gd name="connsiteX567" fmla="*/ 1507597 w 7467663"/>
              <a:gd name="connsiteY567" fmla="*/ 1446132 h 6858000"/>
              <a:gd name="connsiteX568" fmla="*/ 1674586 w 7467663"/>
              <a:gd name="connsiteY568" fmla="*/ 1813832 h 6858000"/>
              <a:gd name="connsiteX569" fmla="*/ 1815950 w 7467663"/>
              <a:gd name="connsiteY569" fmla="*/ 2128564 h 6858000"/>
              <a:gd name="connsiteX570" fmla="*/ 1984242 w 7467663"/>
              <a:gd name="connsiteY570" fmla="*/ 2430829 h 6858000"/>
              <a:gd name="connsiteX571" fmla="*/ 2014023 w 7467663"/>
              <a:gd name="connsiteY571" fmla="*/ 2450995 h 6858000"/>
              <a:gd name="connsiteX572" fmla="*/ 1747337 w 7467663"/>
              <a:gd name="connsiteY572" fmla="*/ 1855264 h 6858000"/>
              <a:gd name="connsiteX573" fmla="*/ 1533749 w 7467663"/>
              <a:gd name="connsiteY573" fmla="*/ 1478656 h 6858000"/>
              <a:gd name="connsiteX574" fmla="*/ 1431890 w 7467663"/>
              <a:gd name="connsiteY574" fmla="*/ 1306475 h 6858000"/>
              <a:gd name="connsiteX575" fmla="*/ 5052692 w 7467663"/>
              <a:gd name="connsiteY575" fmla="*/ 1292994 h 6858000"/>
              <a:gd name="connsiteX576" fmla="*/ 5200661 w 7467663"/>
              <a:gd name="connsiteY576" fmla="*/ 1635186 h 6858000"/>
              <a:gd name="connsiteX577" fmla="*/ 5297138 w 7467663"/>
              <a:gd name="connsiteY577" fmla="*/ 1906351 h 6858000"/>
              <a:gd name="connsiteX578" fmla="*/ 5052692 w 7467663"/>
              <a:gd name="connsiteY578" fmla="*/ 1292994 h 6858000"/>
              <a:gd name="connsiteX579" fmla="*/ 5009948 w 7467663"/>
              <a:gd name="connsiteY579" fmla="*/ 1273619 h 6858000"/>
              <a:gd name="connsiteX580" fmla="*/ 5121777 w 7467663"/>
              <a:gd name="connsiteY580" fmla="*/ 1654213 h 6858000"/>
              <a:gd name="connsiteX581" fmla="*/ 5293545 w 7467663"/>
              <a:gd name="connsiteY581" fmla="*/ 2072247 h 6858000"/>
              <a:gd name="connsiteX582" fmla="*/ 5294042 w 7467663"/>
              <a:gd name="connsiteY582" fmla="*/ 2065019 h 6858000"/>
              <a:gd name="connsiteX583" fmla="*/ 5171936 w 7467663"/>
              <a:gd name="connsiteY583" fmla="*/ 1647613 h 6858000"/>
              <a:gd name="connsiteX584" fmla="*/ 5009948 w 7467663"/>
              <a:gd name="connsiteY584" fmla="*/ 1273619 h 6858000"/>
              <a:gd name="connsiteX585" fmla="*/ 655236 w 7467663"/>
              <a:gd name="connsiteY585" fmla="*/ 1268632 h 6858000"/>
              <a:gd name="connsiteX586" fmla="*/ 839521 w 7467663"/>
              <a:gd name="connsiteY586" fmla="*/ 1685315 h 6858000"/>
              <a:gd name="connsiteX587" fmla="*/ 1109416 w 7467663"/>
              <a:gd name="connsiteY587" fmla="*/ 2061663 h 6858000"/>
              <a:gd name="connsiteX588" fmla="*/ 1298300 w 7467663"/>
              <a:gd name="connsiteY588" fmla="*/ 2247742 h 6858000"/>
              <a:gd name="connsiteX589" fmla="*/ 1125871 w 7467663"/>
              <a:gd name="connsiteY589" fmla="*/ 1989513 h 6858000"/>
              <a:gd name="connsiteX590" fmla="*/ 981574 w 7467663"/>
              <a:gd name="connsiteY590" fmla="*/ 1783157 h 6858000"/>
              <a:gd name="connsiteX591" fmla="*/ 922198 w 7467663"/>
              <a:gd name="connsiteY591" fmla="*/ 1677437 h 6858000"/>
              <a:gd name="connsiteX592" fmla="*/ 869293 w 7467663"/>
              <a:gd name="connsiteY592" fmla="*/ 1583214 h 6858000"/>
              <a:gd name="connsiteX593" fmla="*/ 751431 w 7467663"/>
              <a:gd name="connsiteY593" fmla="*/ 1405731 h 6858000"/>
              <a:gd name="connsiteX594" fmla="*/ 655236 w 7467663"/>
              <a:gd name="connsiteY594" fmla="*/ 1268632 h 6858000"/>
              <a:gd name="connsiteX595" fmla="*/ 6516292 w 7467663"/>
              <a:gd name="connsiteY595" fmla="*/ 1263064 h 6858000"/>
              <a:gd name="connsiteX596" fmla="*/ 5736320 w 7467663"/>
              <a:gd name="connsiteY596" fmla="*/ 1501803 h 6858000"/>
              <a:gd name="connsiteX597" fmla="*/ 6516292 w 7467663"/>
              <a:gd name="connsiteY597" fmla="*/ 1263064 h 6858000"/>
              <a:gd name="connsiteX598" fmla="*/ 291466 w 7467663"/>
              <a:gd name="connsiteY598" fmla="*/ 1250369 h 6858000"/>
              <a:gd name="connsiteX599" fmla="*/ 323180 w 7467663"/>
              <a:gd name="connsiteY599" fmla="*/ 1435283 h 6858000"/>
              <a:gd name="connsiteX600" fmla="*/ 349381 w 7467663"/>
              <a:gd name="connsiteY600" fmla="*/ 1875041 h 6858000"/>
              <a:gd name="connsiteX601" fmla="*/ 374363 w 7467663"/>
              <a:gd name="connsiteY601" fmla="*/ 1506494 h 6858000"/>
              <a:gd name="connsiteX602" fmla="*/ 302168 w 7467663"/>
              <a:gd name="connsiteY602" fmla="*/ 1274495 h 6858000"/>
              <a:gd name="connsiteX603" fmla="*/ 291466 w 7467663"/>
              <a:gd name="connsiteY603" fmla="*/ 1250369 h 6858000"/>
              <a:gd name="connsiteX604" fmla="*/ 678222 w 7467663"/>
              <a:gd name="connsiteY604" fmla="*/ 1248670 h 6858000"/>
              <a:gd name="connsiteX605" fmla="*/ 775536 w 7467663"/>
              <a:gd name="connsiteY605" fmla="*/ 1388015 h 6858000"/>
              <a:gd name="connsiteX606" fmla="*/ 894529 w 7467663"/>
              <a:gd name="connsiteY606" fmla="*/ 1567739 h 6858000"/>
              <a:gd name="connsiteX607" fmla="*/ 948000 w 7467663"/>
              <a:gd name="connsiteY607" fmla="*/ 1663088 h 6858000"/>
              <a:gd name="connsiteX608" fmla="*/ 1006812 w 7467663"/>
              <a:gd name="connsiteY608" fmla="*/ 1767683 h 6858000"/>
              <a:gd name="connsiteX609" fmla="*/ 1149133 w 7467663"/>
              <a:gd name="connsiteY609" fmla="*/ 1971513 h 6858000"/>
              <a:gd name="connsiteX610" fmla="*/ 1333952 w 7467663"/>
              <a:gd name="connsiteY610" fmla="*/ 2251620 h 6858000"/>
              <a:gd name="connsiteX611" fmla="*/ 1337329 w 7467663"/>
              <a:gd name="connsiteY611" fmla="*/ 2258350 h 6858000"/>
              <a:gd name="connsiteX612" fmla="*/ 1014726 w 7467663"/>
              <a:gd name="connsiteY612" fmla="*/ 1615556 h 6858000"/>
              <a:gd name="connsiteX613" fmla="*/ 678222 w 7467663"/>
              <a:gd name="connsiteY613" fmla="*/ 1248670 h 6858000"/>
              <a:gd name="connsiteX614" fmla="*/ 6691602 w 7467663"/>
              <a:gd name="connsiteY614" fmla="*/ 1140573 h 6858000"/>
              <a:gd name="connsiteX615" fmla="*/ 6571100 w 7467663"/>
              <a:gd name="connsiteY615" fmla="*/ 1183662 h 6858000"/>
              <a:gd name="connsiteX616" fmla="*/ 6241687 w 7467663"/>
              <a:gd name="connsiteY616" fmla="*/ 1257600 h 6858000"/>
              <a:gd name="connsiteX617" fmla="*/ 5693009 w 7467663"/>
              <a:gd name="connsiteY617" fmla="*/ 1478256 h 6858000"/>
              <a:gd name="connsiteX618" fmla="*/ 6548420 w 7467663"/>
              <a:gd name="connsiteY618" fmla="*/ 1214599 h 6858000"/>
              <a:gd name="connsiteX619" fmla="*/ 6605473 w 7467663"/>
              <a:gd name="connsiteY619" fmla="*/ 1184686 h 6858000"/>
              <a:gd name="connsiteX620" fmla="*/ 6691602 w 7467663"/>
              <a:gd name="connsiteY620" fmla="*/ 1140573 h 6858000"/>
              <a:gd name="connsiteX621" fmla="*/ 4002475 w 7467663"/>
              <a:gd name="connsiteY621" fmla="*/ 1037802 h 6858000"/>
              <a:gd name="connsiteX622" fmla="*/ 4000324 w 7467663"/>
              <a:gd name="connsiteY622" fmla="*/ 1039362 h 6858000"/>
              <a:gd name="connsiteX623" fmla="*/ 4002862 w 7467663"/>
              <a:gd name="connsiteY623" fmla="*/ 1042866 h 6858000"/>
              <a:gd name="connsiteX624" fmla="*/ 4002475 w 7467663"/>
              <a:gd name="connsiteY624" fmla="*/ 1037802 h 6858000"/>
              <a:gd name="connsiteX625" fmla="*/ 506322 w 7467663"/>
              <a:gd name="connsiteY625" fmla="*/ 1020997 h 6858000"/>
              <a:gd name="connsiteX626" fmla="*/ 533068 w 7467663"/>
              <a:gd name="connsiteY626" fmla="*/ 1029409 h 6858000"/>
              <a:gd name="connsiteX627" fmla="*/ 1232525 w 7467663"/>
              <a:gd name="connsiteY627" fmla="*/ 1804675 h 6858000"/>
              <a:gd name="connsiteX628" fmla="*/ 1388858 w 7467663"/>
              <a:gd name="connsiteY628" fmla="*/ 2368011 h 6858000"/>
              <a:gd name="connsiteX629" fmla="*/ 1384098 w 7467663"/>
              <a:gd name="connsiteY629" fmla="*/ 2378125 h 6858000"/>
              <a:gd name="connsiteX630" fmla="*/ 1425393 w 7467663"/>
              <a:gd name="connsiteY630" fmla="*/ 2589124 h 6858000"/>
              <a:gd name="connsiteX631" fmla="*/ 1424001 w 7467663"/>
              <a:gd name="connsiteY631" fmla="*/ 2597541 h 6858000"/>
              <a:gd name="connsiteX632" fmla="*/ 2152729 w 7467663"/>
              <a:gd name="connsiteY632" fmla="*/ 2864487 h 6858000"/>
              <a:gd name="connsiteX633" fmla="*/ 2020609 w 7467663"/>
              <a:gd name="connsiteY633" fmla="*/ 2539671 h 6858000"/>
              <a:gd name="connsiteX634" fmla="*/ 2018920 w 7467663"/>
              <a:gd name="connsiteY634" fmla="*/ 2536309 h 6858000"/>
              <a:gd name="connsiteX635" fmla="*/ 1342441 w 7467663"/>
              <a:gd name="connsiteY635" fmla="*/ 1173017 h 6858000"/>
              <a:gd name="connsiteX636" fmla="*/ 1367925 w 7467663"/>
              <a:gd name="connsiteY636" fmla="*/ 1135648 h 6858000"/>
              <a:gd name="connsiteX637" fmla="*/ 1771401 w 7467663"/>
              <a:gd name="connsiteY637" fmla="*/ 1806673 h 6858000"/>
              <a:gd name="connsiteX638" fmla="*/ 1972385 w 7467663"/>
              <a:gd name="connsiteY638" fmla="*/ 2198735 h 6858000"/>
              <a:gd name="connsiteX639" fmla="*/ 2040892 w 7467663"/>
              <a:gd name="connsiteY639" fmla="*/ 2405205 h 6858000"/>
              <a:gd name="connsiteX640" fmla="*/ 2131689 w 7467663"/>
              <a:gd name="connsiteY640" fmla="*/ 1936926 h 6858000"/>
              <a:gd name="connsiteX641" fmla="*/ 2454820 w 7467663"/>
              <a:gd name="connsiteY641" fmla="*/ 1248808 h 6858000"/>
              <a:gd name="connsiteX642" fmla="*/ 2492512 w 7467663"/>
              <a:gd name="connsiteY642" fmla="*/ 1302920 h 6858000"/>
              <a:gd name="connsiteX643" fmla="*/ 2081216 w 7467663"/>
              <a:gd name="connsiteY643" fmla="*/ 2527513 h 6858000"/>
              <a:gd name="connsiteX644" fmla="*/ 2081211 w 7467663"/>
              <a:gd name="connsiteY644" fmla="*/ 2528916 h 6858000"/>
              <a:gd name="connsiteX645" fmla="*/ 2199067 w 7467663"/>
              <a:gd name="connsiteY645" fmla="*/ 2884061 h 6858000"/>
              <a:gd name="connsiteX646" fmla="*/ 3192586 w 7467663"/>
              <a:gd name="connsiteY646" fmla="*/ 3411496 h 6858000"/>
              <a:gd name="connsiteX647" fmla="*/ 3182620 w 7467663"/>
              <a:gd name="connsiteY647" fmla="*/ 3483279 h 6858000"/>
              <a:gd name="connsiteX648" fmla="*/ 2435119 w 7467663"/>
              <a:gd name="connsiteY648" fmla="*/ 3080173 h 6858000"/>
              <a:gd name="connsiteX649" fmla="*/ 2410152 w 7467663"/>
              <a:gd name="connsiteY649" fmla="*/ 3063751 h 6858000"/>
              <a:gd name="connsiteX650" fmla="*/ 2408099 w 7467663"/>
              <a:gd name="connsiteY650" fmla="*/ 3064403 h 6858000"/>
              <a:gd name="connsiteX651" fmla="*/ 2407218 w 7467663"/>
              <a:gd name="connsiteY651" fmla="*/ 3070324 h 6858000"/>
              <a:gd name="connsiteX652" fmla="*/ 2380138 w 7467663"/>
              <a:gd name="connsiteY652" fmla="*/ 3099341 h 6858000"/>
              <a:gd name="connsiteX653" fmla="*/ 1765923 w 7467663"/>
              <a:gd name="connsiteY653" fmla="*/ 3581043 h 6858000"/>
              <a:gd name="connsiteX654" fmla="*/ 1702258 w 7467663"/>
              <a:gd name="connsiteY654" fmla="*/ 3612286 h 6858000"/>
              <a:gd name="connsiteX655" fmla="*/ 1538370 w 7467663"/>
              <a:gd name="connsiteY655" fmla="*/ 3811804 h 6858000"/>
              <a:gd name="connsiteX656" fmla="*/ 542867 w 7467663"/>
              <a:gd name="connsiteY656" fmla="*/ 4944092 h 6858000"/>
              <a:gd name="connsiteX657" fmla="*/ 515800 w 7467663"/>
              <a:gd name="connsiteY657" fmla="*/ 4862180 h 6858000"/>
              <a:gd name="connsiteX658" fmla="*/ 909145 w 7467663"/>
              <a:gd name="connsiteY658" fmla="*/ 4199225 h 6858000"/>
              <a:gd name="connsiteX659" fmla="*/ 1214067 w 7467663"/>
              <a:gd name="connsiteY659" fmla="*/ 3908561 h 6858000"/>
              <a:gd name="connsiteX660" fmla="*/ 640967 w 7467663"/>
              <a:gd name="connsiteY660" fmla="*/ 4105601 h 6858000"/>
              <a:gd name="connsiteX661" fmla="*/ 112563 w 7467663"/>
              <a:gd name="connsiteY661" fmla="*/ 4396952 h 6858000"/>
              <a:gd name="connsiteX662" fmla="*/ 0 w 7467663"/>
              <a:gd name="connsiteY662" fmla="*/ 4466006 h 6858000"/>
              <a:gd name="connsiteX663" fmla="*/ 0 w 7467663"/>
              <a:gd name="connsiteY663" fmla="*/ 4233763 h 6858000"/>
              <a:gd name="connsiteX664" fmla="*/ 36881 w 7467663"/>
              <a:gd name="connsiteY664" fmla="*/ 4200118 h 6858000"/>
              <a:gd name="connsiteX665" fmla="*/ 910534 w 7467663"/>
              <a:gd name="connsiteY665" fmla="*/ 3629753 h 6858000"/>
              <a:gd name="connsiteX666" fmla="*/ 1578717 w 7467663"/>
              <a:gd name="connsiteY666" fmla="*/ 3575982 h 6858000"/>
              <a:gd name="connsiteX667" fmla="*/ 2338780 w 7467663"/>
              <a:gd name="connsiteY667" fmla="*/ 3033725 h 6858000"/>
              <a:gd name="connsiteX668" fmla="*/ 1807991 w 7467663"/>
              <a:gd name="connsiteY668" fmla="*/ 2807184 h 6858000"/>
              <a:gd name="connsiteX669" fmla="*/ 1416358 w 7467663"/>
              <a:gd name="connsiteY669" fmla="*/ 3112571 h 6858000"/>
              <a:gd name="connsiteX670" fmla="*/ 939066 w 7467663"/>
              <a:gd name="connsiteY670" fmla="*/ 3378798 h 6858000"/>
              <a:gd name="connsiteX671" fmla="*/ 115099 w 7467663"/>
              <a:gd name="connsiteY671" fmla="*/ 3607650 h 6858000"/>
              <a:gd name="connsiteX672" fmla="*/ 97284 w 7467663"/>
              <a:gd name="connsiteY672" fmla="*/ 3520393 h 6858000"/>
              <a:gd name="connsiteX673" fmla="*/ 922050 w 7467663"/>
              <a:gd name="connsiteY673" fmla="*/ 3074867 h 6858000"/>
              <a:gd name="connsiteX674" fmla="*/ 1405265 w 7467663"/>
              <a:gd name="connsiteY674" fmla="*/ 3016319 h 6858000"/>
              <a:gd name="connsiteX675" fmla="*/ 1407512 w 7467663"/>
              <a:gd name="connsiteY675" fmla="*/ 3018001 h 6858000"/>
              <a:gd name="connsiteX676" fmla="*/ 1726266 w 7467663"/>
              <a:gd name="connsiteY676" fmla="*/ 2777274 h 6858000"/>
              <a:gd name="connsiteX677" fmla="*/ 625390 w 7467663"/>
              <a:gd name="connsiteY677" fmla="*/ 2514541 h 6858000"/>
              <a:gd name="connsiteX678" fmla="*/ 619799 w 7467663"/>
              <a:gd name="connsiteY678" fmla="*/ 2527180 h 6858000"/>
              <a:gd name="connsiteX679" fmla="*/ 310030 w 7467663"/>
              <a:gd name="connsiteY679" fmla="*/ 2771818 h 6858000"/>
              <a:gd name="connsiteX680" fmla="*/ 173877 w 7467663"/>
              <a:gd name="connsiteY680" fmla="*/ 2937056 h 6858000"/>
              <a:gd name="connsiteX681" fmla="*/ 77889 w 7467663"/>
              <a:gd name="connsiteY681" fmla="*/ 3138440 h 6858000"/>
              <a:gd name="connsiteX682" fmla="*/ 0 w 7467663"/>
              <a:gd name="connsiteY682" fmla="*/ 3271395 h 6858000"/>
              <a:gd name="connsiteX683" fmla="*/ 0 w 7467663"/>
              <a:gd name="connsiteY683" fmla="*/ 3153002 h 6858000"/>
              <a:gd name="connsiteX684" fmla="*/ 2386 w 7467663"/>
              <a:gd name="connsiteY684" fmla="*/ 3149203 h 6858000"/>
              <a:gd name="connsiteX685" fmla="*/ 89753 w 7467663"/>
              <a:gd name="connsiteY685" fmla="*/ 2987702 h 6858000"/>
              <a:gd name="connsiteX686" fmla="*/ 76869 w 7467663"/>
              <a:gd name="connsiteY686" fmla="*/ 3005404 h 6858000"/>
              <a:gd name="connsiteX687" fmla="*/ 32049 w 7467663"/>
              <a:gd name="connsiteY687" fmla="*/ 3065814 h 6858000"/>
              <a:gd name="connsiteX688" fmla="*/ 0 w 7467663"/>
              <a:gd name="connsiteY688" fmla="*/ 3108744 h 6858000"/>
              <a:gd name="connsiteX689" fmla="*/ 0 w 7467663"/>
              <a:gd name="connsiteY689" fmla="*/ 3058059 h 6858000"/>
              <a:gd name="connsiteX690" fmla="*/ 7610 w 7467663"/>
              <a:gd name="connsiteY690" fmla="*/ 3047889 h 6858000"/>
              <a:gd name="connsiteX691" fmla="*/ 52419 w 7467663"/>
              <a:gd name="connsiteY691" fmla="*/ 2987479 h 6858000"/>
              <a:gd name="connsiteX692" fmla="*/ 59142 w 7467663"/>
              <a:gd name="connsiteY692" fmla="*/ 2978488 h 6858000"/>
              <a:gd name="connsiteX693" fmla="*/ 0 w 7467663"/>
              <a:gd name="connsiteY693" fmla="*/ 3015334 h 6858000"/>
              <a:gd name="connsiteX694" fmla="*/ 0 w 7467663"/>
              <a:gd name="connsiteY694" fmla="*/ 2914286 h 6858000"/>
              <a:gd name="connsiteX695" fmla="*/ 36383 w 7467663"/>
              <a:gd name="connsiteY695" fmla="*/ 2901128 h 6858000"/>
              <a:gd name="connsiteX696" fmla="*/ 156329 w 7467663"/>
              <a:gd name="connsiteY696" fmla="*/ 2840533 h 6858000"/>
              <a:gd name="connsiteX697" fmla="*/ 358355 w 7467663"/>
              <a:gd name="connsiteY697" fmla="*/ 2620471 h 6858000"/>
              <a:gd name="connsiteX698" fmla="*/ 510577 w 7467663"/>
              <a:gd name="connsiteY698" fmla="*/ 2501244 h 6858000"/>
              <a:gd name="connsiteX699" fmla="*/ 211967 w 7467663"/>
              <a:gd name="connsiteY699" fmla="*/ 2479171 h 6858000"/>
              <a:gd name="connsiteX700" fmla="*/ 0 w 7467663"/>
              <a:gd name="connsiteY700" fmla="*/ 2476398 h 6858000"/>
              <a:gd name="connsiteX701" fmla="*/ 0 w 7467663"/>
              <a:gd name="connsiteY701" fmla="*/ 2389189 h 6858000"/>
              <a:gd name="connsiteX702" fmla="*/ 103062 w 7467663"/>
              <a:gd name="connsiteY702" fmla="*/ 2389518 h 6858000"/>
              <a:gd name="connsiteX703" fmla="*/ 510734 w 7467663"/>
              <a:gd name="connsiteY703" fmla="*/ 2416201 h 6858000"/>
              <a:gd name="connsiteX704" fmla="*/ 279257 w 7467663"/>
              <a:gd name="connsiteY704" fmla="*/ 2092102 h 6858000"/>
              <a:gd name="connsiteX705" fmla="*/ 65265 w 7467663"/>
              <a:gd name="connsiteY705" fmla="*/ 2006049 h 6858000"/>
              <a:gd name="connsiteX706" fmla="*/ 0 w 7467663"/>
              <a:gd name="connsiteY706" fmla="*/ 1982532 h 6858000"/>
              <a:gd name="connsiteX707" fmla="*/ 0 w 7467663"/>
              <a:gd name="connsiteY707" fmla="*/ 1912789 h 6858000"/>
              <a:gd name="connsiteX708" fmla="*/ 97460 w 7467663"/>
              <a:gd name="connsiteY708" fmla="*/ 1953725 h 6858000"/>
              <a:gd name="connsiteX709" fmla="*/ 221272 w 7467663"/>
              <a:gd name="connsiteY709" fmla="*/ 1980766 h 6858000"/>
              <a:gd name="connsiteX710" fmla="*/ 116765 w 7467663"/>
              <a:gd name="connsiteY710" fmla="*/ 1911033 h 6858000"/>
              <a:gd name="connsiteX711" fmla="*/ 16405 w 7467663"/>
              <a:gd name="connsiteY711" fmla="*/ 1803412 h 6858000"/>
              <a:gd name="connsiteX712" fmla="*/ 0 w 7467663"/>
              <a:gd name="connsiteY712" fmla="*/ 1784777 h 6858000"/>
              <a:gd name="connsiteX713" fmla="*/ 0 w 7467663"/>
              <a:gd name="connsiteY713" fmla="*/ 1740082 h 6858000"/>
              <a:gd name="connsiteX714" fmla="*/ 39394 w 7467663"/>
              <a:gd name="connsiteY714" fmla="*/ 1784856 h 6858000"/>
              <a:gd name="connsiteX715" fmla="*/ 135813 w 7467663"/>
              <a:gd name="connsiteY715" fmla="*/ 1888838 h 6858000"/>
              <a:gd name="connsiteX716" fmla="*/ 242575 w 7467663"/>
              <a:gd name="connsiteY716" fmla="*/ 1958841 h 6858000"/>
              <a:gd name="connsiteX717" fmla="*/ 82197 w 7467663"/>
              <a:gd name="connsiteY717" fmla="*/ 1754826 h 6858000"/>
              <a:gd name="connsiteX718" fmla="*/ 0 w 7467663"/>
              <a:gd name="connsiteY718" fmla="*/ 1679650 h 6858000"/>
              <a:gd name="connsiteX719" fmla="*/ 0 w 7467663"/>
              <a:gd name="connsiteY719" fmla="*/ 1602463 h 6858000"/>
              <a:gd name="connsiteX720" fmla="*/ 84689 w 7467663"/>
              <a:gd name="connsiteY720" fmla="*/ 1677442 h 6858000"/>
              <a:gd name="connsiteX721" fmla="*/ 298437 w 7467663"/>
              <a:gd name="connsiteY721" fmla="*/ 1968019 h 6858000"/>
              <a:gd name="connsiteX722" fmla="*/ 227269 w 7467663"/>
              <a:gd name="connsiteY722" fmla="*/ 1114064 h 6858000"/>
              <a:gd name="connsiteX723" fmla="*/ 248003 w 7467663"/>
              <a:gd name="connsiteY723" fmla="*/ 1089613 h 6858000"/>
              <a:gd name="connsiteX724" fmla="*/ 427020 w 7467663"/>
              <a:gd name="connsiteY724" fmla="*/ 1619803 h 6858000"/>
              <a:gd name="connsiteX725" fmla="*/ 340345 w 7467663"/>
              <a:gd name="connsiteY725" fmla="*/ 2027739 h 6858000"/>
              <a:gd name="connsiteX726" fmla="*/ 360865 w 7467663"/>
              <a:gd name="connsiteY726" fmla="*/ 2044827 h 6858000"/>
              <a:gd name="connsiteX727" fmla="*/ 560414 w 7467663"/>
              <a:gd name="connsiteY727" fmla="*/ 2421457 h 6858000"/>
              <a:gd name="connsiteX728" fmla="*/ 1359703 w 7467663"/>
              <a:gd name="connsiteY728" fmla="*/ 2578554 h 6858000"/>
              <a:gd name="connsiteX729" fmla="*/ 1359422 w 7467663"/>
              <a:gd name="connsiteY729" fmla="*/ 2577994 h 6858000"/>
              <a:gd name="connsiteX730" fmla="*/ 828701 w 7467663"/>
              <a:gd name="connsiteY730" fmla="*/ 1839520 h 6858000"/>
              <a:gd name="connsiteX731" fmla="*/ 494427 w 7467663"/>
              <a:gd name="connsiteY731" fmla="*/ 1092333 h 6858000"/>
              <a:gd name="connsiteX732" fmla="*/ 506322 w 7467663"/>
              <a:gd name="connsiteY732" fmla="*/ 1020997 h 6858000"/>
              <a:gd name="connsiteX733" fmla="*/ 4570198 w 7467663"/>
              <a:gd name="connsiteY733" fmla="*/ 978081 h 6858000"/>
              <a:gd name="connsiteX734" fmla="*/ 4523691 w 7467663"/>
              <a:gd name="connsiteY734" fmla="*/ 1127776 h 6858000"/>
              <a:gd name="connsiteX735" fmla="*/ 4509875 w 7467663"/>
              <a:gd name="connsiteY735" fmla="*/ 1167552 h 6858000"/>
              <a:gd name="connsiteX736" fmla="*/ 4478168 w 7467663"/>
              <a:gd name="connsiteY736" fmla="*/ 1260735 h 6858000"/>
              <a:gd name="connsiteX737" fmla="*/ 4409309 w 7467663"/>
              <a:gd name="connsiteY737" fmla="*/ 1666996 h 6858000"/>
              <a:gd name="connsiteX738" fmla="*/ 4370031 w 7467663"/>
              <a:gd name="connsiteY738" fmla="*/ 1955666 h 6858000"/>
              <a:gd name="connsiteX739" fmla="*/ 4570198 w 7467663"/>
              <a:gd name="connsiteY739" fmla="*/ 978081 h 6858000"/>
              <a:gd name="connsiteX740" fmla="*/ 4557898 w 7467663"/>
              <a:gd name="connsiteY740" fmla="*/ 900011 h 6858000"/>
              <a:gd name="connsiteX741" fmla="*/ 4344840 w 7467663"/>
              <a:gd name="connsiteY741" fmla="*/ 1922038 h 6858000"/>
              <a:gd name="connsiteX742" fmla="*/ 4378710 w 7467663"/>
              <a:gd name="connsiteY742" fmla="*/ 1665516 h 6858000"/>
              <a:gd name="connsiteX743" fmla="*/ 4448798 w 7467663"/>
              <a:gd name="connsiteY743" fmla="*/ 1253024 h 6858000"/>
              <a:gd name="connsiteX744" fmla="*/ 4480315 w 7467663"/>
              <a:gd name="connsiteY744" fmla="*/ 1158454 h 6858000"/>
              <a:gd name="connsiteX745" fmla="*/ 4494133 w 7467663"/>
              <a:gd name="connsiteY745" fmla="*/ 1118676 h 6858000"/>
              <a:gd name="connsiteX746" fmla="*/ 4557898 w 7467663"/>
              <a:gd name="connsiteY746" fmla="*/ 900011 h 6858000"/>
              <a:gd name="connsiteX747" fmla="*/ 5870151 w 7467663"/>
              <a:gd name="connsiteY747" fmla="*/ 898890 h 6858000"/>
              <a:gd name="connsiteX748" fmla="*/ 5861335 w 7467663"/>
              <a:gd name="connsiteY748" fmla="*/ 899177 h 6858000"/>
              <a:gd name="connsiteX749" fmla="*/ 5843702 w 7467663"/>
              <a:gd name="connsiteY749" fmla="*/ 899748 h 6858000"/>
              <a:gd name="connsiteX750" fmla="*/ 5651107 w 7467663"/>
              <a:gd name="connsiteY750" fmla="*/ 920306 h 6858000"/>
              <a:gd name="connsiteX751" fmla="*/ 5459407 w 7467663"/>
              <a:gd name="connsiteY751" fmla="*/ 940975 h 6858000"/>
              <a:gd name="connsiteX752" fmla="*/ 5374846 w 7467663"/>
              <a:gd name="connsiteY752" fmla="*/ 941988 h 6858000"/>
              <a:gd name="connsiteX753" fmla="*/ 5256105 w 7467663"/>
              <a:gd name="connsiteY753" fmla="*/ 945632 h 6858000"/>
              <a:gd name="connsiteX754" fmla="*/ 5107071 w 7467663"/>
              <a:gd name="connsiteY754" fmla="*/ 969720 h 6858000"/>
              <a:gd name="connsiteX755" fmla="*/ 4998681 w 7467663"/>
              <a:gd name="connsiteY755" fmla="*/ 988771 h 6858000"/>
              <a:gd name="connsiteX756" fmla="*/ 5870151 w 7467663"/>
              <a:gd name="connsiteY756" fmla="*/ 898890 h 6858000"/>
              <a:gd name="connsiteX757" fmla="*/ 5504425 w 7467663"/>
              <a:gd name="connsiteY757" fmla="*/ 848067 h 6858000"/>
              <a:gd name="connsiteX758" fmla="*/ 4968849 w 7467663"/>
              <a:gd name="connsiteY758" fmla="*/ 962318 h 6858000"/>
              <a:gd name="connsiteX759" fmla="*/ 5104039 w 7467663"/>
              <a:gd name="connsiteY759" fmla="*/ 940634 h 6858000"/>
              <a:gd name="connsiteX760" fmla="*/ 5256311 w 7467663"/>
              <a:gd name="connsiteY760" fmla="*/ 916490 h 6858000"/>
              <a:gd name="connsiteX761" fmla="*/ 5377381 w 7467663"/>
              <a:gd name="connsiteY761" fmla="*/ 912671 h 6858000"/>
              <a:gd name="connsiteX762" fmla="*/ 5460148 w 7467663"/>
              <a:gd name="connsiteY762" fmla="*/ 911442 h 6858000"/>
              <a:gd name="connsiteX763" fmla="*/ 5648971 w 7467663"/>
              <a:gd name="connsiteY763" fmla="*/ 891331 h 6858000"/>
              <a:gd name="connsiteX764" fmla="*/ 5844807 w 7467663"/>
              <a:gd name="connsiteY764" fmla="*/ 870718 h 6858000"/>
              <a:gd name="connsiteX765" fmla="*/ 5862975 w 7467663"/>
              <a:gd name="connsiteY765" fmla="*/ 869756 h 6858000"/>
              <a:gd name="connsiteX766" fmla="*/ 5920887 w 7467663"/>
              <a:gd name="connsiteY766" fmla="*/ 865929 h 6858000"/>
              <a:gd name="connsiteX767" fmla="*/ 5504425 w 7467663"/>
              <a:gd name="connsiteY767" fmla="*/ 848067 h 6858000"/>
              <a:gd name="connsiteX768" fmla="*/ 3607114 w 7467663"/>
              <a:gd name="connsiteY768" fmla="*/ 467441 h 6858000"/>
              <a:gd name="connsiteX769" fmla="*/ 3296242 w 7467663"/>
              <a:gd name="connsiteY769" fmla="*/ 807991 h 6858000"/>
              <a:gd name="connsiteX770" fmla="*/ 3174674 w 7467663"/>
              <a:gd name="connsiteY770" fmla="*/ 919759 h 6858000"/>
              <a:gd name="connsiteX771" fmla="*/ 3042978 w 7467663"/>
              <a:gd name="connsiteY771" fmla="*/ 1054894 h 6858000"/>
              <a:gd name="connsiteX772" fmla="*/ 2968914 w 7467663"/>
              <a:gd name="connsiteY772" fmla="*/ 1133756 h 6858000"/>
              <a:gd name="connsiteX773" fmla="*/ 3103823 w 7467663"/>
              <a:gd name="connsiteY773" fmla="*/ 1026814 h 6858000"/>
              <a:gd name="connsiteX774" fmla="*/ 3607114 w 7467663"/>
              <a:gd name="connsiteY774" fmla="*/ 467441 h 6858000"/>
              <a:gd name="connsiteX775" fmla="*/ 3744487 w 7467663"/>
              <a:gd name="connsiteY775" fmla="*/ 383136 h 6858000"/>
              <a:gd name="connsiteX776" fmla="*/ 3970213 w 7467663"/>
              <a:gd name="connsiteY776" fmla="*/ 995559 h 6858000"/>
              <a:gd name="connsiteX777" fmla="*/ 3744487 w 7467663"/>
              <a:gd name="connsiteY777" fmla="*/ 383136 h 6858000"/>
              <a:gd name="connsiteX778" fmla="*/ 3624562 w 7467663"/>
              <a:gd name="connsiteY778" fmla="*/ 367041 h 6858000"/>
              <a:gd name="connsiteX779" fmla="*/ 3489712 w 7467663"/>
              <a:gd name="connsiteY779" fmla="*/ 485386 h 6858000"/>
              <a:gd name="connsiteX780" fmla="*/ 3182994 w 7467663"/>
              <a:gd name="connsiteY780" fmla="*/ 828265 h 6858000"/>
              <a:gd name="connsiteX781" fmla="*/ 2892114 w 7467663"/>
              <a:gd name="connsiteY781" fmla="*/ 1172635 h 6858000"/>
              <a:gd name="connsiteX782" fmla="*/ 3021459 w 7467663"/>
              <a:gd name="connsiteY782" fmla="*/ 1035385 h 6858000"/>
              <a:gd name="connsiteX783" fmla="*/ 3153873 w 7467663"/>
              <a:gd name="connsiteY783" fmla="*/ 898971 h 6858000"/>
              <a:gd name="connsiteX784" fmla="*/ 3276511 w 7467663"/>
              <a:gd name="connsiteY784" fmla="*/ 786423 h 6858000"/>
              <a:gd name="connsiteX785" fmla="*/ 3584154 w 7467663"/>
              <a:gd name="connsiteY785" fmla="*/ 448218 h 6858000"/>
              <a:gd name="connsiteX786" fmla="*/ 3624562 w 7467663"/>
              <a:gd name="connsiteY786" fmla="*/ 367041 h 6858000"/>
              <a:gd name="connsiteX787" fmla="*/ 3766672 w 7467663"/>
              <a:gd name="connsiteY787" fmla="*/ 359429 h 6858000"/>
              <a:gd name="connsiteX788" fmla="*/ 3996338 w 7467663"/>
              <a:gd name="connsiteY788" fmla="*/ 968237 h 6858000"/>
              <a:gd name="connsiteX789" fmla="*/ 3766672 w 7467663"/>
              <a:gd name="connsiteY789" fmla="*/ 359429 h 6858000"/>
              <a:gd name="connsiteX790" fmla="*/ 5805386 w 7467663"/>
              <a:gd name="connsiteY790" fmla="*/ 239240 h 6858000"/>
              <a:gd name="connsiteX791" fmla="*/ 5736947 w 7467663"/>
              <a:gd name="connsiteY791" fmla="*/ 261367 h 6858000"/>
              <a:gd name="connsiteX792" fmla="*/ 5427012 w 7467663"/>
              <a:gd name="connsiteY792" fmla="*/ 311272 h 6858000"/>
              <a:gd name="connsiteX793" fmla="*/ 5147818 w 7467663"/>
              <a:gd name="connsiteY793" fmla="*/ 322112 h 6858000"/>
              <a:gd name="connsiteX794" fmla="*/ 5060854 w 7467663"/>
              <a:gd name="connsiteY794" fmla="*/ 311882 h 6858000"/>
              <a:gd name="connsiteX795" fmla="*/ 4945989 w 7467663"/>
              <a:gd name="connsiteY795" fmla="*/ 300516 h 6858000"/>
              <a:gd name="connsiteX796" fmla="*/ 5410479 w 7467663"/>
              <a:gd name="connsiteY796" fmla="*/ 348434 h 6858000"/>
              <a:gd name="connsiteX797" fmla="*/ 5805386 w 7467663"/>
              <a:gd name="connsiteY797" fmla="*/ 239240 h 6858000"/>
              <a:gd name="connsiteX798" fmla="*/ 5905192 w 7467663"/>
              <a:gd name="connsiteY798" fmla="*/ 163079 h 6858000"/>
              <a:gd name="connsiteX799" fmla="*/ 5865655 w 7467663"/>
              <a:gd name="connsiteY799" fmla="*/ 171901 h 6858000"/>
              <a:gd name="connsiteX800" fmla="*/ 5259740 w 7467663"/>
              <a:gd name="connsiteY800" fmla="*/ 257013 h 6858000"/>
              <a:gd name="connsiteX801" fmla="*/ 5208466 w 7467663"/>
              <a:gd name="connsiteY801" fmla="*/ 257550 h 6858000"/>
              <a:gd name="connsiteX802" fmla="*/ 4980204 w 7467663"/>
              <a:gd name="connsiteY802" fmla="*/ 271903 h 6858000"/>
              <a:gd name="connsiteX803" fmla="*/ 5068068 w 7467663"/>
              <a:gd name="connsiteY803" fmla="*/ 282244 h 6858000"/>
              <a:gd name="connsiteX804" fmla="*/ 5153231 w 7467663"/>
              <a:gd name="connsiteY804" fmla="*/ 292240 h 6858000"/>
              <a:gd name="connsiteX805" fmla="*/ 5426491 w 7467663"/>
              <a:gd name="connsiteY805" fmla="*/ 281128 h 6858000"/>
              <a:gd name="connsiteX806" fmla="*/ 5731212 w 7467663"/>
              <a:gd name="connsiteY806" fmla="*/ 231951 h 6858000"/>
              <a:gd name="connsiteX807" fmla="*/ 5905192 w 7467663"/>
              <a:gd name="connsiteY807" fmla="*/ 163079 h 6858000"/>
              <a:gd name="connsiteX808" fmla="*/ 5944437 w 7467663"/>
              <a:gd name="connsiteY808" fmla="*/ 113829 h 6858000"/>
              <a:gd name="connsiteX809" fmla="*/ 5825032 w 7467663"/>
              <a:gd name="connsiteY809" fmla="*/ 146405 h 6858000"/>
              <a:gd name="connsiteX810" fmla="*/ 4955599 w 7467663"/>
              <a:gd name="connsiteY810" fmla="*/ 247008 h 6858000"/>
              <a:gd name="connsiteX811" fmla="*/ 5210104 w 7467663"/>
              <a:gd name="connsiteY811" fmla="*/ 228123 h 6858000"/>
              <a:gd name="connsiteX812" fmla="*/ 5261015 w 7467663"/>
              <a:gd name="connsiteY812" fmla="*/ 227087 h 6858000"/>
              <a:gd name="connsiteX813" fmla="*/ 5861181 w 7467663"/>
              <a:gd name="connsiteY813" fmla="*/ 143093 h 6858000"/>
              <a:gd name="connsiteX814" fmla="*/ 5961252 w 7467663"/>
              <a:gd name="connsiteY814" fmla="*/ 114820 h 6858000"/>
              <a:gd name="connsiteX815" fmla="*/ 5944437 w 7467663"/>
              <a:gd name="connsiteY815" fmla="*/ 113829 h 6858000"/>
              <a:gd name="connsiteX816" fmla="*/ 3882765 w 7467663"/>
              <a:gd name="connsiteY816" fmla="*/ 0 h 6858000"/>
              <a:gd name="connsiteX817" fmla="*/ 3995099 w 7467663"/>
              <a:gd name="connsiteY817" fmla="*/ 0 h 6858000"/>
              <a:gd name="connsiteX818" fmla="*/ 4163818 w 7467663"/>
              <a:gd name="connsiteY818" fmla="*/ 234104 h 6858000"/>
              <a:gd name="connsiteX819" fmla="*/ 4172099 w 7467663"/>
              <a:gd name="connsiteY819" fmla="*/ 234207 h 6858000"/>
              <a:gd name="connsiteX820" fmla="*/ 4784282 w 7467663"/>
              <a:gd name="connsiteY820" fmla="*/ 276561 h 6858000"/>
              <a:gd name="connsiteX821" fmla="*/ 4801687 w 7467663"/>
              <a:gd name="connsiteY821" fmla="*/ 267764 h 6858000"/>
              <a:gd name="connsiteX822" fmla="*/ 6082788 w 7467663"/>
              <a:gd name="connsiteY822" fmla="*/ 64119 h 6858000"/>
              <a:gd name="connsiteX823" fmla="*/ 6099442 w 7467663"/>
              <a:gd name="connsiteY823" fmla="*/ 82568 h 6858000"/>
              <a:gd name="connsiteX824" fmla="*/ 4804137 w 7467663"/>
              <a:gd name="connsiteY824" fmla="*/ 320931 h 6858000"/>
              <a:gd name="connsiteX825" fmla="*/ 4227047 w 7467663"/>
              <a:gd name="connsiteY825" fmla="*/ 313415 h 6858000"/>
              <a:gd name="connsiteX826" fmla="*/ 4346041 w 7467663"/>
              <a:gd name="connsiteY826" fmla="*/ 456086 h 6858000"/>
              <a:gd name="connsiteX827" fmla="*/ 4870967 w 7467663"/>
              <a:gd name="connsiteY827" fmla="*/ 963061 h 6858000"/>
              <a:gd name="connsiteX828" fmla="*/ 4889647 w 7467663"/>
              <a:gd name="connsiteY828" fmla="*/ 957147 h 6858000"/>
              <a:gd name="connsiteX829" fmla="*/ 5422504 w 7467663"/>
              <a:gd name="connsiteY829" fmla="*/ 805191 h 6858000"/>
              <a:gd name="connsiteX830" fmla="*/ 6087656 w 7467663"/>
              <a:gd name="connsiteY830" fmla="*/ 826703 h 6858000"/>
              <a:gd name="connsiteX831" fmla="*/ 6058717 w 7467663"/>
              <a:gd name="connsiteY831" fmla="*/ 865992 h 6858000"/>
              <a:gd name="connsiteX832" fmla="*/ 4974153 w 7467663"/>
              <a:gd name="connsiteY832" fmla="*/ 1045456 h 6858000"/>
              <a:gd name="connsiteX833" fmla="*/ 5627835 w 7467663"/>
              <a:gd name="connsiteY833" fmla="*/ 1472077 h 6858000"/>
              <a:gd name="connsiteX834" fmla="*/ 5629817 w 7467663"/>
              <a:gd name="connsiteY834" fmla="*/ 1471412 h 6858000"/>
              <a:gd name="connsiteX835" fmla="*/ 5634124 w 7467663"/>
              <a:gd name="connsiteY835" fmla="*/ 1470572 h 6858000"/>
              <a:gd name="connsiteX836" fmla="*/ 5755832 w 7467663"/>
              <a:gd name="connsiteY836" fmla="*/ 1383886 h 6858000"/>
              <a:gd name="connsiteX837" fmla="*/ 6014186 w 7467663"/>
              <a:gd name="connsiteY837" fmla="*/ 1279799 h 6858000"/>
              <a:gd name="connsiteX838" fmla="*/ 6901619 w 7467663"/>
              <a:gd name="connsiteY838" fmla="*/ 1047874 h 6858000"/>
              <a:gd name="connsiteX839" fmla="*/ 6931566 w 7467663"/>
              <a:gd name="connsiteY839" fmla="*/ 1062034 h 6858000"/>
              <a:gd name="connsiteX840" fmla="*/ 5790982 w 7467663"/>
              <a:gd name="connsiteY840" fmla="*/ 1561380 h 6858000"/>
              <a:gd name="connsiteX841" fmla="*/ 6188971 w 7467663"/>
              <a:gd name="connsiteY841" fmla="*/ 1755168 h 6858000"/>
              <a:gd name="connsiteX842" fmla="*/ 6202446 w 7467663"/>
              <a:gd name="connsiteY842" fmla="*/ 1752268 h 6858000"/>
              <a:gd name="connsiteX843" fmla="*/ 7179560 w 7467663"/>
              <a:gd name="connsiteY843" fmla="*/ 1467551 h 6858000"/>
              <a:gd name="connsiteX844" fmla="*/ 7158730 w 7467663"/>
              <a:gd name="connsiteY844" fmla="*/ 1507835 h 6858000"/>
              <a:gd name="connsiteX845" fmla="*/ 6326959 w 7467663"/>
              <a:gd name="connsiteY845" fmla="*/ 1817686 h 6858000"/>
              <a:gd name="connsiteX846" fmla="*/ 6537433 w 7467663"/>
              <a:gd name="connsiteY846" fmla="*/ 1907790 h 6858000"/>
              <a:gd name="connsiteX847" fmla="*/ 6550221 w 7467663"/>
              <a:gd name="connsiteY847" fmla="*/ 1910729 h 6858000"/>
              <a:gd name="connsiteX848" fmla="*/ 6964438 w 7467663"/>
              <a:gd name="connsiteY848" fmla="*/ 2209505 h 6858000"/>
              <a:gd name="connsiteX849" fmla="*/ 7367862 w 7467663"/>
              <a:gd name="connsiteY849" fmla="*/ 2806833 h 6858000"/>
              <a:gd name="connsiteX850" fmla="*/ 7364329 w 7467663"/>
              <a:gd name="connsiteY850" fmla="*/ 2826907 h 6858000"/>
              <a:gd name="connsiteX851" fmla="*/ 7290545 w 7467663"/>
              <a:gd name="connsiteY851" fmla="*/ 2850663 h 6858000"/>
              <a:gd name="connsiteX852" fmla="*/ 6472036 w 7467663"/>
              <a:gd name="connsiteY852" fmla="*/ 1959003 h 6858000"/>
              <a:gd name="connsiteX853" fmla="*/ 5792897 w 7467663"/>
              <a:gd name="connsiteY853" fmla="*/ 1647747 h 6858000"/>
              <a:gd name="connsiteX854" fmla="*/ 5842751 w 7467663"/>
              <a:gd name="connsiteY854" fmla="*/ 1816112 h 6858000"/>
              <a:gd name="connsiteX855" fmla="*/ 5847424 w 7467663"/>
              <a:gd name="connsiteY855" fmla="*/ 1815776 h 6858000"/>
              <a:gd name="connsiteX856" fmla="*/ 6399821 w 7467663"/>
              <a:gd name="connsiteY856" fmla="*/ 2344799 h 6858000"/>
              <a:gd name="connsiteX857" fmla="*/ 6323232 w 7467663"/>
              <a:gd name="connsiteY857" fmla="*/ 2389634 h 6858000"/>
              <a:gd name="connsiteX858" fmla="*/ 5942958 w 7467663"/>
              <a:gd name="connsiteY858" fmla="*/ 2077708 h 6858000"/>
              <a:gd name="connsiteX859" fmla="*/ 5921559 w 7467663"/>
              <a:gd name="connsiteY859" fmla="*/ 2378596 h 6858000"/>
              <a:gd name="connsiteX860" fmla="*/ 5817651 w 7467663"/>
              <a:gd name="connsiteY860" fmla="*/ 3023919 h 6858000"/>
              <a:gd name="connsiteX861" fmla="*/ 5729634 w 7467663"/>
              <a:gd name="connsiteY861" fmla="*/ 3051849 h 6858000"/>
              <a:gd name="connsiteX862" fmla="*/ 5611018 w 7467663"/>
              <a:gd name="connsiteY862" fmla="*/ 2316769 h 6858000"/>
              <a:gd name="connsiteX863" fmla="*/ 5687608 w 7467663"/>
              <a:gd name="connsiteY863" fmla="*/ 2039972 h 6858000"/>
              <a:gd name="connsiteX864" fmla="*/ 5657554 w 7467663"/>
              <a:gd name="connsiteY864" fmla="*/ 1576445 h 6858000"/>
              <a:gd name="connsiteX865" fmla="*/ 5150475 w 7467663"/>
              <a:gd name="connsiteY865" fmla="*/ 1274012 h 6858000"/>
              <a:gd name="connsiteX866" fmla="*/ 5349142 w 7467663"/>
              <a:gd name="connsiteY866" fmla="*/ 2204405 h 6858000"/>
              <a:gd name="connsiteX867" fmla="*/ 5262214 w 7467663"/>
              <a:gd name="connsiteY867" fmla="*/ 2233836 h 6858000"/>
              <a:gd name="connsiteX868" fmla="*/ 4981539 w 7467663"/>
              <a:gd name="connsiteY868" fmla="*/ 1542201 h 6858000"/>
              <a:gd name="connsiteX869" fmla="*/ 4958461 w 7467663"/>
              <a:gd name="connsiteY869" fmla="*/ 1136957 h 6858000"/>
              <a:gd name="connsiteX870" fmla="*/ 4655015 w 7467663"/>
              <a:gd name="connsiteY870" fmla="*/ 891426 h 6858000"/>
              <a:gd name="connsiteX871" fmla="*/ 4348002 w 7467663"/>
              <a:gd name="connsiteY871" fmla="*/ 2205895 h 6858000"/>
              <a:gd name="connsiteX872" fmla="*/ 4262250 w 7467663"/>
              <a:gd name="connsiteY872" fmla="*/ 2219972 h 6858000"/>
              <a:gd name="connsiteX873" fmla="*/ 4550611 w 7467663"/>
              <a:gd name="connsiteY873" fmla="*/ 817540 h 6858000"/>
              <a:gd name="connsiteX874" fmla="*/ 4564418 w 7467663"/>
              <a:gd name="connsiteY874" fmla="*/ 808293 h 6858000"/>
              <a:gd name="connsiteX875" fmla="*/ 4266388 w 7467663"/>
              <a:gd name="connsiteY875" fmla="*/ 500083 h 6858000"/>
              <a:gd name="connsiteX876" fmla="*/ 4032842 w 7467663"/>
              <a:gd name="connsiteY876" fmla="*/ 211809 h 6858000"/>
              <a:gd name="connsiteX877" fmla="*/ 3882765 w 7467663"/>
              <a:gd name="connsiteY877" fmla="*/ 0 h 6858000"/>
              <a:gd name="connsiteX878" fmla="*/ 3721337 w 7467663"/>
              <a:gd name="connsiteY878" fmla="*/ 0 h 6858000"/>
              <a:gd name="connsiteX879" fmla="*/ 3797544 w 7467663"/>
              <a:gd name="connsiteY879" fmla="*/ 0 h 6858000"/>
              <a:gd name="connsiteX880" fmla="*/ 3775734 w 7467663"/>
              <a:gd name="connsiteY880" fmla="*/ 95131 h 6858000"/>
              <a:gd name="connsiteX881" fmla="*/ 3724807 w 7467663"/>
              <a:gd name="connsiteY881" fmla="*/ 272257 h 6858000"/>
              <a:gd name="connsiteX882" fmla="*/ 3726844 w 7467663"/>
              <a:gd name="connsiteY882" fmla="*/ 282988 h 6858000"/>
              <a:gd name="connsiteX883" fmla="*/ 3742664 w 7467663"/>
              <a:gd name="connsiteY883" fmla="*/ 279918 h 6858000"/>
              <a:gd name="connsiteX884" fmla="*/ 4103910 w 7467663"/>
              <a:gd name="connsiteY884" fmla="*/ 1161917 h 6858000"/>
              <a:gd name="connsiteX885" fmla="*/ 4020269 w 7467663"/>
              <a:gd name="connsiteY885" fmla="*/ 1200406 h 6858000"/>
              <a:gd name="connsiteX886" fmla="*/ 3674882 w 7467663"/>
              <a:gd name="connsiteY886" fmla="*/ 488524 h 6858000"/>
              <a:gd name="connsiteX887" fmla="*/ 3132682 w 7467663"/>
              <a:gd name="connsiteY887" fmla="*/ 1072284 h 6858000"/>
              <a:gd name="connsiteX888" fmla="*/ 2716346 w 7467663"/>
              <a:gd name="connsiteY888" fmla="*/ 1276376 h 6858000"/>
              <a:gd name="connsiteX889" fmla="*/ 2716772 w 7467663"/>
              <a:gd name="connsiteY889" fmla="*/ 1255462 h 6858000"/>
              <a:gd name="connsiteX890" fmla="*/ 3471096 w 7467663"/>
              <a:gd name="connsiteY890" fmla="*/ 437072 h 6858000"/>
              <a:gd name="connsiteX891" fmla="*/ 3639057 w 7467663"/>
              <a:gd name="connsiteY891" fmla="*/ 286334 h 6858000"/>
              <a:gd name="connsiteX892" fmla="*/ 3640309 w 7467663"/>
              <a:gd name="connsiteY892" fmla="*/ 284664 h 6858000"/>
              <a:gd name="connsiteX893" fmla="*/ 3646022 w 7467663"/>
              <a:gd name="connsiteY893" fmla="*/ 276711 h 6858000"/>
              <a:gd name="connsiteX894" fmla="*/ 3707943 w 7467663"/>
              <a:gd name="connsiteY894" fmla="*/ 65958 h 6858000"/>
              <a:gd name="connsiteX895" fmla="*/ 3721337 w 7467663"/>
              <a:gd name="connsiteY895" fmla="*/ 0 h 6858000"/>
              <a:gd name="connsiteX896" fmla="*/ 2867960 w 7467663"/>
              <a:gd name="connsiteY896" fmla="*/ 0 h 6858000"/>
              <a:gd name="connsiteX897" fmla="*/ 2926351 w 7467663"/>
              <a:gd name="connsiteY897" fmla="*/ 0 h 6858000"/>
              <a:gd name="connsiteX898" fmla="*/ 2902823 w 7467663"/>
              <a:gd name="connsiteY898" fmla="*/ 262929 h 6858000"/>
              <a:gd name="connsiteX899" fmla="*/ 2940663 w 7467663"/>
              <a:gd name="connsiteY899" fmla="*/ 140884 h 6858000"/>
              <a:gd name="connsiteX900" fmla="*/ 2947039 w 7467663"/>
              <a:gd name="connsiteY900" fmla="*/ 122524 h 6858000"/>
              <a:gd name="connsiteX901" fmla="*/ 2984316 w 7467663"/>
              <a:gd name="connsiteY901" fmla="*/ 0 h 6858000"/>
              <a:gd name="connsiteX902" fmla="*/ 3016114 w 7467663"/>
              <a:gd name="connsiteY902" fmla="*/ 0 h 6858000"/>
              <a:gd name="connsiteX903" fmla="*/ 2979949 w 7467663"/>
              <a:gd name="connsiteY903" fmla="*/ 119274 h 6858000"/>
              <a:gd name="connsiteX904" fmla="*/ 3023879 w 7467663"/>
              <a:gd name="connsiteY904" fmla="*/ 0 h 6858000"/>
              <a:gd name="connsiteX905" fmla="*/ 3105400 w 7467663"/>
              <a:gd name="connsiteY905" fmla="*/ 0 h 6858000"/>
              <a:gd name="connsiteX906" fmla="*/ 3094669 w 7467663"/>
              <a:gd name="connsiteY906" fmla="*/ 30308 h 6858000"/>
              <a:gd name="connsiteX907" fmla="*/ 2901945 w 7467663"/>
              <a:gd name="connsiteY907" fmla="*/ 466538 h 6858000"/>
              <a:gd name="connsiteX908" fmla="*/ 2815209 w 7467663"/>
              <a:gd name="connsiteY908" fmla="*/ 497361 h 6858000"/>
              <a:gd name="connsiteX909" fmla="*/ 2844845 w 7467663"/>
              <a:gd name="connsiteY909" fmla="*/ 127638 h 6858000"/>
              <a:gd name="connsiteX910" fmla="*/ 2867960 w 7467663"/>
              <a:gd name="connsiteY910" fmla="*/ 0 h 6858000"/>
              <a:gd name="connsiteX911" fmla="*/ 1057230 w 7467663"/>
              <a:gd name="connsiteY911" fmla="*/ 0 h 6858000"/>
              <a:gd name="connsiteX912" fmla="*/ 1111003 w 7467663"/>
              <a:gd name="connsiteY912" fmla="*/ 0 h 6858000"/>
              <a:gd name="connsiteX913" fmla="*/ 1125553 w 7467663"/>
              <a:gd name="connsiteY913" fmla="*/ 52588 h 6858000"/>
              <a:gd name="connsiteX914" fmla="*/ 1304276 w 7467663"/>
              <a:gd name="connsiteY914" fmla="*/ 476275 h 6858000"/>
              <a:gd name="connsiteX915" fmla="*/ 1492066 w 7467663"/>
              <a:gd name="connsiteY915" fmla="*/ 886333 h 6858000"/>
              <a:gd name="connsiteX916" fmla="*/ 1423698 w 7467663"/>
              <a:gd name="connsiteY916" fmla="*/ 710817 h 6858000"/>
              <a:gd name="connsiteX917" fmla="*/ 1357609 w 7467663"/>
              <a:gd name="connsiteY917" fmla="*/ 532892 h 6858000"/>
              <a:gd name="connsiteX918" fmla="*/ 1309550 w 7467663"/>
              <a:gd name="connsiteY918" fmla="*/ 374031 h 6858000"/>
              <a:gd name="connsiteX919" fmla="*/ 1193673 w 7467663"/>
              <a:gd name="connsiteY919" fmla="*/ 49533 h 6858000"/>
              <a:gd name="connsiteX920" fmla="*/ 1164391 w 7467663"/>
              <a:gd name="connsiteY920" fmla="*/ 0 h 6858000"/>
              <a:gd name="connsiteX921" fmla="*/ 1200666 w 7467663"/>
              <a:gd name="connsiteY921" fmla="*/ 0 h 6858000"/>
              <a:gd name="connsiteX922" fmla="*/ 1223408 w 7467663"/>
              <a:gd name="connsiteY922" fmla="*/ 38996 h 6858000"/>
              <a:gd name="connsiteX923" fmla="*/ 1339635 w 7467663"/>
              <a:gd name="connsiteY923" fmla="*/ 365517 h 6858000"/>
              <a:gd name="connsiteX924" fmla="*/ 1387469 w 7467663"/>
              <a:gd name="connsiteY924" fmla="*/ 523079 h 6858000"/>
              <a:gd name="connsiteX925" fmla="*/ 1452685 w 7467663"/>
              <a:gd name="connsiteY925" fmla="*/ 699806 h 6858000"/>
              <a:gd name="connsiteX926" fmla="*/ 1492092 w 7467663"/>
              <a:gd name="connsiteY926" fmla="*/ 800424 h 6858000"/>
              <a:gd name="connsiteX927" fmla="*/ 1455302 w 7467663"/>
              <a:gd name="connsiteY927" fmla="*/ 632913 h 6858000"/>
              <a:gd name="connsiteX928" fmla="*/ 1222336 w 7467663"/>
              <a:gd name="connsiteY928" fmla="*/ 9480 h 6858000"/>
              <a:gd name="connsiteX929" fmla="*/ 1214634 w 7467663"/>
              <a:gd name="connsiteY929" fmla="*/ 0 h 6858000"/>
              <a:gd name="connsiteX930" fmla="*/ 1289827 w 7467663"/>
              <a:gd name="connsiteY930" fmla="*/ 0 h 6858000"/>
              <a:gd name="connsiteX931" fmla="*/ 1321076 w 7467663"/>
              <a:gd name="connsiteY931" fmla="*/ 59722 h 6858000"/>
              <a:gd name="connsiteX932" fmla="*/ 1512579 w 7467663"/>
              <a:gd name="connsiteY932" fmla="*/ 626441 h 6858000"/>
              <a:gd name="connsiteX933" fmla="*/ 1506076 w 7467663"/>
              <a:gd name="connsiteY933" fmla="*/ 1089289 h 6858000"/>
              <a:gd name="connsiteX934" fmla="*/ 1486346 w 7467663"/>
              <a:gd name="connsiteY934" fmla="*/ 1079919 h 6858000"/>
              <a:gd name="connsiteX935" fmla="*/ 1070511 w 7467663"/>
              <a:gd name="connsiteY935" fmla="*/ 48609 h 6858000"/>
              <a:gd name="connsiteX936" fmla="*/ 1057230 w 7467663"/>
              <a:gd name="connsiteY936" fmla="*/ 0 h 6858000"/>
              <a:gd name="connsiteX937" fmla="*/ 43151 w 7467663"/>
              <a:gd name="connsiteY937" fmla="*/ 0 h 6858000"/>
              <a:gd name="connsiteX938" fmla="*/ 95283 w 7467663"/>
              <a:gd name="connsiteY938" fmla="*/ 0 h 6858000"/>
              <a:gd name="connsiteX939" fmla="*/ 300708 w 7467663"/>
              <a:gd name="connsiteY939" fmla="*/ 154571 h 6858000"/>
              <a:gd name="connsiteX940" fmla="*/ 530414 w 7467663"/>
              <a:gd name="connsiteY940" fmla="*/ 354673 h 6858000"/>
              <a:gd name="connsiteX941" fmla="*/ 333785 w 7467663"/>
              <a:gd name="connsiteY941" fmla="*/ 161564 h 6858000"/>
              <a:gd name="connsiteX942" fmla="*/ 147005 w 7467663"/>
              <a:gd name="connsiteY942" fmla="*/ 0 h 6858000"/>
              <a:gd name="connsiteX943" fmla="*/ 272509 w 7467663"/>
              <a:gd name="connsiteY943" fmla="*/ 0 h 6858000"/>
              <a:gd name="connsiteX944" fmla="*/ 326276 w 7467663"/>
              <a:gd name="connsiteY944" fmla="*/ 45847 h 6858000"/>
              <a:gd name="connsiteX945" fmla="*/ 823759 w 7467663"/>
              <a:gd name="connsiteY945" fmla="*/ 574145 h 6858000"/>
              <a:gd name="connsiteX946" fmla="*/ 811254 w 7467663"/>
              <a:gd name="connsiteY946" fmla="*/ 665546 h 6858000"/>
              <a:gd name="connsiteX947" fmla="*/ 154042 w 7467663"/>
              <a:gd name="connsiteY947" fmla="*/ 261522 h 6858000"/>
              <a:gd name="connsiteX948" fmla="*/ 13550 w 7467663"/>
              <a:gd name="connsiteY948" fmla="*/ 158423 h 6858000"/>
              <a:gd name="connsiteX949" fmla="*/ 0 w 7467663"/>
              <a:gd name="connsiteY949" fmla="*/ 146618 h 6858000"/>
              <a:gd name="connsiteX950" fmla="*/ 0 w 7467663"/>
              <a:gd name="connsiteY950" fmla="*/ 59161 h 6858000"/>
              <a:gd name="connsiteX951" fmla="*/ 45427 w 7467663"/>
              <a:gd name="connsiteY951" fmla="*/ 101078 h 6858000"/>
              <a:gd name="connsiteX952" fmla="*/ 630103 w 7467663"/>
              <a:gd name="connsiteY952" fmla="*/ 485885 h 6858000"/>
              <a:gd name="connsiteX953" fmla="*/ 532040 w 7467663"/>
              <a:gd name="connsiteY953" fmla="*/ 399359 h 6858000"/>
              <a:gd name="connsiteX954" fmla="*/ 517618 w 7467663"/>
              <a:gd name="connsiteY954" fmla="*/ 385726 h 6858000"/>
              <a:gd name="connsiteX955" fmla="*/ 285074 w 7467663"/>
              <a:gd name="connsiteY955" fmla="*/ 182755 h 6858000"/>
              <a:gd name="connsiteX956" fmla="*/ 43151 w 7467663"/>
              <a:gd name="connsiteY956"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7454976 w 7467600"/>
              <a:gd name="connsiteY74" fmla="*/ 6318297 h 6858000"/>
              <a:gd name="connsiteX75" fmla="*/ 7467600 w 7467600"/>
              <a:gd name="connsiteY75" fmla="*/ 6334256 h 6858000"/>
              <a:gd name="connsiteX76" fmla="*/ 7454976 w 7467600"/>
              <a:gd name="connsiteY76" fmla="*/ 6318297 h 6858000"/>
              <a:gd name="connsiteX77" fmla="*/ 1456157 w 7467600"/>
              <a:gd name="connsiteY77" fmla="*/ 5371404 h 6858000"/>
              <a:gd name="connsiteX78" fmla="*/ 1244432 w 7467600"/>
              <a:gd name="connsiteY78" fmla="*/ 5385601 h 6858000"/>
              <a:gd name="connsiteX79" fmla="*/ 973990 w 7467600"/>
              <a:gd name="connsiteY79" fmla="*/ 5424940 h 6858000"/>
              <a:gd name="connsiteX80" fmla="*/ 1103809 w 7467600"/>
              <a:gd name="connsiteY80" fmla="*/ 5433720 h 6858000"/>
              <a:gd name="connsiteX81" fmla="*/ 1123454 w 7467600"/>
              <a:gd name="connsiteY81" fmla="*/ 5435727 h 6858000"/>
              <a:gd name="connsiteX82" fmla="*/ 1737017 w 7467600"/>
              <a:gd name="connsiteY82" fmla="*/ 5452183 h 6858000"/>
              <a:gd name="connsiteX83" fmla="*/ 1824397 w 7467600"/>
              <a:gd name="connsiteY83" fmla="*/ 5447757 h 6858000"/>
              <a:gd name="connsiteX84" fmla="*/ 2070059 w 7467600"/>
              <a:gd name="connsiteY84" fmla="*/ 5441660 h 6858000"/>
              <a:gd name="connsiteX85" fmla="*/ 1456157 w 7467600"/>
              <a:gd name="connsiteY85" fmla="*/ 5371404 h 6858000"/>
              <a:gd name="connsiteX86" fmla="*/ 4988186 w 7467600"/>
              <a:gd name="connsiteY86" fmla="*/ 5216467 h 6858000"/>
              <a:gd name="connsiteX87" fmla="*/ 4777334 w 7467600"/>
              <a:gd name="connsiteY87" fmla="*/ 5406072 h 6858000"/>
              <a:gd name="connsiteX88" fmla="*/ 4718341 w 7467600"/>
              <a:gd name="connsiteY88" fmla="*/ 5468043 h 6858000"/>
              <a:gd name="connsiteX89" fmla="*/ 4604655 w 7467600"/>
              <a:gd name="connsiteY89" fmla="*/ 5583434 h 6858000"/>
              <a:gd name="connsiteX90" fmla="*/ 4565074 w 7467600"/>
              <a:gd name="connsiteY90" fmla="*/ 5618550 h 6858000"/>
              <a:gd name="connsiteX91" fmla="*/ 4988186 w 7467600"/>
              <a:gd name="connsiteY91" fmla="*/ 5216467 h 6858000"/>
              <a:gd name="connsiteX92" fmla="*/ 4978032 w 7467600"/>
              <a:gd name="connsiteY92" fmla="*/ 5183809 h 6858000"/>
              <a:gd name="connsiteX93" fmla="*/ 4463413 w 7467600"/>
              <a:gd name="connsiteY93" fmla="*/ 5615162 h 6858000"/>
              <a:gd name="connsiteX94" fmla="*/ 4358134 w 7467600"/>
              <a:gd name="connsiteY94" fmla="*/ 5742791 h 6858000"/>
              <a:gd name="connsiteX95" fmla="*/ 4376219 w 7467600"/>
              <a:gd name="connsiteY95" fmla="*/ 5729027 h 6858000"/>
              <a:gd name="connsiteX96" fmla="*/ 4582340 w 7467600"/>
              <a:gd name="connsiteY96" fmla="*/ 5561037 h 6858000"/>
              <a:gd name="connsiteX97" fmla="*/ 4694684 w 7467600"/>
              <a:gd name="connsiteY97" fmla="*/ 5447098 h 6858000"/>
              <a:gd name="connsiteX98" fmla="*/ 4754123 w 7467600"/>
              <a:gd name="connsiteY98" fmla="*/ 5384643 h 6858000"/>
              <a:gd name="connsiteX99" fmla="*/ 4978032 w 7467600"/>
              <a:gd name="connsiteY99" fmla="*/ 5183809 h 6858000"/>
              <a:gd name="connsiteX100" fmla="*/ 1903353 w 7467600"/>
              <a:gd name="connsiteY100" fmla="*/ 5044827 h 6858000"/>
              <a:gd name="connsiteX101" fmla="*/ 1936931 w 7467600"/>
              <a:gd name="connsiteY101" fmla="*/ 5093954 h 6858000"/>
              <a:gd name="connsiteX102" fmla="*/ 2195868 w 7467600"/>
              <a:gd name="connsiteY102" fmla="*/ 5396574 h 6858000"/>
              <a:gd name="connsiteX103" fmla="*/ 2088852 w 7467600"/>
              <a:gd name="connsiteY103" fmla="*/ 5166123 h 6858000"/>
              <a:gd name="connsiteX104" fmla="*/ 1958241 w 7467600"/>
              <a:gd name="connsiteY104" fmla="*/ 5067955 h 6858000"/>
              <a:gd name="connsiteX105" fmla="*/ 1903353 w 7467600"/>
              <a:gd name="connsiteY105" fmla="*/ 5044827 h 6858000"/>
              <a:gd name="connsiteX106" fmla="*/ 1979378 w 7467600"/>
              <a:gd name="connsiteY106" fmla="*/ 4769504 h 6858000"/>
              <a:gd name="connsiteX107" fmla="*/ 2882120 w 7467600"/>
              <a:gd name="connsiteY107" fmla="*/ 5064547 h 6858000"/>
              <a:gd name="connsiteX108" fmla="*/ 2793103 w 7467600"/>
              <a:gd name="connsiteY108" fmla="*/ 5039699 h 6858000"/>
              <a:gd name="connsiteX109" fmla="*/ 2770041 w 7467600"/>
              <a:gd name="connsiteY109" fmla="*/ 5033634 h 6858000"/>
              <a:gd name="connsiteX110" fmla="*/ 1979378 w 7467600"/>
              <a:gd name="connsiteY110" fmla="*/ 4769504 h 6858000"/>
              <a:gd name="connsiteX111" fmla="*/ 1927410 w 7467600"/>
              <a:gd name="connsiteY111" fmla="*/ 4716164 h 6858000"/>
              <a:gd name="connsiteX112" fmla="*/ 1959587 w 7467600"/>
              <a:gd name="connsiteY112" fmla="*/ 4728849 h 6858000"/>
              <a:gd name="connsiteX113" fmla="*/ 2777707 w 7467600"/>
              <a:gd name="connsiteY113" fmla="*/ 5003991 h 6858000"/>
              <a:gd name="connsiteX114" fmla="*/ 2800768 w 7467600"/>
              <a:gd name="connsiteY114" fmla="*/ 5010056 h 6858000"/>
              <a:gd name="connsiteX115" fmla="*/ 2879408 w 7467600"/>
              <a:gd name="connsiteY115" fmla="*/ 5031590 h 6858000"/>
              <a:gd name="connsiteX116" fmla="*/ 2862295 w 7467600"/>
              <a:gd name="connsiteY116" fmla="*/ 5022958 h 6858000"/>
              <a:gd name="connsiteX117" fmla="*/ 2813343 w 7467600"/>
              <a:gd name="connsiteY117" fmla="*/ 4998369 h 6858000"/>
              <a:gd name="connsiteX118" fmla="*/ 2646245 w 7467600"/>
              <a:gd name="connsiteY118" fmla="*/ 4930999 h 6858000"/>
              <a:gd name="connsiteX119" fmla="*/ 1999243 w 7467600"/>
              <a:gd name="connsiteY119" fmla="*/ 4730524 h 6858000"/>
              <a:gd name="connsiteX120" fmla="*/ 1979527 w 7467600"/>
              <a:gd name="connsiteY120" fmla="*/ 4726651 h 6858000"/>
              <a:gd name="connsiteX121" fmla="*/ 1927410 w 7467600"/>
              <a:gd name="connsiteY121" fmla="*/ 4716164 h 6858000"/>
              <a:gd name="connsiteX122" fmla="*/ 1997014 w 7467600"/>
              <a:gd name="connsiteY122" fmla="*/ 4698007 h 6858000"/>
              <a:gd name="connsiteX123" fmla="*/ 2005458 w 7467600"/>
              <a:gd name="connsiteY123" fmla="*/ 4699540 h 6858000"/>
              <a:gd name="connsiteX124" fmla="*/ 2657186 w 7467600"/>
              <a:gd name="connsiteY124" fmla="*/ 4901687 h 6858000"/>
              <a:gd name="connsiteX125" fmla="*/ 2826662 w 7467600"/>
              <a:gd name="connsiteY125" fmla="*/ 4970362 h 6858000"/>
              <a:gd name="connsiteX126" fmla="*/ 2876100 w 7467600"/>
              <a:gd name="connsiteY126" fmla="*/ 4995397 h 6858000"/>
              <a:gd name="connsiteX127" fmla="*/ 3042600 w 7467600"/>
              <a:gd name="connsiteY127" fmla="*/ 5059532 h 6858000"/>
              <a:gd name="connsiteX128" fmla="*/ 1997014 w 7467600"/>
              <a:gd name="connsiteY128" fmla="*/ 4698007 h 6858000"/>
              <a:gd name="connsiteX129" fmla="*/ 2305292 w 7467600"/>
              <a:gd name="connsiteY129" fmla="*/ 4219492 h 6858000"/>
              <a:gd name="connsiteX130" fmla="*/ 3360922 w 7467600"/>
              <a:gd name="connsiteY130" fmla="*/ 4529373 h 6858000"/>
              <a:gd name="connsiteX131" fmla="*/ 3492420 w 7467600"/>
              <a:gd name="connsiteY131" fmla="*/ 4510145 h 6858000"/>
              <a:gd name="connsiteX132" fmla="*/ 3364086 w 7467600"/>
              <a:gd name="connsiteY132" fmla="*/ 4480340 h 6858000"/>
              <a:gd name="connsiteX133" fmla="*/ 3225818 w 7467600"/>
              <a:gd name="connsiteY133" fmla="*/ 4411822 h 6858000"/>
              <a:gd name="connsiteX134" fmla="*/ 3129696 w 7467600"/>
              <a:gd name="connsiteY134" fmla="*/ 4360704 h 6858000"/>
              <a:gd name="connsiteX135" fmla="*/ 2814545 w 7467600"/>
              <a:gd name="connsiteY135" fmla="*/ 4282955 h 6858000"/>
              <a:gd name="connsiteX136" fmla="*/ 2305292 w 7467600"/>
              <a:gd name="connsiteY136" fmla="*/ 4219492 h 6858000"/>
              <a:gd name="connsiteX137" fmla="*/ 2626982 w 7467600"/>
              <a:gd name="connsiteY137" fmla="*/ 4206450 h 6858000"/>
              <a:gd name="connsiteX138" fmla="*/ 2490617 w 7467600"/>
              <a:gd name="connsiteY138" fmla="*/ 4206951 h 6858000"/>
              <a:gd name="connsiteX139" fmla="*/ 2819869 w 7467600"/>
              <a:gd name="connsiteY139" fmla="*/ 4252936 h 6858000"/>
              <a:gd name="connsiteX140" fmla="*/ 3143018 w 7467600"/>
              <a:gd name="connsiteY140" fmla="*/ 4332698 h 6858000"/>
              <a:gd name="connsiteX141" fmla="*/ 3241520 w 7467600"/>
              <a:gd name="connsiteY141" fmla="*/ 4385112 h 6858000"/>
              <a:gd name="connsiteX142" fmla="*/ 3374575 w 7467600"/>
              <a:gd name="connsiteY142" fmla="*/ 4451517 h 6858000"/>
              <a:gd name="connsiteX143" fmla="*/ 3505221 w 7467600"/>
              <a:gd name="connsiteY143" fmla="*/ 4480757 h 6858000"/>
              <a:gd name="connsiteX144" fmla="*/ 2626982 w 7467600"/>
              <a:gd name="connsiteY144" fmla="*/ 4206450 h 6858000"/>
              <a:gd name="connsiteX145" fmla="*/ 1310106 w 7467600"/>
              <a:gd name="connsiteY145" fmla="*/ 3943217 h 6858000"/>
              <a:gd name="connsiteX146" fmla="*/ 854994 w 7467600"/>
              <a:gd name="connsiteY146" fmla="*/ 4399136 h 6858000"/>
              <a:gd name="connsiteX147" fmla="*/ 742462 w 7467600"/>
              <a:gd name="connsiteY147" fmla="*/ 4594648 h 6858000"/>
              <a:gd name="connsiteX148" fmla="*/ 820602 w 7467600"/>
              <a:gd name="connsiteY148" fmla="*/ 4485915 h 6858000"/>
              <a:gd name="connsiteX149" fmla="*/ 878295 w 7467600"/>
              <a:gd name="connsiteY149" fmla="*/ 4403594 h 6858000"/>
              <a:gd name="connsiteX150" fmla="*/ 1240607 w 7467600"/>
              <a:gd name="connsiteY150" fmla="*/ 4010401 h 6858000"/>
              <a:gd name="connsiteX151" fmla="*/ 1310106 w 7467600"/>
              <a:gd name="connsiteY151" fmla="*/ 3943217 h 6858000"/>
              <a:gd name="connsiteX152" fmla="*/ 1423113 w 7467600"/>
              <a:gd name="connsiteY152" fmla="*/ 3874565 h 6858000"/>
              <a:gd name="connsiteX153" fmla="*/ 1260565 w 7467600"/>
              <a:gd name="connsiteY153" fmla="*/ 4031982 h 6858000"/>
              <a:gd name="connsiteX154" fmla="*/ 901900 w 7467600"/>
              <a:gd name="connsiteY154" fmla="*/ 4421236 h 6858000"/>
              <a:gd name="connsiteX155" fmla="*/ 845044 w 7467600"/>
              <a:gd name="connsiteY155" fmla="*/ 4502436 h 6858000"/>
              <a:gd name="connsiteX156" fmla="*/ 685926 w 7467600"/>
              <a:gd name="connsiteY156" fmla="*/ 4703069 h 6858000"/>
              <a:gd name="connsiteX157" fmla="*/ 684248 w 7467600"/>
              <a:gd name="connsiteY157" fmla="*/ 4706721 h 6858000"/>
              <a:gd name="connsiteX158" fmla="*/ 1423113 w 7467600"/>
              <a:gd name="connsiteY158" fmla="*/ 3874565 h 6858000"/>
              <a:gd name="connsiteX159" fmla="*/ 3316479 w 7467600"/>
              <a:gd name="connsiteY159" fmla="*/ 3872136 h 6858000"/>
              <a:gd name="connsiteX160" fmla="*/ 3546806 w 7467600"/>
              <a:gd name="connsiteY160" fmla="*/ 4356139 h 6858000"/>
              <a:gd name="connsiteX161" fmla="*/ 3364433 w 7467600"/>
              <a:gd name="connsiteY161" fmla="*/ 3953121 h 6858000"/>
              <a:gd name="connsiteX162" fmla="*/ 3316479 w 7467600"/>
              <a:gd name="connsiteY162" fmla="*/ 3872136 h 6858000"/>
              <a:gd name="connsiteX163" fmla="*/ 3291335 w 7467600"/>
              <a:gd name="connsiteY163" fmla="*/ 3767420 h 6858000"/>
              <a:gd name="connsiteX164" fmla="*/ 3390805 w 7467600"/>
              <a:gd name="connsiteY164" fmla="*/ 3937163 h 6858000"/>
              <a:gd name="connsiteX165" fmla="*/ 3579062 w 7467600"/>
              <a:gd name="connsiteY165" fmla="*/ 4359040 h 6858000"/>
              <a:gd name="connsiteX166" fmla="*/ 3467355 w 7467600"/>
              <a:gd name="connsiteY166" fmla="*/ 3988130 h 6858000"/>
              <a:gd name="connsiteX167" fmla="*/ 3310753 w 7467600"/>
              <a:gd name="connsiteY167" fmla="*/ 3787140 h 6858000"/>
              <a:gd name="connsiteX168" fmla="*/ 3291335 w 7467600"/>
              <a:gd name="connsiteY168" fmla="*/ 3767420 h 6858000"/>
              <a:gd name="connsiteX169" fmla="*/ 1635889 w 7467600"/>
              <a:gd name="connsiteY169" fmla="*/ 3709494 h 6858000"/>
              <a:gd name="connsiteX170" fmla="*/ 1634800 w 7467600"/>
              <a:gd name="connsiteY170" fmla="*/ 3731111 h 6858000"/>
              <a:gd name="connsiteX171" fmla="*/ 1635889 w 7467600"/>
              <a:gd name="connsiteY171" fmla="*/ 3709494 h 6858000"/>
              <a:gd name="connsiteX172" fmla="*/ 1510397 w 7467600"/>
              <a:gd name="connsiteY172" fmla="*/ 3684705 h 6858000"/>
              <a:gd name="connsiteX173" fmla="*/ 1146550 w 7467600"/>
              <a:gd name="connsiteY173" fmla="*/ 3802012 h 6858000"/>
              <a:gd name="connsiteX174" fmla="*/ 698834 w 7467600"/>
              <a:gd name="connsiteY174" fmla="*/ 3952272 h 6858000"/>
              <a:gd name="connsiteX175" fmla="*/ 34256 w 7467600"/>
              <a:gd name="connsiteY175" fmla="*/ 4347603 h 6858000"/>
              <a:gd name="connsiteX176" fmla="*/ 527241 w 7467600"/>
              <a:gd name="connsiteY176" fmla="*/ 4065078 h 6858000"/>
              <a:gd name="connsiteX177" fmla="*/ 1510397 w 7467600"/>
              <a:gd name="connsiteY177" fmla="*/ 3684705 h 6858000"/>
              <a:gd name="connsiteX178" fmla="*/ 1313114 w 7467600"/>
              <a:gd name="connsiteY178" fmla="*/ 3655216 h 6858000"/>
              <a:gd name="connsiteX179" fmla="*/ 1109304 w 7467600"/>
              <a:gd name="connsiteY179" fmla="*/ 3669030 h 6858000"/>
              <a:gd name="connsiteX180" fmla="*/ 8129 w 7467600"/>
              <a:gd name="connsiteY180" fmla="*/ 4330519 h 6858000"/>
              <a:gd name="connsiteX181" fmla="*/ 687572 w 7467600"/>
              <a:gd name="connsiteY181" fmla="*/ 3925629 h 6858000"/>
              <a:gd name="connsiteX182" fmla="*/ 1138365 w 7467600"/>
              <a:gd name="connsiteY182" fmla="*/ 3774515 h 6858000"/>
              <a:gd name="connsiteX183" fmla="*/ 1505579 w 7467600"/>
              <a:gd name="connsiteY183" fmla="*/ 3655526 h 6858000"/>
              <a:gd name="connsiteX184" fmla="*/ 1313114 w 7467600"/>
              <a:gd name="connsiteY184" fmla="*/ 3655216 h 6858000"/>
              <a:gd name="connsiteX185" fmla="*/ 3655073 w 7467600"/>
              <a:gd name="connsiteY185" fmla="*/ 3650884 h 6858000"/>
              <a:gd name="connsiteX186" fmla="*/ 3989938 w 7467600"/>
              <a:gd name="connsiteY186" fmla="*/ 3991685 h 6858000"/>
              <a:gd name="connsiteX187" fmla="*/ 4393907 w 7467600"/>
              <a:gd name="connsiteY187" fmla="*/ 4261258 h 6858000"/>
              <a:gd name="connsiteX188" fmla="*/ 4648051 w 7467600"/>
              <a:gd name="connsiteY188" fmla="*/ 4374051 h 6858000"/>
              <a:gd name="connsiteX189" fmla="*/ 4383389 w 7467600"/>
              <a:gd name="connsiteY189" fmla="*/ 4184369 h 6858000"/>
              <a:gd name="connsiteX190" fmla="*/ 4165508 w 7467600"/>
              <a:gd name="connsiteY190" fmla="*/ 4035196 h 6858000"/>
              <a:gd name="connsiteX191" fmla="*/ 4068162 w 7467600"/>
              <a:gd name="connsiteY191" fmla="*/ 3953394 h 6858000"/>
              <a:gd name="connsiteX192" fmla="*/ 3981416 w 7467600"/>
              <a:gd name="connsiteY192" fmla="*/ 3880482 h 6858000"/>
              <a:gd name="connsiteX193" fmla="*/ 3800147 w 7467600"/>
              <a:gd name="connsiteY193" fmla="*/ 3749872 h 6858000"/>
              <a:gd name="connsiteX194" fmla="*/ 3655073 w 7467600"/>
              <a:gd name="connsiteY194" fmla="*/ 3650884 h 6858000"/>
              <a:gd name="connsiteX195" fmla="*/ 3670252 w 7467600"/>
              <a:gd name="connsiteY195" fmla="*/ 3622798 h 6858000"/>
              <a:gd name="connsiteX196" fmla="*/ 3817258 w 7467600"/>
              <a:gd name="connsiteY196" fmla="*/ 3723577 h 6858000"/>
              <a:gd name="connsiteX197" fmla="*/ 4000461 w 7467600"/>
              <a:gd name="connsiteY197" fmla="*/ 3855966 h 6858000"/>
              <a:gd name="connsiteX198" fmla="*/ 4088180 w 7467600"/>
              <a:gd name="connsiteY198" fmla="*/ 3929774 h 6858000"/>
              <a:gd name="connsiteX199" fmla="*/ 4184555 w 7467600"/>
              <a:gd name="connsiteY199" fmla="*/ 4010683 h 6858000"/>
              <a:gd name="connsiteX200" fmla="*/ 4399563 w 7467600"/>
              <a:gd name="connsiteY200" fmla="*/ 4158106 h 6858000"/>
              <a:gd name="connsiteX201" fmla="*/ 4684469 w 7467600"/>
              <a:gd name="connsiteY201" fmla="*/ 4364680 h 6858000"/>
              <a:gd name="connsiteX202" fmla="*/ 4690271 w 7467600"/>
              <a:gd name="connsiteY202" fmla="*/ 4370034 h 6858000"/>
              <a:gd name="connsiteX203" fmla="*/ 4136093 w 7467600"/>
              <a:gd name="connsiteY203" fmla="*/ 3858466 h 6858000"/>
              <a:gd name="connsiteX204" fmla="*/ 3670252 w 7467600"/>
              <a:gd name="connsiteY204" fmla="*/ 3622798 h 6858000"/>
              <a:gd name="connsiteX205" fmla="*/ 4440129 w 7467600"/>
              <a:gd name="connsiteY205" fmla="*/ 3448571 h 6858000"/>
              <a:gd name="connsiteX206" fmla="*/ 4856525 w 7467600"/>
              <a:gd name="connsiteY206" fmla="*/ 3915351 h 6858000"/>
              <a:gd name="connsiteX207" fmla="*/ 5059055 w 7467600"/>
              <a:gd name="connsiteY207" fmla="*/ 4108918 h 6858000"/>
              <a:gd name="connsiteX208" fmla="*/ 5290070 w 7467600"/>
              <a:gd name="connsiteY208" fmla="*/ 4263619 h 6858000"/>
              <a:gd name="connsiteX209" fmla="*/ 4834991 w 7467600"/>
              <a:gd name="connsiteY209" fmla="*/ 3830985 h 6858000"/>
              <a:gd name="connsiteX210" fmla="*/ 4440129 w 7467600"/>
              <a:gd name="connsiteY210" fmla="*/ 3448571 h 6858000"/>
              <a:gd name="connsiteX211" fmla="*/ 4441737 w 7467600"/>
              <a:gd name="connsiteY211" fmla="*/ 3399734 h 6858000"/>
              <a:gd name="connsiteX212" fmla="*/ 4431236 w 7467600"/>
              <a:gd name="connsiteY212" fmla="*/ 3400954 h 6858000"/>
              <a:gd name="connsiteX213" fmla="*/ 4557150 w 7467600"/>
              <a:gd name="connsiteY213" fmla="*/ 3510023 h 6858000"/>
              <a:gd name="connsiteX214" fmla="*/ 4856936 w 7467600"/>
              <a:gd name="connsiteY214" fmla="*/ 3809146 h 6858000"/>
              <a:gd name="connsiteX215" fmla="*/ 5111996 w 7467600"/>
              <a:gd name="connsiteY215" fmla="*/ 4065759 h 6858000"/>
              <a:gd name="connsiteX216" fmla="*/ 5388878 w 7467600"/>
              <a:gd name="connsiteY216" fmla="*/ 4300185 h 6858000"/>
              <a:gd name="connsiteX217" fmla="*/ 5425556 w 7467600"/>
              <a:gd name="connsiteY217" fmla="*/ 4308967 h 6858000"/>
              <a:gd name="connsiteX218" fmla="*/ 4943646 w 7467600"/>
              <a:gd name="connsiteY218" fmla="*/ 3822916 h 6858000"/>
              <a:gd name="connsiteX219" fmla="*/ 4594837 w 7467600"/>
              <a:gd name="connsiteY219" fmla="*/ 3532274 h 6858000"/>
              <a:gd name="connsiteX220" fmla="*/ 4441737 w 7467600"/>
              <a:gd name="connsiteY220" fmla="*/ 3399734 h 6858000"/>
              <a:gd name="connsiteX221" fmla="*/ 5425834 w 7467600"/>
              <a:gd name="connsiteY221" fmla="*/ 3162785 h 6858000"/>
              <a:gd name="connsiteX222" fmla="*/ 5401644 w 7467600"/>
              <a:gd name="connsiteY222" fmla="*/ 3617847 h 6858000"/>
              <a:gd name="connsiteX223" fmla="*/ 5467256 w 7467600"/>
              <a:gd name="connsiteY223" fmla="*/ 4175494 h 6858000"/>
              <a:gd name="connsiteX224" fmla="*/ 5448069 w 7467600"/>
              <a:gd name="connsiteY224" fmla="*/ 3567554 h 6858000"/>
              <a:gd name="connsiteX225" fmla="*/ 5425834 w 7467600"/>
              <a:gd name="connsiteY225" fmla="*/ 3162785 h 6858000"/>
              <a:gd name="connsiteX226" fmla="*/ 1318687 w 7467600"/>
              <a:gd name="connsiteY226" fmla="*/ 3113840 h 6858000"/>
              <a:gd name="connsiteX227" fmla="*/ 1066793 w 7467600"/>
              <a:gd name="connsiteY227" fmla="*/ 3212171 h 6858000"/>
              <a:gd name="connsiteX228" fmla="*/ 993319 w 7467600"/>
              <a:gd name="connsiteY228" fmla="*/ 3247648 h 6858000"/>
              <a:gd name="connsiteX229" fmla="*/ 853081 w 7467600"/>
              <a:gd name="connsiteY229" fmla="*/ 3312410 h 6858000"/>
              <a:gd name="connsiteX230" fmla="*/ 805957 w 7467600"/>
              <a:gd name="connsiteY230" fmla="*/ 3330443 h 6858000"/>
              <a:gd name="connsiteX231" fmla="*/ 1318687 w 7467600"/>
              <a:gd name="connsiteY231" fmla="*/ 3113840 h 6858000"/>
              <a:gd name="connsiteX232" fmla="*/ 5453702 w 7467600"/>
              <a:gd name="connsiteY232" fmla="*/ 3090882 h 6858000"/>
              <a:gd name="connsiteX233" fmla="*/ 5480135 w 7467600"/>
              <a:gd name="connsiteY233" fmla="*/ 3565802 h 6858000"/>
              <a:gd name="connsiteX234" fmla="*/ 5499023 w 7467600"/>
              <a:gd name="connsiteY234" fmla="*/ 4166310 h 6858000"/>
              <a:gd name="connsiteX235" fmla="*/ 5547022 w 7467600"/>
              <a:gd name="connsiteY235" fmla="*/ 3607838 h 6858000"/>
              <a:gd name="connsiteX236" fmla="*/ 5515964 w 7467600"/>
              <a:gd name="connsiteY236" fmla="*/ 3378541 h 6858000"/>
              <a:gd name="connsiteX237" fmla="*/ 5453702 w 7467600"/>
              <a:gd name="connsiteY237" fmla="*/ 3090882 h 6858000"/>
              <a:gd name="connsiteX238" fmla="*/ 1238695 w 7467600"/>
              <a:gd name="connsiteY238" fmla="*/ 3076820 h 6858000"/>
              <a:gd name="connsiteX239" fmla="*/ 716371 w 7467600"/>
              <a:gd name="connsiteY239" fmla="*/ 3293249 h 6858000"/>
              <a:gd name="connsiteX240" fmla="*/ 579522 w 7467600"/>
              <a:gd name="connsiteY240" fmla="*/ 3371759 h 6858000"/>
              <a:gd name="connsiteX241" fmla="*/ 600288 w 7467600"/>
              <a:gd name="connsiteY241" fmla="*/ 3365555 h 6858000"/>
              <a:gd name="connsiteX242" fmla="*/ 840692 w 7467600"/>
              <a:gd name="connsiteY242" fmla="*/ 3284921 h 6858000"/>
              <a:gd name="connsiteX243" fmla="*/ 979248 w 7467600"/>
              <a:gd name="connsiteY243" fmla="*/ 3221003 h 6858000"/>
              <a:gd name="connsiteX244" fmla="*/ 1053282 w 7467600"/>
              <a:gd name="connsiteY244" fmla="*/ 3185247 h 6858000"/>
              <a:gd name="connsiteX245" fmla="*/ 1320603 w 7467600"/>
              <a:gd name="connsiteY245" fmla="*/ 3081281 h 6858000"/>
              <a:gd name="connsiteX246" fmla="*/ 1238695 w 7467600"/>
              <a:gd name="connsiteY246" fmla="*/ 3076820 h 6858000"/>
              <a:gd name="connsiteX247" fmla="*/ 5425627 w 7467600"/>
              <a:gd name="connsiteY247" fmla="*/ 2954192 h 6858000"/>
              <a:gd name="connsiteX248" fmla="*/ 5470770 w 7467600"/>
              <a:gd name="connsiteY248" fmla="*/ 3005435 h 6858000"/>
              <a:gd name="connsiteX249" fmla="*/ 5519779 w 7467600"/>
              <a:gd name="connsiteY249" fmla="*/ 4359223 h 6858000"/>
              <a:gd name="connsiteX250" fmla="*/ 5520293 w 7467600"/>
              <a:gd name="connsiteY250" fmla="*/ 4360602 h 6858000"/>
              <a:gd name="connsiteX251" fmla="*/ 5767221 w 7467600"/>
              <a:gd name="connsiteY251" fmla="*/ 4665564 h 6858000"/>
              <a:gd name="connsiteX252" fmla="*/ 6937169 w 7467600"/>
              <a:gd name="connsiteY252" fmla="*/ 4815941 h 6858000"/>
              <a:gd name="connsiteX253" fmla="*/ 6953922 w 7467600"/>
              <a:gd name="connsiteY253" fmla="*/ 4890068 h 6858000"/>
              <a:gd name="connsiteX254" fmla="*/ 6071359 w 7467600"/>
              <a:gd name="connsiteY254" fmla="*/ 4770770 h 6858000"/>
              <a:gd name="connsiteX255" fmla="*/ 6038839 w 7467600"/>
              <a:gd name="connsiteY255" fmla="*/ 4764474 h 6858000"/>
              <a:gd name="connsiteX256" fmla="*/ 6038706 w 7467600"/>
              <a:gd name="connsiteY256" fmla="*/ 4763847 h 6858000"/>
              <a:gd name="connsiteX257" fmla="*/ 6037784 w 7467600"/>
              <a:gd name="connsiteY257" fmla="*/ 4764270 h 6858000"/>
              <a:gd name="connsiteX258" fmla="*/ 6038839 w 7467600"/>
              <a:gd name="connsiteY258" fmla="*/ 4764474 h 6858000"/>
              <a:gd name="connsiteX259" fmla="*/ 6040338 w 7467600"/>
              <a:gd name="connsiteY259" fmla="*/ 4771418 h 6858000"/>
              <a:gd name="connsiteX260" fmla="*/ 6024488 w 7467600"/>
              <a:gd name="connsiteY260" fmla="*/ 4809903 h 6858000"/>
              <a:gd name="connsiteX261" fmla="*/ 5599771 w 7467600"/>
              <a:gd name="connsiteY261" fmla="*/ 5509652 h 6858000"/>
              <a:gd name="connsiteX262" fmla="*/ 5548843 w 7467600"/>
              <a:gd name="connsiteY262" fmla="*/ 5563845 h 6858000"/>
              <a:gd name="connsiteX263" fmla="*/ 5940952 w 7467600"/>
              <a:gd name="connsiteY263" fmla="*/ 6250028 h 6858000"/>
              <a:gd name="connsiteX264" fmla="*/ 6043441 w 7467600"/>
              <a:gd name="connsiteY264" fmla="*/ 6665847 h 6858000"/>
              <a:gd name="connsiteX265" fmla="*/ 6093432 w 7467600"/>
              <a:gd name="connsiteY265" fmla="*/ 6858000 h 6858000"/>
              <a:gd name="connsiteX266" fmla="*/ 6034344 w 7467600"/>
              <a:gd name="connsiteY266" fmla="*/ 6858000 h 6858000"/>
              <a:gd name="connsiteX267" fmla="*/ 6026679 w 7467600"/>
              <a:gd name="connsiteY267" fmla="*/ 6836959 h 6858000"/>
              <a:gd name="connsiteX268" fmla="*/ 5800441 w 7467600"/>
              <a:gd name="connsiteY268" fmla="*/ 6335286 h 6858000"/>
              <a:gd name="connsiteX269" fmla="*/ 5526562 w 7467600"/>
              <a:gd name="connsiteY269" fmla="*/ 5705388 h 6858000"/>
              <a:gd name="connsiteX270" fmla="*/ 5519640 w 7467600"/>
              <a:gd name="connsiteY270" fmla="*/ 5683774 h 6858000"/>
              <a:gd name="connsiteX271" fmla="*/ 5844559 w 7467600"/>
              <a:gd name="connsiteY271" fmla="*/ 6553349 h 6858000"/>
              <a:gd name="connsiteX272" fmla="*/ 5975994 w 7467600"/>
              <a:gd name="connsiteY272" fmla="*/ 6858000 h 6858000"/>
              <a:gd name="connsiteX273" fmla="*/ 5898547 w 7467600"/>
              <a:gd name="connsiteY273" fmla="*/ 6858000 h 6858000"/>
              <a:gd name="connsiteX274" fmla="*/ 5682041 w 7467600"/>
              <a:gd name="connsiteY274" fmla="*/ 6355860 h 6858000"/>
              <a:gd name="connsiteX275" fmla="*/ 5461758 w 7467600"/>
              <a:gd name="connsiteY275" fmla="*/ 5820220 h 6858000"/>
              <a:gd name="connsiteX276" fmla="*/ 5237282 w 7467600"/>
              <a:gd name="connsiteY276" fmla="*/ 6579086 h 6858000"/>
              <a:gd name="connsiteX277" fmla="*/ 5115009 w 7467600"/>
              <a:gd name="connsiteY277" fmla="*/ 6858000 h 6858000"/>
              <a:gd name="connsiteX278" fmla="*/ 5028074 w 7467600"/>
              <a:gd name="connsiteY278" fmla="*/ 6858000 h 6858000"/>
              <a:gd name="connsiteX279" fmla="*/ 5079508 w 7467600"/>
              <a:gd name="connsiteY279" fmla="*/ 6749074 h 6858000"/>
              <a:gd name="connsiteX280" fmla="*/ 5371846 w 7467600"/>
              <a:gd name="connsiteY280" fmla="*/ 5924413 h 6858000"/>
              <a:gd name="connsiteX281" fmla="*/ 5270512 w 7467600"/>
              <a:gd name="connsiteY281" fmla="*/ 6138975 h 6858000"/>
              <a:gd name="connsiteX282" fmla="*/ 5062409 w 7467600"/>
              <a:gd name="connsiteY282" fmla="*/ 6653544 h 6858000"/>
              <a:gd name="connsiteX283" fmla="*/ 5036628 w 7467600"/>
              <a:gd name="connsiteY283" fmla="*/ 6754247 h 6858000"/>
              <a:gd name="connsiteX284" fmla="*/ 5009112 w 7467600"/>
              <a:gd name="connsiteY284" fmla="*/ 6858000 h 6858000"/>
              <a:gd name="connsiteX285" fmla="*/ 4976679 w 7467600"/>
              <a:gd name="connsiteY285" fmla="*/ 6858000 h 6858000"/>
              <a:gd name="connsiteX286" fmla="*/ 5006537 w 7467600"/>
              <a:gd name="connsiteY286" fmla="*/ 6747068 h 6858000"/>
              <a:gd name="connsiteX287" fmla="*/ 5032723 w 7467600"/>
              <a:gd name="connsiteY287" fmla="*/ 6644957 h 6858000"/>
              <a:gd name="connsiteX288" fmla="*/ 5242949 w 7467600"/>
              <a:gd name="connsiteY288" fmla="*/ 6125175 h 6858000"/>
              <a:gd name="connsiteX289" fmla="*/ 5286321 w 7467600"/>
              <a:gd name="connsiteY289" fmla="*/ 6033555 h 6858000"/>
              <a:gd name="connsiteX290" fmla="*/ 5008210 w 7467600"/>
              <a:gd name="connsiteY290" fmla="*/ 6649194 h 6858000"/>
              <a:gd name="connsiteX291" fmla="*/ 4986321 w 7467600"/>
              <a:gd name="connsiteY291" fmla="*/ 6765687 h 6858000"/>
              <a:gd name="connsiteX292" fmla="*/ 4973474 w 7467600"/>
              <a:gd name="connsiteY292" fmla="*/ 6858000 h 6858000"/>
              <a:gd name="connsiteX293" fmla="*/ 4907178 w 7467600"/>
              <a:gd name="connsiteY293" fmla="*/ 6858000 h 6858000"/>
              <a:gd name="connsiteX294" fmla="*/ 4910810 w 7467600"/>
              <a:gd name="connsiteY294" fmla="*/ 6829660 h 6858000"/>
              <a:gd name="connsiteX295" fmla="*/ 4987461 w 7467600"/>
              <a:gd name="connsiteY295" fmla="*/ 6432994 h 6858000"/>
              <a:gd name="connsiteX296" fmla="*/ 5179262 w 7467600"/>
              <a:gd name="connsiteY296" fmla="*/ 6035044 h 6858000"/>
              <a:gd name="connsiteX297" fmla="*/ 4689678 w 7467600"/>
              <a:gd name="connsiteY297" fmla="*/ 6440241 h 6858000"/>
              <a:gd name="connsiteX298" fmla="*/ 4477543 w 7467600"/>
              <a:gd name="connsiteY298" fmla="*/ 6674836 h 6858000"/>
              <a:gd name="connsiteX299" fmla="*/ 4329957 w 7467600"/>
              <a:gd name="connsiteY299" fmla="*/ 6858000 h 6858000"/>
              <a:gd name="connsiteX300" fmla="*/ 4218595 w 7467600"/>
              <a:gd name="connsiteY300" fmla="*/ 6858000 h 6858000"/>
              <a:gd name="connsiteX301" fmla="*/ 4368888 w 7467600"/>
              <a:gd name="connsiteY301" fmla="*/ 6668412 h 6858000"/>
              <a:gd name="connsiteX302" fmla="*/ 4563091 w 7467600"/>
              <a:gd name="connsiteY302" fmla="*/ 6442508 h 6858000"/>
              <a:gd name="connsiteX303" fmla="*/ 5387324 w 7467600"/>
              <a:gd name="connsiteY303" fmla="*/ 5705830 h 6858000"/>
              <a:gd name="connsiteX304" fmla="*/ 5073620 w 7467600"/>
              <a:gd name="connsiteY304" fmla="*/ 5955437 h 6858000"/>
              <a:gd name="connsiteX305" fmla="*/ 4689789 w 7467600"/>
              <a:gd name="connsiteY305" fmla="*/ 6268382 h 6858000"/>
              <a:gd name="connsiteX306" fmla="*/ 4418722 w 7467600"/>
              <a:gd name="connsiteY306" fmla="*/ 6570886 h 6858000"/>
              <a:gd name="connsiteX307" fmla="*/ 4214944 w 7467600"/>
              <a:gd name="connsiteY307" fmla="*/ 6858000 h 6858000"/>
              <a:gd name="connsiteX308" fmla="*/ 4177898 w 7467600"/>
              <a:gd name="connsiteY308" fmla="*/ 6858000 h 6858000"/>
              <a:gd name="connsiteX309" fmla="*/ 4391597 w 7467600"/>
              <a:gd name="connsiteY309" fmla="*/ 6556370 h 6858000"/>
              <a:gd name="connsiteX310" fmla="*/ 4668889 w 7467600"/>
              <a:gd name="connsiteY310" fmla="*/ 6246399 h 6858000"/>
              <a:gd name="connsiteX311" fmla="*/ 5055427 w 7467600"/>
              <a:gd name="connsiteY311" fmla="*/ 5931476 h 6858000"/>
              <a:gd name="connsiteX312" fmla="*/ 5371814 w 7467600"/>
              <a:gd name="connsiteY312" fmla="*/ 5678975 h 6858000"/>
              <a:gd name="connsiteX313" fmla="*/ 4987918 w 7467600"/>
              <a:gd name="connsiteY313" fmla="*/ 5838701 h 6858000"/>
              <a:gd name="connsiteX314" fmla="*/ 4317146 w 7467600"/>
              <a:gd name="connsiteY314" fmla="*/ 6587716 h 6858000"/>
              <a:gd name="connsiteX315" fmla="*/ 4171627 w 7467600"/>
              <a:gd name="connsiteY315" fmla="*/ 6858000 h 6858000"/>
              <a:gd name="connsiteX316" fmla="*/ 4081585 w 7467600"/>
              <a:gd name="connsiteY316" fmla="*/ 6858000 h 6858000"/>
              <a:gd name="connsiteX317" fmla="*/ 4238603 w 7467600"/>
              <a:gd name="connsiteY317" fmla="*/ 6559341 h 6858000"/>
              <a:gd name="connsiteX318" fmla="*/ 4778333 w 7467600"/>
              <a:gd name="connsiteY318" fmla="*/ 5873626 h 6858000"/>
              <a:gd name="connsiteX319" fmla="*/ 5414185 w 7467600"/>
              <a:gd name="connsiteY319" fmla="*/ 5573882 h 6858000"/>
              <a:gd name="connsiteX320" fmla="*/ 5959648 w 7467600"/>
              <a:gd name="connsiteY320" fmla="*/ 4760797 h 6858000"/>
              <a:gd name="connsiteX321" fmla="*/ 5355019 w 7467600"/>
              <a:gd name="connsiteY321" fmla="*/ 4734672 h 6858000"/>
              <a:gd name="connsiteX322" fmla="*/ 5083565 w 7467600"/>
              <a:gd name="connsiteY322" fmla="*/ 5179121 h 6858000"/>
              <a:gd name="connsiteX323" fmla="*/ 4713577 w 7467600"/>
              <a:gd name="connsiteY323" fmla="*/ 5616803 h 6858000"/>
              <a:gd name="connsiteX324" fmla="*/ 3989559 w 7467600"/>
              <a:gd name="connsiteY324" fmla="*/ 6145945 h 6858000"/>
              <a:gd name="connsiteX325" fmla="*/ 3939824 w 7467600"/>
              <a:gd name="connsiteY325" fmla="*/ 6066900 h 6858000"/>
              <a:gd name="connsiteX326" fmla="*/ 4584537 w 7467600"/>
              <a:gd name="connsiteY326" fmla="*/ 5324826 h 6858000"/>
              <a:gd name="connsiteX327" fmla="*/ 5037105 w 7467600"/>
              <a:gd name="connsiteY327" fmla="*/ 5088765 h 6858000"/>
              <a:gd name="connsiteX328" fmla="*/ 5039930 w 7467600"/>
              <a:gd name="connsiteY328" fmla="*/ 5089585 h 6858000"/>
              <a:gd name="connsiteX329" fmla="*/ 5263764 w 7467600"/>
              <a:gd name="connsiteY329" fmla="*/ 4735525 h 6858000"/>
              <a:gd name="connsiteX330" fmla="*/ 4086300 w 7467600"/>
              <a:gd name="connsiteY330" fmla="*/ 4884599 h 6858000"/>
              <a:gd name="connsiteX331" fmla="*/ 4085485 w 7467600"/>
              <a:gd name="connsiteY331" fmla="*/ 4899070 h 6858000"/>
              <a:gd name="connsiteX332" fmla="*/ 3871915 w 7467600"/>
              <a:gd name="connsiteY332" fmla="*/ 5253645 h 6858000"/>
              <a:gd name="connsiteX333" fmla="*/ 3799374 w 7467600"/>
              <a:gd name="connsiteY333" fmla="*/ 5466127 h 6858000"/>
              <a:gd name="connsiteX334" fmla="*/ 3498850 w 7467600"/>
              <a:gd name="connsiteY334" fmla="*/ 6661888 h 6858000"/>
              <a:gd name="connsiteX335" fmla="*/ 3399216 w 7467600"/>
              <a:gd name="connsiteY335" fmla="*/ 6858000 h 6858000"/>
              <a:gd name="connsiteX336" fmla="*/ 3303688 w 7467600"/>
              <a:gd name="connsiteY336" fmla="*/ 6858000 h 6858000"/>
              <a:gd name="connsiteX337" fmla="*/ 3391774 w 7467600"/>
              <a:gd name="connsiteY337" fmla="*/ 6697181 h 6858000"/>
              <a:gd name="connsiteX338" fmla="*/ 3735540 w 7467600"/>
              <a:gd name="connsiteY338" fmla="*/ 5546923 h 6858000"/>
              <a:gd name="connsiteX339" fmla="*/ 3729438 w 7467600"/>
              <a:gd name="connsiteY339" fmla="*/ 5569058 h 6858000"/>
              <a:gd name="connsiteX340" fmla="*/ 3707782 w 7467600"/>
              <a:gd name="connsiteY340" fmla="*/ 5644908 h 6858000"/>
              <a:gd name="connsiteX341" fmla="*/ 3583827 w 7467600"/>
              <a:gd name="connsiteY341" fmla="*/ 6039215 h 6858000"/>
              <a:gd name="connsiteX342" fmla="*/ 3547861 w 7467600"/>
              <a:gd name="connsiteY342" fmla="*/ 6129609 h 6858000"/>
              <a:gd name="connsiteX343" fmla="*/ 3490905 w 7467600"/>
              <a:gd name="connsiteY343" fmla="*/ 6277660 h 6858000"/>
              <a:gd name="connsiteX344" fmla="*/ 3455859 w 7467600"/>
              <a:gd name="connsiteY344" fmla="*/ 6391301 h 6858000"/>
              <a:gd name="connsiteX345" fmla="*/ 3429112 w 7467600"/>
              <a:gd name="connsiteY345" fmla="*/ 6479469 h 6858000"/>
              <a:gd name="connsiteX346" fmla="*/ 3304862 w 7467600"/>
              <a:gd name="connsiteY346" fmla="*/ 6796476 h 6858000"/>
              <a:gd name="connsiteX347" fmla="*/ 3276071 w 7467600"/>
              <a:gd name="connsiteY347" fmla="*/ 6858000 h 6858000"/>
              <a:gd name="connsiteX348" fmla="*/ 3240805 w 7467600"/>
              <a:gd name="connsiteY348" fmla="*/ 6858000 h 6858000"/>
              <a:gd name="connsiteX349" fmla="*/ 3275917 w 7467600"/>
              <a:gd name="connsiteY349" fmla="*/ 6783192 h 6858000"/>
              <a:gd name="connsiteX350" fmla="*/ 3399358 w 7467600"/>
              <a:gd name="connsiteY350" fmla="*/ 6469011 h 6858000"/>
              <a:gd name="connsiteX351" fmla="*/ 3425650 w 7467600"/>
              <a:gd name="connsiteY351" fmla="*/ 6381333 h 6858000"/>
              <a:gd name="connsiteX352" fmla="*/ 3460661 w 7467600"/>
              <a:gd name="connsiteY352" fmla="*/ 6266763 h 6858000"/>
              <a:gd name="connsiteX353" fmla="*/ 3518021 w 7467600"/>
              <a:gd name="connsiteY353" fmla="*/ 6117298 h 6858000"/>
              <a:gd name="connsiteX354" fmla="*/ 3554035 w 7467600"/>
              <a:gd name="connsiteY354" fmla="*/ 6027832 h 6858000"/>
              <a:gd name="connsiteX355" fmla="*/ 3677174 w 7467600"/>
              <a:gd name="connsiteY355" fmla="*/ 5636351 h 6858000"/>
              <a:gd name="connsiteX356" fmla="*/ 3698819 w 7467600"/>
              <a:gd name="connsiteY356" fmla="*/ 5560503 h 6858000"/>
              <a:gd name="connsiteX357" fmla="*/ 3702094 w 7467600"/>
              <a:gd name="connsiteY357" fmla="*/ 5549194 h 6858000"/>
              <a:gd name="connsiteX358" fmla="*/ 3398355 w 7467600"/>
              <a:gd name="connsiteY358" fmla="*/ 6094603 h 6858000"/>
              <a:gd name="connsiteX359" fmla="*/ 3193941 w 7467600"/>
              <a:gd name="connsiteY359" fmla="*/ 6798775 h 6858000"/>
              <a:gd name="connsiteX360" fmla="*/ 3184140 w 7467600"/>
              <a:gd name="connsiteY360" fmla="*/ 6858000 h 6858000"/>
              <a:gd name="connsiteX361" fmla="*/ 3099978 w 7467600"/>
              <a:gd name="connsiteY361" fmla="*/ 6858000 h 6858000"/>
              <a:gd name="connsiteX362" fmla="*/ 3101556 w 7467600"/>
              <a:gd name="connsiteY362" fmla="*/ 6843337 h 6858000"/>
              <a:gd name="connsiteX363" fmla="*/ 3370162 w 7467600"/>
              <a:gd name="connsiteY363" fmla="*/ 5785550 h 6858000"/>
              <a:gd name="connsiteX364" fmla="*/ 3746477 w 7467600"/>
              <a:gd name="connsiteY364" fmla="*/ 5377889 h 6858000"/>
              <a:gd name="connsiteX365" fmla="*/ 3863399 w 7467600"/>
              <a:gd name="connsiteY365" fmla="*/ 5087257 h 6858000"/>
              <a:gd name="connsiteX366" fmla="*/ 3968712 w 7467600"/>
              <a:gd name="connsiteY366" fmla="*/ 4913989 h 6858000"/>
              <a:gd name="connsiteX367" fmla="*/ 2792390 w 7467600"/>
              <a:gd name="connsiteY367" fmla="*/ 5382974 h 6858000"/>
              <a:gd name="connsiteX368" fmla="*/ 2714982 w 7467600"/>
              <a:gd name="connsiteY368" fmla="*/ 5427051 h 6858000"/>
              <a:gd name="connsiteX369" fmla="*/ 2813361 w 7467600"/>
              <a:gd name="connsiteY369" fmla="*/ 6023912 h 6858000"/>
              <a:gd name="connsiteX370" fmla="*/ 2688430 w 7467600"/>
              <a:gd name="connsiteY370" fmla="*/ 6801564 h 6858000"/>
              <a:gd name="connsiteX371" fmla="*/ 2629626 w 7467600"/>
              <a:gd name="connsiteY371" fmla="*/ 6763394 h 6858000"/>
              <a:gd name="connsiteX372" fmla="*/ 2565328 w 7467600"/>
              <a:gd name="connsiteY372" fmla="*/ 5516399 h 6858000"/>
              <a:gd name="connsiteX373" fmla="*/ 1922999 w 7467600"/>
              <a:gd name="connsiteY373" fmla="*/ 5980343 h 6858000"/>
              <a:gd name="connsiteX374" fmla="*/ 1950261 w 7467600"/>
              <a:gd name="connsiteY374" fmla="*/ 6405858 h 6858000"/>
              <a:gd name="connsiteX375" fmla="*/ 2365554 w 7467600"/>
              <a:gd name="connsiteY375" fmla="*/ 6759107 h 6858000"/>
              <a:gd name="connsiteX376" fmla="*/ 2424142 w 7467600"/>
              <a:gd name="connsiteY376" fmla="*/ 6858000 h 6858000"/>
              <a:gd name="connsiteX377" fmla="*/ 2395994 w 7467600"/>
              <a:gd name="connsiteY377" fmla="*/ 6858000 h 6858000"/>
              <a:gd name="connsiteX378" fmla="*/ 2392863 w 7467600"/>
              <a:gd name="connsiteY378" fmla="*/ 6852964 h 6858000"/>
              <a:gd name="connsiteX379" fmla="*/ 2017589 w 7467600"/>
              <a:gd name="connsiteY379" fmla="*/ 6493982 h 6858000"/>
              <a:gd name="connsiteX380" fmla="*/ 2147336 w 7467600"/>
              <a:gd name="connsiteY380" fmla="*/ 6594052 h 6858000"/>
              <a:gd name="connsiteX381" fmla="*/ 2207047 w 7467600"/>
              <a:gd name="connsiteY381" fmla="*/ 6654540 h 6858000"/>
              <a:gd name="connsiteX382" fmla="*/ 2299106 w 7467600"/>
              <a:gd name="connsiteY382" fmla="*/ 6778931 h 6858000"/>
              <a:gd name="connsiteX383" fmla="*/ 2314430 w 7467600"/>
              <a:gd name="connsiteY383" fmla="*/ 6801144 h 6858000"/>
              <a:gd name="connsiteX384" fmla="*/ 2352406 w 7467600"/>
              <a:gd name="connsiteY384" fmla="*/ 6858000 h 6858000"/>
              <a:gd name="connsiteX385" fmla="*/ 2314492 w 7467600"/>
              <a:gd name="connsiteY385" fmla="*/ 6858000 h 6858000"/>
              <a:gd name="connsiteX386" fmla="*/ 2288095 w 7467600"/>
              <a:gd name="connsiteY386" fmla="*/ 6818030 h 6858000"/>
              <a:gd name="connsiteX387" fmla="*/ 2272768 w 7467600"/>
              <a:gd name="connsiteY387" fmla="*/ 6795822 h 6858000"/>
              <a:gd name="connsiteX388" fmla="*/ 2182715 w 7467600"/>
              <a:gd name="connsiteY388" fmla="*/ 6675071 h 6858000"/>
              <a:gd name="connsiteX389" fmla="*/ 2032061 w 7467600"/>
              <a:gd name="connsiteY389" fmla="*/ 6541380 h 6858000"/>
              <a:gd name="connsiteX390" fmla="*/ 2257220 w 7467600"/>
              <a:gd name="connsiteY390" fmla="*/ 6826257 h 6858000"/>
              <a:gd name="connsiteX391" fmla="*/ 2281324 w 7467600"/>
              <a:gd name="connsiteY391" fmla="*/ 6858000 h 6858000"/>
              <a:gd name="connsiteX392" fmla="*/ 2242860 w 7467600"/>
              <a:gd name="connsiteY392" fmla="*/ 6858000 h 6858000"/>
              <a:gd name="connsiteX393" fmla="*/ 2232818 w 7467600"/>
              <a:gd name="connsiteY393" fmla="*/ 6844926 h 6858000"/>
              <a:gd name="connsiteX394" fmla="*/ 1990172 w 7467600"/>
              <a:gd name="connsiteY394" fmla="*/ 6542121 h 6858000"/>
              <a:gd name="connsiteX395" fmla="*/ 2124090 w 7467600"/>
              <a:gd name="connsiteY395" fmla="*/ 6761017 h 6858000"/>
              <a:gd name="connsiteX396" fmla="*/ 2200380 w 7467600"/>
              <a:gd name="connsiteY396" fmla="*/ 6858000 h 6858000"/>
              <a:gd name="connsiteX397" fmla="*/ 2147507 w 7467600"/>
              <a:gd name="connsiteY397" fmla="*/ 6858000 h 6858000"/>
              <a:gd name="connsiteX398" fmla="*/ 2070668 w 7467600"/>
              <a:gd name="connsiteY398" fmla="*/ 6761520 h 6858000"/>
              <a:gd name="connsiteX399" fmla="*/ 1975142 w 7467600"/>
              <a:gd name="connsiteY399" fmla="*/ 6585570 h 6858000"/>
              <a:gd name="connsiteX400" fmla="*/ 2050035 w 7467600"/>
              <a:gd name="connsiteY400" fmla="*/ 6813345 h 6858000"/>
              <a:gd name="connsiteX401" fmla="*/ 2063025 w 7467600"/>
              <a:gd name="connsiteY401" fmla="*/ 6858000 h 6858000"/>
              <a:gd name="connsiteX402" fmla="*/ 2021675 w 7467600"/>
              <a:gd name="connsiteY402" fmla="*/ 6858000 h 6858000"/>
              <a:gd name="connsiteX403" fmla="*/ 2019308 w 7467600"/>
              <a:gd name="connsiteY403" fmla="*/ 6847118 h 6858000"/>
              <a:gd name="connsiteX404" fmla="*/ 1938835 w 7467600"/>
              <a:gd name="connsiteY404" fmla="*/ 6551160 h 6858000"/>
              <a:gd name="connsiteX405" fmla="*/ 1953230 w 7467600"/>
              <a:gd name="connsiteY405" fmla="*/ 6759699 h 6858000"/>
              <a:gd name="connsiteX406" fmla="*/ 1956763 w 7467600"/>
              <a:gd name="connsiteY406" fmla="*/ 6778191 h 6858000"/>
              <a:gd name="connsiteX407" fmla="*/ 1967925 w 7467600"/>
              <a:gd name="connsiteY407" fmla="*/ 6858000 h 6858000"/>
              <a:gd name="connsiteX408" fmla="*/ 1936622 w 7467600"/>
              <a:gd name="connsiteY408" fmla="*/ 6858000 h 6858000"/>
              <a:gd name="connsiteX409" fmla="*/ 1926261 w 7467600"/>
              <a:gd name="connsiteY409" fmla="*/ 6784064 h 6858000"/>
              <a:gd name="connsiteX410" fmla="*/ 1922724 w 7467600"/>
              <a:gd name="connsiteY410" fmla="*/ 6765577 h 6858000"/>
              <a:gd name="connsiteX411" fmla="*/ 1904650 w 7467600"/>
              <a:gd name="connsiteY411" fmla="*/ 6639616 h 6858000"/>
              <a:gd name="connsiteX412" fmla="*/ 1885273 w 7467600"/>
              <a:gd name="connsiteY412" fmla="*/ 6858000 h 6858000"/>
              <a:gd name="connsiteX413" fmla="*/ 1854363 w 7467600"/>
              <a:gd name="connsiteY413" fmla="*/ 6858000 h 6858000"/>
              <a:gd name="connsiteX414" fmla="*/ 1880391 w 7467600"/>
              <a:gd name="connsiteY414" fmla="*/ 6603796 h 6858000"/>
              <a:gd name="connsiteX415" fmla="*/ 1818273 w 7467600"/>
              <a:gd name="connsiteY415" fmla="*/ 6715729 h 6858000"/>
              <a:gd name="connsiteX416" fmla="*/ 1794691 w 7467600"/>
              <a:gd name="connsiteY416" fmla="*/ 6843239 h 6858000"/>
              <a:gd name="connsiteX417" fmla="*/ 1794914 w 7467600"/>
              <a:gd name="connsiteY417" fmla="*/ 6858000 h 6858000"/>
              <a:gd name="connsiteX418" fmla="*/ 1746128 w 7467600"/>
              <a:gd name="connsiteY418" fmla="*/ 6858000 h 6858000"/>
              <a:gd name="connsiteX419" fmla="*/ 1753934 w 7467600"/>
              <a:gd name="connsiteY419" fmla="*/ 6724796 h 6858000"/>
              <a:gd name="connsiteX420" fmla="*/ 1792053 w 7467600"/>
              <a:gd name="connsiteY420" fmla="*/ 6572396 h 6858000"/>
              <a:gd name="connsiteX421" fmla="*/ 1862248 w 7467600"/>
              <a:gd name="connsiteY421" fmla="*/ 6266397 h 6858000"/>
              <a:gd name="connsiteX422" fmla="*/ 1862250 w 7467600"/>
              <a:gd name="connsiteY422" fmla="*/ 6033531 h 6858000"/>
              <a:gd name="connsiteX423" fmla="*/ 1211999 w 7467600"/>
              <a:gd name="connsiteY423" fmla="*/ 6683610 h 6858000"/>
              <a:gd name="connsiteX424" fmla="*/ 1213266 w 7467600"/>
              <a:gd name="connsiteY424" fmla="*/ 6691947 h 6858000"/>
              <a:gd name="connsiteX425" fmla="*/ 1203370 w 7467600"/>
              <a:gd name="connsiteY425" fmla="*/ 6850676 h 6858000"/>
              <a:gd name="connsiteX426" fmla="*/ 1203671 w 7467600"/>
              <a:gd name="connsiteY426" fmla="*/ 6858000 h 6858000"/>
              <a:gd name="connsiteX427" fmla="*/ 1143180 w 7467600"/>
              <a:gd name="connsiteY427" fmla="*/ 6858000 h 6858000"/>
              <a:gd name="connsiteX428" fmla="*/ 1142176 w 7467600"/>
              <a:gd name="connsiteY428" fmla="*/ 6766045 h 6858000"/>
              <a:gd name="connsiteX429" fmla="*/ 1067484 w 7467600"/>
              <a:gd name="connsiteY429" fmla="*/ 6858000 h 6858000"/>
              <a:gd name="connsiteX430" fmla="*/ 953928 w 7467600"/>
              <a:gd name="connsiteY430" fmla="*/ 6858000 h 6858000"/>
              <a:gd name="connsiteX431" fmla="*/ 959715 w 7467600"/>
              <a:gd name="connsiteY431" fmla="*/ 6850185 h 6858000"/>
              <a:gd name="connsiteX432" fmla="*/ 1483788 w 7467600"/>
              <a:gd name="connsiteY432" fmla="*/ 6259174 h 6858000"/>
              <a:gd name="connsiteX433" fmla="*/ 1100671 w 7467600"/>
              <a:gd name="connsiteY433" fmla="*/ 6252137 h 6858000"/>
              <a:gd name="connsiteX434" fmla="*/ 1090144 w 7467600"/>
              <a:gd name="connsiteY434" fmla="*/ 6256748 h 6858000"/>
              <a:gd name="connsiteX435" fmla="*/ 1095872 w 7467600"/>
              <a:gd name="connsiteY435" fmla="*/ 6271892 h 6858000"/>
              <a:gd name="connsiteX436" fmla="*/ 262785 w 7467600"/>
              <a:gd name="connsiteY436" fmla="*/ 6845450 h 6858000"/>
              <a:gd name="connsiteX437" fmla="*/ 209968 w 7467600"/>
              <a:gd name="connsiteY437" fmla="*/ 6770713 h 6858000"/>
              <a:gd name="connsiteX438" fmla="*/ 873460 w 7467600"/>
              <a:gd name="connsiteY438" fmla="*/ 6253768 h 6858000"/>
              <a:gd name="connsiteX439" fmla="*/ 192686 w 7467600"/>
              <a:gd name="connsiteY439" fmla="*/ 5849257 h 6858000"/>
              <a:gd name="connsiteX440" fmla="*/ 4696 w 7467600"/>
              <a:gd name="connsiteY440" fmla="*/ 5697668 h 6858000"/>
              <a:gd name="connsiteX441" fmla="*/ 0 w 7467600"/>
              <a:gd name="connsiteY441" fmla="*/ 5689984 h 6858000"/>
              <a:gd name="connsiteX442" fmla="*/ 0 w 7467600"/>
              <a:gd name="connsiteY442" fmla="*/ 5513472 h 6858000"/>
              <a:gd name="connsiteX443" fmla="*/ 174101 w 7467600"/>
              <a:gd name="connsiteY443" fmla="*/ 5620277 h 6858000"/>
              <a:gd name="connsiteX444" fmla="*/ 891800 w 7467600"/>
              <a:gd name="connsiteY444" fmla="*/ 6036935 h 6858000"/>
              <a:gd name="connsiteX445" fmla="*/ 1072219 w 7467600"/>
              <a:gd name="connsiteY445" fmla="*/ 6169443 h 6858000"/>
              <a:gd name="connsiteX446" fmla="*/ 1074117 w 7467600"/>
              <a:gd name="connsiteY446" fmla="*/ 6170301 h 6858000"/>
              <a:gd name="connsiteX447" fmla="*/ 1083114 w 7467600"/>
              <a:gd name="connsiteY447" fmla="*/ 6174131 h 6858000"/>
              <a:gd name="connsiteX448" fmla="*/ 1543010 w 7467600"/>
              <a:gd name="connsiteY448" fmla="*/ 6191140 h 6858000"/>
              <a:gd name="connsiteX449" fmla="*/ 1551080 w 7467600"/>
              <a:gd name="connsiteY449" fmla="*/ 6195006 h 6858000"/>
              <a:gd name="connsiteX450" fmla="*/ 2345443 w 7467600"/>
              <a:gd name="connsiteY450" fmla="*/ 5549882 h 6858000"/>
              <a:gd name="connsiteX451" fmla="*/ 1721499 w 7467600"/>
              <a:gd name="connsiteY451" fmla="*/ 5599969 h 6858000"/>
              <a:gd name="connsiteX452" fmla="*/ 767716 w 7467600"/>
              <a:gd name="connsiteY452" fmla="*/ 5472768 h 6858000"/>
              <a:gd name="connsiteX453" fmla="*/ 722147 w 7467600"/>
              <a:gd name="connsiteY453" fmla="*/ 5393091 h 6858000"/>
              <a:gd name="connsiteX454" fmla="*/ 1485552 w 7467600"/>
              <a:gd name="connsiteY454" fmla="*/ 5313202 h 6858000"/>
              <a:gd name="connsiteX455" fmla="*/ 2143004 w 7467600"/>
              <a:gd name="connsiteY455" fmla="*/ 5402420 h 6858000"/>
              <a:gd name="connsiteX456" fmla="*/ 1933391 w 7467600"/>
              <a:gd name="connsiteY456" fmla="*/ 5156971 h 6858000"/>
              <a:gd name="connsiteX457" fmla="*/ 1827118 w 7467600"/>
              <a:gd name="connsiteY457" fmla="*/ 4968410 h 6858000"/>
              <a:gd name="connsiteX458" fmla="*/ 1837349 w 7467600"/>
              <a:gd name="connsiteY458" fmla="*/ 4956357 h 6858000"/>
              <a:gd name="connsiteX459" fmla="*/ 2162835 w 7467600"/>
              <a:gd name="connsiteY459" fmla="*/ 5187853 h 6858000"/>
              <a:gd name="connsiteX460" fmla="*/ 2257167 w 7467600"/>
              <a:gd name="connsiteY460" fmla="*/ 5462123 h 6858000"/>
              <a:gd name="connsiteX461" fmla="*/ 2261598 w 7467600"/>
              <a:gd name="connsiteY461" fmla="*/ 5467998 h 6858000"/>
              <a:gd name="connsiteX462" fmla="*/ 2437177 w 7467600"/>
              <a:gd name="connsiteY462" fmla="*/ 5479608 h 6858000"/>
              <a:gd name="connsiteX463" fmla="*/ 2445247 w 7467600"/>
              <a:gd name="connsiteY463" fmla="*/ 5483476 h 6858000"/>
              <a:gd name="connsiteX464" fmla="*/ 2743626 w 7467600"/>
              <a:gd name="connsiteY464" fmla="*/ 5304819 h 6858000"/>
              <a:gd name="connsiteX465" fmla="*/ 3048102 w 7467600"/>
              <a:gd name="connsiteY465" fmla="*/ 5150595 h 6858000"/>
              <a:gd name="connsiteX466" fmla="*/ 1799414 w 7467600"/>
              <a:gd name="connsiteY466" fmla="*/ 4694732 h 6858000"/>
              <a:gd name="connsiteX467" fmla="*/ 1771735 w 7467600"/>
              <a:gd name="connsiteY467" fmla="*/ 4619929 h 6858000"/>
              <a:gd name="connsiteX468" fmla="*/ 3104273 w 7467600"/>
              <a:gd name="connsiteY468" fmla="*/ 5076159 h 6858000"/>
              <a:gd name="connsiteX469" fmla="*/ 3113245 w 7467600"/>
              <a:gd name="connsiteY469" fmla="*/ 5090705 h 6858000"/>
              <a:gd name="connsiteX470" fmla="*/ 3126294 w 7467600"/>
              <a:gd name="connsiteY470" fmla="*/ 5114400 h 6858000"/>
              <a:gd name="connsiteX471" fmla="*/ 3937433 w 7467600"/>
              <a:gd name="connsiteY471" fmla="*/ 4830473 h 6858000"/>
              <a:gd name="connsiteX472" fmla="*/ 3590475 w 7467600"/>
              <a:gd name="connsiteY472" fmla="*/ 4597974 h 6858000"/>
              <a:gd name="connsiteX473" fmla="*/ 3100264 w 7467600"/>
              <a:gd name="connsiteY473" fmla="*/ 4579845 h 6858000"/>
              <a:gd name="connsiteX474" fmla="*/ 2183576 w 7467600"/>
              <a:gd name="connsiteY474" fmla="*/ 4227150 h 6858000"/>
              <a:gd name="connsiteX475" fmla="*/ 2151029 w 7467600"/>
              <a:gd name="connsiteY475" fmla="*/ 4146947 h 6858000"/>
              <a:gd name="connsiteX476" fmla="*/ 3563434 w 7467600"/>
              <a:gd name="connsiteY476" fmla="*/ 4469115 h 6858000"/>
              <a:gd name="connsiteX477" fmla="*/ 3177952 w 7467600"/>
              <a:gd name="connsiteY477" fmla="*/ 3657386 h 6858000"/>
              <a:gd name="connsiteX478" fmla="*/ 3189263 w 7467600"/>
              <a:gd name="connsiteY478" fmla="*/ 3625726 h 6858000"/>
              <a:gd name="connsiteX479" fmla="*/ 3560912 w 7467600"/>
              <a:gd name="connsiteY479" fmla="*/ 4079863 h 6858000"/>
              <a:gd name="connsiteX480" fmla="*/ 3626636 w 7467600"/>
              <a:gd name="connsiteY480" fmla="*/ 4512230 h 6858000"/>
              <a:gd name="connsiteX481" fmla="*/ 3653088 w 7467600"/>
              <a:gd name="connsiteY481" fmla="*/ 4521417 h 6858000"/>
              <a:gd name="connsiteX482" fmla="*/ 3988128 w 7467600"/>
              <a:gd name="connsiteY482" fmla="*/ 4817267 h 6858000"/>
              <a:gd name="connsiteX483" fmla="*/ 4830582 w 7467600"/>
              <a:gd name="connsiteY483" fmla="*/ 4676000 h 6858000"/>
              <a:gd name="connsiteX484" fmla="*/ 4830100 w 7467600"/>
              <a:gd name="connsiteY484" fmla="*/ 4675554 h 6858000"/>
              <a:gd name="connsiteX485" fmla="*/ 4036318 w 7467600"/>
              <a:gd name="connsiteY485" fmla="*/ 4147013 h 6858000"/>
              <a:gd name="connsiteX486" fmla="*/ 3432098 w 7467600"/>
              <a:gd name="connsiteY486" fmla="*/ 3537312 h 6858000"/>
              <a:gd name="connsiteX487" fmla="*/ 3446761 w 7467600"/>
              <a:gd name="connsiteY487" fmla="*/ 3461278 h 6858000"/>
              <a:gd name="connsiteX488" fmla="*/ 4419733 w 7467600"/>
              <a:gd name="connsiteY488" fmla="*/ 3963555 h 6858000"/>
              <a:gd name="connsiteX489" fmla="*/ 4781371 w 7467600"/>
              <a:gd name="connsiteY489" fmla="*/ 4458604 h 6858000"/>
              <a:gd name="connsiteX490" fmla="*/ 4780440 w 7467600"/>
              <a:gd name="connsiteY490" fmla="*/ 4470290 h 6858000"/>
              <a:gd name="connsiteX491" fmla="*/ 4898954 w 7467600"/>
              <a:gd name="connsiteY491" fmla="*/ 4662092 h 6858000"/>
              <a:gd name="connsiteX492" fmla="*/ 4900699 w 7467600"/>
              <a:gd name="connsiteY492" fmla="*/ 4670867 h 6858000"/>
              <a:gd name="connsiteX493" fmla="*/ 5714511 w 7467600"/>
              <a:gd name="connsiteY493" fmla="*/ 4663483 h 6858000"/>
              <a:gd name="connsiteX494" fmla="*/ 5464793 w 7467600"/>
              <a:gd name="connsiteY494" fmla="*/ 4393556 h 6858000"/>
              <a:gd name="connsiteX495" fmla="*/ 5461897 w 7467600"/>
              <a:gd name="connsiteY495" fmla="*/ 4390879 h 6858000"/>
              <a:gd name="connsiteX496" fmla="*/ 4294126 w 7467600"/>
              <a:gd name="connsiteY496" fmla="*/ 3303048 h 6858000"/>
              <a:gd name="connsiteX497" fmla="*/ 4305321 w 7467600"/>
              <a:gd name="connsiteY497" fmla="*/ 3256953 h 6858000"/>
              <a:gd name="connsiteX498" fmla="*/ 4949299 w 7467600"/>
              <a:gd name="connsiteY498" fmla="*/ 3766336 h 6858000"/>
              <a:gd name="connsiteX499" fmla="*/ 5291452 w 7467600"/>
              <a:gd name="connsiteY499" fmla="*/ 4076801 h 6858000"/>
              <a:gd name="connsiteX500" fmla="*/ 5434998 w 7467600"/>
              <a:gd name="connsiteY500" fmla="*/ 4254100 h 6858000"/>
              <a:gd name="connsiteX501" fmla="*/ 5351015 w 7467600"/>
              <a:gd name="connsiteY501" fmla="*/ 3760989 h 6858000"/>
              <a:gd name="connsiteX502" fmla="*/ 5413780 w 7467600"/>
              <a:gd name="connsiteY502" fmla="*/ 2966265 h 6858000"/>
              <a:gd name="connsiteX503" fmla="*/ 5425627 w 7467600"/>
              <a:gd name="connsiteY503" fmla="*/ 2954192 h 6858000"/>
              <a:gd name="connsiteX504" fmla="*/ 6604735 w 7467600"/>
              <a:gd name="connsiteY504" fmla="*/ 2041381 h 6858000"/>
              <a:gd name="connsiteX505" fmla="*/ 7204487 w 7467600"/>
              <a:gd name="connsiteY505" fmla="*/ 2742112 h 6858000"/>
              <a:gd name="connsiteX506" fmla="*/ 7131592 w 7467600"/>
              <a:gd name="connsiteY506" fmla="*/ 2672096 h 6858000"/>
              <a:gd name="connsiteX507" fmla="*/ 6996344 w 7467600"/>
              <a:gd name="connsiteY507" fmla="*/ 2518310 h 6858000"/>
              <a:gd name="connsiteX508" fmla="*/ 6735495 w 7467600"/>
              <a:gd name="connsiteY508" fmla="*/ 2196890 h 6858000"/>
              <a:gd name="connsiteX509" fmla="*/ 6721901 w 7467600"/>
              <a:gd name="connsiteY509" fmla="*/ 2179274 h 6858000"/>
              <a:gd name="connsiteX510" fmla="*/ 6604735 w 7467600"/>
              <a:gd name="connsiteY510" fmla="*/ 2041381 h 6858000"/>
              <a:gd name="connsiteX511" fmla="*/ 6591670 w 7467600"/>
              <a:gd name="connsiteY511" fmla="*/ 1988277 h 6858000"/>
              <a:gd name="connsiteX512" fmla="*/ 6747349 w 7467600"/>
              <a:gd name="connsiteY512" fmla="*/ 2160069 h 6858000"/>
              <a:gd name="connsiteX513" fmla="*/ 6760943 w 7467600"/>
              <a:gd name="connsiteY513" fmla="*/ 2177686 h 6858000"/>
              <a:gd name="connsiteX514" fmla="*/ 7021065 w 7467600"/>
              <a:gd name="connsiteY514" fmla="*/ 2498102 h 6858000"/>
              <a:gd name="connsiteX515" fmla="*/ 7155223 w 7467600"/>
              <a:gd name="connsiteY515" fmla="*/ 2650386 h 6858000"/>
              <a:gd name="connsiteX516" fmla="*/ 7203167 w 7467600"/>
              <a:gd name="connsiteY516" fmla="*/ 2697288 h 6858000"/>
              <a:gd name="connsiteX517" fmla="*/ 6937703 w 7467600"/>
              <a:gd name="connsiteY517" fmla="*/ 2321981 h 6858000"/>
              <a:gd name="connsiteX518" fmla="*/ 6591670 w 7467600"/>
              <a:gd name="connsiteY518" fmla="*/ 1988277 h 6858000"/>
              <a:gd name="connsiteX519" fmla="*/ 5798671 w 7467600"/>
              <a:gd name="connsiteY519" fmla="*/ 1981601 h 6858000"/>
              <a:gd name="connsiteX520" fmla="*/ 5754709 w 7467600"/>
              <a:gd name="connsiteY520" fmla="*/ 2071454 h 6858000"/>
              <a:gd name="connsiteX521" fmla="*/ 5763044 w 7467600"/>
              <a:gd name="connsiteY521" fmla="*/ 2842206 h 6858000"/>
              <a:gd name="connsiteX522" fmla="*/ 5764974 w 7467600"/>
              <a:gd name="connsiteY522" fmla="*/ 2799609 h 6858000"/>
              <a:gd name="connsiteX523" fmla="*/ 5767665 w 7467600"/>
              <a:gd name="connsiteY523" fmla="*/ 2666409 h 6858000"/>
              <a:gd name="connsiteX524" fmla="*/ 5763055 w 7467600"/>
              <a:gd name="connsiteY524" fmla="*/ 2579705 h 6858000"/>
              <a:gd name="connsiteX525" fmla="*/ 5758079 w 7467600"/>
              <a:gd name="connsiteY525" fmla="*/ 2492508 h 6858000"/>
              <a:gd name="connsiteX526" fmla="*/ 5779325 w 7467600"/>
              <a:gd name="connsiteY526" fmla="*/ 2197069 h 6858000"/>
              <a:gd name="connsiteX527" fmla="*/ 5798671 w 7467600"/>
              <a:gd name="connsiteY527" fmla="*/ 1981601 h 6858000"/>
              <a:gd name="connsiteX528" fmla="*/ 5829202 w 7467600"/>
              <a:gd name="connsiteY528" fmla="*/ 1971679 h 6858000"/>
              <a:gd name="connsiteX529" fmla="*/ 5809558 w 7467600"/>
              <a:gd name="connsiteY529" fmla="*/ 2198043 h 6858000"/>
              <a:gd name="connsiteX530" fmla="*/ 5788653 w 7467600"/>
              <a:gd name="connsiteY530" fmla="*/ 2489430 h 6858000"/>
              <a:gd name="connsiteX531" fmla="*/ 5793439 w 7467600"/>
              <a:gd name="connsiteY531" fmla="*/ 2575235 h 6858000"/>
              <a:gd name="connsiteX532" fmla="*/ 5796837 w 7467600"/>
              <a:gd name="connsiteY532" fmla="*/ 2637633 h 6858000"/>
              <a:gd name="connsiteX533" fmla="*/ 5818614 w 7467600"/>
              <a:gd name="connsiteY533" fmla="*/ 2473055 h 6858000"/>
              <a:gd name="connsiteX534" fmla="*/ 5829202 w 7467600"/>
              <a:gd name="connsiteY534" fmla="*/ 1971679 h 6858000"/>
              <a:gd name="connsiteX535" fmla="*/ 5911389 w 7467600"/>
              <a:gd name="connsiteY535" fmla="*/ 1898371 h 6858000"/>
              <a:gd name="connsiteX536" fmla="*/ 6237627 w 7467600"/>
              <a:gd name="connsiteY536" fmla="*/ 2231921 h 6858000"/>
              <a:gd name="connsiteX537" fmla="*/ 5911389 w 7467600"/>
              <a:gd name="connsiteY537" fmla="*/ 1898371 h 6858000"/>
              <a:gd name="connsiteX538" fmla="*/ 6944437 w 7467600"/>
              <a:gd name="connsiteY538" fmla="*/ 1575402 h 6858000"/>
              <a:gd name="connsiteX539" fmla="*/ 6304730 w 7467600"/>
              <a:gd name="connsiteY539" fmla="*/ 1766654 h 6858000"/>
              <a:gd name="connsiteX540" fmla="*/ 6944437 w 7467600"/>
              <a:gd name="connsiteY540" fmla="*/ 1575402 h 6858000"/>
              <a:gd name="connsiteX541" fmla="*/ 7019523 w 7467600"/>
              <a:gd name="connsiteY541" fmla="*/ 1519450 h 6858000"/>
              <a:gd name="connsiteX542" fmla="*/ 6298091 w 7467600"/>
              <a:gd name="connsiteY542" fmla="*/ 1737122 h 6858000"/>
              <a:gd name="connsiteX543" fmla="*/ 7019523 w 7467600"/>
              <a:gd name="connsiteY543" fmla="*/ 1519450 h 6858000"/>
              <a:gd name="connsiteX544" fmla="*/ 2399523 w 7467600"/>
              <a:gd name="connsiteY544" fmla="*/ 1428234 h 6858000"/>
              <a:gd name="connsiteX545" fmla="*/ 2224982 w 7467600"/>
              <a:gd name="connsiteY545" fmla="*/ 1826201 h 6858000"/>
              <a:gd name="connsiteX546" fmla="*/ 2096099 w 7467600"/>
              <a:gd name="connsiteY546" fmla="*/ 2345900 h 6858000"/>
              <a:gd name="connsiteX547" fmla="*/ 2283317 w 7467600"/>
              <a:gd name="connsiteY547" fmla="*/ 1796925 h 6858000"/>
              <a:gd name="connsiteX548" fmla="*/ 2399523 w 7467600"/>
              <a:gd name="connsiteY548" fmla="*/ 1428234 h 6858000"/>
              <a:gd name="connsiteX549" fmla="*/ 2448558 w 7467600"/>
              <a:gd name="connsiteY549" fmla="*/ 1373435 h 6858000"/>
              <a:gd name="connsiteX550" fmla="*/ 2312521 w 7467600"/>
              <a:gd name="connsiteY550" fmla="*/ 1806140 h 6858000"/>
              <a:gd name="connsiteX551" fmla="*/ 2127533 w 7467600"/>
              <a:gd name="connsiteY551" fmla="*/ 2348380 h 6858000"/>
              <a:gd name="connsiteX552" fmla="*/ 2358080 w 7467600"/>
              <a:gd name="connsiteY552" fmla="*/ 1866134 h 6858000"/>
              <a:gd name="connsiteX553" fmla="*/ 2407436 w 7467600"/>
              <a:gd name="connsiteY553" fmla="*/ 1651070 h 6858000"/>
              <a:gd name="connsiteX554" fmla="*/ 2448558 w 7467600"/>
              <a:gd name="connsiteY554" fmla="*/ 1373435 h 6858000"/>
              <a:gd name="connsiteX555" fmla="*/ 278707 w 7467600"/>
              <a:gd name="connsiteY555" fmla="*/ 1352270 h 6858000"/>
              <a:gd name="connsiteX556" fmla="*/ 321570 w 7467600"/>
              <a:gd name="connsiteY556" fmla="*/ 1861610 h 6858000"/>
              <a:gd name="connsiteX557" fmla="*/ 294281 w 7467600"/>
              <a:gd name="connsiteY557" fmla="*/ 1440658 h 6858000"/>
              <a:gd name="connsiteX558" fmla="*/ 278707 w 7467600"/>
              <a:gd name="connsiteY558" fmla="*/ 1352270 h 6858000"/>
              <a:gd name="connsiteX559" fmla="*/ 1423821 w 7467600"/>
              <a:gd name="connsiteY559" fmla="*/ 1351958 h 6858000"/>
              <a:gd name="connsiteX560" fmla="*/ 1638521 w 7467600"/>
              <a:gd name="connsiteY560" fmla="*/ 1908470 h 6858000"/>
              <a:gd name="connsiteX561" fmla="*/ 1754199 w 7467600"/>
              <a:gd name="connsiteY561" fmla="*/ 2149284 h 6858000"/>
              <a:gd name="connsiteX562" fmla="*/ 1908359 w 7467600"/>
              <a:gd name="connsiteY562" fmla="*/ 2364988 h 6858000"/>
              <a:gd name="connsiteX563" fmla="*/ 1647661 w 7467600"/>
              <a:gd name="connsiteY563" fmla="*/ 1825945 h 6858000"/>
              <a:gd name="connsiteX564" fmla="*/ 1423821 w 7467600"/>
              <a:gd name="connsiteY564" fmla="*/ 1351958 h 6858000"/>
              <a:gd name="connsiteX565" fmla="*/ 1431890 w 7467600"/>
              <a:gd name="connsiteY565" fmla="*/ 1306475 h 6858000"/>
              <a:gd name="connsiteX566" fmla="*/ 1507597 w 7467600"/>
              <a:gd name="connsiteY566" fmla="*/ 1446132 h 6858000"/>
              <a:gd name="connsiteX567" fmla="*/ 1674586 w 7467600"/>
              <a:gd name="connsiteY567" fmla="*/ 1813832 h 6858000"/>
              <a:gd name="connsiteX568" fmla="*/ 1815950 w 7467600"/>
              <a:gd name="connsiteY568" fmla="*/ 2128564 h 6858000"/>
              <a:gd name="connsiteX569" fmla="*/ 1984242 w 7467600"/>
              <a:gd name="connsiteY569" fmla="*/ 2430829 h 6858000"/>
              <a:gd name="connsiteX570" fmla="*/ 2014023 w 7467600"/>
              <a:gd name="connsiteY570" fmla="*/ 2450995 h 6858000"/>
              <a:gd name="connsiteX571" fmla="*/ 1747337 w 7467600"/>
              <a:gd name="connsiteY571" fmla="*/ 1855264 h 6858000"/>
              <a:gd name="connsiteX572" fmla="*/ 1533749 w 7467600"/>
              <a:gd name="connsiteY572" fmla="*/ 1478656 h 6858000"/>
              <a:gd name="connsiteX573" fmla="*/ 1431890 w 7467600"/>
              <a:gd name="connsiteY573" fmla="*/ 1306475 h 6858000"/>
              <a:gd name="connsiteX574" fmla="*/ 5052692 w 7467600"/>
              <a:gd name="connsiteY574" fmla="*/ 1292994 h 6858000"/>
              <a:gd name="connsiteX575" fmla="*/ 5200661 w 7467600"/>
              <a:gd name="connsiteY575" fmla="*/ 1635186 h 6858000"/>
              <a:gd name="connsiteX576" fmla="*/ 5297138 w 7467600"/>
              <a:gd name="connsiteY576" fmla="*/ 1906351 h 6858000"/>
              <a:gd name="connsiteX577" fmla="*/ 5052692 w 7467600"/>
              <a:gd name="connsiteY577" fmla="*/ 1292994 h 6858000"/>
              <a:gd name="connsiteX578" fmla="*/ 5009948 w 7467600"/>
              <a:gd name="connsiteY578" fmla="*/ 1273619 h 6858000"/>
              <a:gd name="connsiteX579" fmla="*/ 5121777 w 7467600"/>
              <a:gd name="connsiteY579" fmla="*/ 1654213 h 6858000"/>
              <a:gd name="connsiteX580" fmla="*/ 5293545 w 7467600"/>
              <a:gd name="connsiteY580" fmla="*/ 2072247 h 6858000"/>
              <a:gd name="connsiteX581" fmla="*/ 5294042 w 7467600"/>
              <a:gd name="connsiteY581" fmla="*/ 2065019 h 6858000"/>
              <a:gd name="connsiteX582" fmla="*/ 5171936 w 7467600"/>
              <a:gd name="connsiteY582" fmla="*/ 1647613 h 6858000"/>
              <a:gd name="connsiteX583" fmla="*/ 5009948 w 7467600"/>
              <a:gd name="connsiteY583" fmla="*/ 1273619 h 6858000"/>
              <a:gd name="connsiteX584" fmla="*/ 655236 w 7467600"/>
              <a:gd name="connsiteY584" fmla="*/ 1268632 h 6858000"/>
              <a:gd name="connsiteX585" fmla="*/ 839521 w 7467600"/>
              <a:gd name="connsiteY585" fmla="*/ 1685315 h 6858000"/>
              <a:gd name="connsiteX586" fmla="*/ 1109416 w 7467600"/>
              <a:gd name="connsiteY586" fmla="*/ 2061663 h 6858000"/>
              <a:gd name="connsiteX587" fmla="*/ 1298300 w 7467600"/>
              <a:gd name="connsiteY587" fmla="*/ 2247742 h 6858000"/>
              <a:gd name="connsiteX588" fmla="*/ 1125871 w 7467600"/>
              <a:gd name="connsiteY588" fmla="*/ 1989513 h 6858000"/>
              <a:gd name="connsiteX589" fmla="*/ 981574 w 7467600"/>
              <a:gd name="connsiteY589" fmla="*/ 1783157 h 6858000"/>
              <a:gd name="connsiteX590" fmla="*/ 922198 w 7467600"/>
              <a:gd name="connsiteY590" fmla="*/ 1677437 h 6858000"/>
              <a:gd name="connsiteX591" fmla="*/ 869293 w 7467600"/>
              <a:gd name="connsiteY591" fmla="*/ 1583214 h 6858000"/>
              <a:gd name="connsiteX592" fmla="*/ 751431 w 7467600"/>
              <a:gd name="connsiteY592" fmla="*/ 1405731 h 6858000"/>
              <a:gd name="connsiteX593" fmla="*/ 655236 w 7467600"/>
              <a:gd name="connsiteY593" fmla="*/ 1268632 h 6858000"/>
              <a:gd name="connsiteX594" fmla="*/ 6516292 w 7467600"/>
              <a:gd name="connsiteY594" fmla="*/ 1263064 h 6858000"/>
              <a:gd name="connsiteX595" fmla="*/ 5736320 w 7467600"/>
              <a:gd name="connsiteY595" fmla="*/ 1501803 h 6858000"/>
              <a:gd name="connsiteX596" fmla="*/ 6516292 w 7467600"/>
              <a:gd name="connsiteY596" fmla="*/ 1263064 h 6858000"/>
              <a:gd name="connsiteX597" fmla="*/ 291466 w 7467600"/>
              <a:gd name="connsiteY597" fmla="*/ 1250369 h 6858000"/>
              <a:gd name="connsiteX598" fmla="*/ 323180 w 7467600"/>
              <a:gd name="connsiteY598" fmla="*/ 1435283 h 6858000"/>
              <a:gd name="connsiteX599" fmla="*/ 349381 w 7467600"/>
              <a:gd name="connsiteY599" fmla="*/ 1875041 h 6858000"/>
              <a:gd name="connsiteX600" fmla="*/ 374363 w 7467600"/>
              <a:gd name="connsiteY600" fmla="*/ 1506494 h 6858000"/>
              <a:gd name="connsiteX601" fmla="*/ 302168 w 7467600"/>
              <a:gd name="connsiteY601" fmla="*/ 1274495 h 6858000"/>
              <a:gd name="connsiteX602" fmla="*/ 291466 w 7467600"/>
              <a:gd name="connsiteY602" fmla="*/ 1250369 h 6858000"/>
              <a:gd name="connsiteX603" fmla="*/ 678222 w 7467600"/>
              <a:gd name="connsiteY603" fmla="*/ 1248670 h 6858000"/>
              <a:gd name="connsiteX604" fmla="*/ 775536 w 7467600"/>
              <a:gd name="connsiteY604" fmla="*/ 1388015 h 6858000"/>
              <a:gd name="connsiteX605" fmla="*/ 894529 w 7467600"/>
              <a:gd name="connsiteY605" fmla="*/ 1567739 h 6858000"/>
              <a:gd name="connsiteX606" fmla="*/ 948000 w 7467600"/>
              <a:gd name="connsiteY606" fmla="*/ 1663088 h 6858000"/>
              <a:gd name="connsiteX607" fmla="*/ 1006812 w 7467600"/>
              <a:gd name="connsiteY607" fmla="*/ 1767683 h 6858000"/>
              <a:gd name="connsiteX608" fmla="*/ 1149133 w 7467600"/>
              <a:gd name="connsiteY608" fmla="*/ 1971513 h 6858000"/>
              <a:gd name="connsiteX609" fmla="*/ 1333952 w 7467600"/>
              <a:gd name="connsiteY609" fmla="*/ 2251620 h 6858000"/>
              <a:gd name="connsiteX610" fmla="*/ 1337329 w 7467600"/>
              <a:gd name="connsiteY610" fmla="*/ 2258350 h 6858000"/>
              <a:gd name="connsiteX611" fmla="*/ 1014726 w 7467600"/>
              <a:gd name="connsiteY611" fmla="*/ 1615556 h 6858000"/>
              <a:gd name="connsiteX612" fmla="*/ 678222 w 7467600"/>
              <a:gd name="connsiteY612" fmla="*/ 1248670 h 6858000"/>
              <a:gd name="connsiteX613" fmla="*/ 6691602 w 7467600"/>
              <a:gd name="connsiteY613" fmla="*/ 1140573 h 6858000"/>
              <a:gd name="connsiteX614" fmla="*/ 6571100 w 7467600"/>
              <a:gd name="connsiteY614" fmla="*/ 1183662 h 6858000"/>
              <a:gd name="connsiteX615" fmla="*/ 6241687 w 7467600"/>
              <a:gd name="connsiteY615" fmla="*/ 1257600 h 6858000"/>
              <a:gd name="connsiteX616" fmla="*/ 5693009 w 7467600"/>
              <a:gd name="connsiteY616" fmla="*/ 1478256 h 6858000"/>
              <a:gd name="connsiteX617" fmla="*/ 6548420 w 7467600"/>
              <a:gd name="connsiteY617" fmla="*/ 1214599 h 6858000"/>
              <a:gd name="connsiteX618" fmla="*/ 6605473 w 7467600"/>
              <a:gd name="connsiteY618" fmla="*/ 1184686 h 6858000"/>
              <a:gd name="connsiteX619" fmla="*/ 6691602 w 7467600"/>
              <a:gd name="connsiteY619" fmla="*/ 1140573 h 6858000"/>
              <a:gd name="connsiteX620" fmla="*/ 4002475 w 7467600"/>
              <a:gd name="connsiteY620" fmla="*/ 1037802 h 6858000"/>
              <a:gd name="connsiteX621" fmla="*/ 4000324 w 7467600"/>
              <a:gd name="connsiteY621" fmla="*/ 1039362 h 6858000"/>
              <a:gd name="connsiteX622" fmla="*/ 4002862 w 7467600"/>
              <a:gd name="connsiteY622" fmla="*/ 1042866 h 6858000"/>
              <a:gd name="connsiteX623" fmla="*/ 4002475 w 7467600"/>
              <a:gd name="connsiteY623" fmla="*/ 1037802 h 6858000"/>
              <a:gd name="connsiteX624" fmla="*/ 506322 w 7467600"/>
              <a:gd name="connsiteY624" fmla="*/ 1020997 h 6858000"/>
              <a:gd name="connsiteX625" fmla="*/ 533068 w 7467600"/>
              <a:gd name="connsiteY625" fmla="*/ 1029409 h 6858000"/>
              <a:gd name="connsiteX626" fmla="*/ 1232525 w 7467600"/>
              <a:gd name="connsiteY626" fmla="*/ 1804675 h 6858000"/>
              <a:gd name="connsiteX627" fmla="*/ 1388858 w 7467600"/>
              <a:gd name="connsiteY627" fmla="*/ 2368011 h 6858000"/>
              <a:gd name="connsiteX628" fmla="*/ 1384098 w 7467600"/>
              <a:gd name="connsiteY628" fmla="*/ 2378125 h 6858000"/>
              <a:gd name="connsiteX629" fmla="*/ 1425393 w 7467600"/>
              <a:gd name="connsiteY629" fmla="*/ 2589124 h 6858000"/>
              <a:gd name="connsiteX630" fmla="*/ 1424001 w 7467600"/>
              <a:gd name="connsiteY630" fmla="*/ 2597541 h 6858000"/>
              <a:gd name="connsiteX631" fmla="*/ 2152729 w 7467600"/>
              <a:gd name="connsiteY631" fmla="*/ 2864487 h 6858000"/>
              <a:gd name="connsiteX632" fmla="*/ 2020609 w 7467600"/>
              <a:gd name="connsiteY632" fmla="*/ 2539671 h 6858000"/>
              <a:gd name="connsiteX633" fmla="*/ 2018920 w 7467600"/>
              <a:gd name="connsiteY633" fmla="*/ 2536309 h 6858000"/>
              <a:gd name="connsiteX634" fmla="*/ 1342441 w 7467600"/>
              <a:gd name="connsiteY634" fmla="*/ 1173017 h 6858000"/>
              <a:gd name="connsiteX635" fmla="*/ 1367925 w 7467600"/>
              <a:gd name="connsiteY635" fmla="*/ 1135648 h 6858000"/>
              <a:gd name="connsiteX636" fmla="*/ 1771401 w 7467600"/>
              <a:gd name="connsiteY636" fmla="*/ 1806673 h 6858000"/>
              <a:gd name="connsiteX637" fmla="*/ 1972385 w 7467600"/>
              <a:gd name="connsiteY637" fmla="*/ 2198735 h 6858000"/>
              <a:gd name="connsiteX638" fmla="*/ 2040892 w 7467600"/>
              <a:gd name="connsiteY638" fmla="*/ 2405205 h 6858000"/>
              <a:gd name="connsiteX639" fmla="*/ 2131689 w 7467600"/>
              <a:gd name="connsiteY639" fmla="*/ 1936926 h 6858000"/>
              <a:gd name="connsiteX640" fmla="*/ 2454820 w 7467600"/>
              <a:gd name="connsiteY640" fmla="*/ 1248808 h 6858000"/>
              <a:gd name="connsiteX641" fmla="*/ 2492512 w 7467600"/>
              <a:gd name="connsiteY641" fmla="*/ 1302920 h 6858000"/>
              <a:gd name="connsiteX642" fmla="*/ 2081216 w 7467600"/>
              <a:gd name="connsiteY642" fmla="*/ 2527513 h 6858000"/>
              <a:gd name="connsiteX643" fmla="*/ 2081211 w 7467600"/>
              <a:gd name="connsiteY643" fmla="*/ 2528916 h 6858000"/>
              <a:gd name="connsiteX644" fmla="*/ 2199067 w 7467600"/>
              <a:gd name="connsiteY644" fmla="*/ 2884061 h 6858000"/>
              <a:gd name="connsiteX645" fmla="*/ 3192586 w 7467600"/>
              <a:gd name="connsiteY645" fmla="*/ 3411496 h 6858000"/>
              <a:gd name="connsiteX646" fmla="*/ 3182620 w 7467600"/>
              <a:gd name="connsiteY646" fmla="*/ 3483279 h 6858000"/>
              <a:gd name="connsiteX647" fmla="*/ 2435119 w 7467600"/>
              <a:gd name="connsiteY647" fmla="*/ 3080173 h 6858000"/>
              <a:gd name="connsiteX648" fmla="*/ 2410152 w 7467600"/>
              <a:gd name="connsiteY648" fmla="*/ 3063751 h 6858000"/>
              <a:gd name="connsiteX649" fmla="*/ 2408099 w 7467600"/>
              <a:gd name="connsiteY649" fmla="*/ 3064403 h 6858000"/>
              <a:gd name="connsiteX650" fmla="*/ 2407218 w 7467600"/>
              <a:gd name="connsiteY650" fmla="*/ 3070324 h 6858000"/>
              <a:gd name="connsiteX651" fmla="*/ 2380138 w 7467600"/>
              <a:gd name="connsiteY651" fmla="*/ 3099341 h 6858000"/>
              <a:gd name="connsiteX652" fmla="*/ 1765923 w 7467600"/>
              <a:gd name="connsiteY652" fmla="*/ 3581043 h 6858000"/>
              <a:gd name="connsiteX653" fmla="*/ 1702258 w 7467600"/>
              <a:gd name="connsiteY653" fmla="*/ 3612286 h 6858000"/>
              <a:gd name="connsiteX654" fmla="*/ 1538370 w 7467600"/>
              <a:gd name="connsiteY654" fmla="*/ 3811804 h 6858000"/>
              <a:gd name="connsiteX655" fmla="*/ 542867 w 7467600"/>
              <a:gd name="connsiteY655" fmla="*/ 4944092 h 6858000"/>
              <a:gd name="connsiteX656" fmla="*/ 515800 w 7467600"/>
              <a:gd name="connsiteY656" fmla="*/ 4862180 h 6858000"/>
              <a:gd name="connsiteX657" fmla="*/ 909145 w 7467600"/>
              <a:gd name="connsiteY657" fmla="*/ 4199225 h 6858000"/>
              <a:gd name="connsiteX658" fmla="*/ 1214067 w 7467600"/>
              <a:gd name="connsiteY658" fmla="*/ 3908561 h 6858000"/>
              <a:gd name="connsiteX659" fmla="*/ 640967 w 7467600"/>
              <a:gd name="connsiteY659" fmla="*/ 4105601 h 6858000"/>
              <a:gd name="connsiteX660" fmla="*/ 112563 w 7467600"/>
              <a:gd name="connsiteY660" fmla="*/ 4396952 h 6858000"/>
              <a:gd name="connsiteX661" fmla="*/ 0 w 7467600"/>
              <a:gd name="connsiteY661" fmla="*/ 4466006 h 6858000"/>
              <a:gd name="connsiteX662" fmla="*/ 0 w 7467600"/>
              <a:gd name="connsiteY662" fmla="*/ 4233763 h 6858000"/>
              <a:gd name="connsiteX663" fmla="*/ 36881 w 7467600"/>
              <a:gd name="connsiteY663" fmla="*/ 4200118 h 6858000"/>
              <a:gd name="connsiteX664" fmla="*/ 910534 w 7467600"/>
              <a:gd name="connsiteY664" fmla="*/ 3629753 h 6858000"/>
              <a:gd name="connsiteX665" fmla="*/ 1578717 w 7467600"/>
              <a:gd name="connsiteY665" fmla="*/ 3575982 h 6858000"/>
              <a:gd name="connsiteX666" fmla="*/ 2338780 w 7467600"/>
              <a:gd name="connsiteY666" fmla="*/ 3033725 h 6858000"/>
              <a:gd name="connsiteX667" fmla="*/ 1807991 w 7467600"/>
              <a:gd name="connsiteY667" fmla="*/ 2807184 h 6858000"/>
              <a:gd name="connsiteX668" fmla="*/ 1416358 w 7467600"/>
              <a:gd name="connsiteY668" fmla="*/ 3112571 h 6858000"/>
              <a:gd name="connsiteX669" fmla="*/ 939066 w 7467600"/>
              <a:gd name="connsiteY669" fmla="*/ 3378798 h 6858000"/>
              <a:gd name="connsiteX670" fmla="*/ 115099 w 7467600"/>
              <a:gd name="connsiteY670" fmla="*/ 3607650 h 6858000"/>
              <a:gd name="connsiteX671" fmla="*/ 97284 w 7467600"/>
              <a:gd name="connsiteY671" fmla="*/ 3520393 h 6858000"/>
              <a:gd name="connsiteX672" fmla="*/ 922050 w 7467600"/>
              <a:gd name="connsiteY672" fmla="*/ 3074867 h 6858000"/>
              <a:gd name="connsiteX673" fmla="*/ 1405265 w 7467600"/>
              <a:gd name="connsiteY673" fmla="*/ 3016319 h 6858000"/>
              <a:gd name="connsiteX674" fmla="*/ 1407512 w 7467600"/>
              <a:gd name="connsiteY674" fmla="*/ 3018001 h 6858000"/>
              <a:gd name="connsiteX675" fmla="*/ 1726266 w 7467600"/>
              <a:gd name="connsiteY675" fmla="*/ 2777274 h 6858000"/>
              <a:gd name="connsiteX676" fmla="*/ 625390 w 7467600"/>
              <a:gd name="connsiteY676" fmla="*/ 2514541 h 6858000"/>
              <a:gd name="connsiteX677" fmla="*/ 619799 w 7467600"/>
              <a:gd name="connsiteY677" fmla="*/ 2527180 h 6858000"/>
              <a:gd name="connsiteX678" fmla="*/ 310030 w 7467600"/>
              <a:gd name="connsiteY678" fmla="*/ 2771818 h 6858000"/>
              <a:gd name="connsiteX679" fmla="*/ 173877 w 7467600"/>
              <a:gd name="connsiteY679" fmla="*/ 2937056 h 6858000"/>
              <a:gd name="connsiteX680" fmla="*/ 77889 w 7467600"/>
              <a:gd name="connsiteY680" fmla="*/ 3138440 h 6858000"/>
              <a:gd name="connsiteX681" fmla="*/ 0 w 7467600"/>
              <a:gd name="connsiteY681" fmla="*/ 3271395 h 6858000"/>
              <a:gd name="connsiteX682" fmla="*/ 0 w 7467600"/>
              <a:gd name="connsiteY682" fmla="*/ 3153002 h 6858000"/>
              <a:gd name="connsiteX683" fmla="*/ 2386 w 7467600"/>
              <a:gd name="connsiteY683" fmla="*/ 3149203 h 6858000"/>
              <a:gd name="connsiteX684" fmla="*/ 89753 w 7467600"/>
              <a:gd name="connsiteY684" fmla="*/ 2987702 h 6858000"/>
              <a:gd name="connsiteX685" fmla="*/ 76869 w 7467600"/>
              <a:gd name="connsiteY685" fmla="*/ 3005404 h 6858000"/>
              <a:gd name="connsiteX686" fmla="*/ 32049 w 7467600"/>
              <a:gd name="connsiteY686" fmla="*/ 3065814 h 6858000"/>
              <a:gd name="connsiteX687" fmla="*/ 0 w 7467600"/>
              <a:gd name="connsiteY687" fmla="*/ 3108744 h 6858000"/>
              <a:gd name="connsiteX688" fmla="*/ 0 w 7467600"/>
              <a:gd name="connsiteY688" fmla="*/ 3058059 h 6858000"/>
              <a:gd name="connsiteX689" fmla="*/ 7610 w 7467600"/>
              <a:gd name="connsiteY689" fmla="*/ 3047889 h 6858000"/>
              <a:gd name="connsiteX690" fmla="*/ 52419 w 7467600"/>
              <a:gd name="connsiteY690" fmla="*/ 2987479 h 6858000"/>
              <a:gd name="connsiteX691" fmla="*/ 59142 w 7467600"/>
              <a:gd name="connsiteY691" fmla="*/ 2978488 h 6858000"/>
              <a:gd name="connsiteX692" fmla="*/ 0 w 7467600"/>
              <a:gd name="connsiteY692" fmla="*/ 3015334 h 6858000"/>
              <a:gd name="connsiteX693" fmla="*/ 0 w 7467600"/>
              <a:gd name="connsiteY693" fmla="*/ 2914286 h 6858000"/>
              <a:gd name="connsiteX694" fmla="*/ 36383 w 7467600"/>
              <a:gd name="connsiteY694" fmla="*/ 2901128 h 6858000"/>
              <a:gd name="connsiteX695" fmla="*/ 156329 w 7467600"/>
              <a:gd name="connsiteY695" fmla="*/ 2840533 h 6858000"/>
              <a:gd name="connsiteX696" fmla="*/ 358355 w 7467600"/>
              <a:gd name="connsiteY696" fmla="*/ 2620471 h 6858000"/>
              <a:gd name="connsiteX697" fmla="*/ 510577 w 7467600"/>
              <a:gd name="connsiteY697" fmla="*/ 2501244 h 6858000"/>
              <a:gd name="connsiteX698" fmla="*/ 211967 w 7467600"/>
              <a:gd name="connsiteY698" fmla="*/ 2479171 h 6858000"/>
              <a:gd name="connsiteX699" fmla="*/ 0 w 7467600"/>
              <a:gd name="connsiteY699" fmla="*/ 2476398 h 6858000"/>
              <a:gd name="connsiteX700" fmla="*/ 0 w 7467600"/>
              <a:gd name="connsiteY700" fmla="*/ 2389189 h 6858000"/>
              <a:gd name="connsiteX701" fmla="*/ 103062 w 7467600"/>
              <a:gd name="connsiteY701" fmla="*/ 2389518 h 6858000"/>
              <a:gd name="connsiteX702" fmla="*/ 510734 w 7467600"/>
              <a:gd name="connsiteY702" fmla="*/ 2416201 h 6858000"/>
              <a:gd name="connsiteX703" fmla="*/ 279257 w 7467600"/>
              <a:gd name="connsiteY703" fmla="*/ 2092102 h 6858000"/>
              <a:gd name="connsiteX704" fmla="*/ 65265 w 7467600"/>
              <a:gd name="connsiteY704" fmla="*/ 2006049 h 6858000"/>
              <a:gd name="connsiteX705" fmla="*/ 0 w 7467600"/>
              <a:gd name="connsiteY705" fmla="*/ 1982532 h 6858000"/>
              <a:gd name="connsiteX706" fmla="*/ 0 w 7467600"/>
              <a:gd name="connsiteY706" fmla="*/ 1912789 h 6858000"/>
              <a:gd name="connsiteX707" fmla="*/ 97460 w 7467600"/>
              <a:gd name="connsiteY707" fmla="*/ 1953725 h 6858000"/>
              <a:gd name="connsiteX708" fmla="*/ 221272 w 7467600"/>
              <a:gd name="connsiteY708" fmla="*/ 1980766 h 6858000"/>
              <a:gd name="connsiteX709" fmla="*/ 116765 w 7467600"/>
              <a:gd name="connsiteY709" fmla="*/ 1911033 h 6858000"/>
              <a:gd name="connsiteX710" fmla="*/ 16405 w 7467600"/>
              <a:gd name="connsiteY710" fmla="*/ 1803412 h 6858000"/>
              <a:gd name="connsiteX711" fmla="*/ 0 w 7467600"/>
              <a:gd name="connsiteY711" fmla="*/ 1784777 h 6858000"/>
              <a:gd name="connsiteX712" fmla="*/ 0 w 7467600"/>
              <a:gd name="connsiteY712" fmla="*/ 1740082 h 6858000"/>
              <a:gd name="connsiteX713" fmla="*/ 39394 w 7467600"/>
              <a:gd name="connsiteY713" fmla="*/ 1784856 h 6858000"/>
              <a:gd name="connsiteX714" fmla="*/ 135813 w 7467600"/>
              <a:gd name="connsiteY714" fmla="*/ 1888838 h 6858000"/>
              <a:gd name="connsiteX715" fmla="*/ 242575 w 7467600"/>
              <a:gd name="connsiteY715" fmla="*/ 1958841 h 6858000"/>
              <a:gd name="connsiteX716" fmla="*/ 82197 w 7467600"/>
              <a:gd name="connsiteY716" fmla="*/ 1754826 h 6858000"/>
              <a:gd name="connsiteX717" fmla="*/ 0 w 7467600"/>
              <a:gd name="connsiteY717" fmla="*/ 1679650 h 6858000"/>
              <a:gd name="connsiteX718" fmla="*/ 0 w 7467600"/>
              <a:gd name="connsiteY718" fmla="*/ 1602463 h 6858000"/>
              <a:gd name="connsiteX719" fmla="*/ 84689 w 7467600"/>
              <a:gd name="connsiteY719" fmla="*/ 1677442 h 6858000"/>
              <a:gd name="connsiteX720" fmla="*/ 298437 w 7467600"/>
              <a:gd name="connsiteY720" fmla="*/ 1968019 h 6858000"/>
              <a:gd name="connsiteX721" fmla="*/ 227269 w 7467600"/>
              <a:gd name="connsiteY721" fmla="*/ 1114064 h 6858000"/>
              <a:gd name="connsiteX722" fmla="*/ 248003 w 7467600"/>
              <a:gd name="connsiteY722" fmla="*/ 1089613 h 6858000"/>
              <a:gd name="connsiteX723" fmla="*/ 427020 w 7467600"/>
              <a:gd name="connsiteY723" fmla="*/ 1619803 h 6858000"/>
              <a:gd name="connsiteX724" fmla="*/ 340345 w 7467600"/>
              <a:gd name="connsiteY724" fmla="*/ 2027739 h 6858000"/>
              <a:gd name="connsiteX725" fmla="*/ 360865 w 7467600"/>
              <a:gd name="connsiteY725" fmla="*/ 2044827 h 6858000"/>
              <a:gd name="connsiteX726" fmla="*/ 560414 w 7467600"/>
              <a:gd name="connsiteY726" fmla="*/ 2421457 h 6858000"/>
              <a:gd name="connsiteX727" fmla="*/ 1359703 w 7467600"/>
              <a:gd name="connsiteY727" fmla="*/ 2578554 h 6858000"/>
              <a:gd name="connsiteX728" fmla="*/ 1359422 w 7467600"/>
              <a:gd name="connsiteY728" fmla="*/ 2577994 h 6858000"/>
              <a:gd name="connsiteX729" fmla="*/ 828701 w 7467600"/>
              <a:gd name="connsiteY729" fmla="*/ 1839520 h 6858000"/>
              <a:gd name="connsiteX730" fmla="*/ 494427 w 7467600"/>
              <a:gd name="connsiteY730" fmla="*/ 1092333 h 6858000"/>
              <a:gd name="connsiteX731" fmla="*/ 506322 w 7467600"/>
              <a:gd name="connsiteY731" fmla="*/ 1020997 h 6858000"/>
              <a:gd name="connsiteX732" fmla="*/ 4570198 w 7467600"/>
              <a:gd name="connsiteY732" fmla="*/ 978081 h 6858000"/>
              <a:gd name="connsiteX733" fmla="*/ 4523691 w 7467600"/>
              <a:gd name="connsiteY733" fmla="*/ 1127776 h 6858000"/>
              <a:gd name="connsiteX734" fmla="*/ 4509875 w 7467600"/>
              <a:gd name="connsiteY734" fmla="*/ 1167552 h 6858000"/>
              <a:gd name="connsiteX735" fmla="*/ 4478168 w 7467600"/>
              <a:gd name="connsiteY735" fmla="*/ 1260735 h 6858000"/>
              <a:gd name="connsiteX736" fmla="*/ 4409309 w 7467600"/>
              <a:gd name="connsiteY736" fmla="*/ 1666996 h 6858000"/>
              <a:gd name="connsiteX737" fmla="*/ 4370031 w 7467600"/>
              <a:gd name="connsiteY737" fmla="*/ 1955666 h 6858000"/>
              <a:gd name="connsiteX738" fmla="*/ 4570198 w 7467600"/>
              <a:gd name="connsiteY738" fmla="*/ 978081 h 6858000"/>
              <a:gd name="connsiteX739" fmla="*/ 4557898 w 7467600"/>
              <a:gd name="connsiteY739" fmla="*/ 900011 h 6858000"/>
              <a:gd name="connsiteX740" fmla="*/ 4344840 w 7467600"/>
              <a:gd name="connsiteY740" fmla="*/ 1922038 h 6858000"/>
              <a:gd name="connsiteX741" fmla="*/ 4378710 w 7467600"/>
              <a:gd name="connsiteY741" fmla="*/ 1665516 h 6858000"/>
              <a:gd name="connsiteX742" fmla="*/ 4448798 w 7467600"/>
              <a:gd name="connsiteY742" fmla="*/ 1253024 h 6858000"/>
              <a:gd name="connsiteX743" fmla="*/ 4480315 w 7467600"/>
              <a:gd name="connsiteY743" fmla="*/ 1158454 h 6858000"/>
              <a:gd name="connsiteX744" fmla="*/ 4494133 w 7467600"/>
              <a:gd name="connsiteY744" fmla="*/ 1118676 h 6858000"/>
              <a:gd name="connsiteX745" fmla="*/ 4557898 w 7467600"/>
              <a:gd name="connsiteY745" fmla="*/ 900011 h 6858000"/>
              <a:gd name="connsiteX746" fmla="*/ 5870151 w 7467600"/>
              <a:gd name="connsiteY746" fmla="*/ 898890 h 6858000"/>
              <a:gd name="connsiteX747" fmla="*/ 5861335 w 7467600"/>
              <a:gd name="connsiteY747" fmla="*/ 899177 h 6858000"/>
              <a:gd name="connsiteX748" fmla="*/ 5843702 w 7467600"/>
              <a:gd name="connsiteY748" fmla="*/ 899748 h 6858000"/>
              <a:gd name="connsiteX749" fmla="*/ 5651107 w 7467600"/>
              <a:gd name="connsiteY749" fmla="*/ 920306 h 6858000"/>
              <a:gd name="connsiteX750" fmla="*/ 5459407 w 7467600"/>
              <a:gd name="connsiteY750" fmla="*/ 940975 h 6858000"/>
              <a:gd name="connsiteX751" fmla="*/ 5374846 w 7467600"/>
              <a:gd name="connsiteY751" fmla="*/ 941988 h 6858000"/>
              <a:gd name="connsiteX752" fmla="*/ 5256105 w 7467600"/>
              <a:gd name="connsiteY752" fmla="*/ 945632 h 6858000"/>
              <a:gd name="connsiteX753" fmla="*/ 5107071 w 7467600"/>
              <a:gd name="connsiteY753" fmla="*/ 969720 h 6858000"/>
              <a:gd name="connsiteX754" fmla="*/ 4998681 w 7467600"/>
              <a:gd name="connsiteY754" fmla="*/ 988771 h 6858000"/>
              <a:gd name="connsiteX755" fmla="*/ 5870151 w 7467600"/>
              <a:gd name="connsiteY755" fmla="*/ 898890 h 6858000"/>
              <a:gd name="connsiteX756" fmla="*/ 5504425 w 7467600"/>
              <a:gd name="connsiteY756" fmla="*/ 848067 h 6858000"/>
              <a:gd name="connsiteX757" fmla="*/ 4968849 w 7467600"/>
              <a:gd name="connsiteY757" fmla="*/ 962318 h 6858000"/>
              <a:gd name="connsiteX758" fmla="*/ 5104039 w 7467600"/>
              <a:gd name="connsiteY758" fmla="*/ 940634 h 6858000"/>
              <a:gd name="connsiteX759" fmla="*/ 5256311 w 7467600"/>
              <a:gd name="connsiteY759" fmla="*/ 916490 h 6858000"/>
              <a:gd name="connsiteX760" fmla="*/ 5377381 w 7467600"/>
              <a:gd name="connsiteY760" fmla="*/ 912671 h 6858000"/>
              <a:gd name="connsiteX761" fmla="*/ 5460148 w 7467600"/>
              <a:gd name="connsiteY761" fmla="*/ 911442 h 6858000"/>
              <a:gd name="connsiteX762" fmla="*/ 5648971 w 7467600"/>
              <a:gd name="connsiteY762" fmla="*/ 891331 h 6858000"/>
              <a:gd name="connsiteX763" fmla="*/ 5844807 w 7467600"/>
              <a:gd name="connsiteY763" fmla="*/ 870718 h 6858000"/>
              <a:gd name="connsiteX764" fmla="*/ 5862975 w 7467600"/>
              <a:gd name="connsiteY764" fmla="*/ 869756 h 6858000"/>
              <a:gd name="connsiteX765" fmla="*/ 5920887 w 7467600"/>
              <a:gd name="connsiteY765" fmla="*/ 865929 h 6858000"/>
              <a:gd name="connsiteX766" fmla="*/ 5504425 w 7467600"/>
              <a:gd name="connsiteY766" fmla="*/ 848067 h 6858000"/>
              <a:gd name="connsiteX767" fmla="*/ 3607114 w 7467600"/>
              <a:gd name="connsiteY767" fmla="*/ 467441 h 6858000"/>
              <a:gd name="connsiteX768" fmla="*/ 3296242 w 7467600"/>
              <a:gd name="connsiteY768" fmla="*/ 807991 h 6858000"/>
              <a:gd name="connsiteX769" fmla="*/ 3174674 w 7467600"/>
              <a:gd name="connsiteY769" fmla="*/ 919759 h 6858000"/>
              <a:gd name="connsiteX770" fmla="*/ 3042978 w 7467600"/>
              <a:gd name="connsiteY770" fmla="*/ 1054894 h 6858000"/>
              <a:gd name="connsiteX771" fmla="*/ 2968914 w 7467600"/>
              <a:gd name="connsiteY771" fmla="*/ 1133756 h 6858000"/>
              <a:gd name="connsiteX772" fmla="*/ 3103823 w 7467600"/>
              <a:gd name="connsiteY772" fmla="*/ 1026814 h 6858000"/>
              <a:gd name="connsiteX773" fmla="*/ 3607114 w 7467600"/>
              <a:gd name="connsiteY773" fmla="*/ 467441 h 6858000"/>
              <a:gd name="connsiteX774" fmla="*/ 3744487 w 7467600"/>
              <a:gd name="connsiteY774" fmla="*/ 383136 h 6858000"/>
              <a:gd name="connsiteX775" fmla="*/ 3970213 w 7467600"/>
              <a:gd name="connsiteY775" fmla="*/ 995559 h 6858000"/>
              <a:gd name="connsiteX776" fmla="*/ 3744487 w 7467600"/>
              <a:gd name="connsiteY776" fmla="*/ 383136 h 6858000"/>
              <a:gd name="connsiteX777" fmla="*/ 3624562 w 7467600"/>
              <a:gd name="connsiteY777" fmla="*/ 367041 h 6858000"/>
              <a:gd name="connsiteX778" fmla="*/ 3489712 w 7467600"/>
              <a:gd name="connsiteY778" fmla="*/ 485386 h 6858000"/>
              <a:gd name="connsiteX779" fmla="*/ 3182994 w 7467600"/>
              <a:gd name="connsiteY779" fmla="*/ 828265 h 6858000"/>
              <a:gd name="connsiteX780" fmla="*/ 2892114 w 7467600"/>
              <a:gd name="connsiteY780" fmla="*/ 1172635 h 6858000"/>
              <a:gd name="connsiteX781" fmla="*/ 3021459 w 7467600"/>
              <a:gd name="connsiteY781" fmla="*/ 1035385 h 6858000"/>
              <a:gd name="connsiteX782" fmla="*/ 3153873 w 7467600"/>
              <a:gd name="connsiteY782" fmla="*/ 898971 h 6858000"/>
              <a:gd name="connsiteX783" fmla="*/ 3276511 w 7467600"/>
              <a:gd name="connsiteY783" fmla="*/ 786423 h 6858000"/>
              <a:gd name="connsiteX784" fmla="*/ 3584154 w 7467600"/>
              <a:gd name="connsiteY784" fmla="*/ 448218 h 6858000"/>
              <a:gd name="connsiteX785" fmla="*/ 3624562 w 7467600"/>
              <a:gd name="connsiteY785" fmla="*/ 367041 h 6858000"/>
              <a:gd name="connsiteX786" fmla="*/ 3766672 w 7467600"/>
              <a:gd name="connsiteY786" fmla="*/ 359429 h 6858000"/>
              <a:gd name="connsiteX787" fmla="*/ 3996338 w 7467600"/>
              <a:gd name="connsiteY787" fmla="*/ 968237 h 6858000"/>
              <a:gd name="connsiteX788" fmla="*/ 3766672 w 7467600"/>
              <a:gd name="connsiteY788" fmla="*/ 359429 h 6858000"/>
              <a:gd name="connsiteX789" fmla="*/ 5805386 w 7467600"/>
              <a:gd name="connsiteY789" fmla="*/ 239240 h 6858000"/>
              <a:gd name="connsiteX790" fmla="*/ 5736947 w 7467600"/>
              <a:gd name="connsiteY790" fmla="*/ 261367 h 6858000"/>
              <a:gd name="connsiteX791" fmla="*/ 5427012 w 7467600"/>
              <a:gd name="connsiteY791" fmla="*/ 311272 h 6858000"/>
              <a:gd name="connsiteX792" fmla="*/ 5147818 w 7467600"/>
              <a:gd name="connsiteY792" fmla="*/ 322112 h 6858000"/>
              <a:gd name="connsiteX793" fmla="*/ 5060854 w 7467600"/>
              <a:gd name="connsiteY793" fmla="*/ 311882 h 6858000"/>
              <a:gd name="connsiteX794" fmla="*/ 4945989 w 7467600"/>
              <a:gd name="connsiteY794" fmla="*/ 300516 h 6858000"/>
              <a:gd name="connsiteX795" fmla="*/ 5410479 w 7467600"/>
              <a:gd name="connsiteY795" fmla="*/ 348434 h 6858000"/>
              <a:gd name="connsiteX796" fmla="*/ 5805386 w 7467600"/>
              <a:gd name="connsiteY796" fmla="*/ 239240 h 6858000"/>
              <a:gd name="connsiteX797" fmla="*/ 5905192 w 7467600"/>
              <a:gd name="connsiteY797" fmla="*/ 163079 h 6858000"/>
              <a:gd name="connsiteX798" fmla="*/ 5865655 w 7467600"/>
              <a:gd name="connsiteY798" fmla="*/ 171901 h 6858000"/>
              <a:gd name="connsiteX799" fmla="*/ 5259740 w 7467600"/>
              <a:gd name="connsiteY799" fmla="*/ 257013 h 6858000"/>
              <a:gd name="connsiteX800" fmla="*/ 5208466 w 7467600"/>
              <a:gd name="connsiteY800" fmla="*/ 257550 h 6858000"/>
              <a:gd name="connsiteX801" fmla="*/ 4980204 w 7467600"/>
              <a:gd name="connsiteY801" fmla="*/ 271903 h 6858000"/>
              <a:gd name="connsiteX802" fmla="*/ 5068068 w 7467600"/>
              <a:gd name="connsiteY802" fmla="*/ 282244 h 6858000"/>
              <a:gd name="connsiteX803" fmla="*/ 5153231 w 7467600"/>
              <a:gd name="connsiteY803" fmla="*/ 292240 h 6858000"/>
              <a:gd name="connsiteX804" fmla="*/ 5426491 w 7467600"/>
              <a:gd name="connsiteY804" fmla="*/ 281128 h 6858000"/>
              <a:gd name="connsiteX805" fmla="*/ 5731212 w 7467600"/>
              <a:gd name="connsiteY805" fmla="*/ 231951 h 6858000"/>
              <a:gd name="connsiteX806" fmla="*/ 5905192 w 7467600"/>
              <a:gd name="connsiteY806" fmla="*/ 163079 h 6858000"/>
              <a:gd name="connsiteX807" fmla="*/ 5944437 w 7467600"/>
              <a:gd name="connsiteY807" fmla="*/ 113829 h 6858000"/>
              <a:gd name="connsiteX808" fmla="*/ 5825032 w 7467600"/>
              <a:gd name="connsiteY808" fmla="*/ 146405 h 6858000"/>
              <a:gd name="connsiteX809" fmla="*/ 4955599 w 7467600"/>
              <a:gd name="connsiteY809" fmla="*/ 247008 h 6858000"/>
              <a:gd name="connsiteX810" fmla="*/ 5210104 w 7467600"/>
              <a:gd name="connsiteY810" fmla="*/ 228123 h 6858000"/>
              <a:gd name="connsiteX811" fmla="*/ 5261015 w 7467600"/>
              <a:gd name="connsiteY811" fmla="*/ 227087 h 6858000"/>
              <a:gd name="connsiteX812" fmla="*/ 5861181 w 7467600"/>
              <a:gd name="connsiteY812" fmla="*/ 143093 h 6858000"/>
              <a:gd name="connsiteX813" fmla="*/ 5961252 w 7467600"/>
              <a:gd name="connsiteY813" fmla="*/ 114820 h 6858000"/>
              <a:gd name="connsiteX814" fmla="*/ 5944437 w 7467600"/>
              <a:gd name="connsiteY814" fmla="*/ 113829 h 6858000"/>
              <a:gd name="connsiteX815" fmla="*/ 3882765 w 7467600"/>
              <a:gd name="connsiteY815" fmla="*/ 0 h 6858000"/>
              <a:gd name="connsiteX816" fmla="*/ 3995099 w 7467600"/>
              <a:gd name="connsiteY816" fmla="*/ 0 h 6858000"/>
              <a:gd name="connsiteX817" fmla="*/ 4163818 w 7467600"/>
              <a:gd name="connsiteY817" fmla="*/ 234104 h 6858000"/>
              <a:gd name="connsiteX818" fmla="*/ 4172099 w 7467600"/>
              <a:gd name="connsiteY818" fmla="*/ 234207 h 6858000"/>
              <a:gd name="connsiteX819" fmla="*/ 4784282 w 7467600"/>
              <a:gd name="connsiteY819" fmla="*/ 276561 h 6858000"/>
              <a:gd name="connsiteX820" fmla="*/ 4801687 w 7467600"/>
              <a:gd name="connsiteY820" fmla="*/ 267764 h 6858000"/>
              <a:gd name="connsiteX821" fmla="*/ 6082788 w 7467600"/>
              <a:gd name="connsiteY821" fmla="*/ 64119 h 6858000"/>
              <a:gd name="connsiteX822" fmla="*/ 6099442 w 7467600"/>
              <a:gd name="connsiteY822" fmla="*/ 82568 h 6858000"/>
              <a:gd name="connsiteX823" fmla="*/ 4804137 w 7467600"/>
              <a:gd name="connsiteY823" fmla="*/ 320931 h 6858000"/>
              <a:gd name="connsiteX824" fmla="*/ 4227047 w 7467600"/>
              <a:gd name="connsiteY824" fmla="*/ 313415 h 6858000"/>
              <a:gd name="connsiteX825" fmla="*/ 4346041 w 7467600"/>
              <a:gd name="connsiteY825" fmla="*/ 456086 h 6858000"/>
              <a:gd name="connsiteX826" fmla="*/ 4870967 w 7467600"/>
              <a:gd name="connsiteY826" fmla="*/ 963061 h 6858000"/>
              <a:gd name="connsiteX827" fmla="*/ 4889647 w 7467600"/>
              <a:gd name="connsiteY827" fmla="*/ 957147 h 6858000"/>
              <a:gd name="connsiteX828" fmla="*/ 5422504 w 7467600"/>
              <a:gd name="connsiteY828" fmla="*/ 805191 h 6858000"/>
              <a:gd name="connsiteX829" fmla="*/ 6087656 w 7467600"/>
              <a:gd name="connsiteY829" fmla="*/ 826703 h 6858000"/>
              <a:gd name="connsiteX830" fmla="*/ 6058717 w 7467600"/>
              <a:gd name="connsiteY830" fmla="*/ 865992 h 6858000"/>
              <a:gd name="connsiteX831" fmla="*/ 4974153 w 7467600"/>
              <a:gd name="connsiteY831" fmla="*/ 1045456 h 6858000"/>
              <a:gd name="connsiteX832" fmla="*/ 5627835 w 7467600"/>
              <a:gd name="connsiteY832" fmla="*/ 1472077 h 6858000"/>
              <a:gd name="connsiteX833" fmla="*/ 5629817 w 7467600"/>
              <a:gd name="connsiteY833" fmla="*/ 1471412 h 6858000"/>
              <a:gd name="connsiteX834" fmla="*/ 5634124 w 7467600"/>
              <a:gd name="connsiteY834" fmla="*/ 1470572 h 6858000"/>
              <a:gd name="connsiteX835" fmla="*/ 5755832 w 7467600"/>
              <a:gd name="connsiteY835" fmla="*/ 1383886 h 6858000"/>
              <a:gd name="connsiteX836" fmla="*/ 6014186 w 7467600"/>
              <a:gd name="connsiteY836" fmla="*/ 1279799 h 6858000"/>
              <a:gd name="connsiteX837" fmla="*/ 6901619 w 7467600"/>
              <a:gd name="connsiteY837" fmla="*/ 1047874 h 6858000"/>
              <a:gd name="connsiteX838" fmla="*/ 6931566 w 7467600"/>
              <a:gd name="connsiteY838" fmla="*/ 1062034 h 6858000"/>
              <a:gd name="connsiteX839" fmla="*/ 5790982 w 7467600"/>
              <a:gd name="connsiteY839" fmla="*/ 1561380 h 6858000"/>
              <a:gd name="connsiteX840" fmla="*/ 6188971 w 7467600"/>
              <a:gd name="connsiteY840" fmla="*/ 1755168 h 6858000"/>
              <a:gd name="connsiteX841" fmla="*/ 6202446 w 7467600"/>
              <a:gd name="connsiteY841" fmla="*/ 1752268 h 6858000"/>
              <a:gd name="connsiteX842" fmla="*/ 7179560 w 7467600"/>
              <a:gd name="connsiteY842" fmla="*/ 1467551 h 6858000"/>
              <a:gd name="connsiteX843" fmla="*/ 7158730 w 7467600"/>
              <a:gd name="connsiteY843" fmla="*/ 1507835 h 6858000"/>
              <a:gd name="connsiteX844" fmla="*/ 6326959 w 7467600"/>
              <a:gd name="connsiteY844" fmla="*/ 1817686 h 6858000"/>
              <a:gd name="connsiteX845" fmla="*/ 6537433 w 7467600"/>
              <a:gd name="connsiteY845" fmla="*/ 1907790 h 6858000"/>
              <a:gd name="connsiteX846" fmla="*/ 6550221 w 7467600"/>
              <a:gd name="connsiteY846" fmla="*/ 1910729 h 6858000"/>
              <a:gd name="connsiteX847" fmla="*/ 6964438 w 7467600"/>
              <a:gd name="connsiteY847" fmla="*/ 2209505 h 6858000"/>
              <a:gd name="connsiteX848" fmla="*/ 7367862 w 7467600"/>
              <a:gd name="connsiteY848" fmla="*/ 2806833 h 6858000"/>
              <a:gd name="connsiteX849" fmla="*/ 7364329 w 7467600"/>
              <a:gd name="connsiteY849" fmla="*/ 2826907 h 6858000"/>
              <a:gd name="connsiteX850" fmla="*/ 7290545 w 7467600"/>
              <a:gd name="connsiteY850" fmla="*/ 2850663 h 6858000"/>
              <a:gd name="connsiteX851" fmla="*/ 6472036 w 7467600"/>
              <a:gd name="connsiteY851" fmla="*/ 1959003 h 6858000"/>
              <a:gd name="connsiteX852" fmla="*/ 5792897 w 7467600"/>
              <a:gd name="connsiteY852" fmla="*/ 1647747 h 6858000"/>
              <a:gd name="connsiteX853" fmla="*/ 5842751 w 7467600"/>
              <a:gd name="connsiteY853" fmla="*/ 1816112 h 6858000"/>
              <a:gd name="connsiteX854" fmla="*/ 5847424 w 7467600"/>
              <a:gd name="connsiteY854" fmla="*/ 1815776 h 6858000"/>
              <a:gd name="connsiteX855" fmla="*/ 6399821 w 7467600"/>
              <a:gd name="connsiteY855" fmla="*/ 2344799 h 6858000"/>
              <a:gd name="connsiteX856" fmla="*/ 6323232 w 7467600"/>
              <a:gd name="connsiteY856" fmla="*/ 2389634 h 6858000"/>
              <a:gd name="connsiteX857" fmla="*/ 5942958 w 7467600"/>
              <a:gd name="connsiteY857" fmla="*/ 2077708 h 6858000"/>
              <a:gd name="connsiteX858" fmla="*/ 5921559 w 7467600"/>
              <a:gd name="connsiteY858" fmla="*/ 2378596 h 6858000"/>
              <a:gd name="connsiteX859" fmla="*/ 5817651 w 7467600"/>
              <a:gd name="connsiteY859" fmla="*/ 3023919 h 6858000"/>
              <a:gd name="connsiteX860" fmla="*/ 5729634 w 7467600"/>
              <a:gd name="connsiteY860" fmla="*/ 3051849 h 6858000"/>
              <a:gd name="connsiteX861" fmla="*/ 5611018 w 7467600"/>
              <a:gd name="connsiteY861" fmla="*/ 2316769 h 6858000"/>
              <a:gd name="connsiteX862" fmla="*/ 5687608 w 7467600"/>
              <a:gd name="connsiteY862" fmla="*/ 2039972 h 6858000"/>
              <a:gd name="connsiteX863" fmla="*/ 5657554 w 7467600"/>
              <a:gd name="connsiteY863" fmla="*/ 1576445 h 6858000"/>
              <a:gd name="connsiteX864" fmla="*/ 5150475 w 7467600"/>
              <a:gd name="connsiteY864" fmla="*/ 1274012 h 6858000"/>
              <a:gd name="connsiteX865" fmla="*/ 5349142 w 7467600"/>
              <a:gd name="connsiteY865" fmla="*/ 2204405 h 6858000"/>
              <a:gd name="connsiteX866" fmla="*/ 5262214 w 7467600"/>
              <a:gd name="connsiteY866" fmla="*/ 2233836 h 6858000"/>
              <a:gd name="connsiteX867" fmla="*/ 4981539 w 7467600"/>
              <a:gd name="connsiteY867" fmla="*/ 1542201 h 6858000"/>
              <a:gd name="connsiteX868" fmla="*/ 4958461 w 7467600"/>
              <a:gd name="connsiteY868" fmla="*/ 1136957 h 6858000"/>
              <a:gd name="connsiteX869" fmla="*/ 4655015 w 7467600"/>
              <a:gd name="connsiteY869" fmla="*/ 891426 h 6858000"/>
              <a:gd name="connsiteX870" fmla="*/ 4348002 w 7467600"/>
              <a:gd name="connsiteY870" fmla="*/ 2205895 h 6858000"/>
              <a:gd name="connsiteX871" fmla="*/ 4262250 w 7467600"/>
              <a:gd name="connsiteY871" fmla="*/ 2219972 h 6858000"/>
              <a:gd name="connsiteX872" fmla="*/ 4550611 w 7467600"/>
              <a:gd name="connsiteY872" fmla="*/ 817540 h 6858000"/>
              <a:gd name="connsiteX873" fmla="*/ 4564418 w 7467600"/>
              <a:gd name="connsiteY873" fmla="*/ 808293 h 6858000"/>
              <a:gd name="connsiteX874" fmla="*/ 4266388 w 7467600"/>
              <a:gd name="connsiteY874" fmla="*/ 500083 h 6858000"/>
              <a:gd name="connsiteX875" fmla="*/ 4032842 w 7467600"/>
              <a:gd name="connsiteY875" fmla="*/ 211809 h 6858000"/>
              <a:gd name="connsiteX876" fmla="*/ 3882765 w 7467600"/>
              <a:gd name="connsiteY876" fmla="*/ 0 h 6858000"/>
              <a:gd name="connsiteX877" fmla="*/ 3721337 w 7467600"/>
              <a:gd name="connsiteY877" fmla="*/ 0 h 6858000"/>
              <a:gd name="connsiteX878" fmla="*/ 3797544 w 7467600"/>
              <a:gd name="connsiteY878" fmla="*/ 0 h 6858000"/>
              <a:gd name="connsiteX879" fmla="*/ 3775734 w 7467600"/>
              <a:gd name="connsiteY879" fmla="*/ 95131 h 6858000"/>
              <a:gd name="connsiteX880" fmla="*/ 3724807 w 7467600"/>
              <a:gd name="connsiteY880" fmla="*/ 272257 h 6858000"/>
              <a:gd name="connsiteX881" fmla="*/ 3726844 w 7467600"/>
              <a:gd name="connsiteY881" fmla="*/ 282988 h 6858000"/>
              <a:gd name="connsiteX882" fmla="*/ 3742664 w 7467600"/>
              <a:gd name="connsiteY882" fmla="*/ 279918 h 6858000"/>
              <a:gd name="connsiteX883" fmla="*/ 4103910 w 7467600"/>
              <a:gd name="connsiteY883" fmla="*/ 1161917 h 6858000"/>
              <a:gd name="connsiteX884" fmla="*/ 4020269 w 7467600"/>
              <a:gd name="connsiteY884" fmla="*/ 1200406 h 6858000"/>
              <a:gd name="connsiteX885" fmla="*/ 3674882 w 7467600"/>
              <a:gd name="connsiteY885" fmla="*/ 488524 h 6858000"/>
              <a:gd name="connsiteX886" fmla="*/ 3132682 w 7467600"/>
              <a:gd name="connsiteY886" fmla="*/ 1072284 h 6858000"/>
              <a:gd name="connsiteX887" fmla="*/ 2716346 w 7467600"/>
              <a:gd name="connsiteY887" fmla="*/ 1276376 h 6858000"/>
              <a:gd name="connsiteX888" fmla="*/ 2716772 w 7467600"/>
              <a:gd name="connsiteY888" fmla="*/ 1255462 h 6858000"/>
              <a:gd name="connsiteX889" fmla="*/ 3471096 w 7467600"/>
              <a:gd name="connsiteY889" fmla="*/ 437072 h 6858000"/>
              <a:gd name="connsiteX890" fmla="*/ 3639057 w 7467600"/>
              <a:gd name="connsiteY890" fmla="*/ 286334 h 6858000"/>
              <a:gd name="connsiteX891" fmla="*/ 3640309 w 7467600"/>
              <a:gd name="connsiteY891" fmla="*/ 284664 h 6858000"/>
              <a:gd name="connsiteX892" fmla="*/ 3646022 w 7467600"/>
              <a:gd name="connsiteY892" fmla="*/ 276711 h 6858000"/>
              <a:gd name="connsiteX893" fmla="*/ 3707943 w 7467600"/>
              <a:gd name="connsiteY893" fmla="*/ 65958 h 6858000"/>
              <a:gd name="connsiteX894" fmla="*/ 3721337 w 7467600"/>
              <a:gd name="connsiteY894" fmla="*/ 0 h 6858000"/>
              <a:gd name="connsiteX895" fmla="*/ 2867960 w 7467600"/>
              <a:gd name="connsiteY895" fmla="*/ 0 h 6858000"/>
              <a:gd name="connsiteX896" fmla="*/ 2926351 w 7467600"/>
              <a:gd name="connsiteY896" fmla="*/ 0 h 6858000"/>
              <a:gd name="connsiteX897" fmla="*/ 2902823 w 7467600"/>
              <a:gd name="connsiteY897" fmla="*/ 262929 h 6858000"/>
              <a:gd name="connsiteX898" fmla="*/ 2940663 w 7467600"/>
              <a:gd name="connsiteY898" fmla="*/ 140884 h 6858000"/>
              <a:gd name="connsiteX899" fmla="*/ 2947039 w 7467600"/>
              <a:gd name="connsiteY899" fmla="*/ 122524 h 6858000"/>
              <a:gd name="connsiteX900" fmla="*/ 2984316 w 7467600"/>
              <a:gd name="connsiteY900" fmla="*/ 0 h 6858000"/>
              <a:gd name="connsiteX901" fmla="*/ 3016114 w 7467600"/>
              <a:gd name="connsiteY901" fmla="*/ 0 h 6858000"/>
              <a:gd name="connsiteX902" fmla="*/ 2979949 w 7467600"/>
              <a:gd name="connsiteY902" fmla="*/ 119274 h 6858000"/>
              <a:gd name="connsiteX903" fmla="*/ 3023879 w 7467600"/>
              <a:gd name="connsiteY903" fmla="*/ 0 h 6858000"/>
              <a:gd name="connsiteX904" fmla="*/ 3105400 w 7467600"/>
              <a:gd name="connsiteY904" fmla="*/ 0 h 6858000"/>
              <a:gd name="connsiteX905" fmla="*/ 3094669 w 7467600"/>
              <a:gd name="connsiteY905" fmla="*/ 30308 h 6858000"/>
              <a:gd name="connsiteX906" fmla="*/ 2901945 w 7467600"/>
              <a:gd name="connsiteY906" fmla="*/ 466538 h 6858000"/>
              <a:gd name="connsiteX907" fmla="*/ 2815209 w 7467600"/>
              <a:gd name="connsiteY907" fmla="*/ 497361 h 6858000"/>
              <a:gd name="connsiteX908" fmla="*/ 2844845 w 7467600"/>
              <a:gd name="connsiteY908" fmla="*/ 127638 h 6858000"/>
              <a:gd name="connsiteX909" fmla="*/ 2867960 w 7467600"/>
              <a:gd name="connsiteY909" fmla="*/ 0 h 6858000"/>
              <a:gd name="connsiteX910" fmla="*/ 1057230 w 7467600"/>
              <a:gd name="connsiteY910" fmla="*/ 0 h 6858000"/>
              <a:gd name="connsiteX911" fmla="*/ 1111003 w 7467600"/>
              <a:gd name="connsiteY911" fmla="*/ 0 h 6858000"/>
              <a:gd name="connsiteX912" fmla="*/ 1125553 w 7467600"/>
              <a:gd name="connsiteY912" fmla="*/ 52588 h 6858000"/>
              <a:gd name="connsiteX913" fmla="*/ 1304276 w 7467600"/>
              <a:gd name="connsiteY913" fmla="*/ 476275 h 6858000"/>
              <a:gd name="connsiteX914" fmla="*/ 1492066 w 7467600"/>
              <a:gd name="connsiteY914" fmla="*/ 886333 h 6858000"/>
              <a:gd name="connsiteX915" fmla="*/ 1423698 w 7467600"/>
              <a:gd name="connsiteY915" fmla="*/ 710817 h 6858000"/>
              <a:gd name="connsiteX916" fmla="*/ 1357609 w 7467600"/>
              <a:gd name="connsiteY916" fmla="*/ 532892 h 6858000"/>
              <a:gd name="connsiteX917" fmla="*/ 1309550 w 7467600"/>
              <a:gd name="connsiteY917" fmla="*/ 374031 h 6858000"/>
              <a:gd name="connsiteX918" fmla="*/ 1193673 w 7467600"/>
              <a:gd name="connsiteY918" fmla="*/ 49533 h 6858000"/>
              <a:gd name="connsiteX919" fmla="*/ 1164391 w 7467600"/>
              <a:gd name="connsiteY919" fmla="*/ 0 h 6858000"/>
              <a:gd name="connsiteX920" fmla="*/ 1200666 w 7467600"/>
              <a:gd name="connsiteY920" fmla="*/ 0 h 6858000"/>
              <a:gd name="connsiteX921" fmla="*/ 1223408 w 7467600"/>
              <a:gd name="connsiteY921" fmla="*/ 38996 h 6858000"/>
              <a:gd name="connsiteX922" fmla="*/ 1339635 w 7467600"/>
              <a:gd name="connsiteY922" fmla="*/ 365517 h 6858000"/>
              <a:gd name="connsiteX923" fmla="*/ 1387469 w 7467600"/>
              <a:gd name="connsiteY923" fmla="*/ 523079 h 6858000"/>
              <a:gd name="connsiteX924" fmla="*/ 1452685 w 7467600"/>
              <a:gd name="connsiteY924" fmla="*/ 699806 h 6858000"/>
              <a:gd name="connsiteX925" fmla="*/ 1492092 w 7467600"/>
              <a:gd name="connsiteY925" fmla="*/ 800424 h 6858000"/>
              <a:gd name="connsiteX926" fmla="*/ 1455302 w 7467600"/>
              <a:gd name="connsiteY926" fmla="*/ 632913 h 6858000"/>
              <a:gd name="connsiteX927" fmla="*/ 1222336 w 7467600"/>
              <a:gd name="connsiteY927" fmla="*/ 9480 h 6858000"/>
              <a:gd name="connsiteX928" fmla="*/ 1214634 w 7467600"/>
              <a:gd name="connsiteY928" fmla="*/ 0 h 6858000"/>
              <a:gd name="connsiteX929" fmla="*/ 1289827 w 7467600"/>
              <a:gd name="connsiteY929" fmla="*/ 0 h 6858000"/>
              <a:gd name="connsiteX930" fmla="*/ 1321076 w 7467600"/>
              <a:gd name="connsiteY930" fmla="*/ 59722 h 6858000"/>
              <a:gd name="connsiteX931" fmla="*/ 1512579 w 7467600"/>
              <a:gd name="connsiteY931" fmla="*/ 626441 h 6858000"/>
              <a:gd name="connsiteX932" fmla="*/ 1506076 w 7467600"/>
              <a:gd name="connsiteY932" fmla="*/ 1089289 h 6858000"/>
              <a:gd name="connsiteX933" fmla="*/ 1486346 w 7467600"/>
              <a:gd name="connsiteY933" fmla="*/ 1079919 h 6858000"/>
              <a:gd name="connsiteX934" fmla="*/ 1070511 w 7467600"/>
              <a:gd name="connsiteY934" fmla="*/ 48609 h 6858000"/>
              <a:gd name="connsiteX935" fmla="*/ 1057230 w 7467600"/>
              <a:gd name="connsiteY935" fmla="*/ 0 h 6858000"/>
              <a:gd name="connsiteX936" fmla="*/ 43151 w 7467600"/>
              <a:gd name="connsiteY936" fmla="*/ 0 h 6858000"/>
              <a:gd name="connsiteX937" fmla="*/ 95283 w 7467600"/>
              <a:gd name="connsiteY937" fmla="*/ 0 h 6858000"/>
              <a:gd name="connsiteX938" fmla="*/ 300708 w 7467600"/>
              <a:gd name="connsiteY938" fmla="*/ 154571 h 6858000"/>
              <a:gd name="connsiteX939" fmla="*/ 530414 w 7467600"/>
              <a:gd name="connsiteY939" fmla="*/ 354673 h 6858000"/>
              <a:gd name="connsiteX940" fmla="*/ 333785 w 7467600"/>
              <a:gd name="connsiteY940" fmla="*/ 161564 h 6858000"/>
              <a:gd name="connsiteX941" fmla="*/ 147005 w 7467600"/>
              <a:gd name="connsiteY941" fmla="*/ 0 h 6858000"/>
              <a:gd name="connsiteX942" fmla="*/ 272509 w 7467600"/>
              <a:gd name="connsiteY942" fmla="*/ 0 h 6858000"/>
              <a:gd name="connsiteX943" fmla="*/ 326276 w 7467600"/>
              <a:gd name="connsiteY943" fmla="*/ 45847 h 6858000"/>
              <a:gd name="connsiteX944" fmla="*/ 823759 w 7467600"/>
              <a:gd name="connsiteY944" fmla="*/ 574145 h 6858000"/>
              <a:gd name="connsiteX945" fmla="*/ 811254 w 7467600"/>
              <a:gd name="connsiteY945" fmla="*/ 665546 h 6858000"/>
              <a:gd name="connsiteX946" fmla="*/ 154042 w 7467600"/>
              <a:gd name="connsiteY946" fmla="*/ 261522 h 6858000"/>
              <a:gd name="connsiteX947" fmla="*/ 13550 w 7467600"/>
              <a:gd name="connsiteY947" fmla="*/ 158423 h 6858000"/>
              <a:gd name="connsiteX948" fmla="*/ 0 w 7467600"/>
              <a:gd name="connsiteY948" fmla="*/ 146618 h 6858000"/>
              <a:gd name="connsiteX949" fmla="*/ 0 w 7467600"/>
              <a:gd name="connsiteY949" fmla="*/ 59161 h 6858000"/>
              <a:gd name="connsiteX950" fmla="*/ 45427 w 7467600"/>
              <a:gd name="connsiteY950" fmla="*/ 101078 h 6858000"/>
              <a:gd name="connsiteX951" fmla="*/ 630103 w 7467600"/>
              <a:gd name="connsiteY951" fmla="*/ 485885 h 6858000"/>
              <a:gd name="connsiteX952" fmla="*/ 532040 w 7467600"/>
              <a:gd name="connsiteY952" fmla="*/ 399359 h 6858000"/>
              <a:gd name="connsiteX953" fmla="*/ 517618 w 7467600"/>
              <a:gd name="connsiteY953" fmla="*/ 385726 h 6858000"/>
              <a:gd name="connsiteX954" fmla="*/ 285074 w 7467600"/>
              <a:gd name="connsiteY954" fmla="*/ 182755 h 6858000"/>
              <a:gd name="connsiteX955" fmla="*/ 43151 w 7467600"/>
              <a:gd name="connsiteY955"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1456157 w 7467600"/>
              <a:gd name="connsiteY74" fmla="*/ 5371404 h 6858000"/>
              <a:gd name="connsiteX75" fmla="*/ 1244432 w 7467600"/>
              <a:gd name="connsiteY75" fmla="*/ 5385601 h 6858000"/>
              <a:gd name="connsiteX76" fmla="*/ 973990 w 7467600"/>
              <a:gd name="connsiteY76" fmla="*/ 5424940 h 6858000"/>
              <a:gd name="connsiteX77" fmla="*/ 1103809 w 7467600"/>
              <a:gd name="connsiteY77" fmla="*/ 5433720 h 6858000"/>
              <a:gd name="connsiteX78" fmla="*/ 1123454 w 7467600"/>
              <a:gd name="connsiteY78" fmla="*/ 5435727 h 6858000"/>
              <a:gd name="connsiteX79" fmla="*/ 1737017 w 7467600"/>
              <a:gd name="connsiteY79" fmla="*/ 5452183 h 6858000"/>
              <a:gd name="connsiteX80" fmla="*/ 1824397 w 7467600"/>
              <a:gd name="connsiteY80" fmla="*/ 5447757 h 6858000"/>
              <a:gd name="connsiteX81" fmla="*/ 2070059 w 7467600"/>
              <a:gd name="connsiteY81" fmla="*/ 5441660 h 6858000"/>
              <a:gd name="connsiteX82" fmla="*/ 1456157 w 7467600"/>
              <a:gd name="connsiteY82" fmla="*/ 5371404 h 6858000"/>
              <a:gd name="connsiteX83" fmla="*/ 4988186 w 7467600"/>
              <a:gd name="connsiteY83" fmla="*/ 5216467 h 6858000"/>
              <a:gd name="connsiteX84" fmla="*/ 4777334 w 7467600"/>
              <a:gd name="connsiteY84" fmla="*/ 5406072 h 6858000"/>
              <a:gd name="connsiteX85" fmla="*/ 4718341 w 7467600"/>
              <a:gd name="connsiteY85" fmla="*/ 5468043 h 6858000"/>
              <a:gd name="connsiteX86" fmla="*/ 4604655 w 7467600"/>
              <a:gd name="connsiteY86" fmla="*/ 5583434 h 6858000"/>
              <a:gd name="connsiteX87" fmla="*/ 4565074 w 7467600"/>
              <a:gd name="connsiteY87" fmla="*/ 5618550 h 6858000"/>
              <a:gd name="connsiteX88" fmla="*/ 4988186 w 7467600"/>
              <a:gd name="connsiteY88" fmla="*/ 5216467 h 6858000"/>
              <a:gd name="connsiteX89" fmla="*/ 4978032 w 7467600"/>
              <a:gd name="connsiteY89" fmla="*/ 5183809 h 6858000"/>
              <a:gd name="connsiteX90" fmla="*/ 4463413 w 7467600"/>
              <a:gd name="connsiteY90" fmla="*/ 5615162 h 6858000"/>
              <a:gd name="connsiteX91" fmla="*/ 4358134 w 7467600"/>
              <a:gd name="connsiteY91" fmla="*/ 5742791 h 6858000"/>
              <a:gd name="connsiteX92" fmla="*/ 4376219 w 7467600"/>
              <a:gd name="connsiteY92" fmla="*/ 5729027 h 6858000"/>
              <a:gd name="connsiteX93" fmla="*/ 4582340 w 7467600"/>
              <a:gd name="connsiteY93" fmla="*/ 5561037 h 6858000"/>
              <a:gd name="connsiteX94" fmla="*/ 4694684 w 7467600"/>
              <a:gd name="connsiteY94" fmla="*/ 5447098 h 6858000"/>
              <a:gd name="connsiteX95" fmla="*/ 4754123 w 7467600"/>
              <a:gd name="connsiteY95" fmla="*/ 5384643 h 6858000"/>
              <a:gd name="connsiteX96" fmla="*/ 4978032 w 7467600"/>
              <a:gd name="connsiteY96" fmla="*/ 5183809 h 6858000"/>
              <a:gd name="connsiteX97" fmla="*/ 1903353 w 7467600"/>
              <a:gd name="connsiteY97" fmla="*/ 5044827 h 6858000"/>
              <a:gd name="connsiteX98" fmla="*/ 1936931 w 7467600"/>
              <a:gd name="connsiteY98" fmla="*/ 5093954 h 6858000"/>
              <a:gd name="connsiteX99" fmla="*/ 2195868 w 7467600"/>
              <a:gd name="connsiteY99" fmla="*/ 5396574 h 6858000"/>
              <a:gd name="connsiteX100" fmla="*/ 2088852 w 7467600"/>
              <a:gd name="connsiteY100" fmla="*/ 5166123 h 6858000"/>
              <a:gd name="connsiteX101" fmla="*/ 1958241 w 7467600"/>
              <a:gd name="connsiteY101" fmla="*/ 5067955 h 6858000"/>
              <a:gd name="connsiteX102" fmla="*/ 1903353 w 7467600"/>
              <a:gd name="connsiteY102" fmla="*/ 5044827 h 6858000"/>
              <a:gd name="connsiteX103" fmla="*/ 1979378 w 7467600"/>
              <a:gd name="connsiteY103" fmla="*/ 4769504 h 6858000"/>
              <a:gd name="connsiteX104" fmla="*/ 2882120 w 7467600"/>
              <a:gd name="connsiteY104" fmla="*/ 5064547 h 6858000"/>
              <a:gd name="connsiteX105" fmla="*/ 2793103 w 7467600"/>
              <a:gd name="connsiteY105" fmla="*/ 5039699 h 6858000"/>
              <a:gd name="connsiteX106" fmla="*/ 2770041 w 7467600"/>
              <a:gd name="connsiteY106" fmla="*/ 5033634 h 6858000"/>
              <a:gd name="connsiteX107" fmla="*/ 1979378 w 7467600"/>
              <a:gd name="connsiteY107" fmla="*/ 4769504 h 6858000"/>
              <a:gd name="connsiteX108" fmla="*/ 1927410 w 7467600"/>
              <a:gd name="connsiteY108" fmla="*/ 4716164 h 6858000"/>
              <a:gd name="connsiteX109" fmla="*/ 1959587 w 7467600"/>
              <a:gd name="connsiteY109" fmla="*/ 4728849 h 6858000"/>
              <a:gd name="connsiteX110" fmla="*/ 2777707 w 7467600"/>
              <a:gd name="connsiteY110" fmla="*/ 5003991 h 6858000"/>
              <a:gd name="connsiteX111" fmla="*/ 2800768 w 7467600"/>
              <a:gd name="connsiteY111" fmla="*/ 5010056 h 6858000"/>
              <a:gd name="connsiteX112" fmla="*/ 2879408 w 7467600"/>
              <a:gd name="connsiteY112" fmla="*/ 5031590 h 6858000"/>
              <a:gd name="connsiteX113" fmla="*/ 2862295 w 7467600"/>
              <a:gd name="connsiteY113" fmla="*/ 5022958 h 6858000"/>
              <a:gd name="connsiteX114" fmla="*/ 2813343 w 7467600"/>
              <a:gd name="connsiteY114" fmla="*/ 4998369 h 6858000"/>
              <a:gd name="connsiteX115" fmla="*/ 2646245 w 7467600"/>
              <a:gd name="connsiteY115" fmla="*/ 4930999 h 6858000"/>
              <a:gd name="connsiteX116" fmla="*/ 1999243 w 7467600"/>
              <a:gd name="connsiteY116" fmla="*/ 4730524 h 6858000"/>
              <a:gd name="connsiteX117" fmla="*/ 1979527 w 7467600"/>
              <a:gd name="connsiteY117" fmla="*/ 4726651 h 6858000"/>
              <a:gd name="connsiteX118" fmla="*/ 1927410 w 7467600"/>
              <a:gd name="connsiteY118" fmla="*/ 4716164 h 6858000"/>
              <a:gd name="connsiteX119" fmla="*/ 1997014 w 7467600"/>
              <a:gd name="connsiteY119" fmla="*/ 4698007 h 6858000"/>
              <a:gd name="connsiteX120" fmla="*/ 2005458 w 7467600"/>
              <a:gd name="connsiteY120" fmla="*/ 4699540 h 6858000"/>
              <a:gd name="connsiteX121" fmla="*/ 2657186 w 7467600"/>
              <a:gd name="connsiteY121" fmla="*/ 4901687 h 6858000"/>
              <a:gd name="connsiteX122" fmla="*/ 2826662 w 7467600"/>
              <a:gd name="connsiteY122" fmla="*/ 4970362 h 6858000"/>
              <a:gd name="connsiteX123" fmla="*/ 2876100 w 7467600"/>
              <a:gd name="connsiteY123" fmla="*/ 4995397 h 6858000"/>
              <a:gd name="connsiteX124" fmla="*/ 3042600 w 7467600"/>
              <a:gd name="connsiteY124" fmla="*/ 5059532 h 6858000"/>
              <a:gd name="connsiteX125" fmla="*/ 1997014 w 7467600"/>
              <a:gd name="connsiteY125" fmla="*/ 4698007 h 6858000"/>
              <a:gd name="connsiteX126" fmla="*/ 2305292 w 7467600"/>
              <a:gd name="connsiteY126" fmla="*/ 4219492 h 6858000"/>
              <a:gd name="connsiteX127" fmla="*/ 3360922 w 7467600"/>
              <a:gd name="connsiteY127" fmla="*/ 4529373 h 6858000"/>
              <a:gd name="connsiteX128" fmla="*/ 3492420 w 7467600"/>
              <a:gd name="connsiteY128" fmla="*/ 4510145 h 6858000"/>
              <a:gd name="connsiteX129" fmla="*/ 3364086 w 7467600"/>
              <a:gd name="connsiteY129" fmla="*/ 4480340 h 6858000"/>
              <a:gd name="connsiteX130" fmla="*/ 3225818 w 7467600"/>
              <a:gd name="connsiteY130" fmla="*/ 4411822 h 6858000"/>
              <a:gd name="connsiteX131" fmla="*/ 3129696 w 7467600"/>
              <a:gd name="connsiteY131" fmla="*/ 4360704 h 6858000"/>
              <a:gd name="connsiteX132" fmla="*/ 2814545 w 7467600"/>
              <a:gd name="connsiteY132" fmla="*/ 4282955 h 6858000"/>
              <a:gd name="connsiteX133" fmla="*/ 2305292 w 7467600"/>
              <a:gd name="connsiteY133" fmla="*/ 4219492 h 6858000"/>
              <a:gd name="connsiteX134" fmla="*/ 2626982 w 7467600"/>
              <a:gd name="connsiteY134" fmla="*/ 4206450 h 6858000"/>
              <a:gd name="connsiteX135" fmla="*/ 2490617 w 7467600"/>
              <a:gd name="connsiteY135" fmla="*/ 4206951 h 6858000"/>
              <a:gd name="connsiteX136" fmla="*/ 2819869 w 7467600"/>
              <a:gd name="connsiteY136" fmla="*/ 4252936 h 6858000"/>
              <a:gd name="connsiteX137" fmla="*/ 3143018 w 7467600"/>
              <a:gd name="connsiteY137" fmla="*/ 4332698 h 6858000"/>
              <a:gd name="connsiteX138" fmla="*/ 3241520 w 7467600"/>
              <a:gd name="connsiteY138" fmla="*/ 4385112 h 6858000"/>
              <a:gd name="connsiteX139" fmla="*/ 3374575 w 7467600"/>
              <a:gd name="connsiteY139" fmla="*/ 4451517 h 6858000"/>
              <a:gd name="connsiteX140" fmla="*/ 3505221 w 7467600"/>
              <a:gd name="connsiteY140" fmla="*/ 4480757 h 6858000"/>
              <a:gd name="connsiteX141" fmla="*/ 2626982 w 7467600"/>
              <a:gd name="connsiteY141" fmla="*/ 4206450 h 6858000"/>
              <a:gd name="connsiteX142" fmla="*/ 1310106 w 7467600"/>
              <a:gd name="connsiteY142" fmla="*/ 3943217 h 6858000"/>
              <a:gd name="connsiteX143" fmla="*/ 854994 w 7467600"/>
              <a:gd name="connsiteY143" fmla="*/ 4399136 h 6858000"/>
              <a:gd name="connsiteX144" fmla="*/ 742462 w 7467600"/>
              <a:gd name="connsiteY144" fmla="*/ 4594648 h 6858000"/>
              <a:gd name="connsiteX145" fmla="*/ 820602 w 7467600"/>
              <a:gd name="connsiteY145" fmla="*/ 4485915 h 6858000"/>
              <a:gd name="connsiteX146" fmla="*/ 878295 w 7467600"/>
              <a:gd name="connsiteY146" fmla="*/ 4403594 h 6858000"/>
              <a:gd name="connsiteX147" fmla="*/ 1240607 w 7467600"/>
              <a:gd name="connsiteY147" fmla="*/ 4010401 h 6858000"/>
              <a:gd name="connsiteX148" fmla="*/ 1310106 w 7467600"/>
              <a:gd name="connsiteY148" fmla="*/ 3943217 h 6858000"/>
              <a:gd name="connsiteX149" fmla="*/ 1423113 w 7467600"/>
              <a:gd name="connsiteY149" fmla="*/ 3874565 h 6858000"/>
              <a:gd name="connsiteX150" fmla="*/ 1260565 w 7467600"/>
              <a:gd name="connsiteY150" fmla="*/ 4031982 h 6858000"/>
              <a:gd name="connsiteX151" fmla="*/ 901900 w 7467600"/>
              <a:gd name="connsiteY151" fmla="*/ 4421236 h 6858000"/>
              <a:gd name="connsiteX152" fmla="*/ 845044 w 7467600"/>
              <a:gd name="connsiteY152" fmla="*/ 4502436 h 6858000"/>
              <a:gd name="connsiteX153" fmla="*/ 685926 w 7467600"/>
              <a:gd name="connsiteY153" fmla="*/ 4703069 h 6858000"/>
              <a:gd name="connsiteX154" fmla="*/ 684248 w 7467600"/>
              <a:gd name="connsiteY154" fmla="*/ 4706721 h 6858000"/>
              <a:gd name="connsiteX155" fmla="*/ 1423113 w 7467600"/>
              <a:gd name="connsiteY155" fmla="*/ 3874565 h 6858000"/>
              <a:gd name="connsiteX156" fmla="*/ 3316479 w 7467600"/>
              <a:gd name="connsiteY156" fmla="*/ 3872136 h 6858000"/>
              <a:gd name="connsiteX157" fmla="*/ 3546806 w 7467600"/>
              <a:gd name="connsiteY157" fmla="*/ 4356139 h 6858000"/>
              <a:gd name="connsiteX158" fmla="*/ 3364433 w 7467600"/>
              <a:gd name="connsiteY158" fmla="*/ 3953121 h 6858000"/>
              <a:gd name="connsiteX159" fmla="*/ 3316479 w 7467600"/>
              <a:gd name="connsiteY159" fmla="*/ 3872136 h 6858000"/>
              <a:gd name="connsiteX160" fmla="*/ 3291335 w 7467600"/>
              <a:gd name="connsiteY160" fmla="*/ 3767420 h 6858000"/>
              <a:gd name="connsiteX161" fmla="*/ 3390805 w 7467600"/>
              <a:gd name="connsiteY161" fmla="*/ 3937163 h 6858000"/>
              <a:gd name="connsiteX162" fmla="*/ 3579062 w 7467600"/>
              <a:gd name="connsiteY162" fmla="*/ 4359040 h 6858000"/>
              <a:gd name="connsiteX163" fmla="*/ 3467355 w 7467600"/>
              <a:gd name="connsiteY163" fmla="*/ 3988130 h 6858000"/>
              <a:gd name="connsiteX164" fmla="*/ 3310753 w 7467600"/>
              <a:gd name="connsiteY164" fmla="*/ 3787140 h 6858000"/>
              <a:gd name="connsiteX165" fmla="*/ 3291335 w 7467600"/>
              <a:gd name="connsiteY165" fmla="*/ 3767420 h 6858000"/>
              <a:gd name="connsiteX166" fmla="*/ 1635889 w 7467600"/>
              <a:gd name="connsiteY166" fmla="*/ 3709494 h 6858000"/>
              <a:gd name="connsiteX167" fmla="*/ 1634800 w 7467600"/>
              <a:gd name="connsiteY167" fmla="*/ 3731111 h 6858000"/>
              <a:gd name="connsiteX168" fmla="*/ 1635889 w 7467600"/>
              <a:gd name="connsiteY168" fmla="*/ 3709494 h 6858000"/>
              <a:gd name="connsiteX169" fmla="*/ 1510397 w 7467600"/>
              <a:gd name="connsiteY169" fmla="*/ 3684705 h 6858000"/>
              <a:gd name="connsiteX170" fmla="*/ 1146550 w 7467600"/>
              <a:gd name="connsiteY170" fmla="*/ 3802012 h 6858000"/>
              <a:gd name="connsiteX171" fmla="*/ 698834 w 7467600"/>
              <a:gd name="connsiteY171" fmla="*/ 3952272 h 6858000"/>
              <a:gd name="connsiteX172" fmla="*/ 34256 w 7467600"/>
              <a:gd name="connsiteY172" fmla="*/ 4347603 h 6858000"/>
              <a:gd name="connsiteX173" fmla="*/ 527241 w 7467600"/>
              <a:gd name="connsiteY173" fmla="*/ 4065078 h 6858000"/>
              <a:gd name="connsiteX174" fmla="*/ 1510397 w 7467600"/>
              <a:gd name="connsiteY174" fmla="*/ 3684705 h 6858000"/>
              <a:gd name="connsiteX175" fmla="*/ 1313114 w 7467600"/>
              <a:gd name="connsiteY175" fmla="*/ 3655216 h 6858000"/>
              <a:gd name="connsiteX176" fmla="*/ 1109304 w 7467600"/>
              <a:gd name="connsiteY176" fmla="*/ 3669030 h 6858000"/>
              <a:gd name="connsiteX177" fmla="*/ 8129 w 7467600"/>
              <a:gd name="connsiteY177" fmla="*/ 4330519 h 6858000"/>
              <a:gd name="connsiteX178" fmla="*/ 687572 w 7467600"/>
              <a:gd name="connsiteY178" fmla="*/ 3925629 h 6858000"/>
              <a:gd name="connsiteX179" fmla="*/ 1138365 w 7467600"/>
              <a:gd name="connsiteY179" fmla="*/ 3774515 h 6858000"/>
              <a:gd name="connsiteX180" fmla="*/ 1505579 w 7467600"/>
              <a:gd name="connsiteY180" fmla="*/ 3655526 h 6858000"/>
              <a:gd name="connsiteX181" fmla="*/ 1313114 w 7467600"/>
              <a:gd name="connsiteY181" fmla="*/ 3655216 h 6858000"/>
              <a:gd name="connsiteX182" fmla="*/ 3655073 w 7467600"/>
              <a:gd name="connsiteY182" fmla="*/ 3650884 h 6858000"/>
              <a:gd name="connsiteX183" fmla="*/ 3989938 w 7467600"/>
              <a:gd name="connsiteY183" fmla="*/ 3991685 h 6858000"/>
              <a:gd name="connsiteX184" fmla="*/ 4393907 w 7467600"/>
              <a:gd name="connsiteY184" fmla="*/ 4261258 h 6858000"/>
              <a:gd name="connsiteX185" fmla="*/ 4648051 w 7467600"/>
              <a:gd name="connsiteY185" fmla="*/ 4374051 h 6858000"/>
              <a:gd name="connsiteX186" fmla="*/ 4383389 w 7467600"/>
              <a:gd name="connsiteY186" fmla="*/ 4184369 h 6858000"/>
              <a:gd name="connsiteX187" fmla="*/ 4165508 w 7467600"/>
              <a:gd name="connsiteY187" fmla="*/ 4035196 h 6858000"/>
              <a:gd name="connsiteX188" fmla="*/ 4068162 w 7467600"/>
              <a:gd name="connsiteY188" fmla="*/ 3953394 h 6858000"/>
              <a:gd name="connsiteX189" fmla="*/ 3981416 w 7467600"/>
              <a:gd name="connsiteY189" fmla="*/ 3880482 h 6858000"/>
              <a:gd name="connsiteX190" fmla="*/ 3800147 w 7467600"/>
              <a:gd name="connsiteY190" fmla="*/ 3749872 h 6858000"/>
              <a:gd name="connsiteX191" fmla="*/ 3655073 w 7467600"/>
              <a:gd name="connsiteY191" fmla="*/ 3650884 h 6858000"/>
              <a:gd name="connsiteX192" fmla="*/ 3670252 w 7467600"/>
              <a:gd name="connsiteY192" fmla="*/ 3622798 h 6858000"/>
              <a:gd name="connsiteX193" fmla="*/ 3817258 w 7467600"/>
              <a:gd name="connsiteY193" fmla="*/ 3723577 h 6858000"/>
              <a:gd name="connsiteX194" fmla="*/ 4000461 w 7467600"/>
              <a:gd name="connsiteY194" fmla="*/ 3855966 h 6858000"/>
              <a:gd name="connsiteX195" fmla="*/ 4088180 w 7467600"/>
              <a:gd name="connsiteY195" fmla="*/ 3929774 h 6858000"/>
              <a:gd name="connsiteX196" fmla="*/ 4184555 w 7467600"/>
              <a:gd name="connsiteY196" fmla="*/ 4010683 h 6858000"/>
              <a:gd name="connsiteX197" fmla="*/ 4399563 w 7467600"/>
              <a:gd name="connsiteY197" fmla="*/ 4158106 h 6858000"/>
              <a:gd name="connsiteX198" fmla="*/ 4684469 w 7467600"/>
              <a:gd name="connsiteY198" fmla="*/ 4364680 h 6858000"/>
              <a:gd name="connsiteX199" fmla="*/ 4690271 w 7467600"/>
              <a:gd name="connsiteY199" fmla="*/ 4370034 h 6858000"/>
              <a:gd name="connsiteX200" fmla="*/ 4136093 w 7467600"/>
              <a:gd name="connsiteY200" fmla="*/ 3858466 h 6858000"/>
              <a:gd name="connsiteX201" fmla="*/ 3670252 w 7467600"/>
              <a:gd name="connsiteY201" fmla="*/ 3622798 h 6858000"/>
              <a:gd name="connsiteX202" fmla="*/ 4440129 w 7467600"/>
              <a:gd name="connsiteY202" fmla="*/ 3448571 h 6858000"/>
              <a:gd name="connsiteX203" fmla="*/ 4856525 w 7467600"/>
              <a:gd name="connsiteY203" fmla="*/ 3915351 h 6858000"/>
              <a:gd name="connsiteX204" fmla="*/ 5059055 w 7467600"/>
              <a:gd name="connsiteY204" fmla="*/ 4108918 h 6858000"/>
              <a:gd name="connsiteX205" fmla="*/ 5290070 w 7467600"/>
              <a:gd name="connsiteY205" fmla="*/ 4263619 h 6858000"/>
              <a:gd name="connsiteX206" fmla="*/ 4834991 w 7467600"/>
              <a:gd name="connsiteY206" fmla="*/ 3830985 h 6858000"/>
              <a:gd name="connsiteX207" fmla="*/ 4440129 w 7467600"/>
              <a:gd name="connsiteY207" fmla="*/ 3448571 h 6858000"/>
              <a:gd name="connsiteX208" fmla="*/ 4441737 w 7467600"/>
              <a:gd name="connsiteY208" fmla="*/ 3399734 h 6858000"/>
              <a:gd name="connsiteX209" fmla="*/ 4431236 w 7467600"/>
              <a:gd name="connsiteY209" fmla="*/ 3400954 h 6858000"/>
              <a:gd name="connsiteX210" fmla="*/ 4557150 w 7467600"/>
              <a:gd name="connsiteY210" fmla="*/ 3510023 h 6858000"/>
              <a:gd name="connsiteX211" fmla="*/ 4856936 w 7467600"/>
              <a:gd name="connsiteY211" fmla="*/ 3809146 h 6858000"/>
              <a:gd name="connsiteX212" fmla="*/ 5111996 w 7467600"/>
              <a:gd name="connsiteY212" fmla="*/ 4065759 h 6858000"/>
              <a:gd name="connsiteX213" fmla="*/ 5388878 w 7467600"/>
              <a:gd name="connsiteY213" fmla="*/ 4300185 h 6858000"/>
              <a:gd name="connsiteX214" fmla="*/ 5425556 w 7467600"/>
              <a:gd name="connsiteY214" fmla="*/ 4308967 h 6858000"/>
              <a:gd name="connsiteX215" fmla="*/ 4943646 w 7467600"/>
              <a:gd name="connsiteY215" fmla="*/ 3822916 h 6858000"/>
              <a:gd name="connsiteX216" fmla="*/ 4594837 w 7467600"/>
              <a:gd name="connsiteY216" fmla="*/ 3532274 h 6858000"/>
              <a:gd name="connsiteX217" fmla="*/ 4441737 w 7467600"/>
              <a:gd name="connsiteY217" fmla="*/ 3399734 h 6858000"/>
              <a:gd name="connsiteX218" fmla="*/ 5425834 w 7467600"/>
              <a:gd name="connsiteY218" fmla="*/ 3162785 h 6858000"/>
              <a:gd name="connsiteX219" fmla="*/ 5401644 w 7467600"/>
              <a:gd name="connsiteY219" fmla="*/ 3617847 h 6858000"/>
              <a:gd name="connsiteX220" fmla="*/ 5467256 w 7467600"/>
              <a:gd name="connsiteY220" fmla="*/ 4175494 h 6858000"/>
              <a:gd name="connsiteX221" fmla="*/ 5448069 w 7467600"/>
              <a:gd name="connsiteY221" fmla="*/ 3567554 h 6858000"/>
              <a:gd name="connsiteX222" fmla="*/ 5425834 w 7467600"/>
              <a:gd name="connsiteY222" fmla="*/ 3162785 h 6858000"/>
              <a:gd name="connsiteX223" fmla="*/ 1318687 w 7467600"/>
              <a:gd name="connsiteY223" fmla="*/ 3113840 h 6858000"/>
              <a:gd name="connsiteX224" fmla="*/ 1066793 w 7467600"/>
              <a:gd name="connsiteY224" fmla="*/ 3212171 h 6858000"/>
              <a:gd name="connsiteX225" fmla="*/ 993319 w 7467600"/>
              <a:gd name="connsiteY225" fmla="*/ 3247648 h 6858000"/>
              <a:gd name="connsiteX226" fmla="*/ 853081 w 7467600"/>
              <a:gd name="connsiteY226" fmla="*/ 3312410 h 6858000"/>
              <a:gd name="connsiteX227" fmla="*/ 805957 w 7467600"/>
              <a:gd name="connsiteY227" fmla="*/ 3330443 h 6858000"/>
              <a:gd name="connsiteX228" fmla="*/ 1318687 w 7467600"/>
              <a:gd name="connsiteY228" fmla="*/ 3113840 h 6858000"/>
              <a:gd name="connsiteX229" fmla="*/ 5453702 w 7467600"/>
              <a:gd name="connsiteY229" fmla="*/ 3090882 h 6858000"/>
              <a:gd name="connsiteX230" fmla="*/ 5480135 w 7467600"/>
              <a:gd name="connsiteY230" fmla="*/ 3565802 h 6858000"/>
              <a:gd name="connsiteX231" fmla="*/ 5499023 w 7467600"/>
              <a:gd name="connsiteY231" fmla="*/ 4166310 h 6858000"/>
              <a:gd name="connsiteX232" fmla="*/ 5547022 w 7467600"/>
              <a:gd name="connsiteY232" fmla="*/ 3607838 h 6858000"/>
              <a:gd name="connsiteX233" fmla="*/ 5515964 w 7467600"/>
              <a:gd name="connsiteY233" fmla="*/ 3378541 h 6858000"/>
              <a:gd name="connsiteX234" fmla="*/ 5453702 w 7467600"/>
              <a:gd name="connsiteY234" fmla="*/ 3090882 h 6858000"/>
              <a:gd name="connsiteX235" fmla="*/ 1238695 w 7467600"/>
              <a:gd name="connsiteY235" fmla="*/ 3076820 h 6858000"/>
              <a:gd name="connsiteX236" fmla="*/ 716371 w 7467600"/>
              <a:gd name="connsiteY236" fmla="*/ 3293249 h 6858000"/>
              <a:gd name="connsiteX237" fmla="*/ 579522 w 7467600"/>
              <a:gd name="connsiteY237" fmla="*/ 3371759 h 6858000"/>
              <a:gd name="connsiteX238" fmla="*/ 600288 w 7467600"/>
              <a:gd name="connsiteY238" fmla="*/ 3365555 h 6858000"/>
              <a:gd name="connsiteX239" fmla="*/ 840692 w 7467600"/>
              <a:gd name="connsiteY239" fmla="*/ 3284921 h 6858000"/>
              <a:gd name="connsiteX240" fmla="*/ 979248 w 7467600"/>
              <a:gd name="connsiteY240" fmla="*/ 3221003 h 6858000"/>
              <a:gd name="connsiteX241" fmla="*/ 1053282 w 7467600"/>
              <a:gd name="connsiteY241" fmla="*/ 3185247 h 6858000"/>
              <a:gd name="connsiteX242" fmla="*/ 1320603 w 7467600"/>
              <a:gd name="connsiteY242" fmla="*/ 3081281 h 6858000"/>
              <a:gd name="connsiteX243" fmla="*/ 1238695 w 7467600"/>
              <a:gd name="connsiteY243" fmla="*/ 3076820 h 6858000"/>
              <a:gd name="connsiteX244" fmla="*/ 5425627 w 7467600"/>
              <a:gd name="connsiteY244" fmla="*/ 2954192 h 6858000"/>
              <a:gd name="connsiteX245" fmla="*/ 5470770 w 7467600"/>
              <a:gd name="connsiteY245" fmla="*/ 3005435 h 6858000"/>
              <a:gd name="connsiteX246" fmla="*/ 5519779 w 7467600"/>
              <a:gd name="connsiteY246" fmla="*/ 4359223 h 6858000"/>
              <a:gd name="connsiteX247" fmla="*/ 5520293 w 7467600"/>
              <a:gd name="connsiteY247" fmla="*/ 4360602 h 6858000"/>
              <a:gd name="connsiteX248" fmla="*/ 5767221 w 7467600"/>
              <a:gd name="connsiteY248" fmla="*/ 4665564 h 6858000"/>
              <a:gd name="connsiteX249" fmla="*/ 6937169 w 7467600"/>
              <a:gd name="connsiteY249" fmla="*/ 4815941 h 6858000"/>
              <a:gd name="connsiteX250" fmla="*/ 6953922 w 7467600"/>
              <a:gd name="connsiteY250" fmla="*/ 4890068 h 6858000"/>
              <a:gd name="connsiteX251" fmla="*/ 6071359 w 7467600"/>
              <a:gd name="connsiteY251" fmla="*/ 4770770 h 6858000"/>
              <a:gd name="connsiteX252" fmla="*/ 6038839 w 7467600"/>
              <a:gd name="connsiteY252" fmla="*/ 4764474 h 6858000"/>
              <a:gd name="connsiteX253" fmla="*/ 6038706 w 7467600"/>
              <a:gd name="connsiteY253" fmla="*/ 4763847 h 6858000"/>
              <a:gd name="connsiteX254" fmla="*/ 6037784 w 7467600"/>
              <a:gd name="connsiteY254" fmla="*/ 4764270 h 6858000"/>
              <a:gd name="connsiteX255" fmla="*/ 6038839 w 7467600"/>
              <a:gd name="connsiteY255" fmla="*/ 4764474 h 6858000"/>
              <a:gd name="connsiteX256" fmla="*/ 6040338 w 7467600"/>
              <a:gd name="connsiteY256" fmla="*/ 4771418 h 6858000"/>
              <a:gd name="connsiteX257" fmla="*/ 6024488 w 7467600"/>
              <a:gd name="connsiteY257" fmla="*/ 4809903 h 6858000"/>
              <a:gd name="connsiteX258" fmla="*/ 5599771 w 7467600"/>
              <a:gd name="connsiteY258" fmla="*/ 5509652 h 6858000"/>
              <a:gd name="connsiteX259" fmla="*/ 5548843 w 7467600"/>
              <a:gd name="connsiteY259" fmla="*/ 5563845 h 6858000"/>
              <a:gd name="connsiteX260" fmla="*/ 5940952 w 7467600"/>
              <a:gd name="connsiteY260" fmla="*/ 6250028 h 6858000"/>
              <a:gd name="connsiteX261" fmla="*/ 6043441 w 7467600"/>
              <a:gd name="connsiteY261" fmla="*/ 6665847 h 6858000"/>
              <a:gd name="connsiteX262" fmla="*/ 6093432 w 7467600"/>
              <a:gd name="connsiteY262" fmla="*/ 6858000 h 6858000"/>
              <a:gd name="connsiteX263" fmla="*/ 6034344 w 7467600"/>
              <a:gd name="connsiteY263" fmla="*/ 6858000 h 6858000"/>
              <a:gd name="connsiteX264" fmla="*/ 6026679 w 7467600"/>
              <a:gd name="connsiteY264" fmla="*/ 6836959 h 6858000"/>
              <a:gd name="connsiteX265" fmla="*/ 5800441 w 7467600"/>
              <a:gd name="connsiteY265" fmla="*/ 6335286 h 6858000"/>
              <a:gd name="connsiteX266" fmla="*/ 5526562 w 7467600"/>
              <a:gd name="connsiteY266" fmla="*/ 5705388 h 6858000"/>
              <a:gd name="connsiteX267" fmla="*/ 5519640 w 7467600"/>
              <a:gd name="connsiteY267" fmla="*/ 5683774 h 6858000"/>
              <a:gd name="connsiteX268" fmla="*/ 5844559 w 7467600"/>
              <a:gd name="connsiteY268" fmla="*/ 6553349 h 6858000"/>
              <a:gd name="connsiteX269" fmla="*/ 5975994 w 7467600"/>
              <a:gd name="connsiteY269" fmla="*/ 6858000 h 6858000"/>
              <a:gd name="connsiteX270" fmla="*/ 5898547 w 7467600"/>
              <a:gd name="connsiteY270" fmla="*/ 6858000 h 6858000"/>
              <a:gd name="connsiteX271" fmla="*/ 5682041 w 7467600"/>
              <a:gd name="connsiteY271" fmla="*/ 6355860 h 6858000"/>
              <a:gd name="connsiteX272" fmla="*/ 5461758 w 7467600"/>
              <a:gd name="connsiteY272" fmla="*/ 5820220 h 6858000"/>
              <a:gd name="connsiteX273" fmla="*/ 5237282 w 7467600"/>
              <a:gd name="connsiteY273" fmla="*/ 6579086 h 6858000"/>
              <a:gd name="connsiteX274" fmla="*/ 5115009 w 7467600"/>
              <a:gd name="connsiteY274" fmla="*/ 6858000 h 6858000"/>
              <a:gd name="connsiteX275" fmla="*/ 5028074 w 7467600"/>
              <a:gd name="connsiteY275" fmla="*/ 6858000 h 6858000"/>
              <a:gd name="connsiteX276" fmla="*/ 5079508 w 7467600"/>
              <a:gd name="connsiteY276" fmla="*/ 6749074 h 6858000"/>
              <a:gd name="connsiteX277" fmla="*/ 5371846 w 7467600"/>
              <a:gd name="connsiteY277" fmla="*/ 5924413 h 6858000"/>
              <a:gd name="connsiteX278" fmla="*/ 5270512 w 7467600"/>
              <a:gd name="connsiteY278" fmla="*/ 6138975 h 6858000"/>
              <a:gd name="connsiteX279" fmla="*/ 5062409 w 7467600"/>
              <a:gd name="connsiteY279" fmla="*/ 6653544 h 6858000"/>
              <a:gd name="connsiteX280" fmla="*/ 5036628 w 7467600"/>
              <a:gd name="connsiteY280" fmla="*/ 6754247 h 6858000"/>
              <a:gd name="connsiteX281" fmla="*/ 5009112 w 7467600"/>
              <a:gd name="connsiteY281" fmla="*/ 6858000 h 6858000"/>
              <a:gd name="connsiteX282" fmla="*/ 4976679 w 7467600"/>
              <a:gd name="connsiteY282" fmla="*/ 6858000 h 6858000"/>
              <a:gd name="connsiteX283" fmla="*/ 5006537 w 7467600"/>
              <a:gd name="connsiteY283" fmla="*/ 6747068 h 6858000"/>
              <a:gd name="connsiteX284" fmla="*/ 5032723 w 7467600"/>
              <a:gd name="connsiteY284" fmla="*/ 6644957 h 6858000"/>
              <a:gd name="connsiteX285" fmla="*/ 5242949 w 7467600"/>
              <a:gd name="connsiteY285" fmla="*/ 6125175 h 6858000"/>
              <a:gd name="connsiteX286" fmla="*/ 5286321 w 7467600"/>
              <a:gd name="connsiteY286" fmla="*/ 6033555 h 6858000"/>
              <a:gd name="connsiteX287" fmla="*/ 5008210 w 7467600"/>
              <a:gd name="connsiteY287" fmla="*/ 6649194 h 6858000"/>
              <a:gd name="connsiteX288" fmla="*/ 4986321 w 7467600"/>
              <a:gd name="connsiteY288" fmla="*/ 6765687 h 6858000"/>
              <a:gd name="connsiteX289" fmla="*/ 4973474 w 7467600"/>
              <a:gd name="connsiteY289" fmla="*/ 6858000 h 6858000"/>
              <a:gd name="connsiteX290" fmla="*/ 4907178 w 7467600"/>
              <a:gd name="connsiteY290" fmla="*/ 6858000 h 6858000"/>
              <a:gd name="connsiteX291" fmla="*/ 4910810 w 7467600"/>
              <a:gd name="connsiteY291" fmla="*/ 6829660 h 6858000"/>
              <a:gd name="connsiteX292" fmla="*/ 4987461 w 7467600"/>
              <a:gd name="connsiteY292" fmla="*/ 6432994 h 6858000"/>
              <a:gd name="connsiteX293" fmla="*/ 5179262 w 7467600"/>
              <a:gd name="connsiteY293" fmla="*/ 6035044 h 6858000"/>
              <a:gd name="connsiteX294" fmla="*/ 4689678 w 7467600"/>
              <a:gd name="connsiteY294" fmla="*/ 6440241 h 6858000"/>
              <a:gd name="connsiteX295" fmla="*/ 4477543 w 7467600"/>
              <a:gd name="connsiteY295" fmla="*/ 6674836 h 6858000"/>
              <a:gd name="connsiteX296" fmla="*/ 4329957 w 7467600"/>
              <a:gd name="connsiteY296" fmla="*/ 6858000 h 6858000"/>
              <a:gd name="connsiteX297" fmla="*/ 4218595 w 7467600"/>
              <a:gd name="connsiteY297" fmla="*/ 6858000 h 6858000"/>
              <a:gd name="connsiteX298" fmla="*/ 4368888 w 7467600"/>
              <a:gd name="connsiteY298" fmla="*/ 6668412 h 6858000"/>
              <a:gd name="connsiteX299" fmla="*/ 4563091 w 7467600"/>
              <a:gd name="connsiteY299" fmla="*/ 6442508 h 6858000"/>
              <a:gd name="connsiteX300" fmla="*/ 5387324 w 7467600"/>
              <a:gd name="connsiteY300" fmla="*/ 5705830 h 6858000"/>
              <a:gd name="connsiteX301" fmla="*/ 5073620 w 7467600"/>
              <a:gd name="connsiteY301" fmla="*/ 5955437 h 6858000"/>
              <a:gd name="connsiteX302" fmla="*/ 4689789 w 7467600"/>
              <a:gd name="connsiteY302" fmla="*/ 6268382 h 6858000"/>
              <a:gd name="connsiteX303" fmla="*/ 4418722 w 7467600"/>
              <a:gd name="connsiteY303" fmla="*/ 6570886 h 6858000"/>
              <a:gd name="connsiteX304" fmla="*/ 4214944 w 7467600"/>
              <a:gd name="connsiteY304" fmla="*/ 6858000 h 6858000"/>
              <a:gd name="connsiteX305" fmla="*/ 4177898 w 7467600"/>
              <a:gd name="connsiteY305" fmla="*/ 6858000 h 6858000"/>
              <a:gd name="connsiteX306" fmla="*/ 4391597 w 7467600"/>
              <a:gd name="connsiteY306" fmla="*/ 6556370 h 6858000"/>
              <a:gd name="connsiteX307" fmla="*/ 4668889 w 7467600"/>
              <a:gd name="connsiteY307" fmla="*/ 6246399 h 6858000"/>
              <a:gd name="connsiteX308" fmla="*/ 5055427 w 7467600"/>
              <a:gd name="connsiteY308" fmla="*/ 5931476 h 6858000"/>
              <a:gd name="connsiteX309" fmla="*/ 5371814 w 7467600"/>
              <a:gd name="connsiteY309" fmla="*/ 5678975 h 6858000"/>
              <a:gd name="connsiteX310" fmla="*/ 4987918 w 7467600"/>
              <a:gd name="connsiteY310" fmla="*/ 5838701 h 6858000"/>
              <a:gd name="connsiteX311" fmla="*/ 4317146 w 7467600"/>
              <a:gd name="connsiteY311" fmla="*/ 6587716 h 6858000"/>
              <a:gd name="connsiteX312" fmla="*/ 4171627 w 7467600"/>
              <a:gd name="connsiteY312" fmla="*/ 6858000 h 6858000"/>
              <a:gd name="connsiteX313" fmla="*/ 4081585 w 7467600"/>
              <a:gd name="connsiteY313" fmla="*/ 6858000 h 6858000"/>
              <a:gd name="connsiteX314" fmla="*/ 4238603 w 7467600"/>
              <a:gd name="connsiteY314" fmla="*/ 6559341 h 6858000"/>
              <a:gd name="connsiteX315" fmla="*/ 4778333 w 7467600"/>
              <a:gd name="connsiteY315" fmla="*/ 5873626 h 6858000"/>
              <a:gd name="connsiteX316" fmla="*/ 5414185 w 7467600"/>
              <a:gd name="connsiteY316" fmla="*/ 5573882 h 6858000"/>
              <a:gd name="connsiteX317" fmla="*/ 5959648 w 7467600"/>
              <a:gd name="connsiteY317" fmla="*/ 4760797 h 6858000"/>
              <a:gd name="connsiteX318" fmla="*/ 5355019 w 7467600"/>
              <a:gd name="connsiteY318" fmla="*/ 4734672 h 6858000"/>
              <a:gd name="connsiteX319" fmla="*/ 5083565 w 7467600"/>
              <a:gd name="connsiteY319" fmla="*/ 5179121 h 6858000"/>
              <a:gd name="connsiteX320" fmla="*/ 4713577 w 7467600"/>
              <a:gd name="connsiteY320" fmla="*/ 5616803 h 6858000"/>
              <a:gd name="connsiteX321" fmla="*/ 3989559 w 7467600"/>
              <a:gd name="connsiteY321" fmla="*/ 6145945 h 6858000"/>
              <a:gd name="connsiteX322" fmla="*/ 3939824 w 7467600"/>
              <a:gd name="connsiteY322" fmla="*/ 6066900 h 6858000"/>
              <a:gd name="connsiteX323" fmla="*/ 4584537 w 7467600"/>
              <a:gd name="connsiteY323" fmla="*/ 5324826 h 6858000"/>
              <a:gd name="connsiteX324" fmla="*/ 5037105 w 7467600"/>
              <a:gd name="connsiteY324" fmla="*/ 5088765 h 6858000"/>
              <a:gd name="connsiteX325" fmla="*/ 5039930 w 7467600"/>
              <a:gd name="connsiteY325" fmla="*/ 5089585 h 6858000"/>
              <a:gd name="connsiteX326" fmla="*/ 5263764 w 7467600"/>
              <a:gd name="connsiteY326" fmla="*/ 4735525 h 6858000"/>
              <a:gd name="connsiteX327" fmla="*/ 4086300 w 7467600"/>
              <a:gd name="connsiteY327" fmla="*/ 4884599 h 6858000"/>
              <a:gd name="connsiteX328" fmla="*/ 4085485 w 7467600"/>
              <a:gd name="connsiteY328" fmla="*/ 4899070 h 6858000"/>
              <a:gd name="connsiteX329" fmla="*/ 3871915 w 7467600"/>
              <a:gd name="connsiteY329" fmla="*/ 5253645 h 6858000"/>
              <a:gd name="connsiteX330" fmla="*/ 3799374 w 7467600"/>
              <a:gd name="connsiteY330" fmla="*/ 5466127 h 6858000"/>
              <a:gd name="connsiteX331" fmla="*/ 3498850 w 7467600"/>
              <a:gd name="connsiteY331" fmla="*/ 6661888 h 6858000"/>
              <a:gd name="connsiteX332" fmla="*/ 3399216 w 7467600"/>
              <a:gd name="connsiteY332" fmla="*/ 6858000 h 6858000"/>
              <a:gd name="connsiteX333" fmla="*/ 3303688 w 7467600"/>
              <a:gd name="connsiteY333" fmla="*/ 6858000 h 6858000"/>
              <a:gd name="connsiteX334" fmla="*/ 3391774 w 7467600"/>
              <a:gd name="connsiteY334" fmla="*/ 6697181 h 6858000"/>
              <a:gd name="connsiteX335" fmla="*/ 3735540 w 7467600"/>
              <a:gd name="connsiteY335" fmla="*/ 5546923 h 6858000"/>
              <a:gd name="connsiteX336" fmla="*/ 3729438 w 7467600"/>
              <a:gd name="connsiteY336" fmla="*/ 5569058 h 6858000"/>
              <a:gd name="connsiteX337" fmla="*/ 3707782 w 7467600"/>
              <a:gd name="connsiteY337" fmla="*/ 5644908 h 6858000"/>
              <a:gd name="connsiteX338" fmla="*/ 3583827 w 7467600"/>
              <a:gd name="connsiteY338" fmla="*/ 6039215 h 6858000"/>
              <a:gd name="connsiteX339" fmla="*/ 3547861 w 7467600"/>
              <a:gd name="connsiteY339" fmla="*/ 6129609 h 6858000"/>
              <a:gd name="connsiteX340" fmla="*/ 3490905 w 7467600"/>
              <a:gd name="connsiteY340" fmla="*/ 6277660 h 6858000"/>
              <a:gd name="connsiteX341" fmla="*/ 3455859 w 7467600"/>
              <a:gd name="connsiteY341" fmla="*/ 6391301 h 6858000"/>
              <a:gd name="connsiteX342" fmla="*/ 3429112 w 7467600"/>
              <a:gd name="connsiteY342" fmla="*/ 6479469 h 6858000"/>
              <a:gd name="connsiteX343" fmla="*/ 3304862 w 7467600"/>
              <a:gd name="connsiteY343" fmla="*/ 6796476 h 6858000"/>
              <a:gd name="connsiteX344" fmla="*/ 3276071 w 7467600"/>
              <a:gd name="connsiteY344" fmla="*/ 6858000 h 6858000"/>
              <a:gd name="connsiteX345" fmla="*/ 3240805 w 7467600"/>
              <a:gd name="connsiteY345" fmla="*/ 6858000 h 6858000"/>
              <a:gd name="connsiteX346" fmla="*/ 3275917 w 7467600"/>
              <a:gd name="connsiteY346" fmla="*/ 6783192 h 6858000"/>
              <a:gd name="connsiteX347" fmla="*/ 3399358 w 7467600"/>
              <a:gd name="connsiteY347" fmla="*/ 6469011 h 6858000"/>
              <a:gd name="connsiteX348" fmla="*/ 3425650 w 7467600"/>
              <a:gd name="connsiteY348" fmla="*/ 6381333 h 6858000"/>
              <a:gd name="connsiteX349" fmla="*/ 3460661 w 7467600"/>
              <a:gd name="connsiteY349" fmla="*/ 6266763 h 6858000"/>
              <a:gd name="connsiteX350" fmla="*/ 3518021 w 7467600"/>
              <a:gd name="connsiteY350" fmla="*/ 6117298 h 6858000"/>
              <a:gd name="connsiteX351" fmla="*/ 3554035 w 7467600"/>
              <a:gd name="connsiteY351" fmla="*/ 6027832 h 6858000"/>
              <a:gd name="connsiteX352" fmla="*/ 3677174 w 7467600"/>
              <a:gd name="connsiteY352" fmla="*/ 5636351 h 6858000"/>
              <a:gd name="connsiteX353" fmla="*/ 3698819 w 7467600"/>
              <a:gd name="connsiteY353" fmla="*/ 5560503 h 6858000"/>
              <a:gd name="connsiteX354" fmla="*/ 3702094 w 7467600"/>
              <a:gd name="connsiteY354" fmla="*/ 5549194 h 6858000"/>
              <a:gd name="connsiteX355" fmla="*/ 3398355 w 7467600"/>
              <a:gd name="connsiteY355" fmla="*/ 6094603 h 6858000"/>
              <a:gd name="connsiteX356" fmla="*/ 3193941 w 7467600"/>
              <a:gd name="connsiteY356" fmla="*/ 6798775 h 6858000"/>
              <a:gd name="connsiteX357" fmla="*/ 3184140 w 7467600"/>
              <a:gd name="connsiteY357" fmla="*/ 6858000 h 6858000"/>
              <a:gd name="connsiteX358" fmla="*/ 3099978 w 7467600"/>
              <a:gd name="connsiteY358" fmla="*/ 6858000 h 6858000"/>
              <a:gd name="connsiteX359" fmla="*/ 3101556 w 7467600"/>
              <a:gd name="connsiteY359" fmla="*/ 6843337 h 6858000"/>
              <a:gd name="connsiteX360" fmla="*/ 3370162 w 7467600"/>
              <a:gd name="connsiteY360" fmla="*/ 5785550 h 6858000"/>
              <a:gd name="connsiteX361" fmla="*/ 3746477 w 7467600"/>
              <a:gd name="connsiteY361" fmla="*/ 5377889 h 6858000"/>
              <a:gd name="connsiteX362" fmla="*/ 3863399 w 7467600"/>
              <a:gd name="connsiteY362" fmla="*/ 5087257 h 6858000"/>
              <a:gd name="connsiteX363" fmla="*/ 3968712 w 7467600"/>
              <a:gd name="connsiteY363" fmla="*/ 4913989 h 6858000"/>
              <a:gd name="connsiteX364" fmla="*/ 2792390 w 7467600"/>
              <a:gd name="connsiteY364" fmla="*/ 5382974 h 6858000"/>
              <a:gd name="connsiteX365" fmla="*/ 2714982 w 7467600"/>
              <a:gd name="connsiteY365" fmla="*/ 5427051 h 6858000"/>
              <a:gd name="connsiteX366" fmla="*/ 2813361 w 7467600"/>
              <a:gd name="connsiteY366" fmla="*/ 6023912 h 6858000"/>
              <a:gd name="connsiteX367" fmla="*/ 2688430 w 7467600"/>
              <a:gd name="connsiteY367" fmla="*/ 6801564 h 6858000"/>
              <a:gd name="connsiteX368" fmla="*/ 2629626 w 7467600"/>
              <a:gd name="connsiteY368" fmla="*/ 6763394 h 6858000"/>
              <a:gd name="connsiteX369" fmla="*/ 2565328 w 7467600"/>
              <a:gd name="connsiteY369" fmla="*/ 5516399 h 6858000"/>
              <a:gd name="connsiteX370" fmla="*/ 1922999 w 7467600"/>
              <a:gd name="connsiteY370" fmla="*/ 5980343 h 6858000"/>
              <a:gd name="connsiteX371" fmla="*/ 1950261 w 7467600"/>
              <a:gd name="connsiteY371" fmla="*/ 6405858 h 6858000"/>
              <a:gd name="connsiteX372" fmla="*/ 2365554 w 7467600"/>
              <a:gd name="connsiteY372" fmla="*/ 6759107 h 6858000"/>
              <a:gd name="connsiteX373" fmla="*/ 2424142 w 7467600"/>
              <a:gd name="connsiteY373" fmla="*/ 6858000 h 6858000"/>
              <a:gd name="connsiteX374" fmla="*/ 2395994 w 7467600"/>
              <a:gd name="connsiteY374" fmla="*/ 6858000 h 6858000"/>
              <a:gd name="connsiteX375" fmla="*/ 2392863 w 7467600"/>
              <a:gd name="connsiteY375" fmla="*/ 6852964 h 6858000"/>
              <a:gd name="connsiteX376" fmla="*/ 2017589 w 7467600"/>
              <a:gd name="connsiteY376" fmla="*/ 6493982 h 6858000"/>
              <a:gd name="connsiteX377" fmla="*/ 2147336 w 7467600"/>
              <a:gd name="connsiteY377" fmla="*/ 6594052 h 6858000"/>
              <a:gd name="connsiteX378" fmla="*/ 2207047 w 7467600"/>
              <a:gd name="connsiteY378" fmla="*/ 6654540 h 6858000"/>
              <a:gd name="connsiteX379" fmla="*/ 2299106 w 7467600"/>
              <a:gd name="connsiteY379" fmla="*/ 6778931 h 6858000"/>
              <a:gd name="connsiteX380" fmla="*/ 2314430 w 7467600"/>
              <a:gd name="connsiteY380" fmla="*/ 6801144 h 6858000"/>
              <a:gd name="connsiteX381" fmla="*/ 2352406 w 7467600"/>
              <a:gd name="connsiteY381" fmla="*/ 6858000 h 6858000"/>
              <a:gd name="connsiteX382" fmla="*/ 2314492 w 7467600"/>
              <a:gd name="connsiteY382" fmla="*/ 6858000 h 6858000"/>
              <a:gd name="connsiteX383" fmla="*/ 2288095 w 7467600"/>
              <a:gd name="connsiteY383" fmla="*/ 6818030 h 6858000"/>
              <a:gd name="connsiteX384" fmla="*/ 2272768 w 7467600"/>
              <a:gd name="connsiteY384" fmla="*/ 6795822 h 6858000"/>
              <a:gd name="connsiteX385" fmla="*/ 2182715 w 7467600"/>
              <a:gd name="connsiteY385" fmla="*/ 6675071 h 6858000"/>
              <a:gd name="connsiteX386" fmla="*/ 2032061 w 7467600"/>
              <a:gd name="connsiteY386" fmla="*/ 6541380 h 6858000"/>
              <a:gd name="connsiteX387" fmla="*/ 2257220 w 7467600"/>
              <a:gd name="connsiteY387" fmla="*/ 6826257 h 6858000"/>
              <a:gd name="connsiteX388" fmla="*/ 2281324 w 7467600"/>
              <a:gd name="connsiteY388" fmla="*/ 6858000 h 6858000"/>
              <a:gd name="connsiteX389" fmla="*/ 2242860 w 7467600"/>
              <a:gd name="connsiteY389" fmla="*/ 6858000 h 6858000"/>
              <a:gd name="connsiteX390" fmla="*/ 2232818 w 7467600"/>
              <a:gd name="connsiteY390" fmla="*/ 6844926 h 6858000"/>
              <a:gd name="connsiteX391" fmla="*/ 1990172 w 7467600"/>
              <a:gd name="connsiteY391" fmla="*/ 6542121 h 6858000"/>
              <a:gd name="connsiteX392" fmla="*/ 2124090 w 7467600"/>
              <a:gd name="connsiteY392" fmla="*/ 6761017 h 6858000"/>
              <a:gd name="connsiteX393" fmla="*/ 2200380 w 7467600"/>
              <a:gd name="connsiteY393" fmla="*/ 6858000 h 6858000"/>
              <a:gd name="connsiteX394" fmla="*/ 2147507 w 7467600"/>
              <a:gd name="connsiteY394" fmla="*/ 6858000 h 6858000"/>
              <a:gd name="connsiteX395" fmla="*/ 2070668 w 7467600"/>
              <a:gd name="connsiteY395" fmla="*/ 6761520 h 6858000"/>
              <a:gd name="connsiteX396" fmla="*/ 1975142 w 7467600"/>
              <a:gd name="connsiteY396" fmla="*/ 6585570 h 6858000"/>
              <a:gd name="connsiteX397" fmla="*/ 2050035 w 7467600"/>
              <a:gd name="connsiteY397" fmla="*/ 6813345 h 6858000"/>
              <a:gd name="connsiteX398" fmla="*/ 2063025 w 7467600"/>
              <a:gd name="connsiteY398" fmla="*/ 6858000 h 6858000"/>
              <a:gd name="connsiteX399" fmla="*/ 2021675 w 7467600"/>
              <a:gd name="connsiteY399" fmla="*/ 6858000 h 6858000"/>
              <a:gd name="connsiteX400" fmla="*/ 2019308 w 7467600"/>
              <a:gd name="connsiteY400" fmla="*/ 6847118 h 6858000"/>
              <a:gd name="connsiteX401" fmla="*/ 1938835 w 7467600"/>
              <a:gd name="connsiteY401" fmla="*/ 6551160 h 6858000"/>
              <a:gd name="connsiteX402" fmla="*/ 1953230 w 7467600"/>
              <a:gd name="connsiteY402" fmla="*/ 6759699 h 6858000"/>
              <a:gd name="connsiteX403" fmla="*/ 1956763 w 7467600"/>
              <a:gd name="connsiteY403" fmla="*/ 6778191 h 6858000"/>
              <a:gd name="connsiteX404" fmla="*/ 1967925 w 7467600"/>
              <a:gd name="connsiteY404" fmla="*/ 6858000 h 6858000"/>
              <a:gd name="connsiteX405" fmla="*/ 1936622 w 7467600"/>
              <a:gd name="connsiteY405" fmla="*/ 6858000 h 6858000"/>
              <a:gd name="connsiteX406" fmla="*/ 1926261 w 7467600"/>
              <a:gd name="connsiteY406" fmla="*/ 6784064 h 6858000"/>
              <a:gd name="connsiteX407" fmla="*/ 1922724 w 7467600"/>
              <a:gd name="connsiteY407" fmla="*/ 6765577 h 6858000"/>
              <a:gd name="connsiteX408" fmla="*/ 1904650 w 7467600"/>
              <a:gd name="connsiteY408" fmla="*/ 6639616 h 6858000"/>
              <a:gd name="connsiteX409" fmla="*/ 1885273 w 7467600"/>
              <a:gd name="connsiteY409" fmla="*/ 6858000 h 6858000"/>
              <a:gd name="connsiteX410" fmla="*/ 1854363 w 7467600"/>
              <a:gd name="connsiteY410" fmla="*/ 6858000 h 6858000"/>
              <a:gd name="connsiteX411" fmla="*/ 1880391 w 7467600"/>
              <a:gd name="connsiteY411" fmla="*/ 6603796 h 6858000"/>
              <a:gd name="connsiteX412" fmla="*/ 1818273 w 7467600"/>
              <a:gd name="connsiteY412" fmla="*/ 6715729 h 6858000"/>
              <a:gd name="connsiteX413" fmla="*/ 1794691 w 7467600"/>
              <a:gd name="connsiteY413" fmla="*/ 6843239 h 6858000"/>
              <a:gd name="connsiteX414" fmla="*/ 1794914 w 7467600"/>
              <a:gd name="connsiteY414" fmla="*/ 6858000 h 6858000"/>
              <a:gd name="connsiteX415" fmla="*/ 1746128 w 7467600"/>
              <a:gd name="connsiteY415" fmla="*/ 6858000 h 6858000"/>
              <a:gd name="connsiteX416" fmla="*/ 1753934 w 7467600"/>
              <a:gd name="connsiteY416" fmla="*/ 6724796 h 6858000"/>
              <a:gd name="connsiteX417" fmla="*/ 1792053 w 7467600"/>
              <a:gd name="connsiteY417" fmla="*/ 6572396 h 6858000"/>
              <a:gd name="connsiteX418" fmla="*/ 1862248 w 7467600"/>
              <a:gd name="connsiteY418" fmla="*/ 6266397 h 6858000"/>
              <a:gd name="connsiteX419" fmla="*/ 1862250 w 7467600"/>
              <a:gd name="connsiteY419" fmla="*/ 6033531 h 6858000"/>
              <a:gd name="connsiteX420" fmla="*/ 1211999 w 7467600"/>
              <a:gd name="connsiteY420" fmla="*/ 6683610 h 6858000"/>
              <a:gd name="connsiteX421" fmla="*/ 1213266 w 7467600"/>
              <a:gd name="connsiteY421" fmla="*/ 6691947 h 6858000"/>
              <a:gd name="connsiteX422" fmla="*/ 1203370 w 7467600"/>
              <a:gd name="connsiteY422" fmla="*/ 6850676 h 6858000"/>
              <a:gd name="connsiteX423" fmla="*/ 1203671 w 7467600"/>
              <a:gd name="connsiteY423" fmla="*/ 6858000 h 6858000"/>
              <a:gd name="connsiteX424" fmla="*/ 1143180 w 7467600"/>
              <a:gd name="connsiteY424" fmla="*/ 6858000 h 6858000"/>
              <a:gd name="connsiteX425" fmla="*/ 1142176 w 7467600"/>
              <a:gd name="connsiteY425" fmla="*/ 6766045 h 6858000"/>
              <a:gd name="connsiteX426" fmla="*/ 1067484 w 7467600"/>
              <a:gd name="connsiteY426" fmla="*/ 6858000 h 6858000"/>
              <a:gd name="connsiteX427" fmla="*/ 953928 w 7467600"/>
              <a:gd name="connsiteY427" fmla="*/ 6858000 h 6858000"/>
              <a:gd name="connsiteX428" fmla="*/ 959715 w 7467600"/>
              <a:gd name="connsiteY428" fmla="*/ 6850185 h 6858000"/>
              <a:gd name="connsiteX429" fmla="*/ 1483788 w 7467600"/>
              <a:gd name="connsiteY429" fmla="*/ 6259174 h 6858000"/>
              <a:gd name="connsiteX430" fmla="*/ 1100671 w 7467600"/>
              <a:gd name="connsiteY430" fmla="*/ 6252137 h 6858000"/>
              <a:gd name="connsiteX431" fmla="*/ 1090144 w 7467600"/>
              <a:gd name="connsiteY431" fmla="*/ 6256748 h 6858000"/>
              <a:gd name="connsiteX432" fmla="*/ 1095872 w 7467600"/>
              <a:gd name="connsiteY432" fmla="*/ 6271892 h 6858000"/>
              <a:gd name="connsiteX433" fmla="*/ 262785 w 7467600"/>
              <a:gd name="connsiteY433" fmla="*/ 6845450 h 6858000"/>
              <a:gd name="connsiteX434" fmla="*/ 209968 w 7467600"/>
              <a:gd name="connsiteY434" fmla="*/ 6770713 h 6858000"/>
              <a:gd name="connsiteX435" fmla="*/ 873460 w 7467600"/>
              <a:gd name="connsiteY435" fmla="*/ 6253768 h 6858000"/>
              <a:gd name="connsiteX436" fmla="*/ 192686 w 7467600"/>
              <a:gd name="connsiteY436" fmla="*/ 5849257 h 6858000"/>
              <a:gd name="connsiteX437" fmla="*/ 4696 w 7467600"/>
              <a:gd name="connsiteY437" fmla="*/ 5697668 h 6858000"/>
              <a:gd name="connsiteX438" fmla="*/ 0 w 7467600"/>
              <a:gd name="connsiteY438" fmla="*/ 5689984 h 6858000"/>
              <a:gd name="connsiteX439" fmla="*/ 0 w 7467600"/>
              <a:gd name="connsiteY439" fmla="*/ 5513472 h 6858000"/>
              <a:gd name="connsiteX440" fmla="*/ 174101 w 7467600"/>
              <a:gd name="connsiteY440" fmla="*/ 5620277 h 6858000"/>
              <a:gd name="connsiteX441" fmla="*/ 891800 w 7467600"/>
              <a:gd name="connsiteY441" fmla="*/ 6036935 h 6858000"/>
              <a:gd name="connsiteX442" fmla="*/ 1072219 w 7467600"/>
              <a:gd name="connsiteY442" fmla="*/ 6169443 h 6858000"/>
              <a:gd name="connsiteX443" fmla="*/ 1074117 w 7467600"/>
              <a:gd name="connsiteY443" fmla="*/ 6170301 h 6858000"/>
              <a:gd name="connsiteX444" fmla="*/ 1083114 w 7467600"/>
              <a:gd name="connsiteY444" fmla="*/ 6174131 h 6858000"/>
              <a:gd name="connsiteX445" fmla="*/ 1543010 w 7467600"/>
              <a:gd name="connsiteY445" fmla="*/ 6191140 h 6858000"/>
              <a:gd name="connsiteX446" fmla="*/ 1551080 w 7467600"/>
              <a:gd name="connsiteY446" fmla="*/ 6195006 h 6858000"/>
              <a:gd name="connsiteX447" fmla="*/ 2345443 w 7467600"/>
              <a:gd name="connsiteY447" fmla="*/ 5549882 h 6858000"/>
              <a:gd name="connsiteX448" fmla="*/ 1721499 w 7467600"/>
              <a:gd name="connsiteY448" fmla="*/ 5599969 h 6858000"/>
              <a:gd name="connsiteX449" fmla="*/ 767716 w 7467600"/>
              <a:gd name="connsiteY449" fmla="*/ 5472768 h 6858000"/>
              <a:gd name="connsiteX450" fmla="*/ 722147 w 7467600"/>
              <a:gd name="connsiteY450" fmla="*/ 5393091 h 6858000"/>
              <a:gd name="connsiteX451" fmla="*/ 1485552 w 7467600"/>
              <a:gd name="connsiteY451" fmla="*/ 5313202 h 6858000"/>
              <a:gd name="connsiteX452" fmla="*/ 2143004 w 7467600"/>
              <a:gd name="connsiteY452" fmla="*/ 5402420 h 6858000"/>
              <a:gd name="connsiteX453" fmla="*/ 1933391 w 7467600"/>
              <a:gd name="connsiteY453" fmla="*/ 5156971 h 6858000"/>
              <a:gd name="connsiteX454" fmla="*/ 1827118 w 7467600"/>
              <a:gd name="connsiteY454" fmla="*/ 4968410 h 6858000"/>
              <a:gd name="connsiteX455" fmla="*/ 1837349 w 7467600"/>
              <a:gd name="connsiteY455" fmla="*/ 4956357 h 6858000"/>
              <a:gd name="connsiteX456" fmla="*/ 2162835 w 7467600"/>
              <a:gd name="connsiteY456" fmla="*/ 5187853 h 6858000"/>
              <a:gd name="connsiteX457" fmla="*/ 2257167 w 7467600"/>
              <a:gd name="connsiteY457" fmla="*/ 5462123 h 6858000"/>
              <a:gd name="connsiteX458" fmla="*/ 2261598 w 7467600"/>
              <a:gd name="connsiteY458" fmla="*/ 5467998 h 6858000"/>
              <a:gd name="connsiteX459" fmla="*/ 2437177 w 7467600"/>
              <a:gd name="connsiteY459" fmla="*/ 5479608 h 6858000"/>
              <a:gd name="connsiteX460" fmla="*/ 2445247 w 7467600"/>
              <a:gd name="connsiteY460" fmla="*/ 5483476 h 6858000"/>
              <a:gd name="connsiteX461" fmla="*/ 2743626 w 7467600"/>
              <a:gd name="connsiteY461" fmla="*/ 5304819 h 6858000"/>
              <a:gd name="connsiteX462" fmla="*/ 3048102 w 7467600"/>
              <a:gd name="connsiteY462" fmla="*/ 5150595 h 6858000"/>
              <a:gd name="connsiteX463" fmla="*/ 1799414 w 7467600"/>
              <a:gd name="connsiteY463" fmla="*/ 4694732 h 6858000"/>
              <a:gd name="connsiteX464" fmla="*/ 1771735 w 7467600"/>
              <a:gd name="connsiteY464" fmla="*/ 4619929 h 6858000"/>
              <a:gd name="connsiteX465" fmla="*/ 3104273 w 7467600"/>
              <a:gd name="connsiteY465" fmla="*/ 5076159 h 6858000"/>
              <a:gd name="connsiteX466" fmla="*/ 3113245 w 7467600"/>
              <a:gd name="connsiteY466" fmla="*/ 5090705 h 6858000"/>
              <a:gd name="connsiteX467" fmla="*/ 3126294 w 7467600"/>
              <a:gd name="connsiteY467" fmla="*/ 5114400 h 6858000"/>
              <a:gd name="connsiteX468" fmla="*/ 3937433 w 7467600"/>
              <a:gd name="connsiteY468" fmla="*/ 4830473 h 6858000"/>
              <a:gd name="connsiteX469" fmla="*/ 3590475 w 7467600"/>
              <a:gd name="connsiteY469" fmla="*/ 4597974 h 6858000"/>
              <a:gd name="connsiteX470" fmla="*/ 3100264 w 7467600"/>
              <a:gd name="connsiteY470" fmla="*/ 4579845 h 6858000"/>
              <a:gd name="connsiteX471" fmla="*/ 2183576 w 7467600"/>
              <a:gd name="connsiteY471" fmla="*/ 4227150 h 6858000"/>
              <a:gd name="connsiteX472" fmla="*/ 2151029 w 7467600"/>
              <a:gd name="connsiteY472" fmla="*/ 4146947 h 6858000"/>
              <a:gd name="connsiteX473" fmla="*/ 3563434 w 7467600"/>
              <a:gd name="connsiteY473" fmla="*/ 4469115 h 6858000"/>
              <a:gd name="connsiteX474" fmla="*/ 3177952 w 7467600"/>
              <a:gd name="connsiteY474" fmla="*/ 3657386 h 6858000"/>
              <a:gd name="connsiteX475" fmla="*/ 3189263 w 7467600"/>
              <a:gd name="connsiteY475" fmla="*/ 3625726 h 6858000"/>
              <a:gd name="connsiteX476" fmla="*/ 3560912 w 7467600"/>
              <a:gd name="connsiteY476" fmla="*/ 4079863 h 6858000"/>
              <a:gd name="connsiteX477" fmla="*/ 3626636 w 7467600"/>
              <a:gd name="connsiteY477" fmla="*/ 4512230 h 6858000"/>
              <a:gd name="connsiteX478" fmla="*/ 3653088 w 7467600"/>
              <a:gd name="connsiteY478" fmla="*/ 4521417 h 6858000"/>
              <a:gd name="connsiteX479" fmla="*/ 3988128 w 7467600"/>
              <a:gd name="connsiteY479" fmla="*/ 4817267 h 6858000"/>
              <a:gd name="connsiteX480" fmla="*/ 4830582 w 7467600"/>
              <a:gd name="connsiteY480" fmla="*/ 4676000 h 6858000"/>
              <a:gd name="connsiteX481" fmla="*/ 4830100 w 7467600"/>
              <a:gd name="connsiteY481" fmla="*/ 4675554 h 6858000"/>
              <a:gd name="connsiteX482" fmla="*/ 4036318 w 7467600"/>
              <a:gd name="connsiteY482" fmla="*/ 4147013 h 6858000"/>
              <a:gd name="connsiteX483" fmla="*/ 3432098 w 7467600"/>
              <a:gd name="connsiteY483" fmla="*/ 3537312 h 6858000"/>
              <a:gd name="connsiteX484" fmla="*/ 3446761 w 7467600"/>
              <a:gd name="connsiteY484" fmla="*/ 3461278 h 6858000"/>
              <a:gd name="connsiteX485" fmla="*/ 4419733 w 7467600"/>
              <a:gd name="connsiteY485" fmla="*/ 3963555 h 6858000"/>
              <a:gd name="connsiteX486" fmla="*/ 4781371 w 7467600"/>
              <a:gd name="connsiteY486" fmla="*/ 4458604 h 6858000"/>
              <a:gd name="connsiteX487" fmla="*/ 4780440 w 7467600"/>
              <a:gd name="connsiteY487" fmla="*/ 4470290 h 6858000"/>
              <a:gd name="connsiteX488" fmla="*/ 4898954 w 7467600"/>
              <a:gd name="connsiteY488" fmla="*/ 4662092 h 6858000"/>
              <a:gd name="connsiteX489" fmla="*/ 4900699 w 7467600"/>
              <a:gd name="connsiteY489" fmla="*/ 4670867 h 6858000"/>
              <a:gd name="connsiteX490" fmla="*/ 5714511 w 7467600"/>
              <a:gd name="connsiteY490" fmla="*/ 4663483 h 6858000"/>
              <a:gd name="connsiteX491" fmla="*/ 5464793 w 7467600"/>
              <a:gd name="connsiteY491" fmla="*/ 4393556 h 6858000"/>
              <a:gd name="connsiteX492" fmla="*/ 5461897 w 7467600"/>
              <a:gd name="connsiteY492" fmla="*/ 4390879 h 6858000"/>
              <a:gd name="connsiteX493" fmla="*/ 4294126 w 7467600"/>
              <a:gd name="connsiteY493" fmla="*/ 3303048 h 6858000"/>
              <a:gd name="connsiteX494" fmla="*/ 4305321 w 7467600"/>
              <a:gd name="connsiteY494" fmla="*/ 3256953 h 6858000"/>
              <a:gd name="connsiteX495" fmla="*/ 4949299 w 7467600"/>
              <a:gd name="connsiteY495" fmla="*/ 3766336 h 6858000"/>
              <a:gd name="connsiteX496" fmla="*/ 5291452 w 7467600"/>
              <a:gd name="connsiteY496" fmla="*/ 4076801 h 6858000"/>
              <a:gd name="connsiteX497" fmla="*/ 5434998 w 7467600"/>
              <a:gd name="connsiteY497" fmla="*/ 4254100 h 6858000"/>
              <a:gd name="connsiteX498" fmla="*/ 5351015 w 7467600"/>
              <a:gd name="connsiteY498" fmla="*/ 3760989 h 6858000"/>
              <a:gd name="connsiteX499" fmla="*/ 5413780 w 7467600"/>
              <a:gd name="connsiteY499" fmla="*/ 2966265 h 6858000"/>
              <a:gd name="connsiteX500" fmla="*/ 5425627 w 7467600"/>
              <a:gd name="connsiteY500" fmla="*/ 2954192 h 6858000"/>
              <a:gd name="connsiteX501" fmla="*/ 6604735 w 7467600"/>
              <a:gd name="connsiteY501" fmla="*/ 2041381 h 6858000"/>
              <a:gd name="connsiteX502" fmla="*/ 7204487 w 7467600"/>
              <a:gd name="connsiteY502" fmla="*/ 2742112 h 6858000"/>
              <a:gd name="connsiteX503" fmla="*/ 7131592 w 7467600"/>
              <a:gd name="connsiteY503" fmla="*/ 2672096 h 6858000"/>
              <a:gd name="connsiteX504" fmla="*/ 6996344 w 7467600"/>
              <a:gd name="connsiteY504" fmla="*/ 2518310 h 6858000"/>
              <a:gd name="connsiteX505" fmla="*/ 6735495 w 7467600"/>
              <a:gd name="connsiteY505" fmla="*/ 2196890 h 6858000"/>
              <a:gd name="connsiteX506" fmla="*/ 6721901 w 7467600"/>
              <a:gd name="connsiteY506" fmla="*/ 2179274 h 6858000"/>
              <a:gd name="connsiteX507" fmla="*/ 6604735 w 7467600"/>
              <a:gd name="connsiteY507" fmla="*/ 2041381 h 6858000"/>
              <a:gd name="connsiteX508" fmla="*/ 6591670 w 7467600"/>
              <a:gd name="connsiteY508" fmla="*/ 1988277 h 6858000"/>
              <a:gd name="connsiteX509" fmla="*/ 6747349 w 7467600"/>
              <a:gd name="connsiteY509" fmla="*/ 2160069 h 6858000"/>
              <a:gd name="connsiteX510" fmla="*/ 6760943 w 7467600"/>
              <a:gd name="connsiteY510" fmla="*/ 2177686 h 6858000"/>
              <a:gd name="connsiteX511" fmla="*/ 7021065 w 7467600"/>
              <a:gd name="connsiteY511" fmla="*/ 2498102 h 6858000"/>
              <a:gd name="connsiteX512" fmla="*/ 7155223 w 7467600"/>
              <a:gd name="connsiteY512" fmla="*/ 2650386 h 6858000"/>
              <a:gd name="connsiteX513" fmla="*/ 7203167 w 7467600"/>
              <a:gd name="connsiteY513" fmla="*/ 2697288 h 6858000"/>
              <a:gd name="connsiteX514" fmla="*/ 6937703 w 7467600"/>
              <a:gd name="connsiteY514" fmla="*/ 2321981 h 6858000"/>
              <a:gd name="connsiteX515" fmla="*/ 6591670 w 7467600"/>
              <a:gd name="connsiteY515" fmla="*/ 1988277 h 6858000"/>
              <a:gd name="connsiteX516" fmla="*/ 5798671 w 7467600"/>
              <a:gd name="connsiteY516" fmla="*/ 1981601 h 6858000"/>
              <a:gd name="connsiteX517" fmla="*/ 5754709 w 7467600"/>
              <a:gd name="connsiteY517" fmla="*/ 2071454 h 6858000"/>
              <a:gd name="connsiteX518" fmla="*/ 5763044 w 7467600"/>
              <a:gd name="connsiteY518" fmla="*/ 2842206 h 6858000"/>
              <a:gd name="connsiteX519" fmla="*/ 5764974 w 7467600"/>
              <a:gd name="connsiteY519" fmla="*/ 2799609 h 6858000"/>
              <a:gd name="connsiteX520" fmla="*/ 5767665 w 7467600"/>
              <a:gd name="connsiteY520" fmla="*/ 2666409 h 6858000"/>
              <a:gd name="connsiteX521" fmla="*/ 5763055 w 7467600"/>
              <a:gd name="connsiteY521" fmla="*/ 2579705 h 6858000"/>
              <a:gd name="connsiteX522" fmla="*/ 5758079 w 7467600"/>
              <a:gd name="connsiteY522" fmla="*/ 2492508 h 6858000"/>
              <a:gd name="connsiteX523" fmla="*/ 5779325 w 7467600"/>
              <a:gd name="connsiteY523" fmla="*/ 2197069 h 6858000"/>
              <a:gd name="connsiteX524" fmla="*/ 5798671 w 7467600"/>
              <a:gd name="connsiteY524" fmla="*/ 1981601 h 6858000"/>
              <a:gd name="connsiteX525" fmla="*/ 5829202 w 7467600"/>
              <a:gd name="connsiteY525" fmla="*/ 1971679 h 6858000"/>
              <a:gd name="connsiteX526" fmla="*/ 5809558 w 7467600"/>
              <a:gd name="connsiteY526" fmla="*/ 2198043 h 6858000"/>
              <a:gd name="connsiteX527" fmla="*/ 5788653 w 7467600"/>
              <a:gd name="connsiteY527" fmla="*/ 2489430 h 6858000"/>
              <a:gd name="connsiteX528" fmla="*/ 5793439 w 7467600"/>
              <a:gd name="connsiteY528" fmla="*/ 2575235 h 6858000"/>
              <a:gd name="connsiteX529" fmla="*/ 5796837 w 7467600"/>
              <a:gd name="connsiteY529" fmla="*/ 2637633 h 6858000"/>
              <a:gd name="connsiteX530" fmla="*/ 5818614 w 7467600"/>
              <a:gd name="connsiteY530" fmla="*/ 2473055 h 6858000"/>
              <a:gd name="connsiteX531" fmla="*/ 5829202 w 7467600"/>
              <a:gd name="connsiteY531" fmla="*/ 1971679 h 6858000"/>
              <a:gd name="connsiteX532" fmla="*/ 5911389 w 7467600"/>
              <a:gd name="connsiteY532" fmla="*/ 1898371 h 6858000"/>
              <a:gd name="connsiteX533" fmla="*/ 6237627 w 7467600"/>
              <a:gd name="connsiteY533" fmla="*/ 2231921 h 6858000"/>
              <a:gd name="connsiteX534" fmla="*/ 5911389 w 7467600"/>
              <a:gd name="connsiteY534" fmla="*/ 1898371 h 6858000"/>
              <a:gd name="connsiteX535" fmla="*/ 6944437 w 7467600"/>
              <a:gd name="connsiteY535" fmla="*/ 1575402 h 6858000"/>
              <a:gd name="connsiteX536" fmla="*/ 6304730 w 7467600"/>
              <a:gd name="connsiteY536" fmla="*/ 1766654 h 6858000"/>
              <a:gd name="connsiteX537" fmla="*/ 6944437 w 7467600"/>
              <a:gd name="connsiteY537" fmla="*/ 1575402 h 6858000"/>
              <a:gd name="connsiteX538" fmla="*/ 7019523 w 7467600"/>
              <a:gd name="connsiteY538" fmla="*/ 1519450 h 6858000"/>
              <a:gd name="connsiteX539" fmla="*/ 6298091 w 7467600"/>
              <a:gd name="connsiteY539" fmla="*/ 1737122 h 6858000"/>
              <a:gd name="connsiteX540" fmla="*/ 7019523 w 7467600"/>
              <a:gd name="connsiteY540" fmla="*/ 1519450 h 6858000"/>
              <a:gd name="connsiteX541" fmla="*/ 2399523 w 7467600"/>
              <a:gd name="connsiteY541" fmla="*/ 1428234 h 6858000"/>
              <a:gd name="connsiteX542" fmla="*/ 2224982 w 7467600"/>
              <a:gd name="connsiteY542" fmla="*/ 1826201 h 6858000"/>
              <a:gd name="connsiteX543" fmla="*/ 2096099 w 7467600"/>
              <a:gd name="connsiteY543" fmla="*/ 2345900 h 6858000"/>
              <a:gd name="connsiteX544" fmla="*/ 2283317 w 7467600"/>
              <a:gd name="connsiteY544" fmla="*/ 1796925 h 6858000"/>
              <a:gd name="connsiteX545" fmla="*/ 2399523 w 7467600"/>
              <a:gd name="connsiteY545" fmla="*/ 1428234 h 6858000"/>
              <a:gd name="connsiteX546" fmla="*/ 2448558 w 7467600"/>
              <a:gd name="connsiteY546" fmla="*/ 1373435 h 6858000"/>
              <a:gd name="connsiteX547" fmla="*/ 2312521 w 7467600"/>
              <a:gd name="connsiteY547" fmla="*/ 1806140 h 6858000"/>
              <a:gd name="connsiteX548" fmla="*/ 2127533 w 7467600"/>
              <a:gd name="connsiteY548" fmla="*/ 2348380 h 6858000"/>
              <a:gd name="connsiteX549" fmla="*/ 2358080 w 7467600"/>
              <a:gd name="connsiteY549" fmla="*/ 1866134 h 6858000"/>
              <a:gd name="connsiteX550" fmla="*/ 2407436 w 7467600"/>
              <a:gd name="connsiteY550" fmla="*/ 1651070 h 6858000"/>
              <a:gd name="connsiteX551" fmla="*/ 2448558 w 7467600"/>
              <a:gd name="connsiteY551" fmla="*/ 1373435 h 6858000"/>
              <a:gd name="connsiteX552" fmla="*/ 278707 w 7467600"/>
              <a:gd name="connsiteY552" fmla="*/ 1352270 h 6858000"/>
              <a:gd name="connsiteX553" fmla="*/ 321570 w 7467600"/>
              <a:gd name="connsiteY553" fmla="*/ 1861610 h 6858000"/>
              <a:gd name="connsiteX554" fmla="*/ 294281 w 7467600"/>
              <a:gd name="connsiteY554" fmla="*/ 1440658 h 6858000"/>
              <a:gd name="connsiteX555" fmla="*/ 278707 w 7467600"/>
              <a:gd name="connsiteY555" fmla="*/ 1352270 h 6858000"/>
              <a:gd name="connsiteX556" fmla="*/ 1423821 w 7467600"/>
              <a:gd name="connsiteY556" fmla="*/ 1351958 h 6858000"/>
              <a:gd name="connsiteX557" fmla="*/ 1638521 w 7467600"/>
              <a:gd name="connsiteY557" fmla="*/ 1908470 h 6858000"/>
              <a:gd name="connsiteX558" fmla="*/ 1754199 w 7467600"/>
              <a:gd name="connsiteY558" fmla="*/ 2149284 h 6858000"/>
              <a:gd name="connsiteX559" fmla="*/ 1908359 w 7467600"/>
              <a:gd name="connsiteY559" fmla="*/ 2364988 h 6858000"/>
              <a:gd name="connsiteX560" fmla="*/ 1647661 w 7467600"/>
              <a:gd name="connsiteY560" fmla="*/ 1825945 h 6858000"/>
              <a:gd name="connsiteX561" fmla="*/ 1423821 w 7467600"/>
              <a:gd name="connsiteY561" fmla="*/ 1351958 h 6858000"/>
              <a:gd name="connsiteX562" fmla="*/ 1431890 w 7467600"/>
              <a:gd name="connsiteY562" fmla="*/ 1306475 h 6858000"/>
              <a:gd name="connsiteX563" fmla="*/ 1507597 w 7467600"/>
              <a:gd name="connsiteY563" fmla="*/ 1446132 h 6858000"/>
              <a:gd name="connsiteX564" fmla="*/ 1674586 w 7467600"/>
              <a:gd name="connsiteY564" fmla="*/ 1813832 h 6858000"/>
              <a:gd name="connsiteX565" fmla="*/ 1815950 w 7467600"/>
              <a:gd name="connsiteY565" fmla="*/ 2128564 h 6858000"/>
              <a:gd name="connsiteX566" fmla="*/ 1984242 w 7467600"/>
              <a:gd name="connsiteY566" fmla="*/ 2430829 h 6858000"/>
              <a:gd name="connsiteX567" fmla="*/ 2014023 w 7467600"/>
              <a:gd name="connsiteY567" fmla="*/ 2450995 h 6858000"/>
              <a:gd name="connsiteX568" fmla="*/ 1747337 w 7467600"/>
              <a:gd name="connsiteY568" fmla="*/ 1855264 h 6858000"/>
              <a:gd name="connsiteX569" fmla="*/ 1533749 w 7467600"/>
              <a:gd name="connsiteY569" fmla="*/ 1478656 h 6858000"/>
              <a:gd name="connsiteX570" fmla="*/ 1431890 w 7467600"/>
              <a:gd name="connsiteY570" fmla="*/ 1306475 h 6858000"/>
              <a:gd name="connsiteX571" fmla="*/ 5052692 w 7467600"/>
              <a:gd name="connsiteY571" fmla="*/ 1292994 h 6858000"/>
              <a:gd name="connsiteX572" fmla="*/ 5200661 w 7467600"/>
              <a:gd name="connsiteY572" fmla="*/ 1635186 h 6858000"/>
              <a:gd name="connsiteX573" fmla="*/ 5297138 w 7467600"/>
              <a:gd name="connsiteY573" fmla="*/ 1906351 h 6858000"/>
              <a:gd name="connsiteX574" fmla="*/ 5052692 w 7467600"/>
              <a:gd name="connsiteY574" fmla="*/ 1292994 h 6858000"/>
              <a:gd name="connsiteX575" fmla="*/ 5009948 w 7467600"/>
              <a:gd name="connsiteY575" fmla="*/ 1273619 h 6858000"/>
              <a:gd name="connsiteX576" fmla="*/ 5121777 w 7467600"/>
              <a:gd name="connsiteY576" fmla="*/ 1654213 h 6858000"/>
              <a:gd name="connsiteX577" fmla="*/ 5293545 w 7467600"/>
              <a:gd name="connsiteY577" fmla="*/ 2072247 h 6858000"/>
              <a:gd name="connsiteX578" fmla="*/ 5294042 w 7467600"/>
              <a:gd name="connsiteY578" fmla="*/ 2065019 h 6858000"/>
              <a:gd name="connsiteX579" fmla="*/ 5171936 w 7467600"/>
              <a:gd name="connsiteY579" fmla="*/ 1647613 h 6858000"/>
              <a:gd name="connsiteX580" fmla="*/ 5009948 w 7467600"/>
              <a:gd name="connsiteY580" fmla="*/ 1273619 h 6858000"/>
              <a:gd name="connsiteX581" fmla="*/ 655236 w 7467600"/>
              <a:gd name="connsiteY581" fmla="*/ 1268632 h 6858000"/>
              <a:gd name="connsiteX582" fmla="*/ 839521 w 7467600"/>
              <a:gd name="connsiteY582" fmla="*/ 1685315 h 6858000"/>
              <a:gd name="connsiteX583" fmla="*/ 1109416 w 7467600"/>
              <a:gd name="connsiteY583" fmla="*/ 2061663 h 6858000"/>
              <a:gd name="connsiteX584" fmla="*/ 1298300 w 7467600"/>
              <a:gd name="connsiteY584" fmla="*/ 2247742 h 6858000"/>
              <a:gd name="connsiteX585" fmla="*/ 1125871 w 7467600"/>
              <a:gd name="connsiteY585" fmla="*/ 1989513 h 6858000"/>
              <a:gd name="connsiteX586" fmla="*/ 981574 w 7467600"/>
              <a:gd name="connsiteY586" fmla="*/ 1783157 h 6858000"/>
              <a:gd name="connsiteX587" fmla="*/ 922198 w 7467600"/>
              <a:gd name="connsiteY587" fmla="*/ 1677437 h 6858000"/>
              <a:gd name="connsiteX588" fmla="*/ 869293 w 7467600"/>
              <a:gd name="connsiteY588" fmla="*/ 1583214 h 6858000"/>
              <a:gd name="connsiteX589" fmla="*/ 751431 w 7467600"/>
              <a:gd name="connsiteY589" fmla="*/ 1405731 h 6858000"/>
              <a:gd name="connsiteX590" fmla="*/ 655236 w 7467600"/>
              <a:gd name="connsiteY590" fmla="*/ 1268632 h 6858000"/>
              <a:gd name="connsiteX591" fmla="*/ 6516292 w 7467600"/>
              <a:gd name="connsiteY591" fmla="*/ 1263064 h 6858000"/>
              <a:gd name="connsiteX592" fmla="*/ 5736320 w 7467600"/>
              <a:gd name="connsiteY592" fmla="*/ 1501803 h 6858000"/>
              <a:gd name="connsiteX593" fmla="*/ 6516292 w 7467600"/>
              <a:gd name="connsiteY593" fmla="*/ 1263064 h 6858000"/>
              <a:gd name="connsiteX594" fmla="*/ 291466 w 7467600"/>
              <a:gd name="connsiteY594" fmla="*/ 1250369 h 6858000"/>
              <a:gd name="connsiteX595" fmla="*/ 323180 w 7467600"/>
              <a:gd name="connsiteY595" fmla="*/ 1435283 h 6858000"/>
              <a:gd name="connsiteX596" fmla="*/ 349381 w 7467600"/>
              <a:gd name="connsiteY596" fmla="*/ 1875041 h 6858000"/>
              <a:gd name="connsiteX597" fmla="*/ 374363 w 7467600"/>
              <a:gd name="connsiteY597" fmla="*/ 1506494 h 6858000"/>
              <a:gd name="connsiteX598" fmla="*/ 302168 w 7467600"/>
              <a:gd name="connsiteY598" fmla="*/ 1274495 h 6858000"/>
              <a:gd name="connsiteX599" fmla="*/ 291466 w 7467600"/>
              <a:gd name="connsiteY599" fmla="*/ 1250369 h 6858000"/>
              <a:gd name="connsiteX600" fmla="*/ 678222 w 7467600"/>
              <a:gd name="connsiteY600" fmla="*/ 1248670 h 6858000"/>
              <a:gd name="connsiteX601" fmla="*/ 775536 w 7467600"/>
              <a:gd name="connsiteY601" fmla="*/ 1388015 h 6858000"/>
              <a:gd name="connsiteX602" fmla="*/ 894529 w 7467600"/>
              <a:gd name="connsiteY602" fmla="*/ 1567739 h 6858000"/>
              <a:gd name="connsiteX603" fmla="*/ 948000 w 7467600"/>
              <a:gd name="connsiteY603" fmla="*/ 1663088 h 6858000"/>
              <a:gd name="connsiteX604" fmla="*/ 1006812 w 7467600"/>
              <a:gd name="connsiteY604" fmla="*/ 1767683 h 6858000"/>
              <a:gd name="connsiteX605" fmla="*/ 1149133 w 7467600"/>
              <a:gd name="connsiteY605" fmla="*/ 1971513 h 6858000"/>
              <a:gd name="connsiteX606" fmla="*/ 1333952 w 7467600"/>
              <a:gd name="connsiteY606" fmla="*/ 2251620 h 6858000"/>
              <a:gd name="connsiteX607" fmla="*/ 1337329 w 7467600"/>
              <a:gd name="connsiteY607" fmla="*/ 2258350 h 6858000"/>
              <a:gd name="connsiteX608" fmla="*/ 1014726 w 7467600"/>
              <a:gd name="connsiteY608" fmla="*/ 1615556 h 6858000"/>
              <a:gd name="connsiteX609" fmla="*/ 678222 w 7467600"/>
              <a:gd name="connsiteY609" fmla="*/ 1248670 h 6858000"/>
              <a:gd name="connsiteX610" fmla="*/ 6691602 w 7467600"/>
              <a:gd name="connsiteY610" fmla="*/ 1140573 h 6858000"/>
              <a:gd name="connsiteX611" fmla="*/ 6571100 w 7467600"/>
              <a:gd name="connsiteY611" fmla="*/ 1183662 h 6858000"/>
              <a:gd name="connsiteX612" fmla="*/ 6241687 w 7467600"/>
              <a:gd name="connsiteY612" fmla="*/ 1257600 h 6858000"/>
              <a:gd name="connsiteX613" fmla="*/ 5693009 w 7467600"/>
              <a:gd name="connsiteY613" fmla="*/ 1478256 h 6858000"/>
              <a:gd name="connsiteX614" fmla="*/ 6548420 w 7467600"/>
              <a:gd name="connsiteY614" fmla="*/ 1214599 h 6858000"/>
              <a:gd name="connsiteX615" fmla="*/ 6605473 w 7467600"/>
              <a:gd name="connsiteY615" fmla="*/ 1184686 h 6858000"/>
              <a:gd name="connsiteX616" fmla="*/ 6691602 w 7467600"/>
              <a:gd name="connsiteY616" fmla="*/ 1140573 h 6858000"/>
              <a:gd name="connsiteX617" fmla="*/ 4002475 w 7467600"/>
              <a:gd name="connsiteY617" fmla="*/ 1037802 h 6858000"/>
              <a:gd name="connsiteX618" fmla="*/ 4000324 w 7467600"/>
              <a:gd name="connsiteY618" fmla="*/ 1039362 h 6858000"/>
              <a:gd name="connsiteX619" fmla="*/ 4002862 w 7467600"/>
              <a:gd name="connsiteY619" fmla="*/ 1042866 h 6858000"/>
              <a:gd name="connsiteX620" fmla="*/ 4002475 w 7467600"/>
              <a:gd name="connsiteY620" fmla="*/ 1037802 h 6858000"/>
              <a:gd name="connsiteX621" fmla="*/ 506322 w 7467600"/>
              <a:gd name="connsiteY621" fmla="*/ 1020997 h 6858000"/>
              <a:gd name="connsiteX622" fmla="*/ 533068 w 7467600"/>
              <a:gd name="connsiteY622" fmla="*/ 1029409 h 6858000"/>
              <a:gd name="connsiteX623" fmla="*/ 1232525 w 7467600"/>
              <a:gd name="connsiteY623" fmla="*/ 1804675 h 6858000"/>
              <a:gd name="connsiteX624" fmla="*/ 1388858 w 7467600"/>
              <a:gd name="connsiteY624" fmla="*/ 2368011 h 6858000"/>
              <a:gd name="connsiteX625" fmla="*/ 1384098 w 7467600"/>
              <a:gd name="connsiteY625" fmla="*/ 2378125 h 6858000"/>
              <a:gd name="connsiteX626" fmla="*/ 1425393 w 7467600"/>
              <a:gd name="connsiteY626" fmla="*/ 2589124 h 6858000"/>
              <a:gd name="connsiteX627" fmla="*/ 1424001 w 7467600"/>
              <a:gd name="connsiteY627" fmla="*/ 2597541 h 6858000"/>
              <a:gd name="connsiteX628" fmla="*/ 2152729 w 7467600"/>
              <a:gd name="connsiteY628" fmla="*/ 2864487 h 6858000"/>
              <a:gd name="connsiteX629" fmla="*/ 2020609 w 7467600"/>
              <a:gd name="connsiteY629" fmla="*/ 2539671 h 6858000"/>
              <a:gd name="connsiteX630" fmla="*/ 2018920 w 7467600"/>
              <a:gd name="connsiteY630" fmla="*/ 2536309 h 6858000"/>
              <a:gd name="connsiteX631" fmla="*/ 1342441 w 7467600"/>
              <a:gd name="connsiteY631" fmla="*/ 1173017 h 6858000"/>
              <a:gd name="connsiteX632" fmla="*/ 1367925 w 7467600"/>
              <a:gd name="connsiteY632" fmla="*/ 1135648 h 6858000"/>
              <a:gd name="connsiteX633" fmla="*/ 1771401 w 7467600"/>
              <a:gd name="connsiteY633" fmla="*/ 1806673 h 6858000"/>
              <a:gd name="connsiteX634" fmla="*/ 1972385 w 7467600"/>
              <a:gd name="connsiteY634" fmla="*/ 2198735 h 6858000"/>
              <a:gd name="connsiteX635" fmla="*/ 2040892 w 7467600"/>
              <a:gd name="connsiteY635" fmla="*/ 2405205 h 6858000"/>
              <a:gd name="connsiteX636" fmla="*/ 2131689 w 7467600"/>
              <a:gd name="connsiteY636" fmla="*/ 1936926 h 6858000"/>
              <a:gd name="connsiteX637" fmla="*/ 2454820 w 7467600"/>
              <a:gd name="connsiteY637" fmla="*/ 1248808 h 6858000"/>
              <a:gd name="connsiteX638" fmla="*/ 2492512 w 7467600"/>
              <a:gd name="connsiteY638" fmla="*/ 1302920 h 6858000"/>
              <a:gd name="connsiteX639" fmla="*/ 2081216 w 7467600"/>
              <a:gd name="connsiteY639" fmla="*/ 2527513 h 6858000"/>
              <a:gd name="connsiteX640" fmla="*/ 2081211 w 7467600"/>
              <a:gd name="connsiteY640" fmla="*/ 2528916 h 6858000"/>
              <a:gd name="connsiteX641" fmla="*/ 2199067 w 7467600"/>
              <a:gd name="connsiteY641" fmla="*/ 2884061 h 6858000"/>
              <a:gd name="connsiteX642" fmla="*/ 3192586 w 7467600"/>
              <a:gd name="connsiteY642" fmla="*/ 3411496 h 6858000"/>
              <a:gd name="connsiteX643" fmla="*/ 3182620 w 7467600"/>
              <a:gd name="connsiteY643" fmla="*/ 3483279 h 6858000"/>
              <a:gd name="connsiteX644" fmla="*/ 2435119 w 7467600"/>
              <a:gd name="connsiteY644" fmla="*/ 3080173 h 6858000"/>
              <a:gd name="connsiteX645" fmla="*/ 2410152 w 7467600"/>
              <a:gd name="connsiteY645" fmla="*/ 3063751 h 6858000"/>
              <a:gd name="connsiteX646" fmla="*/ 2408099 w 7467600"/>
              <a:gd name="connsiteY646" fmla="*/ 3064403 h 6858000"/>
              <a:gd name="connsiteX647" fmla="*/ 2407218 w 7467600"/>
              <a:gd name="connsiteY647" fmla="*/ 3070324 h 6858000"/>
              <a:gd name="connsiteX648" fmla="*/ 2380138 w 7467600"/>
              <a:gd name="connsiteY648" fmla="*/ 3099341 h 6858000"/>
              <a:gd name="connsiteX649" fmla="*/ 1765923 w 7467600"/>
              <a:gd name="connsiteY649" fmla="*/ 3581043 h 6858000"/>
              <a:gd name="connsiteX650" fmla="*/ 1702258 w 7467600"/>
              <a:gd name="connsiteY650" fmla="*/ 3612286 h 6858000"/>
              <a:gd name="connsiteX651" fmla="*/ 1538370 w 7467600"/>
              <a:gd name="connsiteY651" fmla="*/ 3811804 h 6858000"/>
              <a:gd name="connsiteX652" fmla="*/ 542867 w 7467600"/>
              <a:gd name="connsiteY652" fmla="*/ 4944092 h 6858000"/>
              <a:gd name="connsiteX653" fmla="*/ 515800 w 7467600"/>
              <a:gd name="connsiteY653" fmla="*/ 4862180 h 6858000"/>
              <a:gd name="connsiteX654" fmla="*/ 909145 w 7467600"/>
              <a:gd name="connsiteY654" fmla="*/ 4199225 h 6858000"/>
              <a:gd name="connsiteX655" fmla="*/ 1214067 w 7467600"/>
              <a:gd name="connsiteY655" fmla="*/ 3908561 h 6858000"/>
              <a:gd name="connsiteX656" fmla="*/ 640967 w 7467600"/>
              <a:gd name="connsiteY656" fmla="*/ 4105601 h 6858000"/>
              <a:gd name="connsiteX657" fmla="*/ 112563 w 7467600"/>
              <a:gd name="connsiteY657" fmla="*/ 4396952 h 6858000"/>
              <a:gd name="connsiteX658" fmla="*/ 0 w 7467600"/>
              <a:gd name="connsiteY658" fmla="*/ 4466006 h 6858000"/>
              <a:gd name="connsiteX659" fmla="*/ 0 w 7467600"/>
              <a:gd name="connsiteY659" fmla="*/ 4233763 h 6858000"/>
              <a:gd name="connsiteX660" fmla="*/ 36881 w 7467600"/>
              <a:gd name="connsiteY660" fmla="*/ 4200118 h 6858000"/>
              <a:gd name="connsiteX661" fmla="*/ 910534 w 7467600"/>
              <a:gd name="connsiteY661" fmla="*/ 3629753 h 6858000"/>
              <a:gd name="connsiteX662" fmla="*/ 1578717 w 7467600"/>
              <a:gd name="connsiteY662" fmla="*/ 3575982 h 6858000"/>
              <a:gd name="connsiteX663" fmla="*/ 2338780 w 7467600"/>
              <a:gd name="connsiteY663" fmla="*/ 3033725 h 6858000"/>
              <a:gd name="connsiteX664" fmla="*/ 1807991 w 7467600"/>
              <a:gd name="connsiteY664" fmla="*/ 2807184 h 6858000"/>
              <a:gd name="connsiteX665" fmla="*/ 1416358 w 7467600"/>
              <a:gd name="connsiteY665" fmla="*/ 3112571 h 6858000"/>
              <a:gd name="connsiteX666" fmla="*/ 939066 w 7467600"/>
              <a:gd name="connsiteY666" fmla="*/ 3378798 h 6858000"/>
              <a:gd name="connsiteX667" fmla="*/ 115099 w 7467600"/>
              <a:gd name="connsiteY667" fmla="*/ 3607650 h 6858000"/>
              <a:gd name="connsiteX668" fmla="*/ 97284 w 7467600"/>
              <a:gd name="connsiteY668" fmla="*/ 3520393 h 6858000"/>
              <a:gd name="connsiteX669" fmla="*/ 922050 w 7467600"/>
              <a:gd name="connsiteY669" fmla="*/ 3074867 h 6858000"/>
              <a:gd name="connsiteX670" fmla="*/ 1405265 w 7467600"/>
              <a:gd name="connsiteY670" fmla="*/ 3016319 h 6858000"/>
              <a:gd name="connsiteX671" fmla="*/ 1407512 w 7467600"/>
              <a:gd name="connsiteY671" fmla="*/ 3018001 h 6858000"/>
              <a:gd name="connsiteX672" fmla="*/ 1726266 w 7467600"/>
              <a:gd name="connsiteY672" fmla="*/ 2777274 h 6858000"/>
              <a:gd name="connsiteX673" fmla="*/ 625390 w 7467600"/>
              <a:gd name="connsiteY673" fmla="*/ 2514541 h 6858000"/>
              <a:gd name="connsiteX674" fmla="*/ 619799 w 7467600"/>
              <a:gd name="connsiteY674" fmla="*/ 2527180 h 6858000"/>
              <a:gd name="connsiteX675" fmla="*/ 310030 w 7467600"/>
              <a:gd name="connsiteY675" fmla="*/ 2771818 h 6858000"/>
              <a:gd name="connsiteX676" fmla="*/ 173877 w 7467600"/>
              <a:gd name="connsiteY676" fmla="*/ 2937056 h 6858000"/>
              <a:gd name="connsiteX677" fmla="*/ 77889 w 7467600"/>
              <a:gd name="connsiteY677" fmla="*/ 3138440 h 6858000"/>
              <a:gd name="connsiteX678" fmla="*/ 0 w 7467600"/>
              <a:gd name="connsiteY678" fmla="*/ 3271395 h 6858000"/>
              <a:gd name="connsiteX679" fmla="*/ 0 w 7467600"/>
              <a:gd name="connsiteY679" fmla="*/ 3153002 h 6858000"/>
              <a:gd name="connsiteX680" fmla="*/ 2386 w 7467600"/>
              <a:gd name="connsiteY680" fmla="*/ 3149203 h 6858000"/>
              <a:gd name="connsiteX681" fmla="*/ 89753 w 7467600"/>
              <a:gd name="connsiteY681" fmla="*/ 2987702 h 6858000"/>
              <a:gd name="connsiteX682" fmla="*/ 76869 w 7467600"/>
              <a:gd name="connsiteY682" fmla="*/ 3005404 h 6858000"/>
              <a:gd name="connsiteX683" fmla="*/ 32049 w 7467600"/>
              <a:gd name="connsiteY683" fmla="*/ 3065814 h 6858000"/>
              <a:gd name="connsiteX684" fmla="*/ 0 w 7467600"/>
              <a:gd name="connsiteY684" fmla="*/ 3108744 h 6858000"/>
              <a:gd name="connsiteX685" fmla="*/ 0 w 7467600"/>
              <a:gd name="connsiteY685" fmla="*/ 3058059 h 6858000"/>
              <a:gd name="connsiteX686" fmla="*/ 7610 w 7467600"/>
              <a:gd name="connsiteY686" fmla="*/ 3047889 h 6858000"/>
              <a:gd name="connsiteX687" fmla="*/ 52419 w 7467600"/>
              <a:gd name="connsiteY687" fmla="*/ 2987479 h 6858000"/>
              <a:gd name="connsiteX688" fmla="*/ 59142 w 7467600"/>
              <a:gd name="connsiteY688" fmla="*/ 2978488 h 6858000"/>
              <a:gd name="connsiteX689" fmla="*/ 0 w 7467600"/>
              <a:gd name="connsiteY689" fmla="*/ 3015334 h 6858000"/>
              <a:gd name="connsiteX690" fmla="*/ 0 w 7467600"/>
              <a:gd name="connsiteY690" fmla="*/ 2914286 h 6858000"/>
              <a:gd name="connsiteX691" fmla="*/ 36383 w 7467600"/>
              <a:gd name="connsiteY691" fmla="*/ 2901128 h 6858000"/>
              <a:gd name="connsiteX692" fmla="*/ 156329 w 7467600"/>
              <a:gd name="connsiteY692" fmla="*/ 2840533 h 6858000"/>
              <a:gd name="connsiteX693" fmla="*/ 358355 w 7467600"/>
              <a:gd name="connsiteY693" fmla="*/ 2620471 h 6858000"/>
              <a:gd name="connsiteX694" fmla="*/ 510577 w 7467600"/>
              <a:gd name="connsiteY694" fmla="*/ 2501244 h 6858000"/>
              <a:gd name="connsiteX695" fmla="*/ 211967 w 7467600"/>
              <a:gd name="connsiteY695" fmla="*/ 2479171 h 6858000"/>
              <a:gd name="connsiteX696" fmla="*/ 0 w 7467600"/>
              <a:gd name="connsiteY696" fmla="*/ 2476398 h 6858000"/>
              <a:gd name="connsiteX697" fmla="*/ 0 w 7467600"/>
              <a:gd name="connsiteY697" fmla="*/ 2389189 h 6858000"/>
              <a:gd name="connsiteX698" fmla="*/ 103062 w 7467600"/>
              <a:gd name="connsiteY698" fmla="*/ 2389518 h 6858000"/>
              <a:gd name="connsiteX699" fmla="*/ 510734 w 7467600"/>
              <a:gd name="connsiteY699" fmla="*/ 2416201 h 6858000"/>
              <a:gd name="connsiteX700" fmla="*/ 279257 w 7467600"/>
              <a:gd name="connsiteY700" fmla="*/ 2092102 h 6858000"/>
              <a:gd name="connsiteX701" fmla="*/ 65265 w 7467600"/>
              <a:gd name="connsiteY701" fmla="*/ 2006049 h 6858000"/>
              <a:gd name="connsiteX702" fmla="*/ 0 w 7467600"/>
              <a:gd name="connsiteY702" fmla="*/ 1982532 h 6858000"/>
              <a:gd name="connsiteX703" fmla="*/ 0 w 7467600"/>
              <a:gd name="connsiteY703" fmla="*/ 1912789 h 6858000"/>
              <a:gd name="connsiteX704" fmla="*/ 97460 w 7467600"/>
              <a:gd name="connsiteY704" fmla="*/ 1953725 h 6858000"/>
              <a:gd name="connsiteX705" fmla="*/ 221272 w 7467600"/>
              <a:gd name="connsiteY705" fmla="*/ 1980766 h 6858000"/>
              <a:gd name="connsiteX706" fmla="*/ 116765 w 7467600"/>
              <a:gd name="connsiteY706" fmla="*/ 1911033 h 6858000"/>
              <a:gd name="connsiteX707" fmla="*/ 16405 w 7467600"/>
              <a:gd name="connsiteY707" fmla="*/ 1803412 h 6858000"/>
              <a:gd name="connsiteX708" fmla="*/ 0 w 7467600"/>
              <a:gd name="connsiteY708" fmla="*/ 1784777 h 6858000"/>
              <a:gd name="connsiteX709" fmla="*/ 0 w 7467600"/>
              <a:gd name="connsiteY709" fmla="*/ 1740082 h 6858000"/>
              <a:gd name="connsiteX710" fmla="*/ 39394 w 7467600"/>
              <a:gd name="connsiteY710" fmla="*/ 1784856 h 6858000"/>
              <a:gd name="connsiteX711" fmla="*/ 135813 w 7467600"/>
              <a:gd name="connsiteY711" fmla="*/ 1888838 h 6858000"/>
              <a:gd name="connsiteX712" fmla="*/ 242575 w 7467600"/>
              <a:gd name="connsiteY712" fmla="*/ 1958841 h 6858000"/>
              <a:gd name="connsiteX713" fmla="*/ 82197 w 7467600"/>
              <a:gd name="connsiteY713" fmla="*/ 1754826 h 6858000"/>
              <a:gd name="connsiteX714" fmla="*/ 0 w 7467600"/>
              <a:gd name="connsiteY714" fmla="*/ 1679650 h 6858000"/>
              <a:gd name="connsiteX715" fmla="*/ 0 w 7467600"/>
              <a:gd name="connsiteY715" fmla="*/ 1602463 h 6858000"/>
              <a:gd name="connsiteX716" fmla="*/ 84689 w 7467600"/>
              <a:gd name="connsiteY716" fmla="*/ 1677442 h 6858000"/>
              <a:gd name="connsiteX717" fmla="*/ 298437 w 7467600"/>
              <a:gd name="connsiteY717" fmla="*/ 1968019 h 6858000"/>
              <a:gd name="connsiteX718" fmla="*/ 227269 w 7467600"/>
              <a:gd name="connsiteY718" fmla="*/ 1114064 h 6858000"/>
              <a:gd name="connsiteX719" fmla="*/ 248003 w 7467600"/>
              <a:gd name="connsiteY719" fmla="*/ 1089613 h 6858000"/>
              <a:gd name="connsiteX720" fmla="*/ 427020 w 7467600"/>
              <a:gd name="connsiteY720" fmla="*/ 1619803 h 6858000"/>
              <a:gd name="connsiteX721" fmla="*/ 340345 w 7467600"/>
              <a:gd name="connsiteY721" fmla="*/ 2027739 h 6858000"/>
              <a:gd name="connsiteX722" fmla="*/ 360865 w 7467600"/>
              <a:gd name="connsiteY722" fmla="*/ 2044827 h 6858000"/>
              <a:gd name="connsiteX723" fmla="*/ 560414 w 7467600"/>
              <a:gd name="connsiteY723" fmla="*/ 2421457 h 6858000"/>
              <a:gd name="connsiteX724" fmla="*/ 1359703 w 7467600"/>
              <a:gd name="connsiteY724" fmla="*/ 2578554 h 6858000"/>
              <a:gd name="connsiteX725" fmla="*/ 1359422 w 7467600"/>
              <a:gd name="connsiteY725" fmla="*/ 2577994 h 6858000"/>
              <a:gd name="connsiteX726" fmla="*/ 828701 w 7467600"/>
              <a:gd name="connsiteY726" fmla="*/ 1839520 h 6858000"/>
              <a:gd name="connsiteX727" fmla="*/ 494427 w 7467600"/>
              <a:gd name="connsiteY727" fmla="*/ 1092333 h 6858000"/>
              <a:gd name="connsiteX728" fmla="*/ 506322 w 7467600"/>
              <a:gd name="connsiteY728" fmla="*/ 1020997 h 6858000"/>
              <a:gd name="connsiteX729" fmla="*/ 4570198 w 7467600"/>
              <a:gd name="connsiteY729" fmla="*/ 978081 h 6858000"/>
              <a:gd name="connsiteX730" fmla="*/ 4523691 w 7467600"/>
              <a:gd name="connsiteY730" fmla="*/ 1127776 h 6858000"/>
              <a:gd name="connsiteX731" fmla="*/ 4509875 w 7467600"/>
              <a:gd name="connsiteY731" fmla="*/ 1167552 h 6858000"/>
              <a:gd name="connsiteX732" fmla="*/ 4478168 w 7467600"/>
              <a:gd name="connsiteY732" fmla="*/ 1260735 h 6858000"/>
              <a:gd name="connsiteX733" fmla="*/ 4409309 w 7467600"/>
              <a:gd name="connsiteY733" fmla="*/ 1666996 h 6858000"/>
              <a:gd name="connsiteX734" fmla="*/ 4370031 w 7467600"/>
              <a:gd name="connsiteY734" fmla="*/ 1955666 h 6858000"/>
              <a:gd name="connsiteX735" fmla="*/ 4570198 w 7467600"/>
              <a:gd name="connsiteY735" fmla="*/ 978081 h 6858000"/>
              <a:gd name="connsiteX736" fmla="*/ 4557898 w 7467600"/>
              <a:gd name="connsiteY736" fmla="*/ 900011 h 6858000"/>
              <a:gd name="connsiteX737" fmla="*/ 4344840 w 7467600"/>
              <a:gd name="connsiteY737" fmla="*/ 1922038 h 6858000"/>
              <a:gd name="connsiteX738" fmla="*/ 4378710 w 7467600"/>
              <a:gd name="connsiteY738" fmla="*/ 1665516 h 6858000"/>
              <a:gd name="connsiteX739" fmla="*/ 4448798 w 7467600"/>
              <a:gd name="connsiteY739" fmla="*/ 1253024 h 6858000"/>
              <a:gd name="connsiteX740" fmla="*/ 4480315 w 7467600"/>
              <a:gd name="connsiteY740" fmla="*/ 1158454 h 6858000"/>
              <a:gd name="connsiteX741" fmla="*/ 4494133 w 7467600"/>
              <a:gd name="connsiteY741" fmla="*/ 1118676 h 6858000"/>
              <a:gd name="connsiteX742" fmla="*/ 4557898 w 7467600"/>
              <a:gd name="connsiteY742" fmla="*/ 900011 h 6858000"/>
              <a:gd name="connsiteX743" fmla="*/ 5870151 w 7467600"/>
              <a:gd name="connsiteY743" fmla="*/ 898890 h 6858000"/>
              <a:gd name="connsiteX744" fmla="*/ 5861335 w 7467600"/>
              <a:gd name="connsiteY744" fmla="*/ 899177 h 6858000"/>
              <a:gd name="connsiteX745" fmla="*/ 5843702 w 7467600"/>
              <a:gd name="connsiteY745" fmla="*/ 899748 h 6858000"/>
              <a:gd name="connsiteX746" fmla="*/ 5651107 w 7467600"/>
              <a:gd name="connsiteY746" fmla="*/ 920306 h 6858000"/>
              <a:gd name="connsiteX747" fmla="*/ 5459407 w 7467600"/>
              <a:gd name="connsiteY747" fmla="*/ 940975 h 6858000"/>
              <a:gd name="connsiteX748" fmla="*/ 5374846 w 7467600"/>
              <a:gd name="connsiteY748" fmla="*/ 941988 h 6858000"/>
              <a:gd name="connsiteX749" fmla="*/ 5256105 w 7467600"/>
              <a:gd name="connsiteY749" fmla="*/ 945632 h 6858000"/>
              <a:gd name="connsiteX750" fmla="*/ 5107071 w 7467600"/>
              <a:gd name="connsiteY750" fmla="*/ 969720 h 6858000"/>
              <a:gd name="connsiteX751" fmla="*/ 4998681 w 7467600"/>
              <a:gd name="connsiteY751" fmla="*/ 988771 h 6858000"/>
              <a:gd name="connsiteX752" fmla="*/ 5870151 w 7467600"/>
              <a:gd name="connsiteY752" fmla="*/ 898890 h 6858000"/>
              <a:gd name="connsiteX753" fmla="*/ 5504425 w 7467600"/>
              <a:gd name="connsiteY753" fmla="*/ 848067 h 6858000"/>
              <a:gd name="connsiteX754" fmla="*/ 4968849 w 7467600"/>
              <a:gd name="connsiteY754" fmla="*/ 962318 h 6858000"/>
              <a:gd name="connsiteX755" fmla="*/ 5104039 w 7467600"/>
              <a:gd name="connsiteY755" fmla="*/ 940634 h 6858000"/>
              <a:gd name="connsiteX756" fmla="*/ 5256311 w 7467600"/>
              <a:gd name="connsiteY756" fmla="*/ 916490 h 6858000"/>
              <a:gd name="connsiteX757" fmla="*/ 5377381 w 7467600"/>
              <a:gd name="connsiteY757" fmla="*/ 912671 h 6858000"/>
              <a:gd name="connsiteX758" fmla="*/ 5460148 w 7467600"/>
              <a:gd name="connsiteY758" fmla="*/ 911442 h 6858000"/>
              <a:gd name="connsiteX759" fmla="*/ 5648971 w 7467600"/>
              <a:gd name="connsiteY759" fmla="*/ 891331 h 6858000"/>
              <a:gd name="connsiteX760" fmla="*/ 5844807 w 7467600"/>
              <a:gd name="connsiteY760" fmla="*/ 870718 h 6858000"/>
              <a:gd name="connsiteX761" fmla="*/ 5862975 w 7467600"/>
              <a:gd name="connsiteY761" fmla="*/ 869756 h 6858000"/>
              <a:gd name="connsiteX762" fmla="*/ 5920887 w 7467600"/>
              <a:gd name="connsiteY762" fmla="*/ 865929 h 6858000"/>
              <a:gd name="connsiteX763" fmla="*/ 5504425 w 7467600"/>
              <a:gd name="connsiteY763" fmla="*/ 848067 h 6858000"/>
              <a:gd name="connsiteX764" fmla="*/ 3607114 w 7467600"/>
              <a:gd name="connsiteY764" fmla="*/ 467441 h 6858000"/>
              <a:gd name="connsiteX765" fmla="*/ 3296242 w 7467600"/>
              <a:gd name="connsiteY765" fmla="*/ 807991 h 6858000"/>
              <a:gd name="connsiteX766" fmla="*/ 3174674 w 7467600"/>
              <a:gd name="connsiteY766" fmla="*/ 919759 h 6858000"/>
              <a:gd name="connsiteX767" fmla="*/ 3042978 w 7467600"/>
              <a:gd name="connsiteY767" fmla="*/ 1054894 h 6858000"/>
              <a:gd name="connsiteX768" fmla="*/ 2968914 w 7467600"/>
              <a:gd name="connsiteY768" fmla="*/ 1133756 h 6858000"/>
              <a:gd name="connsiteX769" fmla="*/ 3103823 w 7467600"/>
              <a:gd name="connsiteY769" fmla="*/ 1026814 h 6858000"/>
              <a:gd name="connsiteX770" fmla="*/ 3607114 w 7467600"/>
              <a:gd name="connsiteY770" fmla="*/ 467441 h 6858000"/>
              <a:gd name="connsiteX771" fmla="*/ 3744487 w 7467600"/>
              <a:gd name="connsiteY771" fmla="*/ 383136 h 6858000"/>
              <a:gd name="connsiteX772" fmla="*/ 3970213 w 7467600"/>
              <a:gd name="connsiteY772" fmla="*/ 995559 h 6858000"/>
              <a:gd name="connsiteX773" fmla="*/ 3744487 w 7467600"/>
              <a:gd name="connsiteY773" fmla="*/ 383136 h 6858000"/>
              <a:gd name="connsiteX774" fmla="*/ 3624562 w 7467600"/>
              <a:gd name="connsiteY774" fmla="*/ 367041 h 6858000"/>
              <a:gd name="connsiteX775" fmla="*/ 3489712 w 7467600"/>
              <a:gd name="connsiteY775" fmla="*/ 485386 h 6858000"/>
              <a:gd name="connsiteX776" fmla="*/ 3182994 w 7467600"/>
              <a:gd name="connsiteY776" fmla="*/ 828265 h 6858000"/>
              <a:gd name="connsiteX777" fmla="*/ 2892114 w 7467600"/>
              <a:gd name="connsiteY777" fmla="*/ 1172635 h 6858000"/>
              <a:gd name="connsiteX778" fmla="*/ 3021459 w 7467600"/>
              <a:gd name="connsiteY778" fmla="*/ 1035385 h 6858000"/>
              <a:gd name="connsiteX779" fmla="*/ 3153873 w 7467600"/>
              <a:gd name="connsiteY779" fmla="*/ 898971 h 6858000"/>
              <a:gd name="connsiteX780" fmla="*/ 3276511 w 7467600"/>
              <a:gd name="connsiteY780" fmla="*/ 786423 h 6858000"/>
              <a:gd name="connsiteX781" fmla="*/ 3584154 w 7467600"/>
              <a:gd name="connsiteY781" fmla="*/ 448218 h 6858000"/>
              <a:gd name="connsiteX782" fmla="*/ 3624562 w 7467600"/>
              <a:gd name="connsiteY782" fmla="*/ 367041 h 6858000"/>
              <a:gd name="connsiteX783" fmla="*/ 3766672 w 7467600"/>
              <a:gd name="connsiteY783" fmla="*/ 359429 h 6858000"/>
              <a:gd name="connsiteX784" fmla="*/ 3996338 w 7467600"/>
              <a:gd name="connsiteY784" fmla="*/ 968237 h 6858000"/>
              <a:gd name="connsiteX785" fmla="*/ 3766672 w 7467600"/>
              <a:gd name="connsiteY785" fmla="*/ 359429 h 6858000"/>
              <a:gd name="connsiteX786" fmla="*/ 5805386 w 7467600"/>
              <a:gd name="connsiteY786" fmla="*/ 239240 h 6858000"/>
              <a:gd name="connsiteX787" fmla="*/ 5736947 w 7467600"/>
              <a:gd name="connsiteY787" fmla="*/ 261367 h 6858000"/>
              <a:gd name="connsiteX788" fmla="*/ 5427012 w 7467600"/>
              <a:gd name="connsiteY788" fmla="*/ 311272 h 6858000"/>
              <a:gd name="connsiteX789" fmla="*/ 5147818 w 7467600"/>
              <a:gd name="connsiteY789" fmla="*/ 322112 h 6858000"/>
              <a:gd name="connsiteX790" fmla="*/ 5060854 w 7467600"/>
              <a:gd name="connsiteY790" fmla="*/ 311882 h 6858000"/>
              <a:gd name="connsiteX791" fmla="*/ 4945989 w 7467600"/>
              <a:gd name="connsiteY791" fmla="*/ 300516 h 6858000"/>
              <a:gd name="connsiteX792" fmla="*/ 5410479 w 7467600"/>
              <a:gd name="connsiteY792" fmla="*/ 348434 h 6858000"/>
              <a:gd name="connsiteX793" fmla="*/ 5805386 w 7467600"/>
              <a:gd name="connsiteY793" fmla="*/ 239240 h 6858000"/>
              <a:gd name="connsiteX794" fmla="*/ 5905192 w 7467600"/>
              <a:gd name="connsiteY794" fmla="*/ 163079 h 6858000"/>
              <a:gd name="connsiteX795" fmla="*/ 5865655 w 7467600"/>
              <a:gd name="connsiteY795" fmla="*/ 171901 h 6858000"/>
              <a:gd name="connsiteX796" fmla="*/ 5259740 w 7467600"/>
              <a:gd name="connsiteY796" fmla="*/ 257013 h 6858000"/>
              <a:gd name="connsiteX797" fmla="*/ 5208466 w 7467600"/>
              <a:gd name="connsiteY797" fmla="*/ 257550 h 6858000"/>
              <a:gd name="connsiteX798" fmla="*/ 4980204 w 7467600"/>
              <a:gd name="connsiteY798" fmla="*/ 271903 h 6858000"/>
              <a:gd name="connsiteX799" fmla="*/ 5068068 w 7467600"/>
              <a:gd name="connsiteY799" fmla="*/ 282244 h 6858000"/>
              <a:gd name="connsiteX800" fmla="*/ 5153231 w 7467600"/>
              <a:gd name="connsiteY800" fmla="*/ 292240 h 6858000"/>
              <a:gd name="connsiteX801" fmla="*/ 5426491 w 7467600"/>
              <a:gd name="connsiteY801" fmla="*/ 281128 h 6858000"/>
              <a:gd name="connsiteX802" fmla="*/ 5731212 w 7467600"/>
              <a:gd name="connsiteY802" fmla="*/ 231951 h 6858000"/>
              <a:gd name="connsiteX803" fmla="*/ 5905192 w 7467600"/>
              <a:gd name="connsiteY803" fmla="*/ 163079 h 6858000"/>
              <a:gd name="connsiteX804" fmla="*/ 5944437 w 7467600"/>
              <a:gd name="connsiteY804" fmla="*/ 113829 h 6858000"/>
              <a:gd name="connsiteX805" fmla="*/ 5825032 w 7467600"/>
              <a:gd name="connsiteY805" fmla="*/ 146405 h 6858000"/>
              <a:gd name="connsiteX806" fmla="*/ 4955599 w 7467600"/>
              <a:gd name="connsiteY806" fmla="*/ 247008 h 6858000"/>
              <a:gd name="connsiteX807" fmla="*/ 5210104 w 7467600"/>
              <a:gd name="connsiteY807" fmla="*/ 228123 h 6858000"/>
              <a:gd name="connsiteX808" fmla="*/ 5261015 w 7467600"/>
              <a:gd name="connsiteY808" fmla="*/ 227087 h 6858000"/>
              <a:gd name="connsiteX809" fmla="*/ 5861181 w 7467600"/>
              <a:gd name="connsiteY809" fmla="*/ 143093 h 6858000"/>
              <a:gd name="connsiteX810" fmla="*/ 5961252 w 7467600"/>
              <a:gd name="connsiteY810" fmla="*/ 114820 h 6858000"/>
              <a:gd name="connsiteX811" fmla="*/ 5944437 w 7467600"/>
              <a:gd name="connsiteY811" fmla="*/ 113829 h 6858000"/>
              <a:gd name="connsiteX812" fmla="*/ 3882765 w 7467600"/>
              <a:gd name="connsiteY812" fmla="*/ 0 h 6858000"/>
              <a:gd name="connsiteX813" fmla="*/ 3995099 w 7467600"/>
              <a:gd name="connsiteY813" fmla="*/ 0 h 6858000"/>
              <a:gd name="connsiteX814" fmla="*/ 4163818 w 7467600"/>
              <a:gd name="connsiteY814" fmla="*/ 234104 h 6858000"/>
              <a:gd name="connsiteX815" fmla="*/ 4172099 w 7467600"/>
              <a:gd name="connsiteY815" fmla="*/ 234207 h 6858000"/>
              <a:gd name="connsiteX816" fmla="*/ 4784282 w 7467600"/>
              <a:gd name="connsiteY816" fmla="*/ 276561 h 6858000"/>
              <a:gd name="connsiteX817" fmla="*/ 4801687 w 7467600"/>
              <a:gd name="connsiteY817" fmla="*/ 267764 h 6858000"/>
              <a:gd name="connsiteX818" fmla="*/ 6082788 w 7467600"/>
              <a:gd name="connsiteY818" fmla="*/ 64119 h 6858000"/>
              <a:gd name="connsiteX819" fmla="*/ 6099442 w 7467600"/>
              <a:gd name="connsiteY819" fmla="*/ 82568 h 6858000"/>
              <a:gd name="connsiteX820" fmla="*/ 4804137 w 7467600"/>
              <a:gd name="connsiteY820" fmla="*/ 320931 h 6858000"/>
              <a:gd name="connsiteX821" fmla="*/ 4227047 w 7467600"/>
              <a:gd name="connsiteY821" fmla="*/ 313415 h 6858000"/>
              <a:gd name="connsiteX822" fmla="*/ 4346041 w 7467600"/>
              <a:gd name="connsiteY822" fmla="*/ 456086 h 6858000"/>
              <a:gd name="connsiteX823" fmla="*/ 4870967 w 7467600"/>
              <a:gd name="connsiteY823" fmla="*/ 963061 h 6858000"/>
              <a:gd name="connsiteX824" fmla="*/ 4889647 w 7467600"/>
              <a:gd name="connsiteY824" fmla="*/ 957147 h 6858000"/>
              <a:gd name="connsiteX825" fmla="*/ 5422504 w 7467600"/>
              <a:gd name="connsiteY825" fmla="*/ 805191 h 6858000"/>
              <a:gd name="connsiteX826" fmla="*/ 6087656 w 7467600"/>
              <a:gd name="connsiteY826" fmla="*/ 826703 h 6858000"/>
              <a:gd name="connsiteX827" fmla="*/ 6058717 w 7467600"/>
              <a:gd name="connsiteY827" fmla="*/ 865992 h 6858000"/>
              <a:gd name="connsiteX828" fmla="*/ 4974153 w 7467600"/>
              <a:gd name="connsiteY828" fmla="*/ 1045456 h 6858000"/>
              <a:gd name="connsiteX829" fmla="*/ 5627835 w 7467600"/>
              <a:gd name="connsiteY829" fmla="*/ 1472077 h 6858000"/>
              <a:gd name="connsiteX830" fmla="*/ 5629817 w 7467600"/>
              <a:gd name="connsiteY830" fmla="*/ 1471412 h 6858000"/>
              <a:gd name="connsiteX831" fmla="*/ 5634124 w 7467600"/>
              <a:gd name="connsiteY831" fmla="*/ 1470572 h 6858000"/>
              <a:gd name="connsiteX832" fmla="*/ 5755832 w 7467600"/>
              <a:gd name="connsiteY832" fmla="*/ 1383886 h 6858000"/>
              <a:gd name="connsiteX833" fmla="*/ 6014186 w 7467600"/>
              <a:gd name="connsiteY833" fmla="*/ 1279799 h 6858000"/>
              <a:gd name="connsiteX834" fmla="*/ 6901619 w 7467600"/>
              <a:gd name="connsiteY834" fmla="*/ 1047874 h 6858000"/>
              <a:gd name="connsiteX835" fmla="*/ 6931566 w 7467600"/>
              <a:gd name="connsiteY835" fmla="*/ 1062034 h 6858000"/>
              <a:gd name="connsiteX836" fmla="*/ 5790982 w 7467600"/>
              <a:gd name="connsiteY836" fmla="*/ 1561380 h 6858000"/>
              <a:gd name="connsiteX837" fmla="*/ 6188971 w 7467600"/>
              <a:gd name="connsiteY837" fmla="*/ 1755168 h 6858000"/>
              <a:gd name="connsiteX838" fmla="*/ 6202446 w 7467600"/>
              <a:gd name="connsiteY838" fmla="*/ 1752268 h 6858000"/>
              <a:gd name="connsiteX839" fmla="*/ 7179560 w 7467600"/>
              <a:gd name="connsiteY839" fmla="*/ 1467551 h 6858000"/>
              <a:gd name="connsiteX840" fmla="*/ 7158730 w 7467600"/>
              <a:gd name="connsiteY840" fmla="*/ 1507835 h 6858000"/>
              <a:gd name="connsiteX841" fmla="*/ 6326959 w 7467600"/>
              <a:gd name="connsiteY841" fmla="*/ 1817686 h 6858000"/>
              <a:gd name="connsiteX842" fmla="*/ 6537433 w 7467600"/>
              <a:gd name="connsiteY842" fmla="*/ 1907790 h 6858000"/>
              <a:gd name="connsiteX843" fmla="*/ 6550221 w 7467600"/>
              <a:gd name="connsiteY843" fmla="*/ 1910729 h 6858000"/>
              <a:gd name="connsiteX844" fmla="*/ 6964438 w 7467600"/>
              <a:gd name="connsiteY844" fmla="*/ 2209505 h 6858000"/>
              <a:gd name="connsiteX845" fmla="*/ 7367862 w 7467600"/>
              <a:gd name="connsiteY845" fmla="*/ 2806833 h 6858000"/>
              <a:gd name="connsiteX846" fmla="*/ 7364329 w 7467600"/>
              <a:gd name="connsiteY846" fmla="*/ 2826907 h 6858000"/>
              <a:gd name="connsiteX847" fmla="*/ 7290545 w 7467600"/>
              <a:gd name="connsiteY847" fmla="*/ 2850663 h 6858000"/>
              <a:gd name="connsiteX848" fmla="*/ 6472036 w 7467600"/>
              <a:gd name="connsiteY848" fmla="*/ 1959003 h 6858000"/>
              <a:gd name="connsiteX849" fmla="*/ 5792897 w 7467600"/>
              <a:gd name="connsiteY849" fmla="*/ 1647747 h 6858000"/>
              <a:gd name="connsiteX850" fmla="*/ 5842751 w 7467600"/>
              <a:gd name="connsiteY850" fmla="*/ 1816112 h 6858000"/>
              <a:gd name="connsiteX851" fmla="*/ 5847424 w 7467600"/>
              <a:gd name="connsiteY851" fmla="*/ 1815776 h 6858000"/>
              <a:gd name="connsiteX852" fmla="*/ 6399821 w 7467600"/>
              <a:gd name="connsiteY852" fmla="*/ 2344799 h 6858000"/>
              <a:gd name="connsiteX853" fmla="*/ 6323232 w 7467600"/>
              <a:gd name="connsiteY853" fmla="*/ 2389634 h 6858000"/>
              <a:gd name="connsiteX854" fmla="*/ 5942958 w 7467600"/>
              <a:gd name="connsiteY854" fmla="*/ 2077708 h 6858000"/>
              <a:gd name="connsiteX855" fmla="*/ 5921559 w 7467600"/>
              <a:gd name="connsiteY855" fmla="*/ 2378596 h 6858000"/>
              <a:gd name="connsiteX856" fmla="*/ 5817651 w 7467600"/>
              <a:gd name="connsiteY856" fmla="*/ 3023919 h 6858000"/>
              <a:gd name="connsiteX857" fmla="*/ 5729634 w 7467600"/>
              <a:gd name="connsiteY857" fmla="*/ 3051849 h 6858000"/>
              <a:gd name="connsiteX858" fmla="*/ 5611018 w 7467600"/>
              <a:gd name="connsiteY858" fmla="*/ 2316769 h 6858000"/>
              <a:gd name="connsiteX859" fmla="*/ 5687608 w 7467600"/>
              <a:gd name="connsiteY859" fmla="*/ 2039972 h 6858000"/>
              <a:gd name="connsiteX860" fmla="*/ 5657554 w 7467600"/>
              <a:gd name="connsiteY860" fmla="*/ 1576445 h 6858000"/>
              <a:gd name="connsiteX861" fmla="*/ 5150475 w 7467600"/>
              <a:gd name="connsiteY861" fmla="*/ 1274012 h 6858000"/>
              <a:gd name="connsiteX862" fmla="*/ 5349142 w 7467600"/>
              <a:gd name="connsiteY862" fmla="*/ 2204405 h 6858000"/>
              <a:gd name="connsiteX863" fmla="*/ 5262214 w 7467600"/>
              <a:gd name="connsiteY863" fmla="*/ 2233836 h 6858000"/>
              <a:gd name="connsiteX864" fmla="*/ 4981539 w 7467600"/>
              <a:gd name="connsiteY864" fmla="*/ 1542201 h 6858000"/>
              <a:gd name="connsiteX865" fmla="*/ 4958461 w 7467600"/>
              <a:gd name="connsiteY865" fmla="*/ 1136957 h 6858000"/>
              <a:gd name="connsiteX866" fmla="*/ 4655015 w 7467600"/>
              <a:gd name="connsiteY866" fmla="*/ 891426 h 6858000"/>
              <a:gd name="connsiteX867" fmla="*/ 4348002 w 7467600"/>
              <a:gd name="connsiteY867" fmla="*/ 2205895 h 6858000"/>
              <a:gd name="connsiteX868" fmla="*/ 4262250 w 7467600"/>
              <a:gd name="connsiteY868" fmla="*/ 2219972 h 6858000"/>
              <a:gd name="connsiteX869" fmla="*/ 4550611 w 7467600"/>
              <a:gd name="connsiteY869" fmla="*/ 817540 h 6858000"/>
              <a:gd name="connsiteX870" fmla="*/ 4564418 w 7467600"/>
              <a:gd name="connsiteY870" fmla="*/ 808293 h 6858000"/>
              <a:gd name="connsiteX871" fmla="*/ 4266388 w 7467600"/>
              <a:gd name="connsiteY871" fmla="*/ 500083 h 6858000"/>
              <a:gd name="connsiteX872" fmla="*/ 4032842 w 7467600"/>
              <a:gd name="connsiteY872" fmla="*/ 211809 h 6858000"/>
              <a:gd name="connsiteX873" fmla="*/ 3882765 w 7467600"/>
              <a:gd name="connsiteY873" fmla="*/ 0 h 6858000"/>
              <a:gd name="connsiteX874" fmla="*/ 3721337 w 7467600"/>
              <a:gd name="connsiteY874" fmla="*/ 0 h 6858000"/>
              <a:gd name="connsiteX875" fmla="*/ 3797544 w 7467600"/>
              <a:gd name="connsiteY875" fmla="*/ 0 h 6858000"/>
              <a:gd name="connsiteX876" fmla="*/ 3775734 w 7467600"/>
              <a:gd name="connsiteY876" fmla="*/ 95131 h 6858000"/>
              <a:gd name="connsiteX877" fmla="*/ 3724807 w 7467600"/>
              <a:gd name="connsiteY877" fmla="*/ 272257 h 6858000"/>
              <a:gd name="connsiteX878" fmla="*/ 3726844 w 7467600"/>
              <a:gd name="connsiteY878" fmla="*/ 282988 h 6858000"/>
              <a:gd name="connsiteX879" fmla="*/ 3742664 w 7467600"/>
              <a:gd name="connsiteY879" fmla="*/ 279918 h 6858000"/>
              <a:gd name="connsiteX880" fmla="*/ 4103910 w 7467600"/>
              <a:gd name="connsiteY880" fmla="*/ 1161917 h 6858000"/>
              <a:gd name="connsiteX881" fmla="*/ 4020269 w 7467600"/>
              <a:gd name="connsiteY881" fmla="*/ 1200406 h 6858000"/>
              <a:gd name="connsiteX882" fmla="*/ 3674882 w 7467600"/>
              <a:gd name="connsiteY882" fmla="*/ 488524 h 6858000"/>
              <a:gd name="connsiteX883" fmla="*/ 3132682 w 7467600"/>
              <a:gd name="connsiteY883" fmla="*/ 1072284 h 6858000"/>
              <a:gd name="connsiteX884" fmla="*/ 2716346 w 7467600"/>
              <a:gd name="connsiteY884" fmla="*/ 1276376 h 6858000"/>
              <a:gd name="connsiteX885" fmla="*/ 2716772 w 7467600"/>
              <a:gd name="connsiteY885" fmla="*/ 1255462 h 6858000"/>
              <a:gd name="connsiteX886" fmla="*/ 3471096 w 7467600"/>
              <a:gd name="connsiteY886" fmla="*/ 437072 h 6858000"/>
              <a:gd name="connsiteX887" fmla="*/ 3639057 w 7467600"/>
              <a:gd name="connsiteY887" fmla="*/ 286334 h 6858000"/>
              <a:gd name="connsiteX888" fmla="*/ 3640309 w 7467600"/>
              <a:gd name="connsiteY888" fmla="*/ 284664 h 6858000"/>
              <a:gd name="connsiteX889" fmla="*/ 3646022 w 7467600"/>
              <a:gd name="connsiteY889" fmla="*/ 276711 h 6858000"/>
              <a:gd name="connsiteX890" fmla="*/ 3707943 w 7467600"/>
              <a:gd name="connsiteY890" fmla="*/ 65958 h 6858000"/>
              <a:gd name="connsiteX891" fmla="*/ 3721337 w 7467600"/>
              <a:gd name="connsiteY891" fmla="*/ 0 h 6858000"/>
              <a:gd name="connsiteX892" fmla="*/ 2867960 w 7467600"/>
              <a:gd name="connsiteY892" fmla="*/ 0 h 6858000"/>
              <a:gd name="connsiteX893" fmla="*/ 2926351 w 7467600"/>
              <a:gd name="connsiteY893" fmla="*/ 0 h 6858000"/>
              <a:gd name="connsiteX894" fmla="*/ 2902823 w 7467600"/>
              <a:gd name="connsiteY894" fmla="*/ 262929 h 6858000"/>
              <a:gd name="connsiteX895" fmla="*/ 2940663 w 7467600"/>
              <a:gd name="connsiteY895" fmla="*/ 140884 h 6858000"/>
              <a:gd name="connsiteX896" fmla="*/ 2947039 w 7467600"/>
              <a:gd name="connsiteY896" fmla="*/ 122524 h 6858000"/>
              <a:gd name="connsiteX897" fmla="*/ 2984316 w 7467600"/>
              <a:gd name="connsiteY897" fmla="*/ 0 h 6858000"/>
              <a:gd name="connsiteX898" fmla="*/ 3016114 w 7467600"/>
              <a:gd name="connsiteY898" fmla="*/ 0 h 6858000"/>
              <a:gd name="connsiteX899" fmla="*/ 2979949 w 7467600"/>
              <a:gd name="connsiteY899" fmla="*/ 119274 h 6858000"/>
              <a:gd name="connsiteX900" fmla="*/ 3023879 w 7467600"/>
              <a:gd name="connsiteY900" fmla="*/ 0 h 6858000"/>
              <a:gd name="connsiteX901" fmla="*/ 3105400 w 7467600"/>
              <a:gd name="connsiteY901" fmla="*/ 0 h 6858000"/>
              <a:gd name="connsiteX902" fmla="*/ 3094669 w 7467600"/>
              <a:gd name="connsiteY902" fmla="*/ 30308 h 6858000"/>
              <a:gd name="connsiteX903" fmla="*/ 2901945 w 7467600"/>
              <a:gd name="connsiteY903" fmla="*/ 466538 h 6858000"/>
              <a:gd name="connsiteX904" fmla="*/ 2815209 w 7467600"/>
              <a:gd name="connsiteY904" fmla="*/ 497361 h 6858000"/>
              <a:gd name="connsiteX905" fmla="*/ 2844845 w 7467600"/>
              <a:gd name="connsiteY905" fmla="*/ 127638 h 6858000"/>
              <a:gd name="connsiteX906" fmla="*/ 2867960 w 7467600"/>
              <a:gd name="connsiteY906" fmla="*/ 0 h 6858000"/>
              <a:gd name="connsiteX907" fmla="*/ 1057230 w 7467600"/>
              <a:gd name="connsiteY907" fmla="*/ 0 h 6858000"/>
              <a:gd name="connsiteX908" fmla="*/ 1111003 w 7467600"/>
              <a:gd name="connsiteY908" fmla="*/ 0 h 6858000"/>
              <a:gd name="connsiteX909" fmla="*/ 1125553 w 7467600"/>
              <a:gd name="connsiteY909" fmla="*/ 52588 h 6858000"/>
              <a:gd name="connsiteX910" fmla="*/ 1304276 w 7467600"/>
              <a:gd name="connsiteY910" fmla="*/ 476275 h 6858000"/>
              <a:gd name="connsiteX911" fmla="*/ 1492066 w 7467600"/>
              <a:gd name="connsiteY911" fmla="*/ 886333 h 6858000"/>
              <a:gd name="connsiteX912" fmla="*/ 1423698 w 7467600"/>
              <a:gd name="connsiteY912" fmla="*/ 710817 h 6858000"/>
              <a:gd name="connsiteX913" fmla="*/ 1357609 w 7467600"/>
              <a:gd name="connsiteY913" fmla="*/ 532892 h 6858000"/>
              <a:gd name="connsiteX914" fmla="*/ 1309550 w 7467600"/>
              <a:gd name="connsiteY914" fmla="*/ 374031 h 6858000"/>
              <a:gd name="connsiteX915" fmla="*/ 1193673 w 7467600"/>
              <a:gd name="connsiteY915" fmla="*/ 49533 h 6858000"/>
              <a:gd name="connsiteX916" fmla="*/ 1164391 w 7467600"/>
              <a:gd name="connsiteY916" fmla="*/ 0 h 6858000"/>
              <a:gd name="connsiteX917" fmla="*/ 1200666 w 7467600"/>
              <a:gd name="connsiteY917" fmla="*/ 0 h 6858000"/>
              <a:gd name="connsiteX918" fmla="*/ 1223408 w 7467600"/>
              <a:gd name="connsiteY918" fmla="*/ 38996 h 6858000"/>
              <a:gd name="connsiteX919" fmla="*/ 1339635 w 7467600"/>
              <a:gd name="connsiteY919" fmla="*/ 365517 h 6858000"/>
              <a:gd name="connsiteX920" fmla="*/ 1387469 w 7467600"/>
              <a:gd name="connsiteY920" fmla="*/ 523079 h 6858000"/>
              <a:gd name="connsiteX921" fmla="*/ 1452685 w 7467600"/>
              <a:gd name="connsiteY921" fmla="*/ 699806 h 6858000"/>
              <a:gd name="connsiteX922" fmla="*/ 1492092 w 7467600"/>
              <a:gd name="connsiteY922" fmla="*/ 800424 h 6858000"/>
              <a:gd name="connsiteX923" fmla="*/ 1455302 w 7467600"/>
              <a:gd name="connsiteY923" fmla="*/ 632913 h 6858000"/>
              <a:gd name="connsiteX924" fmla="*/ 1222336 w 7467600"/>
              <a:gd name="connsiteY924" fmla="*/ 9480 h 6858000"/>
              <a:gd name="connsiteX925" fmla="*/ 1214634 w 7467600"/>
              <a:gd name="connsiteY925" fmla="*/ 0 h 6858000"/>
              <a:gd name="connsiteX926" fmla="*/ 1289827 w 7467600"/>
              <a:gd name="connsiteY926" fmla="*/ 0 h 6858000"/>
              <a:gd name="connsiteX927" fmla="*/ 1321076 w 7467600"/>
              <a:gd name="connsiteY927" fmla="*/ 59722 h 6858000"/>
              <a:gd name="connsiteX928" fmla="*/ 1512579 w 7467600"/>
              <a:gd name="connsiteY928" fmla="*/ 626441 h 6858000"/>
              <a:gd name="connsiteX929" fmla="*/ 1506076 w 7467600"/>
              <a:gd name="connsiteY929" fmla="*/ 1089289 h 6858000"/>
              <a:gd name="connsiteX930" fmla="*/ 1486346 w 7467600"/>
              <a:gd name="connsiteY930" fmla="*/ 1079919 h 6858000"/>
              <a:gd name="connsiteX931" fmla="*/ 1070511 w 7467600"/>
              <a:gd name="connsiteY931" fmla="*/ 48609 h 6858000"/>
              <a:gd name="connsiteX932" fmla="*/ 1057230 w 7467600"/>
              <a:gd name="connsiteY932" fmla="*/ 0 h 6858000"/>
              <a:gd name="connsiteX933" fmla="*/ 43151 w 7467600"/>
              <a:gd name="connsiteY933" fmla="*/ 0 h 6858000"/>
              <a:gd name="connsiteX934" fmla="*/ 95283 w 7467600"/>
              <a:gd name="connsiteY934" fmla="*/ 0 h 6858000"/>
              <a:gd name="connsiteX935" fmla="*/ 300708 w 7467600"/>
              <a:gd name="connsiteY935" fmla="*/ 154571 h 6858000"/>
              <a:gd name="connsiteX936" fmla="*/ 530414 w 7467600"/>
              <a:gd name="connsiteY936" fmla="*/ 354673 h 6858000"/>
              <a:gd name="connsiteX937" fmla="*/ 333785 w 7467600"/>
              <a:gd name="connsiteY937" fmla="*/ 161564 h 6858000"/>
              <a:gd name="connsiteX938" fmla="*/ 147005 w 7467600"/>
              <a:gd name="connsiteY938" fmla="*/ 0 h 6858000"/>
              <a:gd name="connsiteX939" fmla="*/ 272509 w 7467600"/>
              <a:gd name="connsiteY939" fmla="*/ 0 h 6858000"/>
              <a:gd name="connsiteX940" fmla="*/ 326276 w 7467600"/>
              <a:gd name="connsiteY940" fmla="*/ 45847 h 6858000"/>
              <a:gd name="connsiteX941" fmla="*/ 823759 w 7467600"/>
              <a:gd name="connsiteY941" fmla="*/ 574145 h 6858000"/>
              <a:gd name="connsiteX942" fmla="*/ 811254 w 7467600"/>
              <a:gd name="connsiteY942" fmla="*/ 665546 h 6858000"/>
              <a:gd name="connsiteX943" fmla="*/ 154042 w 7467600"/>
              <a:gd name="connsiteY943" fmla="*/ 261522 h 6858000"/>
              <a:gd name="connsiteX944" fmla="*/ 13550 w 7467600"/>
              <a:gd name="connsiteY944" fmla="*/ 158423 h 6858000"/>
              <a:gd name="connsiteX945" fmla="*/ 0 w 7467600"/>
              <a:gd name="connsiteY945" fmla="*/ 146618 h 6858000"/>
              <a:gd name="connsiteX946" fmla="*/ 0 w 7467600"/>
              <a:gd name="connsiteY946" fmla="*/ 59161 h 6858000"/>
              <a:gd name="connsiteX947" fmla="*/ 45427 w 7467600"/>
              <a:gd name="connsiteY947" fmla="*/ 101078 h 6858000"/>
              <a:gd name="connsiteX948" fmla="*/ 630103 w 7467600"/>
              <a:gd name="connsiteY948" fmla="*/ 485885 h 6858000"/>
              <a:gd name="connsiteX949" fmla="*/ 532040 w 7467600"/>
              <a:gd name="connsiteY949" fmla="*/ 399359 h 6858000"/>
              <a:gd name="connsiteX950" fmla="*/ 517618 w 7467600"/>
              <a:gd name="connsiteY950" fmla="*/ 385726 h 6858000"/>
              <a:gd name="connsiteX951" fmla="*/ 285074 w 7467600"/>
              <a:gd name="connsiteY951" fmla="*/ 182755 h 6858000"/>
              <a:gd name="connsiteX952" fmla="*/ 43151 w 7467600"/>
              <a:gd name="connsiteY952"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410696 w 7467600"/>
              <a:gd name="connsiteY4" fmla="*/ 6803861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1019354 w 7467600"/>
              <a:gd name="connsiteY20" fmla="*/ 6315006 h 6858000"/>
              <a:gd name="connsiteX21" fmla="*/ 441046 w 7467600"/>
              <a:gd name="connsiteY21" fmla="*/ 6691153 h 6858000"/>
              <a:gd name="connsiteX22" fmla="*/ 1019354 w 7467600"/>
              <a:gd name="connsiteY22" fmla="*/ 6315006 h 6858000"/>
              <a:gd name="connsiteX23" fmla="*/ 991680 w 7467600"/>
              <a:gd name="connsiteY23" fmla="*/ 6298413 h 6858000"/>
              <a:gd name="connsiteX24" fmla="*/ 409060 w 7467600"/>
              <a:gd name="connsiteY24" fmla="*/ 6671470 h 6858000"/>
              <a:gd name="connsiteX25" fmla="*/ 991680 w 7467600"/>
              <a:gd name="connsiteY25" fmla="*/ 6298413 h 6858000"/>
              <a:gd name="connsiteX26" fmla="*/ 103333 w 7467600"/>
              <a:gd name="connsiteY26" fmla="*/ 5699602 h 6858000"/>
              <a:gd name="connsiteX27" fmla="*/ 233938 w 7467600"/>
              <a:gd name="connsiteY27" fmla="*/ 5809416 h 6858000"/>
              <a:gd name="connsiteX28" fmla="*/ 883580 w 7467600"/>
              <a:gd name="connsiteY28" fmla="*/ 6180710 h 6858000"/>
              <a:gd name="connsiteX29" fmla="*/ 487337 w 7467600"/>
              <a:gd name="connsiteY29" fmla="*/ 5950182 h 6858000"/>
              <a:gd name="connsiteX30" fmla="*/ 354051 w 7467600"/>
              <a:gd name="connsiteY30" fmla="*/ 5854912 h 6858000"/>
              <a:gd name="connsiteX31" fmla="*/ 195436 w 7467600"/>
              <a:gd name="connsiteY31" fmla="*/ 5755068 h 6858000"/>
              <a:gd name="connsiteX32" fmla="*/ 103333 w 7467600"/>
              <a:gd name="connsiteY32" fmla="*/ 5699602 h 6858000"/>
              <a:gd name="connsiteX33" fmla="*/ 5539432 w 7467600"/>
              <a:gd name="connsiteY33" fmla="*/ 5642928 h 6858000"/>
              <a:gd name="connsiteX34" fmla="*/ 5555462 w 7467600"/>
              <a:gd name="connsiteY34" fmla="*/ 5694454 h 6858000"/>
              <a:gd name="connsiteX35" fmla="*/ 5828270 w 7467600"/>
              <a:gd name="connsiteY35" fmla="*/ 6320663 h 6858000"/>
              <a:gd name="connsiteX36" fmla="*/ 5947416 w 7467600"/>
              <a:gd name="connsiteY36" fmla="*/ 6574846 h 6858000"/>
              <a:gd name="connsiteX37" fmla="*/ 5539432 w 7467600"/>
              <a:gd name="connsiteY37" fmla="*/ 5642928 h 6858000"/>
              <a:gd name="connsiteX38" fmla="*/ 51253 w 7467600"/>
              <a:gd name="connsiteY38" fmla="*/ 5631825 h 6858000"/>
              <a:gd name="connsiteX39" fmla="*/ 211622 w 7467600"/>
              <a:gd name="connsiteY39" fmla="*/ 5728803 h 6858000"/>
              <a:gd name="connsiteX40" fmla="*/ 371652 w 7467600"/>
              <a:gd name="connsiteY40" fmla="*/ 5829062 h 6858000"/>
              <a:gd name="connsiteX41" fmla="*/ 505903 w 7467600"/>
              <a:gd name="connsiteY41" fmla="*/ 5925221 h 6858000"/>
              <a:gd name="connsiteX42" fmla="*/ 899240 w 7467600"/>
              <a:gd name="connsiteY42" fmla="*/ 6153068 h 6858000"/>
              <a:gd name="connsiteX43" fmla="*/ 988114 w 7467600"/>
              <a:gd name="connsiteY43" fmla="*/ 6174204 h 6858000"/>
              <a:gd name="connsiteX44" fmla="*/ 845971 w 7467600"/>
              <a:gd name="connsiteY44" fmla="*/ 6067177 h 6858000"/>
              <a:gd name="connsiteX45" fmla="*/ 448057 w 7467600"/>
              <a:gd name="connsiteY45" fmla="*/ 5841376 h 6858000"/>
              <a:gd name="connsiteX46" fmla="*/ 51253 w 7467600"/>
              <a:gd name="connsiteY46" fmla="*/ 5631825 h 6858000"/>
              <a:gd name="connsiteX47" fmla="*/ 2606687 w 7467600"/>
              <a:gd name="connsiteY47" fmla="*/ 5630718 h 6858000"/>
              <a:gd name="connsiteX48" fmla="*/ 2645658 w 7467600"/>
              <a:gd name="connsiteY48" fmla="*/ 6640259 h 6858000"/>
              <a:gd name="connsiteX49" fmla="*/ 2606687 w 7467600"/>
              <a:gd name="connsiteY49" fmla="*/ 5630718 h 6858000"/>
              <a:gd name="connsiteX50" fmla="*/ 3642057 w 7467600"/>
              <a:gd name="connsiteY50" fmla="*/ 5573487 h 6858000"/>
              <a:gd name="connsiteX51" fmla="*/ 3632981 w 7467600"/>
              <a:gd name="connsiteY51" fmla="*/ 5579437 h 6858000"/>
              <a:gd name="connsiteX52" fmla="*/ 3382436 w 7467600"/>
              <a:gd name="connsiteY52" fmla="*/ 5952726 h 6858000"/>
              <a:gd name="connsiteX53" fmla="*/ 3191929 w 7467600"/>
              <a:gd name="connsiteY53" fmla="*/ 6662669 h 6858000"/>
              <a:gd name="connsiteX54" fmla="*/ 3369898 w 7467600"/>
              <a:gd name="connsiteY54" fmla="*/ 6081771 h 6858000"/>
              <a:gd name="connsiteX55" fmla="*/ 3642057 w 7467600"/>
              <a:gd name="connsiteY55" fmla="*/ 5573487 h 6858000"/>
              <a:gd name="connsiteX56" fmla="*/ 2650666 w 7467600"/>
              <a:gd name="connsiteY56" fmla="*/ 5530686 h 6858000"/>
              <a:gd name="connsiteX57" fmla="*/ 2650249 w 7467600"/>
              <a:gd name="connsiteY57" fmla="*/ 5532101 h 6858000"/>
              <a:gd name="connsiteX58" fmla="*/ 2663808 w 7467600"/>
              <a:gd name="connsiteY58" fmla="*/ 6535215 h 6858000"/>
              <a:gd name="connsiteX59" fmla="*/ 2665418 w 7467600"/>
              <a:gd name="connsiteY59" fmla="*/ 6132756 h 6858000"/>
              <a:gd name="connsiteX60" fmla="*/ 2650666 w 7467600"/>
              <a:gd name="connsiteY60" fmla="*/ 5530686 h 6858000"/>
              <a:gd name="connsiteX61" fmla="*/ 2680277 w 7467600"/>
              <a:gd name="connsiteY61" fmla="*/ 5479204 h 6858000"/>
              <a:gd name="connsiteX62" fmla="*/ 2678972 w 7467600"/>
              <a:gd name="connsiteY62" fmla="*/ 5481582 h 6858000"/>
              <a:gd name="connsiteX63" fmla="*/ 2696666 w 7467600"/>
              <a:gd name="connsiteY63" fmla="*/ 6133836 h 6858000"/>
              <a:gd name="connsiteX64" fmla="*/ 2695769 w 7467600"/>
              <a:gd name="connsiteY64" fmla="*/ 6390955 h 6858000"/>
              <a:gd name="connsiteX65" fmla="*/ 2739893 w 7467600"/>
              <a:gd name="connsiteY65" fmla="*/ 6108357 h 6858000"/>
              <a:gd name="connsiteX66" fmla="*/ 2680277 w 7467600"/>
              <a:gd name="connsiteY66" fmla="*/ 5479204 h 6858000"/>
              <a:gd name="connsiteX67" fmla="*/ 1132195 w 7467600"/>
              <a:gd name="connsiteY67" fmla="*/ 5467980 h 6858000"/>
              <a:gd name="connsiteX68" fmla="*/ 1679056 w 7467600"/>
              <a:gd name="connsiteY68" fmla="*/ 5516907 h 6858000"/>
              <a:gd name="connsiteX69" fmla="*/ 2128648 w 7467600"/>
              <a:gd name="connsiteY69" fmla="*/ 5474249 h 6858000"/>
              <a:gd name="connsiteX70" fmla="*/ 1825619 w 7467600"/>
              <a:gd name="connsiteY70" fmla="*/ 5478447 h 6858000"/>
              <a:gd name="connsiteX71" fmla="*/ 1737798 w 7467600"/>
              <a:gd name="connsiteY71" fmla="*/ 5483353 h 6858000"/>
              <a:gd name="connsiteX72" fmla="*/ 1132195 w 7467600"/>
              <a:gd name="connsiteY72" fmla="*/ 5467980 h 6858000"/>
              <a:gd name="connsiteX73" fmla="*/ 1456157 w 7467600"/>
              <a:gd name="connsiteY73" fmla="*/ 5371404 h 6858000"/>
              <a:gd name="connsiteX74" fmla="*/ 1244432 w 7467600"/>
              <a:gd name="connsiteY74" fmla="*/ 5385601 h 6858000"/>
              <a:gd name="connsiteX75" fmla="*/ 973990 w 7467600"/>
              <a:gd name="connsiteY75" fmla="*/ 5424940 h 6858000"/>
              <a:gd name="connsiteX76" fmla="*/ 1103809 w 7467600"/>
              <a:gd name="connsiteY76" fmla="*/ 5433720 h 6858000"/>
              <a:gd name="connsiteX77" fmla="*/ 1123454 w 7467600"/>
              <a:gd name="connsiteY77" fmla="*/ 5435727 h 6858000"/>
              <a:gd name="connsiteX78" fmla="*/ 1737017 w 7467600"/>
              <a:gd name="connsiteY78" fmla="*/ 5452183 h 6858000"/>
              <a:gd name="connsiteX79" fmla="*/ 1824397 w 7467600"/>
              <a:gd name="connsiteY79" fmla="*/ 5447757 h 6858000"/>
              <a:gd name="connsiteX80" fmla="*/ 2070059 w 7467600"/>
              <a:gd name="connsiteY80" fmla="*/ 5441660 h 6858000"/>
              <a:gd name="connsiteX81" fmla="*/ 1456157 w 7467600"/>
              <a:gd name="connsiteY81" fmla="*/ 5371404 h 6858000"/>
              <a:gd name="connsiteX82" fmla="*/ 4988186 w 7467600"/>
              <a:gd name="connsiteY82" fmla="*/ 5216467 h 6858000"/>
              <a:gd name="connsiteX83" fmla="*/ 4777334 w 7467600"/>
              <a:gd name="connsiteY83" fmla="*/ 5406072 h 6858000"/>
              <a:gd name="connsiteX84" fmla="*/ 4718341 w 7467600"/>
              <a:gd name="connsiteY84" fmla="*/ 5468043 h 6858000"/>
              <a:gd name="connsiteX85" fmla="*/ 4604655 w 7467600"/>
              <a:gd name="connsiteY85" fmla="*/ 5583434 h 6858000"/>
              <a:gd name="connsiteX86" fmla="*/ 4565074 w 7467600"/>
              <a:gd name="connsiteY86" fmla="*/ 5618550 h 6858000"/>
              <a:gd name="connsiteX87" fmla="*/ 4988186 w 7467600"/>
              <a:gd name="connsiteY87" fmla="*/ 5216467 h 6858000"/>
              <a:gd name="connsiteX88" fmla="*/ 4978032 w 7467600"/>
              <a:gd name="connsiteY88" fmla="*/ 5183809 h 6858000"/>
              <a:gd name="connsiteX89" fmla="*/ 4463413 w 7467600"/>
              <a:gd name="connsiteY89" fmla="*/ 5615162 h 6858000"/>
              <a:gd name="connsiteX90" fmla="*/ 4358134 w 7467600"/>
              <a:gd name="connsiteY90" fmla="*/ 5742791 h 6858000"/>
              <a:gd name="connsiteX91" fmla="*/ 4376219 w 7467600"/>
              <a:gd name="connsiteY91" fmla="*/ 5729027 h 6858000"/>
              <a:gd name="connsiteX92" fmla="*/ 4582340 w 7467600"/>
              <a:gd name="connsiteY92" fmla="*/ 5561037 h 6858000"/>
              <a:gd name="connsiteX93" fmla="*/ 4694684 w 7467600"/>
              <a:gd name="connsiteY93" fmla="*/ 5447098 h 6858000"/>
              <a:gd name="connsiteX94" fmla="*/ 4754123 w 7467600"/>
              <a:gd name="connsiteY94" fmla="*/ 5384643 h 6858000"/>
              <a:gd name="connsiteX95" fmla="*/ 4978032 w 7467600"/>
              <a:gd name="connsiteY95" fmla="*/ 5183809 h 6858000"/>
              <a:gd name="connsiteX96" fmla="*/ 1903353 w 7467600"/>
              <a:gd name="connsiteY96" fmla="*/ 5044827 h 6858000"/>
              <a:gd name="connsiteX97" fmla="*/ 1936931 w 7467600"/>
              <a:gd name="connsiteY97" fmla="*/ 5093954 h 6858000"/>
              <a:gd name="connsiteX98" fmla="*/ 2195868 w 7467600"/>
              <a:gd name="connsiteY98" fmla="*/ 5396574 h 6858000"/>
              <a:gd name="connsiteX99" fmla="*/ 2088852 w 7467600"/>
              <a:gd name="connsiteY99" fmla="*/ 5166123 h 6858000"/>
              <a:gd name="connsiteX100" fmla="*/ 1958241 w 7467600"/>
              <a:gd name="connsiteY100" fmla="*/ 5067955 h 6858000"/>
              <a:gd name="connsiteX101" fmla="*/ 1903353 w 7467600"/>
              <a:gd name="connsiteY101" fmla="*/ 5044827 h 6858000"/>
              <a:gd name="connsiteX102" fmla="*/ 1979378 w 7467600"/>
              <a:gd name="connsiteY102" fmla="*/ 4769504 h 6858000"/>
              <a:gd name="connsiteX103" fmla="*/ 2882120 w 7467600"/>
              <a:gd name="connsiteY103" fmla="*/ 5064547 h 6858000"/>
              <a:gd name="connsiteX104" fmla="*/ 2793103 w 7467600"/>
              <a:gd name="connsiteY104" fmla="*/ 5039699 h 6858000"/>
              <a:gd name="connsiteX105" fmla="*/ 2770041 w 7467600"/>
              <a:gd name="connsiteY105" fmla="*/ 5033634 h 6858000"/>
              <a:gd name="connsiteX106" fmla="*/ 1979378 w 7467600"/>
              <a:gd name="connsiteY106" fmla="*/ 4769504 h 6858000"/>
              <a:gd name="connsiteX107" fmla="*/ 1927410 w 7467600"/>
              <a:gd name="connsiteY107" fmla="*/ 4716164 h 6858000"/>
              <a:gd name="connsiteX108" fmla="*/ 1959587 w 7467600"/>
              <a:gd name="connsiteY108" fmla="*/ 4728849 h 6858000"/>
              <a:gd name="connsiteX109" fmla="*/ 2777707 w 7467600"/>
              <a:gd name="connsiteY109" fmla="*/ 5003991 h 6858000"/>
              <a:gd name="connsiteX110" fmla="*/ 2800768 w 7467600"/>
              <a:gd name="connsiteY110" fmla="*/ 5010056 h 6858000"/>
              <a:gd name="connsiteX111" fmla="*/ 2879408 w 7467600"/>
              <a:gd name="connsiteY111" fmla="*/ 5031590 h 6858000"/>
              <a:gd name="connsiteX112" fmla="*/ 2862295 w 7467600"/>
              <a:gd name="connsiteY112" fmla="*/ 5022958 h 6858000"/>
              <a:gd name="connsiteX113" fmla="*/ 2813343 w 7467600"/>
              <a:gd name="connsiteY113" fmla="*/ 4998369 h 6858000"/>
              <a:gd name="connsiteX114" fmla="*/ 2646245 w 7467600"/>
              <a:gd name="connsiteY114" fmla="*/ 4930999 h 6858000"/>
              <a:gd name="connsiteX115" fmla="*/ 1999243 w 7467600"/>
              <a:gd name="connsiteY115" fmla="*/ 4730524 h 6858000"/>
              <a:gd name="connsiteX116" fmla="*/ 1979527 w 7467600"/>
              <a:gd name="connsiteY116" fmla="*/ 4726651 h 6858000"/>
              <a:gd name="connsiteX117" fmla="*/ 1927410 w 7467600"/>
              <a:gd name="connsiteY117" fmla="*/ 4716164 h 6858000"/>
              <a:gd name="connsiteX118" fmla="*/ 1997014 w 7467600"/>
              <a:gd name="connsiteY118" fmla="*/ 4698007 h 6858000"/>
              <a:gd name="connsiteX119" fmla="*/ 2005458 w 7467600"/>
              <a:gd name="connsiteY119" fmla="*/ 4699540 h 6858000"/>
              <a:gd name="connsiteX120" fmla="*/ 2657186 w 7467600"/>
              <a:gd name="connsiteY120" fmla="*/ 4901687 h 6858000"/>
              <a:gd name="connsiteX121" fmla="*/ 2826662 w 7467600"/>
              <a:gd name="connsiteY121" fmla="*/ 4970362 h 6858000"/>
              <a:gd name="connsiteX122" fmla="*/ 2876100 w 7467600"/>
              <a:gd name="connsiteY122" fmla="*/ 4995397 h 6858000"/>
              <a:gd name="connsiteX123" fmla="*/ 3042600 w 7467600"/>
              <a:gd name="connsiteY123" fmla="*/ 5059532 h 6858000"/>
              <a:gd name="connsiteX124" fmla="*/ 1997014 w 7467600"/>
              <a:gd name="connsiteY124" fmla="*/ 4698007 h 6858000"/>
              <a:gd name="connsiteX125" fmla="*/ 2305292 w 7467600"/>
              <a:gd name="connsiteY125" fmla="*/ 4219492 h 6858000"/>
              <a:gd name="connsiteX126" fmla="*/ 3360922 w 7467600"/>
              <a:gd name="connsiteY126" fmla="*/ 4529373 h 6858000"/>
              <a:gd name="connsiteX127" fmla="*/ 3492420 w 7467600"/>
              <a:gd name="connsiteY127" fmla="*/ 4510145 h 6858000"/>
              <a:gd name="connsiteX128" fmla="*/ 3364086 w 7467600"/>
              <a:gd name="connsiteY128" fmla="*/ 4480340 h 6858000"/>
              <a:gd name="connsiteX129" fmla="*/ 3225818 w 7467600"/>
              <a:gd name="connsiteY129" fmla="*/ 4411822 h 6858000"/>
              <a:gd name="connsiteX130" fmla="*/ 3129696 w 7467600"/>
              <a:gd name="connsiteY130" fmla="*/ 4360704 h 6858000"/>
              <a:gd name="connsiteX131" fmla="*/ 2814545 w 7467600"/>
              <a:gd name="connsiteY131" fmla="*/ 4282955 h 6858000"/>
              <a:gd name="connsiteX132" fmla="*/ 2305292 w 7467600"/>
              <a:gd name="connsiteY132" fmla="*/ 4219492 h 6858000"/>
              <a:gd name="connsiteX133" fmla="*/ 2626982 w 7467600"/>
              <a:gd name="connsiteY133" fmla="*/ 4206450 h 6858000"/>
              <a:gd name="connsiteX134" fmla="*/ 2490617 w 7467600"/>
              <a:gd name="connsiteY134" fmla="*/ 4206951 h 6858000"/>
              <a:gd name="connsiteX135" fmla="*/ 2819869 w 7467600"/>
              <a:gd name="connsiteY135" fmla="*/ 4252936 h 6858000"/>
              <a:gd name="connsiteX136" fmla="*/ 3143018 w 7467600"/>
              <a:gd name="connsiteY136" fmla="*/ 4332698 h 6858000"/>
              <a:gd name="connsiteX137" fmla="*/ 3241520 w 7467600"/>
              <a:gd name="connsiteY137" fmla="*/ 4385112 h 6858000"/>
              <a:gd name="connsiteX138" fmla="*/ 3374575 w 7467600"/>
              <a:gd name="connsiteY138" fmla="*/ 4451517 h 6858000"/>
              <a:gd name="connsiteX139" fmla="*/ 3505221 w 7467600"/>
              <a:gd name="connsiteY139" fmla="*/ 4480757 h 6858000"/>
              <a:gd name="connsiteX140" fmla="*/ 2626982 w 7467600"/>
              <a:gd name="connsiteY140" fmla="*/ 4206450 h 6858000"/>
              <a:gd name="connsiteX141" fmla="*/ 1310106 w 7467600"/>
              <a:gd name="connsiteY141" fmla="*/ 3943217 h 6858000"/>
              <a:gd name="connsiteX142" fmla="*/ 854994 w 7467600"/>
              <a:gd name="connsiteY142" fmla="*/ 4399136 h 6858000"/>
              <a:gd name="connsiteX143" fmla="*/ 742462 w 7467600"/>
              <a:gd name="connsiteY143" fmla="*/ 4594648 h 6858000"/>
              <a:gd name="connsiteX144" fmla="*/ 820602 w 7467600"/>
              <a:gd name="connsiteY144" fmla="*/ 4485915 h 6858000"/>
              <a:gd name="connsiteX145" fmla="*/ 878295 w 7467600"/>
              <a:gd name="connsiteY145" fmla="*/ 4403594 h 6858000"/>
              <a:gd name="connsiteX146" fmla="*/ 1240607 w 7467600"/>
              <a:gd name="connsiteY146" fmla="*/ 4010401 h 6858000"/>
              <a:gd name="connsiteX147" fmla="*/ 1310106 w 7467600"/>
              <a:gd name="connsiteY147" fmla="*/ 3943217 h 6858000"/>
              <a:gd name="connsiteX148" fmla="*/ 1423113 w 7467600"/>
              <a:gd name="connsiteY148" fmla="*/ 3874565 h 6858000"/>
              <a:gd name="connsiteX149" fmla="*/ 1260565 w 7467600"/>
              <a:gd name="connsiteY149" fmla="*/ 4031982 h 6858000"/>
              <a:gd name="connsiteX150" fmla="*/ 901900 w 7467600"/>
              <a:gd name="connsiteY150" fmla="*/ 4421236 h 6858000"/>
              <a:gd name="connsiteX151" fmla="*/ 845044 w 7467600"/>
              <a:gd name="connsiteY151" fmla="*/ 4502436 h 6858000"/>
              <a:gd name="connsiteX152" fmla="*/ 685926 w 7467600"/>
              <a:gd name="connsiteY152" fmla="*/ 4703069 h 6858000"/>
              <a:gd name="connsiteX153" fmla="*/ 684248 w 7467600"/>
              <a:gd name="connsiteY153" fmla="*/ 4706721 h 6858000"/>
              <a:gd name="connsiteX154" fmla="*/ 1423113 w 7467600"/>
              <a:gd name="connsiteY154" fmla="*/ 3874565 h 6858000"/>
              <a:gd name="connsiteX155" fmla="*/ 3316479 w 7467600"/>
              <a:gd name="connsiteY155" fmla="*/ 3872136 h 6858000"/>
              <a:gd name="connsiteX156" fmla="*/ 3546806 w 7467600"/>
              <a:gd name="connsiteY156" fmla="*/ 4356139 h 6858000"/>
              <a:gd name="connsiteX157" fmla="*/ 3364433 w 7467600"/>
              <a:gd name="connsiteY157" fmla="*/ 3953121 h 6858000"/>
              <a:gd name="connsiteX158" fmla="*/ 3316479 w 7467600"/>
              <a:gd name="connsiteY158" fmla="*/ 3872136 h 6858000"/>
              <a:gd name="connsiteX159" fmla="*/ 3291335 w 7467600"/>
              <a:gd name="connsiteY159" fmla="*/ 3767420 h 6858000"/>
              <a:gd name="connsiteX160" fmla="*/ 3390805 w 7467600"/>
              <a:gd name="connsiteY160" fmla="*/ 3937163 h 6858000"/>
              <a:gd name="connsiteX161" fmla="*/ 3579062 w 7467600"/>
              <a:gd name="connsiteY161" fmla="*/ 4359040 h 6858000"/>
              <a:gd name="connsiteX162" fmla="*/ 3467355 w 7467600"/>
              <a:gd name="connsiteY162" fmla="*/ 3988130 h 6858000"/>
              <a:gd name="connsiteX163" fmla="*/ 3310753 w 7467600"/>
              <a:gd name="connsiteY163" fmla="*/ 3787140 h 6858000"/>
              <a:gd name="connsiteX164" fmla="*/ 3291335 w 7467600"/>
              <a:gd name="connsiteY164" fmla="*/ 3767420 h 6858000"/>
              <a:gd name="connsiteX165" fmla="*/ 1635889 w 7467600"/>
              <a:gd name="connsiteY165" fmla="*/ 3709494 h 6858000"/>
              <a:gd name="connsiteX166" fmla="*/ 1634800 w 7467600"/>
              <a:gd name="connsiteY166" fmla="*/ 3731111 h 6858000"/>
              <a:gd name="connsiteX167" fmla="*/ 1635889 w 7467600"/>
              <a:gd name="connsiteY167" fmla="*/ 3709494 h 6858000"/>
              <a:gd name="connsiteX168" fmla="*/ 1510397 w 7467600"/>
              <a:gd name="connsiteY168" fmla="*/ 3684705 h 6858000"/>
              <a:gd name="connsiteX169" fmla="*/ 1146550 w 7467600"/>
              <a:gd name="connsiteY169" fmla="*/ 3802012 h 6858000"/>
              <a:gd name="connsiteX170" fmla="*/ 698834 w 7467600"/>
              <a:gd name="connsiteY170" fmla="*/ 3952272 h 6858000"/>
              <a:gd name="connsiteX171" fmla="*/ 34256 w 7467600"/>
              <a:gd name="connsiteY171" fmla="*/ 4347603 h 6858000"/>
              <a:gd name="connsiteX172" fmla="*/ 527241 w 7467600"/>
              <a:gd name="connsiteY172" fmla="*/ 4065078 h 6858000"/>
              <a:gd name="connsiteX173" fmla="*/ 1510397 w 7467600"/>
              <a:gd name="connsiteY173" fmla="*/ 3684705 h 6858000"/>
              <a:gd name="connsiteX174" fmla="*/ 1313114 w 7467600"/>
              <a:gd name="connsiteY174" fmla="*/ 3655216 h 6858000"/>
              <a:gd name="connsiteX175" fmla="*/ 1109304 w 7467600"/>
              <a:gd name="connsiteY175" fmla="*/ 3669030 h 6858000"/>
              <a:gd name="connsiteX176" fmla="*/ 8129 w 7467600"/>
              <a:gd name="connsiteY176" fmla="*/ 4330519 h 6858000"/>
              <a:gd name="connsiteX177" fmla="*/ 687572 w 7467600"/>
              <a:gd name="connsiteY177" fmla="*/ 3925629 h 6858000"/>
              <a:gd name="connsiteX178" fmla="*/ 1138365 w 7467600"/>
              <a:gd name="connsiteY178" fmla="*/ 3774515 h 6858000"/>
              <a:gd name="connsiteX179" fmla="*/ 1505579 w 7467600"/>
              <a:gd name="connsiteY179" fmla="*/ 3655526 h 6858000"/>
              <a:gd name="connsiteX180" fmla="*/ 1313114 w 7467600"/>
              <a:gd name="connsiteY180" fmla="*/ 3655216 h 6858000"/>
              <a:gd name="connsiteX181" fmla="*/ 3655073 w 7467600"/>
              <a:gd name="connsiteY181" fmla="*/ 3650884 h 6858000"/>
              <a:gd name="connsiteX182" fmla="*/ 3989938 w 7467600"/>
              <a:gd name="connsiteY182" fmla="*/ 3991685 h 6858000"/>
              <a:gd name="connsiteX183" fmla="*/ 4393907 w 7467600"/>
              <a:gd name="connsiteY183" fmla="*/ 4261258 h 6858000"/>
              <a:gd name="connsiteX184" fmla="*/ 4648051 w 7467600"/>
              <a:gd name="connsiteY184" fmla="*/ 4374051 h 6858000"/>
              <a:gd name="connsiteX185" fmla="*/ 4383389 w 7467600"/>
              <a:gd name="connsiteY185" fmla="*/ 4184369 h 6858000"/>
              <a:gd name="connsiteX186" fmla="*/ 4165508 w 7467600"/>
              <a:gd name="connsiteY186" fmla="*/ 4035196 h 6858000"/>
              <a:gd name="connsiteX187" fmla="*/ 4068162 w 7467600"/>
              <a:gd name="connsiteY187" fmla="*/ 3953394 h 6858000"/>
              <a:gd name="connsiteX188" fmla="*/ 3981416 w 7467600"/>
              <a:gd name="connsiteY188" fmla="*/ 3880482 h 6858000"/>
              <a:gd name="connsiteX189" fmla="*/ 3800147 w 7467600"/>
              <a:gd name="connsiteY189" fmla="*/ 3749872 h 6858000"/>
              <a:gd name="connsiteX190" fmla="*/ 3655073 w 7467600"/>
              <a:gd name="connsiteY190" fmla="*/ 3650884 h 6858000"/>
              <a:gd name="connsiteX191" fmla="*/ 3670252 w 7467600"/>
              <a:gd name="connsiteY191" fmla="*/ 3622798 h 6858000"/>
              <a:gd name="connsiteX192" fmla="*/ 3817258 w 7467600"/>
              <a:gd name="connsiteY192" fmla="*/ 3723577 h 6858000"/>
              <a:gd name="connsiteX193" fmla="*/ 4000461 w 7467600"/>
              <a:gd name="connsiteY193" fmla="*/ 3855966 h 6858000"/>
              <a:gd name="connsiteX194" fmla="*/ 4088180 w 7467600"/>
              <a:gd name="connsiteY194" fmla="*/ 3929774 h 6858000"/>
              <a:gd name="connsiteX195" fmla="*/ 4184555 w 7467600"/>
              <a:gd name="connsiteY195" fmla="*/ 4010683 h 6858000"/>
              <a:gd name="connsiteX196" fmla="*/ 4399563 w 7467600"/>
              <a:gd name="connsiteY196" fmla="*/ 4158106 h 6858000"/>
              <a:gd name="connsiteX197" fmla="*/ 4684469 w 7467600"/>
              <a:gd name="connsiteY197" fmla="*/ 4364680 h 6858000"/>
              <a:gd name="connsiteX198" fmla="*/ 4690271 w 7467600"/>
              <a:gd name="connsiteY198" fmla="*/ 4370034 h 6858000"/>
              <a:gd name="connsiteX199" fmla="*/ 4136093 w 7467600"/>
              <a:gd name="connsiteY199" fmla="*/ 3858466 h 6858000"/>
              <a:gd name="connsiteX200" fmla="*/ 3670252 w 7467600"/>
              <a:gd name="connsiteY200" fmla="*/ 3622798 h 6858000"/>
              <a:gd name="connsiteX201" fmla="*/ 4440129 w 7467600"/>
              <a:gd name="connsiteY201" fmla="*/ 3448571 h 6858000"/>
              <a:gd name="connsiteX202" fmla="*/ 4856525 w 7467600"/>
              <a:gd name="connsiteY202" fmla="*/ 3915351 h 6858000"/>
              <a:gd name="connsiteX203" fmla="*/ 5059055 w 7467600"/>
              <a:gd name="connsiteY203" fmla="*/ 4108918 h 6858000"/>
              <a:gd name="connsiteX204" fmla="*/ 5290070 w 7467600"/>
              <a:gd name="connsiteY204" fmla="*/ 4263619 h 6858000"/>
              <a:gd name="connsiteX205" fmla="*/ 4834991 w 7467600"/>
              <a:gd name="connsiteY205" fmla="*/ 3830985 h 6858000"/>
              <a:gd name="connsiteX206" fmla="*/ 4440129 w 7467600"/>
              <a:gd name="connsiteY206" fmla="*/ 3448571 h 6858000"/>
              <a:gd name="connsiteX207" fmla="*/ 4441737 w 7467600"/>
              <a:gd name="connsiteY207" fmla="*/ 3399734 h 6858000"/>
              <a:gd name="connsiteX208" fmla="*/ 4431236 w 7467600"/>
              <a:gd name="connsiteY208" fmla="*/ 3400954 h 6858000"/>
              <a:gd name="connsiteX209" fmla="*/ 4557150 w 7467600"/>
              <a:gd name="connsiteY209" fmla="*/ 3510023 h 6858000"/>
              <a:gd name="connsiteX210" fmla="*/ 4856936 w 7467600"/>
              <a:gd name="connsiteY210" fmla="*/ 3809146 h 6858000"/>
              <a:gd name="connsiteX211" fmla="*/ 5111996 w 7467600"/>
              <a:gd name="connsiteY211" fmla="*/ 4065759 h 6858000"/>
              <a:gd name="connsiteX212" fmla="*/ 5388878 w 7467600"/>
              <a:gd name="connsiteY212" fmla="*/ 4300185 h 6858000"/>
              <a:gd name="connsiteX213" fmla="*/ 5425556 w 7467600"/>
              <a:gd name="connsiteY213" fmla="*/ 4308967 h 6858000"/>
              <a:gd name="connsiteX214" fmla="*/ 4943646 w 7467600"/>
              <a:gd name="connsiteY214" fmla="*/ 3822916 h 6858000"/>
              <a:gd name="connsiteX215" fmla="*/ 4594837 w 7467600"/>
              <a:gd name="connsiteY215" fmla="*/ 3532274 h 6858000"/>
              <a:gd name="connsiteX216" fmla="*/ 4441737 w 7467600"/>
              <a:gd name="connsiteY216" fmla="*/ 3399734 h 6858000"/>
              <a:gd name="connsiteX217" fmla="*/ 5425834 w 7467600"/>
              <a:gd name="connsiteY217" fmla="*/ 3162785 h 6858000"/>
              <a:gd name="connsiteX218" fmla="*/ 5401644 w 7467600"/>
              <a:gd name="connsiteY218" fmla="*/ 3617847 h 6858000"/>
              <a:gd name="connsiteX219" fmla="*/ 5467256 w 7467600"/>
              <a:gd name="connsiteY219" fmla="*/ 4175494 h 6858000"/>
              <a:gd name="connsiteX220" fmla="*/ 5448069 w 7467600"/>
              <a:gd name="connsiteY220" fmla="*/ 3567554 h 6858000"/>
              <a:gd name="connsiteX221" fmla="*/ 5425834 w 7467600"/>
              <a:gd name="connsiteY221" fmla="*/ 3162785 h 6858000"/>
              <a:gd name="connsiteX222" fmla="*/ 1318687 w 7467600"/>
              <a:gd name="connsiteY222" fmla="*/ 3113840 h 6858000"/>
              <a:gd name="connsiteX223" fmla="*/ 1066793 w 7467600"/>
              <a:gd name="connsiteY223" fmla="*/ 3212171 h 6858000"/>
              <a:gd name="connsiteX224" fmla="*/ 993319 w 7467600"/>
              <a:gd name="connsiteY224" fmla="*/ 3247648 h 6858000"/>
              <a:gd name="connsiteX225" fmla="*/ 853081 w 7467600"/>
              <a:gd name="connsiteY225" fmla="*/ 3312410 h 6858000"/>
              <a:gd name="connsiteX226" fmla="*/ 805957 w 7467600"/>
              <a:gd name="connsiteY226" fmla="*/ 3330443 h 6858000"/>
              <a:gd name="connsiteX227" fmla="*/ 1318687 w 7467600"/>
              <a:gd name="connsiteY227" fmla="*/ 3113840 h 6858000"/>
              <a:gd name="connsiteX228" fmla="*/ 5453702 w 7467600"/>
              <a:gd name="connsiteY228" fmla="*/ 3090882 h 6858000"/>
              <a:gd name="connsiteX229" fmla="*/ 5480135 w 7467600"/>
              <a:gd name="connsiteY229" fmla="*/ 3565802 h 6858000"/>
              <a:gd name="connsiteX230" fmla="*/ 5499023 w 7467600"/>
              <a:gd name="connsiteY230" fmla="*/ 4166310 h 6858000"/>
              <a:gd name="connsiteX231" fmla="*/ 5547022 w 7467600"/>
              <a:gd name="connsiteY231" fmla="*/ 3607838 h 6858000"/>
              <a:gd name="connsiteX232" fmla="*/ 5515964 w 7467600"/>
              <a:gd name="connsiteY232" fmla="*/ 3378541 h 6858000"/>
              <a:gd name="connsiteX233" fmla="*/ 5453702 w 7467600"/>
              <a:gd name="connsiteY233" fmla="*/ 3090882 h 6858000"/>
              <a:gd name="connsiteX234" fmla="*/ 1238695 w 7467600"/>
              <a:gd name="connsiteY234" fmla="*/ 3076820 h 6858000"/>
              <a:gd name="connsiteX235" fmla="*/ 716371 w 7467600"/>
              <a:gd name="connsiteY235" fmla="*/ 3293249 h 6858000"/>
              <a:gd name="connsiteX236" fmla="*/ 579522 w 7467600"/>
              <a:gd name="connsiteY236" fmla="*/ 3371759 h 6858000"/>
              <a:gd name="connsiteX237" fmla="*/ 600288 w 7467600"/>
              <a:gd name="connsiteY237" fmla="*/ 3365555 h 6858000"/>
              <a:gd name="connsiteX238" fmla="*/ 840692 w 7467600"/>
              <a:gd name="connsiteY238" fmla="*/ 3284921 h 6858000"/>
              <a:gd name="connsiteX239" fmla="*/ 979248 w 7467600"/>
              <a:gd name="connsiteY239" fmla="*/ 3221003 h 6858000"/>
              <a:gd name="connsiteX240" fmla="*/ 1053282 w 7467600"/>
              <a:gd name="connsiteY240" fmla="*/ 3185247 h 6858000"/>
              <a:gd name="connsiteX241" fmla="*/ 1320603 w 7467600"/>
              <a:gd name="connsiteY241" fmla="*/ 3081281 h 6858000"/>
              <a:gd name="connsiteX242" fmla="*/ 1238695 w 7467600"/>
              <a:gd name="connsiteY242" fmla="*/ 3076820 h 6858000"/>
              <a:gd name="connsiteX243" fmla="*/ 5425627 w 7467600"/>
              <a:gd name="connsiteY243" fmla="*/ 2954192 h 6858000"/>
              <a:gd name="connsiteX244" fmla="*/ 5470770 w 7467600"/>
              <a:gd name="connsiteY244" fmla="*/ 3005435 h 6858000"/>
              <a:gd name="connsiteX245" fmla="*/ 5519779 w 7467600"/>
              <a:gd name="connsiteY245" fmla="*/ 4359223 h 6858000"/>
              <a:gd name="connsiteX246" fmla="*/ 5520293 w 7467600"/>
              <a:gd name="connsiteY246" fmla="*/ 4360602 h 6858000"/>
              <a:gd name="connsiteX247" fmla="*/ 5767221 w 7467600"/>
              <a:gd name="connsiteY247" fmla="*/ 4665564 h 6858000"/>
              <a:gd name="connsiteX248" fmla="*/ 6937169 w 7467600"/>
              <a:gd name="connsiteY248" fmla="*/ 4815941 h 6858000"/>
              <a:gd name="connsiteX249" fmla="*/ 6953922 w 7467600"/>
              <a:gd name="connsiteY249" fmla="*/ 4890068 h 6858000"/>
              <a:gd name="connsiteX250" fmla="*/ 6071359 w 7467600"/>
              <a:gd name="connsiteY250" fmla="*/ 4770770 h 6858000"/>
              <a:gd name="connsiteX251" fmla="*/ 6038839 w 7467600"/>
              <a:gd name="connsiteY251" fmla="*/ 4764474 h 6858000"/>
              <a:gd name="connsiteX252" fmla="*/ 6038706 w 7467600"/>
              <a:gd name="connsiteY252" fmla="*/ 4763847 h 6858000"/>
              <a:gd name="connsiteX253" fmla="*/ 6037784 w 7467600"/>
              <a:gd name="connsiteY253" fmla="*/ 4764270 h 6858000"/>
              <a:gd name="connsiteX254" fmla="*/ 6038839 w 7467600"/>
              <a:gd name="connsiteY254" fmla="*/ 4764474 h 6858000"/>
              <a:gd name="connsiteX255" fmla="*/ 6040338 w 7467600"/>
              <a:gd name="connsiteY255" fmla="*/ 4771418 h 6858000"/>
              <a:gd name="connsiteX256" fmla="*/ 6024488 w 7467600"/>
              <a:gd name="connsiteY256" fmla="*/ 4809903 h 6858000"/>
              <a:gd name="connsiteX257" fmla="*/ 5599771 w 7467600"/>
              <a:gd name="connsiteY257" fmla="*/ 5509652 h 6858000"/>
              <a:gd name="connsiteX258" fmla="*/ 5548843 w 7467600"/>
              <a:gd name="connsiteY258" fmla="*/ 5563845 h 6858000"/>
              <a:gd name="connsiteX259" fmla="*/ 5940952 w 7467600"/>
              <a:gd name="connsiteY259" fmla="*/ 6250028 h 6858000"/>
              <a:gd name="connsiteX260" fmla="*/ 6043441 w 7467600"/>
              <a:gd name="connsiteY260" fmla="*/ 6665847 h 6858000"/>
              <a:gd name="connsiteX261" fmla="*/ 6093432 w 7467600"/>
              <a:gd name="connsiteY261" fmla="*/ 6858000 h 6858000"/>
              <a:gd name="connsiteX262" fmla="*/ 6034344 w 7467600"/>
              <a:gd name="connsiteY262" fmla="*/ 6858000 h 6858000"/>
              <a:gd name="connsiteX263" fmla="*/ 6026679 w 7467600"/>
              <a:gd name="connsiteY263" fmla="*/ 6836959 h 6858000"/>
              <a:gd name="connsiteX264" fmla="*/ 5800441 w 7467600"/>
              <a:gd name="connsiteY264" fmla="*/ 6335286 h 6858000"/>
              <a:gd name="connsiteX265" fmla="*/ 5526562 w 7467600"/>
              <a:gd name="connsiteY265" fmla="*/ 5705388 h 6858000"/>
              <a:gd name="connsiteX266" fmla="*/ 5519640 w 7467600"/>
              <a:gd name="connsiteY266" fmla="*/ 5683774 h 6858000"/>
              <a:gd name="connsiteX267" fmla="*/ 5844559 w 7467600"/>
              <a:gd name="connsiteY267" fmla="*/ 6553349 h 6858000"/>
              <a:gd name="connsiteX268" fmla="*/ 5975994 w 7467600"/>
              <a:gd name="connsiteY268" fmla="*/ 6858000 h 6858000"/>
              <a:gd name="connsiteX269" fmla="*/ 5898547 w 7467600"/>
              <a:gd name="connsiteY269" fmla="*/ 6858000 h 6858000"/>
              <a:gd name="connsiteX270" fmla="*/ 5682041 w 7467600"/>
              <a:gd name="connsiteY270" fmla="*/ 6355860 h 6858000"/>
              <a:gd name="connsiteX271" fmla="*/ 5461758 w 7467600"/>
              <a:gd name="connsiteY271" fmla="*/ 5820220 h 6858000"/>
              <a:gd name="connsiteX272" fmla="*/ 5237282 w 7467600"/>
              <a:gd name="connsiteY272" fmla="*/ 6579086 h 6858000"/>
              <a:gd name="connsiteX273" fmla="*/ 5115009 w 7467600"/>
              <a:gd name="connsiteY273" fmla="*/ 6858000 h 6858000"/>
              <a:gd name="connsiteX274" fmla="*/ 5028074 w 7467600"/>
              <a:gd name="connsiteY274" fmla="*/ 6858000 h 6858000"/>
              <a:gd name="connsiteX275" fmla="*/ 5079508 w 7467600"/>
              <a:gd name="connsiteY275" fmla="*/ 6749074 h 6858000"/>
              <a:gd name="connsiteX276" fmla="*/ 5371846 w 7467600"/>
              <a:gd name="connsiteY276" fmla="*/ 5924413 h 6858000"/>
              <a:gd name="connsiteX277" fmla="*/ 5270512 w 7467600"/>
              <a:gd name="connsiteY277" fmla="*/ 6138975 h 6858000"/>
              <a:gd name="connsiteX278" fmla="*/ 5062409 w 7467600"/>
              <a:gd name="connsiteY278" fmla="*/ 6653544 h 6858000"/>
              <a:gd name="connsiteX279" fmla="*/ 5036628 w 7467600"/>
              <a:gd name="connsiteY279" fmla="*/ 6754247 h 6858000"/>
              <a:gd name="connsiteX280" fmla="*/ 5009112 w 7467600"/>
              <a:gd name="connsiteY280" fmla="*/ 6858000 h 6858000"/>
              <a:gd name="connsiteX281" fmla="*/ 4976679 w 7467600"/>
              <a:gd name="connsiteY281" fmla="*/ 6858000 h 6858000"/>
              <a:gd name="connsiteX282" fmla="*/ 5006537 w 7467600"/>
              <a:gd name="connsiteY282" fmla="*/ 6747068 h 6858000"/>
              <a:gd name="connsiteX283" fmla="*/ 5032723 w 7467600"/>
              <a:gd name="connsiteY283" fmla="*/ 6644957 h 6858000"/>
              <a:gd name="connsiteX284" fmla="*/ 5242949 w 7467600"/>
              <a:gd name="connsiteY284" fmla="*/ 6125175 h 6858000"/>
              <a:gd name="connsiteX285" fmla="*/ 5286321 w 7467600"/>
              <a:gd name="connsiteY285" fmla="*/ 6033555 h 6858000"/>
              <a:gd name="connsiteX286" fmla="*/ 5008210 w 7467600"/>
              <a:gd name="connsiteY286" fmla="*/ 6649194 h 6858000"/>
              <a:gd name="connsiteX287" fmla="*/ 4986321 w 7467600"/>
              <a:gd name="connsiteY287" fmla="*/ 6765687 h 6858000"/>
              <a:gd name="connsiteX288" fmla="*/ 4973474 w 7467600"/>
              <a:gd name="connsiteY288" fmla="*/ 6858000 h 6858000"/>
              <a:gd name="connsiteX289" fmla="*/ 4907178 w 7467600"/>
              <a:gd name="connsiteY289" fmla="*/ 6858000 h 6858000"/>
              <a:gd name="connsiteX290" fmla="*/ 4910810 w 7467600"/>
              <a:gd name="connsiteY290" fmla="*/ 6829660 h 6858000"/>
              <a:gd name="connsiteX291" fmla="*/ 4987461 w 7467600"/>
              <a:gd name="connsiteY291" fmla="*/ 6432994 h 6858000"/>
              <a:gd name="connsiteX292" fmla="*/ 5179262 w 7467600"/>
              <a:gd name="connsiteY292" fmla="*/ 6035044 h 6858000"/>
              <a:gd name="connsiteX293" fmla="*/ 4689678 w 7467600"/>
              <a:gd name="connsiteY293" fmla="*/ 6440241 h 6858000"/>
              <a:gd name="connsiteX294" fmla="*/ 4477543 w 7467600"/>
              <a:gd name="connsiteY294" fmla="*/ 6674836 h 6858000"/>
              <a:gd name="connsiteX295" fmla="*/ 4329957 w 7467600"/>
              <a:gd name="connsiteY295" fmla="*/ 6858000 h 6858000"/>
              <a:gd name="connsiteX296" fmla="*/ 4218595 w 7467600"/>
              <a:gd name="connsiteY296" fmla="*/ 6858000 h 6858000"/>
              <a:gd name="connsiteX297" fmla="*/ 4368888 w 7467600"/>
              <a:gd name="connsiteY297" fmla="*/ 6668412 h 6858000"/>
              <a:gd name="connsiteX298" fmla="*/ 4563091 w 7467600"/>
              <a:gd name="connsiteY298" fmla="*/ 6442508 h 6858000"/>
              <a:gd name="connsiteX299" fmla="*/ 5387324 w 7467600"/>
              <a:gd name="connsiteY299" fmla="*/ 5705830 h 6858000"/>
              <a:gd name="connsiteX300" fmla="*/ 5073620 w 7467600"/>
              <a:gd name="connsiteY300" fmla="*/ 5955437 h 6858000"/>
              <a:gd name="connsiteX301" fmla="*/ 4689789 w 7467600"/>
              <a:gd name="connsiteY301" fmla="*/ 6268382 h 6858000"/>
              <a:gd name="connsiteX302" fmla="*/ 4418722 w 7467600"/>
              <a:gd name="connsiteY302" fmla="*/ 6570886 h 6858000"/>
              <a:gd name="connsiteX303" fmla="*/ 4214944 w 7467600"/>
              <a:gd name="connsiteY303" fmla="*/ 6858000 h 6858000"/>
              <a:gd name="connsiteX304" fmla="*/ 4177898 w 7467600"/>
              <a:gd name="connsiteY304" fmla="*/ 6858000 h 6858000"/>
              <a:gd name="connsiteX305" fmla="*/ 4391597 w 7467600"/>
              <a:gd name="connsiteY305" fmla="*/ 6556370 h 6858000"/>
              <a:gd name="connsiteX306" fmla="*/ 4668889 w 7467600"/>
              <a:gd name="connsiteY306" fmla="*/ 6246399 h 6858000"/>
              <a:gd name="connsiteX307" fmla="*/ 5055427 w 7467600"/>
              <a:gd name="connsiteY307" fmla="*/ 5931476 h 6858000"/>
              <a:gd name="connsiteX308" fmla="*/ 5371814 w 7467600"/>
              <a:gd name="connsiteY308" fmla="*/ 5678975 h 6858000"/>
              <a:gd name="connsiteX309" fmla="*/ 4987918 w 7467600"/>
              <a:gd name="connsiteY309" fmla="*/ 5838701 h 6858000"/>
              <a:gd name="connsiteX310" fmla="*/ 4317146 w 7467600"/>
              <a:gd name="connsiteY310" fmla="*/ 6587716 h 6858000"/>
              <a:gd name="connsiteX311" fmla="*/ 4171627 w 7467600"/>
              <a:gd name="connsiteY311" fmla="*/ 6858000 h 6858000"/>
              <a:gd name="connsiteX312" fmla="*/ 4081585 w 7467600"/>
              <a:gd name="connsiteY312" fmla="*/ 6858000 h 6858000"/>
              <a:gd name="connsiteX313" fmla="*/ 4238603 w 7467600"/>
              <a:gd name="connsiteY313" fmla="*/ 6559341 h 6858000"/>
              <a:gd name="connsiteX314" fmla="*/ 4778333 w 7467600"/>
              <a:gd name="connsiteY314" fmla="*/ 5873626 h 6858000"/>
              <a:gd name="connsiteX315" fmla="*/ 5414185 w 7467600"/>
              <a:gd name="connsiteY315" fmla="*/ 5573882 h 6858000"/>
              <a:gd name="connsiteX316" fmla="*/ 5959648 w 7467600"/>
              <a:gd name="connsiteY316" fmla="*/ 4760797 h 6858000"/>
              <a:gd name="connsiteX317" fmla="*/ 5355019 w 7467600"/>
              <a:gd name="connsiteY317" fmla="*/ 4734672 h 6858000"/>
              <a:gd name="connsiteX318" fmla="*/ 5083565 w 7467600"/>
              <a:gd name="connsiteY318" fmla="*/ 5179121 h 6858000"/>
              <a:gd name="connsiteX319" fmla="*/ 4713577 w 7467600"/>
              <a:gd name="connsiteY319" fmla="*/ 5616803 h 6858000"/>
              <a:gd name="connsiteX320" fmla="*/ 3989559 w 7467600"/>
              <a:gd name="connsiteY320" fmla="*/ 6145945 h 6858000"/>
              <a:gd name="connsiteX321" fmla="*/ 3939824 w 7467600"/>
              <a:gd name="connsiteY321" fmla="*/ 6066900 h 6858000"/>
              <a:gd name="connsiteX322" fmla="*/ 4584537 w 7467600"/>
              <a:gd name="connsiteY322" fmla="*/ 5324826 h 6858000"/>
              <a:gd name="connsiteX323" fmla="*/ 5037105 w 7467600"/>
              <a:gd name="connsiteY323" fmla="*/ 5088765 h 6858000"/>
              <a:gd name="connsiteX324" fmla="*/ 5039930 w 7467600"/>
              <a:gd name="connsiteY324" fmla="*/ 5089585 h 6858000"/>
              <a:gd name="connsiteX325" fmla="*/ 5263764 w 7467600"/>
              <a:gd name="connsiteY325" fmla="*/ 4735525 h 6858000"/>
              <a:gd name="connsiteX326" fmla="*/ 4086300 w 7467600"/>
              <a:gd name="connsiteY326" fmla="*/ 4884599 h 6858000"/>
              <a:gd name="connsiteX327" fmla="*/ 4085485 w 7467600"/>
              <a:gd name="connsiteY327" fmla="*/ 4899070 h 6858000"/>
              <a:gd name="connsiteX328" fmla="*/ 3871915 w 7467600"/>
              <a:gd name="connsiteY328" fmla="*/ 5253645 h 6858000"/>
              <a:gd name="connsiteX329" fmla="*/ 3799374 w 7467600"/>
              <a:gd name="connsiteY329" fmla="*/ 5466127 h 6858000"/>
              <a:gd name="connsiteX330" fmla="*/ 3498850 w 7467600"/>
              <a:gd name="connsiteY330" fmla="*/ 6661888 h 6858000"/>
              <a:gd name="connsiteX331" fmla="*/ 3399216 w 7467600"/>
              <a:gd name="connsiteY331" fmla="*/ 6858000 h 6858000"/>
              <a:gd name="connsiteX332" fmla="*/ 3303688 w 7467600"/>
              <a:gd name="connsiteY332" fmla="*/ 6858000 h 6858000"/>
              <a:gd name="connsiteX333" fmla="*/ 3391774 w 7467600"/>
              <a:gd name="connsiteY333" fmla="*/ 6697181 h 6858000"/>
              <a:gd name="connsiteX334" fmla="*/ 3735540 w 7467600"/>
              <a:gd name="connsiteY334" fmla="*/ 5546923 h 6858000"/>
              <a:gd name="connsiteX335" fmla="*/ 3729438 w 7467600"/>
              <a:gd name="connsiteY335" fmla="*/ 5569058 h 6858000"/>
              <a:gd name="connsiteX336" fmla="*/ 3707782 w 7467600"/>
              <a:gd name="connsiteY336" fmla="*/ 5644908 h 6858000"/>
              <a:gd name="connsiteX337" fmla="*/ 3583827 w 7467600"/>
              <a:gd name="connsiteY337" fmla="*/ 6039215 h 6858000"/>
              <a:gd name="connsiteX338" fmla="*/ 3547861 w 7467600"/>
              <a:gd name="connsiteY338" fmla="*/ 6129609 h 6858000"/>
              <a:gd name="connsiteX339" fmla="*/ 3490905 w 7467600"/>
              <a:gd name="connsiteY339" fmla="*/ 6277660 h 6858000"/>
              <a:gd name="connsiteX340" fmla="*/ 3455859 w 7467600"/>
              <a:gd name="connsiteY340" fmla="*/ 6391301 h 6858000"/>
              <a:gd name="connsiteX341" fmla="*/ 3429112 w 7467600"/>
              <a:gd name="connsiteY341" fmla="*/ 6479469 h 6858000"/>
              <a:gd name="connsiteX342" fmla="*/ 3304862 w 7467600"/>
              <a:gd name="connsiteY342" fmla="*/ 6796476 h 6858000"/>
              <a:gd name="connsiteX343" fmla="*/ 3276071 w 7467600"/>
              <a:gd name="connsiteY343" fmla="*/ 6858000 h 6858000"/>
              <a:gd name="connsiteX344" fmla="*/ 3240805 w 7467600"/>
              <a:gd name="connsiteY344" fmla="*/ 6858000 h 6858000"/>
              <a:gd name="connsiteX345" fmla="*/ 3275917 w 7467600"/>
              <a:gd name="connsiteY345" fmla="*/ 6783192 h 6858000"/>
              <a:gd name="connsiteX346" fmla="*/ 3399358 w 7467600"/>
              <a:gd name="connsiteY346" fmla="*/ 6469011 h 6858000"/>
              <a:gd name="connsiteX347" fmla="*/ 3425650 w 7467600"/>
              <a:gd name="connsiteY347" fmla="*/ 6381333 h 6858000"/>
              <a:gd name="connsiteX348" fmla="*/ 3460661 w 7467600"/>
              <a:gd name="connsiteY348" fmla="*/ 6266763 h 6858000"/>
              <a:gd name="connsiteX349" fmla="*/ 3518021 w 7467600"/>
              <a:gd name="connsiteY349" fmla="*/ 6117298 h 6858000"/>
              <a:gd name="connsiteX350" fmla="*/ 3554035 w 7467600"/>
              <a:gd name="connsiteY350" fmla="*/ 6027832 h 6858000"/>
              <a:gd name="connsiteX351" fmla="*/ 3677174 w 7467600"/>
              <a:gd name="connsiteY351" fmla="*/ 5636351 h 6858000"/>
              <a:gd name="connsiteX352" fmla="*/ 3698819 w 7467600"/>
              <a:gd name="connsiteY352" fmla="*/ 5560503 h 6858000"/>
              <a:gd name="connsiteX353" fmla="*/ 3702094 w 7467600"/>
              <a:gd name="connsiteY353" fmla="*/ 5549194 h 6858000"/>
              <a:gd name="connsiteX354" fmla="*/ 3398355 w 7467600"/>
              <a:gd name="connsiteY354" fmla="*/ 6094603 h 6858000"/>
              <a:gd name="connsiteX355" fmla="*/ 3193941 w 7467600"/>
              <a:gd name="connsiteY355" fmla="*/ 6798775 h 6858000"/>
              <a:gd name="connsiteX356" fmla="*/ 3184140 w 7467600"/>
              <a:gd name="connsiteY356" fmla="*/ 6858000 h 6858000"/>
              <a:gd name="connsiteX357" fmla="*/ 3099978 w 7467600"/>
              <a:gd name="connsiteY357" fmla="*/ 6858000 h 6858000"/>
              <a:gd name="connsiteX358" fmla="*/ 3101556 w 7467600"/>
              <a:gd name="connsiteY358" fmla="*/ 6843337 h 6858000"/>
              <a:gd name="connsiteX359" fmla="*/ 3370162 w 7467600"/>
              <a:gd name="connsiteY359" fmla="*/ 5785550 h 6858000"/>
              <a:gd name="connsiteX360" fmla="*/ 3746477 w 7467600"/>
              <a:gd name="connsiteY360" fmla="*/ 5377889 h 6858000"/>
              <a:gd name="connsiteX361" fmla="*/ 3863399 w 7467600"/>
              <a:gd name="connsiteY361" fmla="*/ 5087257 h 6858000"/>
              <a:gd name="connsiteX362" fmla="*/ 3968712 w 7467600"/>
              <a:gd name="connsiteY362" fmla="*/ 4913989 h 6858000"/>
              <a:gd name="connsiteX363" fmla="*/ 2792390 w 7467600"/>
              <a:gd name="connsiteY363" fmla="*/ 5382974 h 6858000"/>
              <a:gd name="connsiteX364" fmla="*/ 2714982 w 7467600"/>
              <a:gd name="connsiteY364" fmla="*/ 5427051 h 6858000"/>
              <a:gd name="connsiteX365" fmla="*/ 2813361 w 7467600"/>
              <a:gd name="connsiteY365" fmla="*/ 6023912 h 6858000"/>
              <a:gd name="connsiteX366" fmla="*/ 2688430 w 7467600"/>
              <a:gd name="connsiteY366" fmla="*/ 6801564 h 6858000"/>
              <a:gd name="connsiteX367" fmla="*/ 2629626 w 7467600"/>
              <a:gd name="connsiteY367" fmla="*/ 6763394 h 6858000"/>
              <a:gd name="connsiteX368" fmla="*/ 2565328 w 7467600"/>
              <a:gd name="connsiteY368" fmla="*/ 5516399 h 6858000"/>
              <a:gd name="connsiteX369" fmla="*/ 1922999 w 7467600"/>
              <a:gd name="connsiteY369" fmla="*/ 5980343 h 6858000"/>
              <a:gd name="connsiteX370" fmla="*/ 1950261 w 7467600"/>
              <a:gd name="connsiteY370" fmla="*/ 6405858 h 6858000"/>
              <a:gd name="connsiteX371" fmla="*/ 2365554 w 7467600"/>
              <a:gd name="connsiteY371" fmla="*/ 6759107 h 6858000"/>
              <a:gd name="connsiteX372" fmla="*/ 2424142 w 7467600"/>
              <a:gd name="connsiteY372" fmla="*/ 6858000 h 6858000"/>
              <a:gd name="connsiteX373" fmla="*/ 2395994 w 7467600"/>
              <a:gd name="connsiteY373" fmla="*/ 6858000 h 6858000"/>
              <a:gd name="connsiteX374" fmla="*/ 2392863 w 7467600"/>
              <a:gd name="connsiteY374" fmla="*/ 6852964 h 6858000"/>
              <a:gd name="connsiteX375" fmla="*/ 2017589 w 7467600"/>
              <a:gd name="connsiteY375" fmla="*/ 6493982 h 6858000"/>
              <a:gd name="connsiteX376" fmla="*/ 2147336 w 7467600"/>
              <a:gd name="connsiteY376" fmla="*/ 6594052 h 6858000"/>
              <a:gd name="connsiteX377" fmla="*/ 2207047 w 7467600"/>
              <a:gd name="connsiteY377" fmla="*/ 6654540 h 6858000"/>
              <a:gd name="connsiteX378" fmla="*/ 2299106 w 7467600"/>
              <a:gd name="connsiteY378" fmla="*/ 6778931 h 6858000"/>
              <a:gd name="connsiteX379" fmla="*/ 2314430 w 7467600"/>
              <a:gd name="connsiteY379" fmla="*/ 6801144 h 6858000"/>
              <a:gd name="connsiteX380" fmla="*/ 2352406 w 7467600"/>
              <a:gd name="connsiteY380" fmla="*/ 6858000 h 6858000"/>
              <a:gd name="connsiteX381" fmla="*/ 2314492 w 7467600"/>
              <a:gd name="connsiteY381" fmla="*/ 6858000 h 6858000"/>
              <a:gd name="connsiteX382" fmla="*/ 2288095 w 7467600"/>
              <a:gd name="connsiteY382" fmla="*/ 6818030 h 6858000"/>
              <a:gd name="connsiteX383" fmla="*/ 2272768 w 7467600"/>
              <a:gd name="connsiteY383" fmla="*/ 6795822 h 6858000"/>
              <a:gd name="connsiteX384" fmla="*/ 2182715 w 7467600"/>
              <a:gd name="connsiteY384" fmla="*/ 6675071 h 6858000"/>
              <a:gd name="connsiteX385" fmla="*/ 2032061 w 7467600"/>
              <a:gd name="connsiteY385" fmla="*/ 6541380 h 6858000"/>
              <a:gd name="connsiteX386" fmla="*/ 2257220 w 7467600"/>
              <a:gd name="connsiteY386" fmla="*/ 6826257 h 6858000"/>
              <a:gd name="connsiteX387" fmla="*/ 2281324 w 7467600"/>
              <a:gd name="connsiteY387" fmla="*/ 6858000 h 6858000"/>
              <a:gd name="connsiteX388" fmla="*/ 2242860 w 7467600"/>
              <a:gd name="connsiteY388" fmla="*/ 6858000 h 6858000"/>
              <a:gd name="connsiteX389" fmla="*/ 2232818 w 7467600"/>
              <a:gd name="connsiteY389" fmla="*/ 6844926 h 6858000"/>
              <a:gd name="connsiteX390" fmla="*/ 1990172 w 7467600"/>
              <a:gd name="connsiteY390" fmla="*/ 6542121 h 6858000"/>
              <a:gd name="connsiteX391" fmla="*/ 2124090 w 7467600"/>
              <a:gd name="connsiteY391" fmla="*/ 6761017 h 6858000"/>
              <a:gd name="connsiteX392" fmla="*/ 2200380 w 7467600"/>
              <a:gd name="connsiteY392" fmla="*/ 6858000 h 6858000"/>
              <a:gd name="connsiteX393" fmla="*/ 2147507 w 7467600"/>
              <a:gd name="connsiteY393" fmla="*/ 6858000 h 6858000"/>
              <a:gd name="connsiteX394" fmla="*/ 2070668 w 7467600"/>
              <a:gd name="connsiteY394" fmla="*/ 6761520 h 6858000"/>
              <a:gd name="connsiteX395" fmla="*/ 1975142 w 7467600"/>
              <a:gd name="connsiteY395" fmla="*/ 6585570 h 6858000"/>
              <a:gd name="connsiteX396" fmla="*/ 2050035 w 7467600"/>
              <a:gd name="connsiteY396" fmla="*/ 6813345 h 6858000"/>
              <a:gd name="connsiteX397" fmla="*/ 2063025 w 7467600"/>
              <a:gd name="connsiteY397" fmla="*/ 6858000 h 6858000"/>
              <a:gd name="connsiteX398" fmla="*/ 2021675 w 7467600"/>
              <a:gd name="connsiteY398" fmla="*/ 6858000 h 6858000"/>
              <a:gd name="connsiteX399" fmla="*/ 2019308 w 7467600"/>
              <a:gd name="connsiteY399" fmla="*/ 6847118 h 6858000"/>
              <a:gd name="connsiteX400" fmla="*/ 1938835 w 7467600"/>
              <a:gd name="connsiteY400" fmla="*/ 6551160 h 6858000"/>
              <a:gd name="connsiteX401" fmla="*/ 1953230 w 7467600"/>
              <a:gd name="connsiteY401" fmla="*/ 6759699 h 6858000"/>
              <a:gd name="connsiteX402" fmla="*/ 1956763 w 7467600"/>
              <a:gd name="connsiteY402" fmla="*/ 6778191 h 6858000"/>
              <a:gd name="connsiteX403" fmla="*/ 1967925 w 7467600"/>
              <a:gd name="connsiteY403" fmla="*/ 6858000 h 6858000"/>
              <a:gd name="connsiteX404" fmla="*/ 1936622 w 7467600"/>
              <a:gd name="connsiteY404" fmla="*/ 6858000 h 6858000"/>
              <a:gd name="connsiteX405" fmla="*/ 1926261 w 7467600"/>
              <a:gd name="connsiteY405" fmla="*/ 6784064 h 6858000"/>
              <a:gd name="connsiteX406" fmla="*/ 1922724 w 7467600"/>
              <a:gd name="connsiteY406" fmla="*/ 6765577 h 6858000"/>
              <a:gd name="connsiteX407" fmla="*/ 1904650 w 7467600"/>
              <a:gd name="connsiteY407" fmla="*/ 6639616 h 6858000"/>
              <a:gd name="connsiteX408" fmla="*/ 1885273 w 7467600"/>
              <a:gd name="connsiteY408" fmla="*/ 6858000 h 6858000"/>
              <a:gd name="connsiteX409" fmla="*/ 1854363 w 7467600"/>
              <a:gd name="connsiteY409" fmla="*/ 6858000 h 6858000"/>
              <a:gd name="connsiteX410" fmla="*/ 1880391 w 7467600"/>
              <a:gd name="connsiteY410" fmla="*/ 6603796 h 6858000"/>
              <a:gd name="connsiteX411" fmla="*/ 1818273 w 7467600"/>
              <a:gd name="connsiteY411" fmla="*/ 6715729 h 6858000"/>
              <a:gd name="connsiteX412" fmla="*/ 1794691 w 7467600"/>
              <a:gd name="connsiteY412" fmla="*/ 6843239 h 6858000"/>
              <a:gd name="connsiteX413" fmla="*/ 1794914 w 7467600"/>
              <a:gd name="connsiteY413" fmla="*/ 6858000 h 6858000"/>
              <a:gd name="connsiteX414" fmla="*/ 1746128 w 7467600"/>
              <a:gd name="connsiteY414" fmla="*/ 6858000 h 6858000"/>
              <a:gd name="connsiteX415" fmla="*/ 1753934 w 7467600"/>
              <a:gd name="connsiteY415" fmla="*/ 6724796 h 6858000"/>
              <a:gd name="connsiteX416" fmla="*/ 1792053 w 7467600"/>
              <a:gd name="connsiteY416" fmla="*/ 6572396 h 6858000"/>
              <a:gd name="connsiteX417" fmla="*/ 1862248 w 7467600"/>
              <a:gd name="connsiteY417" fmla="*/ 6266397 h 6858000"/>
              <a:gd name="connsiteX418" fmla="*/ 1862250 w 7467600"/>
              <a:gd name="connsiteY418" fmla="*/ 6033531 h 6858000"/>
              <a:gd name="connsiteX419" fmla="*/ 1211999 w 7467600"/>
              <a:gd name="connsiteY419" fmla="*/ 6683610 h 6858000"/>
              <a:gd name="connsiteX420" fmla="*/ 1213266 w 7467600"/>
              <a:gd name="connsiteY420" fmla="*/ 6691947 h 6858000"/>
              <a:gd name="connsiteX421" fmla="*/ 1203370 w 7467600"/>
              <a:gd name="connsiteY421" fmla="*/ 6850676 h 6858000"/>
              <a:gd name="connsiteX422" fmla="*/ 1203671 w 7467600"/>
              <a:gd name="connsiteY422" fmla="*/ 6858000 h 6858000"/>
              <a:gd name="connsiteX423" fmla="*/ 1143180 w 7467600"/>
              <a:gd name="connsiteY423" fmla="*/ 6858000 h 6858000"/>
              <a:gd name="connsiteX424" fmla="*/ 1142176 w 7467600"/>
              <a:gd name="connsiteY424" fmla="*/ 6766045 h 6858000"/>
              <a:gd name="connsiteX425" fmla="*/ 1067484 w 7467600"/>
              <a:gd name="connsiteY425" fmla="*/ 6858000 h 6858000"/>
              <a:gd name="connsiteX426" fmla="*/ 953928 w 7467600"/>
              <a:gd name="connsiteY426" fmla="*/ 6858000 h 6858000"/>
              <a:gd name="connsiteX427" fmla="*/ 959715 w 7467600"/>
              <a:gd name="connsiteY427" fmla="*/ 6850185 h 6858000"/>
              <a:gd name="connsiteX428" fmla="*/ 1483788 w 7467600"/>
              <a:gd name="connsiteY428" fmla="*/ 6259174 h 6858000"/>
              <a:gd name="connsiteX429" fmla="*/ 1100671 w 7467600"/>
              <a:gd name="connsiteY429" fmla="*/ 6252137 h 6858000"/>
              <a:gd name="connsiteX430" fmla="*/ 1090144 w 7467600"/>
              <a:gd name="connsiteY430" fmla="*/ 6256748 h 6858000"/>
              <a:gd name="connsiteX431" fmla="*/ 1095872 w 7467600"/>
              <a:gd name="connsiteY431" fmla="*/ 6271892 h 6858000"/>
              <a:gd name="connsiteX432" fmla="*/ 262785 w 7467600"/>
              <a:gd name="connsiteY432" fmla="*/ 6845450 h 6858000"/>
              <a:gd name="connsiteX433" fmla="*/ 209968 w 7467600"/>
              <a:gd name="connsiteY433" fmla="*/ 6770713 h 6858000"/>
              <a:gd name="connsiteX434" fmla="*/ 873460 w 7467600"/>
              <a:gd name="connsiteY434" fmla="*/ 6253768 h 6858000"/>
              <a:gd name="connsiteX435" fmla="*/ 192686 w 7467600"/>
              <a:gd name="connsiteY435" fmla="*/ 5849257 h 6858000"/>
              <a:gd name="connsiteX436" fmla="*/ 4696 w 7467600"/>
              <a:gd name="connsiteY436" fmla="*/ 5697668 h 6858000"/>
              <a:gd name="connsiteX437" fmla="*/ 0 w 7467600"/>
              <a:gd name="connsiteY437" fmla="*/ 5689984 h 6858000"/>
              <a:gd name="connsiteX438" fmla="*/ 0 w 7467600"/>
              <a:gd name="connsiteY438" fmla="*/ 5513472 h 6858000"/>
              <a:gd name="connsiteX439" fmla="*/ 174101 w 7467600"/>
              <a:gd name="connsiteY439" fmla="*/ 5620277 h 6858000"/>
              <a:gd name="connsiteX440" fmla="*/ 891800 w 7467600"/>
              <a:gd name="connsiteY440" fmla="*/ 6036935 h 6858000"/>
              <a:gd name="connsiteX441" fmla="*/ 1072219 w 7467600"/>
              <a:gd name="connsiteY441" fmla="*/ 6169443 h 6858000"/>
              <a:gd name="connsiteX442" fmla="*/ 1074117 w 7467600"/>
              <a:gd name="connsiteY442" fmla="*/ 6170301 h 6858000"/>
              <a:gd name="connsiteX443" fmla="*/ 1083114 w 7467600"/>
              <a:gd name="connsiteY443" fmla="*/ 6174131 h 6858000"/>
              <a:gd name="connsiteX444" fmla="*/ 1543010 w 7467600"/>
              <a:gd name="connsiteY444" fmla="*/ 6191140 h 6858000"/>
              <a:gd name="connsiteX445" fmla="*/ 1551080 w 7467600"/>
              <a:gd name="connsiteY445" fmla="*/ 6195006 h 6858000"/>
              <a:gd name="connsiteX446" fmla="*/ 2345443 w 7467600"/>
              <a:gd name="connsiteY446" fmla="*/ 5549882 h 6858000"/>
              <a:gd name="connsiteX447" fmla="*/ 1721499 w 7467600"/>
              <a:gd name="connsiteY447" fmla="*/ 5599969 h 6858000"/>
              <a:gd name="connsiteX448" fmla="*/ 767716 w 7467600"/>
              <a:gd name="connsiteY448" fmla="*/ 5472768 h 6858000"/>
              <a:gd name="connsiteX449" fmla="*/ 722147 w 7467600"/>
              <a:gd name="connsiteY449" fmla="*/ 5393091 h 6858000"/>
              <a:gd name="connsiteX450" fmla="*/ 1485552 w 7467600"/>
              <a:gd name="connsiteY450" fmla="*/ 5313202 h 6858000"/>
              <a:gd name="connsiteX451" fmla="*/ 2143004 w 7467600"/>
              <a:gd name="connsiteY451" fmla="*/ 5402420 h 6858000"/>
              <a:gd name="connsiteX452" fmla="*/ 1933391 w 7467600"/>
              <a:gd name="connsiteY452" fmla="*/ 5156971 h 6858000"/>
              <a:gd name="connsiteX453" fmla="*/ 1827118 w 7467600"/>
              <a:gd name="connsiteY453" fmla="*/ 4968410 h 6858000"/>
              <a:gd name="connsiteX454" fmla="*/ 1837349 w 7467600"/>
              <a:gd name="connsiteY454" fmla="*/ 4956357 h 6858000"/>
              <a:gd name="connsiteX455" fmla="*/ 2162835 w 7467600"/>
              <a:gd name="connsiteY455" fmla="*/ 5187853 h 6858000"/>
              <a:gd name="connsiteX456" fmla="*/ 2257167 w 7467600"/>
              <a:gd name="connsiteY456" fmla="*/ 5462123 h 6858000"/>
              <a:gd name="connsiteX457" fmla="*/ 2261598 w 7467600"/>
              <a:gd name="connsiteY457" fmla="*/ 5467998 h 6858000"/>
              <a:gd name="connsiteX458" fmla="*/ 2437177 w 7467600"/>
              <a:gd name="connsiteY458" fmla="*/ 5479608 h 6858000"/>
              <a:gd name="connsiteX459" fmla="*/ 2445247 w 7467600"/>
              <a:gd name="connsiteY459" fmla="*/ 5483476 h 6858000"/>
              <a:gd name="connsiteX460" fmla="*/ 2743626 w 7467600"/>
              <a:gd name="connsiteY460" fmla="*/ 5304819 h 6858000"/>
              <a:gd name="connsiteX461" fmla="*/ 3048102 w 7467600"/>
              <a:gd name="connsiteY461" fmla="*/ 5150595 h 6858000"/>
              <a:gd name="connsiteX462" fmla="*/ 1799414 w 7467600"/>
              <a:gd name="connsiteY462" fmla="*/ 4694732 h 6858000"/>
              <a:gd name="connsiteX463" fmla="*/ 1771735 w 7467600"/>
              <a:gd name="connsiteY463" fmla="*/ 4619929 h 6858000"/>
              <a:gd name="connsiteX464" fmla="*/ 3104273 w 7467600"/>
              <a:gd name="connsiteY464" fmla="*/ 5076159 h 6858000"/>
              <a:gd name="connsiteX465" fmla="*/ 3113245 w 7467600"/>
              <a:gd name="connsiteY465" fmla="*/ 5090705 h 6858000"/>
              <a:gd name="connsiteX466" fmla="*/ 3126294 w 7467600"/>
              <a:gd name="connsiteY466" fmla="*/ 5114400 h 6858000"/>
              <a:gd name="connsiteX467" fmla="*/ 3937433 w 7467600"/>
              <a:gd name="connsiteY467" fmla="*/ 4830473 h 6858000"/>
              <a:gd name="connsiteX468" fmla="*/ 3590475 w 7467600"/>
              <a:gd name="connsiteY468" fmla="*/ 4597974 h 6858000"/>
              <a:gd name="connsiteX469" fmla="*/ 3100264 w 7467600"/>
              <a:gd name="connsiteY469" fmla="*/ 4579845 h 6858000"/>
              <a:gd name="connsiteX470" fmla="*/ 2183576 w 7467600"/>
              <a:gd name="connsiteY470" fmla="*/ 4227150 h 6858000"/>
              <a:gd name="connsiteX471" fmla="*/ 2151029 w 7467600"/>
              <a:gd name="connsiteY471" fmla="*/ 4146947 h 6858000"/>
              <a:gd name="connsiteX472" fmla="*/ 3563434 w 7467600"/>
              <a:gd name="connsiteY472" fmla="*/ 4469115 h 6858000"/>
              <a:gd name="connsiteX473" fmla="*/ 3177952 w 7467600"/>
              <a:gd name="connsiteY473" fmla="*/ 3657386 h 6858000"/>
              <a:gd name="connsiteX474" fmla="*/ 3189263 w 7467600"/>
              <a:gd name="connsiteY474" fmla="*/ 3625726 h 6858000"/>
              <a:gd name="connsiteX475" fmla="*/ 3560912 w 7467600"/>
              <a:gd name="connsiteY475" fmla="*/ 4079863 h 6858000"/>
              <a:gd name="connsiteX476" fmla="*/ 3626636 w 7467600"/>
              <a:gd name="connsiteY476" fmla="*/ 4512230 h 6858000"/>
              <a:gd name="connsiteX477" fmla="*/ 3653088 w 7467600"/>
              <a:gd name="connsiteY477" fmla="*/ 4521417 h 6858000"/>
              <a:gd name="connsiteX478" fmla="*/ 3988128 w 7467600"/>
              <a:gd name="connsiteY478" fmla="*/ 4817267 h 6858000"/>
              <a:gd name="connsiteX479" fmla="*/ 4830582 w 7467600"/>
              <a:gd name="connsiteY479" fmla="*/ 4676000 h 6858000"/>
              <a:gd name="connsiteX480" fmla="*/ 4830100 w 7467600"/>
              <a:gd name="connsiteY480" fmla="*/ 4675554 h 6858000"/>
              <a:gd name="connsiteX481" fmla="*/ 4036318 w 7467600"/>
              <a:gd name="connsiteY481" fmla="*/ 4147013 h 6858000"/>
              <a:gd name="connsiteX482" fmla="*/ 3432098 w 7467600"/>
              <a:gd name="connsiteY482" fmla="*/ 3537312 h 6858000"/>
              <a:gd name="connsiteX483" fmla="*/ 3446761 w 7467600"/>
              <a:gd name="connsiteY483" fmla="*/ 3461278 h 6858000"/>
              <a:gd name="connsiteX484" fmla="*/ 4419733 w 7467600"/>
              <a:gd name="connsiteY484" fmla="*/ 3963555 h 6858000"/>
              <a:gd name="connsiteX485" fmla="*/ 4781371 w 7467600"/>
              <a:gd name="connsiteY485" fmla="*/ 4458604 h 6858000"/>
              <a:gd name="connsiteX486" fmla="*/ 4780440 w 7467600"/>
              <a:gd name="connsiteY486" fmla="*/ 4470290 h 6858000"/>
              <a:gd name="connsiteX487" fmla="*/ 4898954 w 7467600"/>
              <a:gd name="connsiteY487" fmla="*/ 4662092 h 6858000"/>
              <a:gd name="connsiteX488" fmla="*/ 4900699 w 7467600"/>
              <a:gd name="connsiteY488" fmla="*/ 4670867 h 6858000"/>
              <a:gd name="connsiteX489" fmla="*/ 5714511 w 7467600"/>
              <a:gd name="connsiteY489" fmla="*/ 4663483 h 6858000"/>
              <a:gd name="connsiteX490" fmla="*/ 5464793 w 7467600"/>
              <a:gd name="connsiteY490" fmla="*/ 4393556 h 6858000"/>
              <a:gd name="connsiteX491" fmla="*/ 5461897 w 7467600"/>
              <a:gd name="connsiteY491" fmla="*/ 4390879 h 6858000"/>
              <a:gd name="connsiteX492" fmla="*/ 4294126 w 7467600"/>
              <a:gd name="connsiteY492" fmla="*/ 3303048 h 6858000"/>
              <a:gd name="connsiteX493" fmla="*/ 4305321 w 7467600"/>
              <a:gd name="connsiteY493" fmla="*/ 3256953 h 6858000"/>
              <a:gd name="connsiteX494" fmla="*/ 4949299 w 7467600"/>
              <a:gd name="connsiteY494" fmla="*/ 3766336 h 6858000"/>
              <a:gd name="connsiteX495" fmla="*/ 5291452 w 7467600"/>
              <a:gd name="connsiteY495" fmla="*/ 4076801 h 6858000"/>
              <a:gd name="connsiteX496" fmla="*/ 5434998 w 7467600"/>
              <a:gd name="connsiteY496" fmla="*/ 4254100 h 6858000"/>
              <a:gd name="connsiteX497" fmla="*/ 5351015 w 7467600"/>
              <a:gd name="connsiteY497" fmla="*/ 3760989 h 6858000"/>
              <a:gd name="connsiteX498" fmla="*/ 5413780 w 7467600"/>
              <a:gd name="connsiteY498" fmla="*/ 2966265 h 6858000"/>
              <a:gd name="connsiteX499" fmla="*/ 5425627 w 7467600"/>
              <a:gd name="connsiteY499" fmla="*/ 2954192 h 6858000"/>
              <a:gd name="connsiteX500" fmla="*/ 6604735 w 7467600"/>
              <a:gd name="connsiteY500" fmla="*/ 2041381 h 6858000"/>
              <a:gd name="connsiteX501" fmla="*/ 7204487 w 7467600"/>
              <a:gd name="connsiteY501" fmla="*/ 2742112 h 6858000"/>
              <a:gd name="connsiteX502" fmla="*/ 7131592 w 7467600"/>
              <a:gd name="connsiteY502" fmla="*/ 2672096 h 6858000"/>
              <a:gd name="connsiteX503" fmla="*/ 6996344 w 7467600"/>
              <a:gd name="connsiteY503" fmla="*/ 2518310 h 6858000"/>
              <a:gd name="connsiteX504" fmla="*/ 6735495 w 7467600"/>
              <a:gd name="connsiteY504" fmla="*/ 2196890 h 6858000"/>
              <a:gd name="connsiteX505" fmla="*/ 6721901 w 7467600"/>
              <a:gd name="connsiteY505" fmla="*/ 2179274 h 6858000"/>
              <a:gd name="connsiteX506" fmla="*/ 6604735 w 7467600"/>
              <a:gd name="connsiteY506" fmla="*/ 2041381 h 6858000"/>
              <a:gd name="connsiteX507" fmla="*/ 6591670 w 7467600"/>
              <a:gd name="connsiteY507" fmla="*/ 1988277 h 6858000"/>
              <a:gd name="connsiteX508" fmla="*/ 6747349 w 7467600"/>
              <a:gd name="connsiteY508" fmla="*/ 2160069 h 6858000"/>
              <a:gd name="connsiteX509" fmla="*/ 6760943 w 7467600"/>
              <a:gd name="connsiteY509" fmla="*/ 2177686 h 6858000"/>
              <a:gd name="connsiteX510" fmla="*/ 7021065 w 7467600"/>
              <a:gd name="connsiteY510" fmla="*/ 2498102 h 6858000"/>
              <a:gd name="connsiteX511" fmla="*/ 7155223 w 7467600"/>
              <a:gd name="connsiteY511" fmla="*/ 2650386 h 6858000"/>
              <a:gd name="connsiteX512" fmla="*/ 7203167 w 7467600"/>
              <a:gd name="connsiteY512" fmla="*/ 2697288 h 6858000"/>
              <a:gd name="connsiteX513" fmla="*/ 6937703 w 7467600"/>
              <a:gd name="connsiteY513" fmla="*/ 2321981 h 6858000"/>
              <a:gd name="connsiteX514" fmla="*/ 6591670 w 7467600"/>
              <a:gd name="connsiteY514" fmla="*/ 1988277 h 6858000"/>
              <a:gd name="connsiteX515" fmla="*/ 5798671 w 7467600"/>
              <a:gd name="connsiteY515" fmla="*/ 1981601 h 6858000"/>
              <a:gd name="connsiteX516" fmla="*/ 5754709 w 7467600"/>
              <a:gd name="connsiteY516" fmla="*/ 2071454 h 6858000"/>
              <a:gd name="connsiteX517" fmla="*/ 5763044 w 7467600"/>
              <a:gd name="connsiteY517" fmla="*/ 2842206 h 6858000"/>
              <a:gd name="connsiteX518" fmla="*/ 5764974 w 7467600"/>
              <a:gd name="connsiteY518" fmla="*/ 2799609 h 6858000"/>
              <a:gd name="connsiteX519" fmla="*/ 5767665 w 7467600"/>
              <a:gd name="connsiteY519" fmla="*/ 2666409 h 6858000"/>
              <a:gd name="connsiteX520" fmla="*/ 5763055 w 7467600"/>
              <a:gd name="connsiteY520" fmla="*/ 2579705 h 6858000"/>
              <a:gd name="connsiteX521" fmla="*/ 5758079 w 7467600"/>
              <a:gd name="connsiteY521" fmla="*/ 2492508 h 6858000"/>
              <a:gd name="connsiteX522" fmla="*/ 5779325 w 7467600"/>
              <a:gd name="connsiteY522" fmla="*/ 2197069 h 6858000"/>
              <a:gd name="connsiteX523" fmla="*/ 5798671 w 7467600"/>
              <a:gd name="connsiteY523" fmla="*/ 1981601 h 6858000"/>
              <a:gd name="connsiteX524" fmla="*/ 5829202 w 7467600"/>
              <a:gd name="connsiteY524" fmla="*/ 1971679 h 6858000"/>
              <a:gd name="connsiteX525" fmla="*/ 5809558 w 7467600"/>
              <a:gd name="connsiteY525" fmla="*/ 2198043 h 6858000"/>
              <a:gd name="connsiteX526" fmla="*/ 5788653 w 7467600"/>
              <a:gd name="connsiteY526" fmla="*/ 2489430 h 6858000"/>
              <a:gd name="connsiteX527" fmla="*/ 5793439 w 7467600"/>
              <a:gd name="connsiteY527" fmla="*/ 2575235 h 6858000"/>
              <a:gd name="connsiteX528" fmla="*/ 5796837 w 7467600"/>
              <a:gd name="connsiteY528" fmla="*/ 2637633 h 6858000"/>
              <a:gd name="connsiteX529" fmla="*/ 5818614 w 7467600"/>
              <a:gd name="connsiteY529" fmla="*/ 2473055 h 6858000"/>
              <a:gd name="connsiteX530" fmla="*/ 5829202 w 7467600"/>
              <a:gd name="connsiteY530" fmla="*/ 1971679 h 6858000"/>
              <a:gd name="connsiteX531" fmla="*/ 5911389 w 7467600"/>
              <a:gd name="connsiteY531" fmla="*/ 1898371 h 6858000"/>
              <a:gd name="connsiteX532" fmla="*/ 6237627 w 7467600"/>
              <a:gd name="connsiteY532" fmla="*/ 2231921 h 6858000"/>
              <a:gd name="connsiteX533" fmla="*/ 5911389 w 7467600"/>
              <a:gd name="connsiteY533" fmla="*/ 1898371 h 6858000"/>
              <a:gd name="connsiteX534" fmla="*/ 6944437 w 7467600"/>
              <a:gd name="connsiteY534" fmla="*/ 1575402 h 6858000"/>
              <a:gd name="connsiteX535" fmla="*/ 6304730 w 7467600"/>
              <a:gd name="connsiteY535" fmla="*/ 1766654 h 6858000"/>
              <a:gd name="connsiteX536" fmla="*/ 6944437 w 7467600"/>
              <a:gd name="connsiteY536" fmla="*/ 1575402 h 6858000"/>
              <a:gd name="connsiteX537" fmla="*/ 7019523 w 7467600"/>
              <a:gd name="connsiteY537" fmla="*/ 1519450 h 6858000"/>
              <a:gd name="connsiteX538" fmla="*/ 6298091 w 7467600"/>
              <a:gd name="connsiteY538" fmla="*/ 1737122 h 6858000"/>
              <a:gd name="connsiteX539" fmla="*/ 7019523 w 7467600"/>
              <a:gd name="connsiteY539" fmla="*/ 1519450 h 6858000"/>
              <a:gd name="connsiteX540" fmla="*/ 2399523 w 7467600"/>
              <a:gd name="connsiteY540" fmla="*/ 1428234 h 6858000"/>
              <a:gd name="connsiteX541" fmla="*/ 2224982 w 7467600"/>
              <a:gd name="connsiteY541" fmla="*/ 1826201 h 6858000"/>
              <a:gd name="connsiteX542" fmla="*/ 2096099 w 7467600"/>
              <a:gd name="connsiteY542" fmla="*/ 2345900 h 6858000"/>
              <a:gd name="connsiteX543" fmla="*/ 2283317 w 7467600"/>
              <a:gd name="connsiteY543" fmla="*/ 1796925 h 6858000"/>
              <a:gd name="connsiteX544" fmla="*/ 2399523 w 7467600"/>
              <a:gd name="connsiteY544" fmla="*/ 1428234 h 6858000"/>
              <a:gd name="connsiteX545" fmla="*/ 2448558 w 7467600"/>
              <a:gd name="connsiteY545" fmla="*/ 1373435 h 6858000"/>
              <a:gd name="connsiteX546" fmla="*/ 2312521 w 7467600"/>
              <a:gd name="connsiteY546" fmla="*/ 1806140 h 6858000"/>
              <a:gd name="connsiteX547" fmla="*/ 2127533 w 7467600"/>
              <a:gd name="connsiteY547" fmla="*/ 2348380 h 6858000"/>
              <a:gd name="connsiteX548" fmla="*/ 2358080 w 7467600"/>
              <a:gd name="connsiteY548" fmla="*/ 1866134 h 6858000"/>
              <a:gd name="connsiteX549" fmla="*/ 2407436 w 7467600"/>
              <a:gd name="connsiteY549" fmla="*/ 1651070 h 6858000"/>
              <a:gd name="connsiteX550" fmla="*/ 2448558 w 7467600"/>
              <a:gd name="connsiteY550" fmla="*/ 1373435 h 6858000"/>
              <a:gd name="connsiteX551" fmla="*/ 278707 w 7467600"/>
              <a:gd name="connsiteY551" fmla="*/ 1352270 h 6858000"/>
              <a:gd name="connsiteX552" fmla="*/ 321570 w 7467600"/>
              <a:gd name="connsiteY552" fmla="*/ 1861610 h 6858000"/>
              <a:gd name="connsiteX553" fmla="*/ 294281 w 7467600"/>
              <a:gd name="connsiteY553" fmla="*/ 1440658 h 6858000"/>
              <a:gd name="connsiteX554" fmla="*/ 278707 w 7467600"/>
              <a:gd name="connsiteY554" fmla="*/ 1352270 h 6858000"/>
              <a:gd name="connsiteX555" fmla="*/ 1423821 w 7467600"/>
              <a:gd name="connsiteY555" fmla="*/ 1351958 h 6858000"/>
              <a:gd name="connsiteX556" fmla="*/ 1638521 w 7467600"/>
              <a:gd name="connsiteY556" fmla="*/ 1908470 h 6858000"/>
              <a:gd name="connsiteX557" fmla="*/ 1754199 w 7467600"/>
              <a:gd name="connsiteY557" fmla="*/ 2149284 h 6858000"/>
              <a:gd name="connsiteX558" fmla="*/ 1908359 w 7467600"/>
              <a:gd name="connsiteY558" fmla="*/ 2364988 h 6858000"/>
              <a:gd name="connsiteX559" fmla="*/ 1647661 w 7467600"/>
              <a:gd name="connsiteY559" fmla="*/ 1825945 h 6858000"/>
              <a:gd name="connsiteX560" fmla="*/ 1423821 w 7467600"/>
              <a:gd name="connsiteY560" fmla="*/ 1351958 h 6858000"/>
              <a:gd name="connsiteX561" fmla="*/ 1431890 w 7467600"/>
              <a:gd name="connsiteY561" fmla="*/ 1306475 h 6858000"/>
              <a:gd name="connsiteX562" fmla="*/ 1507597 w 7467600"/>
              <a:gd name="connsiteY562" fmla="*/ 1446132 h 6858000"/>
              <a:gd name="connsiteX563" fmla="*/ 1674586 w 7467600"/>
              <a:gd name="connsiteY563" fmla="*/ 1813832 h 6858000"/>
              <a:gd name="connsiteX564" fmla="*/ 1815950 w 7467600"/>
              <a:gd name="connsiteY564" fmla="*/ 2128564 h 6858000"/>
              <a:gd name="connsiteX565" fmla="*/ 1984242 w 7467600"/>
              <a:gd name="connsiteY565" fmla="*/ 2430829 h 6858000"/>
              <a:gd name="connsiteX566" fmla="*/ 2014023 w 7467600"/>
              <a:gd name="connsiteY566" fmla="*/ 2450995 h 6858000"/>
              <a:gd name="connsiteX567" fmla="*/ 1747337 w 7467600"/>
              <a:gd name="connsiteY567" fmla="*/ 1855264 h 6858000"/>
              <a:gd name="connsiteX568" fmla="*/ 1533749 w 7467600"/>
              <a:gd name="connsiteY568" fmla="*/ 1478656 h 6858000"/>
              <a:gd name="connsiteX569" fmla="*/ 1431890 w 7467600"/>
              <a:gd name="connsiteY569" fmla="*/ 1306475 h 6858000"/>
              <a:gd name="connsiteX570" fmla="*/ 5052692 w 7467600"/>
              <a:gd name="connsiteY570" fmla="*/ 1292994 h 6858000"/>
              <a:gd name="connsiteX571" fmla="*/ 5200661 w 7467600"/>
              <a:gd name="connsiteY571" fmla="*/ 1635186 h 6858000"/>
              <a:gd name="connsiteX572" fmla="*/ 5297138 w 7467600"/>
              <a:gd name="connsiteY572" fmla="*/ 1906351 h 6858000"/>
              <a:gd name="connsiteX573" fmla="*/ 5052692 w 7467600"/>
              <a:gd name="connsiteY573" fmla="*/ 1292994 h 6858000"/>
              <a:gd name="connsiteX574" fmla="*/ 5009948 w 7467600"/>
              <a:gd name="connsiteY574" fmla="*/ 1273619 h 6858000"/>
              <a:gd name="connsiteX575" fmla="*/ 5121777 w 7467600"/>
              <a:gd name="connsiteY575" fmla="*/ 1654213 h 6858000"/>
              <a:gd name="connsiteX576" fmla="*/ 5293545 w 7467600"/>
              <a:gd name="connsiteY576" fmla="*/ 2072247 h 6858000"/>
              <a:gd name="connsiteX577" fmla="*/ 5294042 w 7467600"/>
              <a:gd name="connsiteY577" fmla="*/ 2065019 h 6858000"/>
              <a:gd name="connsiteX578" fmla="*/ 5171936 w 7467600"/>
              <a:gd name="connsiteY578" fmla="*/ 1647613 h 6858000"/>
              <a:gd name="connsiteX579" fmla="*/ 5009948 w 7467600"/>
              <a:gd name="connsiteY579" fmla="*/ 1273619 h 6858000"/>
              <a:gd name="connsiteX580" fmla="*/ 655236 w 7467600"/>
              <a:gd name="connsiteY580" fmla="*/ 1268632 h 6858000"/>
              <a:gd name="connsiteX581" fmla="*/ 839521 w 7467600"/>
              <a:gd name="connsiteY581" fmla="*/ 1685315 h 6858000"/>
              <a:gd name="connsiteX582" fmla="*/ 1109416 w 7467600"/>
              <a:gd name="connsiteY582" fmla="*/ 2061663 h 6858000"/>
              <a:gd name="connsiteX583" fmla="*/ 1298300 w 7467600"/>
              <a:gd name="connsiteY583" fmla="*/ 2247742 h 6858000"/>
              <a:gd name="connsiteX584" fmla="*/ 1125871 w 7467600"/>
              <a:gd name="connsiteY584" fmla="*/ 1989513 h 6858000"/>
              <a:gd name="connsiteX585" fmla="*/ 981574 w 7467600"/>
              <a:gd name="connsiteY585" fmla="*/ 1783157 h 6858000"/>
              <a:gd name="connsiteX586" fmla="*/ 922198 w 7467600"/>
              <a:gd name="connsiteY586" fmla="*/ 1677437 h 6858000"/>
              <a:gd name="connsiteX587" fmla="*/ 869293 w 7467600"/>
              <a:gd name="connsiteY587" fmla="*/ 1583214 h 6858000"/>
              <a:gd name="connsiteX588" fmla="*/ 751431 w 7467600"/>
              <a:gd name="connsiteY588" fmla="*/ 1405731 h 6858000"/>
              <a:gd name="connsiteX589" fmla="*/ 655236 w 7467600"/>
              <a:gd name="connsiteY589" fmla="*/ 1268632 h 6858000"/>
              <a:gd name="connsiteX590" fmla="*/ 6516292 w 7467600"/>
              <a:gd name="connsiteY590" fmla="*/ 1263064 h 6858000"/>
              <a:gd name="connsiteX591" fmla="*/ 5736320 w 7467600"/>
              <a:gd name="connsiteY591" fmla="*/ 1501803 h 6858000"/>
              <a:gd name="connsiteX592" fmla="*/ 6516292 w 7467600"/>
              <a:gd name="connsiteY592" fmla="*/ 1263064 h 6858000"/>
              <a:gd name="connsiteX593" fmla="*/ 291466 w 7467600"/>
              <a:gd name="connsiteY593" fmla="*/ 1250369 h 6858000"/>
              <a:gd name="connsiteX594" fmla="*/ 323180 w 7467600"/>
              <a:gd name="connsiteY594" fmla="*/ 1435283 h 6858000"/>
              <a:gd name="connsiteX595" fmla="*/ 349381 w 7467600"/>
              <a:gd name="connsiteY595" fmla="*/ 1875041 h 6858000"/>
              <a:gd name="connsiteX596" fmla="*/ 374363 w 7467600"/>
              <a:gd name="connsiteY596" fmla="*/ 1506494 h 6858000"/>
              <a:gd name="connsiteX597" fmla="*/ 302168 w 7467600"/>
              <a:gd name="connsiteY597" fmla="*/ 1274495 h 6858000"/>
              <a:gd name="connsiteX598" fmla="*/ 291466 w 7467600"/>
              <a:gd name="connsiteY598" fmla="*/ 1250369 h 6858000"/>
              <a:gd name="connsiteX599" fmla="*/ 678222 w 7467600"/>
              <a:gd name="connsiteY599" fmla="*/ 1248670 h 6858000"/>
              <a:gd name="connsiteX600" fmla="*/ 775536 w 7467600"/>
              <a:gd name="connsiteY600" fmla="*/ 1388015 h 6858000"/>
              <a:gd name="connsiteX601" fmla="*/ 894529 w 7467600"/>
              <a:gd name="connsiteY601" fmla="*/ 1567739 h 6858000"/>
              <a:gd name="connsiteX602" fmla="*/ 948000 w 7467600"/>
              <a:gd name="connsiteY602" fmla="*/ 1663088 h 6858000"/>
              <a:gd name="connsiteX603" fmla="*/ 1006812 w 7467600"/>
              <a:gd name="connsiteY603" fmla="*/ 1767683 h 6858000"/>
              <a:gd name="connsiteX604" fmla="*/ 1149133 w 7467600"/>
              <a:gd name="connsiteY604" fmla="*/ 1971513 h 6858000"/>
              <a:gd name="connsiteX605" fmla="*/ 1333952 w 7467600"/>
              <a:gd name="connsiteY605" fmla="*/ 2251620 h 6858000"/>
              <a:gd name="connsiteX606" fmla="*/ 1337329 w 7467600"/>
              <a:gd name="connsiteY606" fmla="*/ 2258350 h 6858000"/>
              <a:gd name="connsiteX607" fmla="*/ 1014726 w 7467600"/>
              <a:gd name="connsiteY607" fmla="*/ 1615556 h 6858000"/>
              <a:gd name="connsiteX608" fmla="*/ 678222 w 7467600"/>
              <a:gd name="connsiteY608" fmla="*/ 1248670 h 6858000"/>
              <a:gd name="connsiteX609" fmla="*/ 6691602 w 7467600"/>
              <a:gd name="connsiteY609" fmla="*/ 1140573 h 6858000"/>
              <a:gd name="connsiteX610" fmla="*/ 6571100 w 7467600"/>
              <a:gd name="connsiteY610" fmla="*/ 1183662 h 6858000"/>
              <a:gd name="connsiteX611" fmla="*/ 6241687 w 7467600"/>
              <a:gd name="connsiteY611" fmla="*/ 1257600 h 6858000"/>
              <a:gd name="connsiteX612" fmla="*/ 5693009 w 7467600"/>
              <a:gd name="connsiteY612" fmla="*/ 1478256 h 6858000"/>
              <a:gd name="connsiteX613" fmla="*/ 6548420 w 7467600"/>
              <a:gd name="connsiteY613" fmla="*/ 1214599 h 6858000"/>
              <a:gd name="connsiteX614" fmla="*/ 6605473 w 7467600"/>
              <a:gd name="connsiteY614" fmla="*/ 1184686 h 6858000"/>
              <a:gd name="connsiteX615" fmla="*/ 6691602 w 7467600"/>
              <a:gd name="connsiteY615" fmla="*/ 1140573 h 6858000"/>
              <a:gd name="connsiteX616" fmla="*/ 4002475 w 7467600"/>
              <a:gd name="connsiteY616" fmla="*/ 1037802 h 6858000"/>
              <a:gd name="connsiteX617" fmla="*/ 4000324 w 7467600"/>
              <a:gd name="connsiteY617" fmla="*/ 1039362 h 6858000"/>
              <a:gd name="connsiteX618" fmla="*/ 4002862 w 7467600"/>
              <a:gd name="connsiteY618" fmla="*/ 1042866 h 6858000"/>
              <a:gd name="connsiteX619" fmla="*/ 4002475 w 7467600"/>
              <a:gd name="connsiteY619" fmla="*/ 1037802 h 6858000"/>
              <a:gd name="connsiteX620" fmla="*/ 506322 w 7467600"/>
              <a:gd name="connsiteY620" fmla="*/ 1020997 h 6858000"/>
              <a:gd name="connsiteX621" fmla="*/ 533068 w 7467600"/>
              <a:gd name="connsiteY621" fmla="*/ 1029409 h 6858000"/>
              <a:gd name="connsiteX622" fmla="*/ 1232525 w 7467600"/>
              <a:gd name="connsiteY622" fmla="*/ 1804675 h 6858000"/>
              <a:gd name="connsiteX623" fmla="*/ 1388858 w 7467600"/>
              <a:gd name="connsiteY623" fmla="*/ 2368011 h 6858000"/>
              <a:gd name="connsiteX624" fmla="*/ 1384098 w 7467600"/>
              <a:gd name="connsiteY624" fmla="*/ 2378125 h 6858000"/>
              <a:gd name="connsiteX625" fmla="*/ 1425393 w 7467600"/>
              <a:gd name="connsiteY625" fmla="*/ 2589124 h 6858000"/>
              <a:gd name="connsiteX626" fmla="*/ 1424001 w 7467600"/>
              <a:gd name="connsiteY626" fmla="*/ 2597541 h 6858000"/>
              <a:gd name="connsiteX627" fmla="*/ 2152729 w 7467600"/>
              <a:gd name="connsiteY627" fmla="*/ 2864487 h 6858000"/>
              <a:gd name="connsiteX628" fmla="*/ 2020609 w 7467600"/>
              <a:gd name="connsiteY628" fmla="*/ 2539671 h 6858000"/>
              <a:gd name="connsiteX629" fmla="*/ 2018920 w 7467600"/>
              <a:gd name="connsiteY629" fmla="*/ 2536309 h 6858000"/>
              <a:gd name="connsiteX630" fmla="*/ 1342441 w 7467600"/>
              <a:gd name="connsiteY630" fmla="*/ 1173017 h 6858000"/>
              <a:gd name="connsiteX631" fmla="*/ 1367925 w 7467600"/>
              <a:gd name="connsiteY631" fmla="*/ 1135648 h 6858000"/>
              <a:gd name="connsiteX632" fmla="*/ 1771401 w 7467600"/>
              <a:gd name="connsiteY632" fmla="*/ 1806673 h 6858000"/>
              <a:gd name="connsiteX633" fmla="*/ 1972385 w 7467600"/>
              <a:gd name="connsiteY633" fmla="*/ 2198735 h 6858000"/>
              <a:gd name="connsiteX634" fmla="*/ 2040892 w 7467600"/>
              <a:gd name="connsiteY634" fmla="*/ 2405205 h 6858000"/>
              <a:gd name="connsiteX635" fmla="*/ 2131689 w 7467600"/>
              <a:gd name="connsiteY635" fmla="*/ 1936926 h 6858000"/>
              <a:gd name="connsiteX636" fmla="*/ 2454820 w 7467600"/>
              <a:gd name="connsiteY636" fmla="*/ 1248808 h 6858000"/>
              <a:gd name="connsiteX637" fmla="*/ 2492512 w 7467600"/>
              <a:gd name="connsiteY637" fmla="*/ 1302920 h 6858000"/>
              <a:gd name="connsiteX638" fmla="*/ 2081216 w 7467600"/>
              <a:gd name="connsiteY638" fmla="*/ 2527513 h 6858000"/>
              <a:gd name="connsiteX639" fmla="*/ 2081211 w 7467600"/>
              <a:gd name="connsiteY639" fmla="*/ 2528916 h 6858000"/>
              <a:gd name="connsiteX640" fmla="*/ 2199067 w 7467600"/>
              <a:gd name="connsiteY640" fmla="*/ 2884061 h 6858000"/>
              <a:gd name="connsiteX641" fmla="*/ 3192586 w 7467600"/>
              <a:gd name="connsiteY641" fmla="*/ 3411496 h 6858000"/>
              <a:gd name="connsiteX642" fmla="*/ 3182620 w 7467600"/>
              <a:gd name="connsiteY642" fmla="*/ 3483279 h 6858000"/>
              <a:gd name="connsiteX643" fmla="*/ 2435119 w 7467600"/>
              <a:gd name="connsiteY643" fmla="*/ 3080173 h 6858000"/>
              <a:gd name="connsiteX644" fmla="*/ 2410152 w 7467600"/>
              <a:gd name="connsiteY644" fmla="*/ 3063751 h 6858000"/>
              <a:gd name="connsiteX645" fmla="*/ 2408099 w 7467600"/>
              <a:gd name="connsiteY645" fmla="*/ 3064403 h 6858000"/>
              <a:gd name="connsiteX646" fmla="*/ 2407218 w 7467600"/>
              <a:gd name="connsiteY646" fmla="*/ 3070324 h 6858000"/>
              <a:gd name="connsiteX647" fmla="*/ 2380138 w 7467600"/>
              <a:gd name="connsiteY647" fmla="*/ 3099341 h 6858000"/>
              <a:gd name="connsiteX648" fmla="*/ 1765923 w 7467600"/>
              <a:gd name="connsiteY648" fmla="*/ 3581043 h 6858000"/>
              <a:gd name="connsiteX649" fmla="*/ 1702258 w 7467600"/>
              <a:gd name="connsiteY649" fmla="*/ 3612286 h 6858000"/>
              <a:gd name="connsiteX650" fmla="*/ 1538370 w 7467600"/>
              <a:gd name="connsiteY650" fmla="*/ 3811804 h 6858000"/>
              <a:gd name="connsiteX651" fmla="*/ 542867 w 7467600"/>
              <a:gd name="connsiteY651" fmla="*/ 4944092 h 6858000"/>
              <a:gd name="connsiteX652" fmla="*/ 515800 w 7467600"/>
              <a:gd name="connsiteY652" fmla="*/ 4862180 h 6858000"/>
              <a:gd name="connsiteX653" fmla="*/ 909145 w 7467600"/>
              <a:gd name="connsiteY653" fmla="*/ 4199225 h 6858000"/>
              <a:gd name="connsiteX654" fmla="*/ 1214067 w 7467600"/>
              <a:gd name="connsiteY654" fmla="*/ 3908561 h 6858000"/>
              <a:gd name="connsiteX655" fmla="*/ 640967 w 7467600"/>
              <a:gd name="connsiteY655" fmla="*/ 4105601 h 6858000"/>
              <a:gd name="connsiteX656" fmla="*/ 112563 w 7467600"/>
              <a:gd name="connsiteY656" fmla="*/ 4396952 h 6858000"/>
              <a:gd name="connsiteX657" fmla="*/ 0 w 7467600"/>
              <a:gd name="connsiteY657" fmla="*/ 4466006 h 6858000"/>
              <a:gd name="connsiteX658" fmla="*/ 0 w 7467600"/>
              <a:gd name="connsiteY658" fmla="*/ 4233763 h 6858000"/>
              <a:gd name="connsiteX659" fmla="*/ 36881 w 7467600"/>
              <a:gd name="connsiteY659" fmla="*/ 4200118 h 6858000"/>
              <a:gd name="connsiteX660" fmla="*/ 910534 w 7467600"/>
              <a:gd name="connsiteY660" fmla="*/ 3629753 h 6858000"/>
              <a:gd name="connsiteX661" fmla="*/ 1578717 w 7467600"/>
              <a:gd name="connsiteY661" fmla="*/ 3575982 h 6858000"/>
              <a:gd name="connsiteX662" fmla="*/ 2338780 w 7467600"/>
              <a:gd name="connsiteY662" fmla="*/ 3033725 h 6858000"/>
              <a:gd name="connsiteX663" fmla="*/ 1807991 w 7467600"/>
              <a:gd name="connsiteY663" fmla="*/ 2807184 h 6858000"/>
              <a:gd name="connsiteX664" fmla="*/ 1416358 w 7467600"/>
              <a:gd name="connsiteY664" fmla="*/ 3112571 h 6858000"/>
              <a:gd name="connsiteX665" fmla="*/ 939066 w 7467600"/>
              <a:gd name="connsiteY665" fmla="*/ 3378798 h 6858000"/>
              <a:gd name="connsiteX666" fmla="*/ 115099 w 7467600"/>
              <a:gd name="connsiteY666" fmla="*/ 3607650 h 6858000"/>
              <a:gd name="connsiteX667" fmla="*/ 97284 w 7467600"/>
              <a:gd name="connsiteY667" fmla="*/ 3520393 h 6858000"/>
              <a:gd name="connsiteX668" fmla="*/ 922050 w 7467600"/>
              <a:gd name="connsiteY668" fmla="*/ 3074867 h 6858000"/>
              <a:gd name="connsiteX669" fmla="*/ 1405265 w 7467600"/>
              <a:gd name="connsiteY669" fmla="*/ 3016319 h 6858000"/>
              <a:gd name="connsiteX670" fmla="*/ 1407512 w 7467600"/>
              <a:gd name="connsiteY670" fmla="*/ 3018001 h 6858000"/>
              <a:gd name="connsiteX671" fmla="*/ 1726266 w 7467600"/>
              <a:gd name="connsiteY671" fmla="*/ 2777274 h 6858000"/>
              <a:gd name="connsiteX672" fmla="*/ 625390 w 7467600"/>
              <a:gd name="connsiteY672" fmla="*/ 2514541 h 6858000"/>
              <a:gd name="connsiteX673" fmla="*/ 619799 w 7467600"/>
              <a:gd name="connsiteY673" fmla="*/ 2527180 h 6858000"/>
              <a:gd name="connsiteX674" fmla="*/ 310030 w 7467600"/>
              <a:gd name="connsiteY674" fmla="*/ 2771818 h 6858000"/>
              <a:gd name="connsiteX675" fmla="*/ 173877 w 7467600"/>
              <a:gd name="connsiteY675" fmla="*/ 2937056 h 6858000"/>
              <a:gd name="connsiteX676" fmla="*/ 77889 w 7467600"/>
              <a:gd name="connsiteY676" fmla="*/ 3138440 h 6858000"/>
              <a:gd name="connsiteX677" fmla="*/ 0 w 7467600"/>
              <a:gd name="connsiteY677" fmla="*/ 3271395 h 6858000"/>
              <a:gd name="connsiteX678" fmla="*/ 0 w 7467600"/>
              <a:gd name="connsiteY678" fmla="*/ 3153002 h 6858000"/>
              <a:gd name="connsiteX679" fmla="*/ 2386 w 7467600"/>
              <a:gd name="connsiteY679" fmla="*/ 3149203 h 6858000"/>
              <a:gd name="connsiteX680" fmla="*/ 89753 w 7467600"/>
              <a:gd name="connsiteY680" fmla="*/ 2987702 h 6858000"/>
              <a:gd name="connsiteX681" fmla="*/ 76869 w 7467600"/>
              <a:gd name="connsiteY681" fmla="*/ 3005404 h 6858000"/>
              <a:gd name="connsiteX682" fmla="*/ 32049 w 7467600"/>
              <a:gd name="connsiteY682" fmla="*/ 3065814 h 6858000"/>
              <a:gd name="connsiteX683" fmla="*/ 0 w 7467600"/>
              <a:gd name="connsiteY683" fmla="*/ 3108744 h 6858000"/>
              <a:gd name="connsiteX684" fmla="*/ 0 w 7467600"/>
              <a:gd name="connsiteY684" fmla="*/ 3058059 h 6858000"/>
              <a:gd name="connsiteX685" fmla="*/ 7610 w 7467600"/>
              <a:gd name="connsiteY685" fmla="*/ 3047889 h 6858000"/>
              <a:gd name="connsiteX686" fmla="*/ 52419 w 7467600"/>
              <a:gd name="connsiteY686" fmla="*/ 2987479 h 6858000"/>
              <a:gd name="connsiteX687" fmla="*/ 59142 w 7467600"/>
              <a:gd name="connsiteY687" fmla="*/ 2978488 h 6858000"/>
              <a:gd name="connsiteX688" fmla="*/ 0 w 7467600"/>
              <a:gd name="connsiteY688" fmla="*/ 3015334 h 6858000"/>
              <a:gd name="connsiteX689" fmla="*/ 0 w 7467600"/>
              <a:gd name="connsiteY689" fmla="*/ 2914286 h 6858000"/>
              <a:gd name="connsiteX690" fmla="*/ 36383 w 7467600"/>
              <a:gd name="connsiteY690" fmla="*/ 2901128 h 6858000"/>
              <a:gd name="connsiteX691" fmla="*/ 156329 w 7467600"/>
              <a:gd name="connsiteY691" fmla="*/ 2840533 h 6858000"/>
              <a:gd name="connsiteX692" fmla="*/ 358355 w 7467600"/>
              <a:gd name="connsiteY692" fmla="*/ 2620471 h 6858000"/>
              <a:gd name="connsiteX693" fmla="*/ 510577 w 7467600"/>
              <a:gd name="connsiteY693" fmla="*/ 2501244 h 6858000"/>
              <a:gd name="connsiteX694" fmla="*/ 211967 w 7467600"/>
              <a:gd name="connsiteY694" fmla="*/ 2479171 h 6858000"/>
              <a:gd name="connsiteX695" fmla="*/ 0 w 7467600"/>
              <a:gd name="connsiteY695" fmla="*/ 2476398 h 6858000"/>
              <a:gd name="connsiteX696" fmla="*/ 0 w 7467600"/>
              <a:gd name="connsiteY696" fmla="*/ 2389189 h 6858000"/>
              <a:gd name="connsiteX697" fmla="*/ 103062 w 7467600"/>
              <a:gd name="connsiteY697" fmla="*/ 2389518 h 6858000"/>
              <a:gd name="connsiteX698" fmla="*/ 510734 w 7467600"/>
              <a:gd name="connsiteY698" fmla="*/ 2416201 h 6858000"/>
              <a:gd name="connsiteX699" fmla="*/ 279257 w 7467600"/>
              <a:gd name="connsiteY699" fmla="*/ 2092102 h 6858000"/>
              <a:gd name="connsiteX700" fmla="*/ 65265 w 7467600"/>
              <a:gd name="connsiteY700" fmla="*/ 2006049 h 6858000"/>
              <a:gd name="connsiteX701" fmla="*/ 0 w 7467600"/>
              <a:gd name="connsiteY701" fmla="*/ 1982532 h 6858000"/>
              <a:gd name="connsiteX702" fmla="*/ 0 w 7467600"/>
              <a:gd name="connsiteY702" fmla="*/ 1912789 h 6858000"/>
              <a:gd name="connsiteX703" fmla="*/ 97460 w 7467600"/>
              <a:gd name="connsiteY703" fmla="*/ 1953725 h 6858000"/>
              <a:gd name="connsiteX704" fmla="*/ 221272 w 7467600"/>
              <a:gd name="connsiteY704" fmla="*/ 1980766 h 6858000"/>
              <a:gd name="connsiteX705" fmla="*/ 116765 w 7467600"/>
              <a:gd name="connsiteY705" fmla="*/ 1911033 h 6858000"/>
              <a:gd name="connsiteX706" fmla="*/ 16405 w 7467600"/>
              <a:gd name="connsiteY706" fmla="*/ 1803412 h 6858000"/>
              <a:gd name="connsiteX707" fmla="*/ 0 w 7467600"/>
              <a:gd name="connsiteY707" fmla="*/ 1784777 h 6858000"/>
              <a:gd name="connsiteX708" fmla="*/ 0 w 7467600"/>
              <a:gd name="connsiteY708" fmla="*/ 1740082 h 6858000"/>
              <a:gd name="connsiteX709" fmla="*/ 39394 w 7467600"/>
              <a:gd name="connsiteY709" fmla="*/ 1784856 h 6858000"/>
              <a:gd name="connsiteX710" fmla="*/ 135813 w 7467600"/>
              <a:gd name="connsiteY710" fmla="*/ 1888838 h 6858000"/>
              <a:gd name="connsiteX711" fmla="*/ 242575 w 7467600"/>
              <a:gd name="connsiteY711" fmla="*/ 1958841 h 6858000"/>
              <a:gd name="connsiteX712" fmla="*/ 82197 w 7467600"/>
              <a:gd name="connsiteY712" fmla="*/ 1754826 h 6858000"/>
              <a:gd name="connsiteX713" fmla="*/ 0 w 7467600"/>
              <a:gd name="connsiteY713" fmla="*/ 1679650 h 6858000"/>
              <a:gd name="connsiteX714" fmla="*/ 0 w 7467600"/>
              <a:gd name="connsiteY714" fmla="*/ 1602463 h 6858000"/>
              <a:gd name="connsiteX715" fmla="*/ 84689 w 7467600"/>
              <a:gd name="connsiteY715" fmla="*/ 1677442 h 6858000"/>
              <a:gd name="connsiteX716" fmla="*/ 298437 w 7467600"/>
              <a:gd name="connsiteY716" fmla="*/ 1968019 h 6858000"/>
              <a:gd name="connsiteX717" fmla="*/ 227269 w 7467600"/>
              <a:gd name="connsiteY717" fmla="*/ 1114064 h 6858000"/>
              <a:gd name="connsiteX718" fmla="*/ 248003 w 7467600"/>
              <a:gd name="connsiteY718" fmla="*/ 1089613 h 6858000"/>
              <a:gd name="connsiteX719" fmla="*/ 427020 w 7467600"/>
              <a:gd name="connsiteY719" fmla="*/ 1619803 h 6858000"/>
              <a:gd name="connsiteX720" fmla="*/ 340345 w 7467600"/>
              <a:gd name="connsiteY720" fmla="*/ 2027739 h 6858000"/>
              <a:gd name="connsiteX721" fmla="*/ 360865 w 7467600"/>
              <a:gd name="connsiteY721" fmla="*/ 2044827 h 6858000"/>
              <a:gd name="connsiteX722" fmla="*/ 560414 w 7467600"/>
              <a:gd name="connsiteY722" fmla="*/ 2421457 h 6858000"/>
              <a:gd name="connsiteX723" fmla="*/ 1359703 w 7467600"/>
              <a:gd name="connsiteY723" fmla="*/ 2578554 h 6858000"/>
              <a:gd name="connsiteX724" fmla="*/ 1359422 w 7467600"/>
              <a:gd name="connsiteY724" fmla="*/ 2577994 h 6858000"/>
              <a:gd name="connsiteX725" fmla="*/ 828701 w 7467600"/>
              <a:gd name="connsiteY725" fmla="*/ 1839520 h 6858000"/>
              <a:gd name="connsiteX726" fmla="*/ 494427 w 7467600"/>
              <a:gd name="connsiteY726" fmla="*/ 1092333 h 6858000"/>
              <a:gd name="connsiteX727" fmla="*/ 506322 w 7467600"/>
              <a:gd name="connsiteY727" fmla="*/ 1020997 h 6858000"/>
              <a:gd name="connsiteX728" fmla="*/ 4570198 w 7467600"/>
              <a:gd name="connsiteY728" fmla="*/ 978081 h 6858000"/>
              <a:gd name="connsiteX729" fmla="*/ 4523691 w 7467600"/>
              <a:gd name="connsiteY729" fmla="*/ 1127776 h 6858000"/>
              <a:gd name="connsiteX730" fmla="*/ 4509875 w 7467600"/>
              <a:gd name="connsiteY730" fmla="*/ 1167552 h 6858000"/>
              <a:gd name="connsiteX731" fmla="*/ 4478168 w 7467600"/>
              <a:gd name="connsiteY731" fmla="*/ 1260735 h 6858000"/>
              <a:gd name="connsiteX732" fmla="*/ 4409309 w 7467600"/>
              <a:gd name="connsiteY732" fmla="*/ 1666996 h 6858000"/>
              <a:gd name="connsiteX733" fmla="*/ 4370031 w 7467600"/>
              <a:gd name="connsiteY733" fmla="*/ 1955666 h 6858000"/>
              <a:gd name="connsiteX734" fmla="*/ 4570198 w 7467600"/>
              <a:gd name="connsiteY734" fmla="*/ 978081 h 6858000"/>
              <a:gd name="connsiteX735" fmla="*/ 4557898 w 7467600"/>
              <a:gd name="connsiteY735" fmla="*/ 900011 h 6858000"/>
              <a:gd name="connsiteX736" fmla="*/ 4344840 w 7467600"/>
              <a:gd name="connsiteY736" fmla="*/ 1922038 h 6858000"/>
              <a:gd name="connsiteX737" fmla="*/ 4378710 w 7467600"/>
              <a:gd name="connsiteY737" fmla="*/ 1665516 h 6858000"/>
              <a:gd name="connsiteX738" fmla="*/ 4448798 w 7467600"/>
              <a:gd name="connsiteY738" fmla="*/ 1253024 h 6858000"/>
              <a:gd name="connsiteX739" fmla="*/ 4480315 w 7467600"/>
              <a:gd name="connsiteY739" fmla="*/ 1158454 h 6858000"/>
              <a:gd name="connsiteX740" fmla="*/ 4494133 w 7467600"/>
              <a:gd name="connsiteY740" fmla="*/ 1118676 h 6858000"/>
              <a:gd name="connsiteX741" fmla="*/ 4557898 w 7467600"/>
              <a:gd name="connsiteY741" fmla="*/ 900011 h 6858000"/>
              <a:gd name="connsiteX742" fmla="*/ 5870151 w 7467600"/>
              <a:gd name="connsiteY742" fmla="*/ 898890 h 6858000"/>
              <a:gd name="connsiteX743" fmla="*/ 5861335 w 7467600"/>
              <a:gd name="connsiteY743" fmla="*/ 899177 h 6858000"/>
              <a:gd name="connsiteX744" fmla="*/ 5843702 w 7467600"/>
              <a:gd name="connsiteY744" fmla="*/ 899748 h 6858000"/>
              <a:gd name="connsiteX745" fmla="*/ 5651107 w 7467600"/>
              <a:gd name="connsiteY745" fmla="*/ 920306 h 6858000"/>
              <a:gd name="connsiteX746" fmla="*/ 5459407 w 7467600"/>
              <a:gd name="connsiteY746" fmla="*/ 940975 h 6858000"/>
              <a:gd name="connsiteX747" fmla="*/ 5374846 w 7467600"/>
              <a:gd name="connsiteY747" fmla="*/ 941988 h 6858000"/>
              <a:gd name="connsiteX748" fmla="*/ 5256105 w 7467600"/>
              <a:gd name="connsiteY748" fmla="*/ 945632 h 6858000"/>
              <a:gd name="connsiteX749" fmla="*/ 5107071 w 7467600"/>
              <a:gd name="connsiteY749" fmla="*/ 969720 h 6858000"/>
              <a:gd name="connsiteX750" fmla="*/ 4998681 w 7467600"/>
              <a:gd name="connsiteY750" fmla="*/ 988771 h 6858000"/>
              <a:gd name="connsiteX751" fmla="*/ 5870151 w 7467600"/>
              <a:gd name="connsiteY751" fmla="*/ 898890 h 6858000"/>
              <a:gd name="connsiteX752" fmla="*/ 5504425 w 7467600"/>
              <a:gd name="connsiteY752" fmla="*/ 848067 h 6858000"/>
              <a:gd name="connsiteX753" fmla="*/ 4968849 w 7467600"/>
              <a:gd name="connsiteY753" fmla="*/ 962318 h 6858000"/>
              <a:gd name="connsiteX754" fmla="*/ 5104039 w 7467600"/>
              <a:gd name="connsiteY754" fmla="*/ 940634 h 6858000"/>
              <a:gd name="connsiteX755" fmla="*/ 5256311 w 7467600"/>
              <a:gd name="connsiteY755" fmla="*/ 916490 h 6858000"/>
              <a:gd name="connsiteX756" fmla="*/ 5377381 w 7467600"/>
              <a:gd name="connsiteY756" fmla="*/ 912671 h 6858000"/>
              <a:gd name="connsiteX757" fmla="*/ 5460148 w 7467600"/>
              <a:gd name="connsiteY757" fmla="*/ 911442 h 6858000"/>
              <a:gd name="connsiteX758" fmla="*/ 5648971 w 7467600"/>
              <a:gd name="connsiteY758" fmla="*/ 891331 h 6858000"/>
              <a:gd name="connsiteX759" fmla="*/ 5844807 w 7467600"/>
              <a:gd name="connsiteY759" fmla="*/ 870718 h 6858000"/>
              <a:gd name="connsiteX760" fmla="*/ 5862975 w 7467600"/>
              <a:gd name="connsiteY760" fmla="*/ 869756 h 6858000"/>
              <a:gd name="connsiteX761" fmla="*/ 5920887 w 7467600"/>
              <a:gd name="connsiteY761" fmla="*/ 865929 h 6858000"/>
              <a:gd name="connsiteX762" fmla="*/ 5504425 w 7467600"/>
              <a:gd name="connsiteY762" fmla="*/ 848067 h 6858000"/>
              <a:gd name="connsiteX763" fmla="*/ 3607114 w 7467600"/>
              <a:gd name="connsiteY763" fmla="*/ 467441 h 6858000"/>
              <a:gd name="connsiteX764" fmla="*/ 3296242 w 7467600"/>
              <a:gd name="connsiteY764" fmla="*/ 807991 h 6858000"/>
              <a:gd name="connsiteX765" fmla="*/ 3174674 w 7467600"/>
              <a:gd name="connsiteY765" fmla="*/ 919759 h 6858000"/>
              <a:gd name="connsiteX766" fmla="*/ 3042978 w 7467600"/>
              <a:gd name="connsiteY766" fmla="*/ 1054894 h 6858000"/>
              <a:gd name="connsiteX767" fmla="*/ 2968914 w 7467600"/>
              <a:gd name="connsiteY767" fmla="*/ 1133756 h 6858000"/>
              <a:gd name="connsiteX768" fmla="*/ 3103823 w 7467600"/>
              <a:gd name="connsiteY768" fmla="*/ 1026814 h 6858000"/>
              <a:gd name="connsiteX769" fmla="*/ 3607114 w 7467600"/>
              <a:gd name="connsiteY769" fmla="*/ 467441 h 6858000"/>
              <a:gd name="connsiteX770" fmla="*/ 3744487 w 7467600"/>
              <a:gd name="connsiteY770" fmla="*/ 383136 h 6858000"/>
              <a:gd name="connsiteX771" fmla="*/ 3970213 w 7467600"/>
              <a:gd name="connsiteY771" fmla="*/ 995559 h 6858000"/>
              <a:gd name="connsiteX772" fmla="*/ 3744487 w 7467600"/>
              <a:gd name="connsiteY772" fmla="*/ 383136 h 6858000"/>
              <a:gd name="connsiteX773" fmla="*/ 3624562 w 7467600"/>
              <a:gd name="connsiteY773" fmla="*/ 367041 h 6858000"/>
              <a:gd name="connsiteX774" fmla="*/ 3489712 w 7467600"/>
              <a:gd name="connsiteY774" fmla="*/ 485386 h 6858000"/>
              <a:gd name="connsiteX775" fmla="*/ 3182994 w 7467600"/>
              <a:gd name="connsiteY775" fmla="*/ 828265 h 6858000"/>
              <a:gd name="connsiteX776" fmla="*/ 2892114 w 7467600"/>
              <a:gd name="connsiteY776" fmla="*/ 1172635 h 6858000"/>
              <a:gd name="connsiteX777" fmla="*/ 3021459 w 7467600"/>
              <a:gd name="connsiteY777" fmla="*/ 1035385 h 6858000"/>
              <a:gd name="connsiteX778" fmla="*/ 3153873 w 7467600"/>
              <a:gd name="connsiteY778" fmla="*/ 898971 h 6858000"/>
              <a:gd name="connsiteX779" fmla="*/ 3276511 w 7467600"/>
              <a:gd name="connsiteY779" fmla="*/ 786423 h 6858000"/>
              <a:gd name="connsiteX780" fmla="*/ 3584154 w 7467600"/>
              <a:gd name="connsiteY780" fmla="*/ 448218 h 6858000"/>
              <a:gd name="connsiteX781" fmla="*/ 3624562 w 7467600"/>
              <a:gd name="connsiteY781" fmla="*/ 367041 h 6858000"/>
              <a:gd name="connsiteX782" fmla="*/ 3766672 w 7467600"/>
              <a:gd name="connsiteY782" fmla="*/ 359429 h 6858000"/>
              <a:gd name="connsiteX783" fmla="*/ 3996338 w 7467600"/>
              <a:gd name="connsiteY783" fmla="*/ 968237 h 6858000"/>
              <a:gd name="connsiteX784" fmla="*/ 3766672 w 7467600"/>
              <a:gd name="connsiteY784" fmla="*/ 359429 h 6858000"/>
              <a:gd name="connsiteX785" fmla="*/ 5805386 w 7467600"/>
              <a:gd name="connsiteY785" fmla="*/ 239240 h 6858000"/>
              <a:gd name="connsiteX786" fmla="*/ 5736947 w 7467600"/>
              <a:gd name="connsiteY786" fmla="*/ 261367 h 6858000"/>
              <a:gd name="connsiteX787" fmla="*/ 5427012 w 7467600"/>
              <a:gd name="connsiteY787" fmla="*/ 311272 h 6858000"/>
              <a:gd name="connsiteX788" fmla="*/ 5147818 w 7467600"/>
              <a:gd name="connsiteY788" fmla="*/ 322112 h 6858000"/>
              <a:gd name="connsiteX789" fmla="*/ 5060854 w 7467600"/>
              <a:gd name="connsiteY789" fmla="*/ 311882 h 6858000"/>
              <a:gd name="connsiteX790" fmla="*/ 4945989 w 7467600"/>
              <a:gd name="connsiteY790" fmla="*/ 300516 h 6858000"/>
              <a:gd name="connsiteX791" fmla="*/ 5410479 w 7467600"/>
              <a:gd name="connsiteY791" fmla="*/ 348434 h 6858000"/>
              <a:gd name="connsiteX792" fmla="*/ 5805386 w 7467600"/>
              <a:gd name="connsiteY792" fmla="*/ 239240 h 6858000"/>
              <a:gd name="connsiteX793" fmla="*/ 5905192 w 7467600"/>
              <a:gd name="connsiteY793" fmla="*/ 163079 h 6858000"/>
              <a:gd name="connsiteX794" fmla="*/ 5865655 w 7467600"/>
              <a:gd name="connsiteY794" fmla="*/ 171901 h 6858000"/>
              <a:gd name="connsiteX795" fmla="*/ 5259740 w 7467600"/>
              <a:gd name="connsiteY795" fmla="*/ 257013 h 6858000"/>
              <a:gd name="connsiteX796" fmla="*/ 5208466 w 7467600"/>
              <a:gd name="connsiteY796" fmla="*/ 257550 h 6858000"/>
              <a:gd name="connsiteX797" fmla="*/ 4980204 w 7467600"/>
              <a:gd name="connsiteY797" fmla="*/ 271903 h 6858000"/>
              <a:gd name="connsiteX798" fmla="*/ 5068068 w 7467600"/>
              <a:gd name="connsiteY798" fmla="*/ 282244 h 6858000"/>
              <a:gd name="connsiteX799" fmla="*/ 5153231 w 7467600"/>
              <a:gd name="connsiteY799" fmla="*/ 292240 h 6858000"/>
              <a:gd name="connsiteX800" fmla="*/ 5426491 w 7467600"/>
              <a:gd name="connsiteY800" fmla="*/ 281128 h 6858000"/>
              <a:gd name="connsiteX801" fmla="*/ 5731212 w 7467600"/>
              <a:gd name="connsiteY801" fmla="*/ 231951 h 6858000"/>
              <a:gd name="connsiteX802" fmla="*/ 5905192 w 7467600"/>
              <a:gd name="connsiteY802" fmla="*/ 163079 h 6858000"/>
              <a:gd name="connsiteX803" fmla="*/ 5944437 w 7467600"/>
              <a:gd name="connsiteY803" fmla="*/ 113829 h 6858000"/>
              <a:gd name="connsiteX804" fmla="*/ 5825032 w 7467600"/>
              <a:gd name="connsiteY804" fmla="*/ 146405 h 6858000"/>
              <a:gd name="connsiteX805" fmla="*/ 4955599 w 7467600"/>
              <a:gd name="connsiteY805" fmla="*/ 247008 h 6858000"/>
              <a:gd name="connsiteX806" fmla="*/ 5210104 w 7467600"/>
              <a:gd name="connsiteY806" fmla="*/ 228123 h 6858000"/>
              <a:gd name="connsiteX807" fmla="*/ 5261015 w 7467600"/>
              <a:gd name="connsiteY807" fmla="*/ 227087 h 6858000"/>
              <a:gd name="connsiteX808" fmla="*/ 5861181 w 7467600"/>
              <a:gd name="connsiteY808" fmla="*/ 143093 h 6858000"/>
              <a:gd name="connsiteX809" fmla="*/ 5961252 w 7467600"/>
              <a:gd name="connsiteY809" fmla="*/ 114820 h 6858000"/>
              <a:gd name="connsiteX810" fmla="*/ 5944437 w 7467600"/>
              <a:gd name="connsiteY810" fmla="*/ 113829 h 6858000"/>
              <a:gd name="connsiteX811" fmla="*/ 3882765 w 7467600"/>
              <a:gd name="connsiteY811" fmla="*/ 0 h 6858000"/>
              <a:gd name="connsiteX812" fmla="*/ 3995099 w 7467600"/>
              <a:gd name="connsiteY812" fmla="*/ 0 h 6858000"/>
              <a:gd name="connsiteX813" fmla="*/ 4163818 w 7467600"/>
              <a:gd name="connsiteY813" fmla="*/ 234104 h 6858000"/>
              <a:gd name="connsiteX814" fmla="*/ 4172099 w 7467600"/>
              <a:gd name="connsiteY814" fmla="*/ 234207 h 6858000"/>
              <a:gd name="connsiteX815" fmla="*/ 4784282 w 7467600"/>
              <a:gd name="connsiteY815" fmla="*/ 276561 h 6858000"/>
              <a:gd name="connsiteX816" fmla="*/ 4801687 w 7467600"/>
              <a:gd name="connsiteY816" fmla="*/ 267764 h 6858000"/>
              <a:gd name="connsiteX817" fmla="*/ 6082788 w 7467600"/>
              <a:gd name="connsiteY817" fmla="*/ 64119 h 6858000"/>
              <a:gd name="connsiteX818" fmla="*/ 6099442 w 7467600"/>
              <a:gd name="connsiteY818" fmla="*/ 82568 h 6858000"/>
              <a:gd name="connsiteX819" fmla="*/ 4804137 w 7467600"/>
              <a:gd name="connsiteY819" fmla="*/ 320931 h 6858000"/>
              <a:gd name="connsiteX820" fmla="*/ 4227047 w 7467600"/>
              <a:gd name="connsiteY820" fmla="*/ 313415 h 6858000"/>
              <a:gd name="connsiteX821" fmla="*/ 4346041 w 7467600"/>
              <a:gd name="connsiteY821" fmla="*/ 456086 h 6858000"/>
              <a:gd name="connsiteX822" fmla="*/ 4870967 w 7467600"/>
              <a:gd name="connsiteY822" fmla="*/ 963061 h 6858000"/>
              <a:gd name="connsiteX823" fmla="*/ 4889647 w 7467600"/>
              <a:gd name="connsiteY823" fmla="*/ 957147 h 6858000"/>
              <a:gd name="connsiteX824" fmla="*/ 5422504 w 7467600"/>
              <a:gd name="connsiteY824" fmla="*/ 805191 h 6858000"/>
              <a:gd name="connsiteX825" fmla="*/ 6087656 w 7467600"/>
              <a:gd name="connsiteY825" fmla="*/ 826703 h 6858000"/>
              <a:gd name="connsiteX826" fmla="*/ 6058717 w 7467600"/>
              <a:gd name="connsiteY826" fmla="*/ 865992 h 6858000"/>
              <a:gd name="connsiteX827" fmla="*/ 4974153 w 7467600"/>
              <a:gd name="connsiteY827" fmla="*/ 1045456 h 6858000"/>
              <a:gd name="connsiteX828" fmla="*/ 5627835 w 7467600"/>
              <a:gd name="connsiteY828" fmla="*/ 1472077 h 6858000"/>
              <a:gd name="connsiteX829" fmla="*/ 5629817 w 7467600"/>
              <a:gd name="connsiteY829" fmla="*/ 1471412 h 6858000"/>
              <a:gd name="connsiteX830" fmla="*/ 5634124 w 7467600"/>
              <a:gd name="connsiteY830" fmla="*/ 1470572 h 6858000"/>
              <a:gd name="connsiteX831" fmla="*/ 5755832 w 7467600"/>
              <a:gd name="connsiteY831" fmla="*/ 1383886 h 6858000"/>
              <a:gd name="connsiteX832" fmla="*/ 6014186 w 7467600"/>
              <a:gd name="connsiteY832" fmla="*/ 1279799 h 6858000"/>
              <a:gd name="connsiteX833" fmla="*/ 6901619 w 7467600"/>
              <a:gd name="connsiteY833" fmla="*/ 1047874 h 6858000"/>
              <a:gd name="connsiteX834" fmla="*/ 6931566 w 7467600"/>
              <a:gd name="connsiteY834" fmla="*/ 1062034 h 6858000"/>
              <a:gd name="connsiteX835" fmla="*/ 5790982 w 7467600"/>
              <a:gd name="connsiteY835" fmla="*/ 1561380 h 6858000"/>
              <a:gd name="connsiteX836" fmla="*/ 6188971 w 7467600"/>
              <a:gd name="connsiteY836" fmla="*/ 1755168 h 6858000"/>
              <a:gd name="connsiteX837" fmla="*/ 6202446 w 7467600"/>
              <a:gd name="connsiteY837" fmla="*/ 1752268 h 6858000"/>
              <a:gd name="connsiteX838" fmla="*/ 7179560 w 7467600"/>
              <a:gd name="connsiteY838" fmla="*/ 1467551 h 6858000"/>
              <a:gd name="connsiteX839" fmla="*/ 7158730 w 7467600"/>
              <a:gd name="connsiteY839" fmla="*/ 1507835 h 6858000"/>
              <a:gd name="connsiteX840" fmla="*/ 6326959 w 7467600"/>
              <a:gd name="connsiteY840" fmla="*/ 1817686 h 6858000"/>
              <a:gd name="connsiteX841" fmla="*/ 6537433 w 7467600"/>
              <a:gd name="connsiteY841" fmla="*/ 1907790 h 6858000"/>
              <a:gd name="connsiteX842" fmla="*/ 6550221 w 7467600"/>
              <a:gd name="connsiteY842" fmla="*/ 1910729 h 6858000"/>
              <a:gd name="connsiteX843" fmla="*/ 6964438 w 7467600"/>
              <a:gd name="connsiteY843" fmla="*/ 2209505 h 6858000"/>
              <a:gd name="connsiteX844" fmla="*/ 7367862 w 7467600"/>
              <a:gd name="connsiteY844" fmla="*/ 2806833 h 6858000"/>
              <a:gd name="connsiteX845" fmla="*/ 7364329 w 7467600"/>
              <a:gd name="connsiteY845" fmla="*/ 2826907 h 6858000"/>
              <a:gd name="connsiteX846" fmla="*/ 7290545 w 7467600"/>
              <a:gd name="connsiteY846" fmla="*/ 2850663 h 6858000"/>
              <a:gd name="connsiteX847" fmla="*/ 6472036 w 7467600"/>
              <a:gd name="connsiteY847" fmla="*/ 1959003 h 6858000"/>
              <a:gd name="connsiteX848" fmla="*/ 5792897 w 7467600"/>
              <a:gd name="connsiteY848" fmla="*/ 1647747 h 6858000"/>
              <a:gd name="connsiteX849" fmla="*/ 5842751 w 7467600"/>
              <a:gd name="connsiteY849" fmla="*/ 1816112 h 6858000"/>
              <a:gd name="connsiteX850" fmla="*/ 5847424 w 7467600"/>
              <a:gd name="connsiteY850" fmla="*/ 1815776 h 6858000"/>
              <a:gd name="connsiteX851" fmla="*/ 6399821 w 7467600"/>
              <a:gd name="connsiteY851" fmla="*/ 2344799 h 6858000"/>
              <a:gd name="connsiteX852" fmla="*/ 6323232 w 7467600"/>
              <a:gd name="connsiteY852" fmla="*/ 2389634 h 6858000"/>
              <a:gd name="connsiteX853" fmla="*/ 5942958 w 7467600"/>
              <a:gd name="connsiteY853" fmla="*/ 2077708 h 6858000"/>
              <a:gd name="connsiteX854" fmla="*/ 5921559 w 7467600"/>
              <a:gd name="connsiteY854" fmla="*/ 2378596 h 6858000"/>
              <a:gd name="connsiteX855" fmla="*/ 5817651 w 7467600"/>
              <a:gd name="connsiteY855" fmla="*/ 3023919 h 6858000"/>
              <a:gd name="connsiteX856" fmla="*/ 5729634 w 7467600"/>
              <a:gd name="connsiteY856" fmla="*/ 3051849 h 6858000"/>
              <a:gd name="connsiteX857" fmla="*/ 5611018 w 7467600"/>
              <a:gd name="connsiteY857" fmla="*/ 2316769 h 6858000"/>
              <a:gd name="connsiteX858" fmla="*/ 5687608 w 7467600"/>
              <a:gd name="connsiteY858" fmla="*/ 2039972 h 6858000"/>
              <a:gd name="connsiteX859" fmla="*/ 5657554 w 7467600"/>
              <a:gd name="connsiteY859" fmla="*/ 1576445 h 6858000"/>
              <a:gd name="connsiteX860" fmla="*/ 5150475 w 7467600"/>
              <a:gd name="connsiteY860" fmla="*/ 1274012 h 6858000"/>
              <a:gd name="connsiteX861" fmla="*/ 5349142 w 7467600"/>
              <a:gd name="connsiteY861" fmla="*/ 2204405 h 6858000"/>
              <a:gd name="connsiteX862" fmla="*/ 5262214 w 7467600"/>
              <a:gd name="connsiteY862" fmla="*/ 2233836 h 6858000"/>
              <a:gd name="connsiteX863" fmla="*/ 4981539 w 7467600"/>
              <a:gd name="connsiteY863" fmla="*/ 1542201 h 6858000"/>
              <a:gd name="connsiteX864" fmla="*/ 4958461 w 7467600"/>
              <a:gd name="connsiteY864" fmla="*/ 1136957 h 6858000"/>
              <a:gd name="connsiteX865" fmla="*/ 4655015 w 7467600"/>
              <a:gd name="connsiteY865" fmla="*/ 891426 h 6858000"/>
              <a:gd name="connsiteX866" fmla="*/ 4348002 w 7467600"/>
              <a:gd name="connsiteY866" fmla="*/ 2205895 h 6858000"/>
              <a:gd name="connsiteX867" fmla="*/ 4262250 w 7467600"/>
              <a:gd name="connsiteY867" fmla="*/ 2219972 h 6858000"/>
              <a:gd name="connsiteX868" fmla="*/ 4550611 w 7467600"/>
              <a:gd name="connsiteY868" fmla="*/ 817540 h 6858000"/>
              <a:gd name="connsiteX869" fmla="*/ 4564418 w 7467600"/>
              <a:gd name="connsiteY869" fmla="*/ 808293 h 6858000"/>
              <a:gd name="connsiteX870" fmla="*/ 4266388 w 7467600"/>
              <a:gd name="connsiteY870" fmla="*/ 500083 h 6858000"/>
              <a:gd name="connsiteX871" fmla="*/ 4032842 w 7467600"/>
              <a:gd name="connsiteY871" fmla="*/ 211809 h 6858000"/>
              <a:gd name="connsiteX872" fmla="*/ 3882765 w 7467600"/>
              <a:gd name="connsiteY872" fmla="*/ 0 h 6858000"/>
              <a:gd name="connsiteX873" fmla="*/ 3721337 w 7467600"/>
              <a:gd name="connsiteY873" fmla="*/ 0 h 6858000"/>
              <a:gd name="connsiteX874" fmla="*/ 3797544 w 7467600"/>
              <a:gd name="connsiteY874" fmla="*/ 0 h 6858000"/>
              <a:gd name="connsiteX875" fmla="*/ 3775734 w 7467600"/>
              <a:gd name="connsiteY875" fmla="*/ 95131 h 6858000"/>
              <a:gd name="connsiteX876" fmla="*/ 3724807 w 7467600"/>
              <a:gd name="connsiteY876" fmla="*/ 272257 h 6858000"/>
              <a:gd name="connsiteX877" fmla="*/ 3726844 w 7467600"/>
              <a:gd name="connsiteY877" fmla="*/ 282988 h 6858000"/>
              <a:gd name="connsiteX878" fmla="*/ 3742664 w 7467600"/>
              <a:gd name="connsiteY878" fmla="*/ 279918 h 6858000"/>
              <a:gd name="connsiteX879" fmla="*/ 4103910 w 7467600"/>
              <a:gd name="connsiteY879" fmla="*/ 1161917 h 6858000"/>
              <a:gd name="connsiteX880" fmla="*/ 4020269 w 7467600"/>
              <a:gd name="connsiteY880" fmla="*/ 1200406 h 6858000"/>
              <a:gd name="connsiteX881" fmla="*/ 3674882 w 7467600"/>
              <a:gd name="connsiteY881" fmla="*/ 488524 h 6858000"/>
              <a:gd name="connsiteX882" fmla="*/ 3132682 w 7467600"/>
              <a:gd name="connsiteY882" fmla="*/ 1072284 h 6858000"/>
              <a:gd name="connsiteX883" fmla="*/ 2716346 w 7467600"/>
              <a:gd name="connsiteY883" fmla="*/ 1276376 h 6858000"/>
              <a:gd name="connsiteX884" fmla="*/ 2716772 w 7467600"/>
              <a:gd name="connsiteY884" fmla="*/ 1255462 h 6858000"/>
              <a:gd name="connsiteX885" fmla="*/ 3471096 w 7467600"/>
              <a:gd name="connsiteY885" fmla="*/ 437072 h 6858000"/>
              <a:gd name="connsiteX886" fmla="*/ 3639057 w 7467600"/>
              <a:gd name="connsiteY886" fmla="*/ 286334 h 6858000"/>
              <a:gd name="connsiteX887" fmla="*/ 3640309 w 7467600"/>
              <a:gd name="connsiteY887" fmla="*/ 284664 h 6858000"/>
              <a:gd name="connsiteX888" fmla="*/ 3646022 w 7467600"/>
              <a:gd name="connsiteY888" fmla="*/ 276711 h 6858000"/>
              <a:gd name="connsiteX889" fmla="*/ 3707943 w 7467600"/>
              <a:gd name="connsiteY889" fmla="*/ 65958 h 6858000"/>
              <a:gd name="connsiteX890" fmla="*/ 3721337 w 7467600"/>
              <a:gd name="connsiteY890" fmla="*/ 0 h 6858000"/>
              <a:gd name="connsiteX891" fmla="*/ 2867960 w 7467600"/>
              <a:gd name="connsiteY891" fmla="*/ 0 h 6858000"/>
              <a:gd name="connsiteX892" fmla="*/ 2926351 w 7467600"/>
              <a:gd name="connsiteY892" fmla="*/ 0 h 6858000"/>
              <a:gd name="connsiteX893" fmla="*/ 2902823 w 7467600"/>
              <a:gd name="connsiteY893" fmla="*/ 262929 h 6858000"/>
              <a:gd name="connsiteX894" fmla="*/ 2940663 w 7467600"/>
              <a:gd name="connsiteY894" fmla="*/ 140884 h 6858000"/>
              <a:gd name="connsiteX895" fmla="*/ 2947039 w 7467600"/>
              <a:gd name="connsiteY895" fmla="*/ 122524 h 6858000"/>
              <a:gd name="connsiteX896" fmla="*/ 2984316 w 7467600"/>
              <a:gd name="connsiteY896" fmla="*/ 0 h 6858000"/>
              <a:gd name="connsiteX897" fmla="*/ 3016114 w 7467600"/>
              <a:gd name="connsiteY897" fmla="*/ 0 h 6858000"/>
              <a:gd name="connsiteX898" fmla="*/ 2979949 w 7467600"/>
              <a:gd name="connsiteY898" fmla="*/ 119274 h 6858000"/>
              <a:gd name="connsiteX899" fmla="*/ 3023879 w 7467600"/>
              <a:gd name="connsiteY899" fmla="*/ 0 h 6858000"/>
              <a:gd name="connsiteX900" fmla="*/ 3105400 w 7467600"/>
              <a:gd name="connsiteY900" fmla="*/ 0 h 6858000"/>
              <a:gd name="connsiteX901" fmla="*/ 3094669 w 7467600"/>
              <a:gd name="connsiteY901" fmla="*/ 30308 h 6858000"/>
              <a:gd name="connsiteX902" fmla="*/ 2901945 w 7467600"/>
              <a:gd name="connsiteY902" fmla="*/ 466538 h 6858000"/>
              <a:gd name="connsiteX903" fmla="*/ 2815209 w 7467600"/>
              <a:gd name="connsiteY903" fmla="*/ 497361 h 6858000"/>
              <a:gd name="connsiteX904" fmla="*/ 2844845 w 7467600"/>
              <a:gd name="connsiteY904" fmla="*/ 127638 h 6858000"/>
              <a:gd name="connsiteX905" fmla="*/ 2867960 w 7467600"/>
              <a:gd name="connsiteY905" fmla="*/ 0 h 6858000"/>
              <a:gd name="connsiteX906" fmla="*/ 1057230 w 7467600"/>
              <a:gd name="connsiteY906" fmla="*/ 0 h 6858000"/>
              <a:gd name="connsiteX907" fmla="*/ 1111003 w 7467600"/>
              <a:gd name="connsiteY907" fmla="*/ 0 h 6858000"/>
              <a:gd name="connsiteX908" fmla="*/ 1125553 w 7467600"/>
              <a:gd name="connsiteY908" fmla="*/ 52588 h 6858000"/>
              <a:gd name="connsiteX909" fmla="*/ 1304276 w 7467600"/>
              <a:gd name="connsiteY909" fmla="*/ 476275 h 6858000"/>
              <a:gd name="connsiteX910" fmla="*/ 1492066 w 7467600"/>
              <a:gd name="connsiteY910" fmla="*/ 886333 h 6858000"/>
              <a:gd name="connsiteX911" fmla="*/ 1423698 w 7467600"/>
              <a:gd name="connsiteY911" fmla="*/ 710817 h 6858000"/>
              <a:gd name="connsiteX912" fmla="*/ 1357609 w 7467600"/>
              <a:gd name="connsiteY912" fmla="*/ 532892 h 6858000"/>
              <a:gd name="connsiteX913" fmla="*/ 1309550 w 7467600"/>
              <a:gd name="connsiteY913" fmla="*/ 374031 h 6858000"/>
              <a:gd name="connsiteX914" fmla="*/ 1193673 w 7467600"/>
              <a:gd name="connsiteY914" fmla="*/ 49533 h 6858000"/>
              <a:gd name="connsiteX915" fmla="*/ 1164391 w 7467600"/>
              <a:gd name="connsiteY915" fmla="*/ 0 h 6858000"/>
              <a:gd name="connsiteX916" fmla="*/ 1200666 w 7467600"/>
              <a:gd name="connsiteY916" fmla="*/ 0 h 6858000"/>
              <a:gd name="connsiteX917" fmla="*/ 1223408 w 7467600"/>
              <a:gd name="connsiteY917" fmla="*/ 38996 h 6858000"/>
              <a:gd name="connsiteX918" fmla="*/ 1339635 w 7467600"/>
              <a:gd name="connsiteY918" fmla="*/ 365517 h 6858000"/>
              <a:gd name="connsiteX919" fmla="*/ 1387469 w 7467600"/>
              <a:gd name="connsiteY919" fmla="*/ 523079 h 6858000"/>
              <a:gd name="connsiteX920" fmla="*/ 1452685 w 7467600"/>
              <a:gd name="connsiteY920" fmla="*/ 699806 h 6858000"/>
              <a:gd name="connsiteX921" fmla="*/ 1492092 w 7467600"/>
              <a:gd name="connsiteY921" fmla="*/ 800424 h 6858000"/>
              <a:gd name="connsiteX922" fmla="*/ 1455302 w 7467600"/>
              <a:gd name="connsiteY922" fmla="*/ 632913 h 6858000"/>
              <a:gd name="connsiteX923" fmla="*/ 1222336 w 7467600"/>
              <a:gd name="connsiteY923" fmla="*/ 9480 h 6858000"/>
              <a:gd name="connsiteX924" fmla="*/ 1214634 w 7467600"/>
              <a:gd name="connsiteY924" fmla="*/ 0 h 6858000"/>
              <a:gd name="connsiteX925" fmla="*/ 1289827 w 7467600"/>
              <a:gd name="connsiteY925" fmla="*/ 0 h 6858000"/>
              <a:gd name="connsiteX926" fmla="*/ 1321076 w 7467600"/>
              <a:gd name="connsiteY926" fmla="*/ 59722 h 6858000"/>
              <a:gd name="connsiteX927" fmla="*/ 1512579 w 7467600"/>
              <a:gd name="connsiteY927" fmla="*/ 626441 h 6858000"/>
              <a:gd name="connsiteX928" fmla="*/ 1506076 w 7467600"/>
              <a:gd name="connsiteY928" fmla="*/ 1089289 h 6858000"/>
              <a:gd name="connsiteX929" fmla="*/ 1486346 w 7467600"/>
              <a:gd name="connsiteY929" fmla="*/ 1079919 h 6858000"/>
              <a:gd name="connsiteX930" fmla="*/ 1070511 w 7467600"/>
              <a:gd name="connsiteY930" fmla="*/ 48609 h 6858000"/>
              <a:gd name="connsiteX931" fmla="*/ 1057230 w 7467600"/>
              <a:gd name="connsiteY931" fmla="*/ 0 h 6858000"/>
              <a:gd name="connsiteX932" fmla="*/ 43151 w 7467600"/>
              <a:gd name="connsiteY932" fmla="*/ 0 h 6858000"/>
              <a:gd name="connsiteX933" fmla="*/ 95283 w 7467600"/>
              <a:gd name="connsiteY933" fmla="*/ 0 h 6858000"/>
              <a:gd name="connsiteX934" fmla="*/ 300708 w 7467600"/>
              <a:gd name="connsiteY934" fmla="*/ 154571 h 6858000"/>
              <a:gd name="connsiteX935" fmla="*/ 530414 w 7467600"/>
              <a:gd name="connsiteY935" fmla="*/ 354673 h 6858000"/>
              <a:gd name="connsiteX936" fmla="*/ 333785 w 7467600"/>
              <a:gd name="connsiteY936" fmla="*/ 161564 h 6858000"/>
              <a:gd name="connsiteX937" fmla="*/ 147005 w 7467600"/>
              <a:gd name="connsiteY937" fmla="*/ 0 h 6858000"/>
              <a:gd name="connsiteX938" fmla="*/ 272509 w 7467600"/>
              <a:gd name="connsiteY938" fmla="*/ 0 h 6858000"/>
              <a:gd name="connsiteX939" fmla="*/ 326276 w 7467600"/>
              <a:gd name="connsiteY939" fmla="*/ 45847 h 6858000"/>
              <a:gd name="connsiteX940" fmla="*/ 823759 w 7467600"/>
              <a:gd name="connsiteY940" fmla="*/ 574145 h 6858000"/>
              <a:gd name="connsiteX941" fmla="*/ 811254 w 7467600"/>
              <a:gd name="connsiteY941" fmla="*/ 665546 h 6858000"/>
              <a:gd name="connsiteX942" fmla="*/ 154042 w 7467600"/>
              <a:gd name="connsiteY942" fmla="*/ 261522 h 6858000"/>
              <a:gd name="connsiteX943" fmla="*/ 13550 w 7467600"/>
              <a:gd name="connsiteY943" fmla="*/ 158423 h 6858000"/>
              <a:gd name="connsiteX944" fmla="*/ 0 w 7467600"/>
              <a:gd name="connsiteY944" fmla="*/ 146618 h 6858000"/>
              <a:gd name="connsiteX945" fmla="*/ 0 w 7467600"/>
              <a:gd name="connsiteY945" fmla="*/ 59161 h 6858000"/>
              <a:gd name="connsiteX946" fmla="*/ 45427 w 7467600"/>
              <a:gd name="connsiteY946" fmla="*/ 101078 h 6858000"/>
              <a:gd name="connsiteX947" fmla="*/ 630103 w 7467600"/>
              <a:gd name="connsiteY947" fmla="*/ 485885 h 6858000"/>
              <a:gd name="connsiteX948" fmla="*/ 532040 w 7467600"/>
              <a:gd name="connsiteY948" fmla="*/ 399359 h 6858000"/>
              <a:gd name="connsiteX949" fmla="*/ 517618 w 7467600"/>
              <a:gd name="connsiteY949" fmla="*/ 385726 h 6858000"/>
              <a:gd name="connsiteX950" fmla="*/ 285074 w 7467600"/>
              <a:gd name="connsiteY950" fmla="*/ 182755 h 6858000"/>
              <a:gd name="connsiteX951" fmla="*/ 43151 w 7467600"/>
              <a:gd name="connsiteY951"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410696 w 7467600"/>
              <a:gd name="connsiteY4" fmla="*/ 6803861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467600 w 7467600"/>
              <a:gd name="connsiteY16" fmla="*/ 6805948 h 6858000"/>
              <a:gd name="connsiteX17" fmla="*/ 7467600 w 7467600"/>
              <a:gd name="connsiteY17" fmla="*/ 6831490 h 6858000"/>
              <a:gd name="connsiteX18" fmla="*/ 7410696 w 7467600"/>
              <a:gd name="connsiteY18" fmla="*/ 6803861 h 6858000"/>
              <a:gd name="connsiteX19" fmla="*/ 1019354 w 7467600"/>
              <a:gd name="connsiteY19" fmla="*/ 6315006 h 6858000"/>
              <a:gd name="connsiteX20" fmla="*/ 441046 w 7467600"/>
              <a:gd name="connsiteY20" fmla="*/ 6691153 h 6858000"/>
              <a:gd name="connsiteX21" fmla="*/ 1019354 w 7467600"/>
              <a:gd name="connsiteY21" fmla="*/ 6315006 h 6858000"/>
              <a:gd name="connsiteX22" fmla="*/ 991680 w 7467600"/>
              <a:gd name="connsiteY22" fmla="*/ 6298413 h 6858000"/>
              <a:gd name="connsiteX23" fmla="*/ 409060 w 7467600"/>
              <a:gd name="connsiteY23" fmla="*/ 6671470 h 6858000"/>
              <a:gd name="connsiteX24" fmla="*/ 991680 w 7467600"/>
              <a:gd name="connsiteY24" fmla="*/ 6298413 h 6858000"/>
              <a:gd name="connsiteX25" fmla="*/ 103333 w 7467600"/>
              <a:gd name="connsiteY25" fmla="*/ 5699602 h 6858000"/>
              <a:gd name="connsiteX26" fmla="*/ 233938 w 7467600"/>
              <a:gd name="connsiteY26" fmla="*/ 5809416 h 6858000"/>
              <a:gd name="connsiteX27" fmla="*/ 883580 w 7467600"/>
              <a:gd name="connsiteY27" fmla="*/ 6180710 h 6858000"/>
              <a:gd name="connsiteX28" fmla="*/ 487337 w 7467600"/>
              <a:gd name="connsiteY28" fmla="*/ 5950182 h 6858000"/>
              <a:gd name="connsiteX29" fmla="*/ 354051 w 7467600"/>
              <a:gd name="connsiteY29" fmla="*/ 5854912 h 6858000"/>
              <a:gd name="connsiteX30" fmla="*/ 195436 w 7467600"/>
              <a:gd name="connsiteY30" fmla="*/ 5755068 h 6858000"/>
              <a:gd name="connsiteX31" fmla="*/ 103333 w 7467600"/>
              <a:gd name="connsiteY31" fmla="*/ 5699602 h 6858000"/>
              <a:gd name="connsiteX32" fmla="*/ 5539432 w 7467600"/>
              <a:gd name="connsiteY32" fmla="*/ 5642928 h 6858000"/>
              <a:gd name="connsiteX33" fmla="*/ 5555462 w 7467600"/>
              <a:gd name="connsiteY33" fmla="*/ 5694454 h 6858000"/>
              <a:gd name="connsiteX34" fmla="*/ 5828270 w 7467600"/>
              <a:gd name="connsiteY34" fmla="*/ 6320663 h 6858000"/>
              <a:gd name="connsiteX35" fmla="*/ 5947416 w 7467600"/>
              <a:gd name="connsiteY35" fmla="*/ 6574846 h 6858000"/>
              <a:gd name="connsiteX36" fmla="*/ 5539432 w 7467600"/>
              <a:gd name="connsiteY36" fmla="*/ 5642928 h 6858000"/>
              <a:gd name="connsiteX37" fmla="*/ 51253 w 7467600"/>
              <a:gd name="connsiteY37" fmla="*/ 5631825 h 6858000"/>
              <a:gd name="connsiteX38" fmla="*/ 211622 w 7467600"/>
              <a:gd name="connsiteY38" fmla="*/ 5728803 h 6858000"/>
              <a:gd name="connsiteX39" fmla="*/ 371652 w 7467600"/>
              <a:gd name="connsiteY39" fmla="*/ 5829062 h 6858000"/>
              <a:gd name="connsiteX40" fmla="*/ 505903 w 7467600"/>
              <a:gd name="connsiteY40" fmla="*/ 5925221 h 6858000"/>
              <a:gd name="connsiteX41" fmla="*/ 899240 w 7467600"/>
              <a:gd name="connsiteY41" fmla="*/ 6153068 h 6858000"/>
              <a:gd name="connsiteX42" fmla="*/ 988114 w 7467600"/>
              <a:gd name="connsiteY42" fmla="*/ 6174204 h 6858000"/>
              <a:gd name="connsiteX43" fmla="*/ 845971 w 7467600"/>
              <a:gd name="connsiteY43" fmla="*/ 6067177 h 6858000"/>
              <a:gd name="connsiteX44" fmla="*/ 448057 w 7467600"/>
              <a:gd name="connsiteY44" fmla="*/ 5841376 h 6858000"/>
              <a:gd name="connsiteX45" fmla="*/ 51253 w 7467600"/>
              <a:gd name="connsiteY45" fmla="*/ 5631825 h 6858000"/>
              <a:gd name="connsiteX46" fmla="*/ 2606687 w 7467600"/>
              <a:gd name="connsiteY46" fmla="*/ 5630718 h 6858000"/>
              <a:gd name="connsiteX47" fmla="*/ 2645658 w 7467600"/>
              <a:gd name="connsiteY47" fmla="*/ 6640259 h 6858000"/>
              <a:gd name="connsiteX48" fmla="*/ 2606687 w 7467600"/>
              <a:gd name="connsiteY48" fmla="*/ 5630718 h 6858000"/>
              <a:gd name="connsiteX49" fmla="*/ 3642057 w 7467600"/>
              <a:gd name="connsiteY49" fmla="*/ 5573487 h 6858000"/>
              <a:gd name="connsiteX50" fmla="*/ 3632981 w 7467600"/>
              <a:gd name="connsiteY50" fmla="*/ 5579437 h 6858000"/>
              <a:gd name="connsiteX51" fmla="*/ 3382436 w 7467600"/>
              <a:gd name="connsiteY51" fmla="*/ 5952726 h 6858000"/>
              <a:gd name="connsiteX52" fmla="*/ 3191929 w 7467600"/>
              <a:gd name="connsiteY52" fmla="*/ 6662669 h 6858000"/>
              <a:gd name="connsiteX53" fmla="*/ 3369898 w 7467600"/>
              <a:gd name="connsiteY53" fmla="*/ 6081771 h 6858000"/>
              <a:gd name="connsiteX54" fmla="*/ 3642057 w 7467600"/>
              <a:gd name="connsiteY54" fmla="*/ 5573487 h 6858000"/>
              <a:gd name="connsiteX55" fmla="*/ 2650666 w 7467600"/>
              <a:gd name="connsiteY55" fmla="*/ 5530686 h 6858000"/>
              <a:gd name="connsiteX56" fmla="*/ 2650249 w 7467600"/>
              <a:gd name="connsiteY56" fmla="*/ 5532101 h 6858000"/>
              <a:gd name="connsiteX57" fmla="*/ 2663808 w 7467600"/>
              <a:gd name="connsiteY57" fmla="*/ 6535215 h 6858000"/>
              <a:gd name="connsiteX58" fmla="*/ 2665418 w 7467600"/>
              <a:gd name="connsiteY58" fmla="*/ 6132756 h 6858000"/>
              <a:gd name="connsiteX59" fmla="*/ 2650666 w 7467600"/>
              <a:gd name="connsiteY59" fmla="*/ 5530686 h 6858000"/>
              <a:gd name="connsiteX60" fmla="*/ 2680277 w 7467600"/>
              <a:gd name="connsiteY60" fmla="*/ 5479204 h 6858000"/>
              <a:gd name="connsiteX61" fmla="*/ 2678972 w 7467600"/>
              <a:gd name="connsiteY61" fmla="*/ 5481582 h 6858000"/>
              <a:gd name="connsiteX62" fmla="*/ 2696666 w 7467600"/>
              <a:gd name="connsiteY62" fmla="*/ 6133836 h 6858000"/>
              <a:gd name="connsiteX63" fmla="*/ 2695769 w 7467600"/>
              <a:gd name="connsiteY63" fmla="*/ 6390955 h 6858000"/>
              <a:gd name="connsiteX64" fmla="*/ 2739893 w 7467600"/>
              <a:gd name="connsiteY64" fmla="*/ 6108357 h 6858000"/>
              <a:gd name="connsiteX65" fmla="*/ 2680277 w 7467600"/>
              <a:gd name="connsiteY65" fmla="*/ 5479204 h 6858000"/>
              <a:gd name="connsiteX66" fmla="*/ 1132195 w 7467600"/>
              <a:gd name="connsiteY66" fmla="*/ 5467980 h 6858000"/>
              <a:gd name="connsiteX67" fmla="*/ 1679056 w 7467600"/>
              <a:gd name="connsiteY67" fmla="*/ 5516907 h 6858000"/>
              <a:gd name="connsiteX68" fmla="*/ 2128648 w 7467600"/>
              <a:gd name="connsiteY68" fmla="*/ 5474249 h 6858000"/>
              <a:gd name="connsiteX69" fmla="*/ 1825619 w 7467600"/>
              <a:gd name="connsiteY69" fmla="*/ 5478447 h 6858000"/>
              <a:gd name="connsiteX70" fmla="*/ 1737798 w 7467600"/>
              <a:gd name="connsiteY70" fmla="*/ 5483353 h 6858000"/>
              <a:gd name="connsiteX71" fmla="*/ 1132195 w 7467600"/>
              <a:gd name="connsiteY71" fmla="*/ 5467980 h 6858000"/>
              <a:gd name="connsiteX72" fmla="*/ 1456157 w 7467600"/>
              <a:gd name="connsiteY72" fmla="*/ 5371404 h 6858000"/>
              <a:gd name="connsiteX73" fmla="*/ 1244432 w 7467600"/>
              <a:gd name="connsiteY73" fmla="*/ 5385601 h 6858000"/>
              <a:gd name="connsiteX74" fmla="*/ 973990 w 7467600"/>
              <a:gd name="connsiteY74" fmla="*/ 5424940 h 6858000"/>
              <a:gd name="connsiteX75" fmla="*/ 1103809 w 7467600"/>
              <a:gd name="connsiteY75" fmla="*/ 5433720 h 6858000"/>
              <a:gd name="connsiteX76" fmla="*/ 1123454 w 7467600"/>
              <a:gd name="connsiteY76" fmla="*/ 5435727 h 6858000"/>
              <a:gd name="connsiteX77" fmla="*/ 1737017 w 7467600"/>
              <a:gd name="connsiteY77" fmla="*/ 5452183 h 6858000"/>
              <a:gd name="connsiteX78" fmla="*/ 1824397 w 7467600"/>
              <a:gd name="connsiteY78" fmla="*/ 5447757 h 6858000"/>
              <a:gd name="connsiteX79" fmla="*/ 2070059 w 7467600"/>
              <a:gd name="connsiteY79" fmla="*/ 5441660 h 6858000"/>
              <a:gd name="connsiteX80" fmla="*/ 1456157 w 7467600"/>
              <a:gd name="connsiteY80" fmla="*/ 5371404 h 6858000"/>
              <a:gd name="connsiteX81" fmla="*/ 4988186 w 7467600"/>
              <a:gd name="connsiteY81" fmla="*/ 5216467 h 6858000"/>
              <a:gd name="connsiteX82" fmla="*/ 4777334 w 7467600"/>
              <a:gd name="connsiteY82" fmla="*/ 5406072 h 6858000"/>
              <a:gd name="connsiteX83" fmla="*/ 4718341 w 7467600"/>
              <a:gd name="connsiteY83" fmla="*/ 5468043 h 6858000"/>
              <a:gd name="connsiteX84" fmla="*/ 4604655 w 7467600"/>
              <a:gd name="connsiteY84" fmla="*/ 5583434 h 6858000"/>
              <a:gd name="connsiteX85" fmla="*/ 4565074 w 7467600"/>
              <a:gd name="connsiteY85" fmla="*/ 5618550 h 6858000"/>
              <a:gd name="connsiteX86" fmla="*/ 4988186 w 7467600"/>
              <a:gd name="connsiteY86" fmla="*/ 5216467 h 6858000"/>
              <a:gd name="connsiteX87" fmla="*/ 4978032 w 7467600"/>
              <a:gd name="connsiteY87" fmla="*/ 5183809 h 6858000"/>
              <a:gd name="connsiteX88" fmla="*/ 4463413 w 7467600"/>
              <a:gd name="connsiteY88" fmla="*/ 5615162 h 6858000"/>
              <a:gd name="connsiteX89" fmla="*/ 4358134 w 7467600"/>
              <a:gd name="connsiteY89" fmla="*/ 5742791 h 6858000"/>
              <a:gd name="connsiteX90" fmla="*/ 4376219 w 7467600"/>
              <a:gd name="connsiteY90" fmla="*/ 5729027 h 6858000"/>
              <a:gd name="connsiteX91" fmla="*/ 4582340 w 7467600"/>
              <a:gd name="connsiteY91" fmla="*/ 5561037 h 6858000"/>
              <a:gd name="connsiteX92" fmla="*/ 4694684 w 7467600"/>
              <a:gd name="connsiteY92" fmla="*/ 5447098 h 6858000"/>
              <a:gd name="connsiteX93" fmla="*/ 4754123 w 7467600"/>
              <a:gd name="connsiteY93" fmla="*/ 5384643 h 6858000"/>
              <a:gd name="connsiteX94" fmla="*/ 4978032 w 7467600"/>
              <a:gd name="connsiteY94" fmla="*/ 5183809 h 6858000"/>
              <a:gd name="connsiteX95" fmla="*/ 1903353 w 7467600"/>
              <a:gd name="connsiteY95" fmla="*/ 5044827 h 6858000"/>
              <a:gd name="connsiteX96" fmla="*/ 1936931 w 7467600"/>
              <a:gd name="connsiteY96" fmla="*/ 5093954 h 6858000"/>
              <a:gd name="connsiteX97" fmla="*/ 2195868 w 7467600"/>
              <a:gd name="connsiteY97" fmla="*/ 5396574 h 6858000"/>
              <a:gd name="connsiteX98" fmla="*/ 2088852 w 7467600"/>
              <a:gd name="connsiteY98" fmla="*/ 5166123 h 6858000"/>
              <a:gd name="connsiteX99" fmla="*/ 1958241 w 7467600"/>
              <a:gd name="connsiteY99" fmla="*/ 5067955 h 6858000"/>
              <a:gd name="connsiteX100" fmla="*/ 1903353 w 7467600"/>
              <a:gd name="connsiteY100" fmla="*/ 5044827 h 6858000"/>
              <a:gd name="connsiteX101" fmla="*/ 1979378 w 7467600"/>
              <a:gd name="connsiteY101" fmla="*/ 4769504 h 6858000"/>
              <a:gd name="connsiteX102" fmla="*/ 2882120 w 7467600"/>
              <a:gd name="connsiteY102" fmla="*/ 5064547 h 6858000"/>
              <a:gd name="connsiteX103" fmla="*/ 2793103 w 7467600"/>
              <a:gd name="connsiteY103" fmla="*/ 5039699 h 6858000"/>
              <a:gd name="connsiteX104" fmla="*/ 2770041 w 7467600"/>
              <a:gd name="connsiteY104" fmla="*/ 5033634 h 6858000"/>
              <a:gd name="connsiteX105" fmla="*/ 1979378 w 7467600"/>
              <a:gd name="connsiteY105" fmla="*/ 4769504 h 6858000"/>
              <a:gd name="connsiteX106" fmla="*/ 1927410 w 7467600"/>
              <a:gd name="connsiteY106" fmla="*/ 4716164 h 6858000"/>
              <a:gd name="connsiteX107" fmla="*/ 1959587 w 7467600"/>
              <a:gd name="connsiteY107" fmla="*/ 4728849 h 6858000"/>
              <a:gd name="connsiteX108" fmla="*/ 2777707 w 7467600"/>
              <a:gd name="connsiteY108" fmla="*/ 5003991 h 6858000"/>
              <a:gd name="connsiteX109" fmla="*/ 2800768 w 7467600"/>
              <a:gd name="connsiteY109" fmla="*/ 5010056 h 6858000"/>
              <a:gd name="connsiteX110" fmla="*/ 2879408 w 7467600"/>
              <a:gd name="connsiteY110" fmla="*/ 5031590 h 6858000"/>
              <a:gd name="connsiteX111" fmla="*/ 2862295 w 7467600"/>
              <a:gd name="connsiteY111" fmla="*/ 5022958 h 6858000"/>
              <a:gd name="connsiteX112" fmla="*/ 2813343 w 7467600"/>
              <a:gd name="connsiteY112" fmla="*/ 4998369 h 6858000"/>
              <a:gd name="connsiteX113" fmla="*/ 2646245 w 7467600"/>
              <a:gd name="connsiteY113" fmla="*/ 4930999 h 6858000"/>
              <a:gd name="connsiteX114" fmla="*/ 1999243 w 7467600"/>
              <a:gd name="connsiteY114" fmla="*/ 4730524 h 6858000"/>
              <a:gd name="connsiteX115" fmla="*/ 1979527 w 7467600"/>
              <a:gd name="connsiteY115" fmla="*/ 4726651 h 6858000"/>
              <a:gd name="connsiteX116" fmla="*/ 1927410 w 7467600"/>
              <a:gd name="connsiteY116" fmla="*/ 4716164 h 6858000"/>
              <a:gd name="connsiteX117" fmla="*/ 1997014 w 7467600"/>
              <a:gd name="connsiteY117" fmla="*/ 4698007 h 6858000"/>
              <a:gd name="connsiteX118" fmla="*/ 2005458 w 7467600"/>
              <a:gd name="connsiteY118" fmla="*/ 4699540 h 6858000"/>
              <a:gd name="connsiteX119" fmla="*/ 2657186 w 7467600"/>
              <a:gd name="connsiteY119" fmla="*/ 4901687 h 6858000"/>
              <a:gd name="connsiteX120" fmla="*/ 2826662 w 7467600"/>
              <a:gd name="connsiteY120" fmla="*/ 4970362 h 6858000"/>
              <a:gd name="connsiteX121" fmla="*/ 2876100 w 7467600"/>
              <a:gd name="connsiteY121" fmla="*/ 4995397 h 6858000"/>
              <a:gd name="connsiteX122" fmla="*/ 3042600 w 7467600"/>
              <a:gd name="connsiteY122" fmla="*/ 5059532 h 6858000"/>
              <a:gd name="connsiteX123" fmla="*/ 1997014 w 7467600"/>
              <a:gd name="connsiteY123" fmla="*/ 4698007 h 6858000"/>
              <a:gd name="connsiteX124" fmla="*/ 2305292 w 7467600"/>
              <a:gd name="connsiteY124" fmla="*/ 4219492 h 6858000"/>
              <a:gd name="connsiteX125" fmla="*/ 3360922 w 7467600"/>
              <a:gd name="connsiteY125" fmla="*/ 4529373 h 6858000"/>
              <a:gd name="connsiteX126" fmla="*/ 3492420 w 7467600"/>
              <a:gd name="connsiteY126" fmla="*/ 4510145 h 6858000"/>
              <a:gd name="connsiteX127" fmla="*/ 3364086 w 7467600"/>
              <a:gd name="connsiteY127" fmla="*/ 4480340 h 6858000"/>
              <a:gd name="connsiteX128" fmla="*/ 3225818 w 7467600"/>
              <a:gd name="connsiteY128" fmla="*/ 4411822 h 6858000"/>
              <a:gd name="connsiteX129" fmla="*/ 3129696 w 7467600"/>
              <a:gd name="connsiteY129" fmla="*/ 4360704 h 6858000"/>
              <a:gd name="connsiteX130" fmla="*/ 2814545 w 7467600"/>
              <a:gd name="connsiteY130" fmla="*/ 4282955 h 6858000"/>
              <a:gd name="connsiteX131" fmla="*/ 2305292 w 7467600"/>
              <a:gd name="connsiteY131" fmla="*/ 4219492 h 6858000"/>
              <a:gd name="connsiteX132" fmla="*/ 2626982 w 7467600"/>
              <a:gd name="connsiteY132" fmla="*/ 4206450 h 6858000"/>
              <a:gd name="connsiteX133" fmla="*/ 2490617 w 7467600"/>
              <a:gd name="connsiteY133" fmla="*/ 4206951 h 6858000"/>
              <a:gd name="connsiteX134" fmla="*/ 2819869 w 7467600"/>
              <a:gd name="connsiteY134" fmla="*/ 4252936 h 6858000"/>
              <a:gd name="connsiteX135" fmla="*/ 3143018 w 7467600"/>
              <a:gd name="connsiteY135" fmla="*/ 4332698 h 6858000"/>
              <a:gd name="connsiteX136" fmla="*/ 3241520 w 7467600"/>
              <a:gd name="connsiteY136" fmla="*/ 4385112 h 6858000"/>
              <a:gd name="connsiteX137" fmla="*/ 3374575 w 7467600"/>
              <a:gd name="connsiteY137" fmla="*/ 4451517 h 6858000"/>
              <a:gd name="connsiteX138" fmla="*/ 3505221 w 7467600"/>
              <a:gd name="connsiteY138" fmla="*/ 4480757 h 6858000"/>
              <a:gd name="connsiteX139" fmla="*/ 2626982 w 7467600"/>
              <a:gd name="connsiteY139" fmla="*/ 4206450 h 6858000"/>
              <a:gd name="connsiteX140" fmla="*/ 1310106 w 7467600"/>
              <a:gd name="connsiteY140" fmla="*/ 3943217 h 6858000"/>
              <a:gd name="connsiteX141" fmla="*/ 854994 w 7467600"/>
              <a:gd name="connsiteY141" fmla="*/ 4399136 h 6858000"/>
              <a:gd name="connsiteX142" fmla="*/ 742462 w 7467600"/>
              <a:gd name="connsiteY142" fmla="*/ 4594648 h 6858000"/>
              <a:gd name="connsiteX143" fmla="*/ 820602 w 7467600"/>
              <a:gd name="connsiteY143" fmla="*/ 4485915 h 6858000"/>
              <a:gd name="connsiteX144" fmla="*/ 878295 w 7467600"/>
              <a:gd name="connsiteY144" fmla="*/ 4403594 h 6858000"/>
              <a:gd name="connsiteX145" fmla="*/ 1240607 w 7467600"/>
              <a:gd name="connsiteY145" fmla="*/ 4010401 h 6858000"/>
              <a:gd name="connsiteX146" fmla="*/ 1310106 w 7467600"/>
              <a:gd name="connsiteY146" fmla="*/ 3943217 h 6858000"/>
              <a:gd name="connsiteX147" fmla="*/ 1423113 w 7467600"/>
              <a:gd name="connsiteY147" fmla="*/ 3874565 h 6858000"/>
              <a:gd name="connsiteX148" fmla="*/ 1260565 w 7467600"/>
              <a:gd name="connsiteY148" fmla="*/ 4031982 h 6858000"/>
              <a:gd name="connsiteX149" fmla="*/ 901900 w 7467600"/>
              <a:gd name="connsiteY149" fmla="*/ 4421236 h 6858000"/>
              <a:gd name="connsiteX150" fmla="*/ 845044 w 7467600"/>
              <a:gd name="connsiteY150" fmla="*/ 4502436 h 6858000"/>
              <a:gd name="connsiteX151" fmla="*/ 685926 w 7467600"/>
              <a:gd name="connsiteY151" fmla="*/ 4703069 h 6858000"/>
              <a:gd name="connsiteX152" fmla="*/ 684248 w 7467600"/>
              <a:gd name="connsiteY152" fmla="*/ 4706721 h 6858000"/>
              <a:gd name="connsiteX153" fmla="*/ 1423113 w 7467600"/>
              <a:gd name="connsiteY153" fmla="*/ 3874565 h 6858000"/>
              <a:gd name="connsiteX154" fmla="*/ 3316479 w 7467600"/>
              <a:gd name="connsiteY154" fmla="*/ 3872136 h 6858000"/>
              <a:gd name="connsiteX155" fmla="*/ 3546806 w 7467600"/>
              <a:gd name="connsiteY155" fmla="*/ 4356139 h 6858000"/>
              <a:gd name="connsiteX156" fmla="*/ 3364433 w 7467600"/>
              <a:gd name="connsiteY156" fmla="*/ 3953121 h 6858000"/>
              <a:gd name="connsiteX157" fmla="*/ 3316479 w 7467600"/>
              <a:gd name="connsiteY157" fmla="*/ 3872136 h 6858000"/>
              <a:gd name="connsiteX158" fmla="*/ 3291335 w 7467600"/>
              <a:gd name="connsiteY158" fmla="*/ 3767420 h 6858000"/>
              <a:gd name="connsiteX159" fmla="*/ 3390805 w 7467600"/>
              <a:gd name="connsiteY159" fmla="*/ 3937163 h 6858000"/>
              <a:gd name="connsiteX160" fmla="*/ 3579062 w 7467600"/>
              <a:gd name="connsiteY160" fmla="*/ 4359040 h 6858000"/>
              <a:gd name="connsiteX161" fmla="*/ 3467355 w 7467600"/>
              <a:gd name="connsiteY161" fmla="*/ 3988130 h 6858000"/>
              <a:gd name="connsiteX162" fmla="*/ 3310753 w 7467600"/>
              <a:gd name="connsiteY162" fmla="*/ 3787140 h 6858000"/>
              <a:gd name="connsiteX163" fmla="*/ 3291335 w 7467600"/>
              <a:gd name="connsiteY163" fmla="*/ 3767420 h 6858000"/>
              <a:gd name="connsiteX164" fmla="*/ 1635889 w 7467600"/>
              <a:gd name="connsiteY164" fmla="*/ 3709494 h 6858000"/>
              <a:gd name="connsiteX165" fmla="*/ 1634800 w 7467600"/>
              <a:gd name="connsiteY165" fmla="*/ 3731111 h 6858000"/>
              <a:gd name="connsiteX166" fmla="*/ 1635889 w 7467600"/>
              <a:gd name="connsiteY166" fmla="*/ 3709494 h 6858000"/>
              <a:gd name="connsiteX167" fmla="*/ 1510397 w 7467600"/>
              <a:gd name="connsiteY167" fmla="*/ 3684705 h 6858000"/>
              <a:gd name="connsiteX168" fmla="*/ 1146550 w 7467600"/>
              <a:gd name="connsiteY168" fmla="*/ 3802012 h 6858000"/>
              <a:gd name="connsiteX169" fmla="*/ 698834 w 7467600"/>
              <a:gd name="connsiteY169" fmla="*/ 3952272 h 6858000"/>
              <a:gd name="connsiteX170" fmla="*/ 34256 w 7467600"/>
              <a:gd name="connsiteY170" fmla="*/ 4347603 h 6858000"/>
              <a:gd name="connsiteX171" fmla="*/ 527241 w 7467600"/>
              <a:gd name="connsiteY171" fmla="*/ 4065078 h 6858000"/>
              <a:gd name="connsiteX172" fmla="*/ 1510397 w 7467600"/>
              <a:gd name="connsiteY172" fmla="*/ 3684705 h 6858000"/>
              <a:gd name="connsiteX173" fmla="*/ 1313114 w 7467600"/>
              <a:gd name="connsiteY173" fmla="*/ 3655216 h 6858000"/>
              <a:gd name="connsiteX174" fmla="*/ 1109304 w 7467600"/>
              <a:gd name="connsiteY174" fmla="*/ 3669030 h 6858000"/>
              <a:gd name="connsiteX175" fmla="*/ 8129 w 7467600"/>
              <a:gd name="connsiteY175" fmla="*/ 4330519 h 6858000"/>
              <a:gd name="connsiteX176" fmla="*/ 687572 w 7467600"/>
              <a:gd name="connsiteY176" fmla="*/ 3925629 h 6858000"/>
              <a:gd name="connsiteX177" fmla="*/ 1138365 w 7467600"/>
              <a:gd name="connsiteY177" fmla="*/ 3774515 h 6858000"/>
              <a:gd name="connsiteX178" fmla="*/ 1505579 w 7467600"/>
              <a:gd name="connsiteY178" fmla="*/ 3655526 h 6858000"/>
              <a:gd name="connsiteX179" fmla="*/ 1313114 w 7467600"/>
              <a:gd name="connsiteY179" fmla="*/ 3655216 h 6858000"/>
              <a:gd name="connsiteX180" fmla="*/ 3655073 w 7467600"/>
              <a:gd name="connsiteY180" fmla="*/ 3650884 h 6858000"/>
              <a:gd name="connsiteX181" fmla="*/ 3989938 w 7467600"/>
              <a:gd name="connsiteY181" fmla="*/ 3991685 h 6858000"/>
              <a:gd name="connsiteX182" fmla="*/ 4393907 w 7467600"/>
              <a:gd name="connsiteY182" fmla="*/ 4261258 h 6858000"/>
              <a:gd name="connsiteX183" fmla="*/ 4648051 w 7467600"/>
              <a:gd name="connsiteY183" fmla="*/ 4374051 h 6858000"/>
              <a:gd name="connsiteX184" fmla="*/ 4383389 w 7467600"/>
              <a:gd name="connsiteY184" fmla="*/ 4184369 h 6858000"/>
              <a:gd name="connsiteX185" fmla="*/ 4165508 w 7467600"/>
              <a:gd name="connsiteY185" fmla="*/ 4035196 h 6858000"/>
              <a:gd name="connsiteX186" fmla="*/ 4068162 w 7467600"/>
              <a:gd name="connsiteY186" fmla="*/ 3953394 h 6858000"/>
              <a:gd name="connsiteX187" fmla="*/ 3981416 w 7467600"/>
              <a:gd name="connsiteY187" fmla="*/ 3880482 h 6858000"/>
              <a:gd name="connsiteX188" fmla="*/ 3800147 w 7467600"/>
              <a:gd name="connsiteY188" fmla="*/ 3749872 h 6858000"/>
              <a:gd name="connsiteX189" fmla="*/ 3655073 w 7467600"/>
              <a:gd name="connsiteY189" fmla="*/ 3650884 h 6858000"/>
              <a:gd name="connsiteX190" fmla="*/ 3670252 w 7467600"/>
              <a:gd name="connsiteY190" fmla="*/ 3622798 h 6858000"/>
              <a:gd name="connsiteX191" fmla="*/ 3817258 w 7467600"/>
              <a:gd name="connsiteY191" fmla="*/ 3723577 h 6858000"/>
              <a:gd name="connsiteX192" fmla="*/ 4000461 w 7467600"/>
              <a:gd name="connsiteY192" fmla="*/ 3855966 h 6858000"/>
              <a:gd name="connsiteX193" fmla="*/ 4088180 w 7467600"/>
              <a:gd name="connsiteY193" fmla="*/ 3929774 h 6858000"/>
              <a:gd name="connsiteX194" fmla="*/ 4184555 w 7467600"/>
              <a:gd name="connsiteY194" fmla="*/ 4010683 h 6858000"/>
              <a:gd name="connsiteX195" fmla="*/ 4399563 w 7467600"/>
              <a:gd name="connsiteY195" fmla="*/ 4158106 h 6858000"/>
              <a:gd name="connsiteX196" fmla="*/ 4684469 w 7467600"/>
              <a:gd name="connsiteY196" fmla="*/ 4364680 h 6858000"/>
              <a:gd name="connsiteX197" fmla="*/ 4690271 w 7467600"/>
              <a:gd name="connsiteY197" fmla="*/ 4370034 h 6858000"/>
              <a:gd name="connsiteX198" fmla="*/ 4136093 w 7467600"/>
              <a:gd name="connsiteY198" fmla="*/ 3858466 h 6858000"/>
              <a:gd name="connsiteX199" fmla="*/ 3670252 w 7467600"/>
              <a:gd name="connsiteY199" fmla="*/ 3622798 h 6858000"/>
              <a:gd name="connsiteX200" fmla="*/ 4440129 w 7467600"/>
              <a:gd name="connsiteY200" fmla="*/ 3448571 h 6858000"/>
              <a:gd name="connsiteX201" fmla="*/ 4856525 w 7467600"/>
              <a:gd name="connsiteY201" fmla="*/ 3915351 h 6858000"/>
              <a:gd name="connsiteX202" fmla="*/ 5059055 w 7467600"/>
              <a:gd name="connsiteY202" fmla="*/ 4108918 h 6858000"/>
              <a:gd name="connsiteX203" fmla="*/ 5290070 w 7467600"/>
              <a:gd name="connsiteY203" fmla="*/ 4263619 h 6858000"/>
              <a:gd name="connsiteX204" fmla="*/ 4834991 w 7467600"/>
              <a:gd name="connsiteY204" fmla="*/ 3830985 h 6858000"/>
              <a:gd name="connsiteX205" fmla="*/ 4440129 w 7467600"/>
              <a:gd name="connsiteY205" fmla="*/ 3448571 h 6858000"/>
              <a:gd name="connsiteX206" fmla="*/ 4441737 w 7467600"/>
              <a:gd name="connsiteY206" fmla="*/ 3399734 h 6858000"/>
              <a:gd name="connsiteX207" fmla="*/ 4431236 w 7467600"/>
              <a:gd name="connsiteY207" fmla="*/ 3400954 h 6858000"/>
              <a:gd name="connsiteX208" fmla="*/ 4557150 w 7467600"/>
              <a:gd name="connsiteY208" fmla="*/ 3510023 h 6858000"/>
              <a:gd name="connsiteX209" fmla="*/ 4856936 w 7467600"/>
              <a:gd name="connsiteY209" fmla="*/ 3809146 h 6858000"/>
              <a:gd name="connsiteX210" fmla="*/ 5111996 w 7467600"/>
              <a:gd name="connsiteY210" fmla="*/ 4065759 h 6858000"/>
              <a:gd name="connsiteX211" fmla="*/ 5388878 w 7467600"/>
              <a:gd name="connsiteY211" fmla="*/ 4300185 h 6858000"/>
              <a:gd name="connsiteX212" fmla="*/ 5425556 w 7467600"/>
              <a:gd name="connsiteY212" fmla="*/ 4308967 h 6858000"/>
              <a:gd name="connsiteX213" fmla="*/ 4943646 w 7467600"/>
              <a:gd name="connsiteY213" fmla="*/ 3822916 h 6858000"/>
              <a:gd name="connsiteX214" fmla="*/ 4594837 w 7467600"/>
              <a:gd name="connsiteY214" fmla="*/ 3532274 h 6858000"/>
              <a:gd name="connsiteX215" fmla="*/ 4441737 w 7467600"/>
              <a:gd name="connsiteY215" fmla="*/ 3399734 h 6858000"/>
              <a:gd name="connsiteX216" fmla="*/ 5425834 w 7467600"/>
              <a:gd name="connsiteY216" fmla="*/ 3162785 h 6858000"/>
              <a:gd name="connsiteX217" fmla="*/ 5401644 w 7467600"/>
              <a:gd name="connsiteY217" fmla="*/ 3617847 h 6858000"/>
              <a:gd name="connsiteX218" fmla="*/ 5467256 w 7467600"/>
              <a:gd name="connsiteY218" fmla="*/ 4175494 h 6858000"/>
              <a:gd name="connsiteX219" fmla="*/ 5448069 w 7467600"/>
              <a:gd name="connsiteY219" fmla="*/ 3567554 h 6858000"/>
              <a:gd name="connsiteX220" fmla="*/ 5425834 w 7467600"/>
              <a:gd name="connsiteY220" fmla="*/ 3162785 h 6858000"/>
              <a:gd name="connsiteX221" fmla="*/ 1318687 w 7467600"/>
              <a:gd name="connsiteY221" fmla="*/ 3113840 h 6858000"/>
              <a:gd name="connsiteX222" fmla="*/ 1066793 w 7467600"/>
              <a:gd name="connsiteY222" fmla="*/ 3212171 h 6858000"/>
              <a:gd name="connsiteX223" fmla="*/ 993319 w 7467600"/>
              <a:gd name="connsiteY223" fmla="*/ 3247648 h 6858000"/>
              <a:gd name="connsiteX224" fmla="*/ 853081 w 7467600"/>
              <a:gd name="connsiteY224" fmla="*/ 3312410 h 6858000"/>
              <a:gd name="connsiteX225" fmla="*/ 805957 w 7467600"/>
              <a:gd name="connsiteY225" fmla="*/ 3330443 h 6858000"/>
              <a:gd name="connsiteX226" fmla="*/ 1318687 w 7467600"/>
              <a:gd name="connsiteY226" fmla="*/ 3113840 h 6858000"/>
              <a:gd name="connsiteX227" fmla="*/ 5453702 w 7467600"/>
              <a:gd name="connsiteY227" fmla="*/ 3090882 h 6858000"/>
              <a:gd name="connsiteX228" fmla="*/ 5480135 w 7467600"/>
              <a:gd name="connsiteY228" fmla="*/ 3565802 h 6858000"/>
              <a:gd name="connsiteX229" fmla="*/ 5499023 w 7467600"/>
              <a:gd name="connsiteY229" fmla="*/ 4166310 h 6858000"/>
              <a:gd name="connsiteX230" fmla="*/ 5547022 w 7467600"/>
              <a:gd name="connsiteY230" fmla="*/ 3607838 h 6858000"/>
              <a:gd name="connsiteX231" fmla="*/ 5515964 w 7467600"/>
              <a:gd name="connsiteY231" fmla="*/ 3378541 h 6858000"/>
              <a:gd name="connsiteX232" fmla="*/ 5453702 w 7467600"/>
              <a:gd name="connsiteY232" fmla="*/ 3090882 h 6858000"/>
              <a:gd name="connsiteX233" fmla="*/ 1238695 w 7467600"/>
              <a:gd name="connsiteY233" fmla="*/ 3076820 h 6858000"/>
              <a:gd name="connsiteX234" fmla="*/ 716371 w 7467600"/>
              <a:gd name="connsiteY234" fmla="*/ 3293249 h 6858000"/>
              <a:gd name="connsiteX235" fmla="*/ 579522 w 7467600"/>
              <a:gd name="connsiteY235" fmla="*/ 3371759 h 6858000"/>
              <a:gd name="connsiteX236" fmla="*/ 600288 w 7467600"/>
              <a:gd name="connsiteY236" fmla="*/ 3365555 h 6858000"/>
              <a:gd name="connsiteX237" fmla="*/ 840692 w 7467600"/>
              <a:gd name="connsiteY237" fmla="*/ 3284921 h 6858000"/>
              <a:gd name="connsiteX238" fmla="*/ 979248 w 7467600"/>
              <a:gd name="connsiteY238" fmla="*/ 3221003 h 6858000"/>
              <a:gd name="connsiteX239" fmla="*/ 1053282 w 7467600"/>
              <a:gd name="connsiteY239" fmla="*/ 3185247 h 6858000"/>
              <a:gd name="connsiteX240" fmla="*/ 1320603 w 7467600"/>
              <a:gd name="connsiteY240" fmla="*/ 3081281 h 6858000"/>
              <a:gd name="connsiteX241" fmla="*/ 1238695 w 7467600"/>
              <a:gd name="connsiteY241" fmla="*/ 3076820 h 6858000"/>
              <a:gd name="connsiteX242" fmla="*/ 5425627 w 7467600"/>
              <a:gd name="connsiteY242" fmla="*/ 2954192 h 6858000"/>
              <a:gd name="connsiteX243" fmla="*/ 5470770 w 7467600"/>
              <a:gd name="connsiteY243" fmla="*/ 3005435 h 6858000"/>
              <a:gd name="connsiteX244" fmla="*/ 5519779 w 7467600"/>
              <a:gd name="connsiteY244" fmla="*/ 4359223 h 6858000"/>
              <a:gd name="connsiteX245" fmla="*/ 5520293 w 7467600"/>
              <a:gd name="connsiteY245" fmla="*/ 4360602 h 6858000"/>
              <a:gd name="connsiteX246" fmla="*/ 5767221 w 7467600"/>
              <a:gd name="connsiteY246" fmla="*/ 4665564 h 6858000"/>
              <a:gd name="connsiteX247" fmla="*/ 6937169 w 7467600"/>
              <a:gd name="connsiteY247" fmla="*/ 4815941 h 6858000"/>
              <a:gd name="connsiteX248" fmla="*/ 6953922 w 7467600"/>
              <a:gd name="connsiteY248" fmla="*/ 4890068 h 6858000"/>
              <a:gd name="connsiteX249" fmla="*/ 6071359 w 7467600"/>
              <a:gd name="connsiteY249" fmla="*/ 4770770 h 6858000"/>
              <a:gd name="connsiteX250" fmla="*/ 6038839 w 7467600"/>
              <a:gd name="connsiteY250" fmla="*/ 4764474 h 6858000"/>
              <a:gd name="connsiteX251" fmla="*/ 6038706 w 7467600"/>
              <a:gd name="connsiteY251" fmla="*/ 4763847 h 6858000"/>
              <a:gd name="connsiteX252" fmla="*/ 6037784 w 7467600"/>
              <a:gd name="connsiteY252" fmla="*/ 4764270 h 6858000"/>
              <a:gd name="connsiteX253" fmla="*/ 6038839 w 7467600"/>
              <a:gd name="connsiteY253" fmla="*/ 4764474 h 6858000"/>
              <a:gd name="connsiteX254" fmla="*/ 6040338 w 7467600"/>
              <a:gd name="connsiteY254" fmla="*/ 4771418 h 6858000"/>
              <a:gd name="connsiteX255" fmla="*/ 6024488 w 7467600"/>
              <a:gd name="connsiteY255" fmla="*/ 4809903 h 6858000"/>
              <a:gd name="connsiteX256" fmla="*/ 5599771 w 7467600"/>
              <a:gd name="connsiteY256" fmla="*/ 5509652 h 6858000"/>
              <a:gd name="connsiteX257" fmla="*/ 5548843 w 7467600"/>
              <a:gd name="connsiteY257" fmla="*/ 5563845 h 6858000"/>
              <a:gd name="connsiteX258" fmla="*/ 5940952 w 7467600"/>
              <a:gd name="connsiteY258" fmla="*/ 6250028 h 6858000"/>
              <a:gd name="connsiteX259" fmla="*/ 6043441 w 7467600"/>
              <a:gd name="connsiteY259" fmla="*/ 6665847 h 6858000"/>
              <a:gd name="connsiteX260" fmla="*/ 6093432 w 7467600"/>
              <a:gd name="connsiteY260" fmla="*/ 6858000 h 6858000"/>
              <a:gd name="connsiteX261" fmla="*/ 6034344 w 7467600"/>
              <a:gd name="connsiteY261" fmla="*/ 6858000 h 6858000"/>
              <a:gd name="connsiteX262" fmla="*/ 6026679 w 7467600"/>
              <a:gd name="connsiteY262" fmla="*/ 6836959 h 6858000"/>
              <a:gd name="connsiteX263" fmla="*/ 5800441 w 7467600"/>
              <a:gd name="connsiteY263" fmla="*/ 6335286 h 6858000"/>
              <a:gd name="connsiteX264" fmla="*/ 5526562 w 7467600"/>
              <a:gd name="connsiteY264" fmla="*/ 5705388 h 6858000"/>
              <a:gd name="connsiteX265" fmla="*/ 5519640 w 7467600"/>
              <a:gd name="connsiteY265" fmla="*/ 5683774 h 6858000"/>
              <a:gd name="connsiteX266" fmla="*/ 5844559 w 7467600"/>
              <a:gd name="connsiteY266" fmla="*/ 6553349 h 6858000"/>
              <a:gd name="connsiteX267" fmla="*/ 5975994 w 7467600"/>
              <a:gd name="connsiteY267" fmla="*/ 6858000 h 6858000"/>
              <a:gd name="connsiteX268" fmla="*/ 5898547 w 7467600"/>
              <a:gd name="connsiteY268" fmla="*/ 6858000 h 6858000"/>
              <a:gd name="connsiteX269" fmla="*/ 5682041 w 7467600"/>
              <a:gd name="connsiteY269" fmla="*/ 6355860 h 6858000"/>
              <a:gd name="connsiteX270" fmla="*/ 5461758 w 7467600"/>
              <a:gd name="connsiteY270" fmla="*/ 5820220 h 6858000"/>
              <a:gd name="connsiteX271" fmla="*/ 5237282 w 7467600"/>
              <a:gd name="connsiteY271" fmla="*/ 6579086 h 6858000"/>
              <a:gd name="connsiteX272" fmla="*/ 5115009 w 7467600"/>
              <a:gd name="connsiteY272" fmla="*/ 6858000 h 6858000"/>
              <a:gd name="connsiteX273" fmla="*/ 5028074 w 7467600"/>
              <a:gd name="connsiteY273" fmla="*/ 6858000 h 6858000"/>
              <a:gd name="connsiteX274" fmla="*/ 5079508 w 7467600"/>
              <a:gd name="connsiteY274" fmla="*/ 6749074 h 6858000"/>
              <a:gd name="connsiteX275" fmla="*/ 5371846 w 7467600"/>
              <a:gd name="connsiteY275" fmla="*/ 5924413 h 6858000"/>
              <a:gd name="connsiteX276" fmla="*/ 5270512 w 7467600"/>
              <a:gd name="connsiteY276" fmla="*/ 6138975 h 6858000"/>
              <a:gd name="connsiteX277" fmla="*/ 5062409 w 7467600"/>
              <a:gd name="connsiteY277" fmla="*/ 6653544 h 6858000"/>
              <a:gd name="connsiteX278" fmla="*/ 5036628 w 7467600"/>
              <a:gd name="connsiteY278" fmla="*/ 6754247 h 6858000"/>
              <a:gd name="connsiteX279" fmla="*/ 5009112 w 7467600"/>
              <a:gd name="connsiteY279" fmla="*/ 6858000 h 6858000"/>
              <a:gd name="connsiteX280" fmla="*/ 4976679 w 7467600"/>
              <a:gd name="connsiteY280" fmla="*/ 6858000 h 6858000"/>
              <a:gd name="connsiteX281" fmla="*/ 5006537 w 7467600"/>
              <a:gd name="connsiteY281" fmla="*/ 6747068 h 6858000"/>
              <a:gd name="connsiteX282" fmla="*/ 5032723 w 7467600"/>
              <a:gd name="connsiteY282" fmla="*/ 6644957 h 6858000"/>
              <a:gd name="connsiteX283" fmla="*/ 5242949 w 7467600"/>
              <a:gd name="connsiteY283" fmla="*/ 6125175 h 6858000"/>
              <a:gd name="connsiteX284" fmla="*/ 5286321 w 7467600"/>
              <a:gd name="connsiteY284" fmla="*/ 6033555 h 6858000"/>
              <a:gd name="connsiteX285" fmla="*/ 5008210 w 7467600"/>
              <a:gd name="connsiteY285" fmla="*/ 6649194 h 6858000"/>
              <a:gd name="connsiteX286" fmla="*/ 4986321 w 7467600"/>
              <a:gd name="connsiteY286" fmla="*/ 6765687 h 6858000"/>
              <a:gd name="connsiteX287" fmla="*/ 4973474 w 7467600"/>
              <a:gd name="connsiteY287" fmla="*/ 6858000 h 6858000"/>
              <a:gd name="connsiteX288" fmla="*/ 4907178 w 7467600"/>
              <a:gd name="connsiteY288" fmla="*/ 6858000 h 6858000"/>
              <a:gd name="connsiteX289" fmla="*/ 4910810 w 7467600"/>
              <a:gd name="connsiteY289" fmla="*/ 6829660 h 6858000"/>
              <a:gd name="connsiteX290" fmla="*/ 4987461 w 7467600"/>
              <a:gd name="connsiteY290" fmla="*/ 6432994 h 6858000"/>
              <a:gd name="connsiteX291" fmla="*/ 5179262 w 7467600"/>
              <a:gd name="connsiteY291" fmla="*/ 6035044 h 6858000"/>
              <a:gd name="connsiteX292" fmla="*/ 4689678 w 7467600"/>
              <a:gd name="connsiteY292" fmla="*/ 6440241 h 6858000"/>
              <a:gd name="connsiteX293" fmla="*/ 4477543 w 7467600"/>
              <a:gd name="connsiteY293" fmla="*/ 6674836 h 6858000"/>
              <a:gd name="connsiteX294" fmla="*/ 4329957 w 7467600"/>
              <a:gd name="connsiteY294" fmla="*/ 6858000 h 6858000"/>
              <a:gd name="connsiteX295" fmla="*/ 4218595 w 7467600"/>
              <a:gd name="connsiteY295" fmla="*/ 6858000 h 6858000"/>
              <a:gd name="connsiteX296" fmla="*/ 4368888 w 7467600"/>
              <a:gd name="connsiteY296" fmla="*/ 6668412 h 6858000"/>
              <a:gd name="connsiteX297" fmla="*/ 4563091 w 7467600"/>
              <a:gd name="connsiteY297" fmla="*/ 6442508 h 6858000"/>
              <a:gd name="connsiteX298" fmla="*/ 5387324 w 7467600"/>
              <a:gd name="connsiteY298" fmla="*/ 5705830 h 6858000"/>
              <a:gd name="connsiteX299" fmla="*/ 5073620 w 7467600"/>
              <a:gd name="connsiteY299" fmla="*/ 5955437 h 6858000"/>
              <a:gd name="connsiteX300" fmla="*/ 4689789 w 7467600"/>
              <a:gd name="connsiteY300" fmla="*/ 6268382 h 6858000"/>
              <a:gd name="connsiteX301" fmla="*/ 4418722 w 7467600"/>
              <a:gd name="connsiteY301" fmla="*/ 6570886 h 6858000"/>
              <a:gd name="connsiteX302" fmla="*/ 4214944 w 7467600"/>
              <a:gd name="connsiteY302" fmla="*/ 6858000 h 6858000"/>
              <a:gd name="connsiteX303" fmla="*/ 4177898 w 7467600"/>
              <a:gd name="connsiteY303" fmla="*/ 6858000 h 6858000"/>
              <a:gd name="connsiteX304" fmla="*/ 4391597 w 7467600"/>
              <a:gd name="connsiteY304" fmla="*/ 6556370 h 6858000"/>
              <a:gd name="connsiteX305" fmla="*/ 4668889 w 7467600"/>
              <a:gd name="connsiteY305" fmla="*/ 6246399 h 6858000"/>
              <a:gd name="connsiteX306" fmla="*/ 5055427 w 7467600"/>
              <a:gd name="connsiteY306" fmla="*/ 5931476 h 6858000"/>
              <a:gd name="connsiteX307" fmla="*/ 5371814 w 7467600"/>
              <a:gd name="connsiteY307" fmla="*/ 5678975 h 6858000"/>
              <a:gd name="connsiteX308" fmla="*/ 4987918 w 7467600"/>
              <a:gd name="connsiteY308" fmla="*/ 5838701 h 6858000"/>
              <a:gd name="connsiteX309" fmla="*/ 4317146 w 7467600"/>
              <a:gd name="connsiteY309" fmla="*/ 6587716 h 6858000"/>
              <a:gd name="connsiteX310" fmla="*/ 4171627 w 7467600"/>
              <a:gd name="connsiteY310" fmla="*/ 6858000 h 6858000"/>
              <a:gd name="connsiteX311" fmla="*/ 4081585 w 7467600"/>
              <a:gd name="connsiteY311" fmla="*/ 6858000 h 6858000"/>
              <a:gd name="connsiteX312" fmla="*/ 4238603 w 7467600"/>
              <a:gd name="connsiteY312" fmla="*/ 6559341 h 6858000"/>
              <a:gd name="connsiteX313" fmla="*/ 4778333 w 7467600"/>
              <a:gd name="connsiteY313" fmla="*/ 5873626 h 6858000"/>
              <a:gd name="connsiteX314" fmla="*/ 5414185 w 7467600"/>
              <a:gd name="connsiteY314" fmla="*/ 5573882 h 6858000"/>
              <a:gd name="connsiteX315" fmla="*/ 5959648 w 7467600"/>
              <a:gd name="connsiteY315" fmla="*/ 4760797 h 6858000"/>
              <a:gd name="connsiteX316" fmla="*/ 5355019 w 7467600"/>
              <a:gd name="connsiteY316" fmla="*/ 4734672 h 6858000"/>
              <a:gd name="connsiteX317" fmla="*/ 5083565 w 7467600"/>
              <a:gd name="connsiteY317" fmla="*/ 5179121 h 6858000"/>
              <a:gd name="connsiteX318" fmla="*/ 4713577 w 7467600"/>
              <a:gd name="connsiteY318" fmla="*/ 5616803 h 6858000"/>
              <a:gd name="connsiteX319" fmla="*/ 3989559 w 7467600"/>
              <a:gd name="connsiteY319" fmla="*/ 6145945 h 6858000"/>
              <a:gd name="connsiteX320" fmla="*/ 3939824 w 7467600"/>
              <a:gd name="connsiteY320" fmla="*/ 6066900 h 6858000"/>
              <a:gd name="connsiteX321" fmla="*/ 4584537 w 7467600"/>
              <a:gd name="connsiteY321" fmla="*/ 5324826 h 6858000"/>
              <a:gd name="connsiteX322" fmla="*/ 5037105 w 7467600"/>
              <a:gd name="connsiteY322" fmla="*/ 5088765 h 6858000"/>
              <a:gd name="connsiteX323" fmla="*/ 5039930 w 7467600"/>
              <a:gd name="connsiteY323" fmla="*/ 5089585 h 6858000"/>
              <a:gd name="connsiteX324" fmla="*/ 5263764 w 7467600"/>
              <a:gd name="connsiteY324" fmla="*/ 4735525 h 6858000"/>
              <a:gd name="connsiteX325" fmla="*/ 4086300 w 7467600"/>
              <a:gd name="connsiteY325" fmla="*/ 4884599 h 6858000"/>
              <a:gd name="connsiteX326" fmla="*/ 4085485 w 7467600"/>
              <a:gd name="connsiteY326" fmla="*/ 4899070 h 6858000"/>
              <a:gd name="connsiteX327" fmla="*/ 3871915 w 7467600"/>
              <a:gd name="connsiteY327" fmla="*/ 5253645 h 6858000"/>
              <a:gd name="connsiteX328" fmla="*/ 3799374 w 7467600"/>
              <a:gd name="connsiteY328" fmla="*/ 5466127 h 6858000"/>
              <a:gd name="connsiteX329" fmla="*/ 3498850 w 7467600"/>
              <a:gd name="connsiteY329" fmla="*/ 6661888 h 6858000"/>
              <a:gd name="connsiteX330" fmla="*/ 3399216 w 7467600"/>
              <a:gd name="connsiteY330" fmla="*/ 6858000 h 6858000"/>
              <a:gd name="connsiteX331" fmla="*/ 3303688 w 7467600"/>
              <a:gd name="connsiteY331" fmla="*/ 6858000 h 6858000"/>
              <a:gd name="connsiteX332" fmla="*/ 3391774 w 7467600"/>
              <a:gd name="connsiteY332" fmla="*/ 6697181 h 6858000"/>
              <a:gd name="connsiteX333" fmla="*/ 3735540 w 7467600"/>
              <a:gd name="connsiteY333" fmla="*/ 5546923 h 6858000"/>
              <a:gd name="connsiteX334" fmla="*/ 3729438 w 7467600"/>
              <a:gd name="connsiteY334" fmla="*/ 5569058 h 6858000"/>
              <a:gd name="connsiteX335" fmla="*/ 3707782 w 7467600"/>
              <a:gd name="connsiteY335" fmla="*/ 5644908 h 6858000"/>
              <a:gd name="connsiteX336" fmla="*/ 3583827 w 7467600"/>
              <a:gd name="connsiteY336" fmla="*/ 6039215 h 6858000"/>
              <a:gd name="connsiteX337" fmla="*/ 3547861 w 7467600"/>
              <a:gd name="connsiteY337" fmla="*/ 6129609 h 6858000"/>
              <a:gd name="connsiteX338" fmla="*/ 3490905 w 7467600"/>
              <a:gd name="connsiteY338" fmla="*/ 6277660 h 6858000"/>
              <a:gd name="connsiteX339" fmla="*/ 3455859 w 7467600"/>
              <a:gd name="connsiteY339" fmla="*/ 6391301 h 6858000"/>
              <a:gd name="connsiteX340" fmla="*/ 3429112 w 7467600"/>
              <a:gd name="connsiteY340" fmla="*/ 6479469 h 6858000"/>
              <a:gd name="connsiteX341" fmla="*/ 3304862 w 7467600"/>
              <a:gd name="connsiteY341" fmla="*/ 6796476 h 6858000"/>
              <a:gd name="connsiteX342" fmla="*/ 3276071 w 7467600"/>
              <a:gd name="connsiteY342" fmla="*/ 6858000 h 6858000"/>
              <a:gd name="connsiteX343" fmla="*/ 3240805 w 7467600"/>
              <a:gd name="connsiteY343" fmla="*/ 6858000 h 6858000"/>
              <a:gd name="connsiteX344" fmla="*/ 3275917 w 7467600"/>
              <a:gd name="connsiteY344" fmla="*/ 6783192 h 6858000"/>
              <a:gd name="connsiteX345" fmla="*/ 3399358 w 7467600"/>
              <a:gd name="connsiteY345" fmla="*/ 6469011 h 6858000"/>
              <a:gd name="connsiteX346" fmla="*/ 3425650 w 7467600"/>
              <a:gd name="connsiteY346" fmla="*/ 6381333 h 6858000"/>
              <a:gd name="connsiteX347" fmla="*/ 3460661 w 7467600"/>
              <a:gd name="connsiteY347" fmla="*/ 6266763 h 6858000"/>
              <a:gd name="connsiteX348" fmla="*/ 3518021 w 7467600"/>
              <a:gd name="connsiteY348" fmla="*/ 6117298 h 6858000"/>
              <a:gd name="connsiteX349" fmla="*/ 3554035 w 7467600"/>
              <a:gd name="connsiteY349" fmla="*/ 6027832 h 6858000"/>
              <a:gd name="connsiteX350" fmla="*/ 3677174 w 7467600"/>
              <a:gd name="connsiteY350" fmla="*/ 5636351 h 6858000"/>
              <a:gd name="connsiteX351" fmla="*/ 3698819 w 7467600"/>
              <a:gd name="connsiteY351" fmla="*/ 5560503 h 6858000"/>
              <a:gd name="connsiteX352" fmla="*/ 3702094 w 7467600"/>
              <a:gd name="connsiteY352" fmla="*/ 5549194 h 6858000"/>
              <a:gd name="connsiteX353" fmla="*/ 3398355 w 7467600"/>
              <a:gd name="connsiteY353" fmla="*/ 6094603 h 6858000"/>
              <a:gd name="connsiteX354" fmla="*/ 3193941 w 7467600"/>
              <a:gd name="connsiteY354" fmla="*/ 6798775 h 6858000"/>
              <a:gd name="connsiteX355" fmla="*/ 3184140 w 7467600"/>
              <a:gd name="connsiteY355" fmla="*/ 6858000 h 6858000"/>
              <a:gd name="connsiteX356" fmla="*/ 3099978 w 7467600"/>
              <a:gd name="connsiteY356" fmla="*/ 6858000 h 6858000"/>
              <a:gd name="connsiteX357" fmla="*/ 3101556 w 7467600"/>
              <a:gd name="connsiteY357" fmla="*/ 6843337 h 6858000"/>
              <a:gd name="connsiteX358" fmla="*/ 3370162 w 7467600"/>
              <a:gd name="connsiteY358" fmla="*/ 5785550 h 6858000"/>
              <a:gd name="connsiteX359" fmla="*/ 3746477 w 7467600"/>
              <a:gd name="connsiteY359" fmla="*/ 5377889 h 6858000"/>
              <a:gd name="connsiteX360" fmla="*/ 3863399 w 7467600"/>
              <a:gd name="connsiteY360" fmla="*/ 5087257 h 6858000"/>
              <a:gd name="connsiteX361" fmla="*/ 3968712 w 7467600"/>
              <a:gd name="connsiteY361" fmla="*/ 4913989 h 6858000"/>
              <a:gd name="connsiteX362" fmla="*/ 2792390 w 7467600"/>
              <a:gd name="connsiteY362" fmla="*/ 5382974 h 6858000"/>
              <a:gd name="connsiteX363" fmla="*/ 2714982 w 7467600"/>
              <a:gd name="connsiteY363" fmla="*/ 5427051 h 6858000"/>
              <a:gd name="connsiteX364" fmla="*/ 2813361 w 7467600"/>
              <a:gd name="connsiteY364" fmla="*/ 6023912 h 6858000"/>
              <a:gd name="connsiteX365" fmla="*/ 2688430 w 7467600"/>
              <a:gd name="connsiteY365" fmla="*/ 6801564 h 6858000"/>
              <a:gd name="connsiteX366" fmla="*/ 2629626 w 7467600"/>
              <a:gd name="connsiteY366" fmla="*/ 6763394 h 6858000"/>
              <a:gd name="connsiteX367" fmla="*/ 2565328 w 7467600"/>
              <a:gd name="connsiteY367" fmla="*/ 5516399 h 6858000"/>
              <a:gd name="connsiteX368" fmla="*/ 1922999 w 7467600"/>
              <a:gd name="connsiteY368" fmla="*/ 5980343 h 6858000"/>
              <a:gd name="connsiteX369" fmla="*/ 1950261 w 7467600"/>
              <a:gd name="connsiteY369" fmla="*/ 6405858 h 6858000"/>
              <a:gd name="connsiteX370" fmla="*/ 2365554 w 7467600"/>
              <a:gd name="connsiteY370" fmla="*/ 6759107 h 6858000"/>
              <a:gd name="connsiteX371" fmla="*/ 2424142 w 7467600"/>
              <a:gd name="connsiteY371" fmla="*/ 6858000 h 6858000"/>
              <a:gd name="connsiteX372" fmla="*/ 2395994 w 7467600"/>
              <a:gd name="connsiteY372" fmla="*/ 6858000 h 6858000"/>
              <a:gd name="connsiteX373" fmla="*/ 2392863 w 7467600"/>
              <a:gd name="connsiteY373" fmla="*/ 6852964 h 6858000"/>
              <a:gd name="connsiteX374" fmla="*/ 2017589 w 7467600"/>
              <a:gd name="connsiteY374" fmla="*/ 6493982 h 6858000"/>
              <a:gd name="connsiteX375" fmla="*/ 2147336 w 7467600"/>
              <a:gd name="connsiteY375" fmla="*/ 6594052 h 6858000"/>
              <a:gd name="connsiteX376" fmla="*/ 2207047 w 7467600"/>
              <a:gd name="connsiteY376" fmla="*/ 6654540 h 6858000"/>
              <a:gd name="connsiteX377" fmla="*/ 2299106 w 7467600"/>
              <a:gd name="connsiteY377" fmla="*/ 6778931 h 6858000"/>
              <a:gd name="connsiteX378" fmla="*/ 2314430 w 7467600"/>
              <a:gd name="connsiteY378" fmla="*/ 6801144 h 6858000"/>
              <a:gd name="connsiteX379" fmla="*/ 2352406 w 7467600"/>
              <a:gd name="connsiteY379" fmla="*/ 6858000 h 6858000"/>
              <a:gd name="connsiteX380" fmla="*/ 2314492 w 7467600"/>
              <a:gd name="connsiteY380" fmla="*/ 6858000 h 6858000"/>
              <a:gd name="connsiteX381" fmla="*/ 2288095 w 7467600"/>
              <a:gd name="connsiteY381" fmla="*/ 6818030 h 6858000"/>
              <a:gd name="connsiteX382" fmla="*/ 2272768 w 7467600"/>
              <a:gd name="connsiteY382" fmla="*/ 6795822 h 6858000"/>
              <a:gd name="connsiteX383" fmla="*/ 2182715 w 7467600"/>
              <a:gd name="connsiteY383" fmla="*/ 6675071 h 6858000"/>
              <a:gd name="connsiteX384" fmla="*/ 2032061 w 7467600"/>
              <a:gd name="connsiteY384" fmla="*/ 6541380 h 6858000"/>
              <a:gd name="connsiteX385" fmla="*/ 2257220 w 7467600"/>
              <a:gd name="connsiteY385" fmla="*/ 6826257 h 6858000"/>
              <a:gd name="connsiteX386" fmla="*/ 2281324 w 7467600"/>
              <a:gd name="connsiteY386" fmla="*/ 6858000 h 6858000"/>
              <a:gd name="connsiteX387" fmla="*/ 2242860 w 7467600"/>
              <a:gd name="connsiteY387" fmla="*/ 6858000 h 6858000"/>
              <a:gd name="connsiteX388" fmla="*/ 2232818 w 7467600"/>
              <a:gd name="connsiteY388" fmla="*/ 6844926 h 6858000"/>
              <a:gd name="connsiteX389" fmla="*/ 1990172 w 7467600"/>
              <a:gd name="connsiteY389" fmla="*/ 6542121 h 6858000"/>
              <a:gd name="connsiteX390" fmla="*/ 2124090 w 7467600"/>
              <a:gd name="connsiteY390" fmla="*/ 6761017 h 6858000"/>
              <a:gd name="connsiteX391" fmla="*/ 2200380 w 7467600"/>
              <a:gd name="connsiteY391" fmla="*/ 6858000 h 6858000"/>
              <a:gd name="connsiteX392" fmla="*/ 2147507 w 7467600"/>
              <a:gd name="connsiteY392" fmla="*/ 6858000 h 6858000"/>
              <a:gd name="connsiteX393" fmla="*/ 2070668 w 7467600"/>
              <a:gd name="connsiteY393" fmla="*/ 6761520 h 6858000"/>
              <a:gd name="connsiteX394" fmla="*/ 1975142 w 7467600"/>
              <a:gd name="connsiteY394" fmla="*/ 6585570 h 6858000"/>
              <a:gd name="connsiteX395" fmla="*/ 2050035 w 7467600"/>
              <a:gd name="connsiteY395" fmla="*/ 6813345 h 6858000"/>
              <a:gd name="connsiteX396" fmla="*/ 2063025 w 7467600"/>
              <a:gd name="connsiteY396" fmla="*/ 6858000 h 6858000"/>
              <a:gd name="connsiteX397" fmla="*/ 2021675 w 7467600"/>
              <a:gd name="connsiteY397" fmla="*/ 6858000 h 6858000"/>
              <a:gd name="connsiteX398" fmla="*/ 2019308 w 7467600"/>
              <a:gd name="connsiteY398" fmla="*/ 6847118 h 6858000"/>
              <a:gd name="connsiteX399" fmla="*/ 1938835 w 7467600"/>
              <a:gd name="connsiteY399" fmla="*/ 6551160 h 6858000"/>
              <a:gd name="connsiteX400" fmla="*/ 1953230 w 7467600"/>
              <a:gd name="connsiteY400" fmla="*/ 6759699 h 6858000"/>
              <a:gd name="connsiteX401" fmla="*/ 1956763 w 7467600"/>
              <a:gd name="connsiteY401" fmla="*/ 6778191 h 6858000"/>
              <a:gd name="connsiteX402" fmla="*/ 1967925 w 7467600"/>
              <a:gd name="connsiteY402" fmla="*/ 6858000 h 6858000"/>
              <a:gd name="connsiteX403" fmla="*/ 1936622 w 7467600"/>
              <a:gd name="connsiteY403" fmla="*/ 6858000 h 6858000"/>
              <a:gd name="connsiteX404" fmla="*/ 1926261 w 7467600"/>
              <a:gd name="connsiteY404" fmla="*/ 6784064 h 6858000"/>
              <a:gd name="connsiteX405" fmla="*/ 1922724 w 7467600"/>
              <a:gd name="connsiteY405" fmla="*/ 6765577 h 6858000"/>
              <a:gd name="connsiteX406" fmla="*/ 1904650 w 7467600"/>
              <a:gd name="connsiteY406" fmla="*/ 6639616 h 6858000"/>
              <a:gd name="connsiteX407" fmla="*/ 1885273 w 7467600"/>
              <a:gd name="connsiteY407" fmla="*/ 6858000 h 6858000"/>
              <a:gd name="connsiteX408" fmla="*/ 1854363 w 7467600"/>
              <a:gd name="connsiteY408" fmla="*/ 6858000 h 6858000"/>
              <a:gd name="connsiteX409" fmla="*/ 1880391 w 7467600"/>
              <a:gd name="connsiteY409" fmla="*/ 6603796 h 6858000"/>
              <a:gd name="connsiteX410" fmla="*/ 1818273 w 7467600"/>
              <a:gd name="connsiteY410" fmla="*/ 6715729 h 6858000"/>
              <a:gd name="connsiteX411" fmla="*/ 1794691 w 7467600"/>
              <a:gd name="connsiteY411" fmla="*/ 6843239 h 6858000"/>
              <a:gd name="connsiteX412" fmla="*/ 1794914 w 7467600"/>
              <a:gd name="connsiteY412" fmla="*/ 6858000 h 6858000"/>
              <a:gd name="connsiteX413" fmla="*/ 1746128 w 7467600"/>
              <a:gd name="connsiteY413" fmla="*/ 6858000 h 6858000"/>
              <a:gd name="connsiteX414" fmla="*/ 1753934 w 7467600"/>
              <a:gd name="connsiteY414" fmla="*/ 6724796 h 6858000"/>
              <a:gd name="connsiteX415" fmla="*/ 1792053 w 7467600"/>
              <a:gd name="connsiteY415" fmla="*/ 6572396 h 6858000"/>
              <a:gd name="connsiteX416" fmla="*/ 1862248 w 7467600"/>
              <a:gd name="connsiteY416" fmla="*/ 6266397 h 6858000"/>
              <a:gd name="connsiteX417" fmla="*/ 1862250 w 7467600"/>
              <a:gd name="connsiteY417" fmla="*/ 6033531 h 6858000"/>
              <a:gd name="connsiteX418" fmla="*/ 1211999 w 7467600"/>
              <a:gd name="connsiteY418" fmla="*/ 6683610 h 6858000"/>
              <a:gd name="connsiteX419" fmla="*/ 1213266 w 7467600"/>
              <a:gd name="connsiteY419" fmla="*/ 6691947 h 6858000"/>
              <a:gd name="connsiteX420" fmla="*/ 1203370 w 7467600"/>
              <a:gd name="connsiteY420" fmla="*/ 6850676 h 6858000"/>
              <a:gd name="connsiteX421" fmla="*/ 1203671 w 7467600"/>
              <a:gd name="connsiteY421" fmla="*/ 6858000 h 6858000"/>
              <a:gd name="connsiteX422" fmla="*/ 1143180 w 7467600"/>
              <a:gd name="connsiteY422" fmla="*/ 6858000 h 6858000"/>
              <a:gd name="connsiteX423" fmla="*/ 1142176 w 7467600"/>
              <a:gd name="connsiteY423" fmla="*/ 6766045 h 6858000"/>
              <a:gd name="connsiteX424" fmla="*/ 1067484 w 7467600"/>
              <a:gd name="connsiteY424" fmla="*/ 6858000 h 6858000"/>
              <a:gd name="connsiteX425" fmla="*/ 953928 w 7467600"/>
              <a:gd name="connsiteY425" fmla="*/ 6858000 h 6858000"/>
              <a:gd name="connsiteX426" fmla="*/ 959715 w 7467600"/>
              <a:gd name="connsiteY426" fmla="*/ 6850185 h 6858000"/>
              <a:gd name="connsiteX427" fmla="*/ 1483788 w 7467600"/>
              <a:gd name="connsiteY427" fmla="*/ 6259174 h 6858000"/>
              <a:gd name="connsiteX428" fmla="*/ 1100671 w 7467600"/>
              <a:gd name="connsiteY428" fmla="*/ 6252137 h 6858000"/>
              <a:gd name="connsiteX429" fmla="*/ 1090144 w 7467600"/>
              <a:gd name="connsiteY429" fmla="*/ 6256748 h 6858000"/>
              <a:gd name="connsiteX430" fmla="*/ 1095872 w 7467600"/>
              <a:gd name="connsiteY430" fmla="*/ 6271892 h 6858000"/>
              <a:gd name="connsiteX431" fmla="*/ 262785 w 7467600"/>
              <a:gd name="connsiteY431" fmla="*/ 6845450 h 6858000"/>
              <a:gd name="connsiteX432" fmla="*/ 209968 w 7467600"/>
              <a:gd name="connsiteY432" fmla="*/ 6770713 h 6858000"/>
              <a:gd name="connsiteX433" fmla="*/ 873460 w 7467600"/>
              <a:gd name="connsiteY433" fmla="*/ 6253768 h 6858000"/>
              <a:gd name="connsiteX434" fmla="*/ 192686 w 7467600"/>
              <a:gd name="connsiteY434" fmla="*/ 5849257 h 6858000"/>
              <a:gd name="connsiteX435" fmla="*/ 4696 w 7467600"/>
              <a:gd name="connsiteY435" fmla="*/ 5697668 h 6858000"/>
              <a:gd name="connsiteX436" fmla="*/ 0 w 7467600"/>
              <a:gd name="connsiteY436" fmla="*/ 5689984 h 6858000"/>
              <a:gd name="connsiteX437" fmla="*/ 0 w 7467600"/>
              <a:gd name="connsiteY437" fmla="*/ 5513472 h 6858000"/>
              <a:gd name="connsiteX438" fmla="*/ 174101 w 7467600"/>
              <a:gd name="connsiteY438" fmla="*/ 5620277 h 6858000"/>
              <a:gd name="connsiteX439" fmla="*/ 891800 w 7467600"/>
              <a:gd name="connsiteY439" fmla="*/ 6036935 h 6858000"/>
              <a:gd name="connsiteX440" fmla="*/ 1072219 w 7467600"/>
              <a:gd name="connsiteY440" fmla="*/ 6169443 h 6858000"/>
              <a:gd name="connsiteX441" fmla="*/ 1074117 w 7467600"/>
              <a:gd name="connsiteY441" fmla="*/ 6170301 h 6858000"/>
              <a:gd name="connsiteX442" fmla="*/ 1083114 w 7467600"/>
              <a:gd name="connsiteY442" fmla="*/ 6174131 h 6858000"/>
              <a:gd name="connsiteX443" fmla="*/ 1543010 w 7467600"/>
              <a:gd name="connsiteY443" fmla="*/ 6191140 h 6858000"/>
              <a:gd name="connsiteX444" fmla="*/ 1551080 w 7467600"/>
              <a:gd name="connsiteY444" fmla="*/ 6195006 h 6858000"/>
              <a:gd name="connsiteX445" fmla="*/ 2345443 w 7467600"/>
              <a:gd name="connsiteY445" fmla="*/ 5549882 h 6858000"/>
              <a:gd name="connsiteX446" fmla="*/ 1721499 w 7467600"/>
              <a:gd name="connsiteY446" fmla="*/ 5599969 h 6858000"/>
              <a:gd name="connsiteX447" fmla="*/ 767716 w 7467600"/>
              <a:gd name="connsiteY447" fmla="*/ 5472768 h 6858000"/>
              <a:gd name="connsiteX448" fmla="*/ 722147 w 7467600"/>
              <a:gd name="connsiteY448" fmla="*/ 5393091 h 6858000"/>
              <a:gd name="connsiteX449" fmla="*/ 1485552 w 7467600"/>
              <a:gd name="connsiteY449" fmla="*/ 5313202 h 6858000"/>
              <a:gd name="connsiteX450" fmla="*/ 2143004 w 7467600"/>
              <a:gd name="connsiteY450" fmla="*/ 5402420 h 6858000"/>
              <a:gd name="connsiteX451" fmla="*/ 1933391 w 7467600"/>
              <a:gd name="connsiteY451" fmla="*/ 5156971 h 6858000"/>
              <a:gd name="connsiteX452" fmla="*/ 1827118 w 7467600"/>
              <a:gd name="connsiteY452" fmla="*/ 4968410 h 6858000"/>
              <a:gd name="connsiteX453" fmla="*/ 1837349 w 7467600"/>
              <a:gd name="connsiteY453" fmla="*/ 4956357 h 6858000"/>
              <a:gd name="connsiteX454" fmla="*/ 2162835 w 7467600"/>
              <a:gd name="connsiteY454" fmla="*/ 5187853 h 6858000"/>
              <a:gd name="connsiteX455" fmla="*/ 2257167 w 7467600"/>
              <a:gd name="connsiteY455" fmla="*/ 5462123 h 6858000"/>
              <a:gd name="connsiteX456" fmla="*/ 2261598 w 7467600"/>
              <a:gd name="connsiteY456" fmla="*/ 5467998 h 6858000"/>
              <a:gd name="connsiteX457" fmla="*/ 2437177 w 7467600"/>
              <a:gd name="connsiteY457" fmla="*/ 5479608 h 6858000"/>
              <a:gd name="connsiteX458" fmla="*/ 2445247 w 7467600"/>
              <a:gd name="connsiteY458" fmla="*/ 5483476 h 6858000"/>
              <a:gd name="connsiteX459" fmla="*/ 2743626 w 7467600"/>
              <a:gd name="connsiteY459" fmla="*/ 5304819 h 6858000"/>
              <a:gd name="connsiteX460" fmla="*/ 3048102 w 7467600"/>
              <a:gd name="connsiteY460" fmla="*/ 5150595 h 6858000"/>
              <a:gd name="connsiteX461" fmla="*/ 1799414 w 7467600"/>
              <a:gd name="connsiteY461" fmla="*/ 4694732 h 6858000"/>
              <a:gd name="connsiteX462" fmla="*/ 1771735 w 7467600"/>
              <a:gd name="connsiteY462" fmla="*/ 4619929 h 6858000"/>
              <a:gd name="connsiteX463" fmla="*/ 3104273 w 7467600"/>
              <a:gd name="connsiteY463" fmla="*/ 5076159 h 6858000"/>
              <a:gd name="connsiteX464" fmla="*/ 3113245 w 7467600"/>
              <a:gd name="connsiteY464" fmla="*/ 5090705 h 6858000"/>
              <a:gd name="connsiteX465" fmla="*/ 3126294 w 7467600"/>
              <a:gd name="connsiteY465" fmla="*/ 5114400 h 6858000"/>
              <a:gd name="connsiteX466" fmla="*/ 3937433 w 7467600"/>
              <a:gd name="connsiteY466" fmla="*/ 4830473 h 6858000"/>
              <a:gd name="connsiteX467" fmla="*/ 3590475 w 7467600"/>
              <a:gd name="connsiteY467" fmla="*/ 4597974 h 6858000"/>
              <a:gd name="connsiteX468" fmla="*/ 3100264 w 7467600"/>
              <a:gd name="connsiteY468" fmla="*/ 4579845 h 6858000"/>
              <a:gd name="connsiteX469" fmla="*/ 2183576 w 7467600"/>
              <a:gd name="connsiteY469" fmla="*/ 4227150 h 6858000"/>
              <a:gd name="connsiteX470" fmla="*/ 2151029 w 7467600"/>
              <a:gd name="connsiteY470" fmla="*/ 4146947 h 6858000"/>
              <a:gd name="connsiteX471" fmla="*/ 3563434 w 7467600"/>
              <a:gd name="connsiteY471" fmla="*/ 4469115 h 6858000"/>
              <a:gd name="connsiteX472" fmla="*/ 3177952 w 7467600"/>
              <a:gd name="connsiteY472" fmla="*/ 3657386 h 6858000"/>
              <a:gd name="connsiteX473" fmla="*/ 3189263 w 7467600"/>
              <a:gd name="connsiteY473" fmla="*/ 3625726 h 6858000"/>
              <a:gd name="connsiteX474" fmla="*/ 3560912 w 7467600"/>
              <a:gd name="connsiteY474" fmla="*/ 4079863 h 6858000"/>
              <a:gd name="connsiteX475" fmla="*/ 3626636 w 7467600"/>
              <a:gd name="connsiteY475" fmla="*/ 4512230 h 6858000"/>
              <a:gd name="connsiteX476" fmla="*/ 3653088 w 7467600"/>
              <a:gd name="connsiteY476" fmla="*/ 4521417 h 6858000"/>
              <a:gd name="connsiteX477" fmla="*/ 3988128 w 7467600"/>
              <a:gd name="connsiteY477" fmla="*/ 4817267 h 6858000"/>
              <a:gd name="connsiteX478" fmla="*/ 4830582 w 7467600"/>
              <a:gd name="connsiteY478" fmla="*/ 4676000 h 6858000"/>
              <a:gd name="connsiteX479" fmla="*/ 4830100 w 7467600"/>
              <a:gd name="connsiteY479" fmla="*/ 4675554 h 6858000"/>
              <a:gd name="connsiteX480" fmla="*/ 4036318 w 7467600"/>
              <a:gd name="connsiteY480" fmla="*/ 4147013 h 6858000"/>
              <a:gd name="connsiteX481" fmla="*/ 3432098 w 7467600"/>
              <a:gd name="connsiteY481" fmla="*/ 3537312 h 6858000"/>
              <a:gd name="connsiteX482" fmla="*/ 3446761 w 7467600"/>
              <a:gd name="connsiteY482" fmla="*/ 3461278 h 6858000"/>
              <a:gd name="connsiteX483" fmla="*/ 4419733 w 7467600"/>
              <a:gd name="connsiteY483" fmla="*/ 3963555 h 6858000"/>
              <a:gd name="connsiteX484" fmla="*/ 4781371 w 7467600"/>
              <a:gd name="connsiteY484" fmla="*/ 4458604 h 6858000"/>
              <a:gd name="connsiteX485" fmla="*/ 4780440 w 7467600"/>
              <a:gd name="connsiteY485" fmla="*/ 4470290 h 6858000"/>
              <a:gd name="connsiteX486" fmla="*/ 4898954 w 7467600"/>
              <a:gd name="connsiteY486" fmla="*/ 4662092 h 6858000"/>
              <a:gd name="connsiteX487" fmla="*/ 4900699 w 7467600"/>
              <a:gd name="connsiteY487" fmla="*/ 4670867 h 6858000"/>
              <a:gd name="connsiteX488" fmla="*/ 5714511 w 7467600"/>
              <a:gd name="connsiteY488" fmla="*/ 4663483 h 6858000"/>
              <a:gd name="connsiteX489" fmla="*/ 5464793 w 7467600"/>
              <a:gd name="connsiteY489" fmla="*/ 4393556 h 6858000"/>
              <a:gd name="connsiteX490" fmla="*/ 5461897 w 7467600"/>
              <a:gd name="connsiteY490" fmla="*/ 4390879 h 6858000"/>
              <a:gd name="connsiteX491" fmla="*/ 4294126 w 7467600"/>
              <a:gd name="connsiteY491" fmla="*/ 3303048 h 6858000"/>
              <a:gd name="connsiteX492" fmla="*/ 4305321 w 7467600"/>
              <a:gd name="connsiteY492" fmla="*/ 3256953 h 6858000"/>
              <a:gd name="connsiteX493" fmla="*/ 4949299 w 7467600"/>
              <a:gd name="connsiteY493" fmla="*/ 3766336 h 6858000"/>
              <a:gd name="connsiteX494" fmla="*/ 5291452 w 7467600"/>
              <a:gd name="connsiteY494" fmla="*/ 4076801 h 6858000"/>
              <a:gd name="connsiteX495" fmla="*/ 5434998 w 7467600"/>
              <a:gd name="connsiteY495" fmla="*/ 4254100 h 6858000"/>
              <a:gd name="connsiteX496" fmla="*/ 5351015 w 7467600"/>
              <a:gd name="connsiteY496" fmla="*/ 3760989 h 6858000"/>
              <a:gd name="connsiteX497" fmla="*/ 5413780 w 7467600"/>
              <a:gd name="connsiteY497" fmla="*/ 2966265 h 6858000"/>
              <a:gd name="connsiteX498" fmla="*/ 5425627 w 7467600"/>
              <a:gd name="connsiteY498" fmla="*/ 2954192 h 6858000"/>
              <a:gd name="connsiteX499" fmla="*/ 6604735 w 7467600"/>
              <a:gd name="connsiteY499" fmla="*/ 2041381 h 6858000"/>
              <a:gd name="connsiteX500" fmla="*/ 7204487 w 7467600"/>
              <a:gd name="connsiteY500" fmla="*/ 2742112 h 6858000"/>
              <a:gd name="connsiteX501" fmla="*/ 7131592 w 7467600"/>
              <a:gd name="connsiteY501" fmla="*/ 2672096 h 6858000"/>
              <a:gd name="connsiteX502" fmla="*/ 6996344 w 7467600"/>
              <a:gd name="connsiteY502" fmla="*/ 2518310 h 6858000"/>
              <a:gd name="connsiteX503" fmla="*/ 6735495 w 7467600"/>
              <a:gd name="connsiteY503" fmla="*/ 2196890 h 6858000"/>
              <a:gd name="connsiteX504" fmla="*/ 6721901 w 7467600"/>
              <a:gd name="connsiteY504" fmla="*/ 2179274 h 6858000"/>
              <a:gd name="connsiteX505" fmla="*/ 6604735 w 7467600"/>
              <a:gd name="connsiteY505" fmla="*/ 2041381 h 6858000"/>
              <a:gd name="connsiteX506" fmla="*/ 6591670 w 7467600"/>
              <a:gd name="connsiteY506" fmla="*/ 1988277 h 6858000"/>
              <a:gd name="connsiteX507" fmla="*/ 6747349 w 7467600"/>
              <a:gd name="connsiteY507" fmla="*/ 2160069 h 6858000"/>
              <a:gd name="connsiteX508" fmla="*/ 6760943 w 7467600"/>
              <a:gd name="connsiteY508" fmla="*/ 2177686 h 6858000"/>
              <a:gd name="connsiteX509" fmla="*/ 7021065 w 7467600"/>
              <a:gd name="connsiteY509" fmla="*/ 2498102 h 6858000"/>
              <a:gd name="connsiteX510" fmla="*/ 7155223 w 7467600"/>
              <a:gd name="connsiteY510" fmla="*/ 2650386 h 6858000"/>
              <a:gd name="connsiteX511" fmla="*/ 7203167 w 7467600"/>
              <a:gd name="connsiteY511" fmla="*/ 2697288 h 6858000"/>
              <a:gd name="connsiteX512" fmla="*/ 6937703 w 7467600"/>
              <a:gd name="connsiteY512" fmla="*/ 2321981 h 6858000"/>
              <a:gd name="connsiteX513" fmla="*/ 6591670 w 7467600"/>
              <a:gd name="connsiteY513" fmla="*/ 1988277 h 6858000"/>
              <a:gd name="connsiteX514" fmla="*/ 5798671 w 7467600"/>
              <a:gd name="connsiteY514" fmla="*/ 1981601 h 6858000"/>
              <a:gd name="connsiteX515" fmla="*/ 5754709 w 7467600"/>
              <a:gd name="connsiteY515" fmla="*/ 2071454 h 6858000"/>
              <a:gd name="connsiteX516" fmla="*/ 5763044 w 7467600"/>
              <a:gd name="connsiteY516" fmla="*/ 2842206 h 6858000"/>
              <a:gd name="connsiteX517" fmla="*/ 5764974 w 7467600"/>
              <a:gd name="connsiteY517" fmla="*/ 2799609 h 6858000"/>
              <a:gd name="connsiteX518" fmla="*/ 5767665 w 7467600"/>
              <a:gd name="connsiteY518" fmla="*/ 2666409 h 6858000"/>
              <a:gd name="connsiteX519" fmla="*/ 5763055 w 7467600"/>
              <a:gd name="connsiteY519" fmla="*/ 2579705 h 6858000"/>
              <a:gd name="connsiteX520" fmla="*/ 5758079 w 7467600"/>
              <a:gd name="connsiteY520" fmla="*/ 2492508 h 6858000"/>
              <a:gd name="connsiteX521" fmla="*/ 5779325 w 7467600"/>
              <a:gd name="connsiteY521" fmla="*/ 2197069 h 6858000"/>
              <a:gd name="connsiteX522" fmla="*/ 5798671 w 7467600"/>
              <a:gd name="connsiteY522" fmla="*/ 1981601 h 6858000"/>
              <a:gd name="connsiteX523" fmla="*/ 5829202 w 7467600"/>
              <a:gd name="connsiteY523" fmla="*/ 1971679 h 6858000"/>
              <a:gd name="connsiteX524" fmla="*/ 5809558 w 7467600"/>
              <a:gd name="connsiteY524" fmla="*/ 2198043 h 6858000"/>
              <a:gd name="connsiteX525" fmla="*/ 5788653 w 7467600"/>
              <a:gd name="connsiteY525" fmla="*/ 2489430 h 6858000"/>
              <a:gd name="connsiteX526" fmla="*/ 5793439 w 7467600"/>
              <a:gd name="connsiteY526" fmla="*/ 2575235 h 6858000"/>
              <a:gd name="connsiteX527" fmla="*/ 5796837 w 7467600"/>
              <a:gd name="connsiteY527" fmla="*/ 2637633 h 6858000"/>
              <a:gd name="connsiteX528" fmla="*/ 5818614 w 7467600"/>
              <a:gd name="connsiteY528" fmla="*/ 2473055 h 6858000"/>
              <a:gd name="connsiteX529" fmla="*/ 5829202 w 7467600"/>
              <a:gd name="connsiteY529" fmla="*/ 1971679 h 6858000"/>
              <a:gd name="connsiteX530" fmla="*/ 5911389 w 7467600"/>
              <a:gd name="connsiteY530" fmla="*/ 1898371 h 6858000"/>
              <a:gd name="connsiteX531" fmla="*/ 6237627 w 7467600"/>
              <a:gd name="connsiteY531" fmla="*/ 2231921 h 6858000"/>
              <a:gd name="connsiteX532" fmla="*/ 5911389 w 7467600"/>
              <a:gd name="connsiteY532" fmla="*/ 1898371 h 6858000"/>
              <a:gd name="connsiteX533" fmla="*/ 6944437 w 7467600"/>
              <a:gd name="connsiteY533" fmla="*/ 1575402 h 6858000"/>
              <a:gd name="connsiteX534" fmla="*/ 6304730 w 7467600"/>
              <a:gd name="connsiteY534" fmla="*/ 1766654 h 6858000"/>
              <a:gd name="connsiteX535" fmla="*/ 6944437 w 7467600"/>
              <a:gd name="connsiteY535" fmla="*/ 1575402 h 6858000"/>
              <a:gd name="connsiteX536" fmla="*/ 7019523 w 7467600"/>
              <a:gd name="connsiteY536" fmla="*/ 1519450 h 6858000"/>
              <a:gd name="connsiteX537" fmla="*/ 6298091 w 7467600"/>
              <a:gd name="connsiteY537" fmla="*/ 1737122 h 6858000"/>
              <a:gd name="connsiteX538" fmla="*/ 7019523 w 7467600"/>
              <a:gd name="connsiteY538" fmla="*/ 1519450 h 6858000"/>
              <a:gd name="connsiteX539" fmla="*/ 2399523 w 7467600"/>
              <a:gd name="connsiteY539" fmla="*/ 1428234 h 6858000"/>
              <a:gd name="connsiteX540" fmla="*/ 2224982 w 7467600"/>
              <a:gd name="connsiteY540" fmla="*/ 1826201 h 6858000"/>
              <a:gd name="connsiteX541" fmla="*/ 2096099 w 7467600"/>
              <a:gd name="connsiteY541" fmla="*/ 2345900 h 6858000"/>
              <a:gd name="connsiteX542" fmla="*/ 2283317 w 7467600"/>
              <a:gd name="connsiteY542" fmla="*/ 1796925 h 6858000"/>
              <a:gd name="connsiteX543" fmla="*/ 2399523 w 7467600"/>
              <a:gd name="connsiteY543" fmla="*/ 1428234 h 6858000"/>
              <a:gd name="connsiteX544" fmla="*/ 2448558 w 7467600"/>
              <a:gd name="connsiteY544" fmla="*/ 1373435 h 6858000"/>
              <a:gd name="connsiteX545" fmla="*/ 2312521 w 7467600"/>
              <a:gd name="connsiteY545" fmla="*/ 1806140 h 6858000"/>
              <a:gd name="connsiteX546" fmla="*/ 2127533 w 7467600"/>
              <a:gd name="connsiteY546" fmla="*/ 2348380 h 6858000"/>
              <a:gd name="connsiteX547" fmla="*/ 2358080 w 7467600"/>
              <a:gd name="connsiteY547" fmla="*/ 1866134 h 6858000"/>
              <a:gd name="connsiteX548" fmla="*/ 2407436 w 7467600"/>
              <a:gd name="connsiteY548" fmla="*/ 1651070 h 6858000"/>
              <a:gd name="connsiteX549" fmla="*/ 2448558 w 7467600"/>
              <a:gd name="connsiteY549" fmla="*/ 1373435 h 6858000"/>
              <a:gd name="connsiteX550" fmla="*/ 278707 w 7467600"/>
              <a:gd name="connsiteY550" fmla="*/ 1352270 h 6858000"/>
              <a:gd name="connsiteX551" fmla="*/ 321570 w 7467600"/>
              <a:gd name="connsiteY551" fmla="*/ 1861610 h 6858000"/>
              <a:gd name="connsiteX552" fmla="*/ 294281 w 7467600"/>
              <a:gd name="connsiteY552" fmla="*/ 1440658 h 6858000"/>
              <a:gd name="connsiteX553" fmla="*/ 278707 w 7467600"/>
              <a:gd name="connsiteY553" fmla="*/ 1352270 h 6858000"/>
              <a:gd name="connsiteX554" fmla="*/ 1423821 w 7467600"/>
              <a:gd name="connsiteY554" fmla="*/ 1351958 h 6858000"/>
              <a:gd name="connsiteX555" fmla="*/ 1638521 w 7467600"/>
              <a:gd name="connsiteY555" fmla="*/ 1908470 h 6858000"/>
              <a:gd name="connsiteX556" fmla="*/ 1754199 w 7467600"/>
              <a:gd name="connsiteY556" fmla="*/ 2149284 h 6858000"/>
              <a:gd name="connsiteX557" fmla="*/ 1908359 w 7467600"/>
              <a:gd name="connsiteY557" fmla="*/ 2364988 h 6858000"/>
              <a:gd name="connsiteX558" fmla="*/ 1647661 w 7467600"/>
              <a:gd name="connsiteY558" fmla="*/ 1825945 h 6858000"/>
              <a:gd name="connsiteX559" fmla="*/ 1423821 w 7467600"/>
              <a:gd name="connsiteY559" fmla="*/ 1351958 h 6858000"/>
              <a:gd name="connsiteX560" fmla="*/ 1431890 w 7467600"/>
              <a:gd name="connsiteY560" fmla="*/ 1306475 h 6858000"/>
              <a:gd name="connsiteX561" fmla="*/ 1507597 w 7467600"/>
              <a:gd name="connsiteY561" fmla="*/ 1446132 h 6858000"/>
              <a:gd name="connsiteX562" fmla="*/ 1674586 w 7467600"/>
              <a:gd name="connsiteY562" fmla="*/ 1813832 h 6858000"/>
              <a:gd name="connsiteX563" fmla="*/ 1815950 w 7467600"/>
              <a:gd name="connsiteY563" fmla="*/ 2128564 h 6858000"/>
              <a:gd name="connsiteX564" fmla="*/ 1984242 w 7467600"/>
              <a:gd name="connsiteY564" fmla="*/ 2430829 h 6858000"/>
              <a:gd name="connsiteX565" fmla="*/ 2014023 w 7467600"/>
              <a:gd name="connsiteY565" fmla="*/ 2450995 h 6858000"/>
              <a:gd name="connsiteX566" fmla="*/ 1747337 w 7467600"/>
              <a:gd name="connsiteY566" fmla="*/ 1855264 h 6858000"/>
              <a:gd name="connsiteX567" fmla="*/ 1533749 w 7467600"/>
              <a:gd name="connsiteY567" fmla="*/ 1478656 h 6858000"/>
              <a:gd name="connsiteX568" fmla="*/ 1431890 w 7467600"/>
              <a:gd name="connsiteY568" fmla="*/ 1306475 h 6858000"/>
              <a:gd name="connsiteX569" fmla="*/ 5052692 w 7467600"/>
              <a:gd name="connsiteY569" fmla="*/ 1292994 h 6858000"/>
              <a:gd name="connsiteX570" fmla="*/ 5200661 w 7467600"/>
              <a:gd name="connsiteY570" fmla="*/ 1635186 h 6858000"/>
              <a:gd name="connsiteX571" fmla="*/ 5297138 w 7467600"/>
              <a:gd name="connsiteY571" fmla="*/ 1906351 h 6858000"/>
              <a:gd name="connsiteX572" fmla="*/ 5052692 w 7467600"/>
              <a:gd name="connsiteY572" fmla="*/ 1292994 h 6858000"/>
              <a:gd name="connsiteX573" fmla="*/ 5009948 w 7467600"/>
              <a:gd name="connsiteY573" fmla="*/ 1273619 h 6858000"/>
              <a:gd name="connsiteX574" fmla="*/ 5121777 w 7467600"/>
              <a:gd name="connsiteY574" fmla="*/ 1654213 h 6858000"/>
              <a:gd name="connsiteX575" fmla="*/ 5293545 w 7467600"/>
              <a:gd name="connsiteY575" fmla="*/ 2072247 h 6858000"/>
              <a:gd name="connsiteX576" fmla="*/ 5294042 w 7467600"/>
              <a:gd name="connsiteY576" fmla="*/ 2065019 h 6858000"/>
              <a:gd name="connsiteX577" fmla="*/ 5171936 w 7467600"/>
              <a:gd name="connsiteY577" fmla="*/ 1647613 h 6858000"/>
              <a:gd name="connsiteX578" fmla="*/ 5009948 w 7467600"/>
              <a:gd name="connsiteY578" fmla="*/ 1273619 h 6858000"/>
              <a:gd name="connsiteX579" fmla="*/ 655236 w 7467600"/>
              <a:gd name="connsiteY579" fmla="*/ 1268632 h 6858000"/>
              <a:gd name="connsiteX580" fmla="*/ 839521 w 7467600"/>
              <a:gd name="connsiteY580" fmla="*/ 1685315 h 6858000"/>
              <a:gd name="connsiteX581" fmla="*/ 1109416 w 7467600"/>
              <a:gd name="connsiteY581" fmla="*/ 2061663 h 6858000"/>
              <a:gd name="connsiteX582" fmla="*/ 1298300 w 7467600"/>
              <a:gd name="connsiteY582" fmla="*/ 2247742 h 6858000"/>
              <a:gd name="connsiteX583" fmla="*/ 1125871 w 7467600"/>
              <a:gd name="connsiteY583" fmla="*/ 1989513 h 6858000"/>
              <a:gd name="connsiteX584" fmla="*/ 981574 w 7467600"/>
              <a:gd name="connsiteY584" fmla="*/ 1783157 h 6858000"/>
              <a:gd name="connsiteX585" fmla="*/ 922198 w 7467600"/>
              <a:gd name="connsiteY585" fmla="*/ 1677437 h 6858000"/>
              <a:gd name="connsiteX586" fmla="*/ 869293 w 7467600"/>
              <a:gd name="connsiteY586" fmla="*/ 1583214 h 6858000"/>
              <a:gd name="connsiteX587" fmla="*/ 751431 w 7467600"/>
              <a:gd name="connsiteY587" fmla="*/ 1405731 h 6858000"/>
              <a:gd name="connsiteX588" fmla="*/ 655236 w 7467600"/>
              <a:gd name="connsiteY588" fmla="*/ 1268632 h 6858000"/>
              <a:gd name="connsiteX589" fmla="*/ 6516292 w 7467600"/>
              <a:gd name="connsiteY589" fmla="*/ 1263064 h 6858000"/>
              <a:gd name="connsiteX590" fmla="*/ 5736320 w 7467600"/>
              <a:gd name="connsiteY590" fmla="*/ 1501803 h 6858000"/>
              <a:gd name="connsiteX591" fmla="*/ 6516292 w 7467600"/>
              <a:gd name="connsiteY591" fmla="*/ 1263064 h 6858000"/>
              <a:gd name="connsiteX592" fmla="*/ 291466 w 7467600"/>
              <a:gd name="connsiteY592" fmla="*/ 1250369 h 6858000"/>
              <a:gd name="connsiteX593" fmla="*/ 323180 w 7467600"/>
              <a:gd name="connsiteY593" fmla="*/ 1435283 h 6858000"/>
              <a:gd name="connsiteX594" fmla="*/ 349381 w 7467600"/>
              <a:gd name="connsiteY594" fmla="*/ 1875041 h 6858000"/>
              <a:gd name="connsiteX595" fmla="*/ 374363 w 7467600"/>
              <a:gd name="connsiteY595" fmla="*/ 1506494 h 6858000"/>
              <a:gd name="connsiteX596" fmla="*/ 302168 w 7467600"/>
              <a:gd name="connsiteY596" fmla="*/ 1274495 h 6858000"/>
              <a:gd name="connsiteX597" fmla="*/ 291466 w 7467600"/>
              <a:gd name="connsiteY597" fmla="*/ 1250369 h 6858000"/>
              <a:gd name="connsiteX598" fmla="*/ 678222 w 7467600"/>
              <a:gd name="connsiteY598" fmla="*/ 1248670 h 6858000"/>
              <a:gd name="connsiteX599" fmla="*/ 775536 w 7467600"/>
              <a:gd name="connsiteY599" fmla="*/ 1388015 h 6858000"/>
              <a:gd name="connsiteX600" fmla="*/ 894529 w 7467600"/>
              <a:gd name="connsiteY600" fmla="*/ 1567739 h 6858000"/>
              <a:gd name="connsiteX601" fmla="*/ 948000 w 7467600"/>
              <a:gd name="connsiteY601" fmla="*/ 1663088 h 6858000"/>
              <a:gd name="connsiteX602" fmla="*/ 1006812 w 7467600"/>
              <a:gd name="connsiteY602" fmla="*/ 1767683 h 6858000"/>
              <a:gd name="connsiteX603" fmla="*/ 1149133 w 7467600"/>
              <a:gd name="connsiteY603" fmla="*/ 1971513 h 6858000"/>
              <a:gd name="connsiteX604" fmla="*/ 1333952 w 7467600"/>
              <a:gd name="connsiteY604" fmla="*/ 2251620 h 6858000"/>
              <a:gd name="connsiteX605" fmla="*/ 1337329 w 7467600"/>
              <a:gd name="connsiteY605" fmla="*/ 2258350 h 6858000"/>
              <a:gd name="connsiteX606" fmla="*/ 1014726 w 7467600"/>
              <a:gd name="connsiteY606" fmla="*/ 1615556 h 6858000"/>
              <a:gd name="connsiteX607" fmla="*/ 678222 w 7467600"/>
              <a:gd name="connsiteY607" fmla="*/ 1248670 h 6858000"/>
              <a:gd name="connsiteX608" fmla="*/ 6691602 w 7467600"/>
              <a:gd name="connsiteY608" fmla="*/ 1140573 h 6858000"/>
              <a:gd name="connsiteX609" fmla="*/ 6571100 w 7467600"/>
              <a:gd name="connsiteY609" fmla="*/ 1183662 h 6858000"/>
              <a:gd name="connsiteX610" fmla="*/ 6241687 w 7467600"/>
              <a:gd name="connsiteY610" fmla="*/ 1257600 h 6858000"/>
              <a:gd name="connsiteX611" fmla="*/ 5693009 w 7467600"/>
              <a:gd name="connsiteY611" fmla="*/ 1478256 h 6858000"/>
              <a:gd name="connsiteX612" fmla="*/ 6548420 w 7467600"/>
              <a:gd name="connsiteY612" fmla="*/ 1214599 h 6858000"/>
              <a:gd name="connsiteX613" fmla="*/ 6605473 w 7467600"/>
              <a:gd name="connsiteY613" fmla="*/ 1184686 h 6858000"/>
              <a:gd name="connsiteX614" fmla="*/ 6691602 w 7467600"/>
              <a:gd name="connsiteY614" fmla="*/ 1140573 h 6858000"/>
              <a:gd name="connsiteX615" fmla="*/ 4002475 w 7467600"/>
              <a:gd name="connsiteY615" fmla="*/ 1037802 h 6858000"/>
              <a:gd name="connsiteX616" fmla="*/ 4000324 w 7467600"/>
              <a:gd name="connsiteY616" fmla="*/ 1039362 h 6858000"/>
              <a:gd name="connsiteX617" fmla="*/ 4002862 w 7467600"/>
              <a:gd name="connsiteY617" fmla="*/ 1042866 h 6858000"/>
              <a:gd name="connsiteX618" fmla="*/ 4002475 w 7467600"/>
              <a:gd name="connsiteY618" fmla="*/ 1037802 h 6858000"/>
              <a:gd name="connsiteX619" fmla="*/ 506322 w 7467600"/>
              <a:gd name="connsiteY619" fmla="*/ 1020997 h 6858000"/>
              <a:gd name="connsiteX620" fmla="*/ 533068 w 7467600"/>
              <a:gd name="connsiteY620" fmla="*/ 1029409 h 6858000"/>
              <a:gd name="connsiteX621" fmla="*/ 1232525 w 7467600"/>
              <a:gd name="connsiteY621" fmla="*/ 1804675 h 6858000"/>
              <a:gd name="connsiteX622" fmla="*/ 1388858 w 7467600"/>
              <a:gd name="connsiteY622" fmla="*/ 2368011 h 6858000"/>
              <a:gd name="connsiteX623" fmla="*/ 1384098 w 7467600"/>
              <a:gd name="connsiteY623" fmla="*/ 2378125 h 6858000"/>
              <a:gd name="connsiteX624" fmla="*/ 1425393 w 7467600"/>
              <a:gd name="connsiteY624" fmla="*/ 2589124 h 6858000"/>
              <a:gd name="connsiteX625" fmla="*/ 1424001 w 7467600"/>
              <a:gd name="connsiteY625" fmla="*/ 2597541 h 6858000"/>
              <a:gd name="connsiteX626" fmla="*/ 2152729 w 7467600"/>
              <a:gd name="connsiteY626" fmla="*/ 2864487 h 6858000"/>
              <a:gd name="connsiteX627" fmla="*/ 2020609 w 7467600"/>
              <a:gd name="connsiteY627" fmla="*/ 2539671 h 6858000"/>
              <a:gd name="connsiteX628" fmla="*/ 2018920 w 7467600"/>
              <a:gd name="connsiteY628" fmla="*/ 2536309 h 6858000"/>
              <a:gd name="connsiteX629" fmla="*/ 1342441 w 7467600"/>
              <a:gd name="connsiteY629" fmla="*/ 1173017 h 6858000"/>
              <a:gd name="connsiteX630" fmla="*/ 1367925 w 7467600"/>
              <a:gd name="connsiteY630" fmla="*/ 1135648 h 6858000"/>
              <a:gd name="connsiteX631" fmla="*/ 1771401 w 7467600"/>
              <a:gd name="connsiteY631" fmla="*/ 1806673 h 6858000"/>
              <a:gd name="connsiteX632" fmla="*/ 1972385 w 7467600"/>
              <a:gd name="connsiteY632" fmla="*/ 2198735 h 6858000"/>
              <a:gd name="connsiteX633" fmla="*/ 2040892 w 7467600"/>
              <a:gd name="connsiteY633" fmla="*/ 2405205 h 6858000"/>
              <a:gd name="connsiteX634" fmla="*/ 2131689 w 7467600"/>
              <a:gd name="connsiteY634" fmla="*/ 1936926 h 6858000"/>
              <a:gd name="connsiteX635" fmla="*/ 2454820 w 7467600"/>
              <a:gd name="connsiteY635" fmla="*/ 1248808 h 6858000"/>
              <a:gd name="connsiteX636" fmla="*/ 2492512 w 7467600"/>
              <a:gd name="connsiteY636" fmla="*/ 1302920 h 6858000"/>
              <a:gd name="connsiteX637" fmla="*/ 2081216 w 7467600"/>
              <a:gd name="connsiteY637" fmla="*/ 2527513 h 6858000"/>
              <a:gd name="connsiteX638" fmla="*/ 2081211 w 7467600"/>
              <a:gd name="connsiteY638" fmla="*/ 2528916 h 6858000"/>
              <a:gd name="connsiteX639" fmla="*/ 2199067 w 7467600"/>
              <a:gd name="connsiteY639" fmla="*/ 2884061 h 6858000"/>
              <a:gd name="connsiteX640" fmla="*/ 3192586 w 7467600"/>
              <a:gd name="connsiteY640" fmla="*/ 3411496 h 6858000"/>
              <a:gd name="connsiteX641" fmla="*/ 3182620 w 7467600"/>
              <a:gd name="connsiteY641" fmla="*/ 3483279 h 6858000"/>
              <a:gd name="connsiteX642" fmla="*/ 2435119 w 7467600"/>
              <a:gd name="connsiteY642" fmla="*/ 3080173 h 6858000"/>
              <a:gd name="connsiteX643" fmla="*/ 2410152 w 7467600"/>
              <a:gd name="connsiteY643" fmla="*/ 3063751 h 6858000"/>
              <a:gd name="connsiteX644" fmla="*/ 2408099 w 7467600"/>
              <a:gd name="connsiteY644" fmla="*/ 3064403 h 6858000"/>
              <a:gd name="connsiteX645" fmla="*/ 2407218 w 7467600"/>
              <a:gd name="connsiteY645" fmla="*/ 3070324 h 6858000"/>
              <a:gd name="connsiteX646" fmla="*/ 2380138 w 7467600"/>
              <a:gd name="connsiteY646" fmla="*/ 3099341 h 6858000"/>
              <a:gd name="connsiteX647" fmla="*/ 1765923 w 7467600"/>
              <a:gd name="connsiteY647" fmla="*/ 3581043 h 6858000"/>
              <a:gd name="connsiteX648" fmla="*/ 1702258 w 7467600"/>
              <a:gd name="connsiteY648" fmla="*/ 3612286 h 6858000"/>
              <a:gd name="connsiteX649" fmla="*/ 1538370 w 7467600"/>
              <a:gd name="connsiteY649" fmla="*/ 3811804 h 6858000"/>
              <a:gd name="connsiteX650" fmla="*/ 542867 w 7467600"/>
              <a:gd name="connsiteY650" fmla="*/ 4944092 h 6858000"/>
              <a:gd name="connsiteX651" fmla="*/ 515800 w 7467600"/>
              <a:gd name="connsiteY651" fmla="*/ 4862180 h 6858000"/>
              <a:gd name="connsiteX652" fmla="*/ 909145 w 7467600"/>
              <a:gd name="connsiteY652" fmla="*/ 4199225 h 6858000"/>
              <a:gd name="connsiteX653" fmla="*/ 1214067 w 7467600"/>
              <a:gd name="connsiteY653" fmla="*/ 3908561 h 6858000"/>
              <a:gd name="connsiteX654" fmla="*/ 640967 w 7467600"/>
              <a:gd name="connsiteY654" fmla="*/ 4105601 h 6858000"/>
              <a:gd name="connsiteX655" fmla="*/ 112563 w 7467600"/>
              <a:gd name="connsiteY655" fmla="*/ 4396952 h 6858000"/>
              <a:gd name="connsiteX656" fmla="*/ 0 w 7467600"/>
              <a:gd name="connsiteY656" fmla="*/ 4466006 h 6858000"/>
              <a:gd name="connsiteX657" fmla="*/ 0 w 7467600"/>
              <a:gd name="connsiteY657" fmla="*/ 4233763 h 6858000"/>
              <a:gd name="connsiteX658" fmla="*/ 36881 w 7467600"/>
              <a:gd name="connsiteY658" fmla="*/ 4200118 h 6858000"/>
              <a:gd name="connsiteX659" fmla="*/ 910534 w 7467600"/>
              <a:gd name="connsiteY659" fmla="*/ 3629753 h 6858000"/>
              <a:gd name="connsiteX660" fmla="*/ 1578717 w 7467600"/>
              <a:gd name="connsiteY660" fmla="*/ 3575982 h 6858000"/>
              <a:gd name="connsiteX661" fmla="*/ 2338780 w 7467600"/>
              <a:gd name="connsiteY661" fmla="*/ 3033725 h 6858000"/>
              <a:gd name="connsiteX662" fmla="*/ 1807991 w 7467600"/>
              <a:gd name="connsiteY662" fmla="*/ 2807184 h 6858000"/>
              <a:gd name="connsiteX663" fmla="*/ 1416358 w 7467600"/>
              <a:gd name="connsiteY663" fmla="*/ 3112571 h 6858000"/>
              <a:gd name="connsiteX664" fmla="*/ 939066 w 7467600"/>
              <a:gd name="connsiteY664" fmla="*/ 3378798 h 6858000"/>
              <a:gd name="connsiteX665" fmla="*/ 115099 w 7467600"/>
              <a:gd name="connsiteY665" fmla="*/ 3607650 h 6858000"/>
              <a:gd name="connsiteX666" fmla="*/ 97284 w 7467600"/>
              <a:gd name="connsiteY666" fmla="*/ 3520393 h 6858000"/>
              <a:gd name="connsiteX667" fmla="*/ 922050 w 7467600"/>
              <a:gd name="connsiteY667" fmla="*/ 3074867 h 6858000"/>
              <a:gd name="connsiteX668" fmla="*/ 1405265 w 7467600"/>
              <a:gd name="connsiteY668" fmla="*/ 3016319 h 6858000"/>
              <a:gd name="connsiteX669" fmla="*/ 1407512 w 7467600"/>
              <a:gd name="connsiteY669" fmla="*/ 3018001 h 6858000"/>
              <a:gd name="connsiteX670" fmla="*/ 1726266 w 7467600"/>
              <a:gd name="connsiteY670" fmla="*/ 2777274 h 6858000"/>
              <a:gd name="connsiteX671" fmla="*/ 625390 w 7467600"/>
              <a:gd name="connsiteY671" fmla="*/ 2514541 h 6858000"/>
              <a:gd name="connsiteX672" fmla="*/ 619799 w 7467600"/>
              <a:gd name="connsiteY672" fmla="*/ 2527180 h 6858000"/>
              <a:gd name="connsiteX673" fmla="*/ 310030 w 7467600"/>
              <a:gd name="connsiteY673" fmla="*/ 2771818 h 6858000"/>
              <a:gd name="connsiteX674" fmla="*/ 173877 w 7467600"/>
              <a:gd name="connsiteY674" fmla="*/ 2937056 h 6858000"/>
              <a:gd name="connsiteX675" fmla="*/ 77889 w 7467600"/>
              <a:gd name="connsiteY675" fmla="*/ 3138440 h 6858000"/>
              <a:gd name="connsiteX676" fmla="*/ 0 w 7467600"/>
              <a:gd name="connsiteY676" fmla="*/ 3271395 h 6858000"/>
              <a:gd name="connsiteX677" fmla="*/ 0 w 7467600"/>
              <a:gd name="connsiteY677" fmla="*/ 3153002 h 6858000"/>
              <a:gd name="connsiteX678" fmla="*/ 2386 w 7467600"/>
              <a:gd name="connsiteY678" fmla="*/ 3149203 h 6858000"/>
              <a:gd name="connsiteX679" fmla="*/ 89753 w 7467600"/>
              <a:gd name="connsiteY679" fmla="*/ 2987702 h 6858000"/>
              <a:gd name="connsiteX680" fmla="*/ 76869 w 7467600"/>
              <a:gd name="connsiteY680" fmla="*/ 3005404 h 6858000"/>
              <a:gd name="connsiteX681" fmla="*/ 32049 w 7467600"/>
              <a:gd name="connsiteY681" fmla="*/ 3065814 h 6858000"/>
              <a:gd name="connsiteX682" fmla="*/ 0 w 7467600"/>
              <a:gd name="connsiteY682" fmla="*/ 3108744 h 6858000"/>
              <a:gd name="connsiteX683" fmla="*/ 0 w 7467600"/>
              <a:gd name="connsiteY683" fmla="*/ 3058059 h 6858000"/>
              <a:gd name="connsiteX684" fmla="*/ 7610 w 7467600"/>
              <a:gd name="connsiteY684" fmla="*/ 3047889 h 6858000"/>
              <a:gd name="connsiteX685" fmla="*/ 52419 w 7467600"/>
              <a:gd name="connsiteY685" fmla="*/ 2987479 h 6858000"/>
              <a:gd name="connsiteX686" fmla="*/ 59142 w 7467600"/>
              <a:gd name="connsiteY686" fmla="*/ 2978488 h 6858000"/>
              <a:gd name="connsiteX687" fmla="*/ 0 w 7467600"/>
              <a:gd name="connsiteY687" fmla="*/ 3015334 h 6858000"/>
              <a:gd name="connsiteX688" fmla="*/ 0 w 7467600"/>
              <a:gd name="connsiteY688" fmla="*/ 2914286 h 6858000"/>
              <a:gd name="connsiteX689" fmla="*/ 36383 w 7467600"/>
              <a:gd name="connsiteY689" fmla="*/ 2901128 h 6858000"/>
              <a:gd name="connsiteX690" fmla="*/ 156329 w 7467600"/>
              <a:gd name="connsiteY690" fmla="*/ 2840533 h 6858000"/>
              <a:gd name="connsiteX691" fmla="*/ 358355 w 7467600"/>
              <a:gd name="connsiteY691" fmla="*/ 2620471 h 6858000"/>
              <a:gd name="connsiteX692" fmla="*/ 510577 w 7467600"/>
              <a:gd name="connsiteY692" fmla="*/ 2501244 h 6858000"/>
              <a:gd name="connsiteX693" fmla="*/ 211967 w 7467600"/>
              <a:gd name="connsiteY693" fmla="*/ 2479171 h 6858000"/>
              <a:gd name="connsiteX694" fmla="*/ 0 w 7467600"/>
              <a:gd name="connsiteY694" fmla="*/ 2476398 h 6858000"/>
              <a:gd name="connsiteX695" fmla="*/ 0 w 7467600"/>
              <a:gd name="connsiteY695" fmla="*/ 2389189 h 6858000"/>
              <a:gd name="connsiteX696" fmla="*/ 103062 w 7467600"/>
              <a:gd name="connsiteY696" fmla="*/ 2389518 h 6858000"/>
              <a:gd name="connsiteX697" fmla="*/ 510734 w 7467600"/>
              <a:gd name="connsiteY697" fmla="*/ 2416201 h 6858000"/>
              <a:gd name="connsiteX698" fmla="*/ 279257 w 7467600"/>
              <a:gd name="connsiteY698" fmla="*/ 2092102 h 6858000"/>
              <a:gd name="connsiteX699" fmla="*/ 65265 w 7467600"/>
              <a:gd name="connsiteY699" fmla="*/ 2006049 h 6858000"/>
              <a:gd name="connsiteX700" fmla="*/ 0 w 7467600"/>
              <a:gd name="connsiteY700" fmla="*/ 1982532 h 6858000"/>
              <a:gd name="connsiteX701" fmla="*/ 0 w 7467600"/>
              <a:gd name="connsiteY701" fmla="*/ 1912789 h 6858000"/>
              <a:gd name="connsiteX702" fmla="*/ 97460 w 7467600"/>
              <a:gd name="connsiteY702" fmla="*/ 1953725 h 6858000"/>
              <a:gd name="connsiteX703" fmla="*/ 221272 w 7467600"/>
              <a:gd name="connsiteY703" fmla="*/ 1980766 h 6858000"/>
              <a:gd name="connsiteX704" fmla="*/ 116765 w 7467600"/>
              <a:gd name="connsiteY704" fmla="*/ 1911033 h 6858000"/>
              <a:gd name="connsiteX705" fmla="*/ 16405 w 7467600"/>
              <a:gd name="connsiteY705" fmla="*/ 1803412 h 6858000"/>
              <a:gd name="connsiteX706" fmla="*/ 0 w 7467600"/>
              <a:gd name="connsiteY706" fmla="*/ 1784777 h 6858000"/>
              <a:gd name="connsiteX707" fmla="*/ 0 w 7467600"/>
              <a:gd name="connsiteY707" fmla="*/ 1740082 h 6858000"/>
              <a:gd name="connsiteX708" fmla="*/ 39394 w 7467600"/>
              <a:gd name="connsiteY708" fmla="*/ 1784856 h 6858000"/>
              <a:gd name="connsiteX709" fmla="*/ 135813 w 7467600"/>
              <a:gd name="connsiteY709" fmla="*/ 1888838 h 6858000"/>
              <a:gd name="connsiteX710" fmla="*/ 242575 w 7467600"/>
              <a:gd name="connsiteY710" fmla="*/ 1958841 h 6858000"/>
              <a:gd name="connsiteX711" fmla="*/ 82197 w 7467600"/>
              <a:gd name="connsiteY711" fmla="*/ 1754826 h 6858000"/>
              <a:gd name="connsiteX712" fmla="*/ 0 w 7467600"/>
              <a:gd name="connsiteY712" fmla="*/ 1679650 h 6858000"/>
              <a:gd name="connsiteX713" fmla="*/ 0 w 7467600"/>
              <a:gd name="connsiteY713" fmla="*/ 1602463 h 6858000"/>
              <a:gd name="connsiteX714" fmla="*/ 84689 w 7467600"/>
              <a:gd name="connsiteY714" fmla="*/ 1677442 h 6858000"/>
              <a:gd name="connsiteX715" fmla="*/ 298437 w 7467600"/>
              <a:gd name="connsiteY715" fmla="*/ 1968019 h 6858000"/>
              <a:gd name="connsiteX716" fmla="*/ 227269 w 7467600"/>
              <a:gd name="connsiteY716" fmla="*/ 1114064 h 6858000"/>
              <a:gd name="connsiteX717" fmla="*/ 248003 w 7467600"/>
              <a:gd name="connsiteY717" fmla="*/ 1089613 h 6858000"/>
              <a:gd name="connsiteX718" fmla="*/ 427020 w 7467600"/>
              <a:gd name="connsiteY718" fmla="*/ 1619803 h 6858000"/>
              <a:gd name="connsiteX719" fmla="*/ 340345 w 7467600"/>
              <a:gd name="connsiteY719" fmla="*/ 2027739 h 6858000"/>
              <a:gd name="connsiteX720" fmla="*/ 360865 w 7467600"/>
              <a:gd name="connsiteY720" fmla="*/ 2044827 h 6858000"/>
              <a:gd name="connsiteX721" fmla="*/ 560414 w 7467600"/>
              <a:gd name="connsiteY721" fmla="*/ 2421457 h 6858000"/>
              <a:gd name="connsiteX722" fmla="*/ 1359703 w 7467600"/>
              <a:gd name="connsiteY722" fmla="*/ 2578554 h 6858000"/>
              <a:gd name="connsiteX723" fmla="*/ 1359422 w 7467600"/>
              <a:gd name="connsiteY723" fmla="*/ 2577994 h 6858000"/>
              <a:gd name="connsiteX724" fmla="*/ 828701 w 7467600"/>
              <a:gd name="connsiteY724" fmla="*/ 1839520 h 6858000"/>
              <a:gd name="connsiteX725" fmla="*/ 494427 w 7467600"/>
              <a:gd name="connsiteY725" fmla="*/ 1092333 h 6858000"/>
              <a:gd name="connsiteX726" fmla="*/ 506322 w 7467600"/>
              <a:gd name="connsiteY726" fmla="*/ 1020997 h 6858000"/>
              <a:gd name="connsiteX727" fmla="*/ 4570198 w 7467600"/>
              <a:gd name="connsiteY727" fmla="*/ 978081 h 6858000"/>
              <a:gd name="connsiteX728" fmla="*/ 4523691 w 7467600"/>
              <a:gd name="connsiteY728" fmla="*/ 1127776 h 6858000"/>
              <a:gd name="connsiteX729" fmla="*/ 4509875 w 7467600"/>
              <a:gd name="connsiteY729" fmla="*/ 1167552 h 6858000"/>
              <a:gd name="connsiteX730" fmla="*/ 4478168 w 7467600"/>
              <a:gd name="connsiteY730" fmla="*/ 1260735 h 6858000"/>
              <a:gd name="connsiteX731" fmla="*/ 4409309 w 7467600"/>
              <a:gd name="connsiteY731" fmla="*/ 1666996 h 6858000"/>
              <a:gd name="connsiteX732" fmla="*/ 4370031 w 7467600"/>
              <a:gd name="connsiteY732" fmla="*/ 1955666 h 6858000"/>
              <a:gd name="connsiteX733" fmla="*/ 4570198 w 7467600"/>
              <a:gd name="connsiteY733" fmla="*/ 978081 h 6858000"/>
              <a:gd name="connsiteX734" fmla="*/ 4557898 w 7467600"/>
              <a:gd name="connsiteY734" fmla="*/ 900011 h 6858000"/>
              <a:gd name="connsiteX735" fmla="*/ 4344840 w 7467600"/>
              <a:gd name="connsiteY735" fmla="*/ 1922038 h 6858000"/>
              <a:gd name="connsiteX736" fmla="*/ 4378710 w 7467600"/>
              <a:gd name="connsiteY736" fmla="*/ 1665516 h 6858000"/>
              <a:gd name="connsiteX737" fmla="*/ 4448798 w 7467600"/>
              <a:gd name="connsiteY737" fmla="*/ 1253024 h 6858000"/>
              <a:gd name="connsiteX738" fmla="*/ 4480315 w 7467600"/>
              <a:gd name="connsiteY738" fmla="*/ 1158454 h 6858000"/>
              <a:gd name="connsiteX739" fmla="*/ 4494133 w 7467600"/>
              <a:gd name="connsiteY739" fmla="*/ 1118676 h 6858000"/>
              <a:gd name="connsiteX740" fmla="*/ 4557898 w 7467600"/>
              <a:gd name="connsiteY740" fmla="*/ 900011 h 6858000"/>
              <a:gd name="connsiteX741" fmla="*/ 5870151 w 7467600"/>
              <a:gd name="connsiteY741" fmla="*/ 898890 h 6858000"/>
              <a:gd name="connsiteX742" fmla="*/ 5861335 w 7467600"/>
              <a:gd name="connsiteY742" fmla="*/ 899177 h 6858000"/>
              <a:gd name="connsiteX743" fmla="*/ 5843702 w 7467600"/>
              <a:gd name="connsiteY743" fmla="*/ 899748 h 6858000"/>
              <a:gd name="connsiteX744" fmla="*/ 5651107 w 7467600"/>
              <a:gd name="connsiteY744" fmla="*/ 920306 h 6858000"/>
              <a:gd name="connsiteX745" fmla="*/ 5459407 w 7467600"/>
              <a:gd name="connsiteY745" fmla="*/ 940975 h 6858000"/>
              <a:gd name="connsiteX746" fmla="*/ 5374846 w 7467600"/>
              <a:gd name="connsiteY746" fmla="*/ 941988 h 6858000"/>
              <a:gd name="connsiteX747" fmla="*/ 5256105 w 7467600"/>
              <a:gd name="connsiteY747" fmla="*/ 945632 h 6858000"/>
              <a:gd name="connsiteX748" fmla="*/ 5107071 w 7467600"/>
              <a:gd name="connsiteY748" fmla="*/ 969720 h 6858000"/>
              <a:gd name="connsiteX749" fmla="*/ 4998681 w 7467600"/>
              <a:gd name="connsiteY749" fmla="*/ 988771 h 6858000"/>
              <a:gd name="connsiteX750" fmla="*/ 5870151 w 7467600"/>
              <a:gd name="connsiteY750" fmla="*/ 898890 h 6858000"/>
              <a:gd name="connsiteX751" fmla="*/ 5504425 w 7467600"/>
              <a:gd name="connsiteY751" fmla="*/ 848067 h 6858000"/>
              <a:gd name="connsiteX752" fmla="*/ 4968849 w 7467600"/>
              <a:gd name="connsiteY752" fmla="*/ 962318 h 6858000"/>
              <a:gd name="connsiteX753" fmla="*/ 5104039 w 7467600"/>
              <a:gd name="connsiteY753" fmla="*/ 940634 h 6858000"/>
              <a:gd name="connsiteX754" fmla="*/ 5256311 w 7467600"/>
              <a:gd name="connsiteY754" fmla="*/ 916490 h 6858000"/>
              <a:gd name="connsiteX755" fmla="*/ 5377381 w 7467600"/>
              <a:gd name="connsiteY755" fmla="*/ 912671 h 6858000"/>
              <a:gd name="connsiteX756" fmla="*/ 5460148 w 7467600"/>
              <a:gd name="connsiteY756" fmla="*/ 911442 h 6858000"/>
              <a:gd name="connsiteX757" fmla="*/ 5648971 w 7467600"/>
              <a:gd name="connsiteY757" fmla="*/ 891331 h 6858000"/>
              <a:gd name="connsiteX758" fmla="*/ 5844807 w 7467600"/>
              <a:gd name="connsiteY758" fmla="*/ 870718 h 6858000"/>
              <a:gd name="connsiteX759" fmla="*/ 5862975 w 7467600"/>
              <a:gd name="connsiteY759" fmla="*/ 869756 h 6858000"/>
              <a:gd name="connsiteX760" fmla="*/ 5920887 w 7467600"/>
              <a:gd name="connsiteY760" fmla="*/ 865929 h 6858000"/>
              <a:gd name="connsiteX761" fmla="*/ 5504425 w 7467600"/>
              <a:gd name="connsiteY761" fmla="*/ 848067 h 6858000"/>
              <a:gd name="connsiteX762" fmla="*/ 3607114 w 7467600"/>
              <a:gd name="connsiteY762" fmla="*/ 467441 h 6858000"/>
              <a:gd name="connsiteX763" fmla="*/ 3296242 w 7467600"/>
              <a:gd name="connsiteY763" fmla="*/ 807991 h 6858000"/>
              <a:gd name="connsiteX764" fmla="*/ 3174674 w 7467600"/>
              <a:gd name="connsiteY764" fmla="*/ 919759 h 6858000"/>
              <a:gd name="connsiteX765" fmla="*/ 3042978 w 7467600"/>
              <a:gd name="connsiteY765" fmla="*/ 1054894 h 6858000"/>
              <a:gd name="connsiteX766" fmla="*/ 2968914 w 7467600"/>
              <a:gd name="connsiteY766" fmla="*/ 1133756 h 6858000"/>
              <a:gd name="connsiteX767" fmla="*/ 3103823 w 7467600"/>
              <a:gd name="connsiteY767" fmla="*/ 1026814 h 6858000"/>
              <a:gd name="connsiteX768" fmla="*/ 3607114 w 7467600"/>
              <a:gd name="connsiteY768" fmla="*/ 467441 h 6858000"/>
              <a:gd name="connsiteX769" fmla="*/ 3744487 w 7467600"/>
              <a:gd name="connsiteY769" fmla="*/ 383136 h 6858000"/>
              <a:gd name="connsiteX770" fmla="*/ 3970213 w 7467600"/>
              <a:gd name="connsiteY770" fmla="*/ 995559 h 6858000"/>
              <a:gd name="connsiteX771" fmla="*/ 3744487 w 7467600"/>
              <a:gd name="connsiteY771" fmla="*/ 383136 h 6858000"/>
              <a:gd name="connsiteX772" fmla="*/ 3624562 w 7467600"/>
              <a:gd name="connsiteY772" fmla="*/ 367041 h 6858000"/>
              <a:gd name="connsiteX773" fmla="*/ 3489712 w 7467600"/>
              <a:gd name="connsiteY773" fmla="*/ 485386 h 6858000"/>
              <a:gd name="connsiteX774" fmla="*/ 3182994 w 7467600"/>
              <a:gd name="connsiteY774" fmla="*/ 828265 h 6858000"/>
              <a:gd name="connsiteX775" fmla="*/ 2892114 w 7467600"/>
              <a:gd name="connsiteY775" fmla="*/ 1172635 h 6858000"/>
              <a:gd name="connsiteX776" fmla="*/ 3021459 w 7467600"/>
              <a:gd name="connsiteY776" fmla="*/ 1035385 h 6858000"/>
              <a:gd name="connsiteX777" fmla="*/ 3153873 w 7467600"/>
              <a:gd name="connsiteY777" fmla="*/ 898971 h 6858000"/>
              <a:gd name="connsiteX778" fmla="*/ 3276511 w 7467600"/>
              <a:gd name="connsiteY778" fmla="*/ 786423 h 6858000"/>
              <a:gd name="connsiteX779" fmla="*/ 3584154 w 7467600"/>
              <a:gd name="connsiteY779" fmla="*/ 448218 h 6858000"/>
              <a:gd name="connsiteX780" fmla="*/ 3624562 w 7467600"/>
              <a:gd name="connsiteY780" fmla="*/ 367041 h 6858000"/>
              <a:gd name="connsiteX781" fmla="*/ 3766672 w 7467600"/>
              <a:gd name="connsiteY781" fmla="*/ 359429 h 6858000"/>
              <a:gd name="connsiteX782" fmla="*/ 3996338 w 7467600"/>
              <a:gd name="connsiteY782" fmla="*/ 968237 h 6858000"/>
              <a:gd name="connsiteX783" fmla="*/ 3766672 w 7467600"/>
              <a:gd name="connsiteY783" fmla="*/ 359429 h 6858000"/>
              <a:gd name="connsiteX784" fmla="*/ 5805386 w 7467600"/>
              <a:gd name="connsiteY784" fmla="*/ 239240 h 6858000"/>
              <a:gd name="connsiteX785" fmla="*/ 5736947 w 7467600"/>
              <a:gd name="connsiteY785" fmla="*/ 261367 h 6858000"/>
              <a:gd name="connsiteX786" fmla="*/ 5427012 w 7467600"/>
              <a:gd name="connsiteY786" fmla="*/ 311272 h 6858000"/>
              <a:gd name="connsiteX787" fmla="*/ 5147818 w 7467600"/>
              <a:gd name="connsiteY787" fmla="*/ 322112 h 6858000"/>
              <a:gd name="connsiteX788" fmla="*/ 5060854 w 7467600"/>
              <a:gd name="connsiteY788" fmla="*/ 311882 h 6858000"/>
              <a:gd name="connsiteX789" fmla="*/ 4945989 w 7467600"/>
              <a:gd name="connsiteY789" fmla="*/ 300516 h 6858000"/>
              <a:gd name="connsiteX790" fmla="*/ 5410479 w 7467600"/>
              <a:gd name="connsiteY790" fmla="*/ 348434 h 6858000"/>
              <a:gd name="connsiteX791" fmla="*/ 5805386 w 7467600"/>
              <a:gd name="connsiteY791" fmla="*/ 239240 h 6858000"/>
              <a:gd name="connsiteX792" fmla="*/ 5905192 w 7467600"/>
              <a:gd name="connsiteY792" fmla="*/ 163079 h 6858000"/>
              <a:gd name="connsiteX793" fmla="*/ 5865655 w 7467600"/>
              <a:gd name="connsiteY793" fmla="*/ 171901 h 6858000"/>
              <a:gd name="connsiteX794" fmla="*/ 5259740 w 7467600"/>
              <a:gd name="connsiteY794" fmla="*/ 257013 h 6858000"/>
              <a:gd name="connsiteX795" fmla="*/ 5208466 w 7467600"/>
              <a:gd name="connsiteY795" fmla="*/ 257550 h 6858000"/>
              <a:gd name="connsiteX796" fmla="*/ 4980204 w 7467600"/>
              <a:gd name="connsiteY796" fmla="*/ 271903 h 6858000"/>
              <a:gd name="connsiteX797" fmla="*/ 5068068 w 7467600"/>
              <a:gd name="connsiteY797" fmla="*/ 282244 h 6858000"/>
              <a:gd name="connsiteX798" fmla="*/ 5153231 w 7467600"/>
              <a:gd name="connsiteY798" fmla="*/ 292240 h 6858000"/>
              <a:gd name="connsiteX799" fmla="*/ 5426491 w 7467600"/>
              <a:gd name="connsiteY799" fmla="*/ 281128 h 6858000"/>
              <a:gd name="connsiteX800" fmla="*/ 5731212 w 7467600"/>
              <a:gd name="connsiteY800" fmla="*/ 231951 h 6858000"/>
              <a:gd name="connsiteX801" fmla="*/ 5905192 w 7467600"/>
              <a:gd name="connsiteY801" fmla="*/ 163079 h 6858000"/>
              <a:gd name="connsiteX802" fmla="*/ 5944437 w 7467600"/>
              <a:gd name="connsiteY802" fmla="*/ 113829 h 6858000"/>
              <a:gd name="connsiteX803" fmla="*/ 5825032 w 7467600"/>
              <a:gd name="connsiteY803" fmla="*/ 146405 h 6858000"/>
              <a:gd name="connsiteX804" fmla="*/ 4955599 w 7467600"/>
              <a:gd name="connsiteY804" fmla="*/ 247008 h 6858000"/>
              <a:gd name="connsiteX805" fmla="*/ 5210104 w 7467600"/>
              <a:gd name="connsiteY805" fmla="*/ 228123 h 6858000"/>
              <a:gd name="connsiteX806" fmla="*/ 5261015 w 7467600"/>
              <a:gd name="connsiteY806" fmla="*/ 227087 h 6858000"/>
              <a:gd name="connsiteX807" fmla="*/ 5861181 w 7467600"/>
              <a:gd name="connsiteY807" fmla="*/ 143093 h 6858000"/>
              <a:gd name="connsiteX808" fmla="*/ 5961252 w 7467600"/>
              <a:gd name="connsiteY808" fmla="*/ 114820 h 6858000"/>
              <a:gd name="connsiteX809" fmla="*/ 5944437 w 7467600"/>
              <a:gd name="connsiteY809" fmla="*/ 113829 h 6858000"/>
              <a:gd name="connsiteX810" fmla="*/ 3882765 w 7467600"/>
              <a:gd name="connsiteY810" fmla="*/ 0 h 6858000"/>
              <a:gd name="connsiteX811" fmla="*/ 3995099 w 7467600"/>
              <a:gd name="connsiteY811" fmla="*/ 0 h 6858000"/>
              <a:gd name="connsiteX812" fmla="*/ 4163818 w 7467600"/>
              <a:gd name="connsiteY812" fmla="*/ 234104 h 6858000"/>
              <a:gd name="connsiteX813" fmla="*/ 4172099 w 7467600"/>
              <a:gd name="connsiteY813" fmla="*/ 234207 h 6858000"/>
              <a:gd name="connsiteX814" fmla="*/ 4784282 w 7467600"/>
              <a:gd name="connsiteY814" fmla="*/ 276561 h 6858000"/>
              <a:gd name="connsiteX815" fmla="*/ 4801687 w 7467600"/>
              <a:gd name="connsiteY815" fmla="*/ 267764 h 6858000"/>
              <a:gd name="connsiteX816" fmla="*/ 6082788 w 7467600"/>
              <a:gd name="connsiteY816" fmla="*/ 64119 h 6858000"/>
              <a:gd name="connsiteX817" fmla="*/ 6099442 w 7467600"/>
              <a:gd name="connsiteY817" fmla="*/ 82568 h 6858000"/>
              <a:gd name="connsiteX818" fmla="*/ 4804137 w 7467600"/>
              <a:gd name="connsiteY818" fmla="*/ 320931 h 6858000"/>
              <a:gd name="connsiteX819" fmla="*/ 4227047 w 7467600"/>
              <a:gd name="connsiteY819" fmla="*/ 313415 h 6858000"/>
              <a:gd name="connsiteX820" fmla="*/ 4346041 w 7467600"/>
              <a:gd name="connsiteY820" fmla="*/ 456086 h 6858000"/>
              <a:gd name="connsiteX821" fmla="*/ 4870967 w 7467600"/>
              <a:gd name="connsiteY821" fmla="*/ 963061 h 6858000"/>
              <a:gd name="connsiteX822" fmla="*/ 4889647 w 7467600"/>
              <a:gd name="connsiteY822" fmla="*/ 957147 h 6858000"/>
              <a:gd name="connsiteX823" fmla="*/ 5422504 w 7467600"/>
              <a:gd name="connsiteY823" fmla="*/ 805191 h 6858000"/>
              <a:gd name="connsiteX824" fmla="*/ 6087656 w 7467600"/>
              <a:gd name="connsiteY824" fmla="*/ 826703 h 6858000"/>
              <a:gd name="connsiteX825" fmla="*/ 6058717 w 7467600"/>
              <a:gd name="connsiteY825" fmla="*/ 865992 h 6858000"/>
              <a:gd name="connsiteX826" fmla="*/ 4974153 w 7467600"/>
              <a:gd name="connsiteY826" fmla="*/ 1045456 h 6858000"/>
              <a:gd name="connsiteX827" fmla="*/ 5627835 w 7467600"/>
              <a:gd name="connsiteY827" fmla="*/ 1472077 h 6858000"/>
              <a:gd name="connsiteX828" fmla="*/ 5629817 w 7467600"/>
              <a:gd name="connsiteY828" fmla="*/ 1471412 h 6858000"/>
              <a:gd name="connsiteX829" fmla="*/ 5634124 w 7467600"/>
              <a:gd name="connsiteY829" fmla="*/ 1470572 h 6858000"/>
              <a:gd name="connsiteX830" fmla="*/ 5755832 w 7467600"/>
              <a:gd name="connsiteY830" fmla="*/ 1383886 h 6858000"/>
              <a:gd name="connsiteX831" fmla="*/ 6014186 w 7467600"/>
              <a:gd name="connsiteY831" fmla="*/ 1279799 h 6858000"/>
              <a:gd name="connsiteX832" fmla="*/ 6901619 w 7467600"/>
              <a:gd name="connsiteY832" fmla="*/ 1047874 h 6858000"/>
              <a:gd name="connsiteX833" fmla="*/ 6931566 w 7467600"/>
              <a:gd name="connsiteY833" fmla="*/ 1062034 h 6858000"/>
              <a:gd name="connsiteX834" fmla="*/ 5790982 w 7467600"/>
              <a:gd name="connsiteY834" fmla="*/ 1561380 h 6858000"/>
              <a:gd name="connsiteX835" fmla="*/ 6188971 w 7467600"/>
              <a:gd name="connsiteY835" fmla="*/ 1755168 h 6858000"/>
              <a:gd name="connsiteX836" fmla="*/ 6202446 w 7467600"/>
              <a:gd name="connsiteY836" fmla="*/ 1752268 h 6858000"/>
              <a:gd name="connsiteX837" fmla="*/ 7179560 w 7467600"/>
              <a:gd name="connsiteY837" fmla="*/ 1467551 h 6858000"/>
              <a:gd name="connsiteX838" fmla="*/ 7158730 w 7467600"/>
              <a:gd name="connsiteY838" fmla="*/ 1507835 h 6858000"/>
              <a:gd name="connsiteX839" fmla="*/ 6326959 w 7467600"/>
              <a:gd name="connsiteY839" fmla="*/ 1817686 h 6858000"/>
              <a:gd name="connsiteX840" fmla="*/ 6537433 w 7467600"/>
              <a:gd name="connsiteY840" fmla="*/ 1907790 h 6858000"/>
              <a:gd name="connsiteX841" fmla="*/ 6550221 w 7467600"/>
              <a:gd name="connsiteY841" fmla="*/ 1910729 h 6858000"/>
              <a:gd name="connsiteX842" fmla="*/ 6964438 w 7467600"/>
              <a:gd name="connsiteY842" fmla="*/ 2209505 h 6858000"/>
              <a:gd name="connsiteX843" fmla="*/ 7367862 w 7467600"/>
              <a:gd name="connsiteY843" fmla="*/ 2806833 h 6858000"/>
              <a:gd name="connsiteX844" fmla="*/ 7364329 w 7467600"/>
              <a:gd name="connsiteY844" fmla="*/ 2826907 h 6858000"/>
              <a:gd name="connsiteX845" fmla="*/ 7290545 w 7467600"/>
              <a:gd name="connsiteY845" fmla="*/ 2850663 h 6858000"/>
              <a:gd name="connsiteX846" fmla="*/ 6472036 w 7467600"/>
              <a:gd name="connsiteY846" fmla="*/ 1959003 h 6858000"/>
              <a:gd name="connsiteX847" fmla="*/ 5792897 w 7467600"/>
              <a:gd name="connsiteY847" fmla="*/ 1647747 h 6858000"/>
              <a:gd name="connsiteX848" fmla="*/ 5842751 w 7467600"/>
              <a:gd name="connsiteY848" fmla="*/ 1816112 h 6858000"/>
              <a:gd name="connsiteX849" fmla="*/ 5847424 w 7467600"/>
              <a:gd name="connsiteY849" fmla="*/ 1815776 h 6858000"/>
              <a:gd name="connsiteX850" fmla="*/ 6399821 w 7467600"/>
              <a:gd name="connsiteY850" fmla="*/ 2344799 h 6858000"/>
              <a:gd name="connsiteX851" fmla="*/ 6323232 w 7467600"/>
              <a:gd name="connsiteY851" fmla="*/ 2389634 h 6858000"/>
              <a:gd name="connsiteX852" fmla="*/ 5942958 w 7467600"/>
              <a:gd name="connsiteY852" fmla="*/ 2077708 h 6858000"/>
              <a:gd name="connsiteX853" fmla="*/ 5921559 w 7467600"/>
              <a:gd name="connsiteY853" fmla="*/ 2378596 h 6858000"/>
              <a:gd name="connsiteX854" fmla="*/ 5817651 w 7467600"/>
              <a:gd name="connsiteY854" fmla="*/ 3023919 h 6858000"/>
              <a:gd name="connsiteX855" fmla="*/ 5729634 w 7467600"/>
              <a:gd name="connsiteY855" fmla="*/ 3051849 h 6858000"/>
              <a:gd name="connsiteX856" fmla="*/ 5611018 w 7467600"/>
              <a:gd name="connsiteY856" fmla="*/ 2316769 h 6858000"/>
              <a:gd name="connsiteX857" fmla="*/ 5687608 w 7467600"/>
              <a:gd name="connsiteY857" fmla="*/ 2039972 h 6858000"/>
              <a:gd name="connsiteX858" fmla="*/ 5657554 w 7467600"/>
              <a:gd name="connsiteY858" fmla="*/ 1576445 h 6858000"/>
              <a:gd name="connsiteX859" fmla="*/ 5150475 w 7467600"/>
              <a:gd name="connsiteY859" fmla="*/ 1274012 h 6858000"/>
              <a:gd name="connsiteX860" fmla="*/ 5349142 w 7467600"/>
              <a:gd name="connsiteY860" fmla="*/ 2204405 h 6858000"/>
              <a:gd name="connsiteX861" fmla="*/ 5262214 w 7467600"/>
              <a:gd name="connsiteY861" fmla="*/ 2233836 h 6858000"/>
              <a:gd name="connsiteX862" fmla="*/ 4981539 w 7467600"/>
              <a:gd name="connsiteY862" fmla="*/ 1542201 h 6858000"/>
              <a:gd name="connsiteX863" fmla="*/ 4958461 w 7467600"/>
              <a:gd name="connsiteY863" fmla="*/ 1136957 h 6858000"/>
              <a:gd name="connsiteX864" fmla="*/ 4655015 w 7467600"/>
              <a:gd name="connsiteY864" fmla="*/ 891426 h 6858000"/>
              <a:gd name="connsiteX865" fmla="*/ 4348002 w 7467600"/>
              <a:gd name="connsiteY865" fmla="*/ 2205895 h 6858000"/>
              <a:gd name="connsiteX866" fmla="*/ 4262250 w 7467600"/>
              <a:gd name="connsiteY866" fmla="*/ 2219972 h 6858000"/>
              <a:gd name="connsiteX867" fmla="*/ 4550611 w 7467600"/>
              <a:gd name="connsiteY867" fmla="*/ 817540 h 6858000"/>
              <a:gd name="connsiteX868" fmla="*/ 4564418 w 7467600"/>
              <a:gd name="connsiteY868" fmla="*/ 808293 h 6858000"/>
              <a:gd name="connsiteX869" fmla="*/ 4266388 w 7467600"/>
              <a:gd name="connsiteY869" fmla="*/ 500083 h 6858000"/>
              <a:gd name="connsiteX870" fmla="*/ 4032842 w 7467600"/>
              <a:gd name="connsiteY870" fmla="*/ 211809 h 6858000"/>
              <a:gd name="connsiteX871" fmla="*/ 3882765 w 7467600"/>
              <a:gd name="connsiteY871" fmla="*/ 0 h 6858000"/>
              <a:gd name="connsiteX872" fmla="*/ 3721337 w 7467600"/>
              <a:gd name="connsiteY872" fmla="*/ 0 h 6858000"/>
              <a:gd name="connsiteX873" fmla="*/ 3797544 w 7467600"/>
              <a:gd name="connsiteY873" fmla="*/ 0 h 6858000"/>
              <a:gd name="connsiteX874" fmla="*/ 3775734 w 7467600"/>
              <a:gd name="connsiteY874" fmla="*/ 95131 h 6858000"/>
              <a:gd name="connsiteX875" fmla="*/ 3724807 w 7467600"/>
              <a:gd name="connsiteY875" fmla="*/ 272257 h 6858000"/>
              <a:gd name="connsiteX876" fmla="*/ 3726844 w 7467600"/>
              <a:gd name="connsiteY876" fmla="*/ 282988 h 6858000"/>
              <a:gd name="connsiteX877" fmla="*/ 3742664 w 7467600"/>
              <a:gd name="connsiteY877" fmla="*/ 279918 h 6858000"/>
              <a:gd name="connsiteX878" fmla="*/ 4103910 w 7467600"/>
              <a:gd name="connsiteY878" fmla="*/ 1161917 h 6858000"/>
              <a:gd name="connsiteX879" fmla="*/ 4020269 w 7467600"/>
              <a:gd name="connsiteY879" fmla="*/ 1200406 h 6858000"/>
              <a:gd name="connsiteX880" fmla="*/ 3674882 w 7467600"/>
              <a:gd name="connsiteY880" fmla="*/ 488524 h 6858000"/>
              <a:gd name="connsiteX881" fmla="*/ 3132682 w 7467600"/>
              <a:gd name="connsiteY881" fmla="*/ 1072284 h 6858000"/>
              <a:gd name="connsiteX882" fmla="*/ 2716346 w 7467600"/>
              <a:gd name="connsiteY882" fmla="*/ 1276376 h 6858000"/>
              <a:gd name="connsiteX883" fmla="*/ 2716772 w 7467600"/>
              <a:gd name="connsiteY883" fmla="*/ 1255462 h 6858000"/>
              <a:gd name="connsiteX884" fmla="*/ 3471096 w 7467600"/>
              <a:gd name="connsiteY884" fmla="*/ 437072 h 6858000"/>
              <a:gd name="connsiteX885" fmla="*/ 3639057 w 7467600"/>
              <a:gd name="connsiteY885" fmla="*/ 286334 h 6858000"/>
              <a:gd name="connsiteX886" fmla="*/ 3640309 w 7467600"/>
              <a:gd name="connsiteY886" fmla="*/ 284664 h 6858000"/>
              <a:gd name="connsiteX887" fmla="*/ 3646022 w 7467600"/>
              <a:gd name="connsiteY887" fmla="*/ 276711 h 6858000"/>
              <a:gd name="connsiteX888" fmla="*/ 3707943 w 7467600"/>
              <a:gd name="connsiteY888" fmla="*/ 65958 h 6858000"/>
              <a:gd name="connsiteX889" fmla="*/ 3721337 w 7467600"/>
              <a:gd name="connsiteY889" fmla="*/ 0 h 6858000"/>
              <a:gd name="connsiteX890" fmla="*/ 2867960 w 7467600"/>
              <a:gd name="connsiteY890" fmla="*/ 0 h 6858000"/>
              <a:gd name="connsiteX891" fmla="*/ 2926351 w 7467600"/>
              <a:gd name="connsiteY891" fmla="*/ 0 h 6858000"/>
              <a:gd name="connsiteX892" fmla="*/ 2902823 w 7467600"/>
              <a:gd name="connsiteY892" fmla="*/ 262929 h 6858000"/>
              <a:gd name="connsiteX893" fmla="*/ 2940663 w 7467600"/>
              <a:gd name="connsiteY893" fmla="*/ 140884 h 6858000"/>
              <a:gd name="connsiteX894" fmla="*/ 2947039 w 7467600"/>
              <a:gd name="connsiteY894" fmla="*/ 122524 h 6858000"/>
              <a:gd name="connsiteX895" fmla="*/ 2984316 w 7467600"/>
              <a:gd name="connsiteY895" fmla="*/ 0 h 6858000"/>
              <a:gd name="connsiteX896" fmla="*/ 3016114 w 7467600"/>
              <a:gd name="connsiteY896" fmla="*/ 0 h 6858000"/>
              <a:gd name="connsiteX897" fmla="*/ 2979949 w 7467600"/>
              <a:gd name="connsiteY897" fmla="*/ 119274 h 6858000"/>
              <a:gd name="connsiteX898" fmla="*/ 3023879 w 7467600"/>
              <a:gd name="connsiteY898" fmla="*/ 0 h 6858000"/>
              <a:gd name="connsiteX899" fmla="*/ 3105400 w 7467600"/>
              <a:gd name="connsiteY899" fmla="*/ 0 h 6858000"/>
              <a:gd name="connsiteX900" fmla="*/ 3094669 w 7467600"/>
              <a:gd name="connsiteY900" fmla="*/ 30308 h 6858000"/>
              <a:gd name="connsiteX901" fmla="*/ 2901945 w 7467600"/>
              <a:gd name="connsiteY901" fmla="*/ 466538 h 6858000"/>
              <a:gd name="connsiteX902" fmla="*/ 2815209 w 7467600"/>
              <a:gd name="connsiteY902" fmla="*/ 497361 h 6858000"/>
              <a:gd name="connsiteX903" fmla="*/ 2844845 w 7467600"/>
              <a:gd name="connsiteY903" fmla="*/ 127638 h 6858000"/>
              <a:gd name="connsiteX904" fmla="*/ 2867960 w 7467600"/>
              <a:gd name="connsiteY904" fmla="*/ 0 h 6858000"/>
              <a:gd name="connsiteX905" fmla="*/ 1057230 w 7467600"/>
              <a:gd name="connsiteY905" fmla="*/ 0 h 6858000"/>
              <a:gd name="connsiteX906" fmla="*/ 1111003 w 7467600"/>
              <a:gd name="connsiteY906" fmla="*/ 0 h 6858000"/>
              <a:gd name="connsiteX907" fmla="*/ 1125553 w 7467600"/>
              <a:gd name="connsiteY907" fmla="*/ 52588 h 6858000"/>
              <a:gd name="connsiteX908" fmla="*/ 1304276 w 7467600"/>
              <a:gd name="connsiteY908" fmla="*/ 476275 h 6858000"/>
              <a:gd name="connsiteX909" fmla="*/ 1492066 w 7467600"/>
              <a:gd name="connsiteY909" fmla="*/ 886333 h 6858000"/>
              <a:gd name="connsiteX910" fmla="*/ 1423698 w 7467600"/>
              <a:gd name="connsiteY910" fmla="*/ 710817 h 6858000"/>
              <a:gd name="connsiteX911" fmla="*/ 1357609 w 7467600"/>
              <a:gd name="connsiteY911" fmla="*/ 532892 h 6858000"/>
              <a:gd name="connsiteX912" fmla="*/ 1309550 w 7467600"/>
              <a:gd name="connsiteY912" fmla="*/ 374031 h 6858000"/>
              <a:gd name="connsiteX913" fmla="*/ 1193673 w 7467600"/>
              <a:gd name="connsiteY913" fmla="*/ 49533 h 6858000"/>
              <a:gd name="connsiteX914" fmla="*/ 1164391 w 7467600"/>
              <a:gd name="connsiteY914" fmla="*/ 0 h 6858000"/>
              <a:gd name="connsiteX915" fmla="*/ 1200666 w 7467600"/>
              <a:gd name="connsiteY915" fmla="*/ 0 h 6858000"/>
              <a:gd name="connsiteX916" fmla="*/ 1223408 w 7467600"/>
              <a:gd name="connsiteY916" fmla="*/ 38996 h 6858000"/>
              <a:gd name="connsiteX917" fmla="*/ 1339635 w 7467600"/>
              <a:gd name="connsiteY917" fmla="*/ 365517 h 6858000"/>
              <a:gd name="connsiteX918" fmla="*/ 1387469 w 7467600"/>
              <a:gd name="connsiteY918" fmla="*/ 523079 h 6858000"/>
              <a:gd name="connsiteX919" fmla="*/ 1452685 w 7467600"/>
              <a:gd name="connsiteY919" fmla="*/ 699806 h 6858000"/>
              <a:gd name="connsiteX920" fmla="*/ 1492092 w 7467600"/>
              <a:gd name="connsiteY920" fmla="*/ 800424 h 6858000"/>
              <a:gd name="connsiteX921" fmla="*/ 1455302 w 7467600"/>
              <a:gd name="connsiteY921" fmla="*/ 632913 h 6858000"/>
              <a:gd name="connsiteX922" fmla="*/ 1222336 w 7467600"/>
              <a:gd name="connsiteY922" fmla="*/ 9480 h 6858000"/>
              <a:gd name="connsiteX923" fmla="*/ 1214634 w 7467600"/>
              <a:gd name="connsiteY923" fmla="*/ 0 h 6858000"/>
              <a:gd name="connsiteX924" fmla="*/ 1289827 w 7467600"/>
              <a:gd name="connsiteY924" fmla="*/ 0 h 6858000"/>
              <a:gd name="connsiteX925" fmla="*/ 1321076 w 7467600"/>
              <a:gd name="connsiteY925" fmla="*/ 59722 h 6858000"/>
              <a:gd name="connsiteX926" fmla="*/ 1512579 w 7467600"/>
              <a:gd name="connsiteY926" fmla="*/ 626441 h 6858000"/>
              <a:gd name="connsiteX927" fmla="*/ 1506076 w 7467600"/>
              <a:gd name="connsiteY927" fmla="*/ 1089289 h 6858000"/>
              <a:gd name="connsiteX928" fmla="*/ 1486346 w 7467600"/>
              <a:gd name="connsiteY928" fmla="*/ 1079919 h 6858000"/>
              <a:gd name="connsiteX929" fmla="*/ 1070511 w 7467600"/>
              <a:gd name="connsiteY929" fmla="*/ 48609 h 6858000"/>
              <a:gd name="connsiteX930" fmla="*/ 1057230 w 7467600"/>
              <a:gd name="connsiteY930" fmla="*/ 0 h 6858000"/>
              <a:gd name="connsiteX931" fmla="*/ 43151 w 7467600"/>
              <a:gd name="connsiteY931" fmla="*/ 0 h 6858000"/>
              <a:gd name="connsiteX932" fmla="*/ 95283 w 7467600"/>
              <a:gd name="connsiteY932" fmla="*/ 0 h 6858000"/>
              <a:gd name="connsiteX933" fmla="*/ 300708 w 7467600"/>
              <a:gd name="connsiteY933" fmla="*/ 154571 h 6858000"/>
              <a:gd name="connsiteX934" fmla="*/ 530414 w 7467600"/>
              <a:gd name="connsiteY934" fmla="*/ 354673 h 6858000"/>
              <a:gd name="connsiteX935" fmla="*/ 333785 w 7467600"/>
              <a:gd name="connsiteY935" fmla="*/ 161564 h 6858000"/>
              <a:gd name="connsiteX936" fmla="*/ 147005 w 7467600"/>
              <a:gd name="connsiteY936" fmla="*/ 0 h 6858000"/>
              <a:gd name="connsiteX937" fmla="*/ 272509 w 7467600"/>
              <a:gd name="connsiteY937" fmla="*/ 0 h 6858000"/>
              <a:gd name="connsiteX938" fmla="*/ 326276 w 7467600"/>
              <a:gd name="connsiteY938" fmla="*/ 45847 h 6858000"/>
              <a:gd name="connsiteX939" fmla="*/ 823759 w 7467600"/>
              <a:gd name="connsiteY939" fmla="*/ 574145 h 6858000"/>
              <a:gd name="connsiteX940" fmla="*/ 811254 w 7467600"/>
              <a:gd name="connsiteY940" fmla="*/ 665546 h 6858000"/>
              <a:gd name="connsiteX941" fmla="*/ 154042 w 7467600"/>
              <a:gd name="connsiteY941" fmla="*/ 261522 h 6858000"/>
              <a:gd name="connsiteX942" fmla="*/ 13550 w 7467600"/>
              <a:gd name="connsiteY942" fmla="*/ 158423 h 6858000"/>
              <a:gd name="connsiteX943" fmla="*/ 0 w 7467600"/>
              <a:gd name="connsiteY943" fmla="*/ 146618 h 6858000"/>
              <a:gd name="connsiteX944" fmla="*/ 0 w 7467600"/>
              <a:gd name="connsiteY944" fmla="*/ 59161 h 6858000"/>
              <a:gd name="connsiteX945" fmla="*/ 45427 w 7467600"/>
              <a:gd name="connsiteY945" fmla="*/ 101078 h 6858000"/>
              <a:gd name="connsiteX946" fmla="*/ 630103 w 7467600"/>
              <a:gd name="connsiteY946" fmla="*/ 485885 h 6858000"/>
              <a:gd name="connsiteX947" fmla="*/ 532040 w 7467600"/>
              <a:gd name="connsiteY947" fmla="*/ 399359 h 6858000"/>
              <a:gd name="connsiteX948" fmla="*/ 517618 w 7467600"/>
              <a:gd name="connsiteY948" fmla="*/ 385726 h 6858000"/>
              <a:gd name="connsiteX949" fmla="*/ 285074 w 7467600"/>
              <a:gd name="connsiteY949" fmla="*/ 182755 h 6858000"/>
              <a:gd name="connsiteX950" fmla="*/ 43151 w 7467600"/>
              <a:gd name="connsiteY950"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467600 w 7467600"/>
              <a:gd name="connsiteY4" fmla="*/ 6831490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467600 w 7467600"/>
              <a:gd name="connsiteY16" fmla="*/ 6805948 h 6858000"/>
              <a:gd name="connsiteX17" fmla="*/ 7467600 w 7467600"/>
              <a:gd name="connsiteY17" fmla="*/ 6831490 h 6858000"/>
              <a:gd name="connsiteX18" fmla="*/ 1019354 w 7467600"/>
              <a:gd name="connsiteY18" fmla="*/ 6315006 h 6858000"/>
              <a:gd name="connsiteX19" fmla="*/ 441046 w 7467600"/>
              <a:gd name="connsiteY19" fmla="*/ 6691153 h 6858000"/>
              <a:gd name="connsiteX20" fmla="*/ 1019354 w 7467600"/>
              <a:gd name="connsiteY20" fmla="*/ 6315006 h 6858000"/>
              <a:gd name="connsiteX21" fmla="*/ 991680 w 7467600"/>
              <a:gd name="connsiteY21" fmla="*/ 6298413 h 6858000"/>
              <a:gd name="connsiteX22" fmla="*/ 409060 w 7467600"/>
              <a:gd name="connsiteY22" fmla="*/ 6671470 h 6858000"/>
              <a:gd name="connsiteX23" fmla="*/ 991680 w 7467600"/>
              <a:gd name="connsiteY23" fmla="*/ 6298413 h 6858000"/>
              <a:gd name="connsiteX24" fmla="*/ 103333 w 7467600"/>
              <a:gd name="connsiteY24" fmla="*/ 5699602 h 6858000"/>
              <a:gd name="connsiteX25" fmla="*/ 233938 w 7467600"/>
              <a:gd name="connsiteY25" fmla="*/ 5809416 h 6858000"/>
              <a:gd name="connsiteX26" fmla="*/ 883580 w 7467600"/>
              <a:gd name="connsiteY26" fmla="*/ 6180710 h 6858000"/>
              <a:gd name="connsiteX27" fmla="*/ 487337 w 7467600"/>
              <a:gd name="connsiteY27" fmla="*/ 5950182 h 6858000"/>
              <a:gd name="connsiteX28" fmla="*/ 354051 w 7467600"/>
              <a:gd name="connsiteY28" fmla="*/ 5854912 h 6858000"/>
              <a:gd name="connsiteX29" fmla="*/ 195436 w 7467600"/>
              <a:gd name="connsiteY29" fmla="*/ 5755068 h 6858000"/>
              <a:gd name="connsiteX30" fmla="*/ 103333 w 7467600"/>
              <a:gd name="connsiteY30" fmla="*/ 5699602 h 6858000"/>
              <a:gd name="connsiteX31" fmla="*/ 5539432 w 7467600"/>
              <a:gd name="connsiteY31" fmla="*/ 5642928 h 6858000"/>
              <a:gd name="connsiteX32" fmla="*/ 5555462 w 7467600"/>
              <a:gd name="connsiteY32" fmla="*/ 5694454 h 6858000"/>
              <a:gd name="connsiteX33" fmla="*/ 5828270 w 7467600"/>
              <a:gd name="connsiteY33" fmla="*/ 6320663 h 6858000"/>
              <a:gd name="connsiteX34" fmla="*/ 5947416 w 7467600"/>
              <a:gd name="connsiteY34" fmla="*/ 6574846 h 6858000"/>
              <a:gd name="connsiteX35" fmla="*/ 5539432 w 7467600"/>
              <a:gd name="connsiteY35" fmla="*/ 5642928 h 6858000"/>
              <a:gd name="connsiteX36" fmla="*/ 51253 w 7467600"/>
              <a:gd name="connsiteY36" fmla="*/ 5631825 h 6858000"/>
              <a:gd name="connsiteX37" fmla="*/ 211622 w 7467600"/>
              <a:gd name="connsiteY37" fmla="*/ 5728803 h 6858000"/>
              <a:gd name="connsiteX38" fmla="*/ 371652 w 7467600"/>
              <a:gd name="connsiteY38" fmla="*/ 5829062 h 6858000"/>
              <a:gd name="connsiteX39" fmla="*/ 505903 w 7467600"/>
              <a:gd name="connsiteY39" fmla="*/ 5925221 h 6858000"/>
              <a:gd name="connsiteX40" fmla="*/ 899240 w 7467600"/>
              <a:gd name="connsiteY40" fmla="*/ 6153068 h 6858000"/>
              <a:gd name="connsiteX41" fmla="*/ 988114 w 7467600"/>
              <a:gd name="connsiteY41" fmla="*/ 6174204 h 6858000"/>
              <a:gd name="connsiteX42" fmla="*/ 845971 w 7467600"/>
              <a:gd name="connsiteY42" fmla="*/ 6067177 h 6858000"/>
              <a:gd name="connsiteX43" fmla="*/ 448057 w 7467600"/>
              <a:gd name="connsiteY43" fmla="*/ 5841376 h 6858000"/>
              <a:gd name="connsiteX44" fmla="*/ 51253 w 7467600"/>
              <a:gd name="connsiteY44" fmla="*/ 5631825 h 6858000"/>
              <a:gd name="connsiteX45" fmla="*/ 2606687 w 7467600"/>
              <a:gd name="connsiteY45" fmla="*/ 5630718 h 6858000"/>
              <a:gd name="connsiteX46" fmla="*/ 2645658 w 7467600"/>
              <a:gd name="connsiteY46" fmla="*/ 6640259 h 6858000"/>
              <a:gd name="connsiteX47" fmla="*/ 2606687 w 7467600"/>
              <a:gd name="connsiteY47" fmla="*/ 5630718 h 6858000"/>
              <a:gd name="connsiteX48" fmla="*/ 3642057 w 7467600"/>
              <a:gd name="connsiteY48" fmla="*/ 5573487 h 6858000"/>
              <a:gd name="connsiteX49" fmla="*/ 3632981 w 7467600"/>
              <a:gd name="connsiteY49" fmla="*/ 5579437 h 6858000"/>
              <a:gd name="connsiteX50" fmla="*/ 3382436 w 7467600"/>
              <a:gd name="connsiteY50" fmla="*/ 5952726 h 6858000"/>
              <a:gd name="connsiteX51" fmla="*/ 3191929 w 7467600"/>
              <a:gd name="connsiteY51" fmla="*/ 6662669 h 6858000"/>
              <a:gd name="connsiteX52" fmla="*/ 3369898 w 7467600"/>
              <a:gd name="connsiteY52" fmla="*/ 6081771 h 6858000"/>
              <a:gd name="connsiteX53" fmla="*/ 3642057 w 7467600"/>
              <a:gd name="connsiteY53" fmla="*/ 5573487 h 6858000"/>
              <a:gd name="connsiteX54" fmla="*/ 2650666 w 7467600"/>
              <a:gd name="connsiteY54" fmla="*/ 5530686 h 6858000"/>
              <a:gd name="connsiteX55" fmla="*/ 2650249 w 7467600"/>
              <a:gd name="connsiteY55" fmla="*/ 5532101 h 6858000"/>
              <a:gd name="connsiteX56" fmla="*/ 2663808 w 7467600"/>
              <a:gd name="connsiteY56" fmla="*/ 6535215 h 6858000"/>
              <a:gd name="connsiteX57" fmla="*/ 2665418 w 7467600"/>
              <a:gd name="connsiteY57" fmla="*/ 6132756 h 6858000"/>
              <a:gd name="connsiteX58" fmla="*/ 2650666 w 7467600"/>
              <a:gd name="connsiteY58" fmla="*/ 5530686 h 6858000"/>
              <a:gd name="connsiteX59" fmla="*/ 2680277 w 7467600"/>
              <a:gd name="connsiteY59" fmla="*/ 5479204 h 6858000"/>
              <a:gd name="connsiteX60" fmla="*/ 2678972 w 7467600"/>
              <a:gd name="connsiteY60" fmla="*/ 5481582 h 6858000"/>
              <a:gd name="connsiteX61" fmla="*/ 2696666 w 7467600"/>
              <a:gd name="connsiteY61" fmla="*/ 6133836 h 6858000"/>
              <a:gd name="connsiteX62" fmla="*/ 2695769 w 7467600"/>
              <a:gd name="connsiteY62" fmla="*/ 6390955 h 6858000"/>
              <a:gd name="connsiteX63" fmla="*/ 2739893 w 7467600"/>
              <a:gd name="connsiteY63" fmla="*/ 6108357 h 6858000"/>
              <a:gd name="connsiteX64" fmla="*/ 2680277 w 7467600"/>
              <a:gd name="connsiteY64" fmla="*/ 5479204 h 6858000"/>
              <a:gd name="connsiteX65" fmla="*/ 1132195 w 7467600"/>
              <a:gd name="connsiteY65" fmla="*/ 5467980 h 6858000"/>
              <a:gd name="connsiteX66" fmla="*/ 1679056 w 7467600"/>
              <a:gd name="connsiteY66" fmla="*/ 5516907 h 6858000"/>
              <a:gd name="connsiteX67" fmla="*/ 2128648 w 7467600"/>
              <a:gd name="connsiteY67" fmla="*/ 5474249 h 6858000"/>
              <a:gd name="connsiteX68" fmla="*/ 1825619 w 7467600"/>
              <a:gd name="connsiteY68" fmla="*/ 5478447 h 6858000"/>
              <a:gd name="connsiteX69" fmla="*/ 1737798 w 7467600"/>
              <a:gd name="connsiteY69" fmla="*/ 5483353 h 6858000"/>
              <a:gd name="connsiteX70" fmla="*/ 1132195 w 7467600"/>
              <a:gd name="connsiteY70" fmla="*/ 5467980 h 6858000"/>
              <a:gd name="connsiteX71" fmla="*/ 1456157 w 7467600"/>
              <a:gd name="connsiteY71" fmla="*/ 5371404 h 6858000"/>
              <a:gd name="connsiteX72" fmla="*/ 1244432 w 7467600"/>
              <a:gd name="connsiteY72" fmla="*/ 5385601 h 6858000"/>
              <a:gd name="connsiteX73" fmla="*/ 973990 w 7467600"/>
              <a:gd name="connsiteY73" fmla="*/ 5424940 h 6858000"/>
              <a:gd name="connsiteX74" fmla="*/ 1103809 w 7467600"/>
              <a:gd name="connsiteY74" fmla="*/ 5433720 h 6858000"/>
              <a:gd name="connsiteX75" fmla="*/ 1123454 w 7467600"/>
              <a:gd name="connsiteY75" fmla="*/ 5435727 h 6858000"/>
              <a:gd name="connsiteX76" fmla="*/ 1737017 w 7467600"/>
              <a:gd name="connsiteY76" fmla="*/ 5452183 h 6858000"/>
              <a:gd name="connsiteX77" fmla="*/ 1824397 w 7467600"/>
              <a:gd name="connsiteY77" fmla="*/ 5447757 h 6858000"/>
              <a:gd name="connsiteX78" fmla="*/ 2070059 w 7467600"/>
              <a:gd name="connsiteY78" fmla="*/ 5441660 h 6858000"/>
              <a:gd name="connsiteX79" fmla="*/ 1456157 w 7467600"/>
              <a:gd name="connsiteY79" fmla="*/ 5371404 h 6858000"/>
              <a:gd name="connsiteX80" fmla="*/ 4988186 w 7467600"/>
              <a:gd name="connsiteY80" fmla="*/ 5216467 h 6858000"/>
              <a:gd name="connsiteX81" fmla="*/ 4777334 w 7467600"/>
              <a:gd name="connsiteY81" fmla="*/ 5406072 h 6858000"/>
              <a:gd name="connsiteX82" fmla="*/ 4718341 w 7467600"/>
              <a:gd name="connsiteY82" fmla="*/ 5468043 h 6858000"/>
              <a:gd name="connsiteX83" fmla="*/ 4604655 w 7467600"/>
              <a:gd name="connsiteY83" fmla="*/ 5583434 h 6858000"/>
              <a:gd name="connsiteX84" fmla="*/ 4565074 w 7467600"/>
              <a:gd name="connsiteY84" fmla="*/ 5618550 h 6858000"/>
              <a:gd name="connsiteX85" fmla="*/ 4988186 w 7467600"/>
              <a:gd name="connsiteY85" fmla="*/ 5216467 h 6858000"/>
              <a:gd name="connsiteX86" fmla="*/ 4978032 w 7467600"/>
              <a:gd name="connsiteY86" fmla="*/ 5183809 h 6858000"/>
              <a:gd name="connsiteX87" fmla="*/ 4463413 w 7467600"/>
              <a:gd name="connsiteY87" fmla="*/ 5615162 h 6858000"/>
              <a:gd name="connsiteX88" fmla="*/ 4358134 w 7467600"/>
              <a:gd name="connsiteY88" fmla="*/ 5742791 h 6858000"/>
              <a:gd name="connsiteX89" fmla="*/ 4376219 w 7467600"/>
              <a:gd name="connsiteY89" fmla="*/ 5729027 h 6858000"/>
              <a:gd name="connsiteX90" fmla="*/ 4582340 w 7467600"/>
              <a:gd name="connsiteY90" fmla="*/ 5561037 h 6858000"/>
              <a:gd name="connsiteX91" fmla="*/ 4694684 w 7467600"/>
              <a:gd name="connsiteY91" fmla="*/ 5447098 h 6858000"/>
              <a:gd name="connsiteX92" fmla="*/ 4754123 w 7467600"/>
              <a:gd name="connsiteY92" fmla="*/ 5384643 h 6858000"/>
              <a:gd name="connsiteX93" fmla="*/ 4978032 w 7467600"/>
              <a:gd name="connsiteY93" fmla="*/ 5183809 h 6858000"/>
              <a:gd name="connsiteX94" fmla="*/ 1903353 w 7467600"/>
              <a:gd name="connsiteY94" fmla="*/ 5044827 h 6858000"/>
              <a:gd name="connsiteX95" fmla="*/ 1936931 w 7467600"/>
              <a:gd name="connsiteY95" fmla="*/ 5093954 h 6858000"/>
              <a:gd name="connsiteX96" fmla="*/ 2195868 w 7467600"/>
              <a:gd name="connsiteY96" fmla="*/ 5396574 h 6858000"/>
              <a:gd name="connsiteX97" fmla="*/ 2088852 w 7467600"/>
              <a:gd name="connsiteY97" fmla="*/ 5166123 h 6858000"/>
              <a:gd name="connsiteX98" fmla="*/ 1958241 w 7467600"/>
              <a:gd name="connsiteY98" fmla="*/ 5067955 h 6858000"/>
              <a:gd name="connsiteX99" fmla="*/ 1903353 w 7467600"/>
              <a:gd name="connsiteY99" fmla="*/ 5044827 h 6858000"/>
              <a:gd name="connsiteX100" fmla="*/ 1979378 w 7467600"/>
              <a:gd name="connsiteY100" fmla="*/ 4769504 h 6858000"/>
              <a:gd name="connsiteX101" fmla="*/ 2882120 w 7467600"/>
              <a:gd name="connsiteY101" fmla="*/ 5064547 h 6858000"/>
              <a:gd name="connsiteX102" fmla="*/ 2793103 w 7467600"/>
              <a:gd name="connsiteY102" fmla="*/ 5039699 h 6858000"/>
              <a:gd name="connsiteX103" fmla="*/ 2770041 w 7467600"/>
              <a:gd name="connsiteY103" fmla="*/ 5033634 h 6858000"/>
              <a:gd name="connsiteX104" fmla="*/ 1979378 w 7467600"/>
              <a:gd name="connsiteY104" fmla="*/ 4769504 h 6858000"/>
              <a:gd name="connsiteX105" fmla="*/ 1927410 w 7467600"/>
              <a:gd name="connsiteY105" fmla="*/ 4716164 h 6858000"/>
              <a:gd name="connsiteX106" fmla="*/ 1959587 w 7467600"/>
              <a:gd name="connsiteY106" fmla="*/ 4728849 h 6858000"/>
              <a:gd name="connsiteX107" fmla="*/ 2777707 w 7467600"/>
              <a:gd name="connsiteY107" fmla="*/ 5003991 h 6858000"/>
              <a:gd name="connsiteX108" fmla="*/ 2800768 w 7467600"/>
              <a:gd name="connsiteY108" fmla="*/ 5010056 h 6858000"/>
              <a:gd name="connsiteX109" fmla="*/ 2879408 w 7467600"/>
              <a:gd name="connsiteY109" fmla="*/ 5031590 h 6858000"/>
              <a:gd name="connsiteX110" fmla="*/ 2862295 w 7467600"/>
              <a:gd name="connsiteY110" fmla="*/ 5022958 h 6858000"/>
              <a:gd name="connsiteX111" fmla="*/ 2813343 w 7467600"/>
              <a:gd name="connsiteY111" fmla="*/ 4998369 h 6858000"/>
              <a:gd name="connsiteX112" fmla="*/ 2646245 w 7467600"/>
              <a:gd name="connsiteY112" fmla="*/ 4930999 h 6858000"/>
              <a:gd name="connsiteX113" fmla="*/ 1999243 w 7467600"/>
              <a:gd name="connsiteY113" fmla="*/ 4730524 h 6858000"/>
              <a:gd name="connsiteX114" fmla="*/ 1979527 w 7467600"/>
              <a:gd name="connsiteY114" fmla="*/ 4726651 h 6858000"/>
              <a:gd name="connsiteX115" fmla="*/ 1927410 w 7467600"/>
              <a:gd name="connsiteY115" fmla="*/ 4716164 h 6858000"/>
              <a:gd name="connsiteX116" fmla="*/ 1997014 w 7467600"/>
              <a:gd name="connsiteY116" fmla="*/ 4698007 h 6858000"/>
              <a:gd name="connsiteX117" fmla="*/ 2005458 w 7467600"/>
              <a:gd name="connsiteY117" fmla="*/ 4699540 h 6858000"/>
              <a:gd name="connsiteX118" fmla="*/ 2657186 w 7467600"/>
              <a:gd name="connsiteY118" fmla="*/ 4901687 h 6858000"/>
              <a:gd name="connsiteX119" fmla="*/ 2826662 w 7467600"/>
              <a:gd name="connsiteY119" fmla="*/ 4970362 h 6858000"/>
              <a:gd name="connsiteX120" fmla="*/ 2876100 w 7467600"/>
              <a:gd name="connsiteY120" fmla="*/ 4995397 h 6858000"/>
              <a:gd name="connsiteX121" fmla="*/ 3042600 w 7467600"/>
              <a:gd name="connsiteY121" fmla="*/ 5059532 h 6858000"/>
              <a:gd name="connsiteX122" fmla="*/ 1997014 w 7467600"/>
              <a:gd name="connsiteY122" fmla="*/ 4698007 h 6858000"/>
              <a:gd name="connsiteX123" fmla="*/ 2305292 w 7467600"/>
              <a:gd name="connsiteY123" fmla="*/ 4219492 h 6858000"/>
              <a:gd name="connsiteX124" fmla="*/ 3360922 w 7467600"/>
              <a:gd name="connsiteY124" fmla="*/ 4529373 h 6858000"/>
              <a:gd name="connsiteX125" fmla="*/ 3492420 w 7467600"/>
              <a:gd name="connsiteY125" fmla="*/ 4510145 h 6858000"/>
              <a:gd name="connsiteX126" fmla="*/ 3364086 w 7467600"/>
              <a:gd name="connsiteY126" fmla="*/ 4480340 h 6858000"/>
              <a:gd name="connsiteX127" fmla="*/ 3225818 w 7467600"/>
              <a:gd name="connsiteY127" fmla="*/ 4411822 h 6858000"/>
              <a:gd name="connsiteX128" fmla="*/ 3129696 w 7467600"/>
              <a:gd name="connsiteY128" fmla="*/ 4360704 h 6858000"/>
              <a:gd name="connsiteX129" fmla="*/ 2814545 w 7467600"/>
              <a:gd name="connsiteY129" fmla="*/ 4282955 h 6858000"/>
              <a:gd name="connsiteX130" fmla="*/ 2305292 w 7467600"/>
              <a:gd name="connsiteY130" fmla="*/ 4219492 h 6858000"/>
              <a:gd name="connsiteX131" fmla="*/ 2626982 w 7467600"/>
              <a:gd name="connsiteY131" fmla="*/ 4206450 h 6858000"/>
              <a:gd name="connsiteX132" fmla="*/ 2490617 w 7467600"/>
              <a:gd name="connsiteY132" fmla="*/ 4206951 h 6858000"/>
              <a:gd name="connsiteX133" fmla="*/ 2819869 w 7467600"/>
              <a:gd name="connsiteY133" fmla="*/ 4252936 h 6858000"/>
              <a:gd name="connsiteX134" fmla="*/ 3143018 w 7467600"/>
              <a:gd name="connsiteY134" fmla="*/ 4332698 h 6858000"/>
              <a:gd name="connsiteX135" fmla="*/ 3241520 w 7467600"/>
              <a:gd name="connsiteY135" fmla="*/ 4385112 h 6858000"/>
              <a:gd name="connsiteX136" fmla="*/ 3374575 w 7467600"/>
              <a:gd name="connsiteY136" fmla="*/ 4451517 h 6858000"/>
              <a:gd name="connsiteX137" fmla="*/ 3505221 w 7467600"/>
              <a:gd name="connsiteY137" fmla="*/ 4480757 h 6858000"/>
              <a:gd name="connsiteX138" fmla="*/ 2626982 w 7467600"/>
              <a:gd name="connsiteY138" fmla="*/ 4206450 h 6858000"/>
              <a:gd name="connsiteX139" fmla="*/ 1310106 w 7467600"/>
              <a:gd name="connsiteY139" fmla="*/ 3943217 h 6858000"/>
              <a:gd name="connsiteX140" fmla="*/ 854994 w 7467600"/>
              <a:gd name="connsiteY140" fmla="*/ 4399136 h 6858000"/>
              <a:gd name="connsiteX141" fmla="*/ 742462 w 7467600"/>
              <a:gd name="connsiteY141" fmla="*/ 4594648 h 6858000"/>
              <a:gd name="connsiteX142" fmla="*/ 820602 w 7467600"/>
              <a:gd name="connsiteY142" fmla="*/ 4485915 h 6858000"/>
              <a:gd name="connsiteX143" fmla="*/ 878295 w 7467600"/>
              <a:gd name="connsiteY143" fmla="*/ 4403594 h 6858000"/>
              <a:gd name="connsiteX144" fmla="*/ 1240607 w 7467600"/>
              <a:gd name="connsiteY144" fmla="*/ 4010401 h 6858000"/>
              <a:gd name="connsiteX145" fmla="*/ 1310106 w 7467600"/>
              <a:gd name="connsiteY145" fmla="*/ 3943217 h 6858000"/>
              <a:gd name="connsiteX146" fmla="*/ 1423113 w 7467600"/>
              <a:gd name="connsiteY146" fmla="*/ 3874565 h 6858000"/>
              <a:gd name="connsiteX147" fmla="*/ 1260565 w 7467600"/>
              <a:gd name="connsiteY147" fmla="*/ 4031982 h 6858000"/>
              <a:gd name="connsiteX148" fmla="*/ 901900 w 7467600"/>
              <a:gd name="connsiteY148" fmla="*/ 4421236 h 6858000"/>
              <a:gd name="connsiteX149" fmla="*/ 845044 w 7467600"/>
              <a:gd name="connsiteY149" fmla="*/ 4502436 h 6858000"/>
              <a:gd name="connsiteX150" fmla="*/ 685926 w 7467600"/>
              <a:gd name="connsiteY150" fmla="*/ 4703069 h 6858000"/>
              <a:gd name="connsiteX151" fmla="*/ 684248 w 7467600"/>
              <a:gd name="connsiteY151" fmla="*/ 4706721 h 6858000"/>
              <a:gd name="connsiteX152" fmla="*/ 1423113 w 7467600"/>
              <a:gd name="connsiteY152" fmla="*/ 3874565 h 6858000"/>
              <a:gd name="connsiteX153" fmla="*/ 3316479 w 7467600"/>
              <a:gd name="connsiteY153" fmla="*/ 3872136 h 6858000"/>
              <a:gd name="connsiteX154" fmla="*/ 3546806 w 7467600"/>
              <a:gd name="connsiteY154" fmla="*/ 4356139 h 6858000"/>
              <a:gd name="connsiteX155" fmla="*/ 3364433 w 7467600"/>
              <a:gd name="connsiteY155" fmla="*/ 3953121 h 6858000"/>
              <a:gd name="connsiteX156" fmla="*/ 3316479 w 7467600"/>
              <a:gd name="connsiteY156" fmla="*/ 3872136 h 6858000"/>
              <a:gd name="connsiteX157" fmla="*/ 3291335 w 7467600"/>
              <a:gd name="connsiteY157" fmla="*/ 3767420 h 6858000"/>
              <a:gd name="connsiteX158" fmla="*/ 3390805 w 7467600"/>
              <a:gd name="connsiteY158" fmla="*/ 3937163 h 6858000"/>
              <a:gd name="connsiteX159" fmla="*/ 3579062 w 7467600"/>
              <a:gd name="connsiteY159" fmla="*/ 4359040 h 6858000"/>
              <a:gd name="connsiteX160" fmla="*/ 3467355 w 7467600"/>
              <a:gd name="connsiteY160" fmla="*/ 3988130 h 6858000"/>
              <a:gd name="connsiteX161" fmla="*/ 3310753 w 7467600"/>
              <a:gd name="connsiteY161" fmla="*/ 3787140 h 6858000"/>
              <a:gd name="connsiteX162" fmla="*/ 3291335 w 7467600"/>
              <a:gd name="connsiteY162" fmla="*/ 3767420 h 6858000"/>
              <a:gd name="connsiteX163" fmla="*/ 1635889 w 7467600"/>
              <a:gd name="connsiteY163" fmla="*/ 3709494 h 6858000"/>
              <a:gd name="connsiteX164" fmla="*/ 1634800 w 7467600"/>
              <a:gd name="connsiteY164" fmla="*/ 3731111 h 6858000"/>
              <a:gd name="connsiteX165" fmla="*/ 1635889 w 7467600"/>
              <a:gd name="connsiteY165" fmla="*/ 3709494 h 6858000"/>
              <a:gd name="connsiteX166" fmla="*/ 1510397 w 7467600"/>
              <a:gd name="connsiteY166" fmla="*/ 3684705 h 6858000"/>
              <a:gd name="connsiteX167" fmla="*/ 1146550 w 7467600"/>
              <a:gd name="connsiteY167" fmla="*/ 3802012 h 6858000"/>
              <a:gd name="connsiteX168" fmla="*/ 698834 w 7467600"/>
              <a:gd name="connsiteY168" fmla="*/ 3952272 h 6858000"/>
              <a:gd name="connsiteX169" fmla="*/ 34256 w 7467600"/>
              <a:gd name="connsiteY169" fmla="*/ 4347603 h 6858000"/>
              <a:gd name="connsiteX170" fmla="*/ 527241 w 7467600"/>
              <a:gd name="connsiteY170" fmla="*/ 4065078 h 6858000"/>
              <a:gd name="connsiteX171" fmla="*/ 1510397 w 7467600"/>
              <a:gd name="connsiteY171" fmla="*/ 3684705 h 6858000"/>
              <a:gd name="connsiteX172" fmla="*/ 1313114 w 7467600"/>
              <a:gd name="connsiteY172" fmla="*/ 3655216 h 6858000"/>
              <a:gd name="connsiteX173" fmla="*/ 1109304 w 7467600"/>
              <a:gd name="connsiteY173" fmla="*/ 3669030 h 6858000"/>
              <a:gd name="connsiteX174" fmla="*/ 8129 w 7467600"/>
              <a:gd name="connsiteY174" fmla="*/ 4330519 h 6858000"/>
              <a:gd name="connsiteX175" fmla="*/ 687572 w 7467600"/>
              <a:gd name="connsiteY175" fmla="*/ 3925629 h 6858000"/>
              <a:gd name="connsiteX176" fmla="*/ 1138365 w 7467600"/>
              <a:gd name="connsiteY176" fmla="*/ 3774515 h 6858000"/>
              <a:gd name="connsiteX177" fmla="*/ 1505579 w 7467600"/>
              <a:gd name="connsiteY177" fmla="*/ 3655526 h 6858000"/>
              <a:gd name="connsiteX178" fmla="*/ 1313114 w 7467600"/>
              <a:gd name="connsiteY178" fmla="*/ 3655216 h 6858000"/>
              <a:gd name="connsiteX179" fmla="*/ 3655073 w 7467600"/>
              <a:gd name="connsiteY179" fmla="*/ 3650884 h 6858000"/>
              <a:gd name="connsiteX180" fmla="*/ 3989938 w 7467600"/>
              <a:gd name="connsiteY180" fmla="*/ 3991685 h 6858000"/>
              <a:gd name="connsiteX181" fmla="*/ 4393907 w 7467600"/>
              <a:gd name="connsiteY181" fmla="*/ 4261258 h 6858000"/>
              <a:gd name="connsiteX182" fmla="*/ 4648051 w 7467600"/>
              <a:gd name="connsiteY182" fmla="*/ 4374051 h 6858000"/>
              <a:gd name="connsiteX183" fmla="*/ 4383389 w 7467600"/>
              <a:gd name="connsiteY183" fmla="*/ 4184369 h 6858000"/>
              <a:gd name="connsiteX184" fmla="*/ 4165508 w 7467600"/>
              <a:gd name="connsiteY184" fmla="*/ 4035196 h 6858000"/>
              <a:gd name="connsiteX185" fmla="*/ 4068162 w 7467600"/>
              <a:gd name="connsiteY185" fmla="*/ 3953394 h 6858000"/>
              <a:gd name="connsiteX186" fmla="*/ 3981416 w 7467600"/>
              <a:gd name="connsiteY186" fmla="*/ 3880482 h 6858000"/>
              <a:gd name="connsiteX187" fmla="*/ 3800147 w 7467600"/>
              <a:gd name="connsiteY187" fmla="*/ 3749872 h 6858000"/>
              <a:gd name="connsiteX188" fmla="*/ 3655073 w 7467600"/>
              <a:gd name="connsiteY188" fmla="*/ 3650884 h 6858000"/>
              <a:gd name="connsiteX189" fmla="*/ 3670252 w 7467600"/>
              <a:gd name="connsiteY189" fmla="*/ 3622798 h 6858000"/>
              <a:gd name="connsiteX190" fmla="*/ 3817258 w 7467600"/>
              <a:gd name="connsiteY190" fmla="*/ 3723577 h 6858000"/>
              <a:gd name="connsiteX191" fmla="*/ 4000461 w 7467600"/>
              <a:gd name="connsiteY191" fmla="*/ 3855966 h 6858000"/>
              <a:gd name="connsiteX192" fmla="*/ 4088180 w 7467600"/>
              <a:gd name="connsiteY192" fmla="*/ 3929774 h 6858000"/>
              <a:gd name="connsiteX193" fmla="*/ 4184555 w 7467600"/>
              <a:gd name="connsiteY193" fmla="*/ 4010683 h 6858000"/>
              <a:gd name="connsiteX194" fmla="*/ 4399563 w 7467600"/>
              <a:gd name="connsiteY194" fmla="*/ 4158106 h 6858000"/>
              <a:gd name="connsiteX195" fmla="*/ 4684469 w 7467600"/>
              <a:gd name="connsiteY195" fmla="*/ 4364680 h 6858000"/>
              <a:gd name="connsiteX196" fmla="*/ 4690271 w 7467600"/>
              <a:gd name="connsiteY196" fmla="*/ 4370034 h 6858000"/>
              <a:gd name="connsiteX197" fmla="*/ 4136093 w 7467600"/>
              <a:gd name="connsiteY197" fmla="*/ 3858466 h 6858000"/>
              <a:gd name="connsiteX198" fmla="*/ 3670252 w 7467600"/>
              <a:gd name="connsiteY198" fmla="*/ 3622798 h 6858000"/>
              <a:gd name="connsiteX199" fmla="*/ 4440129 w 7467600"/>
              <a:gd name="connsiteY199" fmla="*/ 3448571 h 6858000"/>
              <a:gd name="connsiteX200" fmla="*/ 4856525 w 7467600"/>
              <a:gd name="connsiteY200" fmla="*/ 3915351 h 6858000"/>
              <a:gd name="connsiteX201" fmla="*/ 5059055 w 7467600"/>
              <a:gd name="connsiteY201" fmla="*/ 4108918 h 6858000"/>
              <a:gd name="connsiteX202" fmla="*/ 5290070 w 7467600"/>
              <a:gd name="connsiteY202" fmla="*/ 4263619 h 6858000"/>
              <a:gd name="connsiteX203" fmla="*/ 4834991 w 7467600"/>
              <a:gd name="connsiteY203" fmla="*/ 3830985 h 6858000"/>
              <a:gd name="connsiteX204" fmla="*/ 4440129 w 7467600"/>
              <a:gd name="connsiteY204" fmla="*/ 3448571 h 6858000"/>
              <a:gd name="connsiteX205" fmla="*/ 4441737 w 7467600"/>
              <a:gd name="connsiteY205" fmla="*/ 3399734 h 6858000"/>
              <a:gd name="connsiteX206" fmla="*/ 4431236 w 7467600"/>
              <a:gd name="connsiteY206" fmla="*/ 3400954 h 6858000"/>
              <a:gd name="connsiteX207" fmla="*/ 4557150 w 7467600"/>
              <a:gd name="connsiteY207" fmla="*/ 3510023 h 6858000"/>
              <a:gd name="connsiteX208" fmla="*/ 4856936 w 7467600"/>
              <a:gd name="connsiteY208" fmla="*/ 3809146 h 6858000"/>
              <a:gd name="connsiteX209" fmla="*/ 5111996 w 7467600"/>
              <a:gd name="connsiteY209" fmla="*/ 4065759 h 6858000"/>
              <a:gd name="connsiteX210" fmla="*/ 5388878 w 7467600"/>
              <a:gd name="connsiteY210" fmla="*/ 4300185 h 6858000"/>
              <a:gd name="connsiteX211" fmla="*/ 5425556 w 7467600"/>
              <a:gd name="connsiteY211" fmla="*/ 4308967 h 6858000"/>
              <a:gd name="connsiteX212" fmla="*/ 4943646 w 7467600"/>
              <a:gd name="connsiteY212" fmla="*/ 3822916 h 6858000"/>
              <a:gd name="connsiteX213" fmla="*/ 4594837 w 7467600"/>
              <a:gd name="connsiteY213" fmla="*/ 3532274 h 6858000"/>
              <a:gd name="connsiteX214" fmla="*/ 4441737 w 7467600"/>
              <a:gd name="connsiteY214" fmla="*/ 3399734 h 6858000"/>
              <a:gd name="connsiteX215" fmla="*/ 5425834 w 7467600"/>
              <a:gd name="connsiteY215" fmla="*/ 3162785 h 6858000"/>
              <a:gd name="connsiteX216" fmla="*/ 5401644 w 7467600"/>
              <a:gd name="connsiteY216" fmla="*/ 3617847 h 6858000"/>
              <a:gd name="connsiteX217" fmla="*/ 5467256 w 7467600"/>
              <a:gd name="connsiteY217" fmla="*/ 4175494 h 6858000"/>
              <a:gd name="connsiteX218" fmla="*/ 5448069 w 7467600"/>
              <a:gd name="connsiteY218" fmla="*/ 3567554 h 6858000"/>
              <a:gd name="connsiteX219" fmla="*/ 5425834 w 7467600"/>
              <a:gd name="connsiteY219" fmla="*/ 3162785 h 6858000"/>
              <a:gd name="connsiteX220" fmla="*/ 1318687 w 7467600"/>
              <a:gd name="connsiteY220" fmla="*/ 3113840 h 6858000"/>
              <a:gd name="connsiteX221" fmla="*/ 1066793 w 7467600"/>
              <a:gd name="connsiteY221" fmla="*/ 3212171 h 6858000"/>
              <a:gd name="connsiteX222" fmla="*/ 993319 w 7467600"/>
              <a:gd name="connsiteY222" fmla="*/ 3247648 h 6858000"/>
              <a:gd name="connsiteX223" fmla="*/ 853081 w 7467600"/>
              <a:gd name="connsiteY223" fmla="*/ 3312410 h 6858000"/>
              <a:gd name="connsiteX224" fmla="*/ 805957 w 7467600"/>
              <a:gd name="connsiteY224" fmla="*/ 3330443 h 6858000"/>
              <a:gd name="connsiteX225" fmla="*/ 1318687 w 7467600"/>
              <a:gd name="connsiteY225" fmla="*/ 3113840 h 6858000"/>
              <a:gd name="connsiteX226" fmla="*/ 5453702 w 7467600"/>
              <a:gd name="connsiteY226" fmla="*/ 3090882 h 6858000"/>
              <a:gd name="connsiteX227" fmla="*/ 5480135 w 7467600"/>
              <a:gd name="connsiteY227" fmla="*/ 3565802 h 6858000"/>
              <a:gd name="connsiteX228" fmla="*/ 5499023 w 7467600"/>
              <a:gd name="connsiteY228" fmla="*/ 4166310 h 6858000"/>
              <a:gd name="connsiteX229" fmla="*/ 5547022 w 7467600"/>
              <a:gd name="connsiteY229" fmla="*/ 3607838 h 6858000"/>
              <a:gd name="connsiteX230" fmla="*/ 5515964 w 7467600"/>
              <a:gd name="connsiteY230" fmla="*/ 3378541 h 6858000"/>
              <a:gd name="connsiteX231" fmla="*/ 5453702 w 7467600"/>
              <a:gd name="connsiteY231" fmla="*/ 3090882 h 6858000"/>
              <a:gd name="connsiteX232" fmla="*/ 1238695 w 7467600"/>
              <a:gd name="connsiteY232" fmla="*/ 3076820 h 6858000"/>
              <a:gd name="connsiteX233" fmla="*/ 716371 w 7467600"/>
              <a:gd name="connsiteY233" fmla="*/ 3293249 h 6858000"/>
              <a:gd name="connsiteX234" fmla="*/ 579522 w 7467600"/>
              <a:gd name="connsiteY234" fmla="*/ 3371759 h 6858000"/>
              <a:gd name="connsiteX235" fmla="*/ 600288 w 7467600"/>
              <a:gd name="connsiteY235" fmla="*/ 3365555 h 6858000"/>
              <a:gd name="connsiteX236" fmla="*/ 840692 w 7467600"/>
              <a:gd name="connsiteY236" fmla="*/ 3284921 h 6858000"/>
              <a:gd name="connsiteX237" fmla="*/ 979248 w 7467600"/>
              <a:gd name="connsiteY237" fmla="*/ 3221003 h 6858000"/>
              <a:gd name="connsiteX238" fmla="*/ 1053282 w 7467600"/>
              <a:gd name="connsiteY238" fmla="*/ 3185247 h 6858000"/>
              <a:gd name="connsiteX239" fmla="*/ 1320603 w 7467600"/>
              <a:gd name="connsiteY239" fmla="*/ 3081281 h 6858000"/>
              <a:gd name="connsiteX240" fmla="*/ 1238695 w 7467600"/>
              <a:gd name="connsiteY240" fmla="*/ 3076820 h 6858000"/>
              <a:gd name="connsiteX241" fmla="*/ 5425627 w 7467600"/>
              <a:gd name="connsiteY241" fmla="*/ 2954192 h 6858000"/>
              <a:gd name="connsiteX242" fmla="*/ 5470770 w 7467600"/>
              <a:gd name="connsiteY242" fmla="*/ 3005435 h 6858000"/>
              <a:gd name="connsiteX243" fmla="*/ 5519779 w 7467600"/>
              <a:gd name="connsiteY243" fmla="*/ 4359223 h 6858000"/>
              <a:gd name="connsiteX244" fmla="*/ 5520293 w 7467600"/>
              <a:gd name="connsiteY244" fmla="*/ 4360602 h 6858000"/>
              <a:gd name="connsiteX245" fmla="*/ 5767221 w 7467600"/>
              <a:gd name="connsiteY245" fmla="*/ 4665564 h 6858000"/>
              <a:gd name="connsiteX246" fmla="*/ 6937169 w 7467600"/>
              <a:gd name="connsiteY246" fmla="*/ 4815941 h 6858000"/>
              <a:gd name="connsiteX247" fmla="*/ 6953922 w 7467600"/>
              <a:gd name="connsiteY247" fmla="*/ 4890068 h 6858000"/>
              <a:gd name="connsiteX248" fmla="*/ 6071359 w 7467600"/>
              <a:gd name="connsiteY248" fmla="*/ 4770770 h 6858000"/>
              <a:gd name="connsiteX249" fmla="*/ 6038839 w 7467600"/>
              <a:gd name="connsiteY249" fmla="*/ 4764474 h 6858000"/>
              <a:gd name="connsiteX250" fmla="*/ 6038706 w 7467600"/>
              <a:gd name="connsiteY250" fmla="*/ 4763847 h 6858000"/>
              <a:gd name="connsiteX251" fmla="*/ 6037784 w 7467600"/>
              <a:gd name="connsiteY251" fmla="*/ 4764270 h 6858000"/>
              <a:gd name="connsiteX252" fmla="*/ 6038839 w 7467600"/>
              <a:gd name="connsiteY252" fmla="*/ 4764474 h 6858000"/>
              <a:gd name="connsiteX253" fmla="*/ 6040338 w 7467600"/>
              <a:gd name="connsiteY253" fmla="*/ 4771418 h 6858000"/>
              <a:gd name="connsiteX254" fmla="*/ 6024488 w 7467600"/>
              <a:gd name="connsiteY254" fmla="*/ 4809903 h 6858000"/>
              <a:gd name="connsiteX255" fmla="*/ 5599771 w 7467600"/>
              <a:gd name="connsiteY255" fmla="*/ 5509652 h 6858000"/>
              <a:gd name="connsiteX256" fmla="*/ 5548843 w 7467600"/>
              <a:gd name="connsiteY256" fmla="*/ 5563845 h 6858000"/>
              <a:gd name="connsiteX257" fmla="*/ 5940952 w 7467600"/>
              <a:gd name="connsiteY257" fmla="*/ 6250028 h 6858000"/>
              <a:gd name="connsiteX258" fmla="*/ 6043441 w 7467600"/>
              <a:gd name="connsiteY258" fmla="*/ 6665847 h 6858000"/>
              <a:gd name="connsiteX259" fmla="*/ 6093432 w 7467600"/>
              <a:gd name="connsiteY259" fmla="*/ 6858000 h 6858000"/>
              <a:gd name="connsiteX260" fmla="*/ 6034344 w 7467600"/>
              <a:gd name="connsiteY260" fmla="*/ 6858000 h 6858000"/>
              <a:gd name="connsiteX261" fmla="*/ 6026679 w 7467600"/>
              <a:gd name="connsiteY261" fmla="*/ 6836959 h 6858000"/>
              <a:gd name="connsiteX262" fmla="*/ 5800441 w 7467600"/>
              <a:gd name="connsiteY262" fmla="*/ 6335286 h 6858000"/>
              <a:gd name="connsiteX263" fmla="*/ 5526562 w 7467600"/>
              <a:gd name="connsiteY263" fmla="*/ 5705388 h 6858000"/>
              <a:gd name="connsiteX264" fmla="*/ 5519640 w 7467600"/>
              <a:gd name="connsiteY264" fmla="*/ 5683774 h 6858000"/>
              <a:gd name="connsiteX265" fmla="*/ 5844559 w 7467600"/>
              <a:gd name="connsiteY265" fmla="*/ 6553349 h 6858000"/>
              <a:gd name="connsiteX266" fmla="*/ 5975994 w 7467600"/>
              <a:gd name="connsiteY266" fmla="*/ 6858000 h 6858000"/>
              <a:gd name="connsiteX267" fmla="*/ 5898547 w 7467600"/>
              <a:gd name="connsiteY267" fmla="*/ 6858000 h 6858000"/>
              <a:gd name="connsiteX268" fmla="*/ 5682041 w 7467600"/>
              <a:gd name="connsiteY268" fmla="*/ 6355860 h 6858000"/>
              <a:gd name="connsiteX269" fmla="*/ 5461758 w 7467600"/>
              <a:gd name="connsiteY269" fmla="*/ 5820220 h 6858000"/>
              <a:gd name="connsiteX270" fmla="*/ 5237282 w 7467600"/>
              <a:gd name="connsiteY270" fmla="*/ 6579086 h 6858000"/>
              <a:gd name="connsiteX271" fmla="*/ 5115009 w 7467600"/>
              <a:gd name="connsiteY271" fmla="*/ 6858000 h 6858000"/>
              <a:gd name="connsiteX272" fmla="*/ 5028074 w 7467600"/>
              <a:gd name="connsiteY272" fmla="*/ 6858000 h 6858000"/>
              <a:gd name="connsiteX273" fmla="*/ 5079508 w 7467600"/>
              <a:gd name="connsiteY273" fmla="*/ 6749074 h 6858000"/>
              <a:gd name="connsiteX274" fmla="*/ 5371846 w 7467600"/>
              <a:gd name="connsiteY274" fmla="*/ 5924413 h 6858000"/>
              <a:gd name="connsiteX275" fmla="*/ 5270512 w 7467600"/>
              <a:gd name="connsiteY275" fmla="*/ 6138975 h 6858000"/>
              <a:gd name="connsiteX276" fmla="*/ 5062409 w 7467600"/>
              <a:gd name="connsiteY276" fmla="*/ 6653544 h 6858000"/>
              <a:gd name="connsiteX277" fmla="*/ 5036628 w 7467600"/>
              <a:gd name="connsiteY277" fmla="*/ 6754247 h 6858000"/>
              <a:gd name="connsiteX278" fmla="*/ 5009112 w 7467600"/>
              <a:gd name="connsiteY278" fmla="*/ 6858000 h 6858000"/>
              <a:gd name="connsiteX279" fmla="*/ 4976679 w 7467600"/>
              <a:gd name="connsiteY279" fmla="*/ 6858000 h 6858000"/>
              <a:gd name="connsiteX280" fmla="*/ 5006537 w 7467600"/>
              <a:gd name="connsiteY280" fmla="*/ 6747068 h 6858000"/>
              <a:gd name="connsiteX281" fmla="*/ 5032723 w 7467600"/>
              <a:gd name="connsiteY281" fmla="*/ 6644957 h 6858000"/>
              <a:gd name="connsiteX282" fmla="*/ 5242949 w 7467600"/>
              <a:gd name="connsiteY282" fmla="*/ 6125175 h 6858000"/>
              <a:gd name="connsiteX283" fmla="*/ 5286321 w 7467600"/>
              <a:gd name="connsiteY283" fmla="*/ 6033555 h 6858000"/>
              <a:gd name="connsiteX284" fmla="*/ 5008210 w 7467600"/>
              <a:gd name="connsiteY284" fmla="*/ 6649194 h 6858000"/>
              <a:gd name="connsiteX285" fmla="*/ 4986321 w 7467600"/>
              <a:gd name="connsiteY285" fmla="*/ 6765687 h 6858000"/>
              <a:gd name="connsiteX286" fmla="*/ 4973474 w 7467600"/>
              <a:gd name="connsiteY286" fmla="*/ 6858000 h 6858000"/>
              <a:gd name="connsiteX287" fmla="*/ 4907178 w 7467600"/>
              <a:gd name="connsiteY287" fmla="*/ 6858000 h 6858000"/>
              <a:gd name="connsiteX288" fmla="*/ 4910810 w 7467600"/>
              <a:gd name="connsiteY288" fmla="*/ 6829660 h 6858000"/>
              <a:gd name="connsiteX289" fmla="*/ 4987461 w 7467600"/>
              <a:gd name="connsiteY289" fmla="*/ 6432994 h 6858000"/>
              <a:gd name="connsiteX290" fmla="*/ 5179262 w 7467600"/>
              <a:gd name="connsiteY290" fmla="*/ 6035044 h 6858000"/>
              <a:gd name="connsiteX291" fmla="*/ 4689678 w 7467600"/>
              <a:gd name="connsiteY291" fmla="*/ 6440241 h 6858000"/>
              <a:gd name="connsiteX292" fmla="*/ 4477543 w 7467600"/>
              <a:gd name="connsiteY292" fmla="*/ 6674836 h 6858000"/>
              <a:gd name="connsiteX293" fmla="*/ 4329957 w 7467600"/>
              <a:gd name="connsiteY293" fmla="*/ 6858000 h 6858000"/>
              <a:gd name="connsiteX294" fmla="*/ 4218595 w 7467600"/>
              <a:gd name="connsiteY294" fmla="*/ 6858000 h 6858000"/>
              <a:gd name="connsiteX295" fmla="*/ 4368888 w 7467600"/>
              <a:gd name="connsiteY295" fmla="*/ 6668412 h 6858000"/>
              <a:gd name="connsiteX296" fmla="*/ 4563091 w 7467600"/>
              <a:gd name="connsiteY296" fmla="*/ 6442508 h 6858000"/>
              <a:gd name="connsiteX297" fmla="*/ 5387324 w 7467600"/>
              <a:gd name="connsiteY297" fmla="*/ 5705830 h 6858000"/>
              <a:gd name="connsiteX298" fmla="*/ 5073620 w 7467600"/>
              <a:gd name="connsiteY298" fmla="*/ 5955437 h 6858000"/>
              <a:gd name="connsiteX299" fmla="*/ 4689789 w 7467600"/>
              <a:gd name="connsiteY299" fmla="*/ 6268382 h 6858000"/>
              <a:gd name="connsiteX300" fmla="*/ 4418722 w 7467600"/>
              <a:gd name="connsiteY300" fmla="*/ 6570886 h 6858000"/>
              <a:gd name="connsiteX301" fmla="*/ 4214944 w 7467600"/>
              <a:gd name="connsiteY301" fmla="*/ 6858000 h 6858000"/>
              <a:gd name="connsiteX302" fmla="*/ 4177898 w 7467600"/>
              <a:gd name="connsiteY302" fmla="*/ 6858000 h 6858000"/>
              <a:gd name="connsiteX303" fmla="*/ 4391597 w 7467600"/>
              <a:gd name="connsiteY303" fmla="*/ 6556370 h 6858000"/>
              <a:gd name="connsiteX304" fmla="*/ 4668889 w 7467600"/>
              <a:gd name="connsiteY304" fmla="*/ 6246399 h 6858000"/>
              <a:gd name="connsiteX305" fmla="*/ 5055427 w 7467600"/>
              <a:gd name="connsiteY305" fmla="*/ 5931476 h 6858000"/>
              <a:gd name="connsiteX306" fmla="*/ 5371814 w 7467600"/>
              <a:gd name="connsiteY306" fmla="*/ 5678975 h 6858000"/>
              <a:gd name="connsiteX307" fmla="*/ 4987918 w 7467600"/>
              <a:gd name="connsiteY307" fmla="*/ 5838701 h 6858000"/>
              <a:gd name="connsiteX308" fmla="*/ 4317146 w 7467600"/>
              <a:gd name="connsiteY308" fmla="*/ 6587716 h 6858000"/>
              <a:gd name="connsiteX309" fmla="*/ 4171627 w 7467600"/>
              <a:gd name="connsiteY309" fmla="*/ 6858000 h 6858000"/>
              <a:gd name="connsiteX310" fmla="*/ 4081585 w 7467600"/>
              <a:gd name="connsiteY310" fmla="*/ 6858000 h 6858000"/>
              <a:gd name="connsiteX311" fmla="*/ 4238603 w 7467600"/>
              <a:gd name="connsiteY311" fmla="*/ 6559341 h 6858000"/>
              <a:gd name="connsiteX312" fmla="*/ 4778333 w 7467600"/>
              <a:gd name="connsiteY312" fmla="*/ 5873626 h 6858000"/>
              <a:gd name="connsiteX313" fmla="*/ 5414185 w 7467600"/>
              <a:gd name="connsiteY313" fmla="*/ 5573882 h 6858000"/>
              <a:gd name="connsiteX314" fmla="*/ 5959648 w 7467600"/>
              <a:gd name="connsiteY314" fmla="*/ 4760797 h 6858000"/>
              <a:gd name="connsiteX315" fmla="*/ 5355019 w 7467600"/>
              <a:gd name="connsiteY315" fmla="*/ 4734672 h 6858000"/>
              <a:gd name="connsiteX316" fmla="*/ 5083565 w 7467600"/>
              <a:gd name="connsiteY316" fmla="*/ 5179121 h 6858000"/>
              <a:gd name="connsiteX317" fmla="*/ 4713577 w 7467600"/>
              <a:gd name="connsiteY317" fmla="*/ 5616803 h 6858000"/>
              <a:gd name="connsiteX318" fmla="*/ 3989559 w 7467600"/>
              <a:gd name="connsiteY318" fmla="*/ 6145945 h 6858000"/>
              <a:gd name="connsiteX319" fmla="*/ 3939824 w 7467600"/>
              <a:gd name="connsiteY319" fmla="*/ 6066900 h 6858000"/>
              <a:gd name="connsiteX320" fmla="*/ 4584537 w 7467600"/>
              <a:gd name="connsiteY320" fmla="*/ 5324826 h 6858000"/>
              <a:gd name="connsiteX321" fmla="*/ 5037105 w 7467600"/>
              <a:gd name="connsiteY321" fmla="*/ 5088765 h 6858000"/>
              <a:gd name="connsiteX322" fmla="*/ 5039930 w 7467600"/>
              <a:gd name="connsiteY322" fmla="*/ 5089585 h 6858000"/>
              <a:gd name="connsiteX323" fmla="*/ 5263764 w 7467600"/>
              <a:gd name="connsiteY323" fmla="*/ 4735525 h 6858000"/>
              <a:gd name="connsiteX324" fmla="*/ 4086300 w 7467600"/>
              <a:gd name="connsiteY324" fmla="*/ 4884599 h 6858000"/>
              <a:gd name="connsiteX325" fmla="*/ 4085485 w 7467600"/>
              <a:gd name="connsiteY325" fmla="*/ 4899070 h 6858000"/>
              <a:gd name="connsiteX326" fmla="*/ 3871915 w 7467600"/>
              <a:gd name="connsiteY326" fmla="*/ 5253645 h 6858000"/>
              <a:gd name="connsiteX327" fmla="*/ 3799374 w 7467600"/>
              <a:gd name="connsiteY327" fmla="*/ 5466127 h 6858000"/>
              <a:gd name="connsiteX328" fmla="*/ 3498850 w 7467600"/>
              <a:gd name="connsiteY328" fmla="*/ 6661888 h 6858000"/>
              <a:gd name="connsiteX329" fmla="*/ 3399216 w 7467600"/>
              <a:gd name="connsiteY329" fmla="*/ 6858000 h 6858000"/>
              <a:gd name="connsiteX330" fmla="*/ 3303688 w 7467600"/>
              <a:gd name="connsiteY330" fmla="*/ 6858000 h 6858000"/>
              <a:gd name="connsiteX331" fmla="*/ 3391774 w 7467600"/>
              <a:gd name="connsiteY331" fmla="*/ 6697181 h 6858000"/>
              <a:gd name="connsiteX332" fmla="*/ 3735540 w 7467600"/>
              <a:gd name="connsiteY332" fmla="*/ 5546923 h 6858000"/>
              <a:gd name="connsiteX333" fmla="*/ 3729438 w 7467600"/>
              <a:gd name="connsiteY333" fmla="*/ 5569058 h 6858000"/>
              <a:gd name="connsiteX334" fmla="*/ 3707782 w 7467600"/>
              <a:gd name="connsiteY334" fmla="*/ 5644908 h 6858000"/>
              <a:gd name="connsiteX335" fmla="*/ 3583827 w 7467600"/>
              <a:gd name="connsiteY335" fmla="*/ 6039215 h 6858000"/>
              <a:gd name="connsiteX336" fmla="*/ 3547861 w 7467600"/>
              <a:gd name="connsiteY336" fmla="*/ 6129609 h 6858000"/>
              <a:gd name="connsiteX337" fmla="*/ 3490905 w 7467600"/>
              <a:gd name="connsiteY337" fmla="*/ 6277660 h 6858000"/>
              <a:gd name="connsiteX338" fmla="*/ 3455859 w 7467600"/>
              <a:gd name="connsiteY338" fmla="*/ 6391301 h 6858000"/>
              <a:gd name="connsiteX339" fmla="*/ 3429112 w 7467600"/>
              <a:gd name="connsiteY339" fmla="*/ 6479469 h 6858000"/>
              <a:gd name="connsiteX340" fmla="*/ 3304862 w 7467600"/>
              <a:gd name="connsiteY340" fmla="*/ 6796476 h 6858000"/>
              <a:gd name="connsiteX341" fmla="*/ 3276071 w 7467600"/>
              <a:gd name="connsiteY341" fmla="*/ 6858000 h 6858000"/>
              <a:gd name="connsiteX342" fmla="*/ 3240805 w 7467600"/>
              <a:gd name="connsiteY342" fmla="*/ 6858000 h 6858000"/>
              <a:gd name="connsiteX343" fmla="*/ 3275917 w 7467600"/>
              <a:gd name="connsiteY343" fmla="*/ 6783192 h 6858000"/>
              <a:gd name="connsiteX344" fmla="*/ 3399358 w 7467600"/>
              <a:gd name="connsiteY344" fmla="*/ 6469011 h 6858000"/>
              <a:gd name="connsiteX345" fmla="*/ 3425650 w 7467600"/>
              <a:gd name="connsiteY345" fmla="*/ 6381333 h 6858000"/>
              <a:gd name="connsiteX346" fmla="*/ 3460661 w 7467600"/>
              <a:gd name="connsiteY346" fmla="*/ 6266763 h 6858000"/>
              <a:gd name="connsiteX347" fmla="*/ 3518021 w 7467600"/>
              <a:gd name="connsiteY347" fmla="*/ 6117298 h 6858000"/>
              <a:gd name="connsiteX348" fmla="*/ 3554035 w 7467600"/>
              <a:gd name="connsiteY348" fmla="*/ 6027832 h 6858000"/>
              <a:gd name="connsiteX349" fmla="*/ 3677174 w 7467600"/>
              <a:gd name="connsiteY349" fmla="*/ 5636351 h 6858000"/>
              <a:gd name="connsiteX350" fmla="*/ 3698819 w 7467600"/>
              <a:gd name="connsiteY350" fmla="*/ 5560503 h 6858000"/>
              <a:gd name="connsiteX351" fmla="*/ 3702094 w 7467600"/>
              <a:gd name="connsiteY351" fmla="*/ 5549194 h 6858000"/>
              <a:gd name="connsiteX352" fmla="*/ 3398355 w 7467600"/>
              <a:gd name="connsiteY352" fmla="*/ 6094603 h 6858000"/>
              <a:gd name="connsiteX353" fmla="*/ 3193941 w 7467600"/>
              <a:gd name="connsiteY353" fmla="*/ 6798775 h 6858000"/>
              <a:gd name="connsiteX354" fmla="*/ 3184140 w 7467600"/>
              <a:gd name="connsiteY354" fmla="*/ 6858000 h 6858000"/>
              <a:gd name="connsiteX355" fmla="*/ 3099978 w 7467600"/>
              <a:gd name="connsiteY355" fmla="*/ 6858000 h 6858000"/>
              <a:gd name="connsiteX356" fmla="*/ 3101556 w 7467600"/>
              <a:gd name="connsiteY356" fmla="*/ 6843337 h 6858000"/>
              <a:gd name="connsiteX357" fmla="*/ 3370162 w 7467600"/>
              <a:gd name="connsiteY357" fmla="*/ 5785550 h 6858000"/>
              <a:gd name="connsiteX358" fmla="*/ 3746477 w 7467600"/>
              <a:gd name="connsiteY358" fmla="*/ 5377889 h 6858000"/>
              <a:gd name="connsiteX359" fmla="*/ 3863399 w 7467600"/>
              <a:gd name="connsiteY359" fmla="*/ 5087257 h 6858000"/>
              <a:gd name="connsiteX360" fmla="*/ 3968712 w 7467600"/>
              <a:gd name="connsiteY360" fmla="*/ 4913989 h 6858000"/>
              <a:gd name="connsiteX361" fmla="*/ 2792390 w 7467600"/>
              <a:gd name="connsiteY361" fmla="*/ 5382974 h 6858000"/>
              <a:gd name="connsiteX362" fmla="*/ 2714982 w 7467600"/>
              <a:gd name="connsiteY362" fmla="*/ 5427051 h 6858000"/>
              <a:gd name="connsiteX363" fmla="*/ 2813361 w 7467600"/>
              <a:gd name="connsiteY363" fmla="*/ 6023912 h 6858000"/>
              <a:gd name="connsiteX364" fmla="*/ 2688430 w 7467600"/>
              <a:gd name="connsiteY364" fmla="*/ 6801564 h 6858000"/>
              <a:gd name="connsiteX365" fmla="*/ 2629626 w 7467600"/>
              <a:gd name="connsiteY365" fmla="*/ 6763394 h 6858000"/>
              <a:gd name="connsiteX366" fmla="*/ 2565328 w 7467600"/>
              <a:gd name="connsiteY366" fmla="*/ 5516399 h 6858000"/>
              <a:gd name="connsiteX367" fmla="*/ 1922999 w 7467600"/>
              <a:gd name="connsiteY367" fmla="*/ 5980343 h 6858000"/>
              <a:gd name="connsiteX368" fmla="*/ 1950261 w 7467600"/>
              <a:gd name="connsiteY368" fmla="*/ 6405858 h 6858000"/>
              <a:gd name="connsiteX369" fmla="*/ 2365554 w 7467600"/>
              <a:gd name="connsiteY369" fmla="*/ 6759107 h 6858000"/>
              <a:gd name="connsiteX370" fmla="*/ 2424142 w 7467600"/>
              <a:gd name="connsiteY370" fmla="*/ 6858000 h 6858000"/>
              <a:gd name="connsiteX371" fmla="*/ 2395994 w 7467600"/>
              <a:gd name="connsiteY371" fmla="*/ 6858000 h 6858000"/>
              <a:gd name="connsiteX372" fmla="*/ 2392863 w 7467600"/>
              <a:gd name="connsiteY372" fmla="*/ 6852964 h 6858000"/>
              <a:gd name="connsiteX373" fmla="*/ 2017589 w 7467600"/>
              <a:gd name="connsiteY373" fmla="*/ 6493982 h 6858000"/>
              <a:gd name="connsiteX374" fmla="*/ 2147336 w 7467600"/>
              <a:gd name="connsiteY374" fmla="*/ 6594052 h 6858000"/>
              <a:gd name="connsiteX375" fmla="*/ 2207047 w 7467600"/>
              <a:gd name="connsiteY375" fmla="*/ 6654540 h 6858000"/>
              <a:gd name="connsiteX376" fmla="*/ 2299106 w 7467600"/>
              <a:gd name="connsiteY376" fmla="*/ 6778931 h 6858000"/>
              <a:gd name="connsiteX377" fmla="*/ 2314430 w 7467600"/>
              <a:gd name="connsiteY377" fmla="*/ 6801144 h 6858000"/>
              <a:gd name="connsiteX378" fmla="*/ 2352406 w 7467600"/>
              <a:gd name="connsiteY378" fmla="*/ 6858000 h 6858000"/>
              <a:gd name="connsiteX379" fmla="*/ 2314492 w 7467600"/>
              <a:gd name="connsiteY379" fmla="*/ 6858000 h 6858000"/>
              <a:gd name="connsiteX380" fmla="*/ 2288095 w 7467600"/>
              <a:gd name="connsiteY380" fmla="*/ 6818030 h 6858000"/>
              <a:gd name="connsiteX381" fmla="*/ 2272768 w 7467600"/>
              <a:gd name="connsiteY381" fmla="*/ 6795822 h 6858000"/>
              <a:gd name="connsiteX382" fmla="*/ 2182715 w 7467600"/>
              <a:gd name="connsiteY382" fmla="*/ 6675071 h 6858000"/>
              <a:gd name="connsiteX383" fmla="*/ 2032061 w 7467600"/>
              <a:gd name="connsiteY383" fmla="*/ 6541380 h 6858000"/>
              <a:gd name="connsiteX384" fmla="*/ 2257220 w 7467600"/>
              <a:gd name="connsiteY384" fmla="*/ 6826257 h 6858000"/>
              <a:gd name="connsiteX385" fmla="*/ 2281324 w 7467600"/>
              <a:gd name="connsiteY385" fmla="*/ 6858000 h 6858000"/>
              <a:gd name="connsiteX386" fmla="*/ 2242860 w 7467600"/>
              <a:gd name="connsiteY386" fmla="*/ 6858000 h 6858000"/>
              <a:gd name="connsiteX387" fmla="*/ 2232818 w 7467600"/>
              <a:gd name="connsiteY387" fmla="*/ 6844926 h 6858000"/>
              <a:gd name="connsiteX388" fmla="*/ 1990172 w 7467600"/>
              <a:gd name="connsiteY388" fmla="*/ 6542121 h 6858000"/>
              <a:gd name="connsiteX389" fmla="*/ 2124090 w 7467600"/>
              <a:gd name="connsiteY389" fmla="*/ 6761017 h 6858000"/>
              <a:gd name="connsiteX390" fmla="*/ 2200380 w 7467600"/>
              <a:gd name="connsiteY390" fmla="*/ 6858000 h 6858000"/>
              <a:gd name="connsiteX391" fmla="*/ 2147507 w 7467600"/>
              <a:gd name="connsiteY391" fmla="*/ 6858000 h 6858000"/>
              <a:gd name="connsiteX392" fmla="*/ 2070668 w 7467600"/>
              <a:gd name="connsiteY392" fmla="*/ 6761520 h 6858000"/>
              <a:gd name="connsiteX393" fmla="*/ 1975142 w 7467600"/>
              <a:gd name="connsiteY393" fmla="*/ 6585570 h 6858000"/>
              <a:gd name="connsiteX394" fmla="*/ 2050035 w 7467600"/>
              <a:gd name="connsiteY394" fmla="*/ 6813345 h 6858000"/>
              <a:gd name="connsiteX395" fmla="*/ 2063025 w 7467600"/>
              <a:gd name="connsiteY395" fmla="*/ 6858000 h 6858000"/>
              <a:gd name="connsiteX396" fmla="*/ 2021675 w 7467600"/>
              <a:gd name="connsiteY396" fmla="*/ 6858000 h 6858000"/>
              <a:gd name="connsiteX397" fmla="*/ 2019308 w 7467600"/>
              <a:gd name="connsiteY397" fmla="*/ 6847118 h 6858000"/>
              <a:gd name="connsiteX398" fmla="*/ 1938835 w 7467600"/>
              <a:gd name="connsiteY398" fmla="*/ 6551160 h 6858000"/>
              <a:gd name="connsiteX399" fmla="*/ 1953230 w 7467600"/>
              <a:gd name="connsiteY399" fmla="*/ 6759699 h 6858000"/>
              <a:gd name="connsiteX400" fmla="*/ 1956763 w 7467600"/>
              <a:gd name="connsiteY400" fmla="*/ 6778191 h 6858000"/>
              <a:gd name="connsiteX401" fmla="*/ 1967925 w 7467600"/>
              <a:gd name="connsiteY401" fmla="*/ 6858000 h 6858000"/>
              <a:gd name="connsiteX402" fmla="*/ 1936622 w 7467600"/>
              <a:gd name="connsiteY402" fmla="*/ 6858000 h 6858000"/>
              <a:gd name="connsiteX403" fmla="*/ 1926261 w 7467600"/>
              <a:gd name="connsiteY403" fmla="*/ 6784064 h 6858000"/>
              <a:gd name="connsiteX404" fmla="*/ 1922724 w 7467600"/>
              <a:gd name="connsiteY404" fmla="*/ 6765577 h 6858000"/>
              <a:gd name="connsiteX405" fmla="*/ 1904650 w 7467600"/>
              <a:gd name="connsiteY405" fmla="*/ 6639616 h 6858000"/>
              <a:gd name="connsiteX406" fmla="*/ 1885273 w 7467600"/>
              <a:gd name="connsiteY406" fmla="*/ 6858000 h 6858000"/>
              <a:gd name="connsiteX407" fmla="*/ 1854363 w 7467600"/>
              <a:gd name="connsiteY407" fmla="*/ 6858000 h 6858000"/>
              <a:gd name="connsiteX408" fmla="*/ 1880391 w 7467600"/>
              <a:gd name="connsiteY408" fmla="*/ 6603796 h 6858000"/>
              <a:gd name="connsiteX409" fmla="*/ 1818273 w 7467600"/>
              <a:gd name="connsiteY409" fmla="*/ 6715729 h 6858000"/>
              <a:gd name="connsiteX410" fmla="*/ 1794691 w 7467600"/>
              <a:gd name="connsiteY410" fmla="*/ 6843239 h 6858000"/>
              <a:gd name="connsiteX411" fmla="*/ 1794914 w 7467600"/>
              <a:gd name="connsiteY411" fmla="*/ 6858000 h 6858000"/>
              <a:gd name="connsiteX412" fmla="*/ 1746128 w 7467600"/>
              <a:gd name="connsiteY412" fmla="*/ 6858000 h 6858000"/>
              <a:gd name="connsiteX413" fmla="*/ 1753934 w 7467600"/>
              <a:gd name="connsiteY413" fmla="*/ 6724796 h 6858000"/>
              <a:gd name="connsiteX414" fmla="*/ 1792053 w 7467600"/>
              <a:gd name="connsiteY414" fmla="*/ 6572396 h 6858000"/>
              <a:gd name="connsiteX415" fmla="*/ 1862248 w 7467600"/>
              <a:gd name="connsiteY415" fmla="*/ 6266397 h 6858000"/>
              <a:gd name="connsiteX416" fmla="*/ 1862250 w 7467600"/>
              <a:gd name="connsiteY416" fmla="*/ 6033531 h 6858000"/>
              <a:gd name="connsiteX417" fmla="*/ 1211999 w 7467600"/>
              <a:gd name="connsiteY417" fmla="*/ 6683610 h 6858000"/>
              <a:gd name="connsiteX418" fmla="*/ 1213266 w 7467600"/>
              <a:gd name="connsiteY418" fmla="*/ 6691947 h 6858000"/>
              <a:gd name="connsiteX419" fmla="*/ 1203370 w 7467600"/>
              <a:gd name="connsiteY419" fmla="*/ 6850676 h 6858000"/>
              <a:gd name="connsiteX420" fmla="*/ 1203671 w 7467600"/>
              <a:gd name="connsiteY420" fmla="*/ 6858000 h 6858000"/>
              <a:gd name="connsiteX421" fmla="*/ 1143180 w 7467600"/>
              <a:gd name="connsiteY421" fmla="*/ 6858000 h 6858000"/>
              <a:gd name="connsiteX422" fmla="*/ 1142176 w 7467600"/>
              <a:gd name="connsiteY422" fmla="*/ 6766045 h 6858000"/>
              <a:gd name="connsiteX423" fmla="*/ 1067484 w 7467600"/>
              <a:gd name="connsiteY423" fmla="*/ 6858000 h 6858000"/>
              <a:gd name="connsiteX424" fmla="*/ 953928 w 7467600"/>
              <a:gd name="connsiteY424" fmla="*/ 6858000 h 6858000"/>
              <a:gd name="connsiteX425" fmla="*/ 959715 w 7467600"/>
              <a:gd name="connsiteY425" fmla="*/ 6850185 h 6858000"/>
              <a:gd name="connsiteX426" fmla="*/ 1483788 w 7467600"/>
              <a:gd name="connsiteY426" fmla="*/ 6259174 h 6858000"/>
              <a:gd name="connsiteX427" fmla="*/ 1100671 w 7467600"/>
              <a:gd name="connsiteY427" fmla="*/ 6252137 h 6858000"/>
              <a:gd name="connsiteX428" fmla="*/ 1090144 w 7467600"/>
              <a:gd name="connsiteY428" fmla="*/ 6256748 h 6858000"/>
              <a:gd name="connsiteX429" fmla="*/ 1095872 w 7467600"/>
              <a:gd name="connsiteY429" fmla="*/ 6271892 h 6858000"/>
              <a:gd name="connsiteX430" fmla="*/ 262785 w 7467600"/>
              <a:gd name="connsiteY430" fmla="*/ 6845450 h 6858000"/>
              <a:gd name="connsiteX431" fmla="*/ 209968 w 7467600"/>
              <a:gd name="connsiteY431" fmla="*/ 6770713 h 6858000"/>
              <a:gd name="connsiteX432" fmla="*/ 873460 w 7467600"/>
              <a:gd name="connsiteY432" fmla="*/ 6253768 h 6858000"/>
              <a:gd name="connsiteX433" fmla="*/ 192686 w 7467600"/>
              <a:gd name="connsiteY433" fmla="*/ 5849257 h 6858000"/>
              <a:gd name="connsiteX434" fmla="*/ 4696 w 7467600"/>
              <a:gd name="connsiteY434" fmla="*/ 5697668 h 6858000"/>
              <a:gd name="connsiteX435" fmla="*/ 0 w 7467600"/>
              <a:gd name="connsiteY435" fmla="*/ 5689984 h 6858000"/>
              <a:gd name="connsiteX436" fmla="*/ 0 w 7467600"/>
              <a:gd name="connsiteY436" fmla="*/ 5513472 h 6858000"/>
              <a:gd name="connsiteX437" fmla="*/ 174101 w 7467600"/>
              <a:gd name="connsiteY437" fmla="*/ 5620277 h 6858000"/>
              <a:gd name="connsiteX438" fmla="*/ 891800 w 7467600"/>
              <a:gd name="connsiteY438" fmla="*/ 6036935 h 6858000"/>
              <a:gd name="connsiteX439" fmla="*/ 1072219 w 7467600"/>
              <a:gd name="connsiteY439" fmla="*/ 6169443 h 6858000"/>
              <a:gd name="connsiteX440" fmla="*/ 1074117 w 7467600"/>
              <a:gd name="connsiteY440" fmla="*/ 6170301 h 6858000"/>
              <a:gd name="connsiteX441" fmla="*/ 1083114 w 7467600"/>
              <a:gd name="connsiteY441" fmla="*/ 6174131 h 6858000"/>
              <a:gd name="connsiteX442" fmla="*/ 1543010 w 7467600"/>
              <a:gd name="connsiteY442" fmla="*/ 6191140 h 6858000"/>
              <a:gd name="connsiteX443" fmla="*/ 1551080 w 7467600"/>
              <a:gd name="connsiteY443" fmla="*/ 6195006 h 6858000"/>
              <a:gd name="connsiteX444" fmla="*/ 2345443 w 7467600"/>
              <a:gd name="connsiteY444" fmla="*/ 5549882 h 6858000"/>
              <a:gd name="connsiteX445" fmla="*/ 1721499 w 7467600"/>
              <a:gd name="connsiteY445" fmla="*/ 5599969 h 6858000"/>
              <a:gd name="connsiteX446" fmla="*/ 767716 w 7467600"/>
              <a:gd name="connsiteY446" fmla="*/ 5472768 h 6858000"/>
              <a:gd name="connsiteX447" fmla="*/ 722147 w 7467600"/>
              <a:gd name="connsiteY447" fmla="*/ 5393091 h 6858000"/>
              <a:gd name="connsiteX448" fmla="*/ 1485552 w 7467600"/>
              <a:gd name="connsiteY448" fmla="*/ 5313202 h 6858000"/>
              <a:gd name="connsiteX449" fmla="*/ 2143004 w 7467600"/>
              <a:gd name="connsiteY449" fmla="*/ 5402420 h 6858000"/>
              <a:gd name="connsiteX450" fmla="*/ 1933391 w 7467600"/>
              <a:gd name="connsiteY450" fmla="*/ 5156971 h 6858000"/>
              <a:gd name="connsiteX451" fmla="*/ 1827118 w 7467600"/>
              <a:gd name="connsiteY451" fmla="*/ 4968410 h 6858000"/>
              <a:gd name="connsiteX452" fmla="*/ 1837349 w 7467600"/>
              <a:gd name="connsiteY452" fmla="*/ 4956357 h 6858000"/>
              <a:gd name="connsiteX453" fmla="*/ 2162835 w 7467600"/>
              <a:gd name="connsiteY453" fmla="*/ 5187853 h 6858000"/>
              <a:gd name="connsiteX454" fmla="*/ 2257167 w 7467600"/>
              <a:gd name="connsiteY454" fmla="*/ 5462123 h 6858000"/>
              <a:gd name="connsiteX455" fmla="*/ 2261598 w 7467600"/>
              <a:gd name="connsiteY455" fmla="*/ 5467998 h 6858000"/>
              <a:gd name="connsiteX456" fmla="*/ 2437177 w 7467600"/>
              <a:gd name="connsiteY456" fmla="*/ 5479608 h 6858000"/>
              <a:gd name="connsiteX457" fmla="*/ 2445247 w 7467600"/>
              <a:gd name="connsiteY457" fmla="*/ 5483476 h 6858000"/>
              <a:gd name="connsiteX458" fmla="*/ 2743626 w 7467600"/>
              <a:gd name="connsiteY458" fmla="*/ 5304819 h 6858000"/>
              <a:gd name="connsiteX459" fmla="*/ 3048102 w 7467600"/>
              <a:gd name="connsiteY459" fmla="*/ 5150595 h 6858000"/>
              <a:gd name="connsiteX460" fmla="*/ 1799414 w 7467600"/>
              <a:gd name="connsiteY460" fmla="*/ 4694732 h 6858000"/>
              <a:gd name="connsiteX461" fmla="*/ 1771735 w 7467600"/>
              <a:gd name="connsiteY461" fmla="*/ 4619929 h 6858000"/>
              <a:gd name="connsiteX462" fmla="*/ 3104273 w 7467600"/>
              <a:gd name="connsiteY462" fmla="*/ 5076159 h 6858000"/>
              <a:gd name="connsiteX463" fmla="*/ 3113245 w 7467600"/>
              <a:gd name="connsiteY463" fmla="*/ 5090705 h 6858000"/>
              <a:gd name="connsiteX464" fmla="*/ 3126294 w 7467600"/>
              <a:gd name="connsiteY464" fmla="*/ 5114400 h 6858000"/>
              <a:gd name="connsiteX465" fmla="*/ 3937433 w 7467600"/>
              <a:gd name="connsiteY465" fmla="*/ 4830473 h 6858000"/>
              <a:gd name="connsiteX466" fmla="*/ 3590475 w 7467600"/>
              <a:gd name="connsiteY466" fmla="*/ 4597974 h 6858000"/>
              <a:gd name="connsiteX467" fmla="*/ 3100264 w 7467600"/>
              <a:gd name="connsiteY467" fmla="*/ 4579845 h 6858000"/>
              <a:gd name="connsiteX468" fmla="*/ 2183576 w 7467600"/>
              <a:gd name="connsiteY468" fmla="*/ 4227150 h 6858000"/>
              <a:gd name="connsiteX469" fmla="*/ 2151029 w 7467600"/>
              <a:gd name="connsiteY469" fmla="*/ 4146947 h 6858000"/>
              <a:gd name="connsiteX470" fmla="*/ 3563434 w 7467600"/>
              <a:gd name="connsiteY470" fmla="*/ 4469115 h 6858000"/>
              <a:gd name="connsiteX471" fmla="*/ 3177952 w 7467600"/>
              <a:gd name="connsiteY471" fmla="*/ 3657386 h 6858000"/>
              <a:gd name="connsiteX472" fmla="*/ 3189263 w 7467600"/>
              <a:gd name="connsiteY472" fmla="*/ 3625726 h 6858000"/>
              <a:gd name="connsiteX473" fmla="*/ 3560912 w 7467600"/>
              <a:gd name="connsiteY473" fmla="*/ 4079863 h 6858000"/>
              <a:gd name="connsiteX474" fmla="*/ 3626636 w 7467600"/>
              <a:gd name="connsiteY474" fmla="*/ 4512230 h 6858000"/>
              <a:gd name="connsiteX475" fmla="*/ 3653088 w 7467600"/>
              <a:gd name="connsiteY475" fmla="*/ 4521417 h 6858000"/>
              <a:gd name="connsiteX476" fmla="*/ 3988128 w 7467600"/>
              <a:gd name="connsiteY476" fmla="*/ 4817267 h 6858000"/>
              <a:gd name="connsiteX477" fmla="*/ 4830582 w 7467600"/>
              <a:gd name="connsiteY477" fmla="*/ 4676000 h 6858000"/>
              <a:gd name="connsiteX478" fmla="*/ 4830100 w 7467600"/>
              <a:gd name="connsiteY478" fmla="*/ 4675554 h 6858000"/>
              <a:gd name="connsiteX479" fmla="*/ 4036318 w 7467600"/>
              <a:gd name="connsiteY479" fmla="*/ 4147013 h 6858000"/>
              <a:gd name="connsiteX480" fmla="*/ 3432098 w 7467600"/>
              <a:gd name="connsiteY480" fmla="*/ 3537312 h 6858000"/>
              <a:gd name="connsiteX481" fmla="*/ 3446761 w 7467600"/>
              <a:gd name="connsiteY481" fmla="*/ 3461278 h 6858000"/>
              <a:gd name="connsiteX482" fmla="*/ 4419733 w 7467600"/>
              <a:gd name="connsiteY482" fmla="*/ 3963555 h 6858000"/>
              <a:gd name="connsiteX483" fmla="*/ 4781371 w 7467600"/>
              <a:gd name="connsiteY483" fmla="*/ 4458604 h 6858000"/>
              <a:gd name="connsiteX484" fmla="*/ 4780440 w 7467600"/>
              <a:gd name="connsiteY484" fmla="*/ 4470290 h 6858000"/>
              <a:gd name="connsiteX485" fmla="*/ 4898954 w 7467600"/>
              <a:gd name="connsiteY485" fmla="*/ 4662092 h 6858000"/>
              <a:gd name="connsiteX486" fmla="*/ 4900699 w 7467600"/>
              <a:gd name="connsiteY486" fmla="*/ 4670867 h 6858000"/>
              <a:gd name="connsiteX487" fmla="*/ 5714511 w 7467600"/>
              <a:gd name="connsiteY487" fmla="*/ 4663483 h 6858000"/>
              <a:gd name="connsiteX488" fmla="*/ 5464793 w 7467600"/>
              <a:gd name="connsiteY488" fmla="*/ 4393556 h 6858000"/>
              <a:gd name="connsiteX489" fmla="*/ 5461897 w 7467600"/>
              <a:gd name="connsiteY489" fmla="*/ 4390879 h 6858000"/>
              <a:gd name="connsiteX490" fmla="*/ 4294126 w 7467600"/>
              <a:gd name="connsiteY490" fmla="*/ 3303048 h 6858000"/>
              <a:gd name="connsiteX491" fmla="*/ 4305321 w 7467600"/>
              <a:gd name="connsiteY491" fmla="*/ 3256953 h 6858000"/>
              <a:gd name="connsiteX492" fmla="*/ 4949299 w 7467600"/>
              <a:gd name="connsiteY492" fmla="*/ 3766336 h 6858000"/>
              <a:gd name="connsiteX493" fmla="*/ 5291452 w 7467600"/>
              <a:gd name="connsiteY493" fmla="*/ 4076801 h 6858000"/>
              <a:gd name="connsiteX494" fmla="*/ 5434998 w 7467600"/>
              <a:gd name="connsiteY494" fmla="*/ 4254100 h 6858000"/>
              <a:gd name="connsiteX495" fmla="*/ 5351015 w 7467600"/>
              <a:gd name="connsiteY495" fmla="*/ 3760989 h 6858000"/>
              <a:gd name="connsiteX496" fmla="*/ 5413780 w 7467600"/>
              <a:gd name="connsiteY496" fmla="*/ 2966265 h 6858000"/>
              <a:gd name="connsiteX497" fmla="*/ 5425627 w 7467600"/>
              <a:gd name="connsiteY497" fmla="*/ 2954192 h 6858000"/>
              <a:gd name="connsiteX498" fmla="*/ 6604735 w 7467600"/>
              <a:gd name="connsiteY498" fmla="*/ 2041381 h 6858000"/>
              <a:gd name="connsiteX499" fmla="*/ 7204487 w 7467600"/>
              <a:gd name="connsiteY499" fmla="*/ 2742112 h 6858000"/>
              <a:gd name="connsiteX500" fmla="*/ 7131592 w 7467600"/>
              <a:gd name="connsiteY500" fmla="*/ 2672096 h 6858000"/>
              <a:gd name="connsiteX501" fmla="*/ 6996344 w 7467600"/>
              <a:gd name="connsiteY501" fmla="*/ 2518310 h 6858000"/>
              <a:gd name="connsiteX502" fmla="*/ 6735495 w 7467600"/>
              <a:gd name="connsiteY502" fmla="*/ 2196890 h 6858000"/>
              <a:gd name="connsiteX503" fmla="*/ 6721901 w 7467600"/>
              <a:gd name="connsiteY503" fmla="*/ 2179274 h 6858000"/>
              <a:gd name="connsiteX504" fmla="*/ 6604735 w 7467600"/>
              <a:gd name="connsiteY504" fmla="*/ 2041381 h 6858000"/>
              <a:gd name="connsiteX505" fmla="*/ 6591670 w 7467600"/>
              <a:gd name="connsiteY505" fmla="*/ 1988277 h 6858000"/>
              <a:gd name="connsiteX506" fmla="*/ 6747349 w 7467600"/>
              <a:gd name="connsiteY506" fmla="*/ 2160069 h 6858000"/>
              <a:gd name="connsiteX507" fmla="*/ 6760943 w 7467600"/>
              <a:gd name="connsiteY507" fmla="*/ 2177686 h 6858000"/>
              <a:gd name="connsiteX508" fmla="*/ 7021065 w 7467600"/>
              <a:gd name="connsiteY508" fmla="*/ 2498102 h 6858000"/>
              <a:gd name="connsiteX509" fmla="*/ 7155223 w 7467600"/>
              <a:gd name="connsiteY509" fmla="*/ 2650386 h 6858000"/>
              <a:gd name="connsiteX510" fmla="*/ 7203167 w 7467600"/>
              <a:gd name="connsiteY510" fmla="*/ 2697288 h 6858000"/>
              <a:gd name="connsiteX511" fmla="*/ 6937703 w 7467600"/>
              <a:gd name="connsiteY511" fmla="*/ 2321981 h 6858000"/>
              <a:gd name="connsiteX512" fmla="*/ 6591670 w 7467600"/>
              <a:gd name="connsiteY512" fmla="*/ 1988277 h 6858000"/>
              <a:gd name="connsiteX513" fmla="*/ 5798671 w 7467600"/>
              <a:gd name="connsiteY513" fmla="*/ 1981601 h 6858000"/>
              <a:gd name="connsiteX514" fmla="*/ 5754709 w 7467600"/>
              <a:gd name="connsiteY514" fmla="*/ 2071454 h 6858000"/>
              <a:gd name="connsiteX515" fmla="*/ 5763044 w 7467600"/>
              <a:gd name="connsiteY515" fmla="*/ 2842206 h 6858000"/>
              <a:gd name="connsiteX516" fmla="*/ 5764974 w 7467600"/>
              <a:gd name="connsiteY516" fmla="*/ 2799609 h 6858000"/>
              <a:gd name="connsiteX517" fmla="*/ 5767665 w 7467600"/>
              <a:gd name="connsiteY517" fmla="*/ 2666409 h 6858000"/>
              <a:gd name="connsiteX518" fmla="*/ 5763055 w 7467600"/>
              <a:gd name="connsiteY518" fmla="*/ 2579705 h 6858000"/>
              <a:gd name="connsiteX519" fmla="*/ 5758079 w 7467600"/>
              <a:gd name="connsiteY519" fmla="*/ 2492508 h 6858000"/>
              <a:gd name="connsiteX520" fmla="*/ 5779325 w 7467600"/>
              <a:gd name="connsiteY520" fmla="*/ 2197069 h 6858000"/>
              <a:gd name="connsiteX521" fmla="*/ 5798671 w 7467600"/>
              <a:gd name="connsiteY521" fmla="*/ 1981601 h 6858000"/>
              <a:gd name="connsiteX522" fmla="*/ 5829202 w 7467600"/>
              <a:gd name="connsiteY522" fmla="*/ 1971679 h 6858000"/>
              <a:gd name="connsiteX523" fmla="*/ 5809558 w 7467600"/>
              <a:gd name="connsiteY523" fmla="*/ 2198043 h 6858000"/>
              <a:gd name="connsiteX524" fmla="*/ 5788653 w 7467600"/>
              <a:gd name="connsiteY524" fmla="*/ 2489430 h 6858000"/>
              <a:gd name="connsiteX525" fmla="*/ 5793439 w 7467600"/>
              <a:gd name="connsiteY525" fmla="*/ 2575235 h 6858000"/>
              <a:gd name="connsiteX526" fmla="*/ 5796837 w 7467600"/>
              <a:gd name="connsiteY526" fmla="*/ 2637633 h 6858000"/>
              <a:gd name="connsiteX527" fmla="*/ 5818614 w 7467600"/>
              <a:gd name="connsiteY527" fmla="*/ 2473055 h 6858000"/>
              <a:gd name="connsiteX528" fmla="*/ 5829202 w 7467600"/>
              <a:gd name="connsiteY528" fmla="*/ 1971679 h 6858000"/>
              <a:gd name="connsiteX529" fmla="*/ 5911389 w 7467600"/>
              <a:gd name="connsiteY529" fmla="*/ 1898371 h 6858000"/>
              <a:gd name="connsiteX530" fmla="*/ 6237627 w 7467600"/>
              <a:gd name="connsiteY530" fmla="*/ 2231921 h 6858000"/>
              <a:gd name="connsiteX531" fmla="*/ 5911389 w 7467600"/>
              <a:gd name="connsiteY531" fmla="*/ 1898371 h 6858000"/>
              <a:gd name="connsiteX532" fmla="*/ 6944437 w 7467600"/>
              <a:gd name="connsiteY532" fmla="*/ 1575402 h 6858000"/>
              <a:gd name="connsiteX533" fmla="*/ 6304730 w 7467600"/>
              <a:gd name="connsiteY533" fmla="*/ 1766654 h 6858000"/>
              <a:gd name="connsiteX534" fmla="*/ 6944437 w 7467600"/>
              <a:gd name="connsiteY534" fmla="*/ 1575402 h 6858000"/>
              <a:gd name="connsiteX535" fmla="*/ 7019523 w 7467600"/>
              <a:gd name="connsiteY535" fmla="*/ 1519450 h 6858000"/>
              <a:gd name="connsiteX536" fmla="*/ 6298091 w 7467600"/>
              <a:gd name="connsiteY536" fmla="*/ 1737122 h 6858000"/>
              <a:gd name="connsiteX537" fmla="*/ 7019523 w 7467600"/>
              <a:gd name="connsiteY537" fmla="*/ 1519450 h 6858000"/>
              <a:gd name="connsiteX538" fmla="*/ 2399523 w 7467600"/>
              <a:gd name="connsiteY538" fmla="*/ 1428234 h 6858000"/>
              <a:gd name="connsiteX539" fmla="*/ 2224982 w 7467600"/>
              <a:gd name="connsiteY539" fmla="*/ 1826201 h 6858000"/>
              <a:gd name="connsiteX540" fmla="*/ 2096099 w 7467600"/>
              <a:gd name="connsiteY540" fmla="*/ 2345900 h 6858000"/>
              <a:gd name="connsiteX541" fmla="*/ 2283317 w 7467600"/>
              <a:gd name="connsiteY541" fmla="*/ 1796925 h 6858000"/>
              <a:gd name="connsiteX542" fmla="*/ 2399523 w 7467600"/>
              <a:gd name="connsiteY542" fmla="*/ 1428234 h 6858000"/>
              <a:gd name="connsiteX543" fmla="*/ 2448558 w 7467600"/>
              <a:gd name="connsiteY543" fmla="*/ 1373435 h 6858000"/>
              <a:gd name="connsiteX544" fmla="*/ 2312521 w 7467600"/>
              <a:gd name="connsiteY544" fmla="*/ 1806140 h 6858000"/>
              <a:gd name="connsiteX545" fmla="*/ 2127533 w 7467600"/>
              <a:gd name="connsiteY545" fmla="*/ 2348380 h 6858000"/>
              <a:gd name="connsiteX546" fmla="*/ 2358080 w 7467600"/>
              <a:gd name="connsiteY546" fmla="*/ 1866134 h 6858000"/>
              <a:gd name="connsiteX547" fmla="*/ 2407436 w 7467600"/>
              <a:gd name="connsiteY547" fmla="*/ 1651070 h 6858000"/>
              <a:gd name="connsiteX548" fmla="*/ 2448558 w 7467600"/>
              <a:gd name="connsiteY548" fmla="*/ 1373435 h 6858000"/>
              <a:gd name="connsiteX549" fmla="*/ 278707 w 7467600"/>
              <a:gd name="connsiteY549" fmla="*/ 1352270 h 6858000"/>
              <a:gd name="connsiteX550" fmla="*/ 321570 w 7467600"/>
              <a:gd name="connsiteY550" fmla="*/ 1861610 h 6858000"/>
              <a:gd name="connsiteX551" fmla="*/ 294281 w 7467600"/>
              <a:gd name="connsiteY551" fmla="*/ 1440658 h 6858000"/>
              <a:gd name="connsiteX552" fmla="*/ 278707 w 7467600"/>
              <a:gd name="connsiteY552" fmla="*/ 1352270 h 6858000"/>
              <a:gd name="connsiteX553" fmla="*/ 1423821 w 7467600"/>
              <a:gd name="connsiteY553" fmla="*/ 1351958 h 6858000"/>
              <a:gd name="connsiteX554" fmla="*/ 1638521 w 7467600"/>
              <a:gd name="connsiteY554" fmla="*/ 1908470 h 6858000"/>
              <a:gd name="connsiteX555" fmla="*/ 1754199 w 7467600"/>
              <a:gd name="connsiteY555" fmla="*/ 2149284 h 6858000"/>
              <a:gd name="connsiteX556" fmla="*/ 1908359 w 7467600"/>
              <a:gd name="connsiteY556" fmla="*/ 2364988 h 6858000"/>
              <a:gd name="connsiteX557" fmla="*/ 1647661 w 7467600"/>
              <a:gd name="connsiteY557" fmla="*/ 1825945 h 6858000"/>
              <a:gd name="connsiteX558" fmla="*/ 1423821 w 7467600"/>
              <a:gd name="connsiteY558" fmla="*/ 1351958 h 6858000"/>
              <a:gd name="connsiteX559" fmla="*/ 1431890 w 7467600"/>
              <a:gd name="connsiteY559" fmla="*/ 1306475 h 6858000"/>
              <a:gd name="connsiteX560" fmla="*/ 1507597 w 7467600"/>
              <a:gd name="connsiteY560" fmla="*/ 1446132 h 6858000"/>
              <a:gd name="connsiteX561" fmla="*/ 1674586 w 7467600"/>
              <a:gd name="connsiteY561" fmla="*/ 1813832 h 6858000"/>
              <a:gd name="connsiteX562" fmla="*/ 1815950 w 7467600"/>
              <a:gd name="connsiteY562" fmla="*/ 2128564 h 6858000"/>
              <a:gd name="connsiteX563" fmla="*/ 1984242 w 7467600"/>
              <a:gd name="connsiteY563" fmla="*/ 2430829 h 6858000"/>
              <a:gd name="connsiteX564" fmla="*/ 2014023 w 7467600"/>
              <a:gd name="connsiteY564" fmla="*/ 2450995 h 6858000"/>
              <a:gd name="connsiteX565" fmla="*/ 1747337 w 7467600"/>
              <a:gd name="connsiteY565" fmla="*/ 1855264 h 6858000"/>
              <a:gd name="connsiteX566" fmla="*/ 1533749 w 7467600"/>
              <a:gd name="connsiteY566" fmla="*/ 1478656 h 6858000"/>
              <a:gd name="connsiteX567" fmla="*/ 1431890 w 7467600"/>
              <a:gd name="connsiteY567" fmla="*/ 1306475 h 6858000"/>
              <a:gd name="connsiteX568" fmla="*/ 5052692 w 7467600"/>
              <a:gd name="connsiteY568" fmla="*/ 1292994 h 6858000"/>
              <a:gd name="connsiteX569" fmla="*/ 5200661 w 7467600"/>
              <a:gd name="connsiteY569" fmla="*/ 1635186 h 6858000"/>
              <a:gd name="connsiteX570" fmla="*/ 5297138 w 7467600"/>
              <a:gd name="connsiteY570" fmla="*/ 1906351 h 6858000"/>
              <a:gd name="connsiteX571" fmla="*/ 5052692 w 7467600"/>
              <a:gd name="connsiteY571" fmla="*/ 1292994 h 6858000"/>
              <a:gd name="connsiteX572" fmla="*/ 5009948 w 7467600"/>
              <a:gd name="connsiteY572" fmla="*/ 1273619 h 6858000"/>
              <a:gd name="connsiteX573" fmla="*/ 5121777 w 7467600"/>
              <a:gd name="connsiteY573" fmla="*/ 1654213 h 6858000"/>
              <a:gd name="connsiteX574" fmla="*/ 5293545 w 7467600"/>
              <a:gd name="connsiteY574" fmla="*/ 2072247 h 6858000"/>
              <a:gd name="connsiteX575" fmla="*/ 5294042 w 7467600"/>
              <a:gd name="connsiteY575" fmla="*/ 2065019 h 6858000"/>
              <a:gd name="connsiteX576" fmla="*/ 5171936 w 7467600"/>
              <a:gd name="connsiteY576" fmla="*/ 1647613 h 6858000"/>
              <a:gd name="connsiteX577" fmla="*/ 5009948 w 7467600"/>
              <a:gd name="connsiteY577" fmla="*/ 1273619 h 6858000"/>
              <a:gd name="connsiteX578" fmla="*/ 655236 w 7467600"/>
              <a:gd name="connsiteY578" fmla="*/ 1268632 h 6858000"/>
              <a:gd name="connsiteX579" fmla="*/ 839521 w 7467600"/>
              <a:gd name="connsiteY579" fmla="*/ 1685315 h 6858000"/>
              <a:gd name="connsiteX580" fmla="*/ 1109416 w 7467600"/>
              <a:gd name="connsiteY580" fmla="*/ 2061663 h 6858000"/>
              <a:gd name="connsiteX581" fmla="*/ 1298300 w 7467600"/>
              <a:gd name="connsiteY581" fmla="*/ 2247742 h 6858000"/>
              <a:gd name="connsiteX582" fmla="*/ 1125871 w 7467600"/>
              <a:gd name="connsiteY582" fmla="*/ 1989513 h 6858000"/>
              <a:gd name="connsiteX583" fmla="*/ 981574 w 7467600"/>
              <a:gd name="connsiteY583" fmla="*/ 1783157 h 6858000"/>
              <a:gd name="connsiteX584" fmla="*/ 922198 w 7467600"/>
              <a:gd name="connsiteY584" fmla="*/ 1677437 h 6858000"/>
              <a:gd name="connsiteX585" fmla="*/ 869293 w 7467600"/>
              <a:gd name="connsiteY585" fmla="*/ 1583214 h 6858000"/>
              <a:gd name="connsiteX586" fmla="*/ 751431 w 7467600"/>
              <a:gd name="connsiteY586" fmla="*/ 1405731 h 6858000"/>
              <a:gd name="connsiteX587" fmla="*/ 655236 w 7467600"/>
              <a:gd name="connsiteY587" fmla="*/ 1268632 h 6858000"/>
              <a:gd name="connsiteX588" fmla="*/ 6516292 w 7467600"/>
              <a:gd name="connsiteY588" fmla="*/ 1263064 h 6858000"/>
              <a:gd name="connsiteX589" fmla="*/ 5736320 w 7467600"/>
              <a:gd name="connsiteY589" fmla="*/ 1501803 h 6858000"/>
              <a:gd name="connsiteX590" fmla="*/ 6516292 w 7467600"/>
              <a:gd name="connsiteY590" fmla="*/ 1263064 h 6858000"/>
              <a:gd name="connsiteX591" fmla="*/ 291466 w 7467600"/>
              <a:gd name="connsiteY591" fmla="*/ 1250369 h 6858000"/>
              <a:gd name="connsiteX592" fmla="*/ 323180 w 7467600"/>
              <a:gd name="connsiteY592" fmla="*/ 1435283 h 6858000"/>
              <a:gd name="connsiteX593" fmla="*/ 349381 w 7467600"/>
              <a:gd name="connsiteY593" fmla="*/ 1875041 h 6858000"/>
              <a:gd name="connsiteX594" fmla="*/ 374363 w 7467600"/>
              <a:gd name="connsiteY594" fmla="*/ 1506494 h 6858000"/>
              <a:gd name="connsiteX595" fmla="*/ 302168 w 7467600"/>
              <a:gd name="connsiteY595" fmla="*/ 1274495 h 6858000"/>
              <a:gd name="connsiteX596" fmla="*/ 291466 w 7467600"/>
              <a:gd name="connsiteY596" fmla="*/ 1250369 h 6858000"/>
              <a:gd name="connsiteX597" fmla="*/ 678222 w 7467600"/>
              <a:gd name="connsiteY597" fmla="*/ 1248670 h 6858000"/>
              <a:gd name="connsiteX598" fmla="*/ 775536 w 7467600"/>
              <a:gd name="connsiteY598" fmla="*/ 1388015 h 6858000"/>
              <a:gd name="connsiteX599" fmla="*/ 894529 w 7467600"/>
              <a:gd name="connsiteY599" fmla="*/ 1567739 h 6858000"/>
              <a:gd name="connsiteX600" fmla="*/ 948000 w 7467600"/>
              <a:gd name="connsiteY600" fmla="*/ 1663088 h 6858000"/>
              <a:gd name="connsiteX601" fmla="*/ 1006812 w 7467600"/>
              <a:gd name="connsiteY601" fmla="*/ 1767683 h 6858000"/>
              <a:gd name="connsiteX602" fmla="*/ 1149133 w 7467600"/>
              <a:gd name="connsiteY602" fmla="*/ 1971513 h 6858000"/>
              <a:gd name="connsiteX603" fmla="*/ 1333952 w 7467600"/>
              <a:gd name="connsiteY603" fmla="*/ 2251620 h 6858000"/>
              <a:gd name="connsiteX604" fmla="*/ 1337329 w 7467600"/>
              <a:gd name="connsiteY604" fmla="*/ 2258350 h 6858000"/>
              <a:gd name="connsiteX605" fmla="*/ 1014726 w 7467600"/>
              <a:gd name="connsiteY605" fmla="*/ 1615556 h 6858000"/>
              <a:gd name="connsiteX606" fmla="*/ 678222 w 7467600"/>
              <a:gd name="connsiteY606" fmla="*/ 1248670 h 6858000"/>
              <a:gd name="connsiteX607" fmla="*/ 6691602 w 7467600"/>
              <a:gd name="connsiteY607" fmla="*/ 1140573 h 6858000"/>
              <a:gd name="connsiteX608" fmla="*/ 6571100 w 7467600"/>
              <a:gd name="connsiteY608" fmla="*/ 1183662 h 6858000"/>
              <a:gd name="connsiteX609" fmla="*/ 6241687 w 7467600"/>
              <a:gd name="connsiteY609" fmla="*/ 1257600 h 6858000"/>
              <a:gd name="connsiteX610" fmla="*/ 5693009 w 7467600"/>
              <a:gd name="connsiteY610" fmla="*/ 1478256 h 6858000"/>
              <a:gd name="connsiteX611" fmla="*/ 6548420 w 7467600"/>
              <a:gd name="connsiteY611" fmla="*/ 1214599 h 6858000"/>
              <a:gd name="connsiteX612" fmla="*/ 6605473 w 7467600"/>
              <a:gd name="connsiteY612" fmla="*/ 1184686 h 6858000"/>
              <a:gd name="connsiteX613" fmla="*/ 6691602 w 7467600"/>
              <a:gd name="connsiteY613" fmla="*/ 1140573 h 6858000"/>
              <a:gd name="connsiteX614" fmla="*/ 4002475 w 7467600"/>
              <a:gd name="connsiteY614" fmla="*/ 1037802 h 6858000"/>
              <a:gd name="connsiteX615" fmla="*/ 4000324 w 7467600"/>
              <a:gd name="connsiteY615" fmla="*/ 1039362 h 6858000"/>
              <a:gd name="connsiteX616" fmla="*/ 4002862 w 7467600"/>
              <a:gd name="connsiteY616" fmla="*/ 1042866 h 6858000"/>
              <a:gd name="connsiteX617" fmla="*/ 4002475 w 7467600"/>
              <a:gd name="connsiteY617" fmla="*/ 1037802 h 6858000"/>
              <a:gd name="connsiteX618" fmla="*/ 506322 w 7467600"/>
              <a:gd name="connsiteY618" fmla="*/ 1020997 h 6858000"/>
              <a:gd name="connsiteX619" fmla="*/ 533068 w 7467600"/>
              <a:gd name="connsiteY619" fmla="*/ 1029409 h 6858000"/>
              <a:gd name="connsiteX620" fmla="*/ 1232525 w 7467600"/>
              <a:gd name="connsiteY620" fmla="*/ 1804675 h 6858000"/>
              <a:gd name="connsiteX621" fmla="*/ 1388858 w 7467600"/>
              <a:gd name="connsiteY621" fmla="*/ 2368011 h 6858000"/>
              <a:gd name="connsiteX622" fmla="*/ 1384098 w 7467600"/>
              <a:gd name="connsiteY622" fmla="*/ 2378125 h 6858000"/>
              <a:gd name="connsiteX623" fmla="*/ 1425393 w 7467600"/>
              <a:gd name="connsiteY623" fmla="*/ 2589124 h 6858000"/>
              <a:gd name="connsiteX624" fmla="*/ 1424001 w 7467600"/>
              <a:gd name="connsiteY624" fmla="*/ 2597541 h 6858000"/>
              <a:gd name="connsiteX625" fmla="*/ 2152729 w 7467600"/>
              <a:gd name="connsiteY625" fmla="*/ 2864487 h 6858000"/>
              <a:gd name="connsiteX626" fmla="*/ 2020609 w 7467600"/>
              <a:gd name="connsiteY626" fmla="*/ 2539671 h 6858000"/>
              <a:gd name="connsiteX627" fmla="*/ 2018920 w 7467600"/>
              <a:gd name="connsiteY627" fmla="*/ 2536309 h 6858000"/>
              <a:gd name="connsiteX628" fmla="*/ 1342441 w 7467600"/>
              <a:gd name="connsiteY628" fmla="*/ 1173017 h 6858000"/>
              <a:gd name="connsiteX629" fmla="*/ 1367925 w 7467600"/>
              <a:gd name="connsiteY629" fmla="*/ 1135648 h 6858000"/>
              <a:gd name="connsiteX630" fmla="*/ 1771401 w 7467600"/>
              <a:gd name="connsiteY630" fmla="*/ 1806673 h 6858000"/>
              <a:gd name="connsiteX631" fmla="*/ 1972385 w 7467600"/>
              <a:gd name="connsiteY631" fmla="*/ 2198735 h 6858000"/>
              <a:gd name="connsiteX632" fmla="*/ 2040892 w 7467600"/>
              <a:gd name="connsiteY632" fmla="*/ 2405205 h 6858000"/>
              <a:gd name="connsiteX633" fmla="*/ 2131689 w 7467600"/>
              <a:gd name="connsiteY633" fmla="*/ 1936926 h 6858000"/>
              <a:gd name="connsiteX634" fmla="*/ 2454820 w 7467600"/>
              <a:gd name="connsiteY634" fmla="*/ 1248808 h 6858000"/>
              <a:gd name="connsiteX635" fmla="*/ 2492512 w 7467600"/>
              <a:gd name="connsiteY635" fmla="*/ 1302920 h 6858000"/>
              <a:gd name="connsiteX636" fmla="*/ 2081216 w 7467600"/>
              <a:gd name="connsiteY636" fmla="*/ 2527513 h 6858000"/>
              <a:gd name="connsiteX637" fmla="*/ 2081211 w 7467600"/>
              <a:gd name="connsiteY637" fmla="*/ 2528916 h 6858000"/>
              <a:gd name="connsiteX638" fmla="*/ 2199067 w 7467600"/>
              <a:gd name="connsiteY638" fmla="*/ 2884061 h 6858000"/>
              <a:gd name="connsiteX639" fmla="*/ 3192586 w 7467600"/>
              <a:gd name="connsiteY639" fmla="*/ 3411496 h 6858000"/>
              <a:gd name="connsiteX640" fmla="*/ 3182620 w 7467600"/>
              <a:gd name="connsiteY640" fmla="*/ 3483279 h 6858000"/>
              <a:gd name="connsiteX641" fmla="*/ 2435119 w 7467600"/>
              <a:gd name="connsiteY641" fmla="*/ 3080173 h 6858000"/>
              <a:gd name="connsiteX642" fmla="*/ 2410152 w 7467600"/>
              <a:gd name="connsiteY642" fmla="*/ 3063751 h 6858000"/>
              <a:gd name="connsiteX643" fmla="*/ 2408099 w 7467600"/>
              <a:gd name="connsiteY643" fmla="*/ 3064403 h 6858000"/>
              <a:gd name="connsiteX644" fmla="*/ 2407218 w 7467600"/>
              <a:gd name="connsiteY644" fmla="*/ 3070324 h 6858000"/>
              <a:gd name="connsiteX645" fmla="*/ 2380138 w 7467600"/>
              <a:gd name="connsiteY645" fmla="*/ 3099341 h 6858000"/>
              <a:gd name="connsiteX646" fmla="*/ 1765923 w 7467600"/>
              <a:gd name="connsiteY646" fmla="*/ 3581043 h 6858000"/>
              <a:gd name="connsiteX647" fmla="*/ 1702258 w 7467600"/>
              <a:gd name="connsiteY647" fmla="*/ 3612286 h 6858000"/>
              <a:gd name="connsiteX648" fmla="*/ 1538370 w 7467600"/>
              <a:gd name="connsiteY648" fmla="*/ 3811804 h 6858000"/>
              <a:gd name="connsiteX649" fmla="*/ 542867 w 7467600"/>
              <a:gd name="connsiteY649" fmla="*/ 4944092 h 6858000"/>
              <a:gd name="connsiteX650" fmla="*/ 515800 w 7467600"/>
              <a:gd name="connsiteY650" fmla="*/ 4862180 h 6858000"/>
              <a:gd name="connsiteX651" fmla="*/ 909145 w 7467600"/>
              <a:gd name="connsiteY651" fmla="*/ 4199225 h 6858000"/>
              <a:gd name="connsiteX652" fmla="*/ 1214067 w 7467600"/>
              <a:gd name="connsiteY652" fmla="*/ 3908561 h 6858000"/>
              <a:gd name="connsiteX653" fmla="*/ 640967 w 7467600"/>
              <a:gd name="connsiteY653" fmla="*/ 4105601 h 6858000"/>
              <a:gd name="connsiteX654" fmla="*/ 112563 w 7467600"/>
              <a:gd name="connsiteY654" fmla="*/ 4396952 h 6858000"/>
              <a:gd name="connsiteX655" fmla="*/ 0 w 7467600"/>
              <a:gd name="connsiteY655" fmla="*/ 4466006 h 6858000"/>
              <a:gd name="connsiteX656" fmla="*/ 0 w 7467600"/>
              <a:gd name="connsiteY656" fmla="*/ 4233763 h 6858000"/>
              <a:gd name="connsiteX657" fmla="*/ 36881 w 7467600"/>
              <a:gd name="connsiteY657" fmla="*/ 4200118 h 6858000"/>
              <a:gd name="connsiteX658" fmla="*/ 910534 w 7467600"/>
              <a:gd name="connsiteY658" fmla="*/ 3629753 h 6858000"/>
              <a:gd name="connsiteX659" fmla="*/ 1578717 w 7467600"/>
              <a:gd name="connsiteY659" fmla="*/ 3575982 h 6858000"/>
              <a:gd name="connsiteX660" fmla="*/ 2338780 w 7467600"/>
              <a:gd name="connsiteY660" fmla="*/ 3033725 h 6858000"/>
              <a:gd name="connsiteX661" fmla="*/ 1807991 w 7467600"/>
              <a:gd name="connsiteY661" fmla="*/ 2807184 h 6858000"/>
              <a:gd name="connsiteX662" fmla="*/ 1416358 w 7467600"/>
              <a:gd name="connsiteY662" fmla="*/ 3112571 h 6858000"/>
              <a:gd name="connsiteX663" fmla="*/ 939066 w 7467600"/>
              <a:gd name="connsiteY663" fmla="*/ 3378798 h 6858000"/>
              <a:gd name="connsiteX664" fmla="*/ 115099 w 7467600"/>
              <a:gd name="connsiteY664" fmla="*/ 3607650 h 6858000"/>
              <a:gd name="connsiteX665" fmla="*/ 97284 w 7467600"/>
              <a:gd name="connsiteY665" fmla="*/ 3520393 h 6858000"/>
              <a:gd name="connsiteX666" fmla="*/ 922050 w 7467600"/>
              <a:gd name="connsiteY666" fmla="*/ 3074867 h 6858000"/>
              <a:gd name="connsiteX667" fmla="*/ 1405265 w 7467600"/>
              <a:gd name="connsiteY667" fmla="*/ 3016319 h 6858000"/>
              <a:gd name="connsiteX668" fmla="*/ 1407512 w 7467600"/>
              <a:gd name="connsiteY668" fmla="*/ 3018001 h 6858000"/>
              <a:gd name="connsiteX669" fmla="*/ 1726266 w 7467600"/>
              <a:gd name="connsiteY669" fmla="*/ 2777274 h 6858000"/>
              <a:gd name="connsiteX670" fmla="*/ 625390 w 7467600"/>
              <a:gd name="connsiteY670" fmla="*/ 2514541 h 6858000"/>
              <a:gd name="connsiteX671" fmla="*/ 619799 w 7467600"/>
              <a:gd name="connsiteY671" fmla="*/ 2527180 h 6858000"/>
              <a:gd name="connsiteX672" fmla="*/ 310030 w 7467600"/>
              <a:gd name="connsiteY672" fmla="*/ 2771818 h 6858000"/>
              <a:gd name="connsiteX673" fmla="*/ 173877 w 7467600"/>
              <a:gd name="connsiteY673" fmla="*/ 2937056 h 6858000"/>
              <a:gd name="connsiteX674" fmla="*/ 77889 w 7467600"/>
              <a:gd name="connsiteY674" fmla="*/ 3138440 h 6858000"/>
              <a:gd name="connsiteX675" fmla="*/ 0 w 7467600"/>
              <a:gd name="connsiteY675" fmla="*/ 3271395 h 6858000"/>
              <a:gd name="connsiteX676" fmla="*/ 0 w 7467600"/>
              <a:gd name="connsiteY676" fmla="*/ 3153002 h 6858000"/>
              <a:gd name="connsiteX677" fmla="*/ 2386 w 7467600"/>
              <a:gd name="connsiteY677" fmla="*/ 3149203 h 6858000"/>
              <a:gd name="connsiteX678" fmla="*/ 89753 w 7467600"/>
              <a:gd name="connsiteY678" fmla="*/ 2987702 h 6858000"/>
              <a:gd name="connsiteX679" fmla="*/ 76869 w 7467600"/>
              <a:gd name="connsiteY679" fmla="*/ 3005404 h 6858000"/>
              <a:gd name="connsiteX680" fmla="*/ 32049 w 7467600"/>
              <a:gd name="connsiteY680" fmla="*/ 3065814 h 6858000"/>
              <a:gd name="connsiteX681" fmla="*/ 0 w 7467600"/>
              <a:gd name="connsiteY681" fmla="*/ 3108744 h 6858000"/>
              <a:gd name="connsiteX682" fmla="*/ 0 w 7467600"/>
              <a:gd name="connsiteY682" fmla="*/ 3058059 h 6858000"/>
              <a:gd name="connsiteX683" fmla="*/ 7610 w 7467600"/>
              <a:gd name="connsiteY683" fmla="*/ 3047889 h 6858000"/>
              <a:gd name="connsiteX684" fmla="*/ 52419 w 7467600"/>
              <a:gd name="connsiteY684" fmla="*/ 2987479 h 6858000"/>
              <a:gd name="connsiteX685" fmla="*/ 59142 w 7467600"/>
              <a:gd name="connsiteY685" fmla="*/ 2978488 h 6858000"/>
              <a:gd name="connsiteX686" fmla="*/ 0 w 7467600"/>
              <a:gd name="connsiteY686" fmla="*/ 3015334 h 6858000"/>
              <a:gd name="connsiteX687" fmla="*/ 0 w 7467600"/>
              <a:gd name="connsiteY687" fmla="*/ 2914286 h 6858000"/>
              <a:gd name="connsiteX688" fmla="*/ 36383 w 7467600"/>
              <a:gd name="connsiteY688" fmla="*/ 2901128 h 6858000"/>
              <a:gd name="connsiteX689" fmla="*/ 156329 w 7467600"/>
              <a:gd name="connsiteY689" fmla="*/ 2840533 h 6858000"/>
              <a:gd name="connsiteX690" fmla="*/ 358355 w 7467600"/>
              <a:gd name="connsiteY690" fmla="*/ 2620471 h 6858000"/>
              <a:gd name="connsiteX691" fmla="*/ 510577 w 7467600"/>
              <a:gd name="connsiteY691" fmla="*/ 2501244 h 6858000"/>
              <a:gd name="connsiteX692" fmla="*/ 211967 w 7467600"/>
              <a:gd name="connsiteY692" fmla="*/ 2479171 h 6858000"/>
              <a:gd name="connsiteX693" fmla="*/ 0 w 7467600"/>
              <a:gd name="connsiteY693" fmla="*/ 2476398 h 6858000"/>
              <a:gd name="connsiteX694" fmla="*/ 0 w 7467600"/>
              <a:gd name="connsiteY694" fmla="*/ 2389189 h 6858000"/>
              <a:gd name="connsiteX695" fmla="*/ 103062 w 7467600"/>
              <a:gd name="connsiteY695" fmla="*/ 2389518 h 6858000"/>
              <a:gd name="connsiteX696" fmla="*/ 510734 w 7467600"/>
              <a:gd name="connsiteY696" fmla="*/ 2416201 h 6858000"/>
              <a:gd name="connsiteX697" fmla="*/ 279257 w 7467600"/>
              <a:gd name="connsiteY697" fmla="*/ 2092102 h 6858000"/>
              <a:gd name="connsiteX698" fmla="*/ 65265 w 7467600"/>
              <a:gd name="connsiteY698" fmla="*/ 2006049 h 6858000"/>
              <a:gd name="connsiteX699" fmla="*/ 0 w 7467600"/>
              <a:gd name="connsiteY699" fmla="*/ 1982532 h 6858000"/>
              <a:gd name="connsiteX700" fmla="*/ 0 w 7467600"/>
              <a:gd name="connsiteY700" fmla="*/ 1912789 h 6858000"/>
              <a:gd name="connsiteX701" fmla="*/ 97460 w 7467600"/>
              <a:gd name="connsiteY701" fmla="*/ 1953725 h 6858000"/>
              <a:gd name="connsiteX702" fmla="*/ 221272 w 7467600"/>
              <a:gd name="connsiteY702" fmla="*/ 1980766 h 6858000"/>
              <a:gd name="connsiteX703" fmla="*/ 116765 w 7467600"/>
              <a:gd name="connsiteY703" fmla="*/ 1911033 h 6858000"/>
              <a:gd name="connsiteX704" fmla="*/ 16405 w 7467600"/>
              <a:gd name="connsiteY704" fmla="*/ 1803412 h 6858000"/>
              <a:gd name="connsiteX705" fmla="*/ 0 w 7467600"/>
              <a:gd name="connsiteY705" fmla="*/ 1784777 h 6858000"/>
              <a:gd name="connsiteX706" fmla="*/ 0 w 7467600"/>
              <a:gd name="connsiteY706" fmla="*/ 1740082 h 6858000"/>
              <a:gd name="connsiteX707" fmla="*/ 39394 w 7467600"/>
              <a:gd name="connsiteY707" fmla="*/ 1784856 h 6858000"/>
              <a:gd name="connsiteX708" fmla="*/ 135813 w 7467600"/>
              <a:gd name="connsiteY708" fmla="*/ 1888838 h 6858000"/>
              <a:gd name="connsiteX709" fmla="*/ 242575 w 7467600"/>
              <a:gd name="connsiteY709" fmla="*/ 1958841 h 6858000"/>
              <a:gd name="connsiteX710" fmla="*/ 82197 w 7467600"/>
              <a:gd name="connsiteY710" fmla="*/ 1754826 h 6858000"/>
              <a:gd name="connsiteX711" fmla="*/ 0 w 7467600"/>
              <a:gd name="connsiteY711" fmla="*/ 1679650 h 6858000"/>
              <a:gd name="connsiteX712" fmla="*/ 0 w 7467600"/>
              <a:gd name="connsiteY712" fmla="*/ 1602463 h 6858000"/>
              <a:gd name="connsiteX713" fmla="*/ 84689 w 7467600"/>
              <a:gd name="connsiteY713" fmla="*/ 1677442 h 6858000"/>
              <a:gd name="connsiteX714" fmla="*/ 298437 w 7467600"/>
              <a:gd name="connsiteY714" fmla="*/ 1968019 h 6858000"/>
              <a:gd name="connsiteX715" fmla="*/ 227269 w 7467600"/>
              <a:gd name="connsiteY715" fmla="*/ 1114064 h 6858000"/>
              <a:gd name="connsiteX716" fmla="*/ 248003 w 7467600"/>
              <a:gd name="connsiteY716" fmla="*/ 1089613 h 6858000"/>
              <a:gd name="connsiteX717" fmla="*/ 427020 w 7467600"/>
              <a:gd name="connsiteY717" fmla="*/ 1619803 h 6858000"/>
              <a:gd name="connsiteX718" fmla="*/ 340345 w 7467600"/>
              <a:gd name="connsiteY718" fmla="*/ 2027739 h 6858000"/>
              <a:gd name="connsiteX719" fmla="*/ 360865 w 7467600"/>
              <a:gd name="connsiteY719" fmla="*/ 2044827 h 6858000"/>
              <a:gd name="connsiteX720" fmla="*/ 560414 w 7467600"/>
              <a:gd name="connsiteY720" fmla="*/ 2421457 h 6858000"/>
              <a:gd name="connsiteX721" fmla="*/ 1359703 w 7467600"/>
              <a:gd name="connsiteY721" fmla="*/ 2578554 h 6858000"/>
              <a:gd name="connsiteX722" fmla="*/ 1359422 w 7467600"/>
              <a:gd name="connsiteY722" fmla="*/ 2577994 h 6858000"/>
              <a:gd name="connsiteX723" fmla="*/ 828701 w 7467600"/>
              <a:gd name="connsiteY723" fmla="*/ 1839520 h 6858000"/>
              <a:gd name="connsiteX724" fmla="*/ 494427 w 7467600"/>
              <a:gd name="connsiteY724" fmla="*/ 1092333 h 6858000"/>
              <a:gd name="connsiteX725" fmla="*/ 506322 w 7467600"/>
              <a:gd name="connsiteY725" fmla="*/ 1020997 h 6858000"/>
              <a:gd name="connsiteX726" fmla="*/ 4570198 w 7467600"/>
              <a:gd name="connsiteY726" fmla="*/ 978081 h 6858000"/>
              <a:gd name="connsiteX727" fmla="*/ 4523691 w 7467600"/>
              <a:gd name="connsiteY727" fmla="*/ 1127776 h 6858000"/>
              <a:gd name="connsiteX728" fmla="*/ 4509875 w 7467600"/>
              <a:gd name="connsiteY728" fmla="*/ 1167552 h 6858000"/>
              <a:gd name="connsiteX729" fmla="*/ 4478168 w 7467600"/>
              <a:gd name="connsiteY729" fmla="*/ 1260735 h 6858000"/>
              <a:gd name="connsiteX730" fmla="*/ 4409309 w 7467600"/>
              <a:gd name="connsiteY730" fmla="*/ 1666996 h 6858000"/>
              <a:gd name="connsiteX731" fmla="*/ 4370031 w 7467600"/>
              <a:gd name="connsiteY731" fmla="*/ 1955666 h 6858000"/>
              <a:gd name="connsiteX732" fmla="*/ 4570198 w 7467600"/>
              <a:gd name="connsiteY732" fmla="*/ 978081 h 6858000"/>
              <a:gd name="connsiteX733" fmla="*/ 4557898 w 7467600"/>
              <a:gd name="connsiteY733" fmla="*/ 900011 h 6858000"/>
              <a:gd name="connsiteX734" fmla="*/ 4344840 w 7467600"/>
              <a:gd name="connsiteY734" fmla="*/ 1922038 h 6858000"/>
              <a:gd name="connsiteX735" fmla="*/ 4378710 w 7467600"/>
              <a:gd name="connsiteY735" fmla="*/ 1665516 h 6858000"/>
              <a:gd name="connsiteX736" fmla="*/ 4448798 w 7467600"/>
              <a:gd name="connsiteY736" fmla="*/ 1253024 h 6858000"/>
              <a:gd name="connsiteX737" fmla="*/ 4480315 w 7467600"/>
              <a:gd name="connsiteY737" fmla="*/ 1158454 h 6858000"/>
              <a:gd name="connsiteX738" fmla="*/ 4494133 w 7467600"/>
              <a:gd name="connsiteY738" fmla="*/ 1118676 h 6858000"/>
              <a:gd name="connsiteX739" fmla="*/ 4557898 w 7467600"/>
              <a:gd name="connsiteY739" fmla="*/ 900011 h 6858000"/>
              <a:gd name="connsiteX740" fmla="*/ 5870151 w 7467600"/>
              <a:gd name="connsiteY740" fmla="*/ 898890 h 6858000"/>
              <a:gd name="connsiteX741" fmla="*/ 5861335 w 7467600"/>
              <a:gd name="connsiteY741" fmla="*/ 899177 h 6858000"/>
              <a:gd name="connsiteX742" fmla="*/ 5843702 w 7467600"/>
              <a:gd name="connsiteY742" fmla="*/ 899748 h 6858000"/>
              <a:gd name="connsiteX743" fmla="*/ 5651107 w 7467600"/>
              <a:gd name="connsiteY743" fmla="*/ 920306 h 6858000"/>
              <a:gd name="connsiteX744" fmla="*/ 5459407 w 7467600"/>
              <a:gd name="connsiteY744" fmla="*/ 940975 h 6858000"/>
              <a:gd name="connsiteX745" fmla="*/ 5374846 w 7467600"/>
              <a:gd name="connsiteY745" fmla="*/ 941988 h 6858000"/>
              <a:gd name="connsiteX746" fmla="*/ 5256105 w 7467600"/>
              <a:gd name="connsiteY746" fmla="*/ 945632 h 6858000"/>
              <a:gd name="connsiteX747" fmla="*/ 5107071 w 7467600"/>
              <a:gd name="connsiteY747" fmla="*/ 969720 h 6858000"/>
              <a:gd name="connsiteX748" fmla="*/ 4998681 w 7467600"/>
              <a:gd name="connsiteY748" fmla="*/ 988771 h 6858000"/>
              <a:gd name="connsiteX749" fmla="*/ 5870151 w 7467600"/>
              <a:gd name="connsiteY749" fmla="*/ 898890 h 6858000"/>
              <a:gd name="connsiteX750" fmla="*/ 5504425 w 7467600"/>
              <a:gd name="connsiteY750" fmla="*/ 848067 h 6858000"/>
              <a:gd name="connsiteX751" fmla="*/ 4968849 w 7467600"/>
              <a:gd name="connsiteY751" fmla="*/ 962318 h 6858000"/>
              <a:gd name="connsiteX752" fmla="*/ 5104039 w 7467600"/>
              <a:gd name="connsiteY752" fmla="*/ 940634 h 6858000"/>
              <a:gd name="connsiteX753" fmla="*/ 5256311 w 7467600"/>
              <a:gd name="connsiteY753" fmla="*/ 916490 h 6858000"/>
              <a:gd name="connsiteX754" fmla="*/ 5377381 w 7467600"/>
              <a:gd name="connsiteY754" fmla="*/ 912671 h 6858000"/>
              <a:gd name="connsiteX755" fmla="*/ 5460148 w 7467600"/>
              <a:gd name="connsiteY755" fmla="*/ 911442 h 6858000"/>
              <a:gd name="connsiteX756" fmla="*/ 5648971 w 7467600"/>
              <a:gd name="connsiteY756" fmla="*/ 891331 h 6858000"/>
              <a:gd name="connsiteX757" fmla="*/ 5844807 w 7467600"/>
              <a:gd name="connsiteY757" fmla="*/ 870718 h 6858000"/>
              <a:gd name="connsiteX758" fmla="*/ 5862975 w 7467600"/>
              <a:gd name="connsiteY758" fmla="*/ 869756 h 6858000"/>
              <a:gd name="connsiteX759" fmla="*/ 5920887 w 7467600"/>
              <a:gd name="connsiteY759" fmla="*/ 865929 h 6858000"/>
              <a:gd name="connsiteX760" fmla="*/ 5504425 w 7467600"/>
              <a:gd name="connsiteY760" fmla="*/ 848067 h 6858000"/>
              <a:gd name="connsiteX761" fmla="*/ 3607114 w 7467600"/>
              <a:gd name="connsiteY761" fmla="*/ 467441 h 6858000"/>
              <a:gd name="connsiteX762" fmla="*/ 3296242 w 7467600"/>
              <a:gd name="connsiteY762" fmla="*/ 807991 h 6858000"/>
              <a:gd name="connsiteX763" fmla="*/ 3174674 w 7467600"/>
              <a:gd name="connsiteY763" fmla="*/ 919759 h 6858000"/>
              <a:gd name="connsiteX764" fmla="*/ 3042978 w 7467600"/>
              <a:gd name="connsiteY764" fmla="*/ 1054894 h 6858000"/>
              <a:gd name="connsiteX765" fmla="*/ 2968914 w 7467600"/>
              <a:gd name="connsiteY765" fmla="*/ 1133756 h 6858000"/>
              <a:gd name="connsiteX766" fmla="*/ 3103823 w 7467600"/>
              <a:gd name="connsiteY766" fmla="*/ 1026814 h 6858000"/>
              <a:gd name="connsiteX767" fmla="*/ 3607114 w 7467600"/>
              <a:gd name="connsiteY767" fmla="*/ 467441 h 6858000"/>
              <a:gd name="connsiteX768" fmla="*/ 3744487 w 7467600"/>
              <a:gd name="connsiteY768" fmla="*/ 383136 h 6858000"/>
              <a:gd name="connsiteX769" fmla="*/ 3970213 w 7467600"/>
              <a:gd name="connsiteY769" fmla="*/ 995559 h 6858000"/>
              <a:gd name="connsiteX770" fmla="*/ 3744487 w 7467600"/>
              <a:gd name="connsiteY770" fmla="*/ 383136 h 6858000"/>
              <a:gd name="connsiteX771" fmla="*/ 3624562 w 7467600"/>
              <a:gd name="connsiteY771" fmla="*/ 367041 h 6858000"/>
              <a:gd name="connsiteX772" fmla="*/ 3489712 w 7467600"/>
              <a:gd name="connsiteY772" fmla="*/ 485386 h 6858000"/>
              <a:gd name="connsiteX773" fmla="*/ 3182994 w 7467600"/>
              <a:gd name="connsiteY773" fmla="*/ 828265 h 6858000"/>
              <a:gd name="connsiteX774" fmla="*/ 2892114 w 7467600"/>
              <a:gd name="connsiteY774" fmla="*/ 1172635 h 6858000"/>
              <a:gd name="connsiteX775" fmla="*/ 3021459 w 7467600"/>
              <a:gd name="connsiteY775" fmla="*/ 1035385 h 6858000"/>
              <a:gd name="connsiteX776" fmla="*/ 3153873 w 7467600"/>
              <a:gd name="connsiteY776" fmla="*/ 898971 h 6858000"/>
              <a:gd name="connsiteX777" fmla="*/ 3276511 w 7467600"/>
              <a:gd name="connsiteY777" fmla="*/ 786423 h 6858000"/>
              <a:gd name="connsiteX778" fmla="*/ 3584154 w 7467600"/>
              <a:gd name="connsiteY778" fmla="*/ 448218 h 6858000"/>
              <a:gd name="connsiteX779" fmla="*/ 3624562 w 7467600"/>
              <a:gd name="connsiteY779" fmla="*/ 367041 h 6858000"/>
              <a:gd name="connsiteX780" fmla="*/ 3766672 w 7467600"/>
              <a:gd name="connsiteY780" fmla="*/ 359429 h 6858000"/>
              <a:gd name="connsiteX781" fmla="*/ 3996338 w 7467600"/>
              <a:gd name="connsiteY781" fmla="*/ 968237 h 6858000"/>
              <a:gd name="connsiteX782" fmla="*/ 3766672 w 7467600"/>
              <a:gd name="connsiteY782" fmla="*/ 359429 h 6858000"/>
              <a:gd name="connsiteX783" fmla="*/ 5805386 w 7467600"/>
              <a:gd name="connsiteY783" fmla="*/ 239240 h 6858000"/>
              <a:gd name="connsiteX784" fmla="*/ 5736947 w 7467600"/>
              <a:gd name="connsiteY784" fmla="*/ 261367 h 6858000"/>
              <a:gd name="connsiteX785" fmla="*/ 5427012 w 7467600"/>
              <a:gd name="connsiteY785" fmla="*/ 311272 h 6858000"/>
              <a:gd name="connsiteX786" fmla="*/ 5147818 w 7467600"/>
              <a:gd name="connsiteY786" fmla="*/ 322112 h 6858000"/>
              <a:gd name="connsiteX787" fmla="*/ 5060854 w 7467600"/>
              <a:gd name="connsiteY787" fmla="*/ 311882 h 6858000"/>
              <a:gd name="connsiteX788" fmla="*/ 4945989 w 7467600"/>
              <a:gd name="connsiteY788" fmla="*/ 300516 h 6858000"/>
              <a:gd name="connsiteX789" fmla="*/ 5410479 w 7467600"/>
              <a:gd name="connsiteY789" fmla="*/ 348434 h 6858000"/>
              <a:gd name="connsiteX790" fmla="*/ 5805386 w 7467600"/>
              <a:gd name="connsiteY790" fmla="*/ 239240 h 6858000"/>
              <a:gd name="connsiteX791" fmla="*/ 5905192 w 7467600"/>
              <a:gd name="connsiteY791" fmla="*/ 163079 h 6858000"/>
              <a:gd name="connsiteX792" fmla="*/ 5865655 w 7467600"/>
              <a:gd name="connsiteY792" fmla="*/ 171901 h 6858000"/>
              <a:gd name="connsiteX793" fmla="*/ 5259740 w 7467600"/>
              <a:gd name="connsiteY793" fmla="*/ 257013 h 6858000"/>
              <a:gd name="connsiteX794" fmla="*/ 5208466 w 7467600"/>
              <a:gd name="connsiteY794" fmla="*/ 257550 h 6858000"/>
              <a:gd name="connsiteX795" fmla="*/ 4980204 w 7467600"/>
              <a:gd name="connsiteY795" fmla="*/ 271903 h 6858000"/>
              <a:gd name="connsiteX796" fmla="*/ 5068068 w 7467600"/>
              <a:gd name="connsiteY796" fmla="*/ 282244 h 6858000"/>
              <a:gd name="connsiteX797" fmla="*/ 5153231 w 7467600"/>
              <a:gd name="connsiteY797" fmla="*/ 292240 h 6858000"/>
              <a:gd name="connsiteX798" fmla="*/ 5426491 w 7467600"/>
              <a:gd name="connsiteY798" fmla="*/ 281128 h 6858000"/>
              <a:gd name="connsiteX799" fmla="*/ 5731212 w 7467600"/>
              <a:gd name="connsiteY799" fmla="*/ 231951 h 6858000"/>
              <a:gd name="connsiteX800" fmla="*/ 5905192 w 7467600"/>
              <a:gd name="connsiteY800" fmla="*/ 163079 h 6858000"/>
              <a:gd name="connsiteX801" fmla="*/ 5944437 w 7467600"/>
              <a:gd name="connsiteY801" fmla="*/ 113829 h 6858000"/>
              <a:gd name="connsiteX802" fmla="*/ 5825032 w 7467600"/>
              <a:gd name="connsiteY802" fmla="*/ 146405 h 6858000"/>
              <a:gd name="connsiteX803" fmla="*/ 4955599 w 7467600"/>
              <a:gd name="connsiteY803" fmla="*/ 247008 h 6858000"/>
              <a:gd name="connsiteX804" fmla="*/ 5210104 w 7467600"/>
              <a:gd name="connsiteY804" fmla="*/ 228123 h 6858000"/>
              <a:gd name="connsiteX805" fmla="*/ 5261015 w 7467600"/>
              <a:gd name="connsiteY805" fmla="*/ 227087 h 6858000"/>
              <a:gd name="connsiteX806" fmla="*/ 5861181 w 7467600"/>
              <a:gd name="connsiteY806" fmla="*/ 143093 h 6858000"/>
              <a:gd name="connsiteX807" fmla="*/ 5961252 w 7467600"/>
              <a:gd name="connsiteY807" fmla="*/ 114820 h 6858000"/>
              <a:gd name="connsiteX808" fmla="*/ 5944437 w 7467600"/>
              <a:gd name="connsiteY808" fmla="*/ 113829 h 6858000"/>
              <a:gd name="connsiteX809" fmla="*/ 3882765 w 7467600"/>
              <a:gd name="connsiteY809" fmla="*/ 0 h 6858000"/>
              <a:gd name="connsiteX810" fmla="*/ 3995099 w 7467600"/>
              <a:gd name="connsiteY810" fmla="*/ 0 h 6858000"/>
              <a:gd name="connsiteX811" fmla="*/ 4163818 w 7467600"/>
              <a:gd name="connsiteY811" fmla="*/ 234104 h 6858000"/>
              <a:gd name="connsiteX812" fmla="*/ 4172099 w 7467600"/>
              <a:gd name="connsiteY812" fmla="*/ 234207 h 6858000"/>
              <a:gd name="connsiteX813" fmla="*/ 4784282 w 7467600"/>
              <a:gd name="connsiteY813" fmla="*/ 276561 h 6858000"/>
              <a:gd name="connsiteX814" fmla="*/ 4801687 w 7467600"/>
              <a:gd name="connsiteY814" fmla="*/ 267764 h 6858000"/>
              <a:gd name="connsiteX815" fmla="*/ 6082788 w 7467600"/>
              <a:gd name="connsiteY815" fmla="*/ 64119 h 6858000"/>
              <a:gd name="connsiteX816" fmla="*/ 6099442 w 7467600"/>
              <a:gd name="connsiteY816" fmla="*/ 82568 h 6858000"/>
              <a:gd name="connsiteX817" fmla="*/ 4804137 w 7467600"/>
              <a:gd name="connsiteY817" fmla="*/ 320931 h 6858000"/>
              <a:gd name="connsiteX818" fmla="*/ 4227047 w 7467600"/>
              <a:gd name="connsiteY818" fmla="*/ 313415 h 6858000"/>
              <a:gd name="connsiteX819" fmla="*/ 4346041 w 7467600"/>
              <a:gd name="connsiteY819" fmla="*/ 456086 h 6858000"/>
              <a:gd name="connsiteX820" fmla="*/ 4870967 w 7467600"/>
              <a:gd name="connsiteY820" fmla="*/ 963061 h 6858000"/>
              <a:gd name="connsiteX821" fmla="*/ 4889647 w 7467600"/>
              <a:gd name="connsiteY821" fmla="*/ 957147 h 6858000"/>
              <a:gd name="connsiteX822" fmla="*/ 5422504 w 7467600"/>
              <a:gd name="connsiteY822" fmla="*/ 805191 h 6858000"/>
              <a:gd name="connsiteX823" fmla="*/ 6087656 w 7467600"/>
              <a:gd name="connsiteY823" fmla="*/ 826703 h 6858000"/>
              <a:gd name="connsiteX824" fmla="*/ 6058717 w 7467600"/>
              <a:gd name="connsiteY824" fmla="*/ 865992 h 6858000"/>
              <a:gd name="connsiteX825" fmla="*/ 4974153 w 7467600"/>
              <a:gd name="connsiteY825" fmla="*/ 1045456 h 6858000"/>
              <a:gd name="connsiteX826" fmla="*/ 5627835 w 7467600"/>
              <a:gd name="connsiteY826" fmla="*/ 1472077 h 6858000"/>
              <a:gd name="connsiteX827" fmla="*/ 5629817 w 7467600"/>
              <a:gd name="connsiteY827" fmla="*/ 1471412 h 6858000"/>
              <a:gd name="connsiteX828" fmla="*/ 5634124 w 7467600"/>
              <a:gd name="connsiteY828" fmla="*/ 1470572 h 6858000"/>
              <a:gd name="connsiteX829" fmla="*/ 5755832 w 7467600"/>
              <a:gd name="connsiteY829" fmla="*/ 1383886 h 6858000"/>
              <a:gd name="connsiteX830" fmla="*/ 6014186 w 7467600"/>
              <a:gd name="connsiteY830" fmla="*/ 1279799 h 6858000"/>
              <a:gd name="connsiteX831" fmla="*/ 6901619 w 7467600"/>
              <a:gd name="connsiteY831" fmla="*/ 1047874 h 6858000"/>
              <a:gd name="connsiteX832" fmla="*/ 6931566 w 7467600"/>
              <a:gd name="connsiteY832" fmla="*/ 1062034 h 6858000"/>
              <a:gd name="connsiteX833" fmla="*/ 5790982 w 7467600"/>
              <a:gd name="connsiteY833" fmla="*/ 1561380 h 6858000"/>
              <a:gd name="connsiteX834" fmla="*/ 6188971 w 7467600"/>
              <a:gd name="connsiteY834" fmla="*/ 1755168 h 6858000"/>
              <a:gd name="connsiteX835" fmla="*/ 6202446 w 7467600"/>
              <a:gd name="connsiteY835" fmla="*/ 1752268 h 6858000"/>
              <a:gd name="connsiteX836" fmla="*/ 7179560 w 7467600"/>
              <a:gd name="connsiteY836" fmla="*/ 1467551 h 6858000"/>
              <a:gd name="connsiteX837" fmla="*/ 7158730 w 7467600"/>
              <a:gd name="connsiteY837" fmla="*/ 1507835 h 6858000"/>
              <a:gd name="connsiteX838" fmla="*/ 6326959 w 7467600"/>
              <a:gd name="connsiteY838" fmla="*/ 1817686 h 6858000"/>
              <a:gd name="connsiteX839" fmla="*/ 6537433 w 7467600"/>
              <a:gd name="connsiteY839" fmla="*/ 1907790 h 6858000"/>
              <a:gd name="connsiteX840" fmla="*/ 6550221 w 7467600"/>
              <a:gd name="connsiteY840" fmla="*/ 1910729 h 6858000"/>
              <a:gd name="connsiteX841" fmla="*/ 6964438 w 7467600"/>
              <a:gd name="connsiteY841" fmla="*/ 2209505 h 6858000"/>
              <a:gd name="connsiteX842" fmla="*/ 7367862 w 7467600"/>
              <a:gd name="connsiteY842" fmla="*/ 2806833 h 6858000"/>
              <a:gd name="connsiteX843" fmla="*/ 7364329 w 7467600"/>
              <a:gd name="connsiteY843" fmla="*/ 2826907 h 6858000"/>
              <a:gd name="connsiteX844" fmla="*/ 7290545 w 7467600"/>
              <a:gd name="connsiteY844" fmla="*/ 2850663 h 6858000"/>
              <a:gd name="connsiteX845" fmla="*/ 6472036 w 7467600"/>
              <a:gd name="connsiteY845" fmla="*/ 1959003 h 6858000"/>
              <a:gd name="connsiteX846" fmla="*/ 5792897 w 7467600"/>
              <a:gd name="connsiteY846" fmla="*/ 1647747 h 6858000"/>
              <a:gd name="connsiteX847" fmla="*/ 5842751 w 7467600"/>
              <a:gd name="connsiteY847" fmla="*/ 1816112 h 6858000"/>
              <a:gd name="connsiteX848" fmla="*/ 5847424 w 7467600"/>
              <a:gd name="connsiteY848" fmla="*/ 1815776 h 6858000"/>
              <a:gd name="connsiteX849" fmla="*/ 6399821 w 7467600"/>
              <a:gd name="connsiteY849" fmla="*/ 2344799 h 6858000"/>
              <a:gd name="connsiteX850" fmla="*/ 6323232 w 7467600"/>
              <a:gd name="connsiteY850" fmla="*/ 2389634 h 6858000"/>
              <a:gd name="connsiteX851" fmla="*/ 5942958 w 7467600"/>
              <a:gd name="connsiteY851" fmla="*/ 2077708 h 6858000"/>
              <a:gd name="connsiteX852" fmla="*/ 5921559 w 7467600"/>
              <a:gd name="connsiteY852" fmla="*/ 2378596 h 6858000"/>
              <a:gd name="connsiteX853" fmla="*/ 5817651 w 7467600"/>
              <a:gd name="connsiteY853" fmla="*/ 3023919 h 6858000"/>
              <a:gd name="connsiteX854" fmla="*/ 5729634 w 7467600"/>
              <a:gd name="connsiteY854" fmla="*/ 3051849 h 6858000"/>
              <a:gd name="connsiteX855" fmla="*/ 5611018 w 7467600"/>
              <a:gd name="connsiteY855" fmla="*/ 2316769 h 6858000"/>
              <a:gd name="connsiteX856" fmla="*/ 5687608 w 7467600"/>
              <a:gd name="connsiteY856" fmla="*/ 2039972 h 6858000"/>
              <a:gd name="connsiteX857" fmla="*/ 5657554 w 7467600"/>
              <a:gd name="connsiteY857" fmla="*/ 1576445 h 6858000"/>
              <a:gd name="connsiteX858" fmla="*/ 5150475 w 7467600"/>
              <a:gd name="connsiteY858" fmla="*/ 1274012 h 6858000"/>
              <a:gd name="connsiteX859" fmla="*/ 5349142 w 7467600"/>
              <a:gd name="connsiteY859" fmla="*/ 2204405 h 6858000"/>
              <a:gd name="connsiteX860" fmla="*/ 5262214 w 7467600"/>
              <a:gd name="connsiteY860" fmla="*/ 2233836 h 6858000"/>
              <a:gd name="connsiteX861" fmla="*/ 4981539 w 7467600"/>
              <a:gd name="connsiteY861" fmla="*/ 1542201 h 6858000"/>
              <a:gd name="connsiteX862" fmla="*/ 4958461 w 7467600"/>
              <a:gd name="connsiteY862" fmla="*/ 1136957 h 6858000"/>
              <a:gd name="connsiteX863" fmla="*/ 4655015 w 7467600"/>
              <a:gd name="connsiteY863" fmla="*/ 891426 h 6858000"/>
              <a:gd name="connsiteX864" fmla="*/ 4348002 w 7467600"/>
              <a:gd name="connsiteY864" fmla="*/ 2205895 h 6858000"/>
              <a:gd name="connsiteX865" fmla="*/ 4262250 w 7467600"/>
              <a:gd name="connsiteY865" fmla="*/ 2219972 h 6858000"/>
              <a:gd name="connsiteX866" fmla="*/ 4550611 w 7467600"/>
              <a:gd name="connsiteY866" fmla="*/ 817540 h 6858000"/>
              <a:gd name="connsiteX867" fmla="*/ 4564418 w 7467600"/>
              <a:gd name="connsiteY867" fmla="*/ 808293 h 6858000"/>
              <a:gd name="connsiteX868" fmla="*/ 4266388 w 7467600"/>
              <a:gd name="connsiteY868" fmla="*/ 500083 h 6858000"/>
              <a:gd name="connsiteX869" fmla="*/ 4032842 w 7467600"/>
              <a:gd name="connsiteY869" fmla="*/ 211809 h 6858000"/>
              <a:gd name="connsiteX870" fmla="*/ 3882765 w 7467600"/>
              <a:gd name="connsiteY870" fmla="*/ 0 h 6858000"/>
              <a:gd name="connsiteX871" fmla="*/ 3721337 w 7467600"/>
              <a:gd name="connsiteY871" fmla="*/ 0 h 6858000"/>
              <a:gd name="connsiteX872" fmla="*/ 3797544 w 7467600"/>
              <a:gd name="connsiteY872" fmla="*/ 0 h 6858000"/>
              <a:gd name="connsiteX873" fmla="*/ 3775734 w 7467600"/>
              <a:gd name="connsiteY873" fmla="*/ 95131 h 6858000"/>
              <a:gd name="connsiteX874" fmla="*/ 3724807 w 7467600"/>
              <a:gd name="connsiteY874" fmla="*/ 272257 h 6858000"/>
              <a:gd name="connsiteX875" fmla="*/ 3726844 w 7467600"/>
              <a:gd name="connsiteY875" fmla="*/ 282988 h 6858000"/>
              <a:gd name="connsiteX876" fmla="*/ 3742664 w 7467600"/>
              <a:gd name="connsiteY876" fmla="*/ 279918 h 6858000"/>
              <a:gd name="connsiteX877" fmla="*/ 4103910 w 7467600"/>
              <a:gd name="connsiteY877" fmla="*/ 1161917 h 6858000"/>
              <a:gd name="connsiteX878" fmla="*/ 4020269 w 7467600"/>
              <a:gd name="connsiteY878" fmla="*/ 1200406 h 6858000"/>
              <a:gd name="connsiteX879" fmla="*/ 3674882 w 7467600"/>
              <a:gd name="connsiteY879" fmla="*/ 488524 h 6858000"/>
              <a:gd name="connsiteX880" fmla="*/ 3132682 w 7467600"/>
              <a:gd name="connsiteY880" fmla="*/ 1072284 h 6858000"/>
              <a:gd name="connsiteX881" fmla="*/ 2716346 w 7467600"/>
              <a:gd name="connsiteY881" fmla="*/ 1276376 h 6858000"/>
              <a:gd name="connsiteX882" fmla="*/ 2716772 w 7467600"/>
              <a:gd name="connsiteY882" fmla="*/ 1255462 h 6858000"/>
              <a:gd name="connsiteX883" fmla="*/ 3471096 w 7467600"/>
              <a:gd name="connsiteY883" fmla="*/ 437072 h 6858000"/>
              <a:gd name="connsiteX884" fmla="*/ 3639057 w 7467600"/>
              <a:gd name="connsiteY884" fmla="*/ 286334 h 6858000"/>
              <a:gd name="connsiteX885" fmla="*/ 3640309 w 7467600"/>
              <a:gd name="connsiteY885" fmla="*/ 284664 h 6858000"/>
              <a:gd name="connsiteX886" fmla="*/ 3646022 w 7467600"/>
              <a:gd name="connsiteY886" fmla="*/ 276711 h 6858000"/>
              <a:gd name="connsiteX887" fmla="*/ 3707943 w 7467600"/>
              <a:gd name="connsiteY887" fmla="*/ 65958 h 6858000"/>
              <a:gd name="connsiteX888" fmla="*/ 3721337 w 7467600"/>
              <a:gd name="connsiteY888" fmla="*/ 0 h 6858000"/>
              <a:gd name="connsiteX889" fmla="*/ 2867960 w 7467600"/>
              <a:gd name="connsiteY889" fmla="*/ 0 h 6858000"/>
              <a:gd name="connsiteX890" fmla="*/ 2926351 w 7467600"/>
              <a:gd name="connsiteY890" fmla="*/ 0 h 6858000"/>
              <a:gd name="connsiteX891" fmla="*/ 2902823 w 7467600"/>
              <a:gd name="connsiteY891" fmla="*/ 262929 h 6858000"/>
              <a:gd name="connsiteX892" fmla="*/ 2940663 w 7467600"/>
              <a:gd name="connsiteY892" fmla="*/ 140884 h 6858000"/>
              <a:gd name="connsiteX893" fmla="*/ 2947039 w 7467600"/>
              <a:gd name="connsiteY893" fmla="*/ 122524 h 6858000"/>
              <a:gd name="connsiteX894" fmla="*/ 2984316 w 7467600"/>
              <a:gd name="connsiteY894" fmla="*/ 0 h 6858000"/>
              <a:gd name="connsiteX895" fmla="*/ 3016114 w 7467600"/>
              <a:gd name="connsiteY895" fmla="*/ 0 h 6858000"/>
              <a:gd name="connsiteX896" fmla="*/ 2979949 w 7467600"/>
              <a:gd name="connsiteY896" fmla="*/ 119274 h 6858000"/>
              <a:gd name="connsiteX897" fmla="*/ 3023879 w 7467600"/>
              <a:gd name="connsiteY897" fmla="*/ 0 h 6858000"/>
              <a:gd name="connsiteX898" fmla="*/ 3105400 w 7467600"/>
              <a:gd name="connsiteY898" fmla="*/ 0 h 6858000"/>
              <a:gd name="connsiteX899" fmla="*/ 3094669 w 7467600"/>
              <a:gd name="connsiteY899" fmla="*/ 30308 h 6858000"/>
              <a:gd name="connsiteX900" fmla="*/ 2901945 w 7467600"/>
              <a:gd name="connsiteY900" fmla="*/ 466538 h 6858000"/>
              <a:gd name="connsiteX901" fmla="*/ 2815209 w 7467600"/>
              <a:gd name="connsiteY901" fmla="*/ 497361 h 6858000"/>
              <a:gd name="connsiteX902" fmla="*/ 2844845 w 7467600"/>
              <a:gd name="connsiteY902" fmla="*/ 127638 h 6858000"/>
              <a:gd name="connsiteX903" fmla="*/ 2867960 w 7467600"/>
              <a:gd name="connsiteY903" fmla="*/ 0 h 6858000"/>
              <a:gd name="connsiteX904" fmla="*/ 1057230 w 7467600"/>
              <a:gd name="connsiteY904" fmla="*/ 0 h 6858000"/>
              <a:gd name="connsiteX905" fmla="*/ 1111003 w 7467600"/>
              <a:gd name="connsiteY905" fmla="*/ 0 h 6858000"/>
              <a:gd name="connsiteX906" fmla="*/ 1125553 w 7467600"/>
              <a:gd name="connsiteY906" fmla="*/ 52588 h 6858000"/>
              <a:gd name="connsiteX907" fmla="*/ 1304276 w 7467600"/>
              <a:gd name="connsiteY907" fmla="*/ 476275 h 6858000"/>
              <a:gd name="connsiteX908" fmla="*/ 1492066 w 7467600"/>
              <a:gd name="connsiteY908" fmla="*/ 886333 h 6858000"/>
              <a:gd name="connsiteX909" fmla="*/ 1423698 w 7467600"/>
              <a:gd name="connsiteY909" fmla="*/ 710817 h 6858000"/>
              <a:gd name="connsiteX910" fmla="*/ 1357609 w 7467600"/>
              <a:gd name="connsiteY910" fmla="*/ 532892 h 6858000"/>
              <a:gd name="connsiteX911" fmla="*/ 1309550 w 7467600"/>
              <a:gd name="connsiteY911" fmla="*/ 374031 h 6858000"/>
              <a:gd name="connsiteX912" fmla="*/ 1193673 w 7467600"/>
              <a:gd name="connsiteY912" fmla="*/ 49533 h 6858000"/>
              <a:gd name="connsiteX913" fmla="*/ 1164391 w 7467600"/>
              <a:gd name="connsiteY913" fmla="*/ 0 h 6858000"/>
              <a:gd name="connsiteX914" fmla="*/ 1200666 w 7467600"/>
              <a:gd name="connsiteY914" fmla="*/ 0 h 6858000"/>
              <a:gd name="connsiteX915" fmla="*/ 1223408 w 7467600"/>
              <a:gd name="connsiteY915" fmla="*/ 38996 h 6858000"/>
              <a:gd name="connsiteX916" fmla="*/ 1339635 w 7467600"/>
              <a:gd name="connsiteY916" fmla="*/ 365517 h 6858000"/>
              <a:gd name="connsiteX917" fmla="*/ 1387469 w 7467600"/>
              <a:gd name="connsiteY917" fmla="*/ 523079 h 6858000"/>
              <a:gd name="connsiteX918" fmla="*/ 1452685 w 7467600"/>
              <a:gd name="connsiteY918" fmla="*/ 699806 h 6858000"/>
              <a:gd name="connsiteX919" fmla="*/ 1492092 w 7467600"/>
              <a:gd name="connsiteY919" fmla="*/ 800424 h 6858000"/>
              <a:gd name="connsiteX920" fmla="*/ 1455302 w 7467600"/>
              <a:gd name="connsiteY920" fmla="*/ 632913 h 6858000"/>
              <a:gd name="connsiteX921" fmla="*/ 1222336 w 7467600"/>
              <a:gd name="connsiteY921" fmla="*/ 9480 h 6858000"/>
              <a:gd name="connsiteX922" fmla="*/ 1214634 w 7467600"/>
              <a:gd name="connsiteY922" fmla="*/ 0 h 6858000"/>
              <a:gd name="connsiteX923" fmla="*/ 1289827 w 7467600"/>
              <a:gd name="connsiteY923" fmla="*/ 0 h 6858000"/>
              <a:gd name="connsiteX924" fmla="*/ 1321076 w 7467600"/>
              <a:gd name="connsiteY924" fmla="*/ 59722 h 6858000"/>
              <a:gd name="connsiteX925" fmla="*/ 1512579 w 7467600"/>
              <a:gd name="connsiteY925" fmla="*/ 626441 h 6858000"/>
              <a:gd name="connsiteX926" fmla="*/ 1506076 w 7467600"/>
              <a:gd name="connsiteY926" fmla="*/ 1089289 h 6858000"/>
              <a:gd name="connsiteX927" fmla="*/ 1486346 w 7467600"/>
              <a:gd name="connsiteY927" fmla="*/ 1079919 h 6858000"/>
              <a:gd name="connsiteX928" fmla="*/ 1070511 w 7467600"/>
              <a:gd name="connsiteY928" fmla="*/ 48609 h 6858000"/>
              <a:gd name="connsiteX929" fmla="*/ 1057230 w 7467600"/>
              <a:gd name="connsiteY929" fmla="*/ 0 h 6858000"/>
              <a:gd name="connsiteX930" fmla="*/ 43151 w 7467600"/>
              <a:gd name="connsiteY930" fmla="*/ 0 h 6858000"/>
              <a:gd name="connsiteX931" fmla="*/ 95283 w 7467600"/>
              <a:gd name="connsiteY931" fmla="*/ 0 h 6858000"/>
              <a:gd name="connsiteX932" fmla="*/ 300708 w 7467600"/>
              <a:gd name="connsiteY932" fmla="*/ 154571 h 6858000"/>
              <a:gd name="connsiteX933" fmla="*/ 530414 w 7467600"/>
              <a:gd name="connsiteY933" fmla="*/ 354673 h 6858000"/>
              <a:gd name="connsiteX934" fmla="*/ 333785 w 7467600"/>
              <a:gd name="connsiteY934" fmla="*/ 161564 h 6858000"/>
              <a:gd name="connsiteX935" fmla="*/ 147005 w 7467600"/>
              <a:gd name="connsiteY935" fmla="*/ 0 h 6858000"/>
              <a:gd name="connsiteX936" fmla="*/ 272509 w 7467600"/>
              <a:gd name="connsiteY936" fmla="*/ 0 h 6858000"/>
              <a:gd name="connsiteX937" fmla="*/ 326276 w 7467600"/>
              <a:gd name="connsiteY937" fmla="*/ 45847 h 6858000"/>
              <a:gd name="connsiteX938" fmla="*/ 823759 w 7467600"/>
              <a:gd name="connsiteY938" fmla="*/ 574145 h 6858000"/>
              <a:gd name="connsiteX939" fmla="*/ 811254 w 7467600"/>
              <a:gd name="connsiteY939" fmla="*/ 665546 h 6858000"/>
              <a:gd name="connsiteX940" fmla="*/ 154042 w 7467600"/>
              <a:gd name="connsiteY940" fmla="*/ 261522 h 6858000"/>
              <a:gd name="connsiteX941" fmla="*/ 13550 w 7467600"/>
              <a:gd name="connsiteY941" fmla="*/ 158423 h 6858000"/>
              <a:gd name="connsiteX942" fmla="*/ 0 w 7467600"/>
              <a:gd name="connsiteY942" fmla="*/ 146618 h 6858000"/>
              <a:gd name="connsiteX943" fmla="*/ 0 w 7467600"/>
              <a:gd name="connsiteY943" fmla="*/ 59161 h 6858000"/>
              <a:gd name="connsiteX944" fmla="*/ 45427 w 7467600"/>
              <a:gd name="connsiteY944" fmla="*/ 101078 h 6858000"/>
              <a:gd name="connsiteX945" fmla="*/ 630103 w 7467600"/>
              <a:gd name="connsiteY945" fmla="*/ 485885 h 6858000"/>
              <a:gd name="connsiteX946" fmla="*/ 532040 w 7467600"/>
              <a:gd name="connsiteY946" fmla="*/ 399359 h 6858000"/>
              <a:gd name="connsiteX947" fmla="*/ 517618 w 7467600"/>
              <a:gd name="connsiteY947" fmla="*/ 385726 h 6858000"/>
              <a:gd name="connsiteX948" fmla="*/ 285074 w 7467600"/>
              <a:gd name="connsiteY948" fmla="*/ 182755 h 6858000"/>
              <a:gd name="connsiteX949" fmla="*/ 43151 w 7467600"/>
              <a:gd name="connsiteY949"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467600 w 7467600"/>
              <a:gd name="connsiteY4" fmla="*/ 6805948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467600 w 7467600"/>
              <a:gd name="connsiteY16" fmla="*/ 6805948 h 6858000"/>
              <a:gd name="connsiteX17" fmla="*/ 1019354 w 7467600"/>
              <a:gd name="connsiteY17" fmla="*/ 6315006 h 6858000"/>
              <a:gd name="connsiteX18" fmla="*/ 441046 w 7467600"/>
              <a:gd name="connsiteY18" fmla="*/ 6691153 h 6858000"/>
              <a:gd name="connsiteX19" fmla="*/ 1019354 w 7467600"/>
              <a:gd name="connsiteY19" fmla="*/ 6315006 h 6858000"/>
              <a:gd name="connsiteX20" fmla="*/ 991680 w 7467600"/>
              <a:gd name="connsiteY20" fmla="*/ 6298413 h 6858000"/>
              <a:gd name="connsiteX21" fmla="*/ 409060 w 7467600"/>
              <a:gd name="connsiteY21" fmla="*/ 6671470 h 6858000"/>
              <a:gd name="connsiteX22" fmla="*/ 991680 w 7467600"/>
              <a:gd name="connsiteY22" fmla="*/ 6298413 h 6858000"/>
              <a:gd name="connsiteX23" fmla="*/ 103333 w 7467600"/>
              <a:gd name="connsiteY23" fmla="*/ 5699602 h 6858000"/>
              <a:gd name="connsiteX24" fmla="*/ 233938 w 7467600"/>
              <a:gd name="connsiteY24" fmla="*/ 5809416 h 6858000"/>
              <a:gd name="connsiteX25" fmla="*/ 883580 w 7467600"/>
              <a:gd name="connsiteY25" fmla="*/ 6180710 h 6858000"/>
              <a:gd name="connsiteX26" fmla="*/ 487337 w 7467600"/>
              <a:gd name="connsiteY26" fmla="*/ 5950182 h 6858000"/>
              <a:gd name="connsiteX27" fmla="*/ 354051 w 7467600"/>
              <a:gd name="connsiteY27" fmla="*/ 5854912 h 6858000"/>
              <a:gd name="connsiteX28" fmla="*/ 195436 w 7467600"/>
              <a:gd name="connsiteY28" fmla="*/ 5755068 h 6858000"/>
              <a:gd name="connsiteX29" fmla="*/ 103333 w 7467600"/>
              <a:gd name="connsiteY29" fmla="*/ 5699602 h 6858000"/>
              <a:gd name="connsiteX30" fmla="*/ 5539432 w 7467600"/>
              <a:gd name="connsiteY30" fmla="*/ 5642928 h 6858000"/>
              <a:gd name="connsiteX31" fmla="*/ 5555462 w 7467600"/>
              <a:gd name="connsiteY31" fmla="*/ 5694454 h 6858000"/>
              <a:gd name="connsiteX32" fmla="*/ 5828270 w 7467600"/>
              <a:gd name="connsiteY32" fmla="*/ 6320663 h 6858000"/>
              <a:gd name="connsiteX33" fmla="*/ 5947416 w 7467600"/>
              <a:gd name="connsiteY33" fmla="*/ 6574846 h 6858000"/>
              <a:gd name="connsiteX34" fmla="*/ 5539432 w 7467600"/>
              <a:gd name="connsiteY34" fmla="*/ 5642928 h 6858000"/>
              <a:gd name="connsiteX35" fmla="*/ 51253 w 7467600"/>
              <a:gd name="connsiteY35" fmla="*/ 5631825 h 6858000"/>
              <a:gd name="connsiteX36" fmla="*/ 211622 w 7467600"/>
              <a:gd name="connsiteY36" fmla="*/ 5728803 h 6858000"/>
              <a:gd name="connsiteX37" fmla="*/ 371652 w 7467600"/>
              <a:gd name="connsiteY37" fmla="*/ 5829062 h 6858000"/>
              <a:gd name="connsiteX38" fmla="*/ 505903 w 7467600"/>
              <a:gd name="connsiteY38" fmla="*/ 5925221 h 6858000"/>
              <a:gd name="connsiteX39" fmla="*/ 899240 w 7467600"/>
              <a:gd name="connsiteY39" fmla="*/ 6153068 h 6858000"/>
              <a:gd name="connsiteX40" fmla="*/ 988114 w 7467600"/>
              <a:gd name="connsiteY40" fmla="*/ 6174204 h 6858000"/>
              <a:gd name="connsiteX41" fmla="*/ 845971 w 7467600"/>
              <a:gd name="connsiteY41" fmla="*/ 6067177 h 6858000"/>
              <a:gd name="connsiteX42" fmla="*/ 448057 w 7467600"/>
              <a:gd name="connsiteY42" fmla="*/ 5841376 h 6858000"/>
              <a:gd name="connsiteX43" fmla="*/ 51253 w 7467600"/>
              <a:gd name="connsiteY43" fmla="*/ 5631825 h 6858000"/>
              <a:gd name="connsiteX44" fmla="*/ 2606687 w 7467600"/>
              <a:gd name="connsiteY44" fmla="*/ 5630718 h 6858000"/>
              <a:gd name="connsiteX45" fmla="*/ 2645658 w 7467600"/>
              <a:gd name="connsiteY45" fmla="*/ 6640259 h 6858000"/>
              <a:gd name="connsiteX46" fmla="*/ 2606687 w 7467600"/>
              <a:gd name="connsiteY46" fmla="*/ 5630718 h 6858000"/>
              <a:gd name="connsiteX47" fmla="*/ 3642057 w 7467600"/>
              <a:gd name="connsiteY47" fmla="*/ 5573487 h 6858000"/>
              <a:gd name="connsiteX48" fmla="*/ 3632981 w 7467600"/>
              <a:gd name="connsiteY48" fmla="*/ 5579437 h 6858000"/>
              <a:gd name="connsiteX49" fmla="*/ 3382436 w 7467600"/>
              <a:gd name="connsiteY49" fmla="*/ 5952726 h 6858000"/>
              <a:gd name="connsiteX50" fmla="*/ 3191929 w 7467600"/>
              <a:gd name="connsiteY50" fmla="*/ 6662669 h 6858000"/>
              <a:gd name="connsiteX51" fmla="*/ 3369898 w 7467600"/>
              <a:gd name="connsiteY51" fmla="*/ 6081771 h 6858000"/>
              <a:gd name="connsiteX52" fmla="*/ 3642057 w 7467600"/>
              <a:gd name="connsiteY52" fmla="*/ 5573487 h 6858000"/>
              <a:gd name="connsiteX53" fmla="*/ 2650666 w 7467600"/>
              <a:gd name="connsiteY53" fmla="*/ 5530686 h 6858000"/>
              <a:gd name="connsiteX54" fmla="*/ 2650249 w 7467600"/>
              <a:gd name="connsiteY54" fmla="*/ 5532101 h 6858000"/>
              <a:gd name="connsiteX55" fmla="*/ 2663808 w 7467600"/>
              <a:gd name="connsiteY55" fmla="*/ 6535215 h 6858000"/>
              <a:gd name="connsiteX56" fmla="*/ 2665418 w 7467600"/>
              <a:gd name="connsiteY56" fmla="*/ 6132756 h 6858000"/>
              <a:gd name="connsiteX57" fmla="*/ 2650666 w 7467600"/>
              <a:gd name="connsiteY57" fmla="*/ 5530686 h 6858000"/>
              <a:gd name="connsiteX58" fmla="*/ 2680277 w 7467600"/>
              <a:gd name="connsiteY58" fmla="*/ 5479204 h 6858000"/>
              <a:gd name="connsiteX59" fmla="*/ 2678972 w 7467600"/>
              <a:gd name="connsiteY59" fmla="*/ 5481582 h 6858000"/>
              <a:gd name="connsiteX60" fmla="*/ 2696666 w 7467600"/>
              <a:gd name="connsiteY60" fmla="*/ 6133836 h 6858000"/>
              <a:gd name="connsiteX61" fmla="*/ 2695769 w 7467600"/>
              <a:gd name="connsiteY61" fmla="*/ 6390955 h 6858000"/>
              <a:gd name="connsiteX62" fmla="*/ 2739893 w 7467600"/>
              <a:gd name="connsiteY62" fmla="*/ 6108357 h 6858000"/>
              <a:gd name="connsiteX63" fmla="*/ 2680277 w 7467600"/>
              <a:gd name="connsiteY63" fmla="*/ 5479204 h 6858000"/>
              <a:gd name="connsiteX64" fmla="*/ 1132195 w 7467600"/>
              <a:gd name="connsiteY64" fmla="*/ 5467980 h 6858000"/>
              <a:gd name="connsiteX65" fmla="*/ 1679056 w 7467600"/>
              <a:gd name="connsiteY65" fmla="*/ 5516907 h 6858000"/>
              <a:gd name="connsiteX66" fmla="*/ 2128648 w 7467600"/>
              <a:gd name="connsiteY66" fmla="*/ 5474249 h 6858000"/>
              <a:gd name="connsiteX67" fmla="*/ 1825619 w 7467600"/>
              <a:gd name="connsiteY67" fmla="*/ 5478447 h 6858000"/>
              <a:gd name="connsiteX68" fmla="*/ 1737798 w 7467600"/>
              <a:gd name="connsiteY68" fmla="*/ 5483353 h 6858000"/>
              <a:gd name="connsiteX69" fmla="*/ 1132195 w 7467600"/>
              <a:gd name="connsiteY69" fmla="*/ 5467980 h 6858000"/>
              <a:gd name="connsiteX70" fmla="*/ 1456157 w 7467600"/>
              <a:gd name="connsiteY70" fmla="*/ 5371404 h 6858000"/>
              <a:gd name="connsiteX71" fmla="*/ 1244432 w 7467600"/>
              <a:gd name="connsiteY71" fmla="*/ 5385601 h 6858000"/>
              <a:gd name="connsiteX72" fmla="*/ 973990 w 7467600"/>
              <a:gd name="connsiteY72" fmla="*/ 5424940 h 6858000"/>
              <a:gd name="connsiteX73" fmla="*/ 1103809 w 7467600"/>
              <a:gd name="connsiteY73" fmla="*/ 5433720 h 6858000"/>
              <a:gd name="connsiteX74" fmla="*/ 1123454 w 7467600"/>
              <a:gd name="connsiteY74" fmla="*/ 5435727 h 6858000"/>
              <a:gd name="connsiteX75" fmla="*/ 1737017 w 7467600"/>
              <a:gd name="connsiteY75" fmla="*/ 5452183 h 6858000"/>
              <a:gd name="connsiteX76" fmla="*/ 1824397 w 7467600"/>
              <a:gd name="connsiteY76" fmla="*/ 5447757 h 6858000"/>
              <a:gd name="connsiteX77" fmla="*/ 2070059 w 7467600"/>
              <a:gd name="connsiteY77" fmla="*/ 5441660 h 6858000"/>
              <a:gd name="connsiteX78" fmla="*/ 1456157 w 7467600"/>
              <a:gd name="connsiteY78" fmla="*/ 5371404 h 6858000"/>
              <a:gd name="connsiteX79" fmla="*/ 4988186 w 7467600"/>
              <a:gd name="connsiteY79" fmla="*/ 5216467 h 6858000"/>
              <a:gd name="connsiteX80" fmla="*/ 4777334 w 7467600"/>
              <a:gd name="connsiteY80" fmla="*/ 5406072 h 6858000"/>
              <a:gd name="connsiteX81" fmla="*/ 4718341 w 7467600"/>
              <a:gd name="connsiteY81" fmla="*/ 5468043 h 6858000"/>
              <a:gd name="connsiteX82" fmla="*/ 4604655 w 7467600"/>
              <a:gd name="connsiteY82" fmla="*/ 5583434 h 6858000"/>
              <a:gd name="connsiteX83" fmla="*/ 4565074 w 7467600"/>
              <a:gd name="connsiteY83" fmla="*/ 5618550 h 6858000"/>
              <a:gd name="connsiteX84" fmla="*/ 4988186 w 7467600"/>
              <a:gd name="connsiteY84" fmla="*/ 5216467 h 6858000"/>
              <a:gd name="connsiteX85" fmla="*/ 4978032 w 7467600"/>
              <a:gd name="connsiteY85" fmla="*/ 5183809 h 6858000"/>
              <a:gd name="connsiteX86" fmla="*/ 4463413 w 7467600"/>
              <a:gd name="connsiteY86" fmla="*/ 5615162 h 6858000"/>
              <a:gd name="connsiteX87" fmla="*/ 4358134 w 7467600"/>
              <a:gd name="connsiteY87" fmla="*/ 5742791 h 6858000"/>
              <a:gd name="connsiteX88" fmla="*/ 4376219 w 7467600"/>
              <a:gd name="connsiteY88" fmla="*/ 5729027 h 6858000"/>
              <a:gd name="connsiteX89" fmla="*/ 4582340 w 7467600"/>
              <a:gd name="connsiteY89" fmla="*/ 5561037 h 6858000"/>
              <a:gd name="connsiteX90" fmla="*/ 4694684 w 7467600"/>
              <a:gd name="connsiteY90" fmla="*/ 5447098 h 6858000"/>
              <a:gd name="connsiteX91" fmla="*/ 4754123 w 7467600"/>
              <a:gd name="connsiteY91" fmla="*/ 5384643 h 6858000"/>
              <a:gd name="connsiteX92" fmla="*/ 4978032 w 7467600"/>
              <a:gd name="connsiteY92" fmla="*/ 5183809 h 6858000"/>
              <a:gd name="connsiteX93" fmla="*/ 1903353 w 7467600"/>
              <a:gd name="connsiteY93" fmla="*/ 5044827 h 6858000"/>
              <a:gd name="connsiteX94" fmla="*/ 1936931 w 7467600"/>
              <a:gd name="connsiteY94" fmla="*/ 5093954 h 6858000"/>
              <a:gd name="connsiteX95" fmla="*/ 2195868 w 7467600"/>
              <a:gd name="connsiteY95" fmla="*/ 5396574 h 6858000"/>
              <a:gd name="connsiteX96" fmla="*/ 2088852 w 7467600"/>
              <a:gd name="connsiteY96" fmla="*/ 5166123 h 6858000"/>
              <a:gd name="connsiteX97" fmla="*/ 1958241 w 7467600"/>
              <a:gd name="connsiteY97" fmla="*/ 5067955 h 6858000"/>
              <a:gd name="connsiteX98" fmla="*/ 1903353 w 7467600"/>
              <a:gd name="connsiteY98" fmla="*/ 5044827 h 6858000"/>
              <a:gd name="connsiteX99" fmla="*/ 1979378 w 7467600"/>
              <a:gd name="connsiteY99" fmla="*/ 4769504 h 6858000"/>
              <a:gd name="connsiteX100" fmla="*/ 2882120 w 7467600"/>
              <a:gd name="connsiteY100" fmla="*/ 5064547 h 6858000"/>
              <a:gd name="connsiteX101" fmla="*/ 2793103 w 7467600"/>
              <a:gd name="connsiteY101" fmla="*/ 5039699 h 6858000"/>
              <a:gd name="connsiteX102" fmla="*/ 2770041 w 7467600"/>
              <a:gd name="connsiteY102" fmla="*/ 5033634 h 6858000"/>
              <a:gd name="connsiteX103" fmla="*/ 1979378 w 7467600"/>
              <a:gd name="connsiteY103" fmla="*/ 4769504 h 6858000"/>
              <a:gd name="connsiteX104" fmla="*/ 1927410 w 7467600"/>
              <a:gd name="connsiteY104" fmla="*/ 4716164 h 6858000"/>
              <a:gd name="connsiteX105" fmla="*/ 1959587 w 7467600"/>
              <a:gd name="connsiteY105" fmla="*/ 4728849 h 6858000"/>
              <a:gd name="connsiteX106" fmla="*/ 2777707 w 7467600"/>
              <a:gd name="connsiteY106" fmla="*/ 5003991 h 6858000"/>
              <a:gd name="connsiteX107" fmla="*/ 2800768 w 7467600"/>
              <a:gd name="connsiteY107" fmla="*/ 5010056 h 6858000"/>
              <a:gd name="connsiteX108" fmla="*/ 2879408 w 7467600"/>
              <a:gd name="connsiteY108" fmla="*/ 5031590 h 6858000"/>
              <a:gd name="connsiteX109" fmla="*/ 2862295 w 7467600"/>
              <a:gd name="connsiteY109" fmla="*/ 5022958 h 6858000"/>
              <a:gd name="connsiteX110" fmla="*/ 2813343 w 7467600"/>
              <a:gd name="connsiteY110" fmla="*/ 4998369 h 6858000"/>
              <a:gd name="connsiteX111" fmla="*/ 2646245 w 7467600"/>
              <a:gd name="connsiteY111" fmla="*/ 4930999 h 6858000"/>
              <a:gd name="connsiteX112" fmla="*/ 1999243 w 7467600"/>
              <a:gd name="connsiteY112" fmla="*/ 4730524 h 6858000"/>
              <a:gd name="connsiteX113" fmla="*/ 1979527 w 7467600"/>
              <a:gd name="connsiteY113" fmla="*/ 4726651 h 6858000"/>
              <a:gd name="connsiteX114" fmla="*/ 1927410 w 7467600"/>
              <a:gd name="connsiteY114" fmla="*/ 4716164 h 6858000"/>
              <a:gd name="connsiteX115" fmla="*/ 1997014 w 7467600"/>
              <a:gd name="connsiteY115" fmla="*/ 4698007 h 6858000"/>
              <a:gd name="connsiteX116" fmla="*/ 2005458 w 7467600"/>
              <a:gd name="connsiteY116" fmla="*/ 4699540 h 6858000"/>
              <a:gd name="connsiteX117" fmla="*/ 2657186 w 7467600"/>
              <a:gd name="connsiteY117" fmla="*/ 4901687 h 6858000"/>
              <a:gd name="connsiteX118" fmla="*/ 2826662 w 7467600"/>
              <a:gd name="connsiteY118" fmla="*/ 4970362 h 6858000"/>
              <a:gd name="connsiteX119" fmla="*/ 2876100 w 7467600"/>
              <a:gd name="connsiteY119" fmla="*/ 4995397 h 6858000"/>
              <a:gd name="connsiteX120" fmla="*/ 3042600 w 7467600"/>
              <a:gd name="connsiteY120" fmla="*/ 5059532 h 6858000"/>
              <a:gd name="connsiteX121" fmla="*/ 1997014 w 7467600"/>
              <a:gd name="connsiteY121" fmla="*/ 4698007 h 6858000"/>
              <a:gd name="connsiteX122" fmla="*/ 2305292 w 7467600"/>
              <a:gd name="connsiteY122" fmla="*/ 4219492 h 6858000"/>
              <a:gd name="connsiteX123" fmla="*/ 3360922 w 7467600"/>
              <a:gd name="connsiteY123" fmla="*/ 4529373 h 6858000"/>
              <a:gd name="connsiteX124" fmla="*/ 3492420 w 7467600"/>
              <a:gd name="connsiteY124" fmla="*/ 4510145 h 6858000"/>
              <a:gd name="connsiteX125" fmla="*/ 3364086 w 7467600"/>
              <a:gd name="connsiteY125" fmla="*/ 4480340 h 6858000"/>
              <a:gd name="connsiteX126" fmla="*/ 3225818 w 7467600"/>
              <a:gd name="connsiteY126" fmla="*/ 4411822 h 6858000"/>
              <a:gd name="connsiteX127" fmla="*/ 3129696 w 7467600"/>
              <a:gd name="connsiteY127" fmla="*/ 4360704 h 6858000"/>
              <a:gd name="connsiteX128" fmla="*/ 2814545 w 7467600"/>
              <a:gd name="connsiteY128" fmla="*/ 4282955 h 6858000"/>
              <a:gd name="connsiteX129" fmla="*/ 2305292 w 7467600"/>
              <a:gd name="connsiteY129" fmla="*/ 4219492 h 6858000"/>
              <a:gd name="connsiteX130" fmla="*/ 2626982 w 7467600"/>
              <a:gd name="connsiteY130" fmla="*/ 4206450 h 6858000"/>
              <a:gd name="connsiteX131" fmla="*/ 2490617 w 7467600"/>
              <a:gd name="connsiteY131" fmla="*/ 4206951 h 6858000"/>
              <a:gd name="connsiteX132" fmla="*/ 2819869 w 7467600"/>
              <a:gd name="connsiteY132" fmla="*/ 4252936 h 6858000"/>
              <a:gd name="connsiteX133" fmla="*/ 3143018 w 7467600"/>
              <a:gd name="connsiteY133" fmla="*/ 4332698 h 6858000"/>
              <a:gd name="connsiteX134" fmla="*/ 3241520 w 7467600"/>
              <a:gd name="connsiteY134" fmla="*/ 4385112 h 6858000"/>
              <a:gd name="connsiteX135" fmla="*/ 3374575 w 7467600"/>
              <a:gd name="connsiteY135" fmla="*/ 4451517 h 6858000"/>
              <a:gd name="connsiteX136" fmla="*/ 3505221 w 7467600"/>
              <a:gd name="connsiteY136" fmla="*/ 4480757 h 6858000"/>
              <a:gd name="connsiteX137" fmla="*/ 2626982 w 7467600"/>
              <a:gd name="connsiteY137" fmla="*/ 4206450 h 6858000"/>
              <a:gd name="connsiteX138" fmla="*/ 1310106 w 7467600"/>
              <a:gd name="connsiteY138" fmla="*/ 3943217 h 6858000"/>
              <a:gd name="connsiteX139" fmla="*/ 854994 w 7467600"/>
              <a:gd name="connsiteY139" fmla="*/ 4399136 h 6858000"/>
              <a:gd name="connsiteX140" fmla="*/ 742462 w 7467600"/>
              <a:gd name="connsiteY140" fmla="*/ 4594648 h 6858000"/>
              <a:gd name="connsiteX141" fmla="*/ 820602 w 7467600"/>
              <a:gd name="connsiteY141" fmla="*/ 4485915 h 6858000"/>
              <a:gd name="connsiteX142" fmla="*/ 878295 w 7467600"/>
              <a:gd name="connsiteY142" fmla="*/ 4403594 h 6858000"/>
              <a:gd name="connsiteX143" fmla="*/ 1240607 w 7467600"/>
              <a:gd name="connsiteY143" fmla="*/ 4010401 h 6858000"/>
              <a:gd name="connsiteX144" fmla="*/ 1310106 w 7467600"/>
              <a:gd name="connsiteY144" fmla="*/ 3943217 h 6858000"/>
              <a:gd name="connsiteX145" fmla="*/ 1423113 w 7467600"/>
              <a:gd name="connsiteY145" fmla="*/ 3874565 h 6858000"/>
              <a:gd name="connsiteX146" fmla="*/ 1260565 w 7467600"/>
              <a:gd name="connsiteY146" fmla="*/ 4031982 h 6858000"/>
              <a:gd name="connsiteX147" fmla="*/ 901900 w 7467600"/>
              <a:gd name="connsiteY147" fmla="*/ 4421236 h 6858000"/>
              <a:gd name="connsiteX148" fmla="*/ 845044 w 7467600"/>
              <a:gd name="connsiteY148" fmla="*/ 4502436 h 6858000"/>
              <a:gd name="connsiteX149" fmla="*/ 685926 w 7467600"/>
              <a:gd name="connsiteY149" fmla="*/ 4703069 h 6858000"/>
              <a:gd name="connsiteX150" fmla="*/ 684248 w 7467600"/>
              <a:gd name="connsiteY150" fmla="*/ 4706721 h 6858000"/>
              <a:gd name="connsiteX151" fmla="*/ 1423113 w 7467600"/>
              <a:gd name="connsiteY151" fmla="*/ 3874565 h 6858000"/>
              <a:gd name="connsiteX152" fmla="*/ 3316479 w 7467600"/>
              <a:gd name="connsiteY152" fmla="*/ 3872136 h 6858000"/>
              <a:gd name="connsiteX153" fmla="*/ 3546806 w 7467600"/>
              <a:gd name="connsiteY153" fmla="*/ 4356139 h 6858000"/>
              <a:gd name="connsiteX154" fmla="*/ 3364433 w 7467600"/>
              <a:gd name="connsiteY154" fmla="*/ 3953121 h 6858000"/>
              <a:gd name="connsiteX155" fmla="*/ 3316479 w 7467600"/>
              <a:gd name="connsiteY155" fmla="*/ 3872136 h 6858000"/>
              <a:gd name="connsiteX156" fmla="*/ 3291335 w 7467600"/>
              <a:gd name="connsiteY156" fmla="*/ 3767420 h 6858000"/>
              <a:gd name="connsiteX157" fmla="*/ 3390805 w 7467600"/>
              <a:gd name="connsiteY157" fmla="*/ 3937163 h 6858000"/>
              <a:gd name="connsiteX158" fmla="*/ 3579062 w 7467600"/>
              <a:gd name="connsiteY158" fmla="*/ 4359040 h 6858000"/>
              <a:gd name="connsiteX159" fmla="*/ 3467355 w 7467600"/>
              <a:gd name="connsiteY159" fmla="*/ 3988130 h 6858000"/>
              <a:gd name="connsiteX160" fmla="*/ 3310753 w 7467600"/>
              <a:gd name="connsiteY160" fmla="*/ 3787140 h 6858000"/>
              <a:gd name="connsiteX161" fmla="*/ 3291335 w 7467600"/>
              <a:gd name="connsiteY161" fmla="*/ 3767420 h 6858000"/>
              <a:gd name="connsiteX162" fmla="*/ 1635889 w 7467600"/>
              <a:gd name="connsiteY162" fmla="*/ 3709494 h 6858000"/>
              <a:gd name="connsiteX163" fmla="*/ 1634800 w 7467600"/>
              <a:gd name="connsiteY163" fmla="*/ 3731111 h 6858000"/>
              <a:gd name="connsiteX164" fmla="*/ 1635889 w 7467600"/>
              <a:gd name="connsiteY164" fmla="*/ 3709494 h 6858000"/>
              <a:gd name="connsiteX165" fmla="*/ 1510397 w 7467600"/>
              <a:gd name="connsiteY165" fmla="*/ 3684705 h 6858000"/>
              <a:gd name="connsiteX166" fmla="*/ 1146550 w 7467600"/>
              <a:gd name="connsiteY166" fmla="*/ 3802012 h 6858000"/>
              <a:gd name="connsiteX167" fmla="*/ 698834 w 7467600"/>
              <a:gd name="connsiteY167" fmla="*/ 3952272 h 6858000"/>
              <a:gd name="connsiteX168" fmla="*/ 34256 w 7467600"/>
              <a:gd name="connsiteY168" fmla="*/ 4347603 h 6858000"/>
              <a:gd name="connsiteX169" fmla="*/ 527241 w 7467600"/>
              <a:gd name="connsiteY169" fmla="*/ 4065078 h 6858000"/>
              <a:gd name="connsiteX170" fmla="*/ 1510397 w 7467600"/>
              <a:gd name="connsiteY170" fmla="*/ 3684705 h 6858000"/>
              <a:gd name="connsiteX171" fmla="*/ 1313114 w 7467600"/>
              <a:gd name="connsiteY171" fmla="*/ 3655216 h 6858000"/>
              <a:gd name="connsiteX172" fmla="*/ 1109304 w 7467600"/>
              <a:gd name="connsiteY172" fmla="*/ 3669030 h 6858000"/>
              <a:gd name="connsiteX173" fmla="*/ 8129 w 7467600"/>
              <a:gd name="connsiteY173" fmla="*/ 4330519 h 6858000"/>
              <a:gd name="connsiteX174" fmla="*/ 687572 w 7467600"/>
              <a:gd name="connsiteY174" fmla="*/ 3925629 h 6858000"/>
              <a:gd name="connsiteX175" fmla="*/ 1138365 w 7467600"/>
              <a:gd name="connsiteY175" fmla="*/ 3774515 h 6858000"/>
              <a:gd name="connsiteX176" fmla="*/ 1505579 w 7467600"/>
              <a:gd name="connsiteY176" fmla="*/ 3655526 h 6858000"/>
              <a:gd name="connsiteX177" fmla="*/ 1313114 w 7467600"/>
              <a:gd name="connsiteY177" fmla="*/ 3655216 h 6858000"/>
              <a:gd name="connsiteX178" fmla="*/ 3655073 w 7467600"/>
              <a:gd name="connsiteY178" fmla="*/ 3650884 h 6858000"/>
              <a:gd name="connsiteX179" fmla="*/ 3989938 w 7467600"/>
              <a:gd name="connsiteY179" fmla="*/ 3991685 h 6858000"/>
              <a:gd name="connsiteX180" fmla="*/ 4393907 w 7467600"/>
              <a:gd name="connsiteY180" fmla="*/ 4261258 h 6858000"/>
              <a:gd name="connsiteX181" fmla="*/ 4648051 w 7467600"/>
              <a:gd name="connsiteY181" fmla="*/ 4374051 h 6858000"/>
              <a:gd name="connsiteX182" fmla="*/ 4383389 w 7467600"/>
              <a:gd name="connsiteY182" fmla="*/ 4184369 h 6858000"/>
              <a:gd name="connsiteX183" fmla="*/ 4165508 w 7467600"/>
              <a:gd name="connsiteY183" fmla="*/ 4035196 h 6858000"/>
              <a:gd name="connsiteX184" fmla="*/ 4068162 w 7467600"/>
              <a:gd name="connsiteY184" fmla="*/ 3953394 h 6858000"/>
              <a:gd name="connsiteX185" fmla="*/ 3981416 w 7467600"/>
              <a:gd name="connsiteY185" fmla="*/ 3880482 h 6858000"/>
              <a:gd name="connsiteX186" fmla="*/ 3800147 w 7467600"/>
              <a:gd name="connsiteY186" fmla="*/ 3749872 h 6858000"/>
              <a:gd name="connsiteX187" fmla="*/ 3655073 w 7467600"/>
              <a:gd name="connsiteY187" fmla="*/ 3650884 h 6858000"/>
              <a:gd name="connsiteX188" fmla="*/ 3670252 w 7467600"/>
              <a:gd name="connsiteY188" fmla="*/ 3622798 h 6858000"/>
              <a:gd name="connsiteX189" fmla="*/ 3817258 w 7467600"/>
              <a:gd name="connsiteY189" fmla="*/ 3723577 h 6858000"/>
              <a:gd name="connsiteX190" fmla="*/ 4000461 w 7467600"/>
              <a:gd name="connsiteY190" fmla="*/ 3855966 h 6858000"/>
              <a:gd name="connsiteX191" fmla="*/ 4088180 w 7467600"/>
              <a:gd name="connsiteY191" fmla="*/ 3929774 h 6858000"/>
              <a:gd name="connsiteX192" fmla="*/ 4184555 w 7467600"/>
              <a:gd name="connsiteY192" fmla="*/ 4010683 h 6858000"/>
              <a:gd name="connsiteX193" fmla="*/ 4399563 w 7467600"/>
              <a:gd name="connsiteY193" fmla="*/ 4158106 h 6858000"/>
              <a:gd name="connsiteX194" fmla="*/ 4684469 w 7467600"/>
              <a:gd name="connsiteY194" fmla="*/ 4364680 h 6858000"/>
              <a:gd name="connsiteX195" fmla="*/ 4690271 w 7467600"/>
              <a:gd name="connsiteY195" fmla="*/ 4370034 h 6858000"/>
              <a:gd name="connsiteX196" fmla="*/ 4136093 w 7467600"/>
              <a:gd name="connsiteY196" fmla="*/ 3858466 h 6858000"/>
              <a:gd name="connsiteX197" fmla="*/ 3670252 w 7467600"/>
              <a:gd name="connsiteY197" fmla="*/ 3622798 h 6858000"/>
              <a:gd name="connsiteX198" fmla="*/ 4440129 w 7467600"/>
              <a:gd name="connsiteY198" fmla="*/ 3448571 h 6858000"/>
              <a:gd name="connsiteX199" fmla="*/ 4856525 w 7467600"/>
              <a:gd name="connsiteY199" fmla="*/ 3915351 h 6858000"/>
              <a:gd name="connsiteX200" fmla="*/ 5059055 w 7467600"/>
              <a:gd name="connsiteY200" fmla="*/ 4108918 h 6858000"/>
              <a:gd name="connsiteX201" fmla="*/ 5290070 w 7467600"/>
              <a:gd name="connsiteY201" fmla="*/ 4263619 h 6858000"/>
              <a:gd name="connsiteX202" fmla="*/ 4834991 w 7467600"/>
              <a:gd name="connsiteY202" fmla="*/ 3830985 h 6858000"/>
              <a:gd name="connsiteX203" fmla="*/ 4440129 w 7467600"/>
              <a:gd name="connsiteY203" fmla="*/ 3448571 h 6858000"/>
              <a:gd name="connsiteX204" fmla="*/ 4441737 w 7467600"/>
              <a:gd name="connsiteY204" fmla="*/ 3399734 h 6858000"/>
              <a:gd name="connsiteX205" fmla="*/ 4431236 w 7467600"/>
              <a:gd name="connsiteY205" fmla="*/ 3400954 h 6858000"/>
              <a:gd name="connsiteX206" fmla="*/ 4557150 w 7467600"/>
              <a:gd name="connsiteY206" fmla="*/ 3510023 h 6858000"/>
              <a:gd name="connsiteX207" fmla="*/ 4856936 w 7467600"/>
              <a:gd name="connsiteY207" fmla="*/ 3809146 h 6858000"/>
              <a:gd name="connsiteX208" fmla="*/ 5111996 w 7467600"/>
              <a:gd name="connsiteY208" fmla="*/ 4065759 h 6858000"/>
              <a:gd name="connsiteX209" fmla="*/ 5388878 w 7467600"/>
              <a:gd name="connsiteY209" fmla="*/ 4300185 h 6858000"/>
              <a:gd name="connsiteX210" fmla="*/ 5425556 w 7467600"/>
              <a:gd name="connsiteY210" fmla="*/ 4308967 h 6858000"/>
              <a:gd name="connsiteX211" fmla="*/ 4943646 w 7467600"/>
              <a:gd name="connsiteY211" fmla="*/ 3822916 h 6858000"/>
              <a:gd name="connsiteX212" fmla="*/ 4594837 w 7467600"/>
              <a:gd name="connsiteY212" fmla="*/ 3532274 h 6858000"/>
              <a:gd name="connsiteX213" fmla="*/ 4441737 w 7467600"/>
              <a:gd name="connsiteY213" fmla="*/ 3399734 h 6858000"/>
              <a:gd name="connsiteX214" fmla="*/ 5425834 w 7467600"/>
              <a:gd name="connsiteY214" fmla="*/ 3162785 h 6858000"/>
              <a:gd name="connsiteX215" fmla="*/ 5401644 w 7467600"/>
              <a:gd name="connsiteY215" fmla="*/ 3617847 h 6858000"/>
              <a:gd name="connsiteX216" fmla="*/ 5467256 w 7467600"/>
              <a:gd name="connsiteY216" fmla="*/ 4175494 h 6858000"/>
              <a:gd name="connsiteX217" fmla="*/ 5448069 w 7467600"/>
              <a:gd name="connsiteY217" fmla="*/ 3567554 h 6858000"/>
              <a:gd name="connsiteX218" fmla="*/ 5425834 w 7467600"/>
              <a:gd name="connsiteY218" fmla="*/ 3162785 h 6858000"/>
              <a:gd name="connsiteX219" fmla="*/ 1318687 w 7467600"/>
              <a:gd name="connsiteY219" fmla="*/ 3113840 h 6858000"/>
              <a:gd name="connsiteX220" fmla="*/ 1066793 w 7467600"/>
              <a:gd name="connsiteY220" fmla="*/ 3212171 h 6858000"/>
              <a:gd name="connsiteX221" fmla="*/ 993319 w 7467600"/>
              <a:gd name="connsiteY221" fmla="*/ 3247648 h 6858000"/>
              <a:gd name="connsiteX222" fmla="*/ 853081 w 7467600"/>
              <a:gd name="connsiteY222" fmla="*/ 3312410 h 6858000"/>
              <a:gd name="connsiteX223" fmla="*/ 805957 w 7467600"/>
              <a:gd name="connsiteY223" fmla="*/ 3330443 h 6858000"/>
              <a:gd name="connsiteX224" fmla="*/ 1318687 w 7467600"/>
              <a:gd name="connsiteY224" fmla="*/ 3113840 h 6858000"/>
              <a:gd name="connsiteX225" fmla="*/ 5453702 w 7467600"/>
              <a:gd name="connsiteY225" fmla="*/ 3090882 h 6858000"/>
              <a:gd name="connsiteX226" fmla="*/ 5480135 w 7467600"/>
              <a:gd name="connsiteY226" fmla="*/ 3565802 h 6858000"/>
              <a:gd name="connsiteX227" fmla="*/ 5499023 w 7467600"/>
              <a:gd name="connsiteY227" fmla="*/ 4166310 h 6858000"/>
              <a:gd name="connsiteX228" fmla="*/ 5547022 w 7467600"/>
              <a:gd name="connsiteY228" fmla="*/ 3607838 h 6858000"/>
              <a:gd name="connsiteX229" fmla="*/ 5515964 w 7467600"/>
              <a:gd name="connsiteY229" fmla="*/ 3378541 h 6858000"/>
              <a:gd name="connsiteX230" fmla="*/ 5453702 w 7467600"/>
              <a:gd name="connsiteY230" fmla="*/ 3090882 h 6858000"/>
              <a:gd name="connsiteX231" fmla="*/ 1238695 w 7467600"/>
              <a:gd name="connsiteY231" fmla="*/ 3076820 h 6858000"/>
              <a:gd name="connsiteX232" fmla="*/ 716371 w 7467600"/>
              <a:gd name="connsiteY232" fmla="*/ 3293249 h 6858000"/>
              <a:gd name="connsiteX233" fmla="*/ 579522 w 7467600"/>
              <a:gd name="connsiteY233" fmla="*/ 3371759 h 6858000"/>
              <a:gd name="connsiteX234" fmla="*/ 600288 w 7467600"/>
              <a:gd name="connsiteY234" fmla="*/ 3365555 h 6858000"/>
              <a:gd name="connsiteX235" fmla="*/ 840692 w 7467600"/>
              <a:gd name="connsiteY235" fmla="*/ 3284921 h 6858000"/>
              <a:gd name="connsiteX236" fmla="*/ 979248 w 7467600"/>
              <a:gd name="connsiteY236" fmla="*/ 3221003 h 6858000"/>
              <a:gd name="connsiteX237" fmla="*/ 1053282 w 7467600"/>
              <a:gd name="connsiteY237" fmla="*/ 3185247 h 6858000"/>
              <a:gd name="connsiteX238" fmla="*/ 1320603 w 7467600"/>
              <a:gd name="connsiteY238" fmla="*/ 3081281 h 6858000"/>
              <a:gd name="connsiteX239" fmla="*/ 1238695 w 7467600"/>
              <a:gd name="connsiteY239" fmla="*/ 3076820 h 6858000"/>
              <a:gd name="connsiteX240" fmla="*/ 5425627 w 7467600"/>
              <a:gd name="connsiteY240" fmla="*/ 2954192 h 6858000"/>
              <a:gd name="connsiteX241" fmla="*/ 5470770 w 7467600"/>
              <a:gd name="connsiteY241" fmla="*/ 3005435 h 6858000"/>
              <a:gd name="connsiteX242" fmla="*/ 5519779 w 7467600"/>
              <a:gd name="connsiteY242" fmla="*/ 4359223 h 6858000"/>
              <a:gd name="connsiteX243" fmla="*/ 5520293 w 7467600"/>
              <a:gd name="connsiteY243" fmla="*/ 4360602 h 6858000"/>
              <a:gd name="connsiteX244" fmla="*/ 5767221 w 7467600"/>
              <a:gd name="connsiteY244" fmla="*/ 4665564 h 6858000"/>
              <a:gd name="connsiteX245" fmla="*/ 6937169 w 7467600"/>
              <a:gd name="connsiteY245" fmla="*/ 4815941 h 6858000"/>
              <a:gd name="connsiteX246" fmla="*/ 6953922 w 7467600"/>
              <a:gd name="connsiteY246" fmla="*/ 4890068 h 6858000"/>
              <a:gd name="connsiteX247" fmla="*/ 6071359 w 7467600"/>
              <a:gd name="connsiteY247" fmla="*/ 4770770 h 6858000"/>
              <a:gd name="connsiteX248" fmla="*/ 6038839 w 7467600"/>
              <a:gd name="connsiteY248" fmla="*/ 4764474 h 6858000"/>
              <a:gd name="connsiteX249" fmla="*/ 6038706 w 7467600"/>
              <a:gd name="connsiteY249" fmla="*/ 4763847 h 6858000"/>
              <a:gd name="connsiteX250" fmla="*/ 6037784 w 7467600"/>
              <a:gd name="connsiteY250" fmla="*/ 4764270 h 6858000"/>
              <a:gd name="connsiteX251" fmla="*/ 6038839 w 7467600"/>
              <a:gd name="connsiteY251" fmla="*/ 4764474 h 6858000"/>
              <a:gd name="connsiteX252" fmla="*/ 6040338 w 7467600"/>
              <a:gd name="connsiteY252" fmla="*/ 4771418 h 6858000"/>
              <a:gd name="connsiteX253" fmla="*/ 6024488 w 7467600"/>
              <a:gd name="connsiteY253" fmla="*/ 4809903 h 6858000"/>
              <a:gd name="connsiteX254" fmla="*/ 5599771 w 7467600"/>
              <a:gd name="connsiteY254" fmla="*/ 5509652 h 6858000"/>
              <a:gd name="connsiteX255" fmla="*/ 5548843 w 7467600"/>
              <a:gd name="connsiteY255" fmla="*/ 5563845 h 6858000"/>
              <a:gd name="connsiteX256" fmla="*/ 5940952 w 7467600"/>
              <a:gd name="connsiteY256" fmla="*/ 6250028 h 6858000"/>
              <a:gd name="connsiteX257" fmla="*/ 6043441 w 7467600"/>
              <a:gd name="connsiteY257" fmla="*/ 6665847 h 6858000"/>
              <a:gd name="connsiteX258" fmla="*/ 6093432 w 7467600"/>
              <a:gd name="connsiteY258" fmla="*/ 6858000 h 6858000"/>
              <a:gd name="connsiteX259" fmla="*/ 6034344 w 7467600"/>
              <a:gd name="connsiteY259" fmla="*/ 6858000 h 6858000"/>
              <a:gd name="connsiteX260" fmla="*/ 6026679 w 7467600"/>
              <a:gd name="connsiteY260" fmla="*/ 6836959 h 6858000"/>
              <a:gd name="connsiteX261" fmla="*/ 5800441 w 7467600"/>
              <a:gd name="connsiteY261" fmla="*/ 6335286 h 6858000"/>
              <a:gd name="connsiteX262" fmla="*/ 5526562 w 7467600"/>
              <a:gd name="connsiteY262" fmla="*/ 5705388 h 6858000"/>
              <a:gd name="connsiteX263" fmla="*/ 5519640 w 7467600"/>
              <a:gd name="connsiteY263" fmla="*/ 5683774 h 6858000"/>
              <a:gd name="connsiteX264" fmla="*/ 5844559 w 7467600"/>
              <a:gd name="connsiteY264" fmla="*/ 6553349 h 6858000"/>
              <a:gd name="connsiteX265" fmla="*/ 5975994 w 7467600"/>
              <a:gd name="connsiteY265" fmla="*/ 6858000 h 6858000"/>
              <a:gd name="connsiteX266" fmla="*/ 5898547 w 7467600"/>
              <a:gd name="connsiteY266" fmla="*/ 6858000 h 6858000"/>
              <a:gd name="connsiteX267" fmla="*/ 5682041 w 7467600"/>
              <a:gd name="connsiteY267" fmla="*/ 6355860 h 6858000"/>
              <a:gd name="connsiteX268" fmla="*/ 5461758 w 7467600"/>
              <a:gd name="connsiteY268" fmla="*/ 5820220 h 6858000"/>
              <a:gd name="connsiteX269" fmla="*/ 5237282 w 7467600"/>
              <a:gd name="connsiteY269" fmla="*/ 6579086 h 6858000"/>
              <a:gd name="connsiteX270" fmla="*/ 5115009 w 7467600"/>
              <a:gd name="connsiteY270" fmla="*/ 6858000 h 6858000"/>
              <a:gd name="connsiteX271" fmla="*/ 5028074 w 7467600"/>
              <a:gd name="connsiteY271" fmla="*/ 6858000 h 6858000"/>
              <a:gd name="connsiteX272" fmla="*/ 5079508 w 7467600"/>
              <a:gd name="connsiteY272" fmla="*/ 6749074 h 6858000"/>
              <a:gd name="connsiteX273" fmla="*/ 5371846 w 7467600"/>
              <a:gd name="connsiteY273" fmla="*/ 5924413 h 6858000"/>
              <a:gd name="connsiteX274" fmla="*/ 5270512 w 7467600"/>
              <a:gd name="connsiteY274" fmla="*/ 6138975 h 6858000"/>
              <a:gd name="connsiteX275" fmla="*/ 5062409 w 7467600"/>
              <a:gd name="connsiteY275" fmla="*/ 6653544 h 6858000"/>
              <a:gd name="connsiteX276" fmla="*/ 5036628 w 7467600"/>
              <a:gd name="connsiteY276" fmla="*/ 6754247 h 6858000"/>
              <a:gd name="connsiteX277" fmla="*/ 5009112 w 7467600"/>
              <a:gd name="connsiteY277" fmla="*/ 6858000 h 6858000"/>
              <a:gd name="connsiteX278" fmla="*/ 4976679 w 7467600"/>
              <a:gd name="connsiteY278" fmla="*/ 6858000 h 6858000"/>
              <a:gd name="connsiteX279" fmla="*/ 5006537 w 7467600"/>
              <a:gd name="connsiteY279" fmla="*/ 6747068 h 6858000"/>
              <a:gd name="connsiteX280" fmla="*/ 5032723 w 7467600"/>
              <a:gd name="connsiteY280" fmla="*/ 6644957 h 6858000"/>
              <a:gd name="connsiteX281" fmla="*/ 5242949 w 7467600"/>
              <a:gd name="connsiteY281" fmla="*/ 6125175 h 6858000"/>
              <a:gd name="connsiteX282" fmla="*/ 5286321 w 7467600"/>
              <a:gd name="connsiteY282" fmla="*/ 6033555 h 6858000"/>
              <a:gd name="connsiteX283" fmla="*/ 5008210 w 7467600"/>
              <a:gd name="connsiteY283" fmla="*/ 6649194 h 6858000"/>
              <a:gd name="connsiteX284" fmla="*/ 4986321 w 7467600"/>
              <a:gd name="connsiteY284" fmla="*/ 6765687 h 6858000"/>
              <a:gd name="connsiteX285" fmla="*/ 4973474 w 7467600"/>
              <a:gd name="connsiteY285" fmla="*/ 6858000 h 6858000"/>
              <a:gd name="connsiteX286" fmla="*/ 4907178 w 7467600"/>
              <a:gd name="connsiteY286" fmla="*/ 6858000 h 6858000"/>
              <a:gd name="connsiteX287" fmla="*/ 4910810 w 7467600"/>
              <a:gd name="connsiteY287" fmla="*/ 6829660 h 6858000"/>
              <a:gd name="connsiteX288" fmla="*/ 4987461 w 7467600"/>
              <a:gd name="connsiteY288" fmla="*/ 6432994 h 6858000"/>
              <a:gd name="connsiteX289" fmla="*/ 5179262 w 7467600"/>
              <a:gd name="connsiteY289" fmla="*/ 6035044 h 6858000"/>
              <a:gd name="connsiteX290" fmla="*/ 4689678 w 7467600"/>
              <a:gd name="connsiteY290" fmla="*/ 6440241 h 6858000"/>
              <a:gd name="connsiteX291" fmla="*/ 4477543 w 7467600"/>
              <a:gd name="connsiteY291" fmla="*/ 6674836 h 6858000"/>
              <a:gd name="connsiteX292" fmla="*/ 4329957 w 7467600"/>
              <a:gd name="connsiteY292" fmla="*/ 6858000 h 6858000"/>
              <a:gd name="connsiteX293" fmla="*/ 4218595 w 7467600"/>
              <a:gd name="connsiteY293" fmla="*/ 6858000 h 6858000"/>
              <a:gd name="connsiteX294" fmla="*/ 4368888 w 7467600"/>
              <a:gd name="connsiteY294" fmla="*/ 6668412 h 6858000"/>
              <a:gd name="connsiteX295" fmla="*/ 4563091 w 7467600"/>
              <a:gd name="connsiteY295" fmla="*/ 6442508 h 6858000"/>
              <a:gd name="connsiteX296" fmla="*/ 5387324 w 7467600"/>
              <a:gd name="connsiteY296" fmla="*/ 5705830 h 6858000"/>
              <a:gd name="connsiteX297" fmla="*/ 5073620 w 7467600"/>
              <a:gd name="connsiteY297" fmla="*/ 5955437 h 6858000"/>
              <a:gd name="connsiteX298" fmla="*/ 4689789 w 7467600"/>
              <a:gd name="connsiteY298" fmla="*/ 6268382 h 6858000"/>
              <a:gd name="connsiteX299" fmla="*/ 4418722 w 7467600"/>
              <a:gd name="connsiteY299" fmla="*/ 6570886 h 6858000"/>
              <a:gd name="connsiteX300" fmla="*/ 4214944 w 7467600"/>
              <a:gd name="connsiteY300" fmla="*/ 6858000 h 6858000"/>
              <a:gd name="connsiteX301" fmla="*/ 4177898 w 7467600"/>
              <a:gd name="connsiteY301" fmla="*/ 6858000 h 6858000"/>
              <a:gd name="connsiteX302" fmla="*/ 4391597 w 7467600"/>
              <a:gd name="connsiteY302" fmla="*/ 6556370 h 6858000"/>
              <a:gd name="connsiteX303" fmla="*/ 4668889 w 7467600"/>
              <a:gd name="connsiteY303" fmla="*/ 6246399 h 6858000"/>
              <a:gd name="connsiteX304" fmla="*/ 5055427 w 7467600"/>
              <a:gd name="connsiteY304" fmla="*/ 5931476 h 6858000"/>
              <a:gd name="connsiteX305" fmla="*/ 5371814 w 7467600"/>
              <a:gd name="connsiteY305" fmla="*/ 5678975 h 6858000"/>
              <a:gd name="connsiteX306" fmla="*/ 4987918 w 7467600"/>
              <a:gd name="connsiteY306" fmla="*/ 5838701 h 6858000"/>
              <a:gd name="connsiteX307" fmla="*/ 4317146 w 7467600"/>
              <a:gd name="connsiteY307" fmla="*/ 6587716 h 6858000"/>
              <a:gd name="connsiteX308" fmla="*/ 4171627 w 7467600"/>
              <a:gd name="connsiteY308" fmla="*/ 6858000 h 6858000"/>
              <a:gd name="connsiteX309" fmla="*/ 4081585 w 7467600"/>
              <a:gd name="connsiteY309" fmla="*/ 6858000 h 6858000"/>
              <a:gd name="connsiteX310" fmla="*/ 4238603 w 7467600"/>
              <a:gd name="connsiteY310" fmla="*/ 6559341 h 6858000"/>
              <a:gd name="connsiteX311" fmla="*/ 4778333 w 7467600"/>
              <a:gd name="connsiteY311" fmla="*/ 5873626 h 6858000"/>
              <a:gd name="connsiteX312" fmla="*/ 5414185 w 7467600"/>
              <a:gd name="connsiteY312" fmla="*/ 5573882 h 6858000"/>
              <a:gd name="connsiteX313" fmla="*/ 5959648 w 7467600"/>
              <a:gd name="connsiteY313" fmla="*/ 4760797 h 6858000"/>
              <a:gd name="connsiteX314" fmla="*/ 5355019 w 7467600"/>
              <a:gd name="connsiteY314" fmla="*/ 4734672 h 6858000"/>
              <a:gd name="connsiteX315" fmla="*/ 5083565 w 7467600"/>
              <a:gd name="connsiteY315" fmla="*/ 5179121 h 6858000"/>
              <a:gd name="connsiteX316" fmla="*/ 4713577 w 7467600"/>
              <a:gd name="connsiteY316" fmla="*/ 5616803 h 6858000"/>
              <a:gd name="connsiteX317" fmla="*/ 3989559 w 7467600"/>
              <a:gd name="connsiteY317" fmla="*/ 6145945 h 6858000"/>
              <a:gd name="connsiteX318" fmla="*/ 3939824 w 7467600"/>
              <a:gd name="connsiteY318" fmla="*/ 6066900 h 6858000"/>
              <a:gd name="connsiteX319" fmla="*/ 4584537 w 7467600"/>
              <a:gd name="connsiteY319" fmla="*/ 5324826 h 6858000"/>
              <a:gd name="connsiteX320" fmla="*/ 5037105 w 7467600"/>
              <a:gd name="connsiteY320" fmla="*/ 5088765 h 6858000"/>
              <a:gd name="connsiteX321" fmla="*/ 5039930 w 7467600"/>
              <a:gd name="connsiteY321" fmla="*/ 5089585 h 6858000"/>
              <a:gd name="connsiteX322" fmla="*/ 5263764 w 7467600"/>
              <a:gd name="connsiteY322" fmla="*/ 4735525 h 6858000"/>
              <a:gd name="connsiteX323" fmla="*/ 4086300 w 7467600"/>
              <a:gd name="connsiteY323" fmla="*/ 4884599 h 6858000"/>
              <a:gd name="connsiteX324" fmla="*/ 4085485 w 7467600"/>
              <a:gd name="connsiteY324" fmla="*/ 4899070 h 6858000"/>
              <a:gd name="connsiteX325" fmla="*/ 3871915 w 7467600"/>
              <a:gd name="connsiteY325" fmla="*/ 5253645 h 6858000"/>
              <a:gd name="connsiteX326" fmla="*/ 3799374 w 7467600"/>
              <a:gd name="connsiteY326" fmla="*/ 5466127 h 6858000"/>
              <a:gd name="connsiteX327" fmla="*/ 3498850 w 7467600"/>
              <a:gd name="connsiteY327" fmla="*/ 6661888 h 6858000"/>
              <a:gd name="connsiteX328" fmla="*/ 3399216 w 7467600"/>
              <a:gd name="connsiteY328" fmla="*/ 6858000 h 6858000"/>
              <a:gd name="connsiteX329" fmla="*/ 3303688 w 7467600"/>
              <a:gd name="connsiteY329" fmla="*/ 6858000 h 6858000"/>
              <a:gd name="connsiteX330" fmla="*/ 3391774 w 7467600"/>
              <a:gd name="connsiteY330" fmla="*/ 6697181 h 6858000"/>
              <a:gd name="connsiteX331" fmla="*/ 3735540 w 7467600"/>
              <a:gd name="connsiteY331" fmla="*/ 5546923 h 6858000"/>
              <a:gd name="connsiteX332" fmla="*/ 3729438 w 7467600"/>
              <a:gd name="connsiteY332" fmla="*/ 5569058 h 6858000"/>
              <a:gd name="connsiteX333" fmla="*/ 3707782 w 7467600"/>
              <a:gd name="connsiteY333" fmla="*/ 5644908 h 6858000"/>
              <a:gd name="connsiteX334" fmla="*/ 3583827 w 7467600"/>
              <a:gd name="connsiteY334" fmla="*/ 6039215 h 6858000"/>
              <a:gd name="connsiteX335" fmla="*/ 3547861 w 7467600"/>
              <a:gd name="connsiteY335" fmla="*/ 6129609 h 6858000"/>
              <a:gd name="connsiteX336" fmla="*/ 3490905 w 7467600"/>
              <a:gd name="connsiteY336" fmla="*/ 6277660 h 6858000"/>
              <a:gd name="connsiteX337" fmla="*/ 3455859 w 7467600"/>
              <a:gd name="connsiteY337" fmla="*/ 6391301 h 6858000"/>
              <a:gd name="connsiteX338" fmla="*/ 3429112 w 7467600"/>
              <a:gd name="connsiteY338" fmla="*/ 6479469 h 6858000"/>
              <a:gd name="connsiteX339" fmla="*/ 3304862 w 7467600"/>
              <a:gd name="connsiteY339" fmla="*/ 6796476 h 6858000"/>
              <a:gd name="connsiteX340" fmla="*/ 3276071 w 7467600"/>
              <a:gd name="connsiteY340" fmla="*/ 6858000 h 6858000"/>
              <a:gd name="connsiteX341" fmla="*/ 3240805 w 7467600"/>
              <a:gd name="connsiteY341" fmla="*/ 6858000 h 6858000"/>
              <a:gd name="connsiteX342" fmla="*/ 3275917 w 7467600"/>
              <a:gd name="connsiteY342" fmla="*/ 6783192 h 6858000"/>
              <a:gd name="connsiteX343" fmla="*/ 3399358 w 7467600"/>
              <a:gd name="connsiteY343" fmla="*/ 6469011 h 6858000"/>
              <a:gd name="connsiteX344" fmla="*/ 3425650 w 7467600"/>
              <a:gd name="connsiteY344" fmla="*/ 6381333 h 6858000"/>
              <a:gd name="connsiteX345" fmla="*/ 3460661 w 7467600"/>
              <a:gd name="connsiteY345" fmla="*/ 6266763 h 6858000"/>
              <a:gd name="connsiteX346" fmla="*/ 3518021 w 7467600"/>
              <a:gd name="connsiteY346" fmla="*/ 6117298 h 6858000"/>
              <a:gd name="connsiteX347" fmla="*/ 3554035 w 7467600"/>
              <a:gd name="connsiteY347" fmla="*/ 6027832 h 6858000"/>
              <a:gd name="connsiteX348" fmla="*/ 3677174 w 7467600"/>
              <a:gd name="connsiteY348" fmla="*/ 5636351 h 6858000"/>
              <a:gd name="connsiteX349" fmla="*/ 3698819 w 7467600"/>
              <a:gd name="connsiteY349" fmla="*/ 5560503 h 6858000"/>
              <a:gd name="connsiteX350" fmla="*/ 3702094 w 7467600"/>
              <a:gd name="connsiteY350" fmla="*/ 5549194 h 6858000"/>
              <a:gd name="connsiteX351" fmla="*/ 3398355 w 7467600"/>
              <a:gd name="connsiteY351" fmla="*/ 6094603 h 6858000"/>
              <a:gd name="connsiteX352" fmla="*/ 3193941 w 7467600"/>
              <a:gd name="connsiteY352" fmla="*/ 6798775 h 6858000"/>
              <a:gd name="connsiteX353" fmla="*/ 3184140 w 7467600"/>
              <a:gd name="connsiteY353" fmla="*/ 6858000 h 6858000"/>
              <a:gd name="connsiteX354" fmla="*/ 3099978 w 7467600"/>
              <a:gd name="connsiteY354" fmla="*/ 6858000 h 6858000"/>
              <a:gd name="connsiteX355" fmla="*/ 3101556 w 7467600"/>
              <a:gd name="connsiteY355" fmla="*/ 6843337 h 6858000"/>
              <a:gd name="connsiteX356" fmla="*/ 3370162 w 7467600"/>
              <a:gd name="connsiteY356" fmla="*/ 5785550 h 6858000"/>
              <a:gd name="connsiteX357" fmla="*/ 3746477 w 7467600"/>
              <a:gd name="connsiteY357" fmla="*/ 5377889 h 6858000"/>
              <a:gd name="connsiteX358" fmla="*/ 3863399 w 7467600"/>
              <a:gd name="connsiteY358" fmla="*/ 5087257 h 6858000"/>
              <a:gd name="connsiteX359" fmla="*/ 3968712 w 7467600"/>
              <a:gd name="connsiteY359" fmla="*/ 4913989 h 6858000"/>
              <a:gd name="connsiteX360" fmla="*/ 2792390 w 7467600"/>
              <a:gd name="connsiteY360" fmla="*/ 5382974 h 6858000"/>
              <a:gd name="connsiteX361" fmla="*/ 2714982 w 7467600"/>
              <a:gd name="connsiteY361" fmla="*/ 5427051 h 6858000"/>
              <a:gd name="connsiteX362" fmla="*/ 2813361 w 7467600"/>
              <a:gd name="connsiteY362" fmla="*/ 6023912 h 6858000"/>
              <a:gd name="connsiteX363" fmla="*/ 2688430 w 7467600"/>
              <a:gd name="connsiteY363" fmla="*/ 6801564 h 6858000"/>
              <a:gd name="connsiteX364" fmla="*/ 2629626 w 7467600"/>
              <a:gd name="connsiteY364" fmla="*/ 6763394 h 6858000"/>
              <a:gd name="connsiteX365" fmla="*/ 2565328 w 7467600"/>
              <a:gd name="connsiteY365" fmla="*/ 5516399 h 6858000"/>
              <a:gd name="connsiteX366" fmla="*/ 1922999 w 7467600"/>
              <a:gd name="connsiteY366" fmla="*/ 5980343 h 6858000"/>
              <a:gd name="connsiteX367" fmla="*/ 1950261 w 7467600"/>
              <a:gd name="connsiteY367" fmla="*/ 6405858 h 6858000"/>
              <a:gd name="connsiteX368" fmla="*/ 2365554 w 7467600"/>
              <a:gd name="connsiteY368" fmla="*/ 6759107 h 6858000"/>
              <a:gd name="connsiteX369" fmla="*/ 2424142 w 7467600"/>
              <a:gd name="connsiteY369" fmla="*/ 6858000 h 6858000"/>
              <a:gd name="connsiteX370" fmla="*/ 2395994 w 7467600"/>
              <a:gd name="connsiteY370" fmla="*/ 6858000 h 6858000"/>
              <a:gd name="connsiteX371" fmla="*/ 2392863 w 7467600"/>
              <a:gd name="connsiteY371" fmla="*/ 6852964 h 6858000"/>
              <a:gd name="connsiteX372" fmla="*/ 2017589 w 7467600"/>
              <a:gd name="connsiteY372" fmla="*/ 6493982 h 6858000"/>
              <a:gd name="connsiteX373" fmla="*/ 2147336 w 7467600"/>
              <a:gd name="connsiteY373" fmla="*/ 6594052 h 6858000"/>
              <a:gd name="connsiteX374" fmla="*/ 2207047 w 7467600"/>
              <a:gd name="connsiteY374" fmla="*/ 6654540 h 6858000"/>
              <a:gd name="connsiteX375" fmla="*/ 2299106 w 7467600"/>
              <a:gd name="connsiteY375" fmla="*/ 6778931 h 6858000"/>
              <a:gd name="connsiteX376" fmla="*/ 2314430 w 7467600"/>
              <a:gd name="connsiteY376" fmla="*/ 6801144 h 6858000"/>
              <a:gd name="connsiteX377" fmla="*/ 2352406 w 7467600"/>
              <a:gd name="connsiteY377" fmla="*/ 6858000 h 6858000"/>
              <a:gd name="connsiteX378" fmla="*/ 2314492 w 7467600"/>
              <a:gd name="connsiteY378" fmla="*/ 6858000 h 6858000"/>
              <a:gd name="connsiteX379" fmla="*/ 2288095 w 7467600"/>
              <a:gd name="connsiteY379" fmla="*/ 6818030 h 6858000"/>
              <a:gd name="connsiteX380" fmla="*/ 2272768 w 7467600"/>
              <a:gd name="connsiteY380" fmla="*/ 6795822 h 6858000"/>
              <a:gd name="connsiteX381" fmla="*/ 2182715 w 7467600"/>
              <a:gd name="connsiteY381" fmla="*/ 6675071 h 6858000"/>
              <a:gd name="connsiteX382" fmla="*/ 2032061 w 7467600"/>
              <a:gd name="connsiteY382" fmla="*/ 6541380 h 6858000"/>
              <a:gd name="connsiteX383" fmla="*/ 2257220 w 7467600"/>
              <a:gd name="connsiteY383" fmla="*/ 6826257 h 6858000"/>
              <a:gd name="connsiteX384" fmla="*/ 2281324 w 7467600"/>
              <a:gd name="connsiteY384" fmla="*/ 6858000 h 6858000"/>
              <a:gd name="connsiteX385" fmla="*/ 2242860 w 7467600"/>
              <a:gd name="connsiteY385" fmla="*/ 6858000 h 6858000"/>
              <a:gd name="connsiteX386" fmla="*/ 2232818 w 7467600"/>
              <a:gd name="connsiteY386" fmla="*/ 6844926 h 6858000"/>
              <a:gd name="connsiteX387" fmla="*/ 1990172 w 7467600"/>
              <a:gd name="connsiteY387" fmla="*/ 6542121 h 6858000"/>
              <a:gd name="connsiteX388" fmla="*/ 2124090 w 7467600"/>
              <a:gd name="connsiteY388" fmla="*/ 6761017 h 6858000"/>
              <a:gd name="connsiteX389" fmla="*/ 2200380 w 7467600"/>
              <a:gd name="connsiteY389" fmla="*/ 6858000 h 6858000"/>
              <a:gd name="connsiteX390" fmla="*/ 2147507 w 7467600"/>
              <a:gd name="connsiteY390" fmla="*/ 6858000 h 6858000"/>
              <a:gd name="connsiteX391" fmla="*/ 2070668 w 7467600"/>
              <a:gd name="connsiteY391" fmla="*/ 6761520 h 6858000"/>
              <a:gd name="connsiteX392" fmla="*/ 1975142 w 7467600"/>
              <a:gd name="connsiteY392" fmla="*/ 6585570 h 6858000"/>
              <a:gd name="connsiteX393" fmla="*/ 2050035 w 7467600"/>
              <a:gd name="connsiteY393" fmla="*/ 6813345 h 6858000"/>
              <a:gd name="connsiteX394" fmla="*/ 2063025 w 7467600"/>
              <a:gd name="connsiteY394" fmla="*/ 6858000 h 6858000"/>
              <a:gd name="connsiteX395" fmla="*/ 2021675 w 7467600"/>
              <a:gd name="connsiteY395" fmla="*/ 6858000 h 6858000"/>
              <a:gd name="connsiteX396" fmla="*/ 2019308 w 7467600"/>
              <a:gd name="connsiteY396" fmla="*/ 6847118 h 6858000"/>
              <a:gd name="connsiteX397" fmla="*/ 1938835 w 7467600"/>
              <a:gd name="connsiteY397" fmla="*/ 6551160 h 6858000"/>
              <a:gd name="connsiteX398" fmla="*/ 1953230 w 7467600"/>
              <a:gd name="connsiteY398" fmla="*/ 6759699 h 6858000"/>
              <a:gd name="connsiteX399" fmla="*/ 1956763 w 7467600"/>
              <a:gd name="connsiteY399" fmla="*/ 6778191 h 6858000"/>
              <a:gd name="connsiteX400" fmla="*/ 1967925 w 7467600"/>
              <a:gd name="connsiteY400" fmla="*/ 6858000 h 6858000"/>
              <a:gd name="connsiteX401" fmla="*/ 1936622 w 7467600"/>
              <a:gd name="connsiteY401" fmla="*/ 6858000 h 6858000"/>
              <a:gd name="connsiteX402" fmla="*/ 1926261 w 7467600"/>
              <a:gd name="connsiteY402" fmla="*/ 6784064 h 6858000"/>
              <a:gd name="connsiteX403" fmla="*/ 1922724 w 7467600"/>
              <a:gd name="connsiteY403" fmla="*/ 6765577 h 6858000"/>
              <a:gd name="connsiteX404" fmla="*/ 1904650 w 7467600"/>
              <a:gd name="connsiteY404" fmla="*/ 6639616 h 6858000"/>
              <a:gd name="connsiteX405" fmla="*/ 1885273 w 7467600"/>
              <a:gd name="connsiteY405" fmla="*/ 6858000 h 6858000"/>
              <a:gd name="connsiteX406" fmla="*/ 1854363 w 7467600"/>
              <a:gd name="connsiteY406" fmla="*/ 6858000 h 6858000"/>
              <a:gd name="connsiteX407" fmla="*/ 1880391 w 7467600"/>
              <a:gd name="connsiteY407" fmla="*/ 6603796 h 6858000"/>
              <a:gd name="connsiteX408" fmla="*/ 1818273 w 7467600"/>
              <a:gd name="connsiteY408" fmla="*/ 6715729 h 6858000"/>
              <a:gd name="connsiteX409" fmla="*/ 1794691 w 7467600"/>
              <a:gd name="connsiteY409" fmla="*/ 6843239 h 6858000"/>
              <a:gd name="connsiteX410" fmla="*/ 1794914 w 7467600"/>
              <a:gd name="connsiteY410" fmla="*/ 6858000 h 6858000"/>
              <a:gd name="connsiteX411" fmla="*/ 1746128 w 7467600"/>
              <a:gd name="connsiteY411" fmla="*/ 6858000 h 6858000"/>
              <a:gd name="connsiteX412" fmla="*/ 1753934 w 7467600"/>
              <a:gd name="connsiteY412" fmla="*/ 6724796 h 6858000"/>
              <a:gd name="connsiteX413" fmla="*/ 1792053 w 7467600"/>
              <a:gd name="connsiteY413" fmla="*/ 6572396 h 6858000"/>
              <a:gd name="connsiteX414" fmla="*/ 1862248 w 7467600"/>
              <a:gd name="connsiteY414" fmla="*/ 6266397 h 6858000"/>
              <a:gd name="connsiteX415" fmla="*/ 1862250 w 7467600"/>
              <a:gd name="connsiteY415" fmla="*/ 6033531 h 6858000"/>
              <a:gd name="connsiteX416" fmla="*/ 1211999 w 7467600"/>
              <a:gd name="connsiteY416" fmla="*/ 6683610 h 6858000"/>
              <a:gd name="connsiteX417" fmla="*/ 1213266 w 7467600"/>
              <a:gd name="connsiteY417" fmla="*/ 6691947 h 6858000"/>
              <a:gd name="connsiteX418" fmla="*/ 1203370 w 7467600"/>
              <a:gd name="connsiteY418" fmla="*/ 6850676 h 6858000"/>
              <a:gd name="connsiteX419" fmla="*/ 1203671 w 7467600"/>
              <a:gd name="connsiteY419" fmla="*/ 6858000 h 6858000"/>
              <a:gd name="connsiteX420" fmla="*/ 1143180 w 7467600"/>
              <a:gd name="connsiteY420" fmla="*/ 6858000 h 6858000"/>
              <a:gd name="connsiteX421" fmla="*/ 1142176 w 7467600"/>
              <a:gd name="connsiteY421" fmla="*/ 6766045 h 6858000"/>
              <a:gd name="connsiteX422" fmla="*/ 1067484 w 7467600"/>
              <a:gd name="connsiteY422" fmla="*/ 6858000 h 6858000"/>
              <a:gd name="connsiteX423" fmla="*/ 953928 w 7467600"/>
              <a:gd name="connsiteY423" fmla="*/ 6858000 h 6858000"/>
              <a:gd name="connsiteX424" fmla="*/ 959715 w 7467600"/>
              <a:gd name="connsiteY424" fmla="*/ 6850185 h 6858000"/>
              <a:gd name="connsiteX425" fmla="*/ 1483788 w 7467600"/>
              <a:gd name="connsiteY425" fmla="*/ 6259174 h 6858000"/>
              <a:gd name="connsiteX426" fmla="*/ 1100671 w 7467600"/>
              <a:gd name="connsiteY426" fmla="*/ 6252137 h 6858000"/>
              <a:gd name="connsiteX427" fmla="*/ 1090144 w 7467600"/>
              <a:gd name="connsiteY427" fmla="*/ 6256748 h 6858000"/>
              <a:gd name="connsiteX428" fmla="*/ 1095872 w 7467600"/>
              <a:gd name="connsiteY428" fmla="*/ 6271892 h 6858000"/>
              <a:gd name="connsiteX429" fmla="*/ 262785 w 7467600"/>
              <a:gd name="connsiteY429" fmla="*/ 6845450 h 6858000"/>
              <a:gd name="connsiteX430" fmla="*/ 209968 w 7467600"/>
              <a:gd name="connsiteY430" fmla="*/ 6770713 h 6858000"/>
              <a:gd name="connsiteX431" fmla="*/ 873460 w 7467600"/>
              <a:gd name="connsiteY431" fmla="*/ 6253768 h 6858000"/>
              <a:gd name="connsiteX432" fmla="*/ 192686 w 7467600"/>
              <a:gd name="connsiteY432" fmla="*/ 5849257 h 6858000"/>
              <a:gd name="connsiteX433" fmla="*/ 4696 w 7467600"/>
              <a:gd name="connsiteY433" fmla="*/ 5697668 h 6858000"/>
              <a:gd name="connsiteX434" fmla="*/ 0 w 7467600"/>
              <a:gd name="connsiteY434" fmla="*/ 5689984 h 6858000"/>
              <a:gd name="connsiteX435" fmla="*/ 0 w 7467600"/>
              <a:gd name="connsiteY435" fmla="*/ 5513472 h 6858000"/>
              <a:gd name="connsiteX436" fmla="*/ 174101 w 7467600"/>
              <a:gd name="connsiteY436" fmla="*/ 5620277 h 6858000"/>
              <a:gd name="connsiteX437" fmla="*/ 891800 w 7467600"/>
              <a:gd name="connsiteY437" fmla="*/ 6036935 h 6858000"/>
              <a:gd name="connsiteX438" fmla="*/ 1072219 w 7467600"/>
              <a:gd name="connsiteY438" fmla="*/ 6169443 h 6858000"/>
              <a:gd name="connsiteX439" fmla="*/ 1074117 w 7467600"/>
              <a:gd name="connsiteY439" fmla="*/ 6170301 h 6858000"/>
              <a:gd name="connsiteX440" fmla="*/ 1083114 w 7467600"/>
              <a:gd name="connsiteY440" fmla="*/ 6174131 h 6858000"/>
              <a:gd name="connsiteX441" fmla="*/ 1543010 w 7467600"/>
              <a:gd name="connsiteY441" fmla="*/ 6191140 h 6858000"/>
              <a:gd name="connsiteX442" fmla="*/ 1551080 w 7467600"/>
              <a:gd name="connsiteY442" fmla="*/ 6195006 h 6858000"/>
              <a:gd name="connsiteX443" fmla="*/ 2345443 w 7467600"/>
              <a:gd name="connsiteY443" fmla="*/ 5549882 h 6858000"/>
              <a:gd name="connsiteX444" fmla="*/ 1721499 w 7467600"/>
              <a:gd name="connsiteY444" fmla="*/ 5599969 h 6858000"/>
              <a:gd name="connsiteX445" fmla="*/ 767716 w 7467600"/>
              <a:gd name="connsiteY445" fmla="*/ 5472768 h 6858000"/>
              <a:gd name="connsiteX446" fmla="*/ 722147 w 7467600"/>
              <a:gd name="connsiteY446" fmla="*/ 5393091 h 6858000"/>
              <a:gd name="connsiteX447" fmla="*/ 1485552 w 7467600"/>
              <a:gd name="connsiteY447" fmla="*/ 5313202 h 6858000"/>
              <a:gd name="connsiteX448" fmla="*/ 2143004 w 7467600"/>
              <a:gd name="connsiteY448" fmla="*/ 5402420 h 6858000"/>
              <a:gd name="connsiteX449" fmla="*/ 1933391 w 7467600"/>
              <a:gd name="connsiteY449" fmla="*/ 5156971 h 6858000"/>
              <a:gd name="connsiteX450" fmla="*/ 1827118 w 7467600"/>
              <a:gd name="connsiteY450" fmla="*/ 4968410 h 6858000"/>
              <a:gd name="connsiteX451" fmla="*/ 1837349 w 7467600"/>
              <a:gd name="connsiteY451" fmla="*/ 4956357 h 6858000"/>
              <a:gd name="connsiteX452" fmla="*/ 2162835 w 7467600"/>
              <a:gd name="connsiteY452" fmla="*/ 5187853 h 6858000"/>
              <a:gd name="connsiteX453" fmla="*/ 2257167 w 7467600"/>
              <a:gd name="connsiteY453" fmla="*/ 5462123 h 6858000"/>
              <a:gd name="connsiteX454" fmla="*/ 2261598 w 7467600"/>
              <a:gd name="connsiteY454" fmla="*/ 5467998 h 6858000"/>
              <a:gd name="connsiteX455" fmla="*/ 2437177 w 7467600"/>
              <a:gd name="connsiteY455" fmla="*/ 5479608 h 6858000"/>
              <a:gd name="connsiteX456" fmla="*/ 2445247 w 7467600"/>
              <a:gd name="connsiteY456" fmla="*/ 5483476 h 6858000"/>
              <a:gd name="connsiteX457" fmla="*/ 2743626 w 7467600"/>
              <a:gd name="connsiteY457" fmla="*/ 5304819 h 6858000"/>
              <a:gd name="connsiteX458" fmla="*/ 3048102 w 7467600"/>
              <a:gd name="connsiteY458" fmla="*/ 5150595 h 6858000"/>
              <a:gd name="connsiteX459" fmla="*/ 1799414 w 7467600"/>
              <a:gd name="connsiteY459" fmla="*/ 4694732 h 6858000"/>
              <a:gd name="connsiteX460" fmla="*/ 1771735 w 7467600"/>
              <a:gd name="connsiteY460" fmla="*/ 4619929 h 6858000"/>
              <a:gd name="connsiteX461" fmla="*/ 3104273 w 7467600"/>
              <a:gd name="connsiteY461" fmla="*/ 5076159 h 6858000"/>
              <a:gd name="connsiteX462" fmla="*/ 3113245 w 7467600"/>
              <a:gd name="connsiteY462" fmla="*/ 5090705 h 6858000"/>
              <a:gd name="connsiteX463" fmla="*/ 3126294 w 7467600"/>
              <a:gd name="connsiteY463" fmla="*/ 5114400 h 6858000"/>
              <a:gd name="connsiteX464" fmla="*/ 3937433 w 7467600"/>
              <a:gd name="connsiteY464" fmla="*/ 4830473 h 6858000"/>
              <a:gd name="connsiteX465" fmla="*/ 3590475 w 7467600"/>
              <a:gd name="connsiteY465" fmla="*/ 4597974 h 6858000"/>
              <a:gd name="connsiteX466" fmla="*/ 3100264 w 7467600"/>
              <a:gd name="connsiteY466" fmla="*/ 4579845 h 6858000"/>
              <a:gd name="connsiteX467" fmla="*/ 2183576 w 7467600"/>
              <a:gd name="connsiteY467" fmla="*/ 4227150 h 6858000"/>
              <a:gd name="connsiteX468" fmla="*/ 2151029 w 7467600"/>
              <a:gd name="connsiteY468" fmla="*/ 4146947 h 6858000"/>
              <a:gd name="connsiteX469" fmla="*/ 3563434 w 7467600"/>
              <a:gd name="connsiteY469" fmla="*/ 4469115 h 6858000"/>
              <a:gd name="connsiteX470" fmla="*/ 3177952 w 7467600"/>
              <a:gd name="connsiteY470" fmla="*/ 3657386 h 6858000"/>
              <a:gd name="connsiteX471" fmla="*/ 3189263 w 7467600"/>
              <a:gd name="connsiteY471" fmla="*/ 3625726 h 6858000"/>
              <a:gd name="connsiteX472" fmla="*/ 3560912 w 7467600"/>
              <a:gd name="connsiteY472" fmla="*/ 4079863 h 6858000"/>
              <a:gd name="connsiteX473" fmla="*/ 3626636 w 7467600"/>
              <a:gd name="connsiteY473" fmla="*/ 4512230 h 6858000"/>
              <a:gd name="connsiteX474" fmla="*/ 3653088 w 7467600"/>
              <a:gd name="connsiteY474" fmla="*/ 4521417 h 6858000"/>
              <a:gd name="connsiteX475" fmla="*/ 3988128 w 7467600"/>
              <a:gd name="connsiteY475" fmla="*/ 4817267 h 6858000"/>
              <a:gd name="connsiteX476" fmla="*/ 4830582 w 7467600"/>
              <a:gd name="connsiteY476" fmla="*/ 4676000 h 6858000"/>
              <a:gd name="connsiteX477" fmla="*/ 4830100 w 7467600"/>
              <a:gd name="connsiteY477" fmla="*/ 4675554 h 6858000"/>
              <a:gd name="connsiteX478" fmla="*/ 4036318 w 7467600"/>
              <a:gd name="connsiteY478" fmla="*/ 4147013 h 6858000"/>
              <a:gd name="connsiteX479" fmla="*/ 3432098 w 7467600"/>
              <a:gd name="connsiteY479" fmla="*/ 3537312 h 6858000"/>
              <a:gd name="connsiteX480" fmla="*/ 3446761 w 7467600"/>
              <a:gd name="connsiteY480" fmla="*/ 3461278 h 6858000"/>
              <a:gd name="connsiteX481" fmla="*/ 4419733 w 7467600"/>
              <a:gd name="connsiteY481" fmla="*/ 3963555 h 6858000"/>
              <a:gd name="connsiteX482" fmla="*/ 4781371 w 7467600"/>
              <a:gd name="connsiteY482" fmla="*/ 4458604 h 6858000"/>
              <a:gd name="connsiteX483" fmla="*/ 4780440 w 7467600"/>
              <a:gd name="connsiteY483" fmla="*/ 4470290 h 6858000"/>
              <a:gd name="connsiteX484" fmla="*/ 4898954 w 7467600"/>
              <a:gd name="connsiteY484" fmla="*/ 4662092 h 6858000"/>
              <a:gd name="connsiteX485" fmla="*/ 4900699 w 7467600"/>
              <a:gd name="connsiteY485" fmla="*/ 4670867 h 6858000"/>
              <a:gd name="connsiteX486" fmla="*/ 5714511 w 7467600"/>
              <a:gd name="connsiteY486" fmla="*/ 4663483 h 6858000"/>
              <a:gd name="connsiteX487" fmla="*/ 5464793 w 7467600"/>
              <a:gd name="connsiteY487" fmla="*/ 4393556 h 6858000"/>
              <a:gd name="connsiteX488" fmla="*/ 5461897 w 7467600"/>
              <a:gd name="connsiteY488" fmla="*/ 4390879 h 6858000"/>
              <a:gd name="connsiteX489" fmla="*/ 4294126 w 7467600"/>
              <a:gd name="connsiteY489" fmla="*/ 3303048 h 6858000"/>
              <a:gd name="connsiteX490" fmla="*/ 4305321 w 7467600"/>
              <a:gd name="connsiteY490" fmla="*/ 3256953 h 6858000"/>
              <a:gd name="connsiteX491" fmla="*/ 4949299 w 7467600"/>
              <a:gd name="connsiteY491" fmla="*/ 3766336 h 6858000"/>
              <a:gd name="connsiteX492" fmla="*/ 5291452 w 7467600"/>
              <a:gd name="connsiteY492" fmla="*/ 4076801 h 6858000"/>
              <a:gd name="connsiteX493" fmla="*/ 5434998 w 7467600"/>
              <a:gd name="connsiteY493" fmla="*/ 4254100 h 6858000"/>
              <a:gd name="connsiteX494" fmla="*/ 5351015 w 7467600"/>
              <a:gd name="connsiteY494" fmla="*/ 3760989 h 6858000"/>
              <a:gd name="connsiteX495" fmla="*/ 5413780 w 7467600"/>
              <a:gd name="connsiteY495" fmla="*/ 2966265 h 6858000"/>
              <a:gd name="connsiteX496" fmla="*/ 5425627 w 7467600"/>
              <a:gd name="connsiteY496" fmla="*/ 2954192 h 6858000"/>
              <a:gd name="connsiteX497" fmla="*/ 6604735 w 7467600"/>
              <a:gd name="connsiteY497" fmla="*/ 2041381 h 6858000"/>
              <a:gd name="connsiteX498" fmla="*/ 7204487 w 7467600"/>
              <a:gd name="connsiteY498" fmla="*/ 2742112 h 6858000"/>
              <a:gd name="connsiteX499" fmla="*/ 7131592 w 7467600"/>
              <a:gd name="connsiteY499" fmla="*/ 2672096 h 6858000"/>
              <a:gd name="connsiteX500" fmla="*/ 6996344 w 7467600"/>
              <a:gd name="connsiteY500" fmla="*/ 2518310 h 6858000"/>
              <a:gd name="connsiteX501" fmla="*/ 6735495 w 7467600"/>
              <a:gd name="connsiteY501" fmla="*/ 2196890 h 6858000"/>
              <a:gd name="connsiteX502" fmla="*/ 6721901 w 7467600"/>
              <a:gd name="connsiteY502" fmla="*/ 2179274 h 6858000"/>
              <a:gd name="connsiteX503" fmla="*/ 6604735 w 7467600"/>
              <a:gd name="connsiteY503" fmla="*/ 2041381 h 6858000"/>
              <a:gd name="connsiteX504" fmla="*/ 6591670 w 7467600"/>
              <a:gd name="connsiteY504" fmla="*/ 1988277 h 6858000"/>
              <a:gd name="connsiteX505" fmla="*/ 6747349 w 7467600"/>
              <a:gd name="connsiteY505" fmla="*/ 2160069 h 6858000"/>
              <a:gd name="connsiteX506" fmla="*/ 6760943 w 7467600"/>
              <a:gd name="connsiteY506" fmla="*/ 2177686 h 6858000"/>
              <a:gd name="connsiteX507" fmla="*/ 7021065 w 7467600"/>
              <a:gd name="connsiteY507" fmla="*/ 2498102 h 6858000"/>
              <a:gd name="connsiteX508" fmla="*/ 7155223 w 7467600"/>
              <a:gd name="connsiteY508" fmla="*/ 2650386 h 6858000"/>
              <a:gd name="connsiteX509" fmla="*/ 7203167 w 7467600"/>
              <a:gd name="connsiteY509" fmla="*/ 2697288 h 6858000"/>
              <a:gd name="connsiteX510" fmla="*/ 6937703 w 7467600"/>
              <a:gd name="connsiteY510" fmla="*/ 2321981 h 6858000"/>
              <a:gd name="connsiteX511" fmla="*/ 6591670 w 7467600"/>
              <a:gd name="connsiteY511" fmla="*/ 1988277 h 6858000"/>
              <a:gd name="connsiteX512" fmla="*/ 5798671 w 7467600"/>
              <a:gd name="connsiteY512" fmla="*/ 1981601 h 6858000"/>
              <a:gd name="connsiteX513" fmla="*/ 5754709 w 7467600"/>
              <a:gd name="connsiteY513" fmla="*/ 2071454 h 6858000"/>
              <a:gd name="connsiteX514" fmla="*/ 5763044 w 7467600"/>
              <a:gd name="connsiteY514" fmla="*/ 2842206 h 6858000"/>
              <a:gd name="connsiteX515" fmla="*/ 5764974 w 7467600"/>
              <a:gd name="connsiteY515" fmla="*/ 2799609 h 6858000"/>
              <a:gd name="connsiteX516" fmla="*/ 5767665 w 7467600"/>
              <a:gd name="connsiteY516" fmla="*/ 2666409 h 6858000"/>
              <a:gd name="connsiteX517" fmla="*/ 5763055 w 7467600"/>
              <a:gd name="connsiteY517" fmla="*/ 2579705 h 6858000"/>
              <a:gd name="connsiteX518" fmla="*/ 5758079 w 7467600"/>
              <a:gd name="connsiteY518" fmla="*/ 2492508 h 6858000"/>
              <a:gd name="connsiteX519" fmla="*/ 5779325 w 7467600"/>
              <a:gd name="connsiteY519" fmla="*/ 2197069 h 6858000"/>
              <a:gd name="connsiteX520" fmla="*/ 5798671 w 7467600"/>
              <a:gd name="connsiteY520" fmla="*/ 1981601 h 6858000"/>
              <a:gd name="connsiteX521" fmla="*/ 5829202 w 7467600"/>
              <a:gd name="connsiteY521" fmla="*/ 1971679 h 6858000"/>
              <a:gd name="connsiteX522" fmla="*/ 5809558 w 7467600"/>
              <a:gd name="connsiteY522" fmla="*/ 2198043 h 6858000"/>
              <a:gd name="connsiteX523" fmla="*/ 5788653 w 7467600"/>
              <a:gd name="connsiteY523" fmla="*/ 2489430 h 6858000"/>
              <a:gd name="connsiteX524" fmla="*/ 5793439 w 7467600"/>
              <a:gd name="connsiteY524" fmla="*/ 2575235 h 6858000"/>
              <a:gd name="connsiteX525" fmla="*/ 5796837 w 7467600"/>
              <a:gd name="connsiteY525" fmla="*/ 2637633 h 6858000"/>
              <a:gd name="connsiteX526" fmla="*/ 5818614 w 7467600"/>
              <a:gd name="connsiteY526" fmla="*/ 2473055 h 6858000"/>
              <a:gd name="connsiteX527" fmla="*/ 5829202 w 7467600"/>
              <a:gd name="connsiteY527" fmla="*/ 1971679 h 6858000"/>
              <a:gd name="connsiteX528" fmla="*/ 5911389 w 7467600"/>
              <a:gd name="connsiteY528" fmla="*/ 1898371 h 6858000"/>
              <a:gd name="connsiteX529" fmla="*/ 6237627 w 7467600"/>
              <a:gd name="connsiteY529" fmla="*/ 2231921 h 6858000"/>
              <a:gd name="connsiteX530" fmla="*/ 5911389 w 7467600"/>
              <a:gd name="connsiteY530" fmla="*/ 1898371 h 6858000"/>
              <a:gd name="connsiteX531" fmla="*/ 6944437 w 7467600"/>
              <a:gd name="connsiteY531" fmla="*/ 1575402 h 6858000"/>
              <a:gd name="connsiteX532" fmla="*/ 6304730 w 7467600"/>
              <a:gd name="connsiteY532" fmla="*/ 1766654 h 6858000"/>
              <a:gd name="connsiteX533" fmla="*/ 6944437 w 7467600"/>
              <a:gd name="connsiteY533" fmla="*/ 1575402 h 6858000"/>
              <a:gd name="connsiteX534" fmla="*/ 7019523 w 7467600"/>
              <a:gd name="connsiteY534" fmla="*/ 1519450 h 6858000"/>
              <a:gd name="connsiteX535" fmla="*/ 6298091 w 7467600"/>
              <a:gd name="connsiteY535" fmla="*/ 1737122 h 6858000"/>
              <a:gd name="connsiteX536" fmla="*/ 7019523 w 7467600"/>
              <a:gd name="connsiteY536" fmla="*/ 1519450 h 6858000"/>
              <a:gd name="connsiteX537" fmla="*/ 2399523 w 7467600"/>
              <a:gd name="connsiteY537" fmla="*/ 1428234 h 6858000"/>
              <a:gd name="connsiteX538" fmla="*/ 2224982 w 7467600"/>
              <a:gd name="connsiteY538" fmla="*/ 1826201 h 6858000"/>
              <a:gd name="connsiteX539" fmla="*/ 2096099 w 7467600"/>
              <a:gd name="connsiteY539" fmla="*/ 2345900 h 6858000"/>
              <a:gd name="connsiteX540" fmla="*/ 2283317 w 7467600"/>
              <a:gd name="connsiteY540" fmla="*/ 1796925 h 6858000"/>
              <a:gd name="connsiteX541" fmla="*/ 2399523 w 7467600"/>
              <a:gd name="connsiteY541" fmla="*/ 1428234 h 6858000"/>
              <a:gd name="connsiteX542" fmla="*/ 2448558 w 7467600"/>
              <a:gd name="connsiteY542" fmla="*/ 1373435 h 6858000"/>
              <a:gd name="connsiteX543" fmla="*/ 2312521 w 7467600"/>
              <a:gd name="connsiteY543" fmla="*/ 1806140 h 6858000"/>
              <a:gd name="connsiteX544" fmla="*/ 2127533 w 7467600"/>
              <a:gd name="connsiteY544" fmla="*/ 2348380 h 6858000"/>
              <a:gd name="connsiteX545" fmla="*/ 2358080 w 7467600"/>
              <a:gd name="connsiteY545" fmla="*/ 1866134 h 6858000"/>
              <a:gd name="connsiteX546" fmla="*/ 2407436 w 7467600"/>
              <a:gd name="connsiteY546" fmla="*/ 1651070 h 6858000"/>
              <a:gd name="connsiteX547" fmla="*/ 2448558 w 7467600"/>
              <a:gd name="connsiteY547" fmla="*/ 1373435 h 6858000"/>
              <a:gd name="connsiteX548" fmla="*/ 278707 w 7467600"/>
              <a:gd name="connsiteY548" fmla="*/ 1352270 h 6858000"/>
              <a:gd name="connsiteX549" fmla="*/ 321570 w 7467600"/>
              <a:gd name="connsiteY549" fmla="*/ 1861610 h 6858000"/>
              <a:gd name="connsiteX550" fmla="*/ 294281 w 7467600"/>
              <a:gd name="connsiteY550" fmla="*/ 1440658 h 6858000"/>
              <a:gd name="connsiteX551" fmla="*/ 278707 w 7467600"/>
              <a:gd name="connsiteY551" fmla="*/ 1352270 h 6858000"/>
              <a:gd name="connsiteX552" fmla="*/ 1423821 w 7467600"/>
              <a:gd name="connsiteY552" fmla="*/ 1351958 h 6858000"/>
              <a:gd name="connsiteX553" fmla="*/ 1638521 w 7467600"/>
              <a:gd name="connsiteY553" fmla="*/ 1908470 h 6858000"/>
              <a:gd name="connsiteX554" fmla="*/ 1754199 w 7467600"/>
              <a:gd name="connsiteY554" fmla="*/ 2149284 h 6858000"/>
              <a:gd name="connsiteX555" fmla="*/ 1908359 w 7467600"/>
              <a:gd name="connsiteY555" fmla="*/ 2364988 h 6858000"/>
              <a:gd name="connsiteX556" fmla="*/ 1647661 w 7467600"/>
              <a:gd name="connsiteY556" fmla="*/ 1825945 h 6858000"/>
              <a:gd name="connsiteX557" fmla="*/ 1423821 w 7467600"/>
              <a:gd name="connsiteY557" fmla="*/ 1351958 h 6858000"/>
              <a:gd name="connsiteX558" fmla="*/ 1431890 w 7467600"/>
              <a:gd name="connsiteY558" fmla="*/ 1306475 h 6858000"/>
              <a:gd name="connsiteX559" fmla="*/ 1507597 w 7467600"/>
              <a:gd name="connsiteY559" fmla="*/ 1446132 h 6858000"/>
              <a:gd name="connsiteX560" fmla="*/ 1674586 w 7467600"/>
              <a:gd name="connsiteY560" fmla="*/ 1813832 h 6858000"/>
              <a:gd name="connsiteX561" fmla="*/ 1815950 w 7467600"/>
              <a:gd name="connsiteY561" fmla="*/ 2128564 h 6858000"/>
              <a:gd name="connsiteX562" fmla="*/ 1984242 w 7467600"/>
              <a:gd name="connsiteY562" fmla="*/ 2430829 h 6858000"/>
              <a:gd name="connsiteX563" fmla="*/ 2014023 w 7467600"/>
              <a:gd name="connsiteY563" fmla="*/ 2450995 h 6858000"/>
              <a:gd name="connsiteX564" fmla="*/ 1747337 w 7467600"/>
              <a:gd name="connsiteY564" fmla="*/ 1855264 h 6858000"/>
              <a:gd name="connsiteX565" fmla="*/ 1533749 w 7467600"/>
              <a:gd name="connsiteY565" fmla="*/ 1478656 h 6858000"/>
              <a:gd name="connsiteX566" fmla="*/ 1431890 w 7467600"/>
              <a:gd name="connsiteY566" fmla="*/ 1306475 h 6858000"/>
              <a:gd name="connsiteX567" fmla="*/ 5052692 w 7467600"/>
              <a:gd name="connsiteY567" fmla="*/ 1292994 h 6858000"/>
              <a:gd name="connsiteX568" fmla="*/ 5200661 w 7467600"/>
              <a:gd name="connsiteY568" fmla="*/ 1635186 h 6858000"/>
              <a:gd name="connsiteX569" fmla="*/ 5297138 w 7467600"/>
              <a:gd name="connsiteY569" fmla="*/ 1906351 h 6858000"/>
              <a:gd name="connsiteX570" fmla="*/ 5052692 w 7467600"/>
              <a:gd name="connsiteY570" fmla="*/ 1292994 h 6858000"/>
              <a:gd name="connsiteX571" fmla="*/ 5009948 w 7467600"/>
              <a:gd name="connsiteY571" fmla="*/ 1273619 h 6858000"/>
              <a:gd name="connsiteX572" fmla="*/ 5121777 w 7467600"/>
              <a:gd name="connsiteY572" fmla="*/ 1654213 h 6858000"/>
              <a:gd name="connsiteX573" fmla="*/ 5293545 w 7467600"/>
              <a:gd name="connsiteY573" fmla="*/ 2072247 h 6858000"/>
              <a:gd name="connsiteX574" fmla="*/ 5294042 w 7467600"/>
              <a:gd name="connsiteY574" fmla="*/ 2065019 h 6858000"/>
              <a:gd name="connsiteX575" fmla="*/ 5171936 w 7467600"/>
              <a:gd name="connsiteY575" fmla="*/ 1647613 h 6858000"/>
              <a:gd name="connsiteX576" fmla="*/ 5009948 w 7467600"/>
              <a:gd name="connsiteY576" fmla="*/ 1273619 h 6858000"/>
              <a:gd name="connsiteX577" fmla="*/ 655236 w 7467600"/>
              <a:gd name="connsiteY577" fmla="*/ 1268632 h 6858000"/>
              <a:gd name="connsiteX578" fmla="*/ 839521 w 7467600"/>
              <a:gd name="connsiteY578" fmla="*/ 1685315 h 6858000"/>
              <a:gd name="connsiteX579" fmla="*/ 1109416 w 7467600"/>
              <a:gd name="connsiteY579" fmla="*/ 2061663 h 6858000"/>
              <a:gd name="connsiteX580" fmla="*/ 1298300 w 7467600"/>
              <a:gd name="connsiteY580" fmla="*/ 2247742 h 6858000"/>
              <a:gd name="connsiteX581" fmla="*/ 1125871 w 7467600"/>
              <a:gd name="connsiteY581" fmla="*/ 1989513 h 6858000"/>
              <a:gd name="connsiteX582" fmla="*/ 981574 w 7467600"/>
              <a:gd name="connsiteY582" fmla="*/ 1783157 h 6858000"/>
              <a:gd name="connsiteX583" fmla="*/ 922198 w 7467600"/>
              <a:gd name="connsiteY583" fmla="*/ 1677437 h 6858000"/>
              <a:gd name="connsiteX584" fmla="*/ 869293 w 7467600"/>
              <a:gd name="connsiteY584" fmla="*/ 1583214 h 6858000"/>
              <a:gd name="connsiteX585" fmla="*/ 751431 w 7467600"/>
              <a:gd name="connsiteY585" fmla="*/ 1405731 h 6858000"/>
              <a:gd name="connsiteX586" fmla="*/ 655236 w 7467600"/>
              <a:gd name="connsiteY586" fmla="*/ 1268632 h 6858000"/>
              <a:gd name="connsiteX587" fmla="*/ 6516292 w 7467600"/>
              <a:gd name="connsiteY587" fmla="*/ 1263064 h 6858000"/>
              <a:gd name="connsiteX588" fmla="*/ 5736320 w 7467600"/>
              <a:gd name="connsiteY588" fmla="*/ 1501803 h 6858000"/>
              <a:gd name="connsiteX589" fmla="*/ 6516292 w 7467600"/>
              <a:gd name="connsiteY589" fmla="*/ 1263064 h 6858000"/>
              <a:gd name="connsiteX590" fmla="*/ 291466 w 7467600"/>
              <a:gd name="connsiteY590" fmla="*/ 1250369 h 6858000"/>
              <a:gd name="connsiteX591" fmla="*/ 323180 w 7467600"/>
              <a:gd name="connsiteY591" fmla="*/ 1435283 h 6858000"/>
              <a:gd name="connsiteX592" fmla="*/ 349381 w 7467600"/>
              <a:gd name="connsiteY592" fmla="*/ 1875041 h 6858000"/>
              <a:gd name="connsiteX593" fmla="*/ 374363 w 7467600"/>
              <a:gd name="connsiteY593" fmla="*/ 1506494 h 6858000"/>
              <a:gd name="connsiteX594" fmla="*/ 302168 w 7467600"/>
              <a:gd name="connsiteY594" fmla="*/ 1274495 h 6858000"/>
              <a:gd name="connsiteX595" fmla="*/ 291466 w 7467600"/>
              <a:gd name="connsiteY595" fmla="*/ 1250369 h 6858000"/>
              <a:gd name="connsiteX596" fmla="*/ 678222 w 7467600"/>
              <a:gd name="connsiteY596" fmla="*/ 1248670 h 6858000"/>
              <a:gd name="connsiteX597" fmla="*/ 775536 w 7467600"/>
              <a:gd name="connsiteY597" fmla="*/ 1388015 h 6858000"/>
              <a:gd name="connsiteX598" fmla="*/ 894529 w 7467600"/>
              <a:gd name="connsiteY598" fmla="*/ 1567739 h 6858000"/>
              <a:gd name="connsiteX599" fmla="*/ 948000 w 7467600"/>
              <a:gd name="connsiteY599" fmla="*/ 1663088 h 6858000"/>
              <a:gd name="connsiteX600" fmla="*/ 1006812 w 7467600"/>
              <a:gd name="connsiteY600" fmla="*/ 1767683 h 6858000"/>
              <a:gd name="connsiteX601" fmla="*/ 1149133 w 7467600"/>
              <a:gd name="connsiteY601" fmla="*/ 1971513 h 6858000"/>
              <a:gd name="connsiteX602" fmla="*/ 1333952 w 7467600"/>
              <a:gd name="connsiteY602" fmla="*/ 2251620 h 6858000"/>
              <a:gd name="connsiteX603" fmla="*/ 1337329 w 7467600"/>
              <a:gd name="connsiteY603" fmla="*/ 2258350 h 6858000"/>
              <a:gd name="connsiteX604" fmla="*/ 1014726 w 7467600"/>
              <a:gd name="connsiteY604" fmla="*/ 1615556 h 6858000"/>
              <a:gd name="connsiteX605" fmla="*/ 678222 w 7467600"/>
              <a:gd name="connsiteY605" fmla="*/ 1248670 h 6858000"/>
              <a:gd name="connsiteX606" fmla="*/ 6691602 w 7467600"/>
              <a:gd name="connsiteY606" fmla="*/ 1140573 h 6858000"/>
              <a:gd name="connsiteX607" fmla="*/ 6571100 w 7467600"/>
              <a:gd name="connsiteY607" fmla="*/ 1183662 h 6858000"/>
              <a:gd name="connsiteX608" fmla="*/ 6241687 w 7467600"/>
              <a:gd name="connsiteY608" fmla="*/ 1257600 h 6858000"/>
              <a:gd name="connsiteX609" fmla="*/ 5693009 w 7467600"/>
              <a:gd name="connsiteY609" fmla="*/ 1478256 h 6858000"/>
              <a:gd name="connsiteX610" fmla="*/ 6548420 w 7467600"/>
              <a:gd name="connsiteY610" fmla="*/ 1214599 h 6858000"/>
              <a:gd name="connsiteX611" fmla="*/ 6605473 w 7467600"/>
              <a:gd name="connsiteY611" fmla="*/ 1184686 h 6858000"/>
              <a:gd name="connsiteX612" fmla="*/ 6691602 w 7467600"/>
              <a:gd name="connsiteY612" fmla="*/ 1140573 h 6858000"/>
              <a:gd name="connsiteX613" fmla="*/ 4002475 w 7467600"/>
              <a:gd name="connsiteY613" fmla="*/ 1037802 h 6858000"/>
              <a:gd name="connsiteX614" fmla="*/ 4000324 w 7467600"/>
              <a:gd name="connsiteY614" fmla="*/ 1039362 h 6858000"/>
              <a:gd name="connsiteX615" fmla="*/ 4002862 w 7467600"/>
              <a:gd name="connsiteY615" fmla="*/ 1042866 h 6858000"/>
              <a:gd name="connsiteX616" fmla="*/ 4002475 w 7467600"/>
              <a:gd name="connsiteY616" fmla="*/ 1037802 h 6858000"/>
              <a:gd name="connsiteX617" fmla="*/ 506322 w 7467600"/>
              <a:gd name="connsiteY617" fmla="*/ 1020997 h 6858000"/>
              <a:gd name="connsiteX618" fmla="*/ 533068 w 7467600"/>
              <a:gd name="connsiteY618" fmla="*/ 1029409 h 6858000"/>
              <a:gd name="connsiteX619" fmla="*/ 1232525 w 7467600"/>
              <a:gd name="connsiteY619" fmla="*/ 1804675 h 6858000"/>
              <a:gd name="connsiteX620" fmla="*/ 1388858 w 7467600"/>
              <a:gd name="connsiteY620" fmla="*/ 2368011 h 6858000"/>
              <a:gd name="connsiteX621" fmla="*/ 1384098 w 7467600"/>
              <a:gd name="connsiteY621" fmla="*/ 2378125 h 6858000"/>
              <a:gd name="connsiteX622" fmla="*/ 1425393 w 7467600"/>
              <a:gd name="connsiteY622" fmla="*/ 2589124 h 6858000"/>
              <a:gd name="connsiteX623" fmla="*/ 1424001 w 7467600"/>
              <a:gd name="connsiteY623" fmla="*/ 2597541 h 6858000"/>
              <a:gd name="connsiteX624" fmla="*/ 2152729 w 7467600"/>
              <a:gd name="connsiteY624" fmla="*/ 2864487 h 6858000"/>
              <a:gd name="connsiteX625" fmla="*/ 2020609 w 7467600"/>
              <a:gd name="connsiteY625" fmla="*/ 2539671 h 6858000"/>
              <a:gd name="connsiteX626" fmla="*/ 2018920 w 7467600"/>
              <a:gd name="connsiteY626" fmla="*/ 2536309 h 6858000"/>
              <a:gd name="connsiteX627" fmla="*/ 1342441 w 7467600"/>
              <a:gd name="connsiteY627" fmla="*/ 1173017 h 6858000"/>
              <a:gd name="connsiteX628" fmla="*/ 1367925 w 7467600"/>
              <a:gd name="connsiteY628" fmla="*/ 1135648 h 6858000"/>
              <a:gd name="connsiteX629" fmla="*/ 1771401 w 7467600"/>
              <a:gd name="connsiteY629" fmla="*/ 1806673 h 6858000"/>
              <a:gd name="connsiteX630" fmla="*/ 1972385 w 7467600"/>
              <a:gd name="connsiteY630" fmla="*/ 2198735 h 6858000"/>
              <a:gd name="connsiteX631" fmla="*/ 2040892 w 7467600"/>
              <a:gd name="connsiteY631" fmla="*/ 2405205 h 6858000"/>
              <a:gd name="connsiteX632" fmla="*/ 2131689 w 7467600"/>
              <a:gd name="connsiteY632" fmla="*/ 1936926 h 6858000"/>
              <a:gd name="connsiteX633" fmla="*/ 2454820 w 7467600"/>
              <a:gd name="connsiteY633" fmla="*/ 1248808 h 6858000"/>
              <a:gd name="connsiteX634" fmla="*/ 2492512 w 7467600"/>
              <a:gd name="connsiteY634" fmla="*/ 1302920 h 6858000"/>
              <a:gd name="connsiteX635" fmla="*/ 2081216 w 7467600"/>
              <a:gd name="connsiteY635" fmla="*/ 2527513 h 6858000"/>
              <a:gd name="connsiteX636" fmla="*/ 2081211 w 7467600"/>
              <a:gd name="connsiteY636" fmla="*/ 2528916 h 6858000"/>
              <a:gd name="connsiteX637" fmla="*/ 2199067 w 7467600"/>
              <a:gd name="connsiteY637" fmla="*/ 2884061 h 6858000"/>
              <a:gd name="connsiteX638" fmla="*/ 3192586 w 7467600"/>
              <a:gd name="connsiteY638" fmla="*/ 3411496 h 6858000"/>
              <a:gd name="connsiteX639" fmla="*/ 3182620 w 7467600"/>
              <a:gd name="connsiteY639" fmla="*/ 3483279 h 6858000"/>
              <a:gd name="connsiteX640" fmla="*/ 2435119 w 7467600"/>
              <a:gd name="connsiteY640" fmla="*/ 3080173 h 6858000"/>
              <a:gd name="connsiteX641" fmla="*/ 2410152 w 7467600"/>
              <a:gd name="connsiteY641" fmla="*/ 3063751 h 6858000"/>
              <a:gd name="connsiteX642" fmla="*/ 2408099 w 7467600"/>
              <a:gd name="connsiteY642" fmla="*/ 3064403 h 6858000"/>
              <a:gd name="connsiteX643" fmla="*/ 2407218 w 7467600"/>
              <a:gd name="connsiteY643" fmla="*/ 3070324 h 6858000"/>
              <a:gd name="connsiteX644" fmla="*/ 2380138 w 7467600"/>
              <a:gd name="connsiteY644" fmla="*/ 3099341 h 6858000"/>
              <a:gd name="connsiteX645" fmla="*/ 1765923 w 7467600"/>
              <a:gd name="connsiteY645" fmla="*/ 3581043 h 6858000"/>
              <a:gd name="connsiteX646" fmla="*/ 1702258 w 7467600"/>
              <a:gd name="connsiteY646" fmla="*/ 3612286 h 6858000"/>
              <a:gd name="connsiteX647" fmla="*/ 1538370 w 7467600"/>
              <a:gd name="connsiteY647" fmla="*/ 3811804 h 6858000"/>
              <a:gd name="connsiteX648" fmla="*/ 542867 w 7467600"/>
              <a:gd name="connsiteY648" fmla="*/ 4944092 h 6858000"/>
              <a:gd name="connsiteX649" fmla="*/ 515800 w 7467600"/>
              <a:gd name="connsiteY649" fmla="*/ 4862180 h 6858000"/>
              <a:gd name="connsiteX650" fmla="*/ 909145 w 7467600"/>
              <a:gd name="connsiteY650" fmla="*/ 4199225 h 6858000"/>
              <a:gd name="connsiteX651" fmla="*/ 1214067 w 7467600"/>
              <a:gd name="connsiteY651" fmla="*/ 3908561 h 6858000"/>
              <a:gd name="connsiteX652" fmla="*/ 640967 w 7467600"/>
              <a:gd name="connsiteY652" fmla="*/ 4105601 h 6858000"/>
              <a:gd name="connsiteX653" fmla="*/ 112563 w 7467600"/>
              <a:gd name="connsiteY653" fmla="*/ 4396952 h 6858000"/>
              <a:gd name="connsiteX654" fmla="*/ 0 w 7467600"/>
              <a:gd name="connsiteY654" fmla="*/ 4466006 h 6858000"/>
              <a:gd name="connsiteX655" fmla="*/ 0 w 7467600"/>
              <a:gd name="connsiteY655" fmla="*/ 4233763 h 6858000"/>
              <a:gd name="connsiteX656" fmla="*/ 36881 w 7467600"/>
              <a:gd name="connsiteY656" fmla="*/ 4200118 h 6858000"/>
              <a:gd name="connsiteX657" fmla="*/ 910534 w 7467600"/>
              <a:gd name="connsiteY657" fmla="*/ 3629753 h 6858000"/>
              <a:gd name="connsiteX658" fmla="*/ 1578717 w 7467600"/>
              <a:gd name="connsiteY658" fmla="*/ 3575982 h 6858000"/>
              <a:gd name="connsiteX659" fmla="*/ 2338780 w 7467600"/>
              <a:gd name="connsiteY659" fmla="*/ 3033725 h 6858000"/>
              <a:gd name="connsiteX660" fmla="*/ 1807991 w 7467600"/>
              <a:gd name="connsiteY660" fmla="*/ 2807184 h 6858000"/>
              <a:gd name="connsiteX661" fmla="*/ 1416358 w 7467600"/>
              <a:gd name="connsiteY661" fmla="*/ 3112571 h 6858000"/>
              <a:gd name="connsiteX662" fmla="*/ 939066 w 7467600"/>
              <a:gd name="connsiteY662" fmla="*/ 3378798 h 6858000"/>
              <a:gd name="connsiteX663" fmla="*/ 115099 w 7467600"/>
              <a:gd name="connsiteY663" fmla="*/ 3607650 h 6858000"/>
              <a:gd name="connsiteX664" fmla="*/ 97284 w 7467600"/>
              <a:gd name="connsiteY664" fmla="*/ 3520393 h 6858000"/>
              <a:gd name="connsiteX665" fmla="*/ 922050 w 7467600"/>
              <a:gd name="connsiteY665" fmla="*/ 3074867 h 6858000"/>
              <a:gd name="connsiteX666" fmla="*/ 1405265 w 7467600"/>
              <a:gd name="connsiteY666" fmla="*/ 3016319 h 6858000"/>
              <a:gd name="connsiteX667" fmla="*/ 1407512 w 7467600"/>
              <a:gd name="connsiteY667" fmla="*/ 3018001 h 6858000"/>
              <a:gd name="connsiteX668" fmla="*/ 1726266 w 7467600"/>
              <a:gd name="connsiteY668" fmla="*/ 2777274 h 6858000"/>
              <a:gd name="connsiteX669" fmla="*/ 625390 w 7467600"/>
              <a:gd name="connsiteY669" fmla="*/ 2514541 h 6858000"/>
              <a:gd name="connsiteX670" fmla="*/ 619799 w 7467600"/>
              <a:gd name="connsiteY670" fmla="*/ 2527180 h 6858000"/>
              <a:gd name="connsiteX671" fmla="*/ 310030 w 7467600"/>
              <a:gd name="connsiteY671" fmla="*/ 2771818 h 6858000"/>
              <a:gd name="connsiteX672" fmla="*/ 173877 w 7467600"/>
              <a:gd name="connsiteY672" fmla="*/ 2937056 h 6858000"/>
              <a:gd name="connsiteX673" fmla="*/ 77889 w 7467600"/>
              <a:gd name="connsiteY673" fmla="*/ 3138440 h 6858000"/>
              <a:gd name="connsiteX674" fmla="*/ 0 w 7467600"/>
              <a:gd name="connsiteY674" fmla="*/ 3271395 h 6858000"/>
              <a:gd name="connsiteX675" fmla="*/ 0 w 7467600"/>
              <a:gd name="connsiteY675" fmla="*/ 3153002 h 6858000"/>
              <a:gd name="connsiteX676" fmla="*/ 2386 w 7467600"/>
              <a:gd name="connsiteY676" fmla="*/ 3149203 h 6858000"/>
              <a:gd name="connsiteX677" fmla="*/ 89753 w 7467600"/>
              <a:gd name="connsiteY677" fmla="*/ 2987702 h 6858000"/>
              <a:gd name="connsiteX678" fmla="*/ 76869 w 7467600"/>
              <a:gd name="connsiteY678" fmla="*/ 3005404 h 6858000"/>
              <a:gd name="connsiteX679" fmla="*/ 32049 w 7467600"/>
              <a:gd name="connsiteY679" fmla="*/ 3065814 h 6858000"/>
              <a:gd name="connsiteX680" fmla="*/ 0 w 7467600"/>
              <a:gd name="connsiteY680" fmla="*/ 3108744 h 6858000"/>
              <a:gd name="connsiteX681" fmla="*/ 0 w 7467600"/>
              <a:gd name="connsiteY681" fmla="*/ 3058059 h 6858000"/>
              <a:gd name="connsiteX682" fmla="*/ 7610 w 7467600"/>
              <a:gd name="connsiteY682" fmla="*/ 3047889 h 6858000"/>
              <a:gd name="connsiteX683" fmla="*/ 52419 w 7467600"/>
              <a:gd name="connsiteY683" fmla="*/ 2987479 h 6858000"/>
              <a:gd name="connsiteX684" fmla="*/ 59142 w 7467600"/>
              <a:gd name="connsiteY684" fmla="*/ 2978488 h 6858000"/>
              <a:gd name="connsiteX685" fmla="*/ 0 w 7467600"/>
              <a:gd name="connsiteY685" fmla="*/ 3015334 h 6858000"/>
              <a:gd name="connsiteX686" fmla="*/ 0 w 7467600"/>
              <a:gd name="connsiteY686" fmla="*/ 2914286 h 6858000"/>
              <a:gd name="connsiteX687" fmla="*/ 36383 w 7467600"/>
              <a:gd name="connsiteY687" fmla="*/ 2901128 h 6858000"/>
              <a:gd name="connsiteX688" fmla="*/ 156329 w 7467600"/>
              <a:gd name="connsiteY688" fmla="*/ 2840533 h 6858000"/>
              <a:gd name="connsiteX689" fmla="*/ 358355 w 7467600"/>
              <a:gd name="connsiteY689" fmla="*/ 2620471 h 6858000"/>
              <a:gd name="connsiteX690" fmla="*/ 510577 w 7467600"/>
              <a:gd name="connsiteY690" fmla="*/ 2501244 h 6858000"/>
              <a:gd name="connsiteX691" fmla="*/ 211967 w 7467600"/>
              <a:gd name="connsiteY691" fmla="*/ 2479171 h 6858000"/>
              <a:gd name="connsiteX692" fmla="*/ 0 w 7467600"/>
              <a:gd name="connsiteY692" fmla="*/ 2476398 h 6858000"/>
              <a:gd name="connsiteX693" fmla="*/ 0 w 7467600"/>
              <a:gd name="connsiteY693" fmla="*/ 2389189 h 6858000"/>
              <a:gd name="connsiteX694" fmla="*/ 103062 w 7467600"/>
              <a:gd name="connsiteY694" fmla="*/ 2389518 h 6858000"/>
              <a:gd name="connsiteX695" fmla="*/ 510734 w 7467600"/>
              <a:gd name="connsiteY695" fmla="*/ 2416201 h 6858000"/>
              <a:gd name="connsiteX696" fmla="*/ 279257 w 7467600"/>
              <a:gd name="connsiteY696" fmla="*/ 2092102 h 6858000"/>
              <a:gd name="connsiteX697" fmla="*/ 65265 w 7467600"/>
              <a:gd name="connsiteY697" fmla="*/ 2006049 h 6858000"/>
              <a:gd name="connsiteX698" fmla="*/ 0 w 7467600"/>
              <a:gd name="connsiteY698" fmla="*/ 1982532 h 6858000"/>
              <a:gd name="connsiteX699" fmla="*/ 0 w 7467600"/>
              <a:gd name="connsiteY699" fmla="*/ 1912789 h 6858000"/>
              <a:gd name="connsiteX700" fmla="*/ 97460 w 7467600"/>
              <a:gd name="connsiteY700" fmla="*/ 1953725 h 6858000"/>
              <a:gd name="connsiteX701" fmla="*/ 221272 w 7467600"/>
              <a:gd name="connsiteY701" fmla="*/ 1980766 h 6858000"/>
              <a:gd name="connsiteX702" fmla="*/ 116765 w 7467600"/>
              <a:gd name="connsiteY702" fmla="*/ 1911033 h 6858000"/>
              <a:gd name="connsiteX703" fmla="*/ 16405 w 7467600"/>
              <a:gd name="connsiteY703" fmla="*/ 1803412 h 6858000"/>
              <a:gd name="connsiteX704" fmla="*/ 0 w 7467600"/>
              <a:gd name="connsiteY704" fmla="*/ 1784777 h 6858000"/>
              <a:gd name="connsiteX705" fmla="*/ 0 w 7467600"/>
              <a:gd name="connsiteY705" fmla="*/ 1740082 h 6858000"/>
              <a:gd name="connsiteX706" fmla="*/ 39394 w 7467600"/>
              <a:gd name="connsiteY706" fmla="*/ 1784856 h 6858000"/>
              <a:gd name="connsiteX707" fmla="*/ 135813 w 7467600"/>
              <a:gd name="connsiteY707" fmla="*/ 1888838 h 6858000"/>
              <a:gd name="connsiteX708" fmla="*/ 242575 w 7467600"/>
              <a:gd name="connsiteY708" fmla="*/ 1958841 h 6858000"/>
              <a:gd name="connsiteX709" fmla="*/ 82197 w 7467600"/>
              <a:gd name="connsiteY709" fmla="*/ 1754826 h 6858000"/>
              <a:gd name="connsiteX710" fmla="*/ 0 w 7467600"/>
              <a:gd name="connsiteY710" fmla="*/ 1679650 h 6858000"/>
              <a:gd name="connsiteX711" fmla="*/ 0 w 7467600"/>
              <a:gd name="connsiteY711" fmla="*/ 1602463 h 6858000"/>
              <a:gd name="connsiteX712" fmla="*/ 84689 w 7467600"/>
              <a:gd name="connsiteY712" fmla="*/ 1677442 h 6858000"/>
              <a:gd name="connsiteX713" fmla="*/ 298437 w 7467600"/>
              <a:gd name="connsiteY713" fmla="*/ 1968019 h 6858000"/>
              <a:gd name="connsiteX714" fmla="*/ 227269 w 7467600"/>
              <a:gd name="connsiteY714" fmla="*/ 1114064 h 6858000"/>
              <a:gd name="connsiteX715" fmla="*/ 248003 w 7467600"/>
              <a:gd name="connsiteY715" fmla="*/ 1089613 h 6858000"/>
              <a:gd name="connsiteX716" fmla="*/ 427020 w 7467600"/>
              <a:gd name="connsiteY716" fmla="*/ 1619803 h 6858000"/>
              <a:gd name="connsiteX717" fmla="*/ 340345 w 7467600"/>
              <a:gd name="connsiteY717" fmla="*/ 2027739 h 6858000"/>
              <a:gd name="connsiteX718" fmla="*/ 360865 w 7467600"/>
              <a:gd name="connsiteY718" fmla="*/ 2044827 h 6858000"/>
              <a:gd name="connsiteX719" fmla="*/ 560414 w 7467600"/>
              <a:gd name="connsiteY719" fmla="*/ 2421457 h 6858000"/>
              <a:gd name="connsiteX720" fmla="*/ 1359703 w 7467600"/>
              <a:gd name="connsiteY720" fmla="*/ 2578554 h 6858000"/>
              <a:gd name="connsiteX721" fmla="*/ 1359422 w 7467600"/>
              <a:gd name="connsiteY721" fmla="*/ 2577994 h 6858000"/>
              <a:gd name="connsiteX722" fmla="*/ 828701 w 7467600"/>
              <a:gd name="connsiteY722" fmla="*/ 1839520 h 6858000"/>
              <a:gd name="connsiteX723" fmla="*/ 494427 w 7467600"/>
              <a:gd name="connsiteY723" fmla="*/ 1092333 h 6858000"/>
              <a:gd name="connsiteX724" fmla="*/ 506322 w 7467600"/>
              <a:gd name="connsiteY724" fmla="*/ 1020997 h 6858000"/>
              <a:gd name="connsiteX725" fmla="*/ 4570198 w 7467600"/>
              <a:gd name="connsiteY725" fmla="*/ 978081 h 6858000"/>
              <a:gd name="connsiteX726" fmla="*/ 4523691 w 7467600"/>
              <a:gd name="connsiteY726" fmla="*/ 1127776 h 6858000"/>
              <a:gd name="connsiteX727" fmla="*/ 4509875 w 7467600"/>
              <a:gd name="connsiteY727" fmla="*/ 1167552 h 6858000"/>
              <a:gd name="connsiteX728" fmla="*/ 4478168 w 7467600"/>
              <a:gd name="connsiteY728" fmla="*/ 1260735 h 6858000"/>
              <a:gd name="connsiteX729" fmla="*/ 4409309 w 7467600"/>
              <a:gd name="connsiteY729" fmla="*/ 1666996 h 6858000"/>
              <a:gd name="connsiteX730" fmla="*/ 4370031 w 7467600"/>
              <a:gd name="connsiteY730" fmla="*/ 1955666 h 6858000"/>
              <a:gd name="connsiteX731" fmla="*/ 4570198 w 7467600"/>
              <a:gd name="connsiteY731" fmla="*/ 978081 h 6858000"/>
              <a:gd name="connsiteX732" fmla="*/ 4557898 w 7467600"/>
              <a:gd name="connsiteY732" fmla="*/ 900011 h 6858000"/>
              <a:gd name="connsiteX733" fmla="*/ 4344840 w 7467600"/>
              <a:gd name="connsiteY733" fmla="*/ 1922038 h 6858000"/>
              <a:gd name="connsiteX734" fmla="*/ 4378710 w 7467600"/>
              <a:gd name="connsiteY734" fmla="*/ 1665516 h 6858000"/>
              <a:gd name="connsiteX735" fmla="*/ 4448798 w 7467600"/>
              <a:gd name="connsiteY735" fmla="*/ 1253024 h 6858000"/>
              <a:gd name="connsiteX736" fmla="*/ 4480315 w 7467600"/>
              <a:gd name="connsiteY736" fmla="*/ 1158454 h 6858000"/>
              <a:gd name="connsiteX737" fmla="*/ 4494133 w 7467600"/>
              <a:gd name="connsiteY737" fmla="*/ 1118676 h 6858000"/>
              <a:gd name="connsiteX738" fmla="*/ 4557898 w 7467600"/>
              <a:gd name="connsiteY738" fmla="*/ 900011 h 6858000"/>
              <a:gd name="connsiteX739" fmla="*/ 5870151 w 7467600"/>
              <a:gd name="connsiteY739" fmla="*/ 898890 h 6858000"/>
              <a:gd name="connsiteX740" fmla="*/ 5861335 w 7467600"/>
              <a:gd name="connsiteY740" fmla="*/ 899177 h 6858000"/>
              <a:gd name="connsiteX741" fmla="*/ 5843702 w 7467600"/>
              <a:gd name="connsiteY741" fmla="*/ 899748 h 6858000"/>
              <a:gd name="connsiteX742" fmla="*/ 5651107 w 7467600"/>
              <a:gd name="connsiteY742" fmla="*/ 920306 h 6858000"/>
              <a:gd name="connsiteX743" fmla="*/ 5459407 w 7467600"/>
              <a:gd name="connsiteY743" fmla="*/ 940975 h 6858000"/>
              <a:gd name="connsiteX744" fmla="*/ 5374846 w 7467600"/>
              <a:gd name="connsiteY744" fmla="*/ 941988 h 6858000"/>
              <a:gd name="connsiteX745" fmla="*/ 5256105 w 7467600"/>
              <a:gd name="connsiteY745" fmla="*/ 945632 h 6858000"/>
              <a:gd name="connsiteX746" fmla="*/ 5107071 w 7467600"/>
              <a:gd name="connsiteY746" fmla="*/ 969720 h 6858000"/>
              <a:gd name="connsiteX747" fmla="*/ 4998681 w 7467600"/>
              <a:gd name="connsiteY747" fmla="*/ 988771 h 6858000"/>
              <a:gd name="connsiteX748" fmla="*/ 5870151 w 7467600"/>
              <a:gd name="connsiteY748" fmla="*/ 898890 h 6858000"/>
              <a:gd name="connsiteX749" fmla="*/ 5504425 w 7467600"/>
              <a:gd name="connsiteY749" fmla="*/ 848067 h 6858000"/>
              <a:gd name="connsiteX750" fmla="*/ 4968849 w 7467600"/>
              <a:gd name="connsiteY750" fmla="*/ 962318 h 6858000"/>
              <a:gd name="connsiteX751" fmla="*/ 5104039 w 7467600"/>
              <a:gd name="connsiteY751" fmla="*/ 940634 h 6858000"/>
              <a:gd name="connsiteX752" fmla="*/ 5256311 w 7467600"/>
              <a:gd name="connsiteY752" fmla="*/ 916490 h 6858000"/>
              <a:gd name="connsiteX753" fmla="*/ 5377381 w 7467600"/>
              <a:gd name="connsiteY753" fmla="*/ 912671 h 6858000"/>
              <a:gd name="connsiteX754" fmla="*/ 5460148 w 7467600"/>
              <a:gd name="connsiteY754" fmla="*/ 911442 h 6858000"/>
              <a:gd name="connsiteX755" fmla="*/ 5648971 w 7467600"/>
              <a:gd name="connsiteY755" fmla="*/ 891331 h 6858000"/>
              <a:gd name="connsiteX756" fmla="*/ 5844807 w 7467600"/>
              <a:gd name="connsiteY756" fmla="*/ 870718 h 6858000"/>
              <a:gd name="connsiteX757" fmla="*/ 5862975 w 7467600"/>
              <a:gd name="connsiteY757" fmla="*/ 869756 h 6858000"/>
              <a:gd name="connsiteX758" fmla="*/ 5920887 w 7467600"/>
              <a:gd name="connsiteY758" fmla="*/ 865929 h 6858000"/>
              <a:gd name="connsiteX759" fmla="*/ 5504425 w 7467600"/>
              <a:gd name="connsiteY759" fmla="*/ 848067 h 6858000"/>
              <a:gd name="connsiteX760" fmla="*/ 3607114 w 7467600"/>
              <a:gd name="connsiteY760" fmla="*/ 467441 h 6858000"/>
              <a:gd name="connsiteX761" fmla="*/ 3296242 w 7467600"/>
              <a:gd name="connsiteY761" fmla="*/ 807991 h 6858000"/>
              <a:gd name="connsiteX762" fmla="*/ 3174674 w 7467600"/>
              <a:gd name="connsiteY762" fmla="*/ 919759 h 6858000"/>
              <a:gd name="connsiteX763" fmla="*/ 3042978 w 7467600"/>
              <a:gd name="connsiteY763" fmla="*/ 1054894 h 6858000"/>
              <a:gd name="connsiteX764" fmla="*/ 2968914 w 7467600"/>
              <a:gd name="connsiteY764" fmla="*/ 1133756 h 6858000"/>
              <a:gd name="connsiteX765" fmla="*/ 3103823 w 7467600"/>
              <a:gd name="connsiteY765" fmla="*/ 1026814 h 6858000"/>
              <a:gd name="connsiteX766" fmla="*/ 3607114 w 7467600"/>
              <a:gd name="connsiteY766" fmla="*/ 467441 h 6858000"/>
              <a:gd name="connsiteX767" fmla="*/ 3744487 w 7467600"/>
              <a:gd name="connsiteY767" fmla="*/ 383136 h 6858000"/>
              <a:gd name="connsiteX768" fmla="*/ 3970213 w 7467600"/>
              <a:gd name="connsiteY768" fmla="*/ 995559 h 6858000"/>
              <a:gd name="connsiteX769" fmla="*/ 3744487 w 7467600"/>
              <a:gd name="connsiteY769" fmla="*/ 383136 h 6858000"/>
              <a:gd name="connsiteX770" fmla="*/ 3624562 w 7467600"/>
              <a:gd name="connsiteY770" fmla="*/ 367041 h 6858000"/>
              <a:gd name="connsiteX771" fmla="*/ 3489712 w 7467600"/>
              <a:gd name="connsiteY771" fmla="*/ 485386 h 6858000"/>
              <a:gd name="connsiteX772" fmla="*/ 3182994 w 7467600"/>
              <a:gd name="connsiteY772" fmla="*/ 828265 h 6858000"/>
              <a:gd name="connsiteX773" fmla="*/ 2892114 w 7467600"/>
              <a:gd name="connsiteY773" fmla="*/ 1172635 h 6858000"/>
              <a:gd name="connsiteX774" fmla="*/ 3021459 w 7467600"/>
              <a:gd name="connsiteY774" fmla="*/ 1035385 h 6858000"/>
              <a:gd name="connsiteX775" fmla="*/ 3153873 w 7467600"/>
              <a:gd name="connsiteY775" fmla="*/ 898971 h 6858000"/>
              <a:gd name="connsiteX776" fmla="*/ 3276511 w 7467600"/>
              <a:gd name="connsiteY776" fmla="*/ 786423 h 6858000"/>
              <a:gd name="connsiteX777" fmla="*/ 3584154 w 7467600"/>
              <a:gd name="connsiteY777" fmla="*/ 448218 h 6858000"/>
              <a:gd name="connsiteX778" fmla="*/ 3624562 w 7467600"/>
              <a:gd name="connsiteY778" fmla="*/ 367041 h 6858000"/>
              <a:gd name="connsiteX779" fmla="*/ 3766672 w 7467600"/>
              <a:gd name="connsiteY779" fmla="*/ 359429 h 6858000"/>
              <a:gd name="connsiteX780" fmla="*/ 3996338 w 7467600"/>
              <a:gd name="connsiteY780" fmla="*/ 968237 h 6858000"/>
              <a:gd name="connsiteX781" fmla="*/ 3766672 w 7467600"/>
              <a:gd name="connsiteY781" fmla="*/ 359429 h 6858000"/>
              <a:gd name="connsiteX782" fmla="*/ 5805386 w 7467600"/>
              <a:gd name="connsiteY782" fmla="*/ 239240 h 6858000"/>
              <a:gd name="connsiteX783" fmla="*/ 5736947 w 7467600"/>
              <a:gd name="connsiteY783" fmla="*/ 261367 h 6858000"/>
              <a:gd name="connsiteX784" fmla="*/ 5427012 w 7467600"/>
              <a:gd name="connsiteY784" fmla="*/ 311272 h 6858000"/>
              <a:gd name="connsiteX785" fmla="*/ 5147818 w 7467600"/>
              <a:gd name="connsiteY785" fmla="*/ 322112 h 6858000"/>
              <a:gd name="connsiteX786" fmla="*/ 5060854 w 7467600"/>
              <a:gd name="connsiteY786" fmla="*/ 311882 h 6858000"/>
              <a:gd name="connsiteX787" fmla="*/ 4945989 w 7467600"/>
              <a:gd name="connsiteY787" fmla="*/ 300516 h 6858000"/>
              <a:gd name="connsiteX788" fmla="*/ 5410479 w 7467600"/>
              <a:gd name="connsiteY788" fmla="*/ 348434 h 6858000"/>
              <a:gd name="connsiteX789" fmla="*/ 5805386 w 7467600"/>
              <a:gd name="connsiteY789" fmla="*/ 239240 h 6858000"/>
              <a:gd name="connsiteX790" fmla="*/ 5905192 w 7467600"/>
              <a:gd name="connsiteY790" fmla="*/ 163079 h 6858000"/>
              <a:gd name="connsiteX791" fmla="*/ 5865655 w 7467600"/>
              <a:gd name="connsiteY791" fmla="*/ 171901 h 6858000"/>
              <a:gd name="connsiteX792" fmla="*/ 5259740 w 7467600"/>
              <a:gd name="connsiteY792" fmla="*/ 257013 h 6858000"/>
              <a:gd name="connsiteX793" fmla="*/ 5208466 w 7467600"/>
              <a:gd name="connsiteY793" fmla="*/ 257550 h 6858000"/>
              <a:gd name="connsiteX794" fmla="*/ 4980204 w 7467600"/>
              <a:gd name="connsiteY794" fmla="*/ 271903 h 6858000"/>
              <a:gd name="connsiteX795" fmla="*/ 5068068 w 7467600"/>
              <a:gd name="connsiteY795" fmla="*/ 282244 h 6858000"/>
              <a:gd name="connsiteX796" fmla="*/ 5153231 w 7467600"/>
              <a:gd name="connsiteY796" fmla="*/ 292240 h 6858000"/>
              <a:gd name="connsiteX797" fmla="*/ 5426491 w 7467600"/>
              <a:gd name="connsiteY797" fmla="*/ 281128 h 6858000"/>
              <a:gd name="connsiteX798" fmla="*/ 5731212 w 7467600"/>
              <a:gd name="connsiteY798" fmla="*/ 231951 h 6858000"/>
              <a:gd name="connsiteX799" fmla="*/ 5905192 w 7467600"/>
              <a:gd name="connsiteY799" fmla="*/ 163079 h 6858000"/>
              <a:gd name="connsiteX800" fmla="*/ 5944437 w 7467600"/>
              <a:gd name="connsiteY800" fmla="*/ 113829 h 6858000"/>
              <a:gd name="connsiteX801" fmla="*/ 5825032 w 7467600"/>
              <a:gd name="connsiteY801" fmla="*/ 146405 h 6858000"/>
              <a:gd name="connsiteX802" fmla="*/ 4955599 w 7467600"/>
              <a:gd name="connsiteY802" fmla="*/ 247008 h 6858000"/>
              <a:gd name="connsiteX803" fmla="*/ 5210104 w 7467600"/>
              <a:gd name="connsiteY803" fmla="*/ 228123 h 6858000"/>
              <a:gd name="connsiteX804" fmla="*/ 5261015 w 7467600"/>
              <a:gd name="connsiteY804" fmla="*/ 227087 h 6858000"/>
              <a:gd name="connsiteX805" fmla="*/ 5861181 w 7467600"/>
              <a:gd name="connsiteY805" fmla="*/ 143093 h 6858000"/>
              <a:gd name="connsiteX806" fmla="*/ 5961252 w 7467600"/>
              <a:gd name="connsiteY806" fmla="*/ 114820 h 6858000"/>
              <a:gd name="connsiteX807" fmla="*/ 5944437 w 7467600"/>
              <a:gd name="connsiteY807" fmla="*/ 113829 h 6858000"/>
              <a:gd name="connsiteX808" fmla="*/ 3882765 w 7467600"/>
              <a:gd name="connsiteY808" fmla="*/ 0 h 6858000"/>
              <a:gd name="connsiteX809" fmla="*/ 3995099 w 7467600"/>
              <a:gd name="connsiteY809" fmla="*/ 0 h 6858000"/>
              <a:gd name="connsiteX810" fmla="*/ 4163818 w 7467600"/>
              <a:gd name="connsiteY810" fmla="*/ 234104 h 6858000"/>
              <a:gd name="connsiteX811" fmla="*/ 4172099 w 7467600"/>
              <a:gd name="connsiteY811" fmla="*/ 234207 h 6858000"/>
              <a:gd name="connsiteX812" fmla="*/ 4784282 w 7467600"/>
              <a:gd name="connsiteY812" fmla="*/ 276561 h 6858000"/>
              <a:gd name="connsiteX813" fmla="*/ 4801687 w 7467600"/>
              <a:gd name="connsiteY813" fmla="*/ 267764 h 6858000"/>
              <a:gd name="connsiteX814" fmla="*/ 6082788 w 7467600"/>
              <a:gd name="connsiteY814" fmla="*/ 64119 h 6858000"/>
              <a:gd name="connsiteX815" fmla="*/ 6099442 w 7467600"/>
              <a:gd name="connsiteY815" fmla="*/ 82568 h 6858000"/>
              <a:gd name="connsiteX816" fmla="*/ 4804137 w 7467600"/>
              <a:gd name="connsiteY816" fmla="*/ 320931 h 6858000"/>
              <a:gd name="connsiteX817" fmla="*/ 4227047 w 7467600"/>
              <a:gd name="connsiteY817" fmla="*/ 313415 h 6858000"/>
              <a:gd name="connsiteX818" fmla="*/ 4346041 w 7467600"/>
              <a:gd name="connsiteY818" fmla="*/ 456086 h 6858000"/>
              <a:gd name="connsiteX819" fmla="*/ 4870967 w 7467600"/>
              <a:gd name="connsiteY819" fmla="*/ 963061 h 6858000"/>
              <a:gd name="connsiteX820" fmla="*/ 4889647 w 7467600"/>
              <a:gd name="connsiteY820" fmla="*/ 957147 h 6858000"/>
              <a:gd name="connsiteX821" fmla="*/ 5422504 w 7467600"/>
              <a:gd name="connsiteY821" fmla="*/ 805191 h 6858000"/>
              <a:gd name="connsiteX822" fmla="*/ 6087656 w 7467600"/>
              <a:gd name="connsiteY822" fmla="*/ 826703 h 6858000"/>
              <a:gd name="connsiteX823" fmla="*/ 6058717 w 7467600"/>
              <a:gd name="connsiteY823" fmla="*/ 865992 h 6858000"/>
              <a:gd name="connsiteX824" fmla="*/ 4974153 w 7467600"/>
              <a:gd name="connsiteY824" fmla="*/ 1045456 h 6858000"/>
              <a:gd name="connsiteX825" fmla="*/ 5627835 w 7467600"/>
              <a:gd name="connsiteY825" fmla="*/ 1472077 h 6858000"/>
              <a:gd name="connsiteX826" fmla="*/ 5629817 w 7467600"/>
              <a:gd name="connsiteY826" fmla="*/ 1471412 h 6858000"/>
              <a:gd name="connsiteX827" fmla="*/ 5634124 w 7467600"/>
              <a:gd name="connsiteY827" fmla="*/ 1470572 h 6858000"/>
              <a:gd name="connsiteX828" fmla="*/ 5755832 w 7467600"/>
              <a:gd name="connsiteY828" fmla="*/ 1383886 h 6858000"/>
              <a:gd name="connsiteX829" fmla="*/ 6014186 w 7467600"/>
              <a:gd name="connsiteY829" fmla="*/ 1279799 h 6858000"/>
              <a:gd name="connsiteX830" fmla="*/ 6901619 w 7467600"/>
              <a:gd name="connsiteY830" fmla="*/ 1047874 h 6858000"/>
              <a:gd name="connsiteX831" fmla="*/ 6931566 w 7467600"/>
              <a:gd name="connsiteY831" fmla="*/ 1062034 h 6858000"/>
              <a:gd name="connsiteX832" fmla="*/ 5790982 w 7467600"/>
              <a:gd name="connsiteY832" fmla="*/ 1561380 h 6858000"/>
              <a:gd name="connsiteX833" fmla="*/ 6188971 w 7467600"/>
              <a:gd name="connsiteY833" fmla="*/ 1755168 h 6858000"/>
              <a:gd name="connsiteX834" fmla="*/ 6202446 w 7467600"/>
              <a:gd name="connsiteY834" fmla="*/ 1752268 h 6858000"/>
              <a:gd name="connsiteX835" fmla="*/ 7179560 w 7467600"/>
              <a:gd name="connsiteY835" fmla="*/ 1467551 h 6858000"/>
              <a:gd name="connsiteX836" fmla="*/ 7158730 w 7467600"/>
              <a:gd name="connsiteY836" fmla="*/ 1507835 h 6858000"/>
              <a:gd name="connsiteX837" fmla="*/ 6326959 w 7467600"/>
              <a:gd name="connsiteY837" fmla="*/ 1817686 h 6858000"/>
              <a:gd name="connsiteX838" fmla="*/ 6537433 w 7467600"/>
              <a:gd name="connsiteY838" fmla="*/ 1907790 h 6858000"/>
              <a:gd name="connsiteX839" fmla="*/ 6550221 w 7467600"/>
              <a:gd name="connsiteY839" fmla="*/ 1910729 h 6858000"/>
              <a:gd name="connsiteX840" fmla="*/ 6964438 w 7467600"/>
              <a:gd name="connsiteY840" fmla="*/ 2209505 h 6858000"/>
              <a:gd name="connsiteX841" fmla="*/ 7367862 w 7467600"/>
              <a:gd name="connsiteY841" fmla="*/ 2806833 h 6858000"/>
              <a:gd name="connsiteX842" fmla="*/ 7364329 w 7467600"/>
              <a:gd name="connsiteY842" fmla="*/ 2826907 h 6858000"/>
              <a:gd name="connsiteX843" fmla="*/ 7290545 w 7467600"/>
              <a:gd name="connsiteY843" fmla="*/ 2850663 h 6858000"/>
              <a:gd name="connsiteX844" fmla="*/ 6472036 w 7467600"/>
              <a:gd name="connsiteY844" fmla="*/ 1959003 h 6858000"/>
              <a:gd name="connsiteX845" fmla="*/ 5792897 w 7467600"/>
              <a:gd name="connsiteY845" fmla="*/ 1647747 h 6858000"/>
              <a:gd name="connsiteX846" fmla="*/ 5842751 w 7467600"/>
              <a:gd name="connsiteY846" fmla="*/ 1816112 h 6858000"/>
              <a:gd name="connsiteX847" fmla="*/ 5847424 w 7467600"/>
              <a:gd name="connsiteY847" fmla="*/ 1815776 h 6858000"/>
              <a:gd name="connsiteX848" fmla="*/ 6399821 w 7467600"/>
              <a:gd name="connsiteY848" fmla="*/ 2344799 h 6858000"/>
              <a:gd name="connsiteX849" fmla="*/ 6323232 w 7467600"/>
              <a:gd name="connsiteY849" fmla="*/ 2389634 h 6858000"/>
              <a:gd name="connsiteX850" fmla="*/ 5942958 w 7467600"/>
              <a:gd name="connsiteY850" fmla="*/ 2077708 h 6858000"/>
              <a:gd name="connsiteX851" fmla="*/ 5921559 w 7467600"/>
              <a:gd name="connsiteY851" fmla="*/ 2378596 h 6858000"/>
              <a:gd name="connsiteX852" fmla="*/ 5817651 w 7467600"/>
              <a:gd name="connsiteY852" fmla="*/ 3023919 h 6858000"/>
              <a:gd name="connsiteX853" fmla="*/ 5729634 w 7467600"/>
              <a:gd name="connsiteY853" fmla="*/ 3051849 h 6858000"/>
              <a:gd name="connsiteX854" fmla="*/ 5611018 w 7467600"/>
              <a:gd name="connsiteY854" fmla="*/ 2316769 h 6858000"/>
              <a:gd name="connsiteX855" fmla="*/ 5687608 w 7467600"/>
              <a:gd name="connsiteY855" fmla="*/ 2039972 h 6858000"/>
              <a:gd name="connsiteX856" fmla="*/ 5657554 w 7467600"/>
              <a:gd name="connsiteY856" fmla="*/ 1576445 h 6858000"/>
              <a:gd name="connsiteX857" fmla="*/ 5150475 w 7467600"/>
              <a:gd name="connsiteY857" fmla="*/ 1274012 h 6858000"/>
              <a:gd name="connsiteX858" fmla="*/ 5349142 w 7467600"/>
              <a:gd name="connsiteY858" fmla="*/ 2204405 h 6858000"/>
              <a:gd name="connsiteX859" fmla="*/ 5262214 w 7467600"/>
              <a:gd name="connsiteY859" fmla="*/ 2233836 h 6858000"/>
              <a:gd name="connsiteX860" fmla="*/ 4981539 w 7467600"/>
              <a:gd name="connsiteY860" fmla="*/ 1542201 h 6858000"/>
              <a:gd name="connsiteX861" fmla="*/ 4958461 w 7467600"/>
              <a:gd name="connsiteY861" fmla="*/ 1136957 h 6858000"/>
              <a:gd name="connsiteX862" fmla="*/ 4655015 w 7467600"/>
              <a:gd name="connsiteY862" fmla="*/ 891426 h 6858000"/>
              <a:gd name="connsiteX863" fmla="*/ 4348002 w 7467600"/>
              <a:gd name="connsiteY863" fmla="*/ 2205895 h 6858000"/>
              <a:gd name="connsiteX864" fmla="*/ 4262250 w 7467600"/>
              <a:gd name="connsiteY864" fmla="*/ 2219972 h 6858000"/>
              <a:gd name="connsiteX865" fmla="*/ 4550611 w 7467600"/>
              <a:gd name="connsiteY865" fmla="*/ 817540 h 6858000"/>
              <a:gd name="connsiteX866" fmla="*/ 4564418 w 7467600"/>
              <a:gd name="connsiteY866" fmla="*/ 808293 h 6858000"/>
              <a:gd name="connsiteX867" fmla="*/ 4266388 w 7467600"/>
              <a:gd name="connsiteY867" fmla="*/ 500083 h 6858000"/>
              <a:gd name="connsiteX868" fmla="*/ 4032842 w 7467600"/>
              <a:gd name="connsiteY868" fmla="*/ 211809 h 6858000"/>
              <a:gd name="connsiteX869" fmla="*/ 3882765 w 7467600"/>
              <a:gd name="connsiteY869" fmla="*/ 0 h 6858000"/>
              <a:gd name="connsiteX870" fmla="*/ 3721337 w 7467600"/>
              <a:gd name="connsiteY870" fmla="*/ 0 h 6858000"/>
              <a:gd name="connsiteX871" fmla="*/ 3797544 w 7467600"/>
              <a:gd name="connsiteY871" fmla="*/ 0 h 6858000"/>
              <a:gd name="connsiteX872" fmla="*/ 3775734 w 7467600"/>
              <a:gd name="connsiteY872" fmla="*/ 95131 h 6858000"/>
              <a:gd name="connsiteX873" fmla="*/ 3724807 w 7467600"/>
              <a:gd name="connsiteY873" fmla="*/ 272257 h 6858000"/>
              <a:gd name="connsiteX874" fmla="*/ 3726844 w 7467600"/>
              <a:gd name="connsiteY874" fmla="*/ 282988 h 6858000"/>
              <a:gd name="connsiteX875" fmla="*/ 3742664 w 7467600"/>
              <a:gd name="connsiteY875" fmla="*/ 279918 h 6858000"/>
              <a:gd name="connsiteX876" fmla="*/ 4103910 w 7467600"/>
              <a:gd name="connsiteY876" fmla="*/ 1161917 h 6858000"/>
              <a:gd name="connsiteX877" fmla="*/ 4020269 w 7467600"/>
              <a:gd name="connsiteY877" fmla="*/ 1200406 h 6858000"/>
              <a:gd name="connsiteX878" fmla="*/ 3674882 w 7467600"/>
              <a:gd name="connsiteY878" fmla="*/ 488524 h 6858000"/>
              <a:gd name="connsiteX879" fmla="*/ 3132682 w 7467600"/>
              <a:gd name="connsiteY879" fmla="*/ 1072284 h 6858000"/>
              <a:gd name="connsiteX880" fmla="*/ 2716346 w 7467600"/>
              <a:gd name="connsiteY880" fmla="*/ 1276376 h 6858000"/>
              <a:gd name="connsiteX881" fmla="*/ 2716772 w 7467600"/>
              <a:gd name="connsiteY881" fmla="*/ 1255462 h 6858000"/>
              <a:gd name="connsiteX882" fmla="*/ 3471096 w 7467600"/>
              <a:gd name="connsiteY882" fmla="*/ 437072 h 6858000"/>
              <a:gd name="connsiteX883" fmla="*/ 3639057 w 7467600"/>
              <a:gd name="connsiteY883" fmla="*/ 286334 h 6858000"/>
              <a:gd name="connsiteX884" fmla="*/ 3640309 w 7467600"/>
              <a:gd name="connsiteY884" fmla="*/ 284664 h 6858000"/>
              <a:gd name="connsiteX885" fmla="*/ 3646022 w 7467600"/>
              <a:gd name="connsiteY885" fmla="*/ 276711 h 6858000"/>
              <a:gd name="connsiteX886" fmla="*/ 3707943 w 7467600"/>
              <a:gd name="connsiteY886" fmla="*/ 65958 h 6858000"/>
              <a:gd name="connsiteX887" fmla="*/ 3721337 w 7467600"/>
              <a:gd name="connsiteY887" fmla="*/ 0 h 6858000"/>
              <a:gd name="connsiteX888" fmla="*/ 2867960 w 7467600"/>
              <a:gd name="connsiteY888" fmla="*/ 0 h 6858000"/>
              <a:gd name="connsiteX889" fmla="*/ 2926351 w 7467600"/>
              <a:gd name="connsiteY889" fmla="*/ 0 h 6858000"/>
              <a:gd name="connsiteX890" fmla="*/ 2902823 w 7467600"/>
              <a:gd name="connsiteY890" fmla="*/ 262929 h 6858000"/>
              <a:gd name="connsiteX891" fmla="*/ 2940663 w 7467600"/>
              <a:gd name="connsiteY891" fmla="*/ 140884 h 6858000"/>
              <a:gd name="connsiteX892" fmla="*/ 2947039 w 7467600"/>
              <a:gd name="connsiteY892" fmla="*/ 122524 h 6858000"/>
              <a:gd name="connsiteX893" fmla="*/ 2984316 w 7467600"/>
              <a:gd name="connsiteY893" fmla="*/ 0 h 6858000"/>
              <a:gd name="connsiteX894" fmla="*/ 3016114 w 7467600"/>
              <a:gd name="connsiteY894" fmla="*/ 0 h 6858000"/>
              <a:gd name="connsiteX895" fmla="*/ 2979949 w 7467600"/>
              <a:gd name="connsiteY895" fmla="*/ 119274 h 6858000"/>
              <a:gd name="connsiteX896" fmla="*/ 3023879 w 7467600"/>
              <a:gd name="connsiteY896" fmla="*/ 0 h 6858000"/>
              <a:gd name="connsiteX897" fmla="*/ 3105400 w 7467600"/>
              <a:gd name="connsiteY897" fmla="*/ 0 h 6858000"/>
              <a:gd name="connsiteX898" fmla="*/ 3094669 w 7467600"/>
              <a:gd name="connsiteY898" fmla="*/ 30308 h 6858000"/>
              <a:gd name="connsiteX899" fmla="*/ 2901945 w 7467600"/>
              <a:gd name="connsiteY899" fmla="*/ 466538 h 6858000"/>
              <a:gd name="connsiteX900" fmla="*/ 2815209 w 7467600"/>
              <a:gd name="connsiteY900" fmla="*/ 497361 h 6858000"/>
              <a:gd name="connsiteX901" fmla="*/ 2844845 w 7467600"/>
              <a:gd name="connsiteY901" fmla="*/ 127638 h 6858000"/>
              <a:gd name="connsiteX902" fmla="*/ 2867960 w 7467600"/>
              <a:gd name="connsiteY902" fmla="*/ 0 h 6858000"/>
              <a:gd name="connsiteX903" fmla="*/ 1057230 w 7467600"/>
              <a:gd name="connsiteY903" fmla="*/ 0 h 6858000"/>
              <a:gd name="connsiteX904" fmla="*/ 1111003 w 7467600"/>
              <a:gd name="connsiteY904" fmla="*/ 0 h 6858000"/>
              <a:gd name="connsiteX905" fmla="*/ 1125553 w 7467600"/>
              <a:gd name="connsiteY905" fmla="*/ 52588 h 6858000"/>
              <a:gd name="connsiteX906" fmla="*/ 1304276 w 7467600"/>
              <a:gd name="connsiteY906" fmla="*/ 476275 h 6858000"/>
              <a:gd name="connsiteX907" fmla="*/ 1492066 w 7467600"/>
              <a:gd name="connsiteY907" fmla="*/ 886333 h 6858000"/>
              <a:gd name="connsiteX908" fmla="*/ 1423698 w 7467600"/>
              <a:gd name="connsiteY908" fmla="*/ 710817 h 6858000"/>
              <a:gd name="connsiteX909" fmla="*/ 1357609 w 7467600"/>
              <a:gd name="connsiteY909" fmla="*/ 532892 h 6858000"/>
              <a:gd name="connsiteX910" fmla="*/ 1309550 w 7467600"/>
              <a:gd name="connsiteY910" fmla="*/ 374031 h 6858000"/>
              <a:gd name="connsiteX911" fmla="*/ 1193673 w 7467600"/>
              <a:gd name="connsiteY911" fmla="*/ 49533 h 6858000"/>
              <a:gd name="connsiteX912" fmla="*/ 1164391 w 7467600"/>
              <a:gd name="connsiteY912" fmla="*/ 0 h 6858000"/>
              <a:gd name="connsiteX913" fmla="*/ 1200666 w 7467600"/>
              <a:gd name="connsiteY913" fmla="*/ 0 h 6858000"/>
              <a:gd name="connsiteX914" fmla="*/ 1223408 w 7467600"/>
              <a:gd name="connsiteY914" fmla="*/ 38996 h 6858000"/>
              <a:gd name="connsiteX915" fmla="*/ 1339635 w 7467600"/>
              <a:gd name="connsiteY915" fmla="*/ 365517 h 6858000"/>
              <a:gd name="connsiteX916" fmla="*/ 1387469 w 7467600"/>
              <a:gd name="connsiteY916" fmla="*/ 523079 h 6858000"/>
              <a:gd name="connsiteX917" fmla="*/ 1452685 w 7467600"/>
              <a:gd name="connsiteY917" fmla="*/ 699806 h 6858000"/>
              <a:gd name="connsiteX918" fmla="*/ 1492092 w 7467600"/>
              <a:gd name="connsiteY918" fmla="*/ 800424 h 6858000"/>
              <a:gd name="connsiteX919" fmla="*/ 1455302 w 7467600"/>
              <a:gd name="connsiteY919" fmla="*/ 632913 h 6858000"/>
              <a:gd name="connsiteX920" fmla="*/ 1222336 w 7467600"/>
              <a:gd name="connsiteY920" fmla="*/ 9480 h 6858000"/>
              <a:gd name="connsiteX921" fmla="*/ 1214634 w 7467600"/>
              <a:gd name="connsiteY921" fmla="*/ 0 h 6858000"/>
              <a:gd name="connsiteX922" fmla="*/ 1289827 w 7467600"/>
              <a:gd name="connsiteY922" fmla="*/ 0 h 6858000"/>
              <a:gd name="connsiteX923" fmla="*/ 1321076 w 7467600"/>
              <a:gd name="connsiteY923" fmla="*/ 59722 h 6858000"/>
              <a:gd name="connsiteX924" fmla="*/ 1512579 w 7467600"/>
              <a:gd name="connsiteY924" fmla="*/ 626441 h 6858000"/>
              <a:gd name="connsiteX925" fmla="*/ 1506076 w 7467600"/>
              <a:gd name="connsiteY925" fmla="*/ 1089289 h 6858000"/>
              <a:gd name="connsiteX926" fmla="*/ 1486346 w 7467600"/>
              <a:gd name="connsiteY926" fmla="*/ 1079919 h 6858000"/>
              <a:gd name="connsiteX927" fmla="*/ 1070511 w 7467600"/>
              <a:gd name="connsiteY927" fmla="*/ 48609 h 6858000"/>
              <a:gd name="connsiteX928" fmla="*/ 1057230 w 7467600"/>
              <a:gd name="connsiteY928" fmla="*/ 0 h 6858000"/>
              <a:gd name="connsiteX929" fmla="*/ 43151 w 7467600"/>
              <a:gd name="connsiteY929" fmla="*/ 0 h 6858000"/>
              <a:gd name="connsiteX930" fmla="*/ 95283 w 7467600"/>
              <a:gd name="connsiteY930" fmla="*/ 0 h 6858000"/>
              <a:gd name="connsiteX931" fmla="*/ 300708 w 7467600"/>
              <a:gd name="connsiteY931" fmla="*/ 154571 h 6858000"/>
              <a:gd name="connsiteX932" fmla="*/ 530414 w 7467600"/>
              <a:gd name="connsiteY932" fmla="*/ 354673 h 6858000"/>
              <a:gd name="connsiteX933" fmla="*/ 333785 w 7467600"/>
              <a:gd name="connsiteY933" fmla="*/ 161564 h 6858000"/>
              <a:gd name="connsiteX934" fmla="*/ 147005 w 7467600"/>
              <a:gd name="connsiteY934" fmla="*/ 0 h 6858000"/>
              <a:gd name="connsiteX935" fmla="*/ 272509 w 7467600"/>
              <a:gd name="connsiteY935" fmla="*/ 0 h 6858000"/>
              <a:gd name="connsiteX936" fmla="*/ 326276 w 7467600"/>
              <a:gd name="connsiteY936" fmla="*/ 45847 h 6858000"/>
              <a:gd name="connsiteX937" fmla="*/ 823759 w 7467600"/>
              <a:gd name="connsiteY937" fmla="*/ 574145 h 6858000"/>
              <a:gd name="connsiteX938" fmla="*/ 811254 w 7467600"/>
              <a:gd name="connsiteY938" fmla="*/ 665546 h 6858000"/>
              <a:gd name="connsiteX939" fmla="*/ 154042 w 7467600"/>
              <a:gd name="connsiteY939" fmla="*/ 261522 h 6858000"/>
              <a:gd name="connsiteX940" fmla="*/ 13550 w 7467600"/>
              <a:gd name="connsiteY940" fmla="*/ 158423 h 6858000"/>
              <a:gd name="connsiteX941" fmla="*/ 0 w 7467600"/>
              <a:gd name="connsiteY941" fmla="*/ 146618 h 6858000"/>
              <a:gd name="connsiteX942" fmla="*/ 0 w 7467600"/>
              <a:gd name="connsiteY942" fmla="*/ 59161 h 6858000"/>
              <a:gd name="connsiteX943" fmla="*/ 45427 w 7467600"/>
              <a:gd name="connsiteY943" fmla="*/ 101078 h 6858000"/>
              <a:gd name="connsiteX944" fmla="*/ 630103 w 7467600"/>
              <a:gd name="connsiteY944" fmla="*/ 485885 h 6858000"/>
              <a:gd name="connsiteX945" fmla="*/ 532040 w 7467600"/>
              <a:gd name="connsiteY945" fmla="*/ 399359 h 6858000"/>
              <a:gd name="connsiteX946" fmla="*/ 517618 w 7467600"/>
              <a:gd name="connsiteY946" fmla="*/ 385726 h 6858000"/>
              <a:gd name="connsiteX947" fmla="*/ 285074 w 7467600"/>
              <a:gd name="connsiteY947" fmla="*/ 182755 h 6858000"/>
              <a:gd name="connsiteX948" fmla="*/ 43151 w 7467600"/>
              <a:gd name="connsiteY948"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467600 w 7467600"/>
              <a:gd name="connsiteY4" fmla="*/ 6767913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1019354 w 7467600"/>
              <a:gd name="connsiteY16" fmla="*/ 6315006 h 6858000"/>
              <a:gd name="connsiteX17" fmla="*/ 441046 w 7467600"/>
              <a:gd name="connsiteY17" fmla="*/ 6691153 h 6858000"/>
              <a:gd name="connsiteX18" fmla="*/ 1019354 w 7467600"/>
              <a:gd name="connsiteY18" fmla="*/ 6315006 h 6858000"/>
              <a:gd name="connsiteX19" fmla="*/ 991680 w 7467600"/>
              <a:gd name="connsiteY19" fmla="*/ 6298413 h 6858000"/>
              <a:gd name="connsiteX20" fmla="*/ 409060 w 7467600"/>
              <a:gd name="connsiteY20" fmla="*/ 6671470 h 6858000"/>
              <a:gd name="connsiteX21" fmla="*/ 991680 w 7467600"/>
              <a:gd name="connsiteY21" fmla="*/ 6298413 h 6858000"/>
              <a:gd name="connsiteX22" fmla="*/ 103333 w 7467600"/>
              <a:gd name="connsiteY22" fmla="*/ 5699602 h 6858000"/>
              <a:gd name="connsiteX23" fmla="*/ 233938 w 7467600"/>
              <a:gd name="connsiteY23" fmla="*/ 5809416 h 6858000"/>
              <a:gd name="connsiteX24" fmla="*/ 883580 w 7467600"/>
              <a:gd name="connsiteY24" fmla="*/ 6180710 h 6858000"/>
              <a:gd name="connsiteX25" fmla="*/ 487337 w 7467600"/>
              <a:gd name="connsiteY25" fmla="*/ 5950182 h 6858000"/>
              <a:gd name="connsiteX26" fmla="*/ 354051 w 7467600"/>
              <a:gd name="connsiteY26" fmla="*/ 5854912 h 6858000"/>
              <a:gd name="connsiteX27" fmla="*/ 195436 w 7467600"/>
              <a:gd name="connsiteY27" fmla="*/ 5755068 h 6858000"/>
              <a:gd name="connsiteX28" fmla="*/ 103333 w 7467600"/>
              <a:gd name="connsiteY28" fmla="*/ 5699602 h 6858000"/>
              <a:gd name="connsiteX29" fmla="*/ 5539432 w 7467600"/>
              <a:gd name="connsiteY29" fmla="*/ 5642928 h 6858000"/>
              <a:gd name="connsiteX30" fmla="*/ 5555462 w 7467600"/>
              <a:gd name="connsiteY30" fmla="*/ 5694454 h 6858000"/>
              <a:gd name="connsiteX31" fmla="*/ 5828270 w 7467600"/>
              <a:gd name="connsiteY31" fmla="*/ 6320663 h 6858000"/>
              <a:gd name="connsiteX32" fmla="*/ 5947416 w 7467600"/>
              <a:gd name="connsiteY32" fmla="*/ 6574846 h 6858000"/>
              <a:gd name="connsiteX33" fmla="*/ 5539432 w 7467600"/>
              <a:gd name="connsiteY33" fmla="*/ 5642928 h 6858000"/>
              <a:gd name="connsiteX34" fmla="*/ 51253 w 7467600"/>
              <a:gd name="connsiteY34" fmla="*/ 5631825 h 6858000"/>
              <a:gd name="connsiteX35" fmla="*/ 211622 w 7467600"/>
              <a:gd name="connsiteY35" fmla="*/ 5728803 h 6858000"/>
              <a:gd name="connsiteX36" fmla="*/ 371652 w 7467600"/>
              <a:gd name="connsiteY36" fmla="*/ 5829062 h 6858000"/>
              <a:gd name="connsiteX37" fmla="*/ 505903 w 7467600"/>
              <a:gd name="connsiteY37" fmla="*/ 5925221 h 6858000"/>
              <a:gd name="connsiteX38" fmla="*/ 899240 w 7467600"/>
              <a:gd name="connsiteY38" fmla="*/ 6153068 h 6858000"/>
              <a:gd name="connsiteX39" fmla="*/ 988114 w 7467600"/>
              <a:gd name="connsiteY39" fmla="*/ 6174204 h 6858000"/>
              <a:gd name="connsiteX40" fmla="*/ 845971 w 7467600"/>
              <a:gd name="connsiteY40" fmla="*/ 6067177 h 6858000"/>
              <a:gd name="connsiteX41" fmla="*/ 448057 w 7467600"/>
              <a:gd name="connsiteY41" fmla="*/ 5841376 h 6858000"/>
              <a:gd name="connsiteX42" fmla="*/ 51253 w 7467600"/>
              <a:gd name="connsiteY42" fmla="*/ 5631825 h 6858000"/>
              <a:gd name="connsiteX43" fmla="*/ 2606687 w 7467600"/>
              <a:gd name="connsiteY43" fmla="*/ 5630718 h 6858000"/>
              <a:gd name="connsiteX44" fmla="*/ 2645658 w 7467600"/>
              <a:gd name="connsiteY44" fmla="*/ 6640259 h 6858000"/>
              <a:gd name="connsiteX45" fmla="*/ 2606687 w 7467600"/>
              <a:gd name="connsiteY45" fmla="*/ 5630718 h 6858000"/>
              <a:gd name="connsiteX46" fmla="*/ 3642057 w 7467600"/>
              <a:gd name="connsiteY46" fmla="*/ 5573487 h 6858000"/>
              <a:gd name="connsiteX47" fmla="*/ 3632981 w 7467600"/>
              <a:gd name="connsiteY47" fmla="*/ 5579437 h 6858000"/>
              <a:gd name="connsiteX48" fmla="*/ 3382436 w 7467600"/>
              <a:gd name="connsiteY48" fmla="*/ 5952726 h 6858000"/>
              <a:gd name="connsiteX49" fmla="*/ 3191929 w 7467600"/>
              <a:gd name="connsiteY49" fmla="*/ 6662669 h 6858000"/>
              <a:gd name="connsiteX50" fmla="*/ 3369898 w 7467600"/>
              <a:gd name="connsiteY50" fmla="*/ 6081771 h 6858000"/>
              <a:gd name="connsiteX51" fmla="*/ 3642057 w 7467600"/>
              <a:gd name="connsiteY51" fmla="*/ 5573487 h 6858000"/>
              <a:gd name="connsiteX52" fmla="*/ 2650666 w 7467600"/>
              <a:gd name="connsiteY52" fmla="*/ 5530686 h 6858000"/>
              <a:gd name="connsiteX53" fmla="*/ 2650249 w 7467600"/>
              <a:gd name="connsiteY53" fmla="*/ 5532101 h 6858000"/>
              <a:gd name="connsiteX54" fmla="*/ 2663808 w 7467600"/>
              <a:gd name="connsiteY54" fmla="*/ 6535215 h 6858000"/>
              <a:gd name="connsiteX55" fmla="*/ 2665418 w 7467600"/>
              <a:gd name="connsiteY55" fmla="*/ 6132756 h 6858000"/>
              <a:gd name="connsiteX56" fmla="*/ 2650666 w 7467600"/>
              <a:gd name="connsiteY56" fmla="*/ 5530686 h 6858000"/>
              <a:gd name="connsiteX57" fmla="*/ 2680277 w 7467600"/>
              <a:gd name="connsiteY57" fmla="*/ 5479204 h 6858000"/>
              <a:gd name="connsiteX58" fmla="*/ 2678972 w 7467600"/>
              <a:gd name="connsiteY58" fmla="*/ 5481582 h 6858000"/>
              <a:gd name="connsiteX59" fmla="*/ 2696666 w 7467600"/>
              <a:gd name="connsiteY59" fmla="*/ 6133836 h 6858000"/>
              <a:gd name="connsiteX60" fmla="*/ 2695769 w 7467600"/>
              <a:gd name="connsiteY60" fmla="*/ 6390955 h 6858000"/>
              <a:gd name="connsiteX61" fmla="*/ 2739893 w 7467600"/>
              <a:gd name="connsiteY61" fmla="*/ 6108357 h 6858000"/>
              <a:gd name="connsiteX62" fmla="*/ 2680277 w 7467600"/>
              <a:gd name="connsiteY62" fmla="*/ 5479204 h 6858000"/>
              <a:gd name="connsiteX63" fmla="*/ 1132195 w 7467600"/>
              <a:gd name="connsiteY63" fmla="*/ 5467980 h 6858000"/>
              <a:gd name="connsiteX64" fmla="*/ 1679056 w 7467600"/>
              <a:gd name="connsiteY64" fmla="*/ 5516907 h 6858000"/>
              <a:gd name="connsiteX65" fmla="*/ 2128648 w 7467600"/>
              <a:gd name="connsiteY65" fmla="*/ 5474249 h 6858000"/>
              <a:gd name="connsiteX66" fmla="*/ 1825619 w 7467600"/>
              <a:gd name="connsiteY66" fmla="*/ 5478447 h 6858000"/>
              <a:gd name="connsiteX67" fmla="*/ 1737798 w 7467600"/>
              <a:gd name="connsiteY67" fmla="*/ 5483353 h 6858000"/>
              <a:gd name="connsiteX68" fmla="*/ 1132195 w 7467600"/>
              <a:gd name="connsiteY68" fmla="*/ 5467980 h 6858000"/>
              <a:gd name="connsiteX69" fmla="*/ 1456157 w 7467600"/>
              <a:gd name="connsiteY69" fmla="*/ 5371404 h 6858000"/>
              <a:gd name="connsiteX70" fmla="*/ 1244432 w 7467600"/>
              <a:gd name="connsiteY70" fmla="*/ 5385601 h 6858000"/>
              <a:gd name="connsiteX71" fmla="*/ 973990 w 7467600"/>
              <a:gd name="connsiteY71" fmla="*/ 5424940 h 6858000"/>
              <a:gd name="connsiteX72" fmla="*/ 1103809 w 7467600"/>
              <a:gd name="connsiteY72" fmla="*/ 5433720 h 6858000"/>
              <a:gd name="connsiteX73" fmla="*/ 1123454 w 7467600"/>
              <a:gd name="connsiteY73" fmla="*/ 5435727 h 6858000"/>
              <a:gd name="connsiteX74" fmla="*/ 1737017 w 7467600"/>
              <a:gd name="connsiteY74" fmla="*/ 5452183 h 6858000"/>
              <a:gd name="connsiteX75" fmla="*/ 1824397 w 7467600"/>
              <a:gd name="connsiteY75" fmla="*/ 5447757 h 6858000"/>
              <a:gd name="connsiteX76" fmla="*/ 2070059 w 7467600"/>
              <a:gd name="connsiteY76" fmla="*/ 5441660 h 6858000"/>
              <a:gd name="connsiteX77" fmla="*/ 1456157 w 7467600"/>
              <a:gd name="connsiteY77" fmla="*/ 5371404 h 6858000"/>
              <a:gd name="connsiteX78" fmla="*/ 4988186 w 7467600"/>
              <a:gd name="connsiteY78" fmla="*/ 5216467 h 6858000"/>
              <a:gd name="connsiteX79" fmla="*/ 4777334 w 7467600"/>
              <a:gd name="connsiteY79" fmla="*/ 5406072 h 6858000"/>
              <a:gd name="connsiteX80" fmla="*/ 4718341 w 7467600"/>
              <a:gd name="connsiteY80" fmla="*/ 5468043 h 6858000"/>
              <a:gd name="connsiteX81" fmla="*/ 4604655 w 7467600"/>
              <a:gd name="connsiteY81" fmla="*/ 5583434 h 6858000"/>
              <a:gd name="connsiteX82" fmla="*/ 4565074 w 7467600"/>
              <a:gd name="connsiteY82" fmla="*/ 5618550 h 6858000"/>
              <a:gd name="connsiteX83" fmla="*/ 4988186 w 7467600"/>
              <a:gd name="connsiteY83" fmla="*/ 5216467 h 6858000"/>
              <a:gd name="connsiteX84" fmla="*/ 4978032 w 7467600"/>
              <a:gd name="connsiteY84" fmla="*/ 5183809 h 6858000"/>
              <a:gd name="connsiteX85" fmla="*/ 4463413 w 7467600"/>
              <a:gd name="connsiteY85" fmla="*/ 5615162 h 6858000"/>
              <a:gd name="connsiteX86" fmla="*/ 4358134 w 7467600"/>
              <a:gd name="connsiteY86" fmla="*/ 5742791 h 6858000"/>
              <a:gd name="connsiteX87" fmla="*/ 4376219 w 7467600"/>
              <a:gd name="connsiteY87" fmla="*/ 5729027 h 6858000"/>
              <a:gd name="connsiteX88" fmla="*/ 4582340 w 7467600"/>
              <a:gd name="connsiteY88" fmla="*/ 5561037 h 6858000"/>
              <a:gd name="connsiteX89" fmla="*/ 4694684 w 7467600"/>
              <a:gd name="connsiteY89" fmla="*/ 5447098 h 6858000"/>
              <a:gd name="connsiteX90" fmla="*/ 4754123 w 7467600"/>
              <a:gd name="connsiteY90" fmla="*/ 5384643 h 6858000"/>
              <a:gd name="connsiteX91" fmla="*/ 4978032 w 7467600"/>
              <a:gd name="connsiteY91" fmla="*/ 5183809 h 6858000"/>
              <a:gd name="connsiteX92" fmla="*/ 1903353 w 7467600"/>
              <a:gd name="connsiteY92" fmla="*/ 5044827 h 6858000"/>
              <a:gd name="connsiteX93" fmla="*/ 1936931 w 7467600"/>
              <a:gd name="connsiteY93" fmla="*/ 5093954 h 6858000"/>
              <a:gd name="connsiteX94" fmla="*/ 2195868 w 7467600"/>
              <a:gd name="connsiteY94" fmla="*/ 5396574 h 6858000"/>
              <a:gd name="connsiteX95" fmla="*/ 2088852 w 7467600"/>
              <a:gd name="connsiteY95" fmla="*/ 5166123 h 6858000"/>
              <a:gd name="connsiteX96" fmla="*/ 1958241 w 7467600"/>
              <a:gd name="connsiteY96" fmla="*/ 5067955 h 6858000"/>
              <a:gd name="connsiteX97" fmla="*/ 1903353 w 7467600"/>
              <a:gd name="connsiteY97" fmla="*/ 5044827 h 6858000"/>
              <a:gd name="connsiteX98" fmla="*/ 1979378 w 7467600"/>
              <a:gd name="connsiteY98" fmla="*/ 4769504 h 6858000"/>
              <a:gd name="connsiteX99" fmla="*/ 2882120 w 7467600"/>
              <a:gd name="connsiteY99" fmla="*/ 5064547 h 6858000"/>
              <a:gd name="connsiteX100" fmla="*/ 2793103 w 7467600"/>
              <a:gd name="connsiteY100" fmla="*/ 5039699 h 6858000"/>
              <a:gd name="connsiteX101" fmla="*/ 2770041 w 7467600"/>
              <a:gd name="connsiteY101" fmla="*/ 5033634 h 6858000"/>
              <a:gd name="connsiteX102" fmla="*/ 1979378 w 7467600"/>
              <a:gd name="connsiteY102" fmla="*/ 4769504 h 6858000"/>
              <a:gd name="connsiteX103" fmla="*/ 1927410 w 7467600"/>
              <a:gd name="connsiteY103" fmla="*/ 4716164 h 6858000"/>
              <a:gd name="connsiteX104" fmla="*/ 1959587 w 7467600"/>
              <a:gd name="connsiteY104" fmla="*/ 4728849 h 6858000"/>
              <a:gd name="connsiteX105" fmla="*/ 2777707 w 7467600"/>
              <a:gd name="connsiteY105" fmla="*/ 5003991 h 6858000"/>
              <a:gd name="connsiteX106" fmla="*/ 2800768 w 7467600"/>
              <a:gd name="connsiteY106" fmla="*/ 5010056 h 6858000"/>
              <a:gd name="connsiteX107" fmla="*/ 2879408 w 7467600"/>
              <a:gd name="connsiteY107" fmla="*/ 5031590 h 6858000"/>
              <a:gd name="connsiteX108" fmla="*/ 2862295 w 7467600"/>
              <a:gd name="connsiteY108" fmla="*/ 5022958 h 6858000"/>
              <a:gd name="connsiteX109" fmla="*/ 2813343 w 7467600"/>
              <a:gd name="connsiteY109" fmla="*/ 4998369 h 6858000"/>
              <a:gd name="connsiteX110" fmla="*/ 2646245 w 7467600"/>
              <a:gd name="connsiteY110" fmla="*/ 4930999 h 6858000"/>
              <a:gd name="connsiteX111" fmla="*/ 1999243 w 7467600"/>
              <a:gd name="connsiteY111" fmla="*/ 4730524 h 6858000"/>
              <a:gd name="connsiteX112" fmla="*/ 1979527 w 7467600"/>
              <a:gd name="connsiteY112" fmla="*/ 4726651 h 6858000"/>
              <a:gd name="connsiteX113" fmla="*/ 1927410 w 7467600"/>
              <a:gd name="connsiteY113" fmla="*/ 4716164 h 6858000"/>
              <a:gd name="connsiteX114" fmla="*/ 1997014 w 7467600"/>
              <a:gd name="connsiteY114" fmla="*/ 4698007 h 6858000"/>
              <a:gd name="connsiteX115" fmla="*/ 2005458 w 7467600"/>
              <a:gd name="connsiteY115" fmla="*/ 4699540 h 6858000"/>
              <a:gd name="connsiteX116" fmla="*/ 2657186 w 7467600"/>
              <a:gd name="connsiteY116" fmla="*/ 4901687 h 6858000"/>
              <a:gd name="connsiteX117" fmla="*/ 2826662 w 7467600"/>
              <a:gd name="connsiteY117" fmla="*/ 4970362 h 6858000"/>
              <a:gd name="connsiteX118" fmla="*/ 2876100 w 7467600"/>
              <a:gd name="connsiteY118" fmla="*/ 4995397 h 6858000"/>
              <a:gd name="connsiteX119" fmla="*/ 3042600 w 7467600"/>
              <a:gd name="connsiteY119" fmla="*/ 5059532 h 6858000"/>
              <a:gd name="connsiteX120" fmla="*/ 1997014 w 7467600"/>
              <a:gd name="connsiteY120" fmla="*/ 4698007 h 6858000"/>
              <a:gd name="connsiteX121" fmla="*/ 2305292 w 7467600"/>
              <a:gd name="connsiteY121" fmla="*/ 4219492 h 6858000"/>
              <a:gd name="connsiteX122" fmla="*/ 3360922 w 7467600"/>
              <a:gd name="connsiteY122" fmla="*/ 4529373 h 6858000"/>
              <a:gd name="connsiteX123" fmla="*/ 3492420 w 7467600"/>
              <a:gd name="connsiteY123" fmla="*/ 4510145 h 6858000"/>
              <a:gd name="connsiteX124" fmla="*/ 3364086 w 7467600"/>
              <a:gd name="connsiteY124" fmla="*/ 4480340 h 6858000"/>
              <a:gd name="connsiteX125" fmla="*/ 3225818 w 7467600"/>
              <a:gd name="connsiteY125" fmla="*/ 4411822 h 6858000"/>
              <a:gd name="connsiteX126" fmla="*/ 3129696 w 7467600"/>
              <a:gd name="connsiteY126" fmla="*/ 4360704 h 6858000"/>
              <a:gd name="connsiteX127" fmla="*/ 2814545 w 7467600"/>
              <a:gd name="connsiteY127" fmla="*/ 4282955 h 6858000"/>
              <a:gd name="connsiteX128" fmla="*/ 2305292 w 7467600"/>
              <a:gd name="connsiteY128" fmla="*/ 4219492 h 6858000"/>
              <a:gd name="connsiteX129" fmla="*/ 2626982 w 7467600"/>
              <a:gd name="connsiteY129" fmla="*/ 4206450 h 6858000"/>
              <a:gd name="connsiteX130" fmla="*/ 2490617 w 7467600"/>
              <a:gd name="connsiteY130" fmla="*/ 4206951 h 6858000"/>
              <a:gd name="connsiteX131" fmla="*/ 2819869 w 7467600"/>
              <a:gd name="connsiteY131" fmla="*/ 4252936 h 6858000"/>
              <a:gd name="connsiteX132" fmla="*/ 3143018 w 7467600"/>
              <a:gd name="connsiteY132" fmla="*/ 4332698 h 6858000"/>
              <a:gd name="connsiteX133" fmla="*/ 3241520 w 7467600"/>
              <a:gd name="connsiteY133" fmla="*/ 4385112 h 6858000"/>
              <a:gd name="connsiteX134" fmla="*/ 3374575 w 7467600"/>
              <a:gd name="connsiteY134" fmla="*/ 4451517 h 6858000"/>
              <a:gd name="connsiteX135" fmla="*/ 3505221 w 7467600"/>
              <a:gd name="connsiteY135" fmla="*/ 4480757 h 6858000"/>
              <a:gd name="connsiteX136" fmla="*/ 2626982 w 7467600"/>
              <a:gd name="connsiteY136" fmla="*/ 4206450 h 6858000"/>
              <a:gd name="connsiteX137" fmla="*/ 1310106 w 7467600"/>
              <a:gd name="connsiteY137" fmla="*/ 3943217 h 6858000"/>
              <a:gd name="connsiteX138" fmla="*/ 854994 w 7467600"/>
              <a:gd name="connsiteY138" fmla="*/ 4399136 h 6858000"/>
              <a:gd name="connsiteX139" fmla="*/ 742462 w 7467600"/>
              <a:gd name="connsiteY139" fmla="*/ 4594648 h 6858000"/>
              <a:gd name="connsiteX140" fmla="*/ 820602 w 7467600"/>
              <a:gd name="connsiteY140" fmla="*/ 4485915 h 6858000"/>
              <a:gd name="connsiteX141" fmla="*/ 878295 w 7467600"/>
              <a:gd name="connsiteY141" fmla="*/ 4403594 h 6858000"/>
              <a:gd name="connsiteX142" fmla="*/ 1240607 w 7467600"/>
              <a:gd name="connsiteY142" fmla="*/ 4010401 h 6858000"/>
              <a:gd name="connsiteX143" fmla="*/ 1310106 w 7467600"/>
              <a:gd name="connsiteY143" fmla="*/ 3943217 h 6858000"/>
              <a:gd name="connsiteX144" fmla="*/ 1423113 w 7467600"/>
              <a:gd name="connsiteY144" fmla="*/ 3874565 h 6858000"/>
              <a:gd name="connsiteX145" fmla="*/ 1260565 w 7467600"/>
              <a:gd name="connsiteY145" fmla="*/ 4031982 h 6858000"/>
              <a:gd name="connsiteX146" fmla="*/ 901900 w 7467600"/>
              <a:gd name="connsiteY146" fmla="*/ 4421236 h 6858000"/>
              <a:gd name="connsiteX147" fmla="*/ 845044 w 7467600"/>
              <a:gd name="connsiteY147" fmla="*/ 4502436 h 6858000"/>
              <a:gd name="connsiteX148" fmla="*/ 685926 w 7467600"/>
              <a:gd name="connsiteY148" fmla="*/ 4703069 h 6858000"/>
              <a:gd name="connsiteX149" fmla="*/ 684248 w 7467600"/>
              <a:gd name="connsiteY149" fmla="*/ 4706721 h 6858000"/>
              <a:gd name="connsiteX150" fmla="*/ 1423113 w 7467600"/>
              <a:gd name="connsiteY150" fmla="*/ 3874565 h 6858000"/>
              <a:gd name="connsiteX151" fmla="*/ 3316479 w 7467600"/>
              <a:gd name="connsiteY151" fmla="*/ 3872136 h 6858000"/>
              <a:gd name="connsiteX152" fmla="*/ 3546806 w 7467600"/>
              <a:gd name="connsiteY152" fmla="*/ 4356139 h 6858000"/>
              <a:gd name="connsiteX153" fmla="*/ 3364433 w 7467600"/>
              <a:gd name="connsiteY153" fmla="*/ 3953121 h 6858000"/>
              <a:gd name="connsiteX154" fmla="*/ 3316479 w 7467600"/>
              <a:gd name="connsiteY154" fmla="*/ 3872136 h 6858000"/>
              <a:gd name="connsiteX155" fmla="*/ 3291335 w 7467600"/>
              <a:gd name="connsiteY155" fmla="*/ 3767420 h 6858000"/>
              <a:gd name="connsiteX156" fmla="*/ 3390805 w 7467600"/>
              <a:gd name="connsiteY156" fmla="*/ 3937163 h 6858000"/>
              <a:gd name="connsiteX157" fmla="*/ 3579062 w 7467600"/>
              <a:gd name="connsiteY157" fmla="*/ 4359040 h 6858000"/>
              <a:gd name="connsiteX158" fmla="*/ 3467355 w 7467600"/>
              <a:gd name="connsiteY158" fmla="*/ 3988130 h 6858000"/>
              <a:gd name="connsiteX159" fmla="*/ 3310753 w 7467600"/>
              <a:gd name="connsiteY159" fmla="*/ 3787140 h 6858000"/>
              <a:gd name="connsiteX160" fmla="*/ 3291335 w 7467600"/>
              <a:gd name="connsiteY160" fmla="*/ 3767420 h 6858000"/>
              <a:gd name="connsiteX161" fmla="*/ 1635889 w 7467600"/>
              <a:gd name="connsiteY161" fmla="*/ 3709494 h 6858000"/>
              <a:gd name="connsiteX162" fmla="*/ 1634800 w 7467600"/>
              <a:gd name="connsiteY162" fmla="*/ 3731111 h 6858000"/>
              <a:gd name="connsiteX163" fmla="*/ 1635889 w 7467600"/>
              <a:gd name="connsiteY163" fmla="*/ 3709494 h 6858000"/>
              <a:gd name="connsiteX164" fmla="*/ 1510397 w 7467600"/>
              <a:gd name="connsiteY164" fmla="*/ 3684705 h 6858000"/>
              <a:gd name="connsiteX165" fmla="*/ 1146550 w 7467600"/>
              <a:gd name="connsiteY165" fmla="*/ 3802012 h 6858000"/>
              <a:gd name="connsiteX166" fmla="*/ 698834 w 7467600"/>
              <a:gd name="connsiteY166" fmla="*/ 3952272 h 6858000"/>
              <a:gd name="connsiteX167" fmla="*/ 34256 w 7467600"/>
              <a:gd name="connsiteY167" fmla="*/ 4347603 h 6858000"/>
              <a:gd name="connsiteX168" fmla="*/ 527241 w 7467600"/>
              <a:gd name="connsiteY168" fmla="*/ 4065078 h 6858000"/>
              <a:gd name="connsiteX169" fmla="*/ 1510397 w 7467600"/>
              <a:gd name="connsiteY169" fmla="*/ 3684705 h 6858000"/>
              <a:gd name="connsiteX170" fmla="*/ 1313114 w 7467600"/>
              <a:gd name="connsiteY170" fmla="*/ 3655216 h 6858000"/>
              <a:gd name="connsiteX171" fmla="*/ 1109304 w 7467600"/>
              <a:gd name="connsiteY171" fmla="*/ 3669030 h 6858000"/>
              <a:gd name="connsiteX172" fmla="*/ 8129 w 7467600"/>
              <a:gd name="connsiteY172" fmla="*/ 4330519 h 6858000"/>
              <a:gd name="connsiteX173" fmla="*/ 687572 w 7467600"/>
              <a:gd name="connsiteY173" fmla="*/ 3925629 h 6858000"/>
              <a:gd name="connsiteX174" fmla="*/ 1138365 w 7467600"/>
              <a:gd name="connsiteY174" fmla="*/ 3774515 h 6858000"/>
              <a:gd name="connsiteX175" fmla="*/ 1505579 w 7467600"/>
              <a:gd name="connsiteY175" fmla="*/ 3655526 h 6858000"/>
              <a:gd name="connsiteX176" fmla="*/ 1313114 w 7467600"/>
              <a:gd name="connsiteY176" fmla="*/ 3655216 h 6858000"/>
              <a:gd name="connsiteX177" fmla="*/ 3655073 w 7467600"/>
              <a:gd name="connsiteY177" fmla="*/ 3650884 h 6858000"/>
              <a:gd name="connsiteX178" fmla="*/ 3989938 w 7467600"/>
              <a:gd name="connsiteY178" fmla="*/ 3991685 h 6858000"/>
              <a:gd name="connsiteX179" fmla="*/ 4393907 w 7467600"/>
              <a:gd name="connsiteY179" fmla="*/ 4261258 h 6858000"/>
              <a:gd name="connsiteX180" fmla="*/ 4648051 w 7467600"/>
              <a:gd name="connsiteY180" fmla="*/ 4374051 h 6858000"/>
              <a:gd name="connsiteX181" fmla="*/ 4383389 w 7467600"/>
              <a:gd name="connsiteY181" fmla="*/ 4184369 h 6858000"/>
              <a:gd name="connsiteX182" fmla="*/ 4165508 w 7467600"/>
              <a:gd name="connsiteY182" fmla="*/ 4035196 h 6858000"/>
              <a:gd name="connsiteX183" fmla="*/ 4068162 w 7467600"/>
              <a:gd name="connsiteY183" fmla="*/ 3953394 h 6858000"/>
              <a:gd name="connsiteX184" fmla="*/ 3981416 w 7467600"/>
              <a:gd name="connsiteY184" fmla="*/ 3880482 h 6858000"/>
              <a:gd name="connsiteX185" fmla="*/ 3800147 w 7467600"/>
              <a:gd name="connsiteY185" fmla="*/ 3749872 h 6858000"/>
              <a:gd name="connsiteX186" fmla="*/ 3655073 w 7467600"/>
              <a:gd name="connsiteY186" fmla="*/ 3650884 h 6858000"/>
              <a:gd name="connsiteX187" fmla="*/ 3670252 w 7467600"/>
              <a:gd name="connsiteY187" fmla="*/ 3622798 h 6858000"/>
              <a:gd name="connsiteX188" fmla="*/ 3817258 w 7467600"/>
              <a:gd name="connsiteY188" fmla="*/ 3723577 h 6858000"/>
              <a:gd name="connsiteX189" fmla="*/ 4000461 w 7467600"/>
              <a:gd name="connsiteY189" fmla="*/ 3855966 h 6858000"/>
              <a:gd name="connsiteX190" fmla="*/ 4088180 w 7467600"/>
              <a:gd name="connsiteY190" fmla="*/ 3929774 h 6858000"/>
              <a:gd name="connsiteX191" fmla="*/ 4184555 w 7467600"/>
              <a:gd name="connsiteY191" fmla="*/ 4010683 h 6858000"/>
              <a:gd name="connsiteX192" fmla="*/ 4399563 w 7467600"/>
              <a:gd name="connsiteY192" fmla="*/ 4158106 h 6858000"/>
              <a:gd name="connsiteX193" fmla="*/ 4684469 w 7467600"/>
              <a:gd name="connsiteY193" fmla="*/ 4364680 h 6858000"/>
              <a:gd name="connsiteX194" fmla="*/ 4690271 w 7467600"/>
              <a:gd name="connsiteY194" fmla="*/ 4370034 h 6858000"/>
              <a:gd name="connsiteX195" fmla="*/ 4136093 w 7467600"/>
              <a:gd name="connsiteY195" fmla="*/ 3858466 h 6858000"/>
              <a:gd name="connsiteX196" fmla="*/ 3670252 w 7467600"/>
              <a:gd name="connsiteY196" fmla="*/ 3622798 h 6858000"/>
              <a:gd name="connsiteX197" fmla="*/ 4440129 w 7467600"/>
              <a:gd name="connsiteY197" fmla="*/ 3448571 h 6858000"/>
              <a:gd name="connsiteX198" fmla="*/ 4856525 w 7467600"/>
              <a:gd name="connsiteY198" fmla="*/ 3915351 h 6858000"/>
              <a:gd name="connsiteX199" fmla="*/ 5059055 w 7467600"/>
              <a:gd name="connsiteY199" fmla="*/ 4108918 h 6858000"/>
              <a:gd name="connsiteX200" fmla="*/ 5290070 w 7467600"/>
              <a:gd name="connsiteY200" fmla="*/ 4263619 h 6858000"/>
              <a:gd name="connsiteX201" fmla="*/ 4834991 w 7467600"/>
              <a:gd name="connsiteY201" fmla="*/ 3830985 h 6858000"/>
              <a:gd name="connsiteX202" fmla="*/ 4440129 w 7467600"/>
              <a:gd name="connsiteY202" fmla="*/ 3448571 h 6858000"/>
              <a:gd name="connsiteX203" fmla="*/ 4441737 w 7467600"/>
              <a:gd name="connsiteY203" fmla="*/ 3399734 h 6858000"/>
              <a:gd name="connsiteX204" fmla="*/ 4431236 w 7467600"/>
              <a:gd name="connsiteY204" fmla="*/ 3400954 h 6858000"/>
              <a:gd name="connsiteX205" fmla="*/ 4557150 w 7467600"/>
              <a:gd name="connsiteY205" fmla="*/ 3510023 h 6858000"/>
              <a:gd name="connsiteX206" fmla="*/ 4856936 w 7467600"/>
              <a:gd name="connsiteY206" fmla="*/ 3809146 h 6858000"/>
              <a:gd name="connsiteX207" fmla="*/ 5111996 w 7467600"/>
              <a:gd name="connsiteY207" fmla="*/ 4065759 h 6858000"/>
              <a:gd name="connsiteX208" fmla="*/ 5388878 w 7467600"/>
              <a:gd name="connsiteY208" fmla="*/ 4300185 h 6858000"/>
              <a:gd name="connsiteX209" fmla="*/ 5425556 w 7467600"/>
              <a:gd name="connsiteY209" fmla="*/ 4308967 h 6858000"/>
              <a:gd name="connsiteX210" fmla="*/ 4943646 w 7467600"/>
              <a:gd name="connsiteY210" fmla="*/ 3822916 h 6858000"/>
              <a:gd name="connsiteX211" fmla="*/ 4594837 w 7467600"/>
              <a:gd name="connsiteY211" fmla="*/ 3532274 h 6858000"/>
              <a:gd name="connsiteX212" fmla="*/ 4441737 w 7467600"/>
              <a:gd name="connsiteY212" fmla="*/ 3399734 h 6858000"/>
              <a:gd name="connsiteX213" fmla="*/ 5425834 w 7467600"/>
              <a:gd name="connsiteY213" fmla="*/ 3162785 h 6858000"/>
              <a:gd name="connsiteX214" fmla="*/ 5401644 w 7467600"/>
              <a:gd name="connsiteY214" fmla="*/ 3617847 h 6858000"/>
              <a:gd name="connsiteX215" fmla="*/ 5467256 w 7467600"/>
              <a:gd name="connsiteY215" fmla="*/ 4175494 h 6858000"/>
              <a:gd name="connsiteX216" fmla="*/ 5448069 w 7467600"/>
              <a:gd name="connsiteY216" fmla="*/ 3567554 h 6858000"/>
              <a:gd name="connsiteX217" fmla="*/ 5425834 w 7467600"/>
              <a:gd name="connsiteY217" fmla="*/ 3162785 h 6858000"/>
              <a:gd name="connsiteX218" fmla="*/ 1318687 w 7467600"/>
              <a:gd name="connsiteY218" fmla="*/ 3113840 h 6858000"/>
              <a:gd name="connsiteX219" fmla="*/ 1066793 w 7467600"/>
              <a:gd name="connsiteY219" fmla="*/ 3212171 h 6858000"/>
              <a:gd name="connsiteX220" fmla="*/ 993319 w 7467600"/>
              <a:gd name="connsiteY220" fmla="*/ 3247648 h 6858000"/>
              <a:gd name="connsiteX221" fmla="*/ 853081 w 7467600"/>
              <a:gd name="connsiteY221" fmla="*/ 3312410 h 6858000"/>
              <a:gd name="connsiteX222" fmla="*/ 805957 w 7467600"/>
              <a:gd name="connsiteY222" fmla="*/ 3330443 h 6858000"/>
              <a:gd name="connsiteX223" fmla="*/ 1318687 w 7467600"/>
              <a:gd name="connsiteY223" fmla="*/ 3113840 h 6858000"/>
              <a:gd name="connsiteX224" fmla="*/ 5453702 w 7467600"/>
              <a:gd name="connsiteY224" fmla="*/ 3090882 h 6858000"/>
              <a:gd name="connsiteX225" fmla="*/ 5480135 w 7467600"/>
              <a:gd name="connsiteY225" fmla="*/ 3565802 h 6858000"/>
              <a:gd name="connsiteX226" fmla="*/ 5499023 w 7467600"/>
              <a:gd name="connsiteY226" fmla="*/ 4166310 h 6858000"/>
              <a:gd name="connsiteX227" fmla="*/ 5547022 w 7467600"/>
              <a:gd name="connsiteY227" fmla="*/ 3607838 h 6858000"/>
              <a:gd name="connsiteX228" fmla="*/ 5515964 w 7467600"/>
              <a:gd name="connsiteY228" fmla="*/ 3378541 h 6858000"/>
              <a:gd name="connsiteX229" fmla="*/ 5453702 w 7467600"/>
              <a:gd name="connsiteY229" fmla="*/ 3090882 h 6858000"/>
              <a:gd name="connsiteX230" fmla="*/ 1238695 w 7467600"/>
              <a:gd name="connsiteY230" fmla="*/ 3076820 h 6858000"/>
              <a:gd name="connsiteX231" fmla="*/ 716371 w 7467600"/>
              <a:gd name="connsiteY231" fmla="*/ 3293249 h 6858000"/>
              <a:gd name="connsiteX232" fmla="*/ 579522 w 7467600"/>
              <a:gd name="connsiteY232" fmla="*/ 3371759 h 6858000"/>
              <a:gd name="connsiteX233" fmla="*/ 600288 w 7467600"/>
              <a:gd name="connsiteY233" fmla="*/ 3365555 h 6858000"/>
              <a:gd name="connsiteX234" fmla="*/ 840692 w 7467600"/>
              <a:gd name="connsiteY234" fmla="*/ 3284921 h 6858000"/>
              <a:gd name="connsiteX235" fmla="*/ 979248 w 7467600"/>
              <a:gd name="connsiteY235" fmla="*/ 3221003 h 6858000"/>
              <a:gd name="connsiteX236" fmla="*/ 1053282 w 7467600"/>
              <a:gd name="connsiteY236" fmla="*/ 3185247 h 6858000"/>
              <a:gd name="connsiteX237" fmla="*/ 1320603 w 7467600"/>
              <a:gd name="connsiteY237" fmla="*/ 3081281 h 6858000"/>
              <a:gd name="connsiteX238" fmla="*/ 1238695 w 7467600"/>
              <a:gd name="connsiteY238" fmla="*/ 3076820 h 6858000"/>
              <a:gd name="connsiteX239" fmla="*/ 5425627 w 7467600"/>
              <a:gd name="connsiteY239" fmla="*/ 2954192 h 6858000"/>
              <a:gd name="connsiteX240" fmla="*/ 5470770 w 7467600"/>
              <a:gd name="connsiteY240" fmla="*/ 3005435 h 6858000"/>
              <a:gd name="connsiteX241" fmla="*/ 5519779 w 7467600"/>
              <a:gd name="connsiteY241" fmla="*/ 4359223 h 6858000"/>
              <a:gd name="connsiteX242" fmla="*/ 5520293 w 7467600"/>
              <a:gd name="connsiteY242" fmla="*/ 4360602 h 6858000"/>
              <a:gd name="connsiteX243" fmla="*/ 5767221 w 7467600"/>
              <a:gd name="connsiteY243" fmla="*/ 4665564 h 6858000"/>
              <a:gd name="connsiteX244" fmla="*/ 6937169 w 7467600"/>
              <a:gd name="connsiteY244" fmla="*/ 4815941 h 6858000"/>
              <a:gd name="connsiteX245" fmla="*/ 6953922 w 7467600"/>
              <a:gd name="connsiteY245" fmla="*/ 4890068 h 6858000"/>
              <a:gd name="connsiteX246" fmla="*/ 6071359 w 7467600"/>
              <a:gd name="connsiteY246" fmla="*/ 4770770 h 6858000"/>
              <a:gd name="connsiteX247" fmla="*/ 6038839 w 7467600"/>
              <a:gd name="connsiteY247" fmla="*/ 4764474 h 6858000"/>
              <a:gd name="connsiteX248" fmla="*/ 6038706 w 7467600"/>
              <a:gd name="connsiteY248" fmla="*/ 4763847 h 6858000"/>
              <a:gd name="connsiteX249" fmla="*/ 6037784 w 7467600"/>
              <a:gd name="connsiteY249" fmla="*/ 4764270 h 6858000"/>
              <a:gd name="connsiteX250" fmla="*/ 6038839 w 7467600"/>
              <a:gd name="connsiteY250" fmla="*/ 4764474 h 6858000"/>
              <a:gd name="connsiteX251" fmla="*/ 6040338 w 7467600"/>
              <a:gd name="connsiteY251" fmla="*/ 4771418 h 6858000"/>
              <a:gd name="connsiteX252" fmla="*/ 6024488 w 7467600"/>
              <a:gd name="connsiteY252" fmla="*/ 4809903 h 6858000"/>
              <a:gd name="connsiteX253" fmla="*/ 5599771 w 7467600"/>
              <a:gd name="connsiteY253" fmla="*/ 5509652 h 6858000"/>
              <a:gd name="connsiteX254" fmla="*/ 5548843 w 7467600"/>
              <a:gd name="connsiteY254" fmla="*/ 5563845 h 6858000"/>
              <a:gd name="connsiteX255" fmla="*/ 5940952 w 7467600"/>
              <a:gd name="connsiteY255" fmla="*/ 6250028 h 6858000"/>
              <a:gd name="connsiteX256" fmla="*/ 6043441 w 7467600"/>
              <a:gd name="connsiteY256" fmla="*/ 6665847 h 6858000"/>
              <a:gd name="connsiteX257" fmla="*/ 6093432 w 7467600"/>
              <a:gd name="connsiteY257" fmla="*/ 6858000 h 6858000"/>
              <a:gd name="connsiteX258" fmla="*/ 6034344 w 7467600"/>
              <a:gd name="connsiteY258" fmla="*/ 6858000 h 6858000"/>
              <a:gd name="connsiteX259" fmla="*/ 6026679 w 7467600"/>
              <a:gd name="connsiteY259" fmla="*/ 6836959 h 6858000"/>
              <a:gd name="connsiteX260" fmla="*/ 5800441 w 7467600"/>
              <a:gd name="connsiteY260" fmla="*/ 6335286 h 6858000"/>
              <a:gd name="connsiteX261" fmla="*/ 5526562 w 7467600"/>
              <a:gd name="connsiteY261" fmla="*/ 5705388 h 6858000"/>
              <a:gd name="connsiteX262" fmla="*/ 5519640 w 7467600"/>
              <a:gd name="connsiteY262" fmla="*/ 5683774 h 6858000"/>
              <a:gd name="connsiteX263" fmla="*/ 5844559 w 7467600"/>
              <a:gd name="connsiteY263" fmla="*/ 6553349 h 6858000"/>
              <a:gd name="connsiteX264" fmla="*/ 5975994 w 7467600"/>
              <a:gd name="connsiteY264" fmla="*/ 6858000 h 6858000"/>
              <a:gd name="connsiteX265" fmla="*/ 5898547 w 7467600"/>
              <a:gd name="connsiteY265" fmla="*/ 6858000 h 6858000"/>
              <a:gd name="connsiteX266" fmla="*/ 5682041 w 7467600"/>
              <a:gd name="connsiteY266" fmla="*/ 6355860 h 6858000"/>
              <a:gd name="connsiteX267" fmla="*/ 5461758 w 7467600"/>
              <a:gd name="connsiteY267" fmla="*/ 5820220 h 6858000"/>
              <a:gd name="connsiteX268" fmla="*/ 5237282 w 7467600"/>
              <a:gd name="connsiteY268" fmla="*/ 6579086 h 6858000"/>
              <a:gd name="connsiteX269" fmla="*/ 5115009 w 7467600"/>
              <a:gd name="connsiteY269" fmla="*/ 6858000 h 6858000"/>
              <a:gd name="connsiteX270" fmla="*/ 5028074 w 7467600"/>
              <a:gd name="connsiteY270" fmla="*/ 6858000 h 6858000"/>
              <a:gd name="connsiteX271" fmla="*/ 5079508 w 7467600"/>
              <a:gd name="connsiteY271" fmla="*/ 6749074 h 6858000"/>
              <a:gd name="connsiteX272" fmla="*/ 5371846 w 7467600"/>
              <a:gd name="connsiteY272" fmla="*/ 5924413 h 6858000"/>
              <a:gd name="connsiteX273" fmla="*/ 5270512 w 7467600"/>
              <a:gd name="connsiteY273" fmla="*/ 6138975 h 6858000"/>
              <a:gd name="connsiteX274" fmla="*/ 5062409 w 7467600"/>
              <a:gd name="connsiteY274" fmla="*/ 6653544 h 6858000"/>
              <a:gd name="connsiteX275" fmla="*/ 5036628 w 7467600"/>
              <a:gd name="connsiteY275" fmla="*/ 6754247 h 6858000"/>
              <a:gd name="connsiteX276" fmla="*/ 5009112 w 7467600"/>
              <a:gd name="connsiteY276" fmla="*/ 6858000 h 6858000"/>
              <a:gd name="connsiteX277" fmla="*/ 4976679 w 7467600"/>
              <a:gd name="connsiteY277" fmla="*/ 6858000 h 6858000"/>
              <a:gd name="connsiteX278" fmla="*/ 5006537 w 7467600"/>
              <a:gd name="connsiteY278" fmla="*/ 6747068 h 6858000"/>
              <a:gd name="connsiteX279" fmla="*/ 5032723 w 7467600"/>
              <a:gd name="connsiteY279" fmla="*/ 6644957 h 6858000"/>
              <a:gd name="connsiteX280" fmla="*/ 5242949 w 7467600"/>
              <a:gd name="connsiteY280" fmla="*/ 6125175 h 6858000"/>
              <a:gd name="connsiteX281" fmla="*/ 5286321 w 7467600"/>
              <a:gd name="connsiteY281" fmla="*/ 6033555 h 6858000"/>
              <a:gd name="connsiteX282" fmla="*/ 5008210 w 7467600"/>
              <a:gd name="connsiteY282" fmla="*/ 6649194 h 6858000"/>
              <a:gd name="connsiteX283" fmla="*/ 4986321 w 7467600"/>
              <a:gd name="connsiteY283" fmla="*/ 6765687 h 6858000"/>
              <a:gd name="connsiteX284" fmla="*/ 4973474 w 7467600"/>
              <a:gd name="connsiteY284" fmla="*/ 6858000 h 6858000"/>
              <a:gd name="connsiteX285" fmla="*/ 4907178 w 7467600"/>
              <a:gd name="connsiteY285" fmla="*/ 6858000 h 6858000"/>
              <a:gd name="connsiteX286" fmla="*/ 4910810 w 7467600"/>
              <a:gd name="connsiteY286" fmla="*/ 6829660 h 6858000"/>
              <a:gd name="connsiteX287" fmla="*/ 4987461 w 7467600"/>
              <a:gd name="connsiteY287" fmla="*/ 6432994 h 6858000"/>
              <a:gd name="connsiteX288" fmla="*/ 5179262 w 7467600"/>
              <a:gd name="connsiteY288" fmla="*/ 6035044 h 6858000"/>
              <a:gd name="connsiteX289" fmla="*/ 4689678 w 7467600"/>
              <a:gd name="connsiteY289" fmla="*/ 6440241 h 6858000"/>
              <a:gd name="connsiteX290" fmla="*/ 4477543 w 7467600"/>
              <a:gd name="connsiteY290" fmla="*/ 6674836 h 6858000"/>
              <a:gd name="connsiteX291" fmla="*/ 4329957 w 7467600"/>
              <a:gd name="connsiteY291" fmla="*/ 6858000 h 6858000"/>
              <a:gd name="connsiteX292" fmla="*/ 4218595 w 7467600"/>
              <a:gd name="connsiteY292" fmla="*/ 6858000 h 6858000"/>
              <a:gd name="connsiteX293" fmla="*/ 4368888 w 7467600"/>
              <a:gd name="connsiteY293" fmla="*/ 6668412 h 6858000"/>
              <a:gd name="connsiteX294" fmla="*/ 4563091 w 7467600"/>
              <a:gd name="connsiteY294" fmla="*/ 6442508 h 6858000"/>
              <a:gd name="connsiteX295" fmla="*/ 5387324 w 7467600"/>
              <a:gd name="connsiteY295" fmla="*/ 5705830 h 6858000"/>
              <a:gd name="connsiteX296" fmla="*/ 5073620 w 7467600"/>
              <a:gd name="connsiteY296" fmla="*/ 5955437 h 6858000"/>
              <a:gd name="connsiteX297" fmla="*/ 4689789 w 7467600"/>
              <a:gd name="connsiteY297" fmla="*/ 6268382 h 6858000"/>
              <a:gd name="connsiteX298" fmla="*/ 4418722 w 7467600"/>
              <a:gd name="connsiteY298" fmla="*/ 6570886 h 6858000"/>
              <a:gd name="connsiteX299" fmla="*/ 4214944 w 7467600"/>
              <a:gd name="connsiteY299" fmla="*/ 6858000 h 6858000"/>
              <a:gd name="connsiteX300" fmla="*/ 4177898 w 7467600"/>
              <a:gd name="connsiteY300" fmla="*/ 6858000 h 6858000"/>
              <a:gd name="connsiteX301" fmla="*/ 4391597 w 7467600"/>
              <a:gd name="connsiteY301" fmla="*/ 6556370 h 6858000"/>
              <a:gd name="connsiteX302" fmla="*/ 4668889 w 7467600"/>
              <a:gd name="connsiteY302" fmla="*/ 6246399 h 6858000"/>
              <a:gd name="connsiteX303" fmla="*/ 5055427 w 7467600"/>
              <a:gd name="connsiteY303" fmla="*/ 5931476 h 6858000"/>
              <a:gd name="connsiteX304" fmla="*/ 5371814 w 7467600"/>
              <a:gd name="connsiteY304" fmla="*/ 5678975 h 6858000"/>
              <a:gd name="connsiteX305" fmla="*/ 4987918 w 7467600"/>
              <a:gd name="connsiteY305" fmla="*/ 5838701 h 6858000"/>
              <a:gd name="connsiteX306" fmla="*/ 4317146 w 7467600"/>
              <a:gd name="connsiteY306" fmla="*/ 6587716 h 6858000"/>
              <a:gd name="connsiteX307" fmla="*/ 4171627 w 7467600"/>
              <a:gd name="connsiteY307" fmla="*/ 6858000 h 6858000"/>
              <a:gd name="connsiteX308" fmla="*/ 4081585 w 7467600"/>
              <a:gd name="connsiteY308" fmla="*/ 6858000 h 6858000"/>
              <a:gd name="connsiteX309" fmla="*/ 4238603 w 7467600"/>
              <a:gd name="connsiteY309" fmla="*/ 6559341 h 6858000"/>
              <a:gd name="connsiteX310" fmla="*/ 4778333 w 7467600"/>
              <a:gd name="connsiteY310" fmla="*/ 5873626 h 6858000"/>
              <a:gd name="connsiteX311" fmla="*/ 5414185 w 7467600"/>
              <a:gd name="connsiteY311" fmla="*/ 5573882 h 6858000"/>
              <a:gd name="connsiteX312" fmla="*/ 5959648 w 7467600"/>
              <a:gd name="connsiteY312" fmla="*/ 4760797 h 6858000"/>
              <a:gd name="connsiteX313" fmla="*/ 5355019 w 7467600"/>
              <a:gd name="connsiteY313" fmla="*/ 4734672 h 6858000"/>
              <a:gd name="connsiteX314" fmla="*/ 5083565 w 7467600"/>
              <a:gd name="connsiteY314" fmla="*/ 5179121 h 6858000"/>
              <a:gd name="connsiteX315" fmla="*/ 4713577 w 7467600"/>
              <a:gd name="connsiteY315" fmla="*/ 5616803 h 6858000"/>
              <a:gd name="connsiteX316" fmla="*/ 3989559 w 7467600"/>
              <a:gd name="connsiteY316" fmla="*/ 6145945 h 6858000"/>
              <a:gd name="connsiteX317" fmla="*/ 3939824 w 7467600"/>
              <a:gd name="connsiteY317" fmla="*/ 6066900 h 6858000"/>
              <a:gd name="connsiteX318" fmla="*/ 4584537 w 7467600"/>
              <a:gd name="connsiteY318" fmla="*/ 5324826 h 6858000"/>
              <a:gd name="connsiteX319" fmla="*/ 5037105 w 7467600"/>
              <a:gd name="connsiteY319" fmla="*/ 5088765 h 6858000"/>
              <a:gd name="connsiteX320" fmla="*/ 5039930 w 7467600"/>
              <a:gd name="connsiteY320" fmla="*/ 5089585 h 6858000"/>
              <a:gd name="connsiteX321" fmla="*/ 5263764 w 7467600"/>
              <a:gd name="connsiteY321" fmla="*/ 4735525 h 6858000"/>
              <a:gd name="connsiteX322" fmla="*/ 4086300 w 7467600"/>
              <a:gd name="connsiteY322" fmla="*/ 4884599 h 6858000"/>
              <a:gd name="connsiteX323" fmla="*/ 4085485 w 7467600"/>
              <a:gd name="connsiteY323" fmla="*/ 4899070 h 6858000"/>
              <a:gd name="connsiteX324" fmla="*/ 3871915 w 7467600"/>
              <a:gd name="connsiteY324" fmla="*/ 5253645 h 6858000"/>
              <a:gd name="connsiteX325" fmla="*/ 3799374 w 7467600"/>
              <a:gd name="connsiteY325" fmla="*/ 5466127 h 6858000"/>
              <a:gd name="connsiteX326" fmla="*/ 3498850 w 7467600"/>
              <a:gd name="connsiteY326" fmla="*/ 6661888 h 6858000"/>
              <a:gd name="connsiteX327" fmla="*/ 3399216 w 7467600"/>
              <a:gd name="connsiteY327" fmla="*/ 6858000 h 6858000"/>
              <a:gd name="connsiteX328" fmla="*/ 3303688 w 7467600"/>
              <a:gd name="connsiteY328" fmla="*/ 6858000 h 6858000"/>
              <a:gd name="connsiteX329" fmla="*/ 3391774 w 7467600"/>
              <a:gd name="connsiteY329" fmla="*/ 6697181 h 6858000"/>
              <a:gd name="connsiteX330" fmla="*/ 3735540 w 7467600"/>
              <a:gd name="connsiteY330" fmla="*/ 5546923 h 6858000"/>
              <a:gd name="connsiteX331" fmla="*/ 3729438 w 7467600"/>
              <a:gd name="connsiteY331" fmla="*/ 5569058 h 6858000"/>
              <a:gd name="connsiteX332" fmla="*/ 3707782 w 7467600"/>
              <a:gd name="connsiteY332" fmla="*/ 5644908 h 6858000"/>
              <a:gd name="connsiteX333" fmla="*/ 3583827 w 7467600"/>
              <a:gd name="connsiteY333" fmla="*/ 6039215 h 6858000"/>
              <a:gd name="connsiteX334" fmla="*/ 3547861 w 7467600"/>
              <a:gd name="connsiteY334" fmla="*/ 6129609 h 6858000"/>
              <a:gd name="connsiteX335" fmla="*/ 3490905 w 7467600"/>
              <a:gd name="connsiteY335" fmla="*/ 6277660 h 6858000"/>
              <a:gd name="connsiteX336" fmla="*/ 3455859 w 7467600"/>
              <a:gd name="connsiteY336" fmla="*/ 6391301 h 6858000"/>
              <a:gd name="connsiteX337" fmla="*/ 3429112 w 7467600"/>
              <a:gd name="connsiteY337" fmla="*/ 6479469 h 6858000"/>
              <a:gd name="connsiteX338" fmla="*/ 3304862 w 7467600"/>
              <a:gd name="connsiteY338" fmla="*/ 6796476 h 6858000"/>
              <a:gd name="connsiteX339" fmla="*/ 3276071 w 7467600"/>
              <a:gd name="connsiteY339" fmla="*/ 6858000 h 6858000"/>
              <a:gd name="connsiteX340" fmla="*/ 3240805 w 7467600"/>
              <a:gd name="connsiteY340" fmla="*/ 6858000 h 6858000"/>
              <a:gd name="connsiteX341" fmla="*/ 3275917 w 7467600"/>
              <a:gd name="connsiteY341" fmla="*/ 6783192 h 6858000"/>
              <a:gd name="connsiteX342" fmla="*/ 3399358 w 7467600"/>
              <a:gd name="connsiteY342" fmla="*/ 6469011 h 6858000"/>
              <a:gd name="connsiteX343" fmla="*/ 3425650 w 7467600"/>
              <a:gd name="connsiteY343" fmla="*/ 6381333 h 6858000"/>
              <a:gd name="connsiteX344" fmla="*/ 3460661 w 7467600"/>
              <a:gd name="connsiteY344" fmla="*/ 6266763 h 6858000"/>
              <a:gd name="connsiteX345" fmla="*/ 3518021 w 7467600"/>
              <a:gd name="connsiteY345" fmla="*/ 6117298 h 6858000"/>
              <a:gd name="connsiteX346" fmla="*/ 3554035 w 7467600"/>
              <a:gd name="connsiteY346" fmla="*/ 6027832 h 6858000"/>
              <a:gd name="connsiteX347" fmla="*/ 3677174 w 7467600"/>
              <a:gd name="connsiteY347" fmla="*/ 5636351 h 6858000"/>
              <a:gd name="connsiteX348" fmla="*/ 3698819 w 7467600"/>
              <a:gd name="connsiteY348" fmla="*/ 5560503 h 6858000"/>
              <a:gd name="connsiteX349" fmla="*/ 3702094 w 7467600"/>
              <a:gd name="connsiteY349" fmla="*/ 5549194 h 6858000"/>
              <a:gd name="connsiteX350" fmla="*/ 3398355 w 7467600"/>
              <a:gd name="connsiteY350" fmla="*/ 6094603 h 6858000"/>
              <a:gd name="connsiteX351" fmla="*/ 3193941 w 7467600"/>
              <a:gd name="connsiteY351" fmla="*/ 6798775 h 6858000"/>
              <a:gd name="connsiteX352" fmla="*/ 3184140 w 7467600"/>
              <a:gd name="connsiteY352" fmla="*/ 6858000 h 6858000"/>
              <a:gd name="connsiteX353" fmla="*/ 3099978 w 7467600"/>
              <a:gd name="connsiteY353" fmla="*/ 6858000 h 6858000"/>
              <a:gd name="connsiteX354" fmla="*/ 3101556 w 7467600"/>
              <a:gd name="connsiteY354" fmla="*/ 6843337 h 6858000"/>
              <a:gd name="connsiteX355" fmla="*/ 3370162 w 7467600"/>
              <a:gd name="connsiteY355" fmla="*/ 5785550 h 6858000"/>
              <a:gd name="connsiteX356" fmla="*/ 3746477 w 7467600"/>
              <a:gd name="connsiteY356" fmla="*/ 5377889 h 6858000"/>
              <a:gd name="connsiteX357" fmla="*/ 3863399 w 7467600"/>
              <a:gd name="connsiteY357" fmla="*/ 5087257 h 6858000"/>
              <a:gd name="connsiteX358" fmla="*/ 3968712 w 7467600"/>
              <a:gd name="connsiteY358" fmla="*/ 4913989 h 6858000"/>
              <a:gd name="connsiteX359" fmla="*/ 2792390 w 7467600"/>
              <a:gd name="connsiteY359" fmla="*/ 5382974 h 6858000"/>
              <a:gd name="connsiteX360" fmla="*/ 2714982 w 7467600"/>
              <a:gd name="connsiteY360" fmla="*/ 5427051 h 6858000"/>
              <a:gd name="connsiteX361" fmla="*/ 2813361 w 7467600"/>
              <a:gd name="connsiteY361" fmla="*/ 6023912 h 6858000"/>
              <a:gd name="connsiteX362" fmla="*/ 2688430 w 7467600"/>
              <a:gd name="connsiteY362" fmla="*/ 6801564 h 6858000"/>
              <a:gd name="connsiteX363" fmla="*/ 2629626 w 7467600"/>
              <a:gd name="connsiteY363" fmla="*/ 6763394 h 6858000"/>
              <a:gd name="connsiteX364" fmla="*/ 2565328 w 7467600"/>
              <a:gd name="connsiteY364" fmla="*/ 5516399 h 6858000"/>
              <a:gd name="connsiteX365" fmla="*/ 1922999 w 7467600"/>
              <a:gd name="connsiteY365" fmla="*/ 5980343 h 6858000"/>
              <a:gd name="connsiteX366" fmla="*/ 1950261 w 7467600"/>
              <a:gd name="connsiteY366" fmla="*/ 6405858 h 6858000"/>
              <a:gd name="connsiteX367" fmla="*/ 2365554 w 7467600"/>
              <a:gd name="connsiteY367" fmla="*/ 6759107 h 6858000"/>
              <a:gd name="connsiteX368" fmla="*/ 2424142 w 7467600"/>
              <a:gd name="connsiteY368" fmla="*/ 6858000 h 6858000"/>
              <a:gd name="connsiteX369" fmla="*/ 2395994 w 7467600"/>
              <a:gd name="connsiteY369" fmla="*/ 6858000 h 6858000"/>
              <a:gd name="connsiteX370" fmla="*/ 2392863 w 7467600"/>
              <a:gd name="connsiteY370" fmla="*/ 6852964 h 6858000"/>
              <a:gd name="connsiteX371" fmla="*/ 2017589 w 7467600"/>
              <a:gd name="connsiteY371" fmla="*/ 6493982 h 6858000"/>
              <a:gd name="connsiteX372" fmla="*/ 2147336 w 7467600"/>
              <a:gd name="connsiteY372" fmla="*/ 6594052 h 6858000"/>
              <a:gd name="connsiteX373" fmla="*/ 2207047 w 7467600"/>
              <a:gd name="connsiteY373" fmla="*/ 6654540 h 6858000"/>
              <a:gd name="connsiteX374" fmla="*/ 2299106 w 7467600"/>
              <a:gd name="connsiteY374" fmla="*/ 6778931 h 6858000"/>
              <a:gd name="connsiteX375" fmla="*/ 2314430 w 7467600"/>
              <a:gd name="connsiteY375" fmla="*/ 6801144 h 6858000"/>
              <a:gd name="connsiteX376" fmla="*/ 2352406 w 7467600"/>
              <a:gd name="connsiteY376" fmla="*/ 6858000 h 6858000"/>
              <a:gd name="connsiteX377" fmla="*/ 2314492 w 7467600"/>
              <a:gd name="connsiteY377" fmla="*/ 6858000 h 6858000"/>
              <a:gd name="connsiteX378" fmla="*/ 2288095 w 7467600"/>
              <a:gd name="connsiteY378" fmla="*/ 6818030 h 6858000"/>
              <a:gd name="connsiteX379" fmla="*/ 2272768 w 7467600"/>
              <a:gd name="connsiteY379" fmla="*/ 6795822 h 6858000"/>
              <a:gd name="connsiteX380" fmla="*/ 2182715 w 7467600"/>
              <a:gd name="connsiteY380" fmla="*/ 6675071 h 6858000"/>
              <a:gd name="connsiteX381" fmla="*/ 2032061 w 7467600"/>
              <a:gd name="connsiteY381" fmla="*/ 6541380 h 6858000"/>
              <a:gd name="connsiteX382" fmla="*/ 2257220 w 7467600"/>
              <a:gd name="connsiteY382" fmla="*/ 6826257 h 6858000"/>
              <a:gd name="connsiteX383" fmla="*/ 2281324 w 7467600"/>
              <a:gd name="connsiteY383" fmla="*/ 6858000 h 6858000"/>
              <a:gd name="connsiteX384" fmla="*/ 2242860 w 7467600"/>
              <a:gd name="connsiteY384" fmla="*/ 6858000 h 6858000"/>
              <a:gd name="connsiteX385" fmla="*/ 2232818 w 7467600"/>
              <a:gd name="connsiteY385" fmla="*/ 6844926 h 6858000"/>
              <a:gd name="connsiteX386" fmla="*/ 1990172 w 7467600"/>
              <a:gd name="connsiteY386" fmla="*/ 6542121 h 6858000"/>
              <a:gd name="connsiteX387" fmla="*/ 2124090 w 7467600"/>
              <a:gd name="connsiteY387" fmla="*/ 6761017 h 6858000"/>
              <a:gd name="connsiteX388" fmla="*/ 2200380 w 7467600"/>
              <a:gd name="connsiteY388" fmla="*/ 6858000 h 6858000"/>
              <a:gd name="connsiteX389" fmla="*/ 2147507 w 7467600"/>
              <a:gd name="connsiteY389" fmla="*/ 6858000 h 6858000"/>
              <a:gd name="connsiteX390" fmla="*/ 2070668 w 7467600"/>
              <a:gd name="connsiteY390" fmla="*/ 6761520 h 6858000"/>
              <a:gd name="connsiteX391" fmla="*/ 1975142 w 7467600"/>
              <a:gd name="connsiteY391" fmla="*/ 6585570 h 6858000"/>
              <a:gd name="connsiteX392" fmla="*/ 2050035 w 7467600"/>
              <a:gd name="connsiteY392" fmla="*/ 6813345 h 6858000"/>
              <a:gd name="connsiteX393" fmla="*/ 2063025 w 7467600"/>
              <a:gd name="connsiteY393" fmla="*/ 6858000 h 6858000"/>
              <a:gd name="connsiteX394" fmla="*/ 2021675 w 7467600"/>
              <a:gd name="connsiteY394" fmla="*/ 6858000 h 6858000"/>
              <a:gd name="connsiteX395" fmla="*/ 2019308 w 7467600"/>
              <a:gd name="connsiteY395" fmla="*/ 6847118 h 6858000"/>
              <a:gd name="connsiteX396" fmla="*/ 1938835 w 7467600"/>
              <a:gd name="connsiteY396" fmla="*/ 6551160 h 6858000"/>
              <a:gd name="connsiteX397" fmla="*/ 1953230 w 7467600"/>
              <a:gd name="connsiteY397" fmla="*/ 6759699 h 6858000"/>
              <a:gd name="connsiteX398" fmla="*/ 1956763 w 7467600"/>
              <a:gd name="connsiteY398" fmla="*/ 6778191 h 6858000"/>
              <a:gd name="connsiteX399" fmla="*/ 1967925 w 7467600"/>
              <a:gd name="connsiteY399" fmla="*/ 6858000 h 6858000"/>
              <a:gd name="connsiteX400" fmla="*/ 1936622 w 7467600"/>
              <a:gd name="connsiteY400" fmla="*/ 6858000 h 6858000"/>
              <a:gd name="connsiteX401" fmla="*/ 1926261 w 7467600"/>
              <a:gd name="connsiteY401" fmla="*/ 6784064 h 6858000"/>
              <a:gd name="connsiteX402" fmla="*/ 1922724 w 7467600"/>
              <a:gd name="connsiteY402" fmla="*/ 6765577 h 6858000"/>
              <a:gd name="connsiteX403" fmla="*/ 1904650 w 7467600"/>
              <a:gd name="connsiteY403" fmla="*/ 6639616 h 6858000"/>
              <a:gd name="connsiteX404" fmla="*/ 1885273 w 7467600"/>
              <a:gd name="connsiteY404" fmla="*/ 6858000 h 6858000"/>
              <a:gd name="connsiteX405" fmla="*/ 1854363 w 7467600"/>
              <a:gd name="connsiteY405" fmla="*/ 6858000 h 6858000"/>
              <a:gd name="connsiteX406" fmla="*/ 1880391 w 7467600"/>
              <a:gd name="connsiteY406" fmla="*/ 6603796 h 6858000"/>
              <a:gd name="connsiteX407" fmla="*/ 1818273 w 7467600"/>
              <a:gd name="connsiteY407" fmla="*/ 6715729 h 6858000"/>
              <a:gd name="connsiteX408" fmla="*/ 1794691 w 7467600"/>
              <a:gd name="connsiteY408" fmla="*/ 6843239 h 6858000"/>
              <a:gd name="connsiteX409" fmla="*/ 1794914 w 7467600"/>
              <a:gd name="connsiteY409" fmla="*/ 6858000 h 6858000"/>
              <a:gd name="connsiteX410" fmla="*/ 1746128 w 7467600"/>
              <a:gd name="connsiteY410" fmla="*/ 6858000 h 6858000"/>
              <a:gd name="connsiteX411" fmla="*/ 1753934 w 7467600"/>
              <a:gd name="connsiteY411" fmla="*/ 6724796 h 6858000"/>
              <a:gd name="connsiteX412" fmla="*/ 1792053 w 7467600"/>
              <a:gd name="connsiteY412" fmla="*/ 6572396 h 6858000"/>
              <a:gd name="connsiteX413" fmla="*/ 1862248 w 7467600"/>
              <a:gd name="connsiteY413" fmla="*/ 6266397 h 6858000"/>
              <a:gd name="connsiteX414" fmla="*/ 1862250 w 7467600"/>
              <a:gd name="connsiteY414" fmla="*/ 6033531 h 6858000"/>
              <a:gd name="connsiteX415" fmla="*/ 1211999 w 7467600"/>
              <a:gd name="connsiteY415" fmla="*/ 6683610 h 6858000"/>
              <a:gd name="connsiteX416" fmla="*/ 1213266 w 7467600"/>
              <a:gd name="connsiteY416" fmla="*/ 6691947 h 6858000"/>
              <a:gd name="connsiteX417" fmla="*/ 1203370 w 7467600"/>
              <a:gd name="connsiteY417" fmla="*/ 6850676 h 6858000"/>
              <a:gd name="connsiteX418" fmla="*/ 1203671 w 7467600"/>
              <a:gd name="connsiteY418" fmla="*/ 6858000 h 6858000"/>
              <a:gd name="connsiteX419" fmla="*/ 1143180 w 7467600"/>
              <a:gd name="connsiteY419" fmla="*/ 6858000 h 6858000"/>
              <a:gd name="connsiteX420" fmla="*/ 1142176 w 7467600"/>
              <a:gd name="connsiteY420" fmla="*/ 6766045 h 6858000"/>
              <a:gd name="connsiteX421" fmla="*/ 1067484 w 7467600"/>
              <a:gd name="connsiteY421" fmla="*/ 6858000 h 6858000"/>
              <a:gd name="connsiteX422" fmla="*/ 953928 w 7467600"/>
              <a:gd name="connsiteY422" fmla="*/ 6858000 h 6858000"/>
              <a:gd name="connsiteX423" fmla="*/ 959715 w 7467600"/>
              <a:gd name="connsiteY423" fmla="*/ 6850185 h 6858000"/>
              <a:gd name="connsiteX424" fmla="*/ 1483788 w 7467600"/>
              <a:gd name="connsiteY424" fmla="*/ 6259174 h 6858000"/>
              <a:gd name="connsiteX425" fmla="*/ 1100671 w 7467600"/>
              <a:gd name="connsiteY425" fmla="*/ 6252137 h 6858000"/>
              <a:gd name="connsiteX426" fmla="*/ 1090144 w 7467600"/>
              <a:gd name="connsiteY426" fmla="*/ 6256748 h 6858000"/>
              <a:gd name="connsiteX427" fmla="*/ 1095872 w 7467600"/>
              <a:gd name="connsiteY427" fmla="*/ 6271892 h 6858000"/>
              <a:gd name="connsiteX428" fmla="*/ 262785 w 7467600"/>
              <a:gd name="connsiteY428" fmla="*/ 6845450 h 6858000"/>
              <a:gd name="connsiteX429" fmla="*/ 209968 w 7467600"/>
              <a:gd name="connsiteY429" fmla="*/ 6770713 h 6858000"/>
              <a:gd name="connsiteX430" fmla="*/ 873460 w 7467600"/>
              <a:gd name="connsiteY430" fmla="*/ 6253768 h 6858000"/>
              <a:gd name="connsiteX431" fmla="*/ 192686 w 7467600"/>
              <a:gd name="connsiteY431" fmla="*/ 5849257 h 6858000"/>
              <a:gd name="connsiteX432" fmla="*/ 4696 w 7467600"/>
              <a:gd name="connsiteY432" fmla="*/ 5697668 h 6858000"/>
              <a:gd name="connsiteX433" fmla="*/ 0 w 7467600"/>
              <a:gd name="connsiteY433" fmla="*/ 5689984 h 6858000"/>
              <a:gd name="connsiteX434" fmla="*/ 0 w 7467600"/>
              <a:gd name="connsiteY434" fmla="*/ 5513472 h 6858000"/>
              <a:gd name="connsiteX435" fmla="*/ 174101 w 7467600"/>
              <a:gd name="connsiteY435" fmla="*/ 5620277 h 6858000"/>
              <a:gd name="connsiteX436" fmla="*/ 891800 w 7467600"/>
              <a:gd name="connsiteY436" fmla="*/ 6036935 h 6858000"/>
              <a:gd name="connsiteX437" fmla="*/ 1072219 w 7467600"/>
              <a:gd name="connsiteY437" fmla="*/ 6169443 h 6858000"/>
              <a:gd name="connsiteX438" fmla="*/ 1074117 w 7467600"/>
              <a:gd name="connsiteY438" fmla="*/ 6170301 h 6858000"/>
              <a:gd name="connsiteX439" fmla="*/ 1083114 w 7467600"/>
              <a:gd name="connsiteY439" fmla="*/ 6174131 h 6858000"/>
              <a:gd name="connsiteX440" fmla="*/ 1543010 w 7467600"/>
              <a:gd name="connsiteY440" fmla="*/ 6191140 h 6858000"/>
              <a:gd name="connsiteX441" fmla="*/ 1551080 w 7467600"/>
              <a:gd name="connsiteY441" fmla="*/ 6195006 h 6858000"/>
              <a:gd name="connsiteX442" fmla="*/ 2345443 w 7467600"/>
              <a:gd name="connsiteY442" fmla="*/ 5549882 h 6858000"/>
              <a:gd name="connsiteX443" fmla="*/ 1721499 w 7467600"/>
              <a:gd name="connsiteY443" fmla="*/ 5599969 h 6858000"/>
              <a:gd name="connsiteX444" fmla="*/ 767716 w 7467600"/>
              <a:gd name="connsiteY444" fmla="*/ 5472768 h 6858000"/>
              <a:gd name="connsiteX445" fmla="*/ 722147 w 7467600"/>
              <a:gd name="connsiteY445" fmla="*/ 5393091 h 6858000"/>
              <a:gd name="connsiteX446" fmla="*/ 1485552 w 7467600"/>
              <a:gd name="connsiteY446" fmla="*/ 5313202 h 6858000"/>
              <a:gd name="connsiteX447" fmla="*/ 2143004 w 7467600"/>
              <a:gd name="connsiteY447" fmla="*/ 5402420 h 6858000"/>
              <a:gd name="connsiteX448" fmla="*/ 1933391 w 7467600"/>
              <a:gd name="connsiteY448" fmla="*/ 5156971 h 6858000"/>
              <a:gd name="connsiteX449" fmla="*/ 1827118 w 7467600"/>
              <a:gd name="connsiteY449" fmla="*/ 4968410 h 6858000"/>
              <a:gd name="connsiteX450" fmla="*/ 1837349 w 7467600"/>
              <a:gd name="connsiteY450" fmla="*/ 4956357 h 6858000"/>
              <a:gd name="connsiteX451" fmla="*/ 2162835 w 7467600"/>
              <a:gd name="connsiteY451" fmla="*/ 5187853 h 6858000"/>
              <a:gd name="connsiteX452" fmla="*/ 2257167 w 7467600"/>
              <a:gd name="connsiteY452" fmla="*/ 5462123 h 6858000"/>
              <a:gd name="connsiteX453" fmla="*/ 2261598 w 7467600"/>
              <a:gd name="connsiteY453" fmla="*/ 5467998 h 6858000"/>
              <a:gd name="connsiteX454" fmla="*/ 2437177 w 7467600"/>
              <a:gd name="connsiteY454" fmla="*/ 5479608 h 6858000"/>
              <a:gd name="connsiteX455" fmla="*/ 2445247 w 7467600"/>
              <a:gd name="connsiteY455" fmla="*/ 5483476 h 6858000"/>
              <a:gd name="connsiteX456" fmla="*/ 2743626 w 7467600"/>
              <a:gd name="connsiteY456" fmla="*/ 5304819 h 6858000"/>
              <a:gd name="connsiteX457" fmla="*/ 3048102 w 7467600"/>
              <a:gd name="connsiteY457" fmla="*/ 5150595 h 6858000"/>
              <a:gd name="connsiteX458" fmla="*/ 1799414 w 7467600"/>
              <a:gd name="connsiteY458" fmla="*/ 4694732 h 6858000"/>
              <a:gd name="connsiteX459" fmla="*/ 1771735 w 7467600"/>
              <a:gd name="connsiteY459" fmla="*/ 4619929 h 6858000"/>
              <a:gd name="connsiteX460" fmla="*/ 3104273 w 7467600"/>
              <a:gd name="connsiteY460" fmla="*/ 5076159 h 6858000"/>
              <a:gd name="connsiteX461" fmla="*/ 3113245 w 7467600"/>
              <a:gd name="connsiteY461" fmla="*/ 5090705 h 6858000"/>
              <a:gd name="connsiteX462" fmla="*/ 3126294 w 7467600"/>
              <a:gd name="connsiteY462" fmla="*/ 5114400 h 6858000"/>
              <a:gd name="connsiteX463" fmla="*/ 3937433 w 7467600"/>
              <a:gd name="connsiteY463" fmla="*/ 4830473 h 6858000"/>
              <a:gd name="connsiteX464" fmla="*/ 3590475 w 7467600"/>
              <a:gd name="connsiteY464" fmla="*/ 4597974 h 6858000"/>
              <a:gd name="connsiteX465" fmla="*/ 3100264 w 7467600"/>
              <a:gd name="connsiteY465" fmla="*/ 4579845 h 6858000"/>
              <a:gd name="connsiteX466" fmla="*/ 2183576 w 7467600"/>
              <a:gd name="connsiteY466" fmla="*/ 4227150 h 6858000"/>
              <a:gd name="connsiteX467" fmla="*/ 2151029 w 7467600"/>
              <a:gd name="connsiteY467" fmla="*/ 4146947 h 6858000"/>
              <a:gd name="connsiteX468" fmla="*/ 3563434 w 7467600"/>
              <a:gd name="connsiteY468" fmla="*/ 4469115 h 6858000"/>
              <a:gd name="connsiteX469" fmla="*/ 3177952 w 7467600"/>
              <a:gd name="connsiteY469" fmla="*/ 3657386 h 6858000"/>
              <a:gd name="connsiteX470" fmla="*/ 3189263 w 7467600"/>
              <a:gd name="connsiteY470" fmla="*/ 3625726 h 6858000"/>
              <a:gd name="connsiteX471" fmla="*/ 3560912 w 7467600"/>
              <a:gd name="connsiteY471" fmla="*/ 4079863 h 6858000"/>
              <a:gd name="connsiteX472" fmla="*/ 3626636 w 7467600"/>
              <a:gd name="connsiteY472" fmla="*/ 4512230 h 6858000"/>
              <a:gd name="connsiteX473" fmla="*/ 3653088 w 7467600"/>
              <a:gd name="connsiteY473" fmla="*/ 4521417 h 6858000"/>
              <a:gd name="connsiteX474" fmla="*/ 3988128 w 7467600"/>
              <a:gd name="connsiteY474" fmla="*/ 4817267 h 6858000"/>
              <a:gd name="connsiteX475" fmla="*/ 4830582 w 7467600"/>
              <a:gd name="connsiteY475" fmla="*/ 4676000 h 6858000"/>
              <a:gd name="connsiteX476" fmla="*/ 4830100 w 7467600"/>
              <a:gd name="connsiteY476" fmla="*/ 4675554 h 6858000"/>
              <a:gd name="connsiteX477" fmla="*/ 4036318 w 7467600"/>
              <a:gd name="connsiteY477" fmla="*/ 4147013 h 6858000"/>
              <a:gd name="connsiteX478" fmla="*/ 3432098 w 7467600"/>
              <a:gd name="connsiteY478" fmla="*/ 3537312 h 6858000"/>
              <a:gd name="connsiteX479" fmla="*/ 3446761 w 7467600"/>
              <a:gd name="connsiteY479" fmla="*/ 3461278 h 6858000"/>
              <a:gd name="connsiteX480" fmla="*/ 4419733 w 7467600"/>
              <a:gd name="connsiteY480" fmla="*/ 3963555 h 6858000"/>
              <a:gd name="connsiteX481" fmla="*/ 4781371 w 7467600"/>
              <a:gd name="connsiteY481" fmla="*/ 4458604 h 6858000"/>
              <a:gd name="connsiteX482" fmla="*/ 4780440 w 7467600"/>
              <a:gd name="connsiteY482" fmla="*/ 4470290 h 6858000"/>
              <a:gd name="connsiteX483" fmla="*/ 4898954 w 7467600"/>
              <a:gd name="connsiteY483" fmla="*/ 4662092 h 6858000"/>
              <a:gd name="connsiteX484" fmla="*/ 4900699 w 7467600"/>
              <a:gd name="connsiteY484" fmla="*/ 4670867 h 6858000"/>
              <a:gd name="connsiteX485" fmla="*/ 5714511 w 7467600"/>
              <a:gd name="connsiteY485" fmla="*/ 4663483 h 6858000"/>
              <a:gd name="connsiteX486" fmla="*/ 5464793 w 7467600"/>
              <a:gd name="connsiteY486" fmla="*/ 4393556 h 6858000"/>
              <a:gd name="connsiteX487" fmla="*/ 5461897 w 7467600"/>
              <a:gd name="connsiteY487" fmla="*/ 4390879 h 6858000"/>
              <a:gd name="connsiteX488" fmla="*/ 4294126 w 7467600"/>
              <a:gd name="connsiteY488" fmla="*/ 3303048 h 6858000"/>
              <a:gd name="connsiteX489" fmla="*/ 4305321 w 7467600"/>
              <a:gd name="connsiteY489" fmla="*/ 3256953 h 6858000"/>
              <a:gd name="connsiteX490" fmla="*/ 4949299 w 7467600"/>
              <a:gd name="connsiteY490" fmla="*/ 3766336 h 6858000"/>
              <a:gd name="connsiteX491" fmla="*/ 5291452 w 7467600"/>
              <a:gd name="connsiteY491" fmla="*/ 4076801 h 6858000"/>
              <a:gd name="connsiteX492" fmla="*/ 5434998 w 7467600"/>
              <a:gd name="connsiteY492" fmla="*/ 4254100 h 6858000"/>
              <a:gd name="connsiteX493" fmla="*/ 5351015 w 7467600"/>
              <a:gd name="connsiteY493" fmla="*/ 3760989 h 6858000"/>
              <a:gd name="connsiteX494" fmla="*/ 5413780 w 7467600"/>
              <a:gd name="connsiteY494" fmla="*/ 2966265 h 6858000"/>
              <a:gd name="connsiteX495" fmla="*/ 5425627 w 7467600"/>
              <a:gd name="connsiteY495" fmla="*/ 2954192 h 6858000"/>
              <a:gd name="connsiteX496" fmla="*/ 6604735 w 7467600"/>
              <a:gd name="connsiteY496" fmla="*/ 2041381 h 6858000"/>
              <a:gd name="connsiteX497" fmla="*/ 7204487 w 7467600"/>
              <a:gd name="connsiteY497" fmla="*/ 2742112 h 6858000"/>
              <a:gd name="connsiteX498" fmla="*/ 7131592 w 7467600"/>
              <a:gd name="connsiteY498" fmla="*/ 2672096 h 6858000"/>
              <a:gd name="connsiteX499" fmla="*/ 6996344 w 7467600"/>
              <a:gd name="connsiteY499" fmla="*/ 2518310 h 6858000"/>
              <a:gd name="connsiteX500" fmla="*/ 6735495 w 7467600"/>
              <a:gd name="connsiteY500" fmla="*/ 2196890 h 6858000"/>
              <a:gd name="connsiteX501" fmla="*/ 6721901 w 7467600"/>
              <a:gd name="connsiteY501" fmla="*/ 2179274 h 6858000"/>
              <a:gd name="connsiteX502" fmla="*/ 6604735 w 7467600"/>
              <a:gd name="connsiteY502" fmla="*/ 2041381 h 6858000"/>
              <a:gd name="connsiteX503" fmla="*/ 6591670 w 7467600"/>
              <a:gd name="connsiteY503" fmla="*/ 1988277 h 6858000"/>
              <a:gd name="connsiteX504" fmla="*/ 6747349 w 7467600"/>
              <a:gd name="connsiteY504" fmla="*/ 2160069 h 6858000"/>
              <a:gd name="connsiteX505" fmla="*/ 6760943 w 7467600"/>
              <a:gd name="connsiteY505" fmla="*/ 2177686 h 6858000"/>
              <a:gd name="connsiteX506" fmla="*/ 7021065 w 7467600"/>
              <a:gd name="connsiteY506" fmla="*/ 2498102 h 6858000"/>
              <a:gd name="connsiteX507" fmla="*/ 7155223 w 7467600"/>
              <a:gd name="connsiteY507" fmla="*/ 2650386 h 6858000"/>
              <a:gd name="connsiteX508" fmla="*/ 7203167 w 7467600"/>
              <a:gd name="connsiteY508" fmla="*/ 2697288 h 6858000"/>
              <a:gd name="connsiteX509" fmla="*/ 6937703 w 7467600"/>
              <a:gd name="connsiteY509" fmla="*/ 2321981 h 6858000"/>
              <a:gd name="connsiteX510" fmla="*/ 6591670 w 7467600"/>
              <a:gd name="connsiteY510" fmla="*/ 1988277 h 6858000"/>
              <a:gd name="connsiteX511" fmla="*/ 5798671 w 7467600"/>
              <a:gd name="connsiteY511" fmla="*/ 1981601 h 6858000"/>
              <a:gd name="connsiteX512" fmla="*/ 5754709 w 7467600"/>
              <a:gd name="connsiteY512" fmla="*/ 2071454 h 6858000"/>
              <a:gd name="connsiteX513" fmla="*/ 5763044 w 7467600"/>
              <a:gd name="connsiteY513" fmla="*/ 2842206 h 6858000"/>
              <a:gd name="connsiteX514" fmla="*/ 5764974 w 7467600"/>
              <a:gd name="connsiteY514" fmla="*/ 2799609 h 6858000"/>
              <a:gd name="connsiteX515" fmla="*/ 5767665 w 7467600"/>
              <a:gd name="connsiteY515" fmla="*/ 2666409 h 6858000"/>
              <a:gd name="connsiteX516" fmla="*/ 5763055 w 7467600"/>
              <a:gd name="connsiteY516" fmla="*/ 2579705 h 6858000"/>
              <a:gd name="connsiteX517" fmla="*/ 5758079 w 7467600"/>
              <a:gd name="connsiteY517" fmla="*/ 2492508 h 6858000"/>
              <a:gd name="connsiteX518" fmla="*/ 5779325 w 7467600"/>
              <a:gd name="connsiteY518" fmla="*/ 2197069 h 6858000"/>
              <a:gd name="connsiteX519" fmla="*/ 5798671 w 7467600"/>
              <a:gd name="connsiteY519" fmla="*/ 1981601 h 6858000"/>
              <a:gd name="connsiteX520" fmla="*/ 5829202 w 7467600"/>
              <a:gd name="connsiteY520" fmla="*/ 1971679 h 6858000"/>
              <a:gd name="connsiteX521" fmla="*/ 5809558 w 7467600"/>
              <a:gd name="connsiteY521" fmla="*/ 2198043 h 6858000"/>
              <a:gd name="connsiteX522" fmla="*/ 5788653 w 7467600"/>
              <a:gd name="connsiteY522" fmla="*/ 2489430 h 6858000"/>
              <a:gd name="connsiteX523" fmla="*/ 5793439 w 7467600"/>
              <a:gd name="connsiteY523" fmla="*/ 2575235 h 6858000"/>
              <a:gd name="connsiteX524" fmla="*/ 5796837 w 7467600"/>
              <a:gd name="connsiteY524" fmla="*/ 2637633 h 6858000"/>
              <a:gd name="connsiteX525" fmla="*/ 5818614 w 7467600"/>
              <a:gd name="connsiteY525" fmla="*/ 2473055 h 6858000"/>
              <a:gd name="connsiteX526" fmla="*/ 5829202 w 7467600"/>
              <a:gd name="connsiteY526" fmla="*/ 1971679 h 6858000"/>
              <a:gd name="connsiteX527" fmla="*/ 5911389 w 7467600"/>
              <a:gd name="connsiteY527" fmla="*/ 1898371 h 6858000"/>
              <a:gd name="connsiteX528" fmla="*/ 6237627 w 7467600"/>
              <a:gd name="connsiteY528" fmla="*/ 2231921 h 6858000"/>
              <a:gd name="connsiteX529" fmla="*/ 5911389 w 7467600"/>
              <a:gd name="connsiteY529" fmla="*/ 1898371 h 6858000"/>
              <a:gd name="connsiteX530" fmla="*/ 6944437 w 7467600"/>
              <a:gd name="connsiteY530" fmla="*/ 1575402 h 6858000"/>
              <a:gd name="connsiteX531" fmla="*/ 6304730 w 7467600"/>
              <a:gd name="connsiteY531" fmla="*/ 1766654 h 6858000"/>
              <a:gd name="connsiteX532" fmla="*/ 6944437 w 7467600"/>
              <a:gd name="connsiteY532" fmla="*/ 1575402 h 6858000"/>
              <a:gd name="connsiteX533" fmla="*/ 7019523 w 7467600"/>
              <a:gd name="connsiteY533" fmla="*/ 1519450 h 6858000"/>
              <a:gd name="connsiteX534" fmla="*/ 6298091 w 7467600"/>
              <a:gd name="connsiteY534" fmla="*/ 1737122 h 6858000"/>
              <a:gd name="connsiteX535" fmla="*/ 7019523 w 7467600"/>
              <a:gd name="connsiteY535" fmla="*/ 1519450 h 6858000"/>
              <a:gd name="connsiteX536" fmla="*/ 2399523 w 7467600"/>
              <a:gd name="connsiteY536" fmla="*/ 1428234 h 6858000"/>
              <a:gd name="connsiteX537" fmla="*/ 2224982 w 7467600"/>
              <a:gd name="connsiteY537" fmla="*/ 1826201 h 6858000"/>
              <a:gd name="connsiteX538" fmla="*/ 2096099 w 7467600"/>
              <a:gd name="connsiteY538" fmla="*/ 2345900 h 6858000"/>
              <a:gd name="connsiteX539" fmla="*/ 2283317 w 7467600"/>
              <a:gd name="connsiteY539" fmla="*/ 1796925 h 6858000"/>
              <a:gd name="connsiteX540" fmla="*/ 2399523 w 7467600"/>
              <a:gd name="connsiteY540" fmla="*/ 1428234 h 6858000"/>
              <a:gd name="connsiteX541" fmla="*/ 2448558 w 7467600"/>
              <a:gd name="connsiteY541" fmla="*/ 1373435 h 6858000"/>
              <a:gd name="connsiteX542" fmla="*/ 2312521 w 7467600"/>
              <a:gd name="connsiteY542" fmla="*/ 1806140 h 6858000"/>
              <a:gd name="connsiteX543" fmla="*/ 2127533 w 7467600"/>
              <a:gd name="connsiteY543" fmla="*/ 2348380 h 6858000"/>
              <a:gd name="connsiteX544" fmla="*/ 2358080 w 7467600"/>
              <a:gd name="connsiteY544" fmla="*/ 1866134 h 6858000"/>
              <a:gd name="connsiteX545" fmla="*/ 2407436 w 7467600"/>
              <a:gd name="connsiteY545" fmla="*/ 1651070 h 6858000"/>
              <a:gd name="connsiteX546" fmla="*/ 2448558 w 7467600"/>
              <a:gd name="connsiteY546" fmla="*/ 1373435 h 6858000"/>
              <a:gd name="connsiteX547" fmla="*/ 278707 w 7467600"/>
              <a:gd name="connsiteY547" fmla="*/ 1352270 h 6858000"/>
              <a:gd name="connsiteX548" fmla="*/ 321570 w 7467600"/>
              <a:gd name="connsiteY548" fmla="*/ 1861610 h 6858000"/>
              <a:gd name="connsiteX549" fmla="*/ 294281 w 7467600"/>
              <a:gd name="connsiteY549" fmla="*/ 1440658 h 6858000"/>
              <a:gd name="connsiteX550" fmla="*/ 278707 w 7467600"/>
              <a:gd name="connsiteY550" fmla="*/ 1352270 h 6858000"/>
              <a:gd name="connsiteX551" fmla="*/ 1423821 w 7467600"/>
              <a:gd name="connsiteY551" fmla="*/ 1351958 h 6858000"/>
              <a:gd name="connsiteX552" fmla="*/ 1638521 w 7467600"/>
              <a:gd name="connsiteY552" fmla="*/ 1908470 h 6858000"/>
              <a:gd name="connsiteX553" fmla="*/ 1754199 w 7467600"/>
              <a:gd name="connsiteY553" fmla="*/ 2149284 h 6858000"/>
              <a:gd name="connsiteX554" fmla="*/ 1908359 w 7467600"/>
              <a:gd name="connsiteY554" fmla="*/ 2364988 h 6858000"/>
              <a:gd name="connsiteX555" fmla="*/ 1647661 w 7467600"/>
              <a:gd name="connsiteY555" fmla="*/ 1825945 h 6858000"/>
              <a:gd name="connsiteX556" fmla="*/ 1423821 w 7467600"/>
              <a:gd name="connsiteY556" fmla="*/ 1351958 h 6858000"/>
              <a:gd name="connsiteX557" fmla="*/ 1431890 w 7467600"/>
              <a:gd name="connsiteY557" fmla="*/ 1306475 h 6858000"/>
              <a:gd name="connsiteX558" fmla="*/ 1507597 w 7467600"/>
              <a:gd name="connsiteY558" fmla="*/ 1446132 h 6858000"/>
              <a:gd name="connsiteX559" fmla="*/ 1674586 w 7467600"/>
              <a:gd name="connsiteY559" fmla="*/ 1813832 h 6858000"/>
              <a:gd name="connsiteX560" fmla="*/ 1815950 w 7467600"/>
              <a:gd name="connsiteY560" fmla="*/ 2128564 h 6858000"/>
              <a:gd name="connsiteX561" fmla="*/ 1984242 w 7467600"/>
              <a:gd name="connsiteY561" fmla="*/ 2430829 h 6858000"/>
              <a:gd name="connsiteX562" fmla="*/ 2014023 w 7467600"/>
              <a:gd name="connsiteY562" fmla="*/ 2450995 h 6858000"/>
              <a:gd name="connsiteX563" fmla="*/ 1747337 w 7467600"/>
              <a:gd name="connsiteY563" fmla="*/ 1855264 h 6858000"/>
              <a:gd name="connsiteX564" fmla="*/ 1533749 w 7467600"/>
              <a:gd name="connsiteY564" fmla="*/ 1478656 h 6858000"/>
              <a:gd name="connsiteX565" fmla="*/ 1431890 w 7467600"/>
              <a:gd name="connsiteY565" fmla="*/ 1306475 h 6858000"/>
              <a:gd name="connsiteX566" fmla="*/ 5052692 w 7467600"/>
              <a:gd name="connsiteY566" fmla="*/ 1292994 h 6858000"/>
              <a:gd name="connsiteX567" fmla="*/ 5200661 w 7467600"/>
              <a:gd name="connsiteY567" fmla="*/ 1635186 h 6858000"/>
              <a:gd name="connsiteX568" fmla="*/ 5297138 w 7467600"/>
              <a:gd name="connsiteY568" fmla="*/ 1906351 h 6858000"/>
              <a:gd name="connsiteX569" fmla="*/ 5052692 w 7467600"/>
              <a:gd name="connsiteY569" fmla="*/ 1292994 h 6858000"/>
              <a:gd name="connsiteX570" fmla="*/ 5009948 w 7467600"/>
              <a:gd name="connsiteY570" fmla="*/ 1273619 h 6858000"/>
              <a:gd name="connsiteX571" fmla="*/ 5121777 w 7467600"/>
              <a:gd name="connsiteY571" fmla="*/ 1654213 h 6858000"/>
              <a:gd name="connsiteX572" fmla="*/ 5293545 w 7467600"/>
              <a:gd name="connsiteY572" fmla="*/ 2072247 h 6858000"/>
              <a:gd name="connsiteX573" fmla="*/ 5294042 w 7467600"/>
              <a:gd name="connsiteY573" fmla="*/ 2065019 h 6858000"/>
              <a:gd name="connsiteX574" fmla="*/ 5171936 w 7467600"/>
              <a:gd name="connsiteY574" fmla="*/ 1647613 h 6858000"/>
              <a:gd name="connsiteX575" fmla="*/ 5009948 w 7467600"/>
              <a:gd name="connsiteY575" fmla="*/ 1273619 h 6858000"/>
              <a:gd name="connsiteX576" fmla="*/ 655236 w 7467600"/>
              <a:gd name="connsiteY576" fmla="*/ 1268632 h 6858000"/>
              <a:gd name="connsiteX577" fmla="*/ 839521 w 7467600"/>
              <a:gd name="connsiteY577" fmla="*/ 1685315 h 6858000"/>
              <a:gd name="connsiteX578" fmla="*/ 1109416 w 7467600"/>
              <a:gd name="connsiteY578" fmla="*/ 2061663 h 6858000"/>
              <a:gd name="connsiteX579" fmla="*/ 1298300 w 7467600"/>
              <a:gd name="connsiteY579" fmla="*/ 2247742 h 6858000"/>
              <a:gd name="connsiteX580" fmla="*/ 1125871 w 7467600"/>
              <a:gd name="connsiteY580" fmla="*/ 1989513 h 6858000"/>
              <a:gd name="connsiteX581" fmla="*/ 981574 w 7467600"/>
              <a:gd name="connsiteY581" fmla="*/ 1783157 h 6858000"/>
              <a:gd name="connsiteX582" fmla="*/ 922198 w 7467600"/>
              <a:gd name="connsiteY582" fmla="*/ 1677437 h 6858000"/>
              <a:gd name="connsiteX583" fmla="*/ 869293 w 7467600"/>
              <a:gd name="connsiteY583" fmla="*/ 1583214 h 6858000"/>
              <a:gd name="connsiteX584" fmla="*/ 751431 w 7467600"/>
              <a:gd name="connsiteY584" fmla="*/ 1405731 h 6858000"/>
              <a:gd name="connsiteX585" fmla="*/ 655236 w 7467600"/>
              <a:gd name="connsiteY585" fmla="*/ 1268632 h 6858000"/>
              <a:gd name="connsiteX586" fmla="*/ 6516292 w 7467600"/>
              <a:gd name="connsiteY586" fmla="*/ 1263064 h 6858000"/>
              <a:gd name="connsiteX587" fmla="*/ 5736320 w 7467600"/>
              <a:gd name="connsiteY587" fmla="*/ 1501803 h 6858000"/>
              <a:gd name="connsiteX588" fmla="*/ 6516292 w 7467600"/>
              <a:gd name="connsiteY588" fmla="*/ 1263064 h 6858000"/>
              <a:gd name="connsiteX589" fmla="*/ 291466 w 7467600"/>
              <a:gd name="connsiteY589" fmla="*/ 1250369 h 6858000"/>
              <a:gd name="connsiteX590" fmla="*/ 323180 w 7467600"/>
              <a:gd name="connsiteY590" fmla="*/ 1435283 h 6858000"/>
              <a:gd name="connsiteX591" fmla="*/ 349381 w 7467600"/>
              <a:gd name="connsiteY591" fmla="*/ 1875041 h 6858000"/>
              <a:gd name="connsiteX592" fmla="*/ 374363 w 7467600"/>
              <a:gd name="connsiteY592" fmla="*/ 1506494 h 6858000"/>
              <a:gd name="connsiteX593" fmla="*/ 302168 w 7467600"/>
              <a:gd name="connsiteY593" fmla="*/ 1274495 h 6858000"/>
              <a:gd name="connsiteX594" fmla="*/ 291466 w 7467600"/>
              <a:gd name="connsiteY594" fmla="*/ 1250369 h 6858000"/>
              <a:gd name="connsiteX595" fmla="*/ 678222 w 7467600"/>
              <a:gd name="connsiteY595" fmla="*/ 1248670 h 6858000"/>
              <a:gd name="connsiteX596" fmla="*/ 775536 w 7467600"/>
              <a:gd name="connsiteY596" fmla="*/ 1388015 h 6858000"/>
              <a:gd name="connsiteX597" fmla="*/ 894529 w 7467600"/>
              <a:gd name="connsiteY597" fmla="*/ 1567739 h 6858000"/>
              <a:gd name="connsiteX598" fmla="*/ 948000 w 7467600"/>
              <a:gd name="connsiteY598" fmla="*/ 1663088 h 6858000"/>
              <a:gd name="connsiteX599" fmla="*/ 1006812 w 7467600"/>
              <a:gd name="connsiteY599" fmla="*/ 1767683 h 6858000"/>
              <a:gd name="connsiteX600" fmla="*/ 1149133 w 7467600"/>
              <a:gd name="connsiteY600" fmla="*/ 1971513 h 6858000"/>
              <a:gd name="connsiteX601" fmla="*/ 1333952 w 7467600"/>
              <a:gd name="connsiteY601" fmla="*/ 2251620 h 6858000"/>
              <a:gd name="connsiteX602" fmla="*/ 1337329 w 7467600"/>
              <a:gd name="connsiteY602" fmla="*/ 2258350 h 6858000"/>
              <a:gd name="connsiteX603" fmla="*/ 1014726 w 7467600"/>
              <a:gd name="connsiteY603" fmla="*/ 1615556 h 6858000"/>
              <a:gd name="connsiteX604" fmla="*/ 678222 w 7467600"/>
              <a:gd name="connsiteY604" fmla="*/ 1248670 h 6858000"/>
              <a:gd name="connsiteX605" fmla="*/ 6691602 w 7467600"/>
              <a:gd name="connsiteY605" fmla="*/ 1140573 h 6858000"/>
              <a:gd name="connsiteX606" fmla="*/ 6571100 w 7467600"/>
              <a:gd name="connsiteY606" fmla="*/ 1183662 h 6858000"/>
              <a:gd name="connsiteX607" fmla="*/ 6241687 w 7467600"/>
              <a:gd name="connsiteY607" fmla="*/ 1257600 h 6858000"/>
              <a:gd name="connsiteX608" fmla="*/ 5693009 w 7467600"/>
              <a:gd name="connsiteY608" fmla="*/ 1478256 h 6858000"/>
              <a:gd name="connsiteX609" fmla="*/ 6548420 w 7467600"/>
              <a:gd name="connsiteY609" fmla="*/ 1214599 h 6858000"/>
              <a:gd name="connsiteX610" fmla="*/ 6605473 w 7467600"/>
              <a:gd name="connsiteY610" fmla="*/ 1184686 h 6858000"/>
              <a:gd name="connsiteX611" fmla="*/ 6691602 w 7467600"/>
              <a:gd name="connsiteY611" fmla="*/ 1140573 h 6858000"/>
              <a:gd name="connsiteX612" fmla="*/ 4002475 w 7467600"/>
              <a:gd name="connsiteY612" fmla="*/ 1037802 h 6858000"/>
              <a:gd name="connsiteX613" fmla="*/ 4000324 w 7467600"/>
              <a:gd name="connsiteY613" fmla="*/ 1039362 h 6858000"/>
              <a:gd name="connsiteX614" fmla="*/ 4002862 w 7467600"/>
              <a:gd name="connsiteY614" fmla="*/ 1042866 h 6858000"/>
              <a:gd name="connsiteX615" fmla="*/ 4002475 w 7467600"/>
              <a:gd name="connsiteY615" fmla="*/ 1037802 h 6858000"/>
              <a:gd name="connsiteX616" fmla="*/ 506322 w 7467600"/>
              <a:gd name="connsiteY616" fmla="*/ 1020997 h 6858000"/>
              <a:gd name="connsiteX617" fmla="*/ 533068 w 7467600"/>
              <a:gd name="connsiteY617" fmla="*/ 1029409 h 6858000"/>
              <a:gd name="connsiteX618" fmla="*/ 1232525 w 7467600"/>
              <a:gd name="connsiteY618" fmla="*/ 1804675 h 6858000"/>
              <a:gd name="connsiteX619" fmla="*/ 1388858 w 7467600"/>
              <a:gd name="connsiteY619" fmla="*/ 2368011 h 6858000"/>
              <a:gd name="connsiteX620" fmla="*/ 1384098 w 7467600"/>
              <a:gd name="connsiteY620" fmla="*/ 2378125 h 6858000"/>
              <a:gd name="connsiteX621" fmla="*/ 1425393 w 7467600"/>
              <a:gd name="connsiteY621" fmla="*/ 2589124 h 6858000"/>
              <a:gd name="connsiteX622" fmla="*/ 1424001 w 7467600"/>
              <a:gd name="connsiteY622" fmla="*/ 2597541 h 6858000"/>
              <a:gd name="connsiteX623" fmla="*/ 2152729 w 7467600"/>
              <a:gd name="connsiteY623" fmla="*/ 2864487 h 6858000"/>
              <a:gd name="connsiteX624" fmla="*/ 2020609 w 7467600"/>
              <a:gd name="connsiteY624" fmla="*/ 2539671 h 6858000"/>
              <a:gd name="connsiteX625" fmla="*/ 2018920 w 7467600"/>
              <a:gd name="connsiteY625" fmla="*/ 2536309 h 6858000"/>
              <a:gd name="connsiteX626" fmla="*/ 1342441 w 7467600"/>
              <a:gd name="connsiteY626" fmla="*/ 1173017 h 6858000"/>
              <a:gd name="connsiteX627" fmla="*/ 1367925 w 7467600"/>
              <a:gd name="connsiteY627" fmla="*/ 1135648 h 6858000"/>
              <a:gd name="connsiteX628" fmla="*/ 1771401 w 7467600"/>
              <a:gd name="connsiteY628" fmla="*/ 1806673 h 6858000"/>
              <a:gd name="connsiteX629" fmla="*/ 1972385 w 7467600"/>
              <a:gd name="connsiteY629" fmla="*/ 2198735 h 6858000"/>
              <a:gd name="connsiteX630" fmla="*/ 2040892 w 7467600"/>
              <a:gd name="connsiteY630" fmla="*/ 2405205 h 6858000"/>
              <a:gd name="connsiteX631" fmla="*/ 2131689 w 7467600"/>
              <a:gd name="connsiteY631" fmla="*/ 1936926 h 6858000"/>
              <a:gd name="connsiteX632" fmla="*/ 2454820 w 7467600"/>
              <a:gd name="connsiteY632" fmla="*/ 1248808 h 6858000"/>
              <a:gd name="connsiteX633" fmla="*/ 2492512 w 7467600"/>
              <a:gd name="connsiteY633" fmla="*/ 1302920 h 6858000"/>
              <a:gd name="connsiteX634" fmla="*/ 2081216 w 7467600"/>
              <a:gd name="connsiteY634" fmla="*/ 2527513 h 6858000"/>
              <a:gd name="connsiteX635" fmla="*/ 2081211 w 7467600"/>
              <a:gd name="connsiteY635" fmla="*/ 2528916 h 6858000"/>
              <a:gd name="connsiteX636" fmla="*/ 2199067 w 7467600"/>
              <a:gd name="connsiteY636" fmla="*/ 2884061 h 6858000"/>
              <a:gd name="connsiteX637" fmla="*/ 3192586 w 7467600"/>
              <a:gd name="connsiteY637" fmla="*/ 3411496 h 6858000"/>
              <a:gd name="connsiteX638" fmla="*/ 3182620 w 7467600"/>
              <a:gd name="connsiteY638" fmla="*/ 3483279 h 6858000"/>
              <a:gd name="connsiteX639" fmla="*/ 2435119 w 7467600"/>
              <a:gd name="connsiteY639" fmla="*/ 3080173 h 6858000"/>
              <a:gd name="connsiteX640" fmla="*/ 2410152 w 7467600"/>
              <a:gd name="connsiteY640" fmla="*/ 3063751 h 6858000"/>
              <a:gd name="connsiteX641" fmla="*/ 2408099 w 7467600"/>
              <a:gd name="connsiteY641" fmla="*/ 3064403 h 6858000"/>
              <a:gd name="connsiteX642" fmla="*/ 2407218 w 7467600"/>
              <a:gd name="connsiteY642" fmla="*/ 3070324 h 6858000"/>
              <a:gd name="connsiteX643" fmla="*/ 2380138 w 7467600"/>
              <a:gd name="connsiteY643" fmla="*/ 3099341 h 6858000"/>
              <a:gd name="connsiteX644" fmla="*/ 1765923 w 7467600"/>
              <a:gd name="connsiteY644" fmla="*/ 3581043 h 6858000"/>
              <a:gd name="connsiteX645" fmla="*/ 1702258 w 7467600"/>
              <a:gd name="connsiteY645" fmla="*/ 3612286 h 6858000"/>
              <a:gd name="connsiteX646" fmla="*/ 1538370 w 7467600"/>
              <a:gd name="connsiteY646" fmla="*/ 3811804 h 6858000"/>
              <a:gd name="connsiteX647" fmla="*/ 542867 w 7467600"/>
              <a:gd name="connsiteY647" fmla="*/ 4944092 h 6858000"/>
              <a:gd name="connsiteX648" fmla="*/ 515800 w 7467600"/>
              <a:gd name="connsiteY648" fmla="*/ 4862180 h 6858000"/>
              <a:gd name="connsiteX649" fmla="*/ 909145 w 7467600"/>
              <a:gd name="connsiteY649" fmla="*/ 4199225 h 6858000"/>
              <a:gd name="connsiteX650" fmla="*/ 1214067 w 7467600"/>
              <a:gd name="connsiteY650" fmla="*/ 3908561 h 6858000"/>
              <a:gd name="connsiteX651" fmla="*/ 640967 w 7467600"/>
              <a:gd name="connsiteY651" fmla="*/ 4105601 h 6858000"/>
              <a:gd name="connsiteX652" fmla="*/ 112563 w 7467600"/>
              <a:gd name="connsiteY652" fmla="*/ 4396952 h 6858000"/>
              <a:gd name="connsiteX653" fmla="*/ 0 w 7467600"/>
              <a:gd name="connsiteY653" fmla="*/ 4466006 h 6858000"/>
              <a:gd name="connsiteX654" fmla="*/ 0 w 7467600"/>
              <a:gd name="connsiteY654" fmla="*/ 4233763 h 6858000"/>
              <a:gd name="connsiteX655" fmla="*/ 36881 w 7467600"/>
              <a:gd name="connsiteY655" fmla="*/ 4200118 h 6858000"/>
              <a:gd name="connsiteX656" fmla="*/ 910534 w 7467600"/>
              <a:gd name="connsiteY656" fmla="*/ 3629753 h 6858000"/>
              <a:gd name="connsiteX657" fmla="*/ 1578717 w 7467600"/>
              <a:gd name="connsiteY657" fmla="*/ 3575982 h 6858000"/>
              <a:gd name="connsiteX658" fmla="*/ 2338780 w 7467600"/>
              <a:gd name="connsiteY658" fmla="*/ 3033725 h 6858000"/>
              <a:gd name="connsiteX659" fmla="*/ 1807991 w 7467600"/>
              <a:gd name="connsiteY659" fmla="*/ 2807184 h 6858000"/>
              <a:gd name="connsiteX660" fmla="*/ 1416358 w 7467600"/>
              <a:gd name="connsiteY660" fmla="*/ 3112571 h 6858000"/>
              <a:gd name="connsiteX661" fmla="*/ 939066 w 7467600"/>
              <a:gd name="connsiteY661" fmla="*/ 3378798 h 6858000"/>
              <a:gd name="connsiteX662" fmla="*/ 115099 w 7467600"/>
              <a:gd name="connsiteY662" fmla="*/ 3607650 h 6858000"/>
              <a:gd name="connsiteX663" fmla="*/ 97284 w 7467600"/>
              <a:gd name="connsiteY663" fmla="*/ 3520393 h 6858000"/>
              <a:gd name="connsiteX664" fmla="*/ 922050 w 7467600"/>
              <a:gd name="connsiteY664" fmla="*/ 3074867 h 6858000"/>
              <a:gd name="connsiteX665" fmla="*/ 1405265 w 7467600"/>
              <a:gd name="connsiteY665" fmla="*/ 3016319 h 6858000"/>
              <a:gd name="connsiteX666" fmla="*/ 1407512 w 7467600"/>
              <a:gd name="connsiteY666" fmla="*/ 3018001 h 6858000"/>
              <a:gd name="connsiteX667" fmla="*/ 1726266 w 7467600"/>
              <a:gd name="connsiteY667" fmla="*/ 2777274 h 6858000"/>
              <a:gd name="connsiteX668" fmla="*/ 625390 w 7467600"/>
              <a:gd name="connsiteY668" fmla="*/ 2514541 h 6858000"/>
              <a:gd name="connsiteX669" fmla="*/ 619799 w 7467600"/>
              <a:gd name="connsiteY669" fmla="*/ 2527180 h 6858000"/>
              <a:gd name="connsiteX670" fmla="*/ 310030 w 7467600"/>
              <a:gd name="connsiteY670" fmla="*/ 2771818 h 6858000"/>
              <a:gd name="connsiteX671" fmla="*/ 173877 w 7467600"/>
              <a:gd name="connsiteY671" fmla="*/ 2937056 h 6858000"/>
              <a:gd name="connsiteX672" fmla="*/ 77889 w 7467600"/>
              <a:gd name="connsiteY672" fmla="*/ 3138440 h 6858000"/>
              <a:gd name="connsiteX673" fmla="*/ 0 w 7467600"/>
              <a:gd name="connsiteY673" fmla="*/ 3271395 h 6858000"/>
              <a:gd name="connsiteX674" fmla="*/ 0 w 7467600"/>
              <a:gd name="connsiteY674" fmla="*/ 3153002 h 6858000"/>
              <a:gd name="connsiteX675" fmla="*/ 2386 w 7467600"/>
              <a:gd name="connsiteY675" fmla="*/ 3149203 h 6858000"/>
              <a:gd name="connsiteX676" fmla="*/ 89753 w 7467600"/>
              <a:gd name="connsiteY676" fmla="*/ 2987702 h 6858000"/>
              <a:gd name="connsiteX677" fmla="*/ 76869 w 7467600"/>
              <a:gd name="connsiteY677" fmla="*/ 3005404 h 6858000"/>
              <a:gd name="connsiteX678" fmla="*/ 32049 w 7467600"/>
              <a:gd name="connsiteY678" fmla="*/ 3065814 h 6858000"/>
              <a:gd name="connsiteX679" fmla="*/ 0 w 7467600"/>
              <a:gd name="connsiteY679" fmla="*/ 3108744 h 6858000"/>
              <a:gd name="connsiteX680" fmla="*/ 0 w 7467600"/>
              <a:gd name="connsiteY680" fmla="*/ 3058059 h 6858000"/>
              <a:gd name="connsiteX681" fmla="*/ 7610 w 7467600"/>
              <a:gd name="connsiteY681" fmla="*/ 3047889 h 6858000"/>
              <a:gd name="connsiteX682" fmla="*/ 52419 w 7467600"/>
              <a:gd name="connsiteY682" fmla="*/ 2987479 h 6858000"/>
              <a:gd name="connsiteX683" fmla="*/ 59142 w 7467600"/>
              <a:gd name="connsiteY683" fmla="*/ 2978488 h 6858000"/>
              <a:gd name="connsiteX684" fmla="*/ 0 w 7467600"/>
              <a:gd name="connsiteY684" fmla="*/ 3015334 h 6858000"/>
              <a:gd name="connsiteX685" fmla="*/ 0 w 7467600"/>
              <a:gd name="connsiteY685" fmla="*/ 2914286 h 6858000"/>
              <a:gd name="connsiteX686" fmla="*/ 36383 w 7467600"/>
              <a:gd name="connsiteY686" fmla="*/ 2901128 h 6858000"/>
              <a:gd name="connsiteX687" fmla="*/ 156329 w 7467600"/>
              <a:gd name="connsiteY687" fmla="*/ 2840533 h 6858000"/>
              <a:gd name="connsiteX688" fmla="*/ 358355 w 7467600"/>
              <a:gd name="connsiteY688" fmla="*/ 2620471 h 6858000"/>
              <a:gd name="connsiteX689" fmla="*/ 510577 w 7467600"/>
              <a:gd name="connsiteY689" fmla="*/ 2501244 h 6858000"/>
              <a:gd name="connsiteX690" fmla="*/ 211967 w 7467600"/>
              <a:gd name="connsiteY690" fmla="*/ 2479171 h 6858000"/>
              <a:gd name="connsiteX691" fmla="*/ 0 w 7467600"/>
              <a:gd name="connsiteY691" fmla="*/ 2476398 h 6858000"/>
              <a:gd name="connsiteX692" fmla="*/ 0 w 7467600"/>
              <a:gd name="connsiteY692" fmla="*/ 2389189 h 6858000"/>
              <a:gd name="connsiteX693" fmla="*/ 103062 w 7467600"/>
              <a:gd name="connsiteY693" fmla="*/ 2389518 h 6858000"/>
              <a:gd name="connsiteX694" fmla="*/ 510734 w 7467600"/>
              <a:gd name="connsiteY694" fmla="*/ 2416201 h 6858000"/>
              <a:gd name="connsiteX695" fmla="*/ 279257 w 7467600"/>
              <a:gd name="connsiteY695" fmla="*/ 2092102 h 6858000"/>
              <a:gd name="connsiteX696" fmla="*/ 65265 w 7467600"/>
              <a:gd name="connsiteY696" fmla="*/ 2006049 h 6858000"/>
              <a:gd name="connsiteX697" fmla="*/ 0 w 7467600"/>
              <a:gd name="connsiteY697" fmla="*/ 1982532 h 6858000"/>
              <a:gd name="connsiteX698" fmla="*/ 0 w 7467600"/>
              <a:gd name="connsiteY698" fmla="*/ 1912789 h 6858000"/>
              <a:gd name="connsiteX699" fmla="*/ 97460 w 7467600"/>
              <a:gd name="connsiteY699" fmla="*/ 1953725 h 6858000"/>
              <a:gd name="connsiteX700" fmla="*/ 221272 w 7467600"/>
              <a:gd name="connsiteY700" fmla="*/ 1980766 h 6858000"/>
              <a:gd name="connsiteX701" fmla="*/ 116765 w 7467600"/>
              <a:gd name="connsiteY701" fmla="*/ 1911033 h 6858000"/>
              <a:gd name="connsiteX702" fmla="*/ 16405 w 7467600"/>
              <a:gd name="connsiteY702" fmla="*/ 1803412 h 6858000"/>
              <a:gd name="connsiteX703" fmla="*/ 0 w 7467600"/>
              <a:gd name="connsiteY703" fmla="*/ 1784777 h 6858000"/>
              <a:gd name="connsiteX704" fmla="*/ 0 w 7467600"/>
              <a:gd name="connsiteY704" fmla="*/ 1740082 h 6858000"/>
              <a:gd name="connsiteX705" fmla="*/ 39394 w 7467600"/>
              <a:gd name="connsiteY705" fmla="*/ 1784856 h 6858000"/>
              <a:gd name="connsiteX706" fmla="*/ 135813 w 7467600"/>
              <a:gd name="connsiteY706" fmla="*/ 1888838 h 6858000"/>
              <a:gd name="connsiteX707" fmla="*/ 242575 w 7467600"/>
              <a:gd name="connsiteY707" fmla="*/ 1958841 h 6858000"/>
              <a:gd name="connsiteX708" fmla="*/ 82197 w 7467600"/>
              <a:gd name="connsiteY708" fmla="*/ 1754826 h 6858000"/>
              <a:gd name="connsiteX709" fmla="*/ 0 w 7467600"/>
              <a:gd name="connsiteY709" fmla="*/ 1679650 h 6858000"/>
              <a:gd name="connsiteX710" fmla="*/ 0 w 7467600"/>
              <a:gd name="connsiteY710" fmla="*/ 1602463 h 6858000"/>
              <a:gd name="connsiteX711" fmla="*/ 84689 w 7467600"/>
              <a:gd name="connsiteY711" fmla="*/ 1677442 h 6858000"/>
              <a:gd name="connsiteX712" fmla="*/ 298437 w 7467600"/>
              <a:gd name="connsiteY712" fmla="*/ 1968019 h 6858000"/>
              <a:gd name="connsiteX713" fmla="*/ 227269 w 7467600"/>
              <a:gd name="connsiteY713" fmla="*/ 1114064 h 6858000"/>
              <a:gd name="connsiteX714" fmla="*/ 248003 w 7467600"/>
              <a:gd name="connsiteY714" fmla="*/ 1089613 h 6858000"/>
              <a:gd name="connsiteX715" fmla="*/ 427020 w 7467600"/>
              <a:gd name="connsiteY715" fmla="*/ 1619803 h 6858000"/>
              <a:gd name="connsiteX716" fmla="*/ 340345 w 7467600"/>
              <a:gd name="connsiteY716" fmla="*/ 2027739 h 6858000"/>
              <a:gd name="connsiteX717" fmla="*/ 360865 w 7467600"/>
              <a:gd name="connsiteY717" fmla="*/ 2044827 h 6858000"/>
              <a:gd name="connsiteX718" fmla="*/ 560414 w 7467600"/>
              <a:gd name="connsiteY718" fmla="*/ 2421457 h 6858000"/>
              <a:gd name="connsiteX719" fmla="*/ 1359703 w 7467600"/>
              <a:gd name="connsiteY719" fmla="*/ 2578554 h 6858000"/>
              <a:gd name="connsiteX720" fmla="*/ 1359422 w 7467600"/>
              <a:gd name="connsiteY720" fmla="*/ 2577994 h 6858000"/>
              <a:gd name="connsiteX721" fmla="*/ 828701 w 7467600"/>
              <a:gd name="connsiteY721" fmla="*/ 1839520 h 6858000"/>
              <a:gd name="connsiteX722" fmla="*/ 494427 w 7467600"/>
              <a:gd name="connsiteY722" fmla="*/ 1092333 h 6858000"/>
              <a:gd name="connsiteX723" fmla="*/ 506322 w 7467600"/>
              <a:gd name="connsiteY723" fmla="*/ 1020997 h 6858000"/>
              <a:gd name="connsiteX724" fmla="*/ 4570198 w 7467600"/>
              <a:gd name="connsiteY724" fmla="*/ 978081 h 6858000"/>
              <a:gd name="connsiteX725" fmla="*/ 4523691 w 7467600"/>
              <a:gd name="connsiteY725" fmla="*/ 1127776 h 6858000"/>
              <a:gd name="connsiteX726" fmla="*/ 4509875 w 7467600"/>
              <a:gd name="connsiteY726" fmla="*/ 1167552 h 6858000"/>
              <a:gd name="connsiteX727" fmla="*/ 4478168 w 7467600"/>
              <a:gd name="connsiteY727" fmla="*/ 1260735 h 6858000"/>
              <a:gd name="connsiteX728" fmla="*/ 4409309 w 7467600"/>
              <a:gd name="connsiteY728" fmla="*/ 1666996 h 6858000"/>
              <a:gd name="connsiteX729" fmla="*/ 4370031 w 7467600"/>
              <a:gd name="connsiteY729" fmla="*/ 1955666 h 6858000"/>
              <a:gd name="connsiteX730" fmla="*/ 4570198 w 7467600"/>
              <a:gd name="connsiteY730" fmla="*/ 978081 h 6858000"/>
              <a:gd name="connsiteX731" fmla="*/ 4557898 w 7467600"/>
              <a:gd name="connsiteY731" fmla="*/ 900011 h 6858000"/>
              <a:gd name="connsiteX732" fmla="*/ 4344840 w 7467600"/>
              <a:gd name="connsiteY732" fmla="*/ 1922038 h 6858000"/>
              <a:gd name="connsiteX733" fmla="*/ 4378710 w 7467600"/>
              <a:gd name="connsiteY733" fmla="*/ 1665516 h 6858000"/>
              <a:gd name="connsiteX734" fmla="*/ 4448798 w 7467600"/>
              <a:gd name="connsiteY734" fmla="*/ 1253024 h 6858000"/>
              <a:gd name="connsiteX735" fmla="*/ 4480315 w 7467600"/>
              <a:gd name="connsiteY735" fmla="*/ 1158454 h 6858000"/>
              <a:gd name="connsiteX736" fmla="*/ 4494133 w 7467600"/>
              <a:gd name="connsiteY736" fmla="*/ 1118676 h 6858000"/>
              <a:gd name="connsiteX737" fmla="*/ 4557898 w 7467600"/>
              <a:gd name="connsiteY737" fmla="*/ 900011 h 6858000"/>
              <a:gd name="connsiteX738" fmla="*/ 5870151 w 7467600"/>
              <a:gd name="connsiteY738" fmla="*/ 898890 h 6858000"/>
              <a:gd name="connsiteX739" fmla="*/ 5861335 w 7467600"/>
              <a:gd name="connsiteY739" fmla="*/ 899177 h 6858000"/>
              <a:gd name="connsiteX740" fmla="*/ 5843702 w 7467600"/>
              <a:gd name="connsiteY740" fmla="*/ 899748 h 6858000"/>
              <a:gd name="connsiteX741" fmla="*/ 5651107 w 7467600"/>
              <a:gd name="connsiteY741" fmla="*/ 920306 h 6858000"/>
              <a:gd name="connsiteX742" fmla="*/ 5459407 w 7467600"/>
              <a:gd name="connsiteY742" fmla="*/ 940975 h 6858000"/>
              <a:gd name="connsiteX743" fmla="*/ 5374846 w 7467600"/>
              <a:gd name="connsiteY743" fmla="*/ 941988 h 6858000"/>
              <a:gd name="connsiteX744" fmla="*/ 5256105 w 7467600"/>
              <a:gd name="connsiteY744" fmla="*/ 945632 h 6858000"/>
              <a:gd name="connsiteX745" fmla="*/ 5107071 w 7467600"/>
              <a:gd name="connsiteY745" fmla="*/ 969720 h 6858000"/>
              <a:gd name="connsiteX746" fmla="*/ 4998681 w 7467600"/>
              <a:gd name="connsiteY746" fmla="*/ 988771 h 6858000"/>
              <a:gd name="connsiteX747" fmla="*/ 5870151 w 7467600"/>
              <a:gd name="connsiteY747" fmla="*/ 898890 h 6858000"/>
              <a:gd name="connsiteX748" fmla="*/ 5504425 w 7467600"/>
              <a:gd name="connsiteY748" fmla="*/ 848067 h 6858000"/>
              <a:gd name="connsiteX749" fmla="*/ 4968849 w 7467600"/>
              <a:gd name="connsiteY749" fmla="*/ 962318 h 6858000"/>
              <a:gd name="connsiteX750" fmla="*/ 5104039 w 7467600"/>
              <a:gd name="connsiteY750" fmla="*/ 940634 h 6858000"/>
              <a:gd name="connsiteX751" fmla="*/ 5256311 w 7467600"/>
              <a:gd name="connsiteY751" fmla="*/ 916490 h 6858000"/>
              <a:gd name="connsiteX752" fmla="*/ 5377381 w 7467600"/>
              <a:gd name="connsiteY752" fmla="*/ 912671 h 6858000"/>
              <a:gd name="connsiteX753" fmla="*/ 5460148 w 7467600"/>
              <a:gd name="connsiteY753" fmla="*/ 911442 h 6858000"/>
              <a:gd name="connsiteX754" fmla="*/ 5648971 w 7467600"/>
              <a:gd name="connsiteY754" fmla="*/ 891331 h 6858000"/>
              <a:gd name="connsiteX755" fmla="*/ 5844807 w 7467600"/>
              <a:gd name="connsiteY755" fmla="*/ 870718 h 6858000"/>
              <a:gd name="connsiteX756" fmla="*/ 5862975 w 7467600"/>
              <a:gd name="connsiteY756" fmla="*/ 869756 h 6858000"/>
              <a:gd name="connsiteX757" fmla="*/ 5920887 w 7467600"/>
              <a:gd name="connsiteY757" fmla="*/ 865929 h 6858000"/>
              <a:gd name="connsiteX758" fmla="*/ 5504425 w 7467600"/>
              <a:gd name="connsiteY758" fmla="*/ 848067 h 6858000"/>
              <a:gd name="connsiteX759" fmla="*/ 3607114 w 7467600"/>
              <a:gd name="connsiteY759" fmla="*/ 467441 h 6858000"/>
              <a:gd name="connsiteX760" fmla="*/ 3296242 w 7467600"/>
              <a:gd name="connsiteY760" fmla="*/ 807991 h 6858000"/>
              <a:gd name="connsiteX761" fmla="*/ 3174674 w 7467600"/>
              <a:gd name="connsiteY761" fmla="*/ 919759 h 6858000"/>
              <a:gd name="connsiteX762" fmla="*/ 3042978 w 7467600"/>
              <a:gd name="connsiteY762" fmla="*/ 1054894 h 6858000"/>
              <a:gd name="connsiteX763" fmla="*/ 2968914 w 7467600"/>
              <a:gd name="connsiteY763" fmla="*/ 1133756 h 6858000"/>
              <a:gd name="connsiteX764" fmla="*/ 3103823 w 7467600"/>
              <a:gd name="connsiteY764" fmla="*/ 1026814 h 6858000"/>
              <a:gd name="connsiteX765" fmla="*/ 3607114 w 7467600"/>
              <a:gd name="connsiteY765" fmla="*/ 467441 h 6858000"/>
              <a:gd name="connsiteX766" fmla="*/ 3744487 w 7467600"/>
              <a:gd name="connsiteY766" fmla="*/ 383136 h 6858000"/>
              <a:gd name="connsiteX767" fmla="*/ 3970213 w 7467600"/>
              <a:gd name="connsiteY767" fmla="*/ 995559 h 6858000"/>
              <a:gd name="connsiteX768" fmla="*/ 3744487 w 7467600"/>
              <a:gd name="connsiteY768" fmla="*/ 383136 h 6858000"/>
              <a:gd name="connsiteX769" fmla="*/ 3624562 w 7467600"/>
              <a:gd name="connsiteY769" fmla="*/ 367041 h 6858000"/>
              <a:gd name="connsiteX770" fmla="*/ 3489712 w 7467600"/>
              <a:gd name="connsiteY770" fmla="*/ 485386 h 6858000"/>
              <a:gd name="connsiteX771" fmla="*/ 3182994 w 7467600"/>
              <a:gd name="connsiteY771" fmla="*/ 828265 h 6858000"/>
              <a:gd name="connsiteX772" fmla="*/ 2892114 w 7467600"/>
              <a:gd name="connsiteY772" fmla="*/ 1172635 h 6858000"/>
              <a:gd name="connsiteX773" fmla="*/ 3021459 w 7467600"/>
              <a:gd name="connsiteY773" fmla="*/ 1035385 h 6858000"/>
              <a:gd name="connsiteX774" fmla="*/ 3153873 w 7467600"/>
              <a:gd name="connsiteY774" fmla="*/ 898971 h 6858000"/>
              <a:gd name="connsiteX775" fmla="*/ 3276511 w 7467600"/>
              <a:gd name="connsiteY775" fmla="*/ 786423 h 6858000"/>
              <a:gd name="connsiteX776" fmla="*/ 3584154 w 7467600"/>
              <a:gd name="connsiteY776" fmla="*/ 448218 h 6858000"/>
              <a:gd name="connsiteX777" fmla="*/ 3624562 w 7467600"/>
              <a:gd name="connsiteY777" fmla="*/ 367041 h 6858000"/>
              <a:gd name="connsiteX778" fmla="*/ 3766672 w 7467600"/>
              <a:gd name="connsiteY778" fmla="*/ 359429 h 6858000"/>
              <a:gd name="connsiteX779" fmla="*/ 3996338 w 7467600"/>
              <a:gd name="connsiteY779" fmla="*/ 968237 h 6858000"/>
              <a:gd name="connsiteX780" fmla="*/ 3766672 w 7467600"/>
              <a:gd name="connsiteY780" fmla="*/ 359429 h 6858000"/>
              <a:gd name="connsiteX781" fmla="*/ 5805386 w 7467600"/>
              <a:gd name="connsiteY781" fmla="*/ 239240 h 6858000"/>
              <a:gd name="connsiteX782" fmla="*/ 5736947 w 7467600"/>
              <a:gd name="connsiteY782" fmla="*/ 261367 h 6858000"/>
              <a:gd name="connsiteX783" fmla="*/ 5427012 w 7467600"/>
              <a:gd name="connsiteY783" fmla="*/ 311272 h 6858000"/>
              <a:gd name="connsiteX784" fmla="*/ 5147818 w 7467600"/>
              <a:gd name="connsiteY784" fmla="*/ 322112 h 6858000"/>
              <a:gd name="connsiteX785" fmla="*/ 5060854 w 7467600"/>
              <a:gd name="connsiteY785" fmla="*/ 311882 h 6858000"/>
              <a:gd name="connsiteX786" fmla="*/ 4945989 w 7467600"/>
              <a:gd name="connsiteY786" fmla="*/ 300516 h 6858000"/>
              <a:gd name="connsiteX787" fmla="*/ 5410479 w 7467600"/>
              <a:gd name="connsiteY787" fmla="*/ 348434 h 6858000"/>
              <a:gd name="connsiteX788" fmla="*/ 5805386 w 7467600"/>
              <a:gd name="connsiteY788" fmla="*/ 239240 h 6858000"/>
              <a:gd name="connsiteX789" fmla="*/ 5905192 w 7467600"/>
              <a:gd name="connsiteY789" fmla="*/ 163079 h 6858000"/>
              <a:gd name="connsiteX790" fmla="*/ 5865655 w 7467600"/>
              <a:gd name="connsiteY790" fmla="*/ 171901 h 6858000"/>
              <a:gd name="connsiteX791" fmla="*/ 5259740 w 7467600"/>
              <a:gd name="connsiteY791" fmla="*/ 257013 h 6858000"/>
              <a:gd name="connsiteX792" fmla="*/ 5208466 w 7467600"/>
              <a:gd name="connsiteY792" fmla="*/ 257550 h 6858000"/>
              <a:gd name="connsiteX793" fmla="*/ 4980204 w 7467600"/>
              <a:gd name="connsiteY793" fmla="*/ 271903 h 6858000"/>
              <a:gd name="connsiteX794" fmla="*/ 5068068 w 7467600"/>
              <a:gd name="connsiteY794" fmla="*/ 282244 h 6858000"/>
              <a:gd name="connsiteX795" fmla="*/ 5153231 w 7467600"/>
              <a:gd name="connsiteY795" fmla="*/ 292240 h 6858000"/>
              <a:gd name="connsiteX796" fmla="*/ 5426491 w 7467600"/>
              <a:gd name="connsiteY796" fmla="*/ 281128 h 6858000"/>
              <a:gd name="connsiteX797" fmla="*/ 5731212 w 7467600"/>
              <a:gd name="connsiteY797" fmla="*/ 231951 h 6858000"/>
              <a:gd name="connsiteX798" fmla="*/ 5905192 w 7467600"/>
              <a:gd name="connsiteY798" fmla="*/ 163079 h 6858000"/>
              <a:gd name="connsiteX799" fmla="*/ 5944437 w 7467600"/>
              <a:gd name="connsiteY799" fmla="*/ 113829 h 6858000"/>
              <a:gd name="connsiteX800" fmla="*/ 5825032 w 7467600"/>
              <a:gd name="connsiteY800" fmla="*/ 146405 h 6858000"/>
              <a:gd name="connsiteX801" fmla="*/ 4955599 w 7467600"/>
              <a:gd name="connsiteY801" fmla="*/ 247008 h 6858000"/>
              <a:gd name="connsiteX802" fmla="*/ 5210104 w 7467600"/>
              <a:gd name="connsiteY802" fmla="*/ 228123 h 6858000"/>
              <a:gd name="connsiteX803" fmla="*/ 5261015 w 7467600"/>
              <a:gd name="connsiteY803" fmla="*/ 227087 h 6858000"/>
              <a:gd name="connsiteX804" fmla="*/ 5861181 w 7467600"/>
              <a:gd name="connsiteY804" fmla="*/ 143093 h 6858000"/>
              <a:gd name="connsiteX805" fmla="*/ 5961252 w 7467600"/>
              <a:gd name="connsiteY805" fmla="*/ 114820 h 6858000"/>
              <a:gd name="connsiteX806" fmla="*/ 5944437 w 7467600"/>
              <a:gd name="connsiteY806" fmla="*/ 113829 h 6858000"/>
              <a:gd name="connsiteX807" fmla="*/ 3882765 w 7467600"/>
              <a:gd name="connsiteY807" fmla="*/ 0 h 6858000"/>
              <a:gd name="connsiteX808" fmla="*/ 3995099 w 7467600"/>
              <a:gd name="connsiteY808" fmla="*/ 0 h 6858000"/>
              <a:gd name="connsiteX809" fmla="*/ 4163818 w 7467600"/>
              <a:gd name="connsiteY809" fmla="*/ 234104 h 6858000"/>
              <a:gd name="connsiteX810" fmla="*/ 4172099 w 7467600"/>
              <a:gd name="connsiteY810" fmla="*/ 234207 h 6858000"/>
              <a:gd name="connsiteX811" fmla="*/ 4784282 w 7467600"/>
              <a:gd name="connsiteY811" fmla="*/ 276561 h 6858000"/>
              <a:gd name="connsiteX812" fmla="*/ 4801687 w 7467600"/>
              <a:gd name="connsiteY812" fmla="*/ 267764 h 6858000"/>
              <a:gd name="connsiteX813" fmla="*/ 6082788 w 7467600"/>
              <a:gd name="connsiteY813" fmla="*/ 64119 h 6858000"/>
              <a:gd name="connsiteX814" fmla="*/ 6099442 w 7467600"/>
              <a:gd name="connsiteY814" fmla="*/ 82568 h 6858000"/>
              <a:gd name="connsiteX815" fmla="*/ 4804137 w 7467600"/>
              <a:gd name="connsiteY815" fmla="*/ 320931 h 6858000"/>
              <a:gd name="connsiteX816" fmla="*/ 4227047 w 7467600"/>
              <a:gd name="connsiteY816" fmla="*/ 313415 h 6858000"/>
              <a:gd name="connsiteX817" fmla="*/ 4346041 w 7467600"/>
              <a:gd name="connsiteY817" fmla="*/ 456086 h 6858000"/>
              <a:gd name="connsiteX818" fmla="*/ 4870967 w 7467600"/>
              <a:gd name="connsiteY818" fmla="*/ 963061 h 6858000"/>
              <a:gd name="connsiteX819" fmla="*/ 4889647 w 7467600"/>
              <a:gd name="connsiteY819" fmla="*/ 957147 h 6858000"/>
              <a:gd name="connsiteX820" fmla="*/ 5422504 w 7467600"/>
              <a:gd name="connsiteY820" fmla="*/ 805191 h 6858000"/>
              <a:gd name="connsiteX821" fmla="*/ 6087656 w 7467600"/>
              <a:gd name="connsiteY821" fmla="*/ 826703 h 6858000"/>
              <a:gd name="connsiteX822" fmla="*/ 6058717 w 7467600"/>
              <a:gd name="connsiteY822" fmla="*/ 865992 h 6858000"/>
              <a:gd name="connsiteX823" fmla="*/ 4974153 w 7467600"/>
              <a:gd name="connsiteY823" fmla="*/ 1045456 h 6858000"/>
              <a:gd name="connsiteX824" fmla="*/ 5627835 w 7467600"/>
              <a:gd name="connsiteY824" fmla="*/ 1472077 h 6858000"/>
              <a:gd name="connsiteX825" fmla="*/ 5629817 w 7467600"/>
              <a:gd name="connsiteY825" fmla="*/ 1471412 h 6858000"/>
              <a:gd name="connsiteX826" fmla="*/ 5634124 w 7467600"/>
              <a:gd name="connsiteY826" fmla="*/ 1470572 h 6858000"/>
              <a:gd name="connsiteX827" fmla="*/ 5755832 w 7467600"/>
              <a:gd name="connsiteY827" fmla="*/ 1383886 h 6858000"/>
              <a:gd name="connsiteX828" fmla="*/ 6014186 w 7467600"/>
              <a:gd name="connsiteY828" fmla="*/ 1279799 h 6858000"/>
              <a:gd name="connsiteX829" fmla="*/ 6901619 w 7467600"/>
              <a:gd name="connsiteY829" fmla="*/ 1047874 h 6858000"/>
              <a:gd name="connsiteX830" fmla="*/ 6931566 w 7467600"/>
              <a:gd name="connsiteY830" fmla="*/ 1062034 h 6858000"/>
              <a:gd name="connsiteX831" fmla="*/ 5790982 w 7467600"/>
              <a:gd name="connsiteY831" fmla="*/ 1561380 h 6858000"/>
              <a:gd name="connsiteX832" fmla="*/ 6188971 w 7467600"/>
              <a:gd name="connsiteY832" fmla="*/ 1755168 h 6858000"/>
              <a:gd name="connsiteX833" fmla="*/ 6202446 w 7467600"/>
              <a:gd name="connsiteY833" fmla="*/ 1752268 h 6858000"/>
              <a:gd name="connsiteX834" fmla="*/ 7179560 w 7467600"/>
              <a:gd name="connsiteY834" fmla="*/ 1467551 h 6858000"/>
              <a:gd name="connsiteX835" fmla="*/ 7158730 w 7467600"/>
              <a:gd name="connsiteY835" fmla="*/ 1507835 h 6858000"/>
              <a:gd name="connsiteX836" fmla="*/ 6326959 w 7467600"/>
              <a:gd name="connsiteY836" fmla="*/ 1817686 h 6858000"/>
              <a:gd name="connsiteX837" fmla="*/ 6537433 w 7467600"/>
              <a:gd name="connsiteY837" fmla="*/ 1907790 h 6858000"/>
              <a:gd name="connsiteX838" fmla="*/ 6550221 w 7467600"/>
              <a:gd name="connsiteY838" fmla="*/ 1910729 h 6858000"/>
              <a:gd name="connsiteX839" fmla="*/ 6964438 w 7467600"/>
              <a:gd name="connsiteY839" fmla="*/ 2209505 h 6858000"/>
              <a:gd name="connsiteX840" fmla="*/ 7367862 w 7467600"/>
              <a:gd name="connsiteY840" fmla="*/ 2806833 h 6858000"/>
              <a:gd name="connsiteX841" fmla="*/ 7364329 w 7467600"/>
              <a:gd name="connsiteY841" fmla="*/ 2826907 h 6858000"/>
              <a:gd name="connsiteX842" fmla="*/ 7290545 w 7467600"/>
              <a:gd name="connsiteY842" fmla="*/ 2850663 h 6858000"/>
              <a:gd name="connsiteX843" fmla="*/ 6472036 w 7467600"/>
              <a:gd name="connsiteY843" fmla="*/ 1959003 h 6858000"/>
              <a:gd name="connsiteX844" fmla="*/ 5792897 w 7467600"/>
              <a:gd name="connsiteY844" fmla="*/ 1647747 h 6858000"/>
              <a:gd name="connsiteX845" fmla="*/ 5842751 w 7467600"/>
              <a:gd name="connsiteY845" fmla="*/ 1816112 h 6858000"/>
              <a:gd name="connsiteX846" fmla="*/ 5847424 w 7467600"/>
              <a:gd name="connsiteY846" fmla="*/ 1815776 h 6858000"/>
              <a:gd name="connsiteX847" fmla="*/ 6399821 w 7467600"/>
              <a:gd name="connsiteY847" fmla="*/ 2344799 h 6858000"/>
              <a:gd name="connsiteX848" fmla="*/ 6323232 w 7467600"/>
              <a:gd name="connsiteY848" fmla="*/ 2389634 h 6858000"/>
              <a:gd name="connsiteX849" fmla="*/ 5942958 w 7467600"/>
              <a:gd name="connsiteY849" fmla="*/ 2077708 h 6858000"/>
              <a:gd name="connsiteX850" fmla="*/ 5921559 w 7467600"/>
              <a:gd name="connsiteY850" fmla="*/ 2378596 h 6858000"/>
              <a:gd name="connsiteX851" fmla="*/ 5817651 w 7467600"/>
              <a:gd name="connsiteY851" fmla="*/ 3023919 h 6858000"/>
              <a:gd name="connsiteX852" fmla="*/ 5729634 w 7467600"/>
              <a:gd name="connsiteY852" fmla="*/ 3051849 h 6858000"/>
              <a:gd name="connsiteX853" fmla="*/ 5611018 w 7467600"/>
              <a:gd name="connsiteY853" fmla="*/ 2316769 h 6858000"/>
              <a:gd name="connsiteX854" fmla="*/ 5687608 w 7467600"/>
              <a:gd name="connsiteY854" fmla="*/ 2039972 h 6858000"/>
              <a:gd name="connsiteX855" fmla="*/ 5657554 w 7467600"/>
              <a:gd name="connsiteY855" fmla="*/ 1576445 h 6858000"/>
              <a:gd name="connsiteX856" fmla="*/ 5150475 w 7467600"/>
              <a:gd name="connsiteY856" fmla="*/ 1274012 h 6858000"/>
              <a:gd name="connsiteX857" fmla="*/ 5349142 w 7467600"/>
              <a:gd name="connsiteY857" fmla="*/ 2204405 h 6858000"/>
              <a:gd name="connsiteX858" fmla="*/ 5262214 w 7467600"/>
              <a:gd name="connsiteY858" fmla="*/ 2233836 h 6858000"/>
              <a:gd name="connsiteX859" fmla="*/ 4981539 w 7467600"/>
              <a:gd name="connsiteY859" fmla="*/ 1542201 h 6858000"/>
              <a:gd name="connsiteX860" fmla="*/ 4958461 w 7467600"/>
              <a:gd name="connsiteY860" fmla="*/ 1136957 h 6858000"/>
              <a:gd name="connsiteX861" fmla="*/ 4655015 w 7467600"/>
              <a:gd name="connsiteY861" fmla="*/ 891426 h 6858000"/>
              <a:gd name="connsiteX862" fmla="*/ 4348002 w 7467600"/>
              <a:gd name="connsiteY862" fmla="*/ 2205895 h 6858000"/>
              <a:gd name="connsiteX863" fmla="*/ 4262250 w 7467600"/>
              <a:gd name="connsiteY863" fmla="*/ 2219972 h 6858000"/>
              <a:gd name="connsiteX864" fmla="*/ 4550611 w 7467600"/>
              <a:gd name="connsiteY864" fmla="*/ 817540 h 6858000"/>
              <a:gd name="connsiteX865" fmla="*/ 4564418 w 7467600"/>
              <a:gd name="connsiteY865" fmla="*/ 808293 h 6858000"/>
              <a:gd name="connsiteX866" fmla="*/ 4266388 w 7467600"/>
              <a:gd name="connsiteY866" fmla="*/ 500083 h 6858000"/>
              <a:gd name="connsiteX867" fmla="*/ 4032842 w 7467600"/>
              <a:gd name="connsiteY867" fmla="*/ 211809 h 6858000"/>
              <a:gd name="connsiteX868" fmla="*/ 3882765 w 7467600"/>
              <a:gd name="connsiteY868" fmla="*/ 0 h 6858000"/>
              <a:gd name="connsiteX869" fmla="*/ 3721337 w 7467600"/>
              <a:gd name="connsiteY869" fmla="*/ 0 h 6858000"/>
              <a:gd name="connsiteX870" fmla="*/ 3797544 w 7467600"/>
              <a:gd name="connsiteY870" fmla="*/ 0 h 6858000"/>
              <a:gd name="connsiteX871" fmla="*/ 3775734 w 7467600"/>
              <a:gd name="connsiteY871" fmla="*/ 95131 h 6858000"/>
              <a:gd name="connsiteX872" fmla="*/ 3724807 w 7467600"/>
              <a:gd name="connsiteY872" fmla="*/ 272257 h 6858000"/>
              <a:gd name="connsiteX873" fmla="*/ 3726844 w 7467600"/>
              <a:gd name="connsiteY873" fmla="*/ 282988 h 6858000"/>
              <a:gd name="connsiteX874" fmla="*/ 3742664 w 7467600"/>
              <a:gd name="connsiteY874" fmla="*/ 279918 h 6858000"/>
              <a:gd name="connsiteX875" fmla="*/ 4103910 w 7467600"/>
              <a:gd name="connsiteY875" fmla="*/ 1161917 h 6858000"/>
              <a:gd name="connsiteX876" fmla="*/ 4020269 w 7467600"/>
              <a:gd name="connsiteY876" fmla="*/ 1200406 h 6858000"/>
              <a:gd name="connsiteX877" fmla="*/ 3674882 w 7467600"/>
              <a:gd name="connsiteY877" fmla="*/ 488524 h 6858000"/>
              <a:gd name="connsiteX878" fmla="*/ 3132682 w 7467600"/>
              <a:gd name="connsiteY878" fmla="*/ 1072284 h 6858000"/>
              <a:gd name="connsiteX879" fmla="*/ 2716346 w 7467600"/>
              <a:gd name="connsiteY879" fmla="*/ 1276376 h 6858000"/>
              <a:gd name="connsiteX880" fmla="*/ 2716772 w 7467600"/>
              <a:gd name="connsiteY880" fmla="*/ 1255462 h 6858000"/>
              <a:gd name="connsiteX881" fmla="*/ 3471096 w 7467600"/>
              <a:gd name="connsiteY881" fmla="*/ 437072 h 6858000"/>
              <a:gd name="connsiteX882" fmla="*/ 3639057 w 7467600"/>
              <a:gd name="connsiteY882" fmla="*/ 286334 h 6858000"/>
              <a:gd name="connsiteX883" fmla="*/ 3640309 w 7467600"/>
              <a:gd name="connsiteY883" fmla="*/ 284664 h 6858000"/>
              <a:gd name="connsiteX884" fmla="*/ 3646022 w 7467600"/>
              <a:gd name="connsiteY884" fmla="*/ 276711 h 6858000"/>
              <a:gd name="connsiteX885" fmla="*/ 3707943 w 7467600"/>
              <a:gd name="connsiteY885" fmla="*/ 65958 h 6858000"/>
              <a:gd name="connsiteX886" fmla="*/ 3721337 w 7467600"/>
              <a:gd name="connsiteY886" fmla="*/ 0 h 6858000"/>
              <a:gd name="connsiteX887" fmla="*/ 2867960 w 7467600"/>
              <a:gd name="connsiteY887" fmla="*/ 0 h 6858000"/>
              <a:gd name="connsiteX888" fmla="*/ 2926351 w 7467600"/>
              <a:gd name="connsiteY888" fmla="*/ 0 h 6858000"/>
              <a:gd name="connsiteX889" fmla="*/ 2902823 w 7467600"/>
              <a:gd name="connsiteY889" fmla="*/ 262929 h 6858000"/>
              <a:gd name="connsiteX890" fmla="*/ 2940663 w 7467600"/>
              <a:gd name="connsiteY890" fmla="*/ 140884 h 6858000"/>
              <a:gd name="connsiteX891" fmla="*/ 2947039 w 7467600"/>
              <a:gd name="connsiteY891" fmla="*/ 122524 h 6858000"/>
              <a:gd name="connsiteX892" fmla="*/ 2984316 w 7467600"/>
              <a:gd name="connsiteY892" fmla="*/ 0 h 6858000"/>
              <a:gd name="connsiteX893" fmla="*/ 3016114 w 7467600"/>
              <a:gd name="connsiteY893" fmla="*/ 0 h 6858000"/>
              <a:gd name="connsiteX894" fmla="*/ 2979949 w 7467600"/>
              <a:gd name="connsiteY894" fmla="*/ 119274 h 6858000"/>
              <a:gd name="connsiteX895" fmla="*/ 3023879 w 7467600"/>
              <a:gd name="connsiteY895" fmla="*/ 0 h 6858000"/>
              <a:gd name="connsiteX896" fmla="*/ 3105400 w 7467600"/>
              <a:gd name="connsiteY896" fmla="*/ 0 h 6858000"/>
              <a:gd name="connsiteX897" fmla="*/ 3094669 w 7467600"/>
              <a:gd name="connsiteY897" fmla="*/ 30308 h 6858000"/>
              <a:gd name="connsiteX898" fmla="*/ 2901945 w 7467600"/>
              <a:gd name="connsiteY898" fmla="*/ 466538 h 6858000"/>
              <a:gd name="connsiteX899" fmla="*/ 2815209 w 7467600"/>
              <a:gd name="connsiteY899" fmla="*/ 497361 h 6858000"/>
              <a:gd name="connsiteX900" fmla="*/ 2844845 w 7467600"/>
              <a:gd name="connsiteY900" fmla="*/ 127638 h 6858000"/>
              <a:gd name="connsiteX901" fmla="*/ 2867960 w 7467600"/>
              <a:gd name="connsiteY901" fmla="*/ 0 h 6858000"/>
              <a:gd name="connsiteX902" fmla="*/ 1057230 w 7467600"/>
              <a:gd name="connsiteY902" fmla="*/ 0 h 6858000"/>
              <a:gd name="connsiteX903" fmla="*/ 1111003 w 7467600"/>
              <a:gd name="connsiteY903" fmla="*/ 0 h 6858000"/>
              <a:gd name="connsiteX904" fmla="*/ 1125553 w 7467600"/>
              <a:gd name="connsiteY904" fmla="*/ 52588 h 6858000"/>
              <a:gd name="connsiteX905" fmla="*/ 1304276 w 7467600"/>
              <a:gd name="connsiteY905" fmla="*/ 476275 h 6858000"/>
              <a:gd name="connsiteX906" fmla="*/ 1492066 w 7467600"/>
              <a:gd name="connsiteY906" fmla="*/ 886333 h 6858000"/>
              <a:gd name="connsiteX907" fmla="*/ 1423698 w 7467600"/>
              <a:gd name="connsiteY907" fmla="*/ 710817 h 6858000"/>
              <a:gd name="connsiteX908" fmla="*/ 1357609 w 7467600"/>
              <a:gd name="connsiteY908" fmla="*/ 532892 h 6858000"/>
              <a:gd name="connsiteX909" fmla="*/ 1309550 w 7467600"/>
              <a:gd name="connsiteY909" fmla="*/ 374031 h 6858000"/>
              <a:gd name="connsiteX910" fmla="*/ 1193673 w 7467600"/>
              <a:gd name="connsiteY910" fmla="*/ 49533 h 6858000"/>
              <a:gd name="connsiteX911" fmla="*/ 1164391 w 7467600"/>
              <a:gd name="connsiteY911" fmla="*/ 0 h 6858000"/>
              <a:gd name="connsiteX912" fmla="*/ 1200666 w 7467600"/>
              <a:gd name="connsiteY912" fmla="*/ 0 h 6858000"/>
              <a:gd name="connsiteX913" fmla="*/ 1223408 w 7467600"/>
              <a:gd name="connsiteY913" fmla="*/ 38996 h 6858000"/>
              <a:gd name="connsiteX914" fmla="*/ 1339635 w 7467600"/>
              <a:gd name="connsiteY914" fmla="*/ 365517 h 6858000"/>
              <a:gd name="connsiteX915" fmla="*/ 1387469 w 7467600"/>
              <a:gd name="connsiteY915" fmla="*/ 523079 h 6858000"/>
              <a:gd name="connsiteX916" fmla="*/ 1452685 w 7467600"/>
              <a:gd name="connsiteY916" fmla="*/ 699806 h 6858000"/>
              <a:gd name="connsiteX917" fmla="*/ 1492092 w 7467600"/>
              <a:gd name="connsiteY917" fmla="*/ 800424 h 6858000"/>
              <a:gd name="connsiteX918" fmla="*/ 1455302 w 7467600"/>
              <a:gd name="connsiteY918" fmla="*/ 632913 h 6858000"/>
              <a:gd name="connsiteX919" fmla="*/ 1222336 w 7467600"/>
              <a:gd name="connsiteY919" fmla="*/ 9480 h 6858000"/>
              <a:gd name="connsiteX920" fmla="*/ 1214634 w 7467600"/>
              <a:gd name="connsiteY920" fmla="*/ 0 h 6858000"/>
              <a:gd name="connsiteX921" fmla="*/ 1289827 w 7467600"/>
              <a:gd name="connsiteY921" fmla="*/ 0 h 6858000"/>
              <a:gd name="connsiteX922" fmla="*/ 1321076 w 7467600"/>
              <a:gd name="connsiteY922" fmla="*/ 59722 h 6858000"/>
              <a:gd name="connsiteX923" fmla="*/ 1512579 w 7467600"/>
              <a:gd name="connsiteY923" fmla="*/ 626441 h 6858000"/>
              <a:gd name="connsiteX924" fmla="*/ 1506076 w 7467600"/>
              <a:gd name="connsiteY924" fmla="*/ 1089289 h 6858000"/>
              <a:gd name="connsiteX925" fmla="*/ 1486346 w 7467600"/>
              <a:gd name="connsiteY925" fmla="*/ 1079919 h 6858000"/>
              <a:gd name="connsiteX926" fmla="*/ 1070511 w 7467600"/>
              <a:gd name="connsiteY926" fmla="*/ 48609 h 6858000"/>
              <a:gd name="connsiteX927" fmla="*/ 1057230 w 7467600"/>
              <a:gd name="connsiteY927" fmla="*/ 0 h 6858000"/>
              <a:gd name="connsiteX928" fmla="*/ 43151 w 7467600"/>
              <a:gd name="connsiteY928" fmla="*/ 0 h 6858000"/>
              <a:gd name="connsiteX929" fmla="*/ 95283 w 7467600"/>
              <a:gd name="connsiteY929" fmla="*/ 0 h 6858000"/>
              <a:gd name="connsiteX930" fmla="*/ 300708 w 7467600"/>
              <a:gd name="connsiteY930" fmla="*/ 154571 h 6858000"/>
              <a:gd name="connsiteX931" fmla="*/ 530414 w 7467600"/>
              <a:gd name="connsiteY931" fmla="*/ 354673 h 6858000"/>
              <a:gd name="connsiteX932" fmla="*/ 333785 w 7467600"/>
              <a:gd name="connsiteY932" fmla="*/ 161564 h 6858000"/>
              <a:gd name="connsiteX933" fmla="*/ 147005 w 7467600"/>
              <a:gd name="connsiteY933" fmla="*/ 0 h 6858000"/>
              <a:gd name="connsiteX934" fmla="*/ 272509 w 7467600"/>
              <a:gd name="connsiteY934" fmla="*/ 0 h 6858000"/>
              <a:gd name="connsiteX935" fmla="*/ 326276 w 7467600"/>
              <a:gd name="connsiteY935" fmla="*/ 45847 h 6858000"/>
              <a:gd name="connsiteX936" fmla="*/ 823759 w 7467600"/>
              <a:gd name="connsiteY936" fmla="*/ 574145 h 6858000"/>
              <a:gd name="connsiteX937" fmla="*/ 811254 w 7467600"/>
              <a:gd name="connsiteY937" fmla="*/ 665546 h 6858000"/>
              <a:gd name="connsiteX938" fmla="*/ 154042 w 7467600"/>
              <a:gd name="connsiteY938" fmla="*/ 261522 h 6858000"/>
              <a:gd name="connsiteX939" fmla="*/ 13550 w 7467600"/>
              <a:gd name="connsiteY939" fmla="*/ 158423 h 6858000"/>
              <a:gd name="connsiteX940" fmla="*/ 0 w 7467600"/>
              <a:gd name="connsiteY940" fmla="*/ 146618 h 6858000"/>
              <a:gd name="connsiteX941" fmla="*/ 0 w 7467600"/>
              <a:gd name="connsiteY941" fmla="*/ 59161 h 6858000"/>
              <a:gd name="connsiteX942" fmla="*/ 45427 w 7467600"/>
              <a:gd name="connsiteY942" fmla="*/ 101078 h 6858000"/>
              <a:gd name="connsiteX943" fmla="*/ 630103 w 7467600"/>
              <a:gd name="connsiteY943" fmla="*/ 485885 h 6858000"/>
              <a:gd name="connsiteX944" fmla="*/ 532040 w 7467600"/>
              <a:gd name="connsiteY944" fmla="*/ 399359 h 6858000"/>
              <a:gd name="connsiteX945" fmla="*/ 517618 w 7467600"/>
              <a:gd name="connsiteY945" fmla="*/ 385726 h 6858000"/>
              <a:gd name="connsiteX946" fmla="*/ 285074 w 7467600"/>
              <a:gd name="connsiteY946" fmla="*/ 182755 h 6858000"/>
              <a:gd name="connsiteX947" fmla="*/ 43151 w 7467600"/>
              <a:gd name="connsiteY947"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467600 w 7467600"/>
              <a:gd name="connsiteY4" fmla="*/ 6736157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1019354 w 7467600"/>
              <a:gd name="connsiteY15" fmla="*/ 6315006 h 6858000"/>
              <a:gd name="connsiteX16" fmla="*/ 441046 w 7467600"/>
              <a:gd name="connsiteY16" fmla="*/ 6691153 h 6858000"/>
              <a:gd name="connsiteX17" fmla="*/ 1019354 w 7467600"/>
              <a:gd name="connsiteY17" fmla="*/ 6315006 h 6858000"/>
              <a:gd name="connsiteX18" fmla="*/ 991680 w 7467600"/>
              <a:gd name="connsiteY18" fmla="*/ 6298413 h 6858000"/>
              <a:gd name="connsiteX19" fmla="*/ 409060 w 7467600"/>
              <a:gd name="connsiteY19" fmla="*/ 6671470 h 6858000"/>
              <a:gd name="connsiteX20" fmla="*/ 991680 w 7467600"/>
              <a:gd name="connsiteY20" fmla="*/ 6298413 h 6858000"/>
              <a:gd name="connsiteX21" fmla="*/ 103333 w 7467600"/>
              <a:gd name="connsiteY21" fmla="*/ 5699602 h 6858000"/>
              <a:gd name="connsiteX22" fmla="*/ 233938 w 7467600"/>
              <a:gd name="connsiteY22" fmla="*/ 5809416 h 6858000"/>
              <a:gd name="connsiteX23" fmla="*/ 883580 w 7467600"/>
              <a:gd name="connsiteY23" fmla="*/ 6180710 h 6858000"/>
              <a:gd name="connsiteX24" fmla="*/ 487337 w 7467600"/>
              <a:gd name="connsiteY24" fmla="*/ 5950182 h 6858000"/>
              <a:gd name="connsiteX25" fmla="*/ 354051 w 7467600"/>
              <a:gd name="connsiteY25" fmla="*/ 5854912 h 6858000"/>
              <a:gd name="connsiteX26" fmla="*/ 195436 w 7467600"/>
              <a:gd name="connsiteY26" fmla="*/ 5755068 h 6858000"/>
              <a:gd name="connsiteX27" fmla="*/ 103333 w 7467600"/>
              <a:gd name="connsiteY27" fmla="*/ 5699602 h 6858000"/>
              <a:gd name="connsiteX28" fmla="*/ 5539432 w 7467600"/>
              <a:gd name="connsiteY28" fmla="*/ 5642928 h 6858000"/>
              <a:gd name="connsiteX29" fmla="*/ 5555462 w 7467600"/>
              <a:gd name="connsiteY29" fmla="*/ 5694454 h 6858000"/>
              <a:gd name="connsiteX30" fmla="*/ 5828270 w 7467600"/>
              <a:gd name="connsiteY30" fmla="*/ 6320663 h 6858000"/>
              <a:gd name="connsiteX31" fmla="*/ 5947416 w 7467600"/>
              <a:gd name="connsiteY31" fmla="*/ 6574846 h 6858000"/>
              <a:gd name="connsiteX32" fmla="*/ 5539432 w 7467600"/>
              <a:gd name="connsiteY32" fmla="*/ 5642928 h 6858000"/>
              <a:gd name="connsiteX33" fmla="*/ 51253 w 7467600"/>
              <a:gd name="connsiteY33" fmla="*/ 5631825 h 6858000"/>
              <a:gd name="connsiteX34" fmla="*/ 211622 w 7467600"/>
              <a:gd name="connsiteY34" fmla="*/ 5728803 h 6858000"/>
              <a:gd name="connsiteX35" fmla="*/ 371652 w 7467600"/>
              <a:gd name="connsiteY35" fmla="*/ 5829062 h 6858000"/>
              <a:gd name="connsiteX36" fmla="*/ 505903 w 7467600"/>
              <a:gd name="connsiteY36" fmla="*/ 5925221 h 6858000"/>
              <a:gd name="connsiteX37" fmla="*/ 899240 w 7467600"/>
              <a:gd name="connsiteY37" fmla="*/ 6153068 h 6858000"/>
              <a:gd name="connsiteX38" fmla="*/ 988114 w 7467600"/>
              <a:gd name="connsiteY38" fmla="*/ 6174204 h 6858000"/>
              <a:gd name="connsiteX39" fmla="*/ 845971 w 7467600"/>
              <a:gd name="connsiteY39" fmla="*/ 6067177 h 6858000"/>
              <a:gd name="connsiteX40" fmla="*/ 448057 w 7467600"/>
              <a:gd name="connsiteY40" fmla="*/ 5841376 h 6858000"/>
              <a:gd name="connsiteX41" fmla="*/ 51253 w 7467600"/>
              <a:gd name="connsiteY41" fmla="*/ 5631825 h 6858000"/>
              <a:gd name="connsiteX42" fmla="*/ 2606687 w 7467600"/>
              <a:gd name="connsiteY42" fmla="*/ 5630718 h 6858000"/>
              <a:gd name="connsiteX43" fmla="*/ 2645658 w 7467600"/>
              <a:gd name="connsiteY43" fmla="*/ 6640259 h 6858000"/>
              <a:gd name="connsiteX44" fmla="*/ 2606687 w 7467600"/>
              <a:gd name="connsiteY44" fmla="*/ 5630718 h 6858000"/>
              <a:gd name="connsiteX45" fmla="*/ 3642057 w 7467600"/>
              <a:gd name="connsiteY45" fmla="*/ 5573487 h 6858000"/>
              <a:gd name="connsiteX46" fmla="*/ 3632981 w 7467600"/>
              <a:gd name="connsiteY46" fmla="*/ 5579437 h 6858000"/>
              <a:gd name="connsiteX47" fmla="*/ 3382436 w 7467600"/>
              <a:gd name="connsiteY47" fmla="*/ 5952726 h 6858000"/>
              <a:gd name="connsiteX48" fmla="*/ 3191929 w 7467600"/>
              <a:gd name="connsiteY48" fmla="*/ 6662669 h 6858000"/>
              <a:gd name="connsiteX49" fmla="*/ 3369898 w 7467600"/>
              <a:gd name="connsiteY49" fmla="*/ 6081771 h 6858000"/>
              <a:gd name="connsiteX50" fmla="*/ 3642057 w 7467600"/>
              <a:gd name="connsiteY50" fmla="*/ 5573487 h 6858000"/>
              <a:gd name="connsiteX51" fmla="*/ 2650666 w 7467600"/>
              <a:gd name="connsiteY51" fmla="*/ 5530686 h 6858000"/>
              <a:gd name="connsiteX52" fmla="*/ 2650249 w 7467600"/>
              <a:gd name="connsiteY52" fmla="*/ 5532101 h 6858000"/>
              <a:gd name="connsiteX53" fmla="*/ 2663808 w 7467600"/>
              <a:gd name="connsiteY53" fmla="*/ 6535215 h 6858000"/>
              <a:gd name="connsiteX54" fmla="*/ 2665418 w 7467600"/>
              <a:gd name="connsiteY54" fmla="*/ 6132756 h 6858000"/>
              <a:gd name="connsiteX55" fmla="*/ 2650666 w 7467600"/>
              <a:gd name="connsiteY55" fmla="*/ 5530686 h 6858000"/>
              <a:gd name="connsiteX56" fmla="*/ 2680277 w 7467600"/>
              <a:gd name="connsiteY56" fmla="*/ 5479204 h 6858000"/>
              <a:gd name="connsiteX57" fmla="*/ 2678972 w 7467600"/>
              <a:gd name="connsiteY57" fmla="*/ 5481582 h 6858000"/>
              <a:gd name="connsiteX58" fmla="*/ 2696666 w 7467600"/>
              <a:gd name="connsiteY58" fmla="*/ 6133836 h 6858000"/>
              <a:gd name="connsiteX59" fmla="*/ 2695769 w 7467600"/>
              <a:gd name="connsiteY59" fmla="*/ 6390955 h 6858000"/>
              <a:gd name="connsiteX60" fmla="*/ 2739893 w 7467600"/>
              <a:gd name="connsiteY60" fmla="*/ 6108357 h 6858000"/>
              <a:gd name="connsiteX61" fmla="*/ 2680277 w 7467600"/>
              <a:gd name="connsiteY61" fmla="*/ 5479204 h 6858000"/>
              <a:gd name="connsiteX62" fmla="*/ 1132195 w 7467600"/>
              <a:gd name="connsiteY62" fmla="*/ 5467980 h 6858000"/>
              <a:gd name="connsiteX63" fmla="*/ 1679056 w 7467600"/>
              <a:gd name="connsiteY63" fmla="*/ 5516907 h 6858000"/>
              <a:gd name="connsiteX64" fmla="*/ 2128648 w 7467600"/>
              <a:gd name="connsiteY64" fmla="*/ 5474249 h 6858000"/>
              <a:gd name="connsiteX65" fmla="*/ 1825619 w 7467600"/>
              <a:gd name="connsiteY65" fmla="*/ 5478447 h 6858000"/>
              <a:gd name="connsiteX66" fmla="*/ 1737798 w 7467600"/>
              <a:gd name="connsiteY66" fmla="*/ 5483353 h 6858000"/>
              <a:gd name="connsiteX67" fmla="*/ 1132195 w 7467600"/>
              <a:gd name="connsiteY67" fmla="*/ 5467980 h 6858000"/>
              <a:gd name="connsiteX68" fmla="*/ 1456157 w 7467600"/>
              <a:gd name="connsiteY68" fmla="*/ 5371404 h 6858000"/>
              <a:gd name="connsiteX69" fmla="*/ 1244432 w 7467600"/>
              <a:gd name="connsiteY69" fmla="*/ 5385601 h 6858000"/>
              <a:gd name="connsiteX70" fmla="*/ 973990 w 7467600"/>
              <a:gd name="connsiteY70" fmla="*/ 5424940 h 6858000"/>
              <a:gd name="connsiteX71" fmla="*/ 1103809 w 7467600"/>
              <a:gd name="connsiteY71" fmla="*/ 5433720 h 6858000"/>
              <a:gd name="connsiteX72" fmla="*/ 1123454 w 7467600"/>
              <a:gd name="connsiteY72" fmla="*/ 5435727 h 6858000"/>
              <a:gd name="connsiteX73" fmla="*/ 1737017 w 7467600"/>
              <a:gd name="connsiteY73" fmla="*/ 5452183 h 6858000"/>
              <a:gd name="connsiteX74" fmla="*/ 1824397 w 7467600"/>
              <a:gd name="connsiteY74" fmla="*/ 5447757 h 6858000"/>
              <a:gd name="connsiteX75" fmla="*/ 2070059 w 7467600"/>
              <a:gd name="connsiteY75" fmla="*/ 5441660 h 6858000"/>
              <a:gd name="connsiteX76" fmla="*/ 1456157 w 7467600"/>
              <a:gd name="connsiteY76" fmla="*/ 5371404 h 6858000"/>
              <a:gd name="connsiteX77" fmla="*/ 4988186 w 7467600"/>
              <a:gd name="connsiteY77" fmla="*/ 5216467 h 6858000"/>
              <a:gd name="connsiteX78" fmla="*/ 4777334 w 7467600"/>
              <a:gd name="connsiteY78" fmla="*/ 5406072 h 6858000"/>
              <a:gd name="connsiteX79" fmla="*/ 4718341 w 7467600"/>
              <a:gd name="connsiteY79" fmla="*/ 5468043 h 6858000"/>
              <a:gd name="connsiteX80" fmla="*/ 4604655 w 7467600"/>
              <a:gd name="connsiteY80" fmla="*/ 5583434 h 6858000"/>
              <a:gd name="connsiteX81" fmla="*/ 4565074 w 7467600"/>
              <a:gd name="connsiteY81" fmla="*/ 5618550 h 6858000"/>
              <a:gd name="connsiteX82" fmla="*/ 4988186 w 7467600"/>
              <a:gd name="connsiteY82" fmla="*/ 5216467 h 6858000"/>
              <a:gd name="connsiteX83" fmla="*/ 4978032 w 7467600"/>
              <a:gd name="connsiteY83" fmla="*/ 5183809 h 6858000"/>
              <a:gd name="connsiteX84" fmla="*/ 4463413 w 7467600"/>
              <a:gd name="connsiteY84" fmla="*/ 5615162 h 6858000"/>
              <a:gd name="connsiteX85" fmla="*/ 4358134 w 7467600"/>
              <a:gd name="connsiteY85" fmla="*/ 5742791 h 6858000"/>
              <a:gd name="connsiteX86" fmla="*/ 4376219 w 7467600"/>
              <a:gd name="connsiteY86" fmla="*/ 5729027 h 6858000"/>
              <a:gd name="connsiteX87" fmla="*/ 4582340 w 7467600"/>
              <a:gd name="connsiteY87" fmla="*/ 5561037 h 6858000"/>
              <a:gd name="connsiteX88" fmla="*/ 4694684 w 7467600"/>
              <a:gd name="connsiteY88" fmla="*/ 5447098 h 6858000"/>
              <a:gd name="connsiteX89" fmla="*/ 4754123 w 7467600"/>
              <a:gd name="connsiteY89" fmla="*/ 5384643 h 6858000"/>
              <a:gd name="connsiteX90" fmla="*/ 4978032 w 7467600"/>
              <a:gd name="connsiteY90" fmla="*/ 5183809 h 6858000"/>
              <a:gd name="connsiteX91" fmla="*/ 1903353 w 7467600"/>
              <a:gd name="connsiteY91" fmla="*/ 5044827 h 6858000"/>
              <a:gd name="connsiteX92" fmla="*/ 1936931 w 7467600"/>
              <a:gd name="connsiteY92" fmla="*/ 5093954 h 6858000"/>
              <a:gd name="connsiteX93" fmla="*/ 2195868 w 7467600"/>
              <a:gd name="connsiteY93" fmla="*/ 5396574 h 6858000"/>
              <a:gd name="connsiteX94" fmla="*/ 2088852 w 7467600"/>
              <a:gd name="connsiteY94" fmla="*/ 5166123 h 6858000"/>
              <a:gd name="connsiteX95" fmla="*/ 1958241 w 7467600"/>
              <a:gd name="connsiteY95" fmla="*/ 5067955 h 6858000"/>
              <a:gd name="connsiteX96" fmla="*/ 1903353 w 7467600"/>
              <a:gd name="connsiteY96" fmla="*/ 5044827 h 6858000"/>
              <a:gd name="connsiteX97" fmla="*/ 1979378 w 7467600"/>
              <a:gd name="connsiteY97" fmla="*/ 4769504 h 6858000"/>
              <a:gd name="connsiteX98" fmla="*/ 2882120 w 7467600"/>
              <a:gd name="connsiteY98" fmla="*/ 5064547 h 6858000"/>
              <a:gd name="connsiteX99" fmla="*/ 2793103 w 7467600"/>
              <a:gd name="connsiteY99" fmla="*/ 5039699 h 6858000"/>
              <a:gd name="connsiteX100" fmla="*/ 2770041 w 7467600"/>
              <a:gd name="connsiteY100" fmla="*/ 5033634 h 6858000"/>
              <a:gd name="connsiteX101" fmla="*/ 1979378 w 7467600"/>
              <a:gd name="connsiteY101" fmla="*/ 4769504 h 6858000"/>
              <a:gd name="connsiteX102" fmla="*/ 1927410 w 7467600"/>
              <a:gd name="connsiteY102" fmla="*/ 4716164 h 6858000"/>
              <a:gd name="connsiteX103" fmla="*/ 1959587 w 7467600"/>
              <a:gd name="connsiteY103" fmla="*/ 4728849 h 6858000"/>
              <a:gd name="connsiteX104" fmla="*/ 2777707 w 7467600"/>
              <a:gd name="connsiteY104" fmla="*/ 5003991 h 6858000"/>
              <a:gd name="connsiteX105" fmla="*/ 2800768 w 7467600"/>
              <a:gd name="connsiteY105" fmla="*/ 5010056 h 6858000"/>
              <a:gd name="connsiteX106" fmla="*/ 2879408 w 7467600"/>
              <a:gd name="connsiteY106" fmla="*/ 5031590 h 6858000"/>
              <a:gd name="connsiteX107" fmla="*/ 2862295 w 7467600"/>
              <a:gd name="connsiteY107" fmla="*/ 5022958 h 6858000"/>
              <a:gd name="connsiteX108" fmla="*/ 2813343 w 7467600"/>
              <a:gd name="connsiteY108" fmla="*/ 4998369 h 6858000"/>
              <a:gd name="connsiteX109" fmla="*/ 2646245 w 7467600"/>
              <a:gd name="connsiteY109" fmla="*/ 4930999 h 6858000"/>
              <a:gd name="connsiteX110" fmla="*/ 1999243 w 7467600"/>
              <a:gd name="connsiteY110" fmla="*/ 4730524 h 6858000"/>
              <a:gd name="connsiteX111" fmla="*/ 1979527 w 7467600"/>
              <a:gd name="connsiteY111" fmla="*/ 4726651 h 6858000"/>
              <a:gd name="connsiteX112" fmla="*/ 1927410 w 7467600"/>
              <a:gd name="connsiteY112" fmla="*/ 4716164 h 6858000"/>
              <a:gd name="connsiteX113" fmla="*/ 1997014 w 7467600"/>
              <a:gd name="connsiteY113" fmla="*/ 4698007 h 6858000"/>
              <a:gd name="connsiteX114" fmla="*/ 2005458 w 7467600"/>
              <a:gd name="connsiteY114" fmla="*/ 4699540 h 6858000"/>
              <a:gd name="connsiteX115" fmla="*/ 2657186 w 7467600"/>
              <a:gd name="connsiteY115" fmla="*/ 4901687 h 6858000"/>
              <a:gd name="connsiteX116" fmla="*/ 2826662 w 7467600"/>
              <a:gd name="connsiteY116" fmla="*/ 4970362 h 6858000"/>
              <a:gd name="connsiteX117" fmla="*/ 2876100 w 7467600"/>
              <a:gd name="connsiteY117" fmla="*/ 4995397 h 6858000"/>
              <a:gd name="connsiteX118" fmla="*/ 3042600 w 7467600"/>
              <a:gd name="connsiteY118" fmla="*/ 5059532 h 6858000"/>
              <a:gd name="connsiteX119" fmla="*/ 1997014 w 7467600"/>
              <a:gd name="connsiteY119" fmla="*/ 4698007 h 6858000"/>
              <a:gd name="connsiteX120" fmla="*/ 2305292 w 7467600"/>
              <a:gd name="connsiteY120" fmla="*/ 4219492 h 6858000"/>
              <a:gd name="connsiteX121" fmla="*/ 3360922 w 7467600"/>
              <a:gd name="connsiteY121" fmla="*/ 4529373 h 6858000"/>
              <a:gd name="connsiteX122" fmla="*/ 3492420 w 7467600"/>
              <a:gd name="connsiteY122" fmla="*/ 4510145 h 6858000"/>
              <a:gd name="connsiteX123" fmla="*/ 3364086 w 7467600"/>
              <a:gd name="connsiteY123" fmla="*/ 4480340 h 6858000"/>
              <a:gd name="connsiteX124" fmla="*/ 3225818 w 7467600"/>
              <a:gd name="connsiteY124" fmla="*/ 4411822 h 6858000"/>
              <a:gd name="connsiteX125" fmla="*/ 3129696 w 7467600"/>
              <a:gd name="connsiteY125" fmla="*/ 4360704 h 6858000"/>
              <a:gd name="connsiteX126" fmla="*/ 2814545 w 7467600"/>
              <a:gd name="connsiteY126" fmla="*/ 4282955 h 6858000"/>
              <a:gd name="connsiteX127" fmla="*/ 2305292 w 7467600"/>
              <a:gd name="connsiteY127" fmla="*/ 4219492 h 6858000"/>
              <a:gd name="connsiteX128" fmla="*/ 2626982 w 7467600"/>
              <a:gd name="connsiteY128" fmla="*/ 4206450 h 6858000"/>
              <a:gd name="connsiteX129" fmla="*/ 2490617 w 7467600"/>
              <a:gd name="connsiteY129" fmla="*/ 4206951 h 6858000"/>
              <a:gd name="connsiteX130" fmla="*/ 2819869 w 7467600"/>
              <a:gd name="connsiteY130" fmla="*/ 4252936 h 6858000"/>
              <a:gd name="connsiteX131" fmla="*/ 3143018 w 7467600"/>
              <a:gd name="connsiteY131" fmla="*/ 4332698 h 6858000"/>
              <a:gd name="connsiteX132" fmla="*/ 3241520 w 7467600"/>
              <a:gd name="connsiteY132" fmla="*/ 4385112 h 6858000"/>
              <a:gd name="connsiteX133" fmla="*/ 3374575 w 7467600"/>
              <a:gd name="connsiteY133" fmla="*/ 4451517 h 6858000"/>
              <a:gd name="connsiteX134" fmla="*/ 3505221 w 7467600"/>
              <a:gd name="connsiteY134" fmla="*/ 4480757 h 6858000"/>
              <a:gd name="connsiteX135" fmla="*/ 2626982 w 7467600"/>
              <a:gd name="connsiteY135" fmla="*/ 4206450 h 6858000"/>
              <a:gd name="connsiteX136" fmla="*/ 1310106 w 7467600"/>
              <a:gd name="connsiteY136" fmla="*/ 3943217 h 6858000"/>
              <a:gd name="connsiteX137" fmla="*/ 854994 w 7467600"/>
              <a:gd name="connsiteY137" fmla="*/ 4399136 h 6858000"/>
              <a:gd name="connsiteX138" fmla="*/ 742462 w 7467600"/>
              <a:gd name="connsiteY138" fmla="*/ 4594648 h 6858000"/>
              <a:gd name="connsiteX139" fmla="*/ 820602 w 7467600"/>
              <a:gd name="connsiteY139" fmla="*/ 4485915 h 6858000"/>
              <a:gd name="connsiteX140" fmla="*/ 878295 w 7467600"/>
              <a:gd name="connsiteY140" fmla="*/ 4403594 h 6858000"/>
              <a:gd name="connsiteX141" fmla="*/ 1240607 w 7467600"/>
              <a:gd name="connsiteY141" fmla="*/ 4010401 h 6858000"/>
              <a:gd name="connsiteX142" fmla="*/ 1310106 w 7467600"/>
              <a:gd name="connsiteY142" fmla="*/ 3943217 h 6858000"/>
              <a:gd name="connsiteX143" fmla="*/ 1423113 w 7467600"/>
              <a:gd name="connsiteY143" fmla="*/ 3874565 h 6858000"/>
              <a:gd name="connsiteX144" fmla="*/ 1260565 w 7467600"/>
              <a:gd name="connsiteY144" fmla="*/ 4031982 h 6858000"/>
              <a:gd name="connsiteX145" fmla="*/ 901900 w 7467600"/>
              <a:gd name="connsiteY145" fmla="*/ 4421236 h 6858000"/>
              <a:gd name="connsiteX146" fmla="*/ 845044 w 7467600"/>
              <a:gd name="connsiteY146" fmla="*/ 4502436 h 6858000"/>
              <a:gd name="connsiteX147" fmla="*/ 685926 w 7467600"/>
              <a:gd name="connsiteY147" fmla="*/ 4703069 h 6858000"/>
              <a:gd name="connsiteX148" fmla="*/ 684248 w 7467600"/>
              <a:gd name="connsiteY148" fmla="*/ 4706721 h 6858000"/>
              <a:gd name="connsiteX149" fmla="*/ 1423113 w 7467600"/>
              <a:gd name="connsiteY149" fmla="*/ 3874565 h 6858000"/>
              <a:gd name="connsiteX150" fmla="*/ 3316479 w 7467600"/>
              <a:gd name="connsiteY150" fmla="*/ 3872136 h 6858000"/>
              <a:gd name="connsiteX151" fmla="*/ 3546806 w 7467600"/>
              <a:gd name="connsiteY151" fmla="*/ 4356139 h 6858000"/>
              <a:gd name="connsiteX152" fmla="*/ 3364433 w 7467600"/>
              <a:gd name="connsiteY152" fmla="*/ 3953121 h 6858000"/>
              <a:gd name="connsiteX153" fmla="*/ 3316479 w 7467600"/>
              <a:gd name="connsiteY153" fmla="*/ 3872136 h 6858000"/>
              <a:gd name="connsiteX154" fmla="*/ 3291335 w 7467600"/>
              <a:gd name="connsiteY154" fmla="*/ 3767420 h 6858000"/>
              <a:gd name="connsiteX155" fmla="*/ 3390805 w 7467600"/>
              <a:gd name="connsiteY155" fmla="*/ 3937163 h 6858000"/>
              <a:gd name="connsiteX156" fmla="*/ 3579062 w 7467600"/>
              <a:gd name="connsiteY156" fmla="*/ 4359040 h 6858000"/>
              <a:gd name="connsiteX157" fmla="*/ 3467355 w 7467600"/>
              <a:gd name="connsiteY157" fmla="*/ 3988130 h 6858000"/>
              <a:gd name="connsiteX158" fmla="*/ 3310753 w 7467600"/>
              <a:gd name="connsiteY158" fmla="*/ 3787140 h 6858000"/>
              <a:gd name="connsiteX159" fmla="*/ 3291335 w 7467600"/>
              <a:gd name="connsiteY159" fmla="*/ 3767420 h 6858000"/>
              <a:gd name="connsiteX160" fmla="*/ 1635889 w 7467600"/>
              <a:gd name="connsiteY160" fmla="*/ 3709494 h 6858000"/>
              <a:gd name="connsiteX161" fmla="*/ 1634800 w 7467600"/>
              <a:gd name="connsiteY161" fmla="*/ 3731111 h 6858000"/>
              <a:gd name="connsiteX162" fmla="*/ 1635889 w 7467600"/>
              <a:gd name="connsiteY162" fmla="*/ 3709494 h 6858000"/>
              <a:gd name="connsiteX163" fmla="*/ 1510397 w 7467600"/>
              <a:gd name="connsiteY163" fmla="*/ 3684705 h 6858000"/>
              <a:gd name="connsiteX164" fmla="*/ 1146550 w 7467600"/>
              <a:gd name="connsiteY164" fmla="*/ 3802012 h 6858000"/>
              <a:gd name="connsiteX165" fmla="*/ 698834 w 7467600"/>
              <a:gd name="connsiteY165" fmla="*/ 3952272 h 6858000"/>
              <a:gd name="connsiteX166" fmla="*/ 34256 w 7467600"/>
              <a:gd name="connsiteY166" fmla="*/ 4347603 h 6858000"/>
              <a:gd name="connsiteX167" fmla="*/ 527241 w 7467600"/>
              <a:gd name="connsiteY167" fmla="*/ 4065078 h 6858000"/>
              <a:gd name="connsiteX168" fmla="*/ 1510397 w 7467600"/>
              <a:gd name="connsiteY168" fmla="*/ 3684705 h 6858000"/>
              <a:gd name="connsiteX169" fmla="*/ 1313114 w 7467600"/>
              <a:gd name="connsiteY169" fmla="*/ 3655216 h 6858000"/>
              <a:gd name="connsiteX170" fmla="*/ 1109304 w 7467600"/>
              <a:gd name="connsiteY170" fmla="*/ 3669030 h 6858000"/>
              <a:gd name="connsiteX171" fmla="*/ 8129 w 7467600"/>
              <a:gd name="connsiteY171" fmla="*/ 4330519 h 6858000"/>
              <a:gd name="connsiteX172" fmla="*/ 687572 w 7467600"/>
              <a:gd name="connsiteY172" fmla="*/ 3925629 h 6858000"/>
              <a:gd name="connsiteX173" fmla="*/ 1138365 w 7467600"/>
              <a:gd name="connsiteY173" fmla="*/ 3774515 h 6858000"/>
              <a:gd name="connsiteX174" fmla="*/ 1505579 w 7467600"/>
              <a:gd name="connsiteY174" fmla="*/ 3655526 h 6858000"/>
              <a:gd name="connsiteX175" fmla="*/ 1313114 w 7467600"/>
              <a:gd name="connsiteY175" fmla="*/ 3655216 h 6858000"/>
              <a:gd name="connsiteX176" fmla="*/ 3655073 w 7467600"/>
              <a:gd name="connsiteY176" fmla="*/ 3650884 h 6858000"/>
              <a:gd name="connsiteX177" fmla="*/ 3989938 w 7467600"/>
              <a:gd name="connsiteY177" fmla="*/ 3991685 h 6858000"/>
              <a:gd name="connsiteX178" fmla="*/ 4393907 w 7467600"/>
              <a:gd name="connsiteY178" fmla="*/ 4261258 h 6858000"/>
              <a:gd name="connsiteX179" fmla="*/ 4648051 w 7467600"/>
              <a:gd name="connsiteY179" fmla="*/ 4374051 h 6858000"/>
              <a:gd name="connsiteX180" fmla="*/ 4383389 w 7467600"/>
              <a:gd name="connsiteY180" fmla="*/ 4184369 h 6858000"/>
              <a:gd name="connsiteX181" fmla="*/ 4165508 w 7467600"/>
              <a:gd name="connsiteY181" fmla="*/ 4035196 h 6858000"/>
              <a:gd name="connsiteX182" fmla="*/ 4068162 w 7467600"/>
              <a:gd name="connsiteY182" fmla="*/ 3953394 h 6858000"/>
              <a:gd name="connsiteX183" fmla="*/ 3981416 w 7467600"/>
              <a:gd name="connsiteY183" fmla="*/ 3880482 h 6858000"/>
              <a:gd name="connsiteX184" fmla="*/ 3800147 w 7467600"/>
              <a:gd name="connsiteY184" fmla="*/ 3749872 h 6858000"/>
              <a:gd name="connsiteX185" fmla="*/ 3655073 w 7467600"/>
              <a:gd name="connsiteY185" fmla="*/ 3650884 h 6858000"/>
              <a:gd name="connsiteX186" fmla="*/ 3670252 w 7467600"/>
              <a:gd name="connsiteY186" fmla="*/ 3622798 h 6858000"/>
              <a:gd name="connsiteX187" fmla="*/ 3817258 w 7467600"/>
              <a:gd name="connsiteY187" fmla="*/ 3723577 h 6858000"/>
              <a:gd name="connsiteX188" fmla="*/ 4000461 w 7467600"/>
              <a:gd name="connsiteY188" fmla="*/ 3855966 h 6858000"/>
              <a:gd name="connsiteX189" fmla="*/ 4088180 w 7467600"/>
              <a:gd name="connsiteY189" fmla="*/ 3929774 h 6858000"/>
              <a:gd name="connsiteX190" fmla="*/ 4184555 w 7467600"/>
              <a:gd name="connsiteY190" fmla="*/ 4010683 h 6858000"/>
              <a:gd name="connsiteX191" fmla="*/ 4399563 w 7467600"/>
              <a:gd name="connsiteY191" fmla="*/ 4158106 h 6858000"/>
              <a:gd name="connsiteX192" fmla="*/ 4684469 w 7467600"/>
              <a:gd name="connsiteY192" fmla="*/ 4364680 h 6858000"/>
              <a:gd name="connsiteX193" fmla="*/ 4690271 w 7467600"/>
              <a:gd name="connsiteY193" fmla="*/ 4370034 h 6858000"/>
              <a:gd name="connsiteX194" fmla="*/ 4136093 w 7467600"/>
              <a:gd name="connsiteY194" fmla="*/ 3858466 h 6858000"/>
              <a:gd name="connsiteX195" fmla="*/ 3670252 w 7467600"/>
              <a:gd name="connsiteY195" fmla="*/ 3622798 h 6858000"/>
              <a:gd name="connsiteX196" fmla="*/ 4440129 w 7467600"/>
              <a:gd name="connsiteY196" fmla="*/ 3448571 h 6858000"/>
              <a:gd name="connsiteX197" fmla="*/ 4856525 w 7467600"/>
              <a:gd name="connsiteY197" fmla="*/ 3915351 h 6858000"/>
              <a:gd name="connsiteX198" fmla="*/ 5059055 w 7467600"/>
              <a:gd name="connsiteY198" fmla="*/ 4108918 h 6858000"/>
              <a:gd name="connsiteX199" fmla="*/ 5290070 w 7467600"/>
              <a:gd name="connsiteY199" fmla="*/ 4263619 h 6858000"/>
              <a:gd name="connsiteX200" fmla="*/ 4834991 w 7467600"/>
              <a:gd name="connsiteY200" fmla="*/ 3830985 h 6858000"/>
              <a:gd name="connsiteX201" fmla="*/ 4440129 w 7467600"/>
              <a:gd name="connsiteY201" fmla="*/ 3448571 h 6858000"/>
              <a:gd name="connsiteX202" fmla="*/ 4441737 w 7467600"/>
              <a:gd name="connsiteY202" fmla="*/ 3399734 h 6858000"/>
              <a:gd name="connsiteX203" fmla="*/ 4431236 w 7467600"/>
              <a:gd name="connsiteY203" fmla="*/ 3400954 h 6858000"/>
              <a:gd name="connsiteX204" fmla="*/ 4557150 w 7467600"/>
              <a:gd name="connsiteY204" fmla="*/ 3510023 h 6858000"/>
              <a:gd name="connsiteX205" fmla="*/ 4856936 w 7467600"/>
              <a:gd name="connsiteY205" fmla="*/ 3809146 h 6858000"/>
              <a:gd name="connsiteX206" fmla="*/ 5111996 w 7467600"/>
              <a:gd name="connsiteY206" fmla="*/ 4065759 h 6858000"/>
              <a:gd name="connsiteX207" fmla="*/ 5388878 w 7467600"/>
              <a:gd name="connsiteY207" fmla="*/ 4300185 h 6858000"/>
              <a:gd name="connsiteX208" fmla="*/ 5425556 w 7467600"/>
              <a:gd name="connsiteY208" fmla="*/ 4308967 h 6858000"/>
              <a:gd name="connsiteX209" fmla="*/ 4943646 w 7467600"/>
              <a:gd name="connsiteY209" fmla="*/ 3822916 h 6858000"/>
              <a:gd name="connsiteX210" fmla="*/ 4594837 w 7467600"/>
              <a:gd name="connsiteY210" fmla="*/ 3532274 h 6858000"/>
              <a:gd name="connsiteX211" fmla="*/ 4441737 w 7467600"/>
              <a:gd name="connsiteY211" fmla="*/ 3399734 h 6858000"/>
              <a:gd name="connsiteX212" fmla="*/ 5425834 w 7467600"/>
              <a:gd name="connsiteY212" fmla="*/ 3162785 h 6858000"/>
              <a:gd name="connsiteX213" fmla="*/ 5401644 w 7467600"/>
              <a:gd name="connsiteY213" fmla="*/ 3617847 h 6858000"/>
              <a:gd name="connsiteX214" fmla="*/ 5467256 w 7467600"/>
              <a:gd name="connsiteY214" fmla="*/ 4175494 h 6858000"/>
              <a:gd name="connsiteX215" fmla="*/ 5448069 w 7467600"/>
              <a:gd name="connsiteY215" fmla="*/ 3567554 h 6858000"/>
              <a:gd name="connsiteX216" fmla="*/ 5425834 w 7467600"/>
              <a:gd name="connsiteY216" fmla="*/ 3162785 h 6858000"/>
              <a:gd name="connsiteX217" fmla="*/ 1318687 w 7467600"/>
              <a:gd name="connsiteY217" fmla="*/ 3113840 h 6858000"/>
              <a:gd name="connsiteX218" fmla="*/ 1066793 w 7467600"/>
              <a:gd name="connsiteY218" fmla="*/ 3212171 h 6858000"/>
              <a:gd name="connsiteX219" fmla="*/ 993319 w 7467600"/>
              <a:gd name="connsiteY219" fmla="*/ 3247648 h 6858000"/>
              <a:gd name="connsiteX220" fmla="*/ 853081 w 7467600"/>
              <a:gd name="connsiteY220" fmla="*/ 3312410 h 6858000"/>
              <a:gd name="connsiteX221" fmla="*/ 805957 w 7467600"/>
              <a:gd name="connsiteY221" fmla="*/ 3330443 h 6858000"/>
              <a:gd name="connsiteX222" fmla="*/ 1318687 w 7467600"/>
              <a:gd name="connsiteY222" fmla="*/ 3113840 h 6858000"/>
              <a:gd name="connsiteX223" fmla="*/ 5453702 w 7467600"/>
              <a:gd name="connsiteY223" fmla="*/ 3090882 h 6858000"/>
              <a:gd name="connsiteX224" fmla="*/ 5480135 w 7467600"/>
              <a:gd name="connsiteY224" fmla="*/ 3565802 h 6858000"/>
              <a:gd name="connsiteX225" fmla="*/ 5499023 w 7467600"/>
              <a:gd name="connsiteY225" fmla="*/ 4166310 h 6858000"/>
              <a:gd name="connsiteX226" fmla="*/ 5547022 w 7467600"/>
              <a:gd name="connsiteY226" fmla="*/ 3607838 h 6858000"/>
              <a:gd name="connsiteX227" fmla="*/ 5515964 w 7467600"/>
              <a:gd name="connsiteY227" fmla="*/ 3378541 h 6858000"/>
              <a:gd name="connsiteX228" fmla="*/ 5453702 w 7467600"/>
              <a:gd name="connsiteY228" fmla="*/ 3090882 h 6858000"/>
              <a:gd name="connsiteX229" fmla="*/ 1238695 w 7467600"/>
              <a:gd name="connsiteY229" fmla="*/ 3076820 h 6858000"/>
              <a:gd name="connsiteX230" fmla="*/ 716371 w 7467600"/>
              <a:gd name="connsiteY230" fmla="*/ 3293249 h 6858000"/>
              <a:gd name="connsiteX231" fmla="*/ 579522 w 7467600"/>
              <a:gd name="connsiteY231" fmla="*/ 3371759 h 6858000"/>
              <a:gd name="connsiteX232" fmla="*/ 600288 w 7467600"/>
              <a:gd name="connsiteY232" fmla="*/ 3365555 h 6858000"/>
              <a:gd name="connsiteX233" fmla="*/ 840692 w 7467600"/>
              <a:gd name="connsiteY233" fmla="*/ 3284921 h 6858000"/>
              <a:gd name="connsiteX234" fmla="*/ 979248 w 7467600"/>
              <a:gd name="connsiteY234" fmla="*/ 3221003 h 6858000"/>
              <a:gd name="connsiteX235" fmla="*/ 1053282 w 7467600"/>
              <a:gd name="connsiteY235" fmla="*/ 3185247 h 6858000"/>
              <a:gd name="connsiteX236" fmla="*/ 1320603 w 7467600"/>
              <a:gd name="connsiteY236" fmla="*/ 3081281 h 6858000"/>
              <a:gd name="connsiteX237" fmla="*/ 1238695 w 7467600"/>
              <a:gd name="connsiteY237" fmla="*/ 3076820 h 6858000"/>
              <a:gd name="connsiteX238" fmla="*/ 5425627 w 7467600"/>
              <a:gd name="connsiteY238" fmla="*/ 2954192 h 6858000"/>
              <a:gd name="connsiteX239" fmla="*/ 5470770 w 7467600"/>
              <a:gd name="connsiteY239" fmla="*/ 3005435 h 6858000"/>
              <a:gd name="connsiteX240" fmla="*/ 5519779 w 7467600"/>
              <a:gd name="connsiteY240" fmla="*/ 4359223 h 6858000"/>
              <a:gd name="connsiteX241" fmla="*/ 5520293 w 7467600"/>
              <a:gd name="connsiteY241" fmla="*/ 4360602 h 6858000"/>
              <a:gd name="connsiteX242" fmla="*/ 5767221 w 7467600"/>
              <a:gd name="connsiteY242" fmla="*/ 4665564 h 6858000"/>
              <a:gd name="connsiteX243" fmla="*/ 6937169 w 7467600"/>
              <a:gd name="connsiteY243" fmla="*/ 4815941 h 6858000"/>
              <a:gd name="connsiteX244" fmla="*/ 6953922 w 7467600"/>
              <a:gd name="connsiteY244" fmla="*/ 4890068 h 6858000"/>
              <a:gd name="connsiteX245" fmla="*/ 6071359 w 7467600"/>
              <a:gd name="connsiteY245" fmla="*/ 4770770 h 6858000"/>
              <a:gd name="connsiteX246" fmla="*/ 6038839 w 7467600"/>
              <a:gd name="connsiteY246" fmla="*/ 4764474 h 6858000"/>
              <a:gd name="connsiteX247" fmla="*/ 6038706 w 7467600"/>
              <a:gd name="connsiteY247" fmla="*/ 4763847 h 6858000"/>
              <a:gd name="connsiteX248" fmla="*/ 6037784 w 7467600"/>
              <a:gd name="connsiteY248" fmla="*/ 4764270 h 6858000"/>
              <a:gd name="connsiteX249" fmla="*/ 6038839 w 7467600"/>
              <a:gd name="connsiteY249" fmla="*/ 4764474 h 6858000"/>
              <a:gd name="connsiteX250" fmla="*/ 6040338 w 7467600"/>
              <a:gd name="connsiteY250" fmla="*/ 4771418 h 6858000"/>
              <a:gd name="connsiteX251" fmla="*/ 6024488 w 7467600"/>
              <a:gd name="connsiteY251" fmla="*/ 4809903 h 6858000"/>
              <a:gd name="connsiteX252" fmla="*/ 5599771 w 7467600"/>
              <a:gd name="connsiteY252" fmla="*/ 5509652 h 6858000"/>
              <a:gd name="connsiteX253" fmla="*/ 5548843 w 7467600"/>
              <a:gd name="connsiteY253" fmla="*/ 5563845 h 6858000"/>
              <a:gd name="connsiteX254" fmla="*/ 5940952 w 7467600"/>
              <a:gd name="connsiteY254" fmla="*/ 6250028 h 6858000"/>
              <a:gd name="connsiteX255" fmla="*/ 6043441 w 7467600"/>
              <a:gd name="connsiteY255" fmla="*/ 6665847 h 6858000"/>
              <a:gd name="connsiteX256" fmla="*/ 6093432 w 7467600"/>
              <a:gd name="connsiteY256" fmla="*/ 6858000 h 6858000"/>
              <a:gd name="connsiteX257" fmla="*/ 6034344 w 7467600"/>
              <a:gd name="connsiteY257" fmla="*/ 6858000 h 6858000"/>
              <a:gd name="connsiteX258" fmla="*/ 6026679 w 7467600"/>
              <a:gd name="connsiteY258" fmla="*/ 6836959 h 6858000"/>
              <a:gd name="connsiteX259" fmla="*/ 5800441 w 7467600"/>
              <a:gd name="connsiteY259" fmla="*/ 6335286 h 6858000"/>
              <a:gd name="connsiteX260" fmla="*/ 5526562 w 7467600"/>
              <a:gd name="connsiteY260" fmla="*/ 5705388 h 6858000"/>
              <a:gd name="connsiteX261" fmla="*/ 5519640 w 7467600"/>
              <a:gd name="connsiteY261" fmla="*/ 5683774 h 6858000"/>
              <a:gd name="connsiteX262" fmla="*/ 5844559 w 7467600"/>
              <a:gd name="connsiteY262" fmla="*/ 6553349 h 6858000"/>
              <a:gd name="connsiteX263" fmla="*/ 5975994 w 7467600"/>
              <a:gd name="connsiteY263" fmla="*/ 6858000 h 6858000"/>
              <a:gd name="connsiteX264" fmla="*/ 5898547 w 7467600"/>
              <a:gd name="connsiteY264" fmla="*/ 6858000 h 6858000"/>
              <a:gd name="connsiteX265" fmla="*/ 5682041 w 7467600"/>
              <a:gd name="connsiteY265" fmla="*/ 6355860 h 6858000"/>
              <a:gd name="connsiteX266" fmla="*/ 5461758 w 7467600"/>
              <a:gd name="connsiteY266" fmla="*/ 5820220 h 6858000"/>
              <a:gd name="connsiteX267" fmla="*/ 5237282 w 7467600"/>
              <a:gd name="connsiteY267" fmla="*/ 6579086 h 6858000"/>
              <a:gd name="connsiteX268" fmla="*/ 5115009 w 7467600"/>
              <a:gd name="connsiteY268" fmla="*/ 6858000 h 6858000"/>
              <a:gd name="connsiteX269" fmla="*/ 5028074 w 7467600"/>
              <a:gd name="connsiteY269" fmla="*/ 6858000 h 6858000"/>
              <a:gd name="connsiteX270" fmla="*/ 5079508 w 7467600"/>
              <a:gd name="connsiteY270" fmla="*/ 6749074 h 6858000"/>
              <a:gd name="connsiteX271" fmla="*/ 5371846 w 7467600"/>
              <a:gd name="connsiteY271" fmla="*/ 5924413 h 6858000"/>
              <a:gd name="connsiteX272" fmla="*/ 5270512 w 7467600"/>
              <a:gd name="connsiteY272" fmla="*/ 6138975 h 6858000"/>
              <a:gd name="connsiteX273" fmla="*/ 5062409 w 7467600"/>
              <a:gd name="connsiteY273" fmla="*/ 6653544 h 6858000"/>
              <a:gd name="connsiteX274" fmla="*/ 5036628 w 7467600"/>
              <a:gd name="connsiteY274" fmla="*/ 6754247 h 6858000"/>
              <a:gd name="connsiteX275" fmla="*/ 5009112 w 7467600"/>
              <a:gd name="connsiteY275" fmla="*/ 6858000 h 6858000"/>
              <a:gd name="connsiteX276" fmla="*/ 4976679 w 7467600"/>
              <a:gd name="connsiteY276" fmla="*/ 6858000 h 6858000"/>
              <a:gd name="connsiteX277" fmla="*/ 5006537 w 7467600"/>
              <a:gd name="connsiteY277" fmla="*/ 6747068 h 6858000"/>
              <a:gd name="connsiteX278" fmla="*/ 5032723 w 7467600"/>
              <a:gd name="connsiteY278" fmla="*/ 6644957 h 6858000"/>
              <a:gd name="connsiteX279" fmla="*/ 5242949 w 7467600"/>
              <a:gd name="connsiteY279" fmla="*/ 6125175 h 6858000"/>
              <a:gd name="connsiteX280" fmla="*/ 5286321 w 7467600"/>
              <a:gd name="connsiteY280" fmla="*/ 6033555 h 6858000"/>
              <a:gd name="connsiteX281" fmla="*/ 5008210 w 7467600"/>
              <a:gd name="connsiteY281" fmla="*/ 6649194 h 6858000"/>
              <a:gd name="connsiteX282" fmla="*/ 4986321 w 7467600"/>
              <a:gd name="connsiteY282" fmla="*/ 6765687 h 6858000"/>
              <a:gd name="connsiteX283" fmla="*/ 4973474 w 7467600"/>
              <a:gd name="connsiteY283" fmla="*/ 6858000 h 6858000"/>
              <a:gd name="connsiteX284" fmla="*/ 4907178 w 7467600"/>
              <a:gd name="connsiteY284" fmla="*/ 6858000 h 6858000"/>
              <a:gd name="connsiteX285" fmla="*/ 4910810 w 7467600"/>
              <a:gd name="connsiteY285" fmla="*/ 6829660 h 6858000"/>
              <a:gd name="connsiteX286" fmla="*/ 4987461 w 7467600"/>
              <a:gd name="connsiteY286" fmla="*/ 6432994 h 6858000"/>
              <a:gd name="connsiteX287" fmla="*/ 5179262 w 7467600"/>
              <a:gd name="connsiteY287" fmla="*/ 6035044 h 6858000"/>
              <a:gd name="connsiteX288" fmla="*/ 4689678 w 7467600"/>
              <a:gd name="connsiteY288" fmla="*/ 6440241 h 6858000"/>
              <a:gd name="connsiteX289" fmla="*/ 4477543 w 7467600"/>
              <a:gd name="connsiteY289" fmla="*/ 6674836 h 6858000"/>
              <a:gd name="connsiteX290" fmla="*/ 4329957 w 7467600"/>
              <a:gd name="connsiteY290" fmla="*/ 6858000 h 6858000"/>
              <a:gd name="connsiteX291" fmla="*/ 4218595 w 7467600"/>
              <a:gd name="connsiteY291" fmla="*/ 6858000 h 6858000"/>
              <a:gd name="connsiteX292" fmla="*/ 4368888 w 7467600"/>
              <a:gd name="connsiteY292" fmla="*/ 6668412 h 6858000"/>
              <a:gd name="connsiteX293" fmla="*/ 4563091 w 7467600"/>
              <a:gd name="connsiteY293" fmla="*/ 6442508 h 6858000"/>
              <a:gd name="connsiteX294" fmla="*/ 5387324 w 7467600"/>
              <a:gd name="connsiteY294" fmla="*/ 5705830 h 6858000"/>
              <a:gd name="connsiteX295" fmla="*/ 5073620 w 7467600"/>
              <a:gd name="connsiteY295" fmla="*/ 5955437 h 6858000"/>
              <a:gd name="connsiteX296" fmla="*/ 4689789 w 7467600"/>
              <a:gd name="connsiteY296" fmla="*/ 6268382 h 6858000"/>
              <a:gd name="connsiteX297" fmla="*/ 4418722 w 7467600"/>
              <a:gd name="connsiteY297" fmla="*/ 6570886 h 6858000"/>
              <a:gd name="connsiteX298" fmla="*/ 4214944 w 7467600"/>
              <a:gd name="connsiteY298" fmla="*/ 6858000 h 6858000"/>
              <a:gd name="connsiteX299" fmla="*/ 4177898 w 7467600"/>
              <a:gd name="connsiteY299" fmla="*/ 6858000 h 6858000"/>
              <a:gd name="connsiteX300" fmla="*/ 4391597 w 7467600"/>
              <a:gd name="connsiteY300" fmla="*/ 6556370 h 6858000"/>
              <a:gd name="connsiteX301" fmla="*/ 4668889 w 7467600"/>
              <a:gd name="connsiteY301" fmla="*/ 6246399 h 6858000"/>
              <a:gd name="connsiteX302" fmla="*/ 5055427 w 7467600"/>
              <a:gd name="connsiteY302" fmla="*/ 5931476 h 6858000"/>
              <a:gd name="connsiteX303" fmla="*/ 5371814 w 7467600"/>
              <a:gd name="connsiteY303" fmla="*/ 5678975 h 6858000"/>
              <a:gd name="connsiteX304" fmla="*/ 4987918 w 7467600"/>
              <a:gd name="connsiteY304" fmla="*/ 5838701 h 6858000"/>
              <a:gd name="connsiteX305" fmla="*/ 4317146 w 7467600"/>
              <a:gd name="connsiteY305" fmla="*/ 6587716 h 6858000"/>
              <a:gd name="connsiteX306" fmla="*/ 4171627 w 7467600"/>
              <a:gd name="connsiteY306" fmla="*/ 6858000 h 6858000"/>
              <a:gd name="connsiteX307" fmla="*/ 4081585 w 7467600"/>
              <a:gd name="connsiteY307" fmla="*/ 6858000 h 6858000"/>
              <a:gd name="connsiteX308" fmla="*/ 4238603 w 7467600"/>
              <a:gd name="connsiteY308" fmla="*/ 6559341 h 6858000"/>
              <a:gd name="connsiteX309" fmla="*/ 4778333 w 7467600"/>
              <a:gd name="connsiteY309" fmla="*/ 5873626 h 6858000"/>
              <a:gd name="connsiteX310" fmla="*/ 5414185 w 7467600"/>
              <a:gd name="connsiteY310" fmla="*/ 5573882 h 6858000"/>
              <a:gd name="connsiteX311" fmla="*/ 5959648 w 7467600"/>
              <a:gd name="connsiteY311" fmla="*/ 4760797 h 6858000"/>
              <a:gd name="connsiteX312" fmla="*/ 5355019 w 7467600"/>
              <a:gd name="connsiteY312" fmla="*/ 4734672 h 6858000"/>
              <a:gd name="connsiteX313" fmla="*/ 5083565 w 7467600"/>
              <a:gd name="connsiteY313" fmla="*/ 5179121 h 6858000"/>
              <a:gd name="connsiteX314" fmla="*/ 4713577 w 7467600"/>
              <a:gd name="connsiteY314" fmla="*/ 5616803 h 6858000"/>
              <a:gd name="connsiteX315" fmla="*/ 3989559 w 7467600"/>
              <a:gd name="connsiteY315" fmla="*/ 6145945 h 6858000"/>
              <a:gd name="connsiteX316" fmla="*/ 3939824 w 7467600"/>
              <a:gd name="connsiteY316" fmla="*/ 6066900 h 6858000"/>
              <a:gd name="connsiteX317" fmla="*/ 4584537 w 7467600"/>
              <a:gd name="connsiteY317" fmla="*/ 5324826 h 6858000"/>
              <a:gd name="connsiteX318" fmla="*/ 5037105 w 7467600"/>
              <a:gd name="connsiteY318" fmla="*/ 5088765 h 6858000"/>
              <a:gd name="connsiteX319" fmla="*/ 5039930 w 7467600"/>
              <a:gd name="connsiteY319" fmla="*/ 5089585 h 6858000"/>
              <a:gd name="connsiteX320" fmla="*/ 5263764 w 7467600"/>
              <a:gd name="connsiteY320" fmla="*/ 4735525 h 6858000"/>
              <a:gd name="connsiteX321" fmla="*/ 4086300 w 7467600"/>
              <a:gd name="connsiteY321" fmla="*/ 4884599 h 6858000"/>
              <a:gd name="connsiteX322" fmla="*/ 4085485 w 7467600"/>
              <a:gd name="connsiteY322" fmla="*/ 4899070 h 6858000"/>
              <a:gd name="connsiteX323" fmla="*/ 3871915 w 7467600"/>
              <a:gd name="connsiteY323" fmla="*/ 5253645 h 6858000"/>
              <a:gd name="connsiteX324" fmla="*/ 3799374 w 7467600"/>
              <a:gd name="connsiteY324" fmla="*/ 5466127 h 6858000"/>
              <a:gd name="connsiteX325" fmla="*/ 3498850 w 7467600"/>
              <a:gd name="connsiteY325" fmla="*/ 6661888 h 6858000"/>
              <a:gd name="connsiteX326" fmla="*/ 3399216 w 7467600"/>
              <a:gd name="connsiteY326" fmla="*/ 6858000 h 6858000"/>
              <a:gd name="connsiteX327" fmla="*/ 3303688 w 7467600"/>
              <a:gd name="connsiteY327" fmla="*/ 6858000 h 6858000"/>
              <a:gd name="connsiteX328" fmla="*/ 3391774 w 7467600"/>
              <a:gd name="connsiteY328" fmla="*/ 6697181 h 6858000"/>
              <a:gd name="connsiteX329" fmla="*/ 3735540 w 7467600"/>
              <a:gd name="connsiteY329" fmla="*/ 5546923 h 6858000"/>
              <a:gd name="connsiteX330" fmla="*/ 3729438 w 7467600"/>
              <a:gd name="connsiteY330" fmla="*/ 5569058 h 6858000"/>
              <a:gd name="connsiteX331" fmla="*/ 3707782 w 7467600"/>
              <a:gd name="connsiteY331" fmla="*/ 5644908 h 6858000"/>
              <a:gd name="connsiteX332" fmla="*/ 3583827 w 7467600"/>
              <a:gd name="connsiteY332" fmla="*/ 6039215 h 6858000"/>
              <a:gd name="connsiteX333" fmla="*/ 3547861 w 7467600"/>
              <a:gd name="connsiteY333" fmla="*/ 6129609 h 6858000"/>
              <a:gd name="connsiteX334" fmla="*/ 3490905 w 7467600"/>
              <a:gd name="connsiteY334" fmla="*/ 6277660 h 6858000"/>
              <a:gd name="connsiteX335" fmla="*/ 3455859 w 7467600"/>
              <a:gd name="connsiteY335" fmla="*/ 6391301 h 6858000"/>
              <a:gd name="connsiteX336" fmla="*/ 3429112 w 7467600"/>
              <a:gd name="connsiteY336" fmla="*/ 6479469 h 6858000"/>
              <a:gd name="connsiteX337" fmla="*/ 3304862 w 7467600"/>
              <a:gd name="connsiteY337" fmla="*/ 6796476 h 6858000"/>
              <a:gd name="connsiteX338" fmla="*/ 3276071 w 7467600"/>
              <a:gd name="connsiteY338" fmla="*/ 6858000 h 6858000"/>
              <a:gd name="connsiteX339" fmla="*/ 3240805 w 7467600"/>
              <a:gd name="connsiteY339" fmla="*/ 6858000 h 6858000"/>
              <a:gd name="connsiteX340" fmla="*/ 3275917 w 7467600"/>
              <a:gd name="connsiteY340" fmla="*/ 6783192 h 6858000"/>
              <a:gd name="connsiteX341" fmla="*/ 3399358 w 7467600"/>
              <a:gd name="connsiteY341" fmla="*/ 6469011 h 6858000"/>
              <a:gd name="connsiteX342" fmla="*/ 3425650 w 7467600"/>
              <a:gd name="connsiteY342" fmla="*/ 6381333 h 6858000"/>
              <a:gd name="connsiteX343" fmla="*/ 3460661 w 7467600"/>
              <a:gd name="connsiteY343" fmla="*/ 6266763 h 6858000"/>
              <a:gd name="connsiteX344" fmla="*/ 3518021 w 7467600"/>
              <a:gd name="connsiteY344" fmla="*/ 6117298 h 6858000"/>
              <a:gd name="connsiteX345" fmla="*/ 3554035 w 7467600"/>
              <a:gd name="connsiteY345" fmla="*/ 6027832 h 6858000"/>
              <a:gd name="connsiteX346" fmla="*/ 3677174 w 7467600"/>
              <a:gd name="connsiteY346" fmla="*/ 5636351 h 6858000"/>
              <a:gd name="connsiteX347" fmla="*/ 3698819 w 7467600"/>
              <a:gd name="connsiteY347" fmla="*/ 5560503 h 6858000"/>
              <a:gd name="connsiteX348" fmla="*/ 3702094 w 7467600"/>
              <a:gd name="connsiteY348" fmla="*/ 5549194 h 6858000"/>
              <a:gd name="connsiteX349" fmla="*/ 3398355 w 7467600"/>
              <a:gd name="connsiteY349" fmla="*/ 6094603 h 6858000"/>
              <a:gd name="connsiteX350" fmla="*/ 3193941 w 7467600"/>
              <a:gd name="connsiteY350" fmla="*/ 6798775 h 6858000"/>
              <a:gd name="connsiteX351" fmla="*/ 3184140 w 7467600"/>
              <a:gd name="connsiteY351" fmla="*/ 6858000 h 6858000"/>
              <a:gd name="connsiteX352" fmla="*/ 3099978 w 7467600"/>
              <a:gd name="connsiteY352" fmla="*/ 6858000 h 6858000"/>
              <a:gd name="connsiteX353" fmla="*/ 3101556 w 7467600"/>
              <a:gd name="connsiteY353" fmla="*/ 6843337 h 6858000"/>
              <a:gd name="connsiteX354" fmla="*/ 3370162 w 7467600"/>
              <a:gd name="connsiteY354" fmla="*/ 5785550 h 6858000"/>
              <a:gd name="connsiteX355" fmla="*/ 3746477 w 7467600"/>
              <a:gd name="connsiteY355" fmla="*/ 5377889 h 6858000"/>
              <a:gd name="connsiteX356" fmla="*/ 3863399 w 7467600"/>
              <a:gd name="connsiteY356" fmla="*/ 5087257 h 6858000"/>
              <a:gd name="connsiteX357" fmla="*/ 3968712 w 7467600"/>
              <a:gd name="connsiteY357" fmla="*/ 4913989 h 6858000"/>
              <a:gd name="connsiteX358" fmla="*/ 2792390 w 7467600"/>
              <a:gd name="connsiteY358" fmla="*/ 5382974 h 6858000"/>
              <a:gd name="connsiteX359" fmla="*/ 2714982 w 7467600"/>
              <a:gd name="connsiteY359" fmla="*/ 5427051 h 6858000"/>
              <a:gd name="connsiteX360" fmla="*/ 2813361 w 7467600"/>
              <a:gd name="connsiteY360" fmla="*/ 6023912 h 6858000"/>
              <a:gd name="connsiteX361" fmla="*/ 2688430 w 7467600"/>
              <a:gd name="connsiteY361" fmla="*/ 6801564 h 6858000"/>
              <a:gd name="connsiteX362" fmla="*/ 2629626 w 7467600"/>
              <a:gd name="connsiteY362" fmla="*/ 6763394 h 6858000"/>
              <a:gd name="connsiteX363" fmla="*/ 2565328 w 7467600"/>
              <a:gd name="connsiteY363" fmla="*/ 5516399 h 6858000"/>
              <a:gd name="connsiteX364" fmla="*/ 1922999 w 7467600"/>
              <a:gd name="connsiteY364" fmla="*/ 5980343 h 6858000"/>
              <a:gd name="connsiteX365" fmla="*/ 1950261 w 7467600"/>
              <a:gd name="connsiteY365" fmla="*/ 6405858 h 6858000"/>
              <a:gd name="connsiteX366" fmla="*/ 2365554 w 7467600"/>
              <a:gd name="connsiteY366" fmla="*/ 6759107 h 6858000"/>
              <a:gd name="connsiteX367" fmla="*/ 2424142 w 7467600"/>
              <a:gd name="connsiteY367" fmla="*/ 6858000 h 6858000"/>
              <a:gd name="connsiteX368" fmla="*/ 2395994 w 7467600"/>
              <a:gd name="connsiteY368" fmla="*/ 6858000 h 6858000"/>
              <a:gd name="connsiteX369" fmla="*/ 2392863 w 7467600"/>
              <a:gd name="connsiteY369" fmla="*/ 6852964 h 6858000"/>
              <a:gd name="connsiteX370" fmla="*/ 2017589 w 7467600"/>
              <a:gd name="connsiteY370" fmla="*/ 6493982 h 6858000"/>
              <a:gd name="connsiteX371" fmla="*/ 2147336 w 7467600"/>
              <a:gd name="connsiteY371" fmla="*/ 6594052 h 6858000"/>
              <a:gd name="connsiteX372" fmla="*/ 2207047 w 7467600"/>
              <a:gd name="connsiteY372" fmla="*/ 6654540 h 6858000"/>
              <a:gd name="connsiteX373" fmla="*/ 2299106 w 7467600"/>
              <a:gd name="connsiteY373" fmla="*/ 6778931 h 6858000"/>
              <a:gd name="connsiteX374" fmla="*/ 2314430 w 7467600"/>
              <a:gd name="connsiteY374" fmla="*/ 6801144 h 6858000"/>
              <a:gd name="connsiteX375" fmla="*/ 2352406 w 7467600"/>
              <a:gd name="connsiteY375" fmla="*/ 6858000 h 6858000"/>
              <a:gd name="connsiteX376" fmla="*/ 2314492 w 7467600"/>
              <a:gd name="connsiteY376" fmla="*/ 6858000 h 6858000"/>
              <a:gd name="connsiteX377" fmla="*/ 2288095 w 7467600"/>
              <a:gd name="connsiteY377" fmla="*/ 6818030 h 6858000"/>
              <a:gd name="connsiteX378" fmla="*/ 2272768 w 7467600"/>
              <a:gd name="connsiteY378" fmla="*/ 6795822 h 6858000"/>
              <a:gd name="connsiteX379" fmla="*/ 2182715 w 7467600"/>
              <a:gd name="connsiteY379" fmla="*/ 6675071 h 6858000"/>
              <a:gd name="connsiteX380" fmla="*/ 2032061 w 7467600"/>
              <a:gd name="connsiteY380" fmla="*/ 6541380 h 6858000"/>
              <a:gd name="connsiteX381" fmla="*/ 2257220 w 7467600"/>
              <a:gd name="connsiteY381" fmla="*/ 6826257 h 6858000"/>
              <a:gd name="connsiteX382" fmla="*/ 2281324 w 7467600"/>
              <a:gd name="connsiteY382" fmla="*/ 6858000 h 6858000"/>
              <a:gd name="connsiteX383" fmla="*/ 2242860 w 7467600"/>
              <a:gd name="connsiteY383" fmla="*/ 6858000 h 6858000"/>
              <a:gd name="connsiteX384" fmla="*/ 2232818 w 7467600"/>
              <a:gd name="connsiteY384" fmla="*/ 6844926 h 6858000"/>
              <a:gd name="connsiteX385" fmla="*/ 1990172 w 7467600"/>
              <a:gd name="connsiteY385" fmla="*/ 6542121 h 6858000"/>
              <a:gd name="connsiteX386" fmla="*/ 2124090 w 7467600"/>
              <a:gd name="connsiteY386" fmla="*/ 6761017 h 6858000"/>
              <a:gd name="connsiteX387" fmla="*/ 2200380 w 7467600"/>
              <a:gd name="connsiteY387" fmla="*/ 6858000 h 6858000"/>
              <a:gd name="connsiteX388" fmla="*/ 2147507 w 7467600"/>
              <a:gd name="connsiteY388" fmla="*/ 6858000 h 6858000"/>
              <a:gd name="connsiteX389" fmla="*/ 2070668 w 7467600"/>
              <a:gd name="connsiteY389" fmla="*/ 6761520 h 6858000"/>
              <a:gd name="connsiteX390" fmla="*/ 1975142 w 7467600"/>
              <a:gd name="connsiteY390" fmla="*/ 6585570 h 6858000"/>
              <a:gd name="connsiteX391" fmla="*/ 2050035 w 7467600"/>
              <a:gd name="connsiteY391" fmla="*/ 6813345 h 6858000"/>
              <a:gd name="connsiteX392" fmla="*/ 2063025 w 7467600"/>
              <a:gd name="connsiteY392" fmla="*/ 6858000 h 6858000"/>
              <a:gd name="connsiteX393" fmla="*/ 2021675 w 7467600"/>
              <a:gd name="connsiteY393" fmla="*/ 6858000 h 6858000"/>
              <a:gd name="connsiteX394" fmla="*/ 2019308 w 7467600"/>
              <a:gd name="connsiteY394" fmla="*/ 6847118 h 6858000"/>
              <a:gd name="connsiteX395" fmla="*/ 1938835 w 7467600"/>
              <a:gd name="connsiteY395" fmla="*/ 6551160 h 6858000"/>
              <a:gd name="connsiteX396" fmla="*/ 1953230 w 7467600"/>
              <a:gd name="connsiteY396" fmla="*/ 6759699 h 6858000"/>
              <a:gd name="connsiteX397" fmla="*/ 1956763 w 7467600"/>
              <a:gd name="connsiteY397" fmla="*/ 6778191 h 6858000"/>
              <a:gd name="connsiteX398" fmla="*/ 1967925 w 7467600"/>
              <a:gd name="connsiteY398" fmla="*/ 6858000 h 6858000"/>
              <a:gd name="connsiteX399" fmla="*/ 1936622 w 7467600"/>
              <a:gd name="connsiteY399" fmla="*/ 6858000 h 6858000"/>
              <a:gd name="connsiteX400" fmla="*/ 1926261 w 7467600"/>
              <a:gd name="connsiteY400" fmla="*/ 6784064 h 6858000"/>
              <a:gd name="connsiteX401" fmla="*/ 1922724 w 7467600"/>
              <a:gd name="connsiteY401" fmla="*/ 6765577 h 6858000"/>
              <a:gd name="connsiteX402" fmla="*/ 1904650 w 7467600"/>
              <a:gd name="connsiteY402" fmla="*/ 6639616 h 6858000"/>
              <a:gd name="connsiteX403" fmla="*/ 1885273 w 7467600"/>
              <a:gd name="connsiteY403" fmla="*/ 6858000 h 6858000"/>
              <a:gd name="connsiteX404" fmla="*/ 1854363 w 7467600"/>
              <a:gd name="connsiteY404" fmla="*/ 6858000 h 6858000"/>
              <a:gd name="connsiteX405" fmla="*/ 1880391 w 7467600"/>
              <a:gd name="connsiteY405" fmla="*/ 6603796 h 6858000"/>
              <a:gd name="connsiteX406" fmla="*/ 1818273 w 7467600"/>
              <a:gd name="connsiteY406" fmla="*/ 6715729 h 6858000"/>
              <a:gd name="connsiteX407" fmla="*/ 1794691 w 7467600"/>
              <a:gd name="connsiteY407" fmla="*/ 6843239 h 6858000"/>
              <a:gd name="connsiteX408" fmla="*/ 1794914 w 7467600"/>
              <a:gd name="connsiteY408" fmla="*/ 6858000 h 6858000"/>
              <a:gd name="connsiteX409" fmla="*/ 1746128 w 7467600"/>
              <a:gd name="connsiteY409" fmla="*/ 6858000 h 6858000"/>
              <a:gd name="connsiteX410" fmla="*/ 1753934 w 7467600"/>
              <a:gd name="connsiteY410" fmla="*/ 6724796 h 6858000"/>
              <a:gd name="connsiteX411" fmla="*/ 1792053 w 7467600"/>
              <a:gd name="connsiteY411" fmla="*/ 6572396 h 6858000"/>
              <a:gd name="connsiteX412" fmla="*/ 1862248 w 7467600"/>
              <a:gd name="connsiteY412" fmla="*/ 6266397 h 6858000"/>
              <a:gd name="connsiteX413" fmla="*/ 1862250 w 7467600"/>
              <a:gd name="connsiteY413" fmla="*/ 6033531 h 6858000"/>
              <a:gd name="connsiteX414" fmla="*/ 1211999 w 7467600"/>
              <a:gd name="connsiteY414" fmla="*/ 6683610 h 6858000"/>
              <a:gd name="connsiteX415" fmla="*/ 1213266 w 7467600"/>
              <a:gd name="connsiteY415" fmla="*/ 6691947 h 6858000"/>
              <a:gd name="connsiteX416" fmla="*/ 1203370 w 7467600"/>
              <a:gd name="connsiteY416" fmla="*/ 6850676 h 6858000"/>
              <a:gd name="connsiteX417" fmla="*/ 1203671 w 7467600"/>
              <a:gd name="connsiteY417" fmla="*/ 6858000 h 6858000"/>
              <a:gd name="connsiteX418" fmla="*/ 1143180 w 7467600"/>
              <a:gd name="connsiteY418" fmla="*/ 6858000 h 6858000"/>
              <a:gd name="connsiteX419" fmla="*/ 1142176 w 7467600"/>
              <a:gd name="connsiteY419" fmla="*/ 6766045 h 6858000"/>
              <a:gd name="connsiteX420" fmla="*/ 1067484 w 7467600"/>
              <a:gd name="connsiteY420" fmla="*/ 6858000 h 6858000"/>
              <a:gd name="connsiteX421" fmla="*/ 953928 w 7467600"/>
              <a:gd name="connsiteY421" fmla="*/ 6858000 h 6858000"/>
              <a:gd name="connsiteX422" fmla="*/ 959715 w 7467600"/>
              <a:gd name="connsiteY422" fmla="*/ 6850185 h 6858000"/>
              <a:gd name="connsiteX423" fmla="*/ 1483788 w 7467600"/>
              <a:gd name="connsiteY423" fmla="*/ 6259174 h 6858000"/>
              <a:gd name="connsiteX424" fmla="*/ 1100671 w 7467600"/>
              <a:gd name="connsiteY424" fmla="*/ 6252137 h 6858000"/>
              <a:gd name="connsiteX425" fmla="*/ 1090144 w 7467600"/>
              <a:gd name="connsiteY425" fmla="*/ 6256748 h 6858000"/>
              <a:gd name="connsiteX426" fmla="*/ 1095872 w 7467600"/>
              <a:gd name="connsiteY426" fmla="*/ 6271892 h 6858000"/>
              <a:gd name="connsiteX427" fmla="*/ 262785 w 7467600"/>
              <a:gd name="connsiteY427" fmla="*/ 6845450 h 6858000"/>
              <a:gd name="connsiteX428" fmla="*/ 209968 w 7467600"/>
              <a:gd name="connsiteY428" fmla="*/ 6770713 h 6858000"/>
              <a:gd name="connsiteX429" fmla="*/ 873460 w 7467600"/>
              <a:gd name="connsiteY429" fmla="*/ 6253768 h 6858000"/>
              <a:gd name="connsiteX430" fmla="*/ 192686 w 7467600"/>
              <a:gd name="connsiteY430" fmla="*/ 5849257 h 6858000"/>
              <a:gd name="connsiteX431" fmla="*/ 4696 w 7467600"/>
              <a:gd name="connsiteY431" fmla="*/ 5697668 h 6858000"/>
              <a:gd name="connsiteX432" fmla="*/ 0 w 7467600"/>
              <a:gd name="connsiteY432" fmla="*/ 5689984 h 6858000"/>
              <a:gd name="connsiteX433" fmla="*/ 0 w 7467600"/>
              <a:gd name="connsiteY433" fmla="*/ 5513472 h 6858000"/>
              <a:gd name="connsiteX434" fmla="*/ 174101 w 7467600"/>
              <a:gd name="connsiteY434" fmla="*/ 5620277 h 6858000"/>
              <a:gd name="connsiteX435" fmla="*/ 891800 w 7467600"/>
              <a:gd name="connsiteY435" fmla="*/ 6036935 h 6858000"/>
              <a:gd name="connsiteX436" fmla="*/ 1072219 w 7467600"/>
              <a:gd name="connsiteY436" fmla="*/ 6169443 h 6858000"/>
              <a:gd name="connsiteX437" fmla="*/ 1074117 w 7467600"/>
              <a:gd name="connsiteY437" fmla="*/ 6170301 h 6858000"/>
              <a:gd name="connsiteX438" fmla="*/ 1083114 w 7467600"/>
              <a:gd name="connsiteY438" fmla="*/ 6174131 h 6858000"/>
              <a:gd name="connsiteX439" fmla="*/ 1543010 w 7467600"/>
              <a:gd name="connsiteY439" fmla="*/ 6191140 h 6858000"/>
              <a:gd name="connsiteX440" fmla="*/ 1551080 w 7467600"/>
              <a:gd name="connsiteY440" fmla="*/ 6195006 h 6858000"/>
              <a:gd name="connsiteX441" fmla="*/ 2345443 w 7467600"/>
              <a:gd name="connsiteY441" fmla="*/ 5549882 h 6858000"/>
              <a:gd name="connsiteX442" fmla="*/ 1721499 w 7467600"/>
              <a:gd name="connsiteY442" fmla="*/ 5599969 h 6858000"/>
              <a:gd name="connsiteX443" fmla="*/ 767716 w 7467600"/>
              <a:gd name="connsiteY443" fmla="*/ 5472768 h 6858000"/>
              <a:gd name="connsiteX444" fmla="*/ 722147 w 7467600"/>
              <a:gd name="connsiteY444" fmla="*/ 5393091 h 6858000"/>
              <a:gd name="connsiteX445" fmla="*/ 1485552 w 7467600"/>
              <a:gd name="connsiteY445" fmla="*/ 5313202 h 6858000"/>
              <a:gd name="connsiteX446" fmla="*/ 2143004 w 7467600"/>
              <a:gd name="connsiteY446" fmla="*/ 5402420 h 6858000"/>
              <a:gd name="connsiteX447" fmla="*/ 1933391 w 7467600"/>
              <a:gd name="connsiteY447" fmla="*/ 5156971 h 6858000"/>
              <a:gd name="connsiteX448" fmla="*/ 1827118 w 7467600"/>
              <a:gd name="connsiteY448" fmla="*/ 4968410 h 6858000"/>
              <a:gd name="connsiteX449" fmla="*/ 1837349 w 7467600"/>
              <a:gd name="connsiteY449" fmla="*/ 4956357 h 6858000"/>
              <a:gd name="connsiteX450" fmla="*/ 2162835 w 7467600"/>
              <a:gd name="connsiteY450" fmla="*/ 5187853 h 6858000"/>
              <a:gd name="connsiteX451" fmla="*/ 2257167 w 7467600"/>
              <a:gd name="connsiteY451" fmla="*/ 5462123 h 6858000"/>
              <a:gd name="connsiteX452" fmla="*/ 2261598 w 7467600"/>
              <a:gd name="connsiteY452" fmla="*/ 5467998 h 6858000"/>
              <a:gd name="connsiteX453" fmla="*/ 2437177 w 7467600"/>
              <a:gd name="connsiteY453" fmla="*/ 5479608 h 6858000"/>
              <a:gd name="connsiteX454" fmla="*/ 2445247 w 7467600"/>
              <a:gd name="connsiteY454" fmla="*/ 5483476 h 6858000"/>
              <a:gd name="connsiteX455" fmla="*/ 2743626 w 7467600"/>
              <a:gd name="connsiteY455" fmla="*/ 5304819 h 6858000"/>
              <a:gd name="connsiteX456" fmla="*/ 3048102 w 7467600"/>
              <a:gd name="connsiteY456" fmla="*/ 5150595 h 6858000"/>
              <a:gd name="connsiteX457" fmla="*/ 1799414 w 7467600"/>
              <a:gd name="connsiteY457" fmla="*/ 4694732 h 6858000"/>
              <a:gd name="connsiteX458" fmla="*/ 1771735 w 7467600"/>
              <a:gd name="connsiteY458" fmla="*/ 4619929 h 6858000"/>
              <a:gd name="connsiteX459" fmla="*/ 3104273 w 7467600"/>
              <a:gd name="connsiteY459" fmla="*/ 5076159 h 6858000"/>
              <a:gd name="connsiteX460" fmla="*/ 3113245 w 7467600"/>
              <a:gd name="connsiteY460" fmla="*/ 5090705 h 6858000"/>
              <a:gd name="connsiteX461" fmla="*/ 3126294 w 7467600"/>
              <a:gd name="connsiteY461" fmla="*/ 5114400 h 6858000"/>
              <a:gd name="connsiteX462" fmla="*/ 3937433 w 7467600"/>
              <a:gd name="connsiteY462" fmla="*/ 4830473 h 6858000"/>
              <a:gd name="connsiteX463" fmla="*/ 3590475 w 7467600"/>
              <a:gd name="connsiteY463" fmla="*/ 4597974 h 6858000"/>
              <a:gd name="connsiteX464" fmla="*/ 3100264 w 7467600"/>
              <a:gd name="connsiteY464" fmla="*/ 4579845 h 6858000"/>
              <a:gd name="connsiteX465" fmla="*/ 2183576 w 7467600"/>
              <a:gd name="connsiteY465" fmla="*/ 4227150 h 6858000"/>
              <a:gd name="connsiteX466" fmla="*/ 2151029 w 7467600"/>
              <a:gd name="connsiteY466" fmla="*/ 4146947 h 6858000"/>
              <a:gd name="connsiteX467" fmla="*/ 3563434 w 7467600"/>
              <a:gd name="connsiteY467" fmla="*/ 4469115 h 6858000"/>
              <a:gd name="connsiteX468" fmla="*/ 3177952 w 7467600"/>
              <a:gd name="connsiteY468" fmla="*/ 3657386 h 6858000"/>
              <a:gd name="connsiteX469" fmla="*/ 3189263 w 7467600"/>
              <a:gd name="connsiteY469" fmla="*/ 3625726 h 6858000"/>
              <a:gd name="connsiteX470" fmla="*/ 3560912 w 7467600"/>
              <a:gd name="connsiteY470" fmla="*/ 4079863 h 6858000"/>
              <a:gd name="connsiteX471" fmla="*/ 3626636 w 7467600"/>
              <a:gd name="connsiteY471" fmla="*/ 4512230 h 6858000"/>
              <a:gd name="connsiteX472" fmla="*/ 3653088 w 7467600"/>
              <a:gd name="connsiteY472" fmla="*/ 4521417 h 6858000"/>
              <a:gd name="connsiteX473" fmla="*/ 3988128 w 7467600"/>
              <a:gd name="connsiteY473" fmla="*/ 4817267 h 6858000"/>
              <a:gd name="connsiteX474" fmla="*/ 4830582 w 7467600"/>
              <a:gd name="connsiteY474" fmla="*/ 4676000 h 6858000"/>
              <a:gd name="connsiteX475" fmla="*/ 4830100 w 7467600"/>
              <a:gd name="connsiteY475" fmla="*/ 4675554 h 6858000"/>
              <a:gd name="connsiteX476" fmla="*/ 4036318 w 7467600"/>
              <a:gd name="connsiteY476" fmla="*/ 4147013 h 6858000"/>
              <a:gd name="connsiteX477" fmla="*/ 3432098 w 7467600"/>
              <a:gd name="connsiteY477" fmla="*/ 3537312 h 6858000"/>
              <a:gd name="connsiteX478" fmla="*/ 3446761 w 7467600"/>
              <a:gd name="connsiteY478" fmla="*/ 3461278 h 6858000"/>
              <a:gd name="connsiteX479" fmla="*/ 4419733 w 7467600"/>
              <a:gd name="connsiteY479" fmla="*/ 3963555 h 6858000"/>
              <a:gd name="connsiteX480" fmla="*/ 4781371 w 7467600"/>
              <a:gd name="connsiteY480" fmla="*/ 4458604 h 6858000"/>
              <a:gd name="connsiteX481" fmla="*/ 4780440 w 7467600"/>
              <a:gd name="connsiteY481" fmla="*/ 4470290 h 6858000"/>
              <a:gd name="connsiteX482" fmla="*/ 4898954 w 7467600"/>
              <a:gd name="connsiteY482" fmla="*/ 4662092 h 6858000"/>
              <a:gd name="connsiteX483" fmla="*/ 4900699 w 7467600"/>
              <a:gd name="connsiteY483" fmla="*/ 4670867 h 6858000"/>
              <a:gd name="connsiteX484" fmla="*/ 5714511 w 7467600"/>
              <a:gd name="connsiteY484" fmla="*/ 4663483 h 6858000"/>
              <a:gd name="connsiteX485" fmla="*/ 5464793 w 7467600"/>
              <a:gd name="connsiteY485" fmla="*/ 4393556 h 6858000"/>
              <a:gd name="connsiteX486" fmla="*/ 5461897 w 7467600"/>
              <a:gd name="connsiteY486" fmla="*/ 4390879 h 6858000"/>
              <a:gd name="connsiteX487" fmla="*/ 4294126 w 7467600"/>
              <a:gd name="connsiteY487" fmla="*/ 3303048 h 6858000"/>
              <a:gd name="connsiteX488" fmla="*/ 4305321 w 7467600"/>
              <a:gd name="connsiteY488" fmla="*/ 3256953 h 6858000"/>
              <a:gd name="connsiteX489" fmla="*/ 4949299 w 7467600"/>
              <a:gd name="connsiteY489" fmla="*/ 3766336 h 6858000"/>
              <a:gd name="connsiteX490" fmla="*/ 5291452 w 7467600"/>
              <a:gd name="connsiteY490" fmla="*/ 4076801 h 6858000"/>
              <a:gd name="connsiteX491" fmla="*/ 5434998 w 7467600"/>
              <a:gd name="connsiteY491" fmla="*/ 4254100 h 6858000"/>
              <a:gd name="connsiteX492" fmla="*/ 5351015 w 7467600"/>
              <a:gd name="connsiteY492" fmla="*/ 3760989 h 6858000"/>
              <a:gd name="connsiteX493" fmla="*/ 5413780 w 7467600"/>
              <a:gd name="connsiteY493" fmla="*/ 2966265 h 6858000"/>
              <a:gd name="connsiteX494" fmla="*/ 5425627 w 7467600"/>
              <a:gd name="connsiteY494" fmla="*/ 2954192 h 6858000"/>
              <a:gd name="connsiteX495" fmla="*/ 6604735 w 7467600"/>
              <a:gd name="connsiteY495" fmla="*/ 2041381 h 6858000"/>
              <a:gd name="connsiteX496" fmla="*/ 7204487 w 7467600"/>
              <a:gd name="connsiteY496" fmla="*/ 2742112 h 6858000"/>
              <a:gd name="connsiteX497" fmla="*/ 7131592 w 7467600"/>
              <a:gd name="connsiteY497" fmla="*/ 2672096 h 6858000"/>
              <a:gd name="connsiteX498" fmla="*/ 6996344 w 7467600"/>
              <a:gd name="connsiteY498" fmla="*/ 2518310 h 6858000"/>
              <a:gd name="connsiteX499" fmla="*/ 6735495 w 7467600"/>
              <a:gd name="connsiteY499" fmla="*/ 2196890 h 6858000"/>
              <a:gd name="connsiteX500" fmla="*/ 6721901 w 7467600"/>
              <a:gd name="connsiteY500" fmla="*/ 2179274 h 6858000"/>
              <a:gd name="connsiteX501" fmla="*/ 6604735 w 7467600"/>
              <a:gd name="connsiteY501" fmla="*/ 2041381 h 6858000"/>
              <a:gd name="connsiteX502" fmla="*/ 6591670 w 7467600"/>
              <a:gd name="connsiteY502" fmla="*/ 1988277 h 6858000"/>
              <a:gd name="connsiteX503" fmla="*/ 6747349 w 7467600"/>
              <a:gd name="connsiteY503" fmla="*/ 2160069 h 6858000"/>
              <a:gd name="connsiteX504" fmla="*/ 6760943 w 7467600"/>
              <a:gd name="connsiteY504" fmla="*/ 2177686 h 6858000"/>
              <a:gd name="connsiteX505" fmla="*/ 7021065 w 7467600"/>
              <a:gd name="connsiteY505" fmla="*/ 2498102 h 6858000"/>
              <a:gd name="connsiteX506" fmla="*/ 7155223 w 7467600"/>
              <a:gd name="connsiteY506" fmla="*/ 2650386 h 6858000"/>
              <a:gd name="connsiteX507" fmla="*/ 7203167 w 7467600"/>
              <a:gd name="connsiteY507" fmla="*/ 2697288 h 6858000"/>
              <a:gd name="connsiteX508" fmla="*/ 6937703 w 7467600"/>
              <a:gd name="connsiteY508" fmla="*/ 2321981 h 6858000"/>
              <a:gd name="connsiteX509" fmla="*/ 6591670 w 7467600"/>
              <a:gd name="connsiteY509" fmla="*/ 1988277 h 6858000"/>
              <a:gd name="connsiteX510" fmla="*/ 5798671 w 7467600"/>
              <a:gd name="connsiteY510" fmla="*/ 1981601 h 6858000"/>
              <a:gd name="connsiteX511" fmla="*/ 5754709 w 7467600"/>
              <a:gd name="connsiteY511" fmla="*/ 2071454 h 6858000"/>
              <a:gd name="connsiteX512" fmla="*/ 5763044 w 7467600"/>
              <a:gd name="connsiteY512" fmla="*/ 2842206 h 6858000"/>
              <a:gd name="connsiteX513" fmla="*/ 5764974 w 7467600"/>
              <a:gd name="connsiteY513" fmla="*/ 2799609 h 6858000"/>
              <a:gd name="connsiteX514" fmla="*/ 5767665 w 7467600"/>
              <a:gd name="connsiteY514" fmla="*/ 2666409 h 6858000"/>
              <a:gd name="connsiteX515" fmla="*/ 5763055 w 7467600"/>
              <a:gd name="connsiteY515" fmla="*/ 2579705 h 6858000"/>
              <a:gd name="connsiteX516" fmla="*/ 5758079 w 7467600"/>
              <a:gd name="connsiteY516" fmla="*/ 2492508 h 6858000"/>
              <a:gd name="connsiteX517" fmla="*/ 5779325 w 7467600"/>
              <a:gd name="connsiteY517" fmla="*/ 2197069 h 6858000"/>
              <a:gd name="connsiteX518" fmla="*/ 5798671 w 7467600"/>
              <a:gd name="connsiteY518" fmla="*/ 1981601 h 6858000"/>
              <a:gd name="connsiteX519" fmla="*/ 5829202 w 7467600"/>
              <a:gd name="connsiteY519" fmla="*/ 1971679 h 6858000"/>
              <a:gd name="connsiteX520" fmla="*/ 5809558 w 7467600"/>
              <a:gd name="connsiteY520" fmla="*/ 2198043 h 6858000"/>
              <a:gd name="connsiteX521" fmla="*/ 5788653 w 7467600"/>
              <a:gd name="connsiteY521" fmla="*/ 2489430 h 6858000"/>
              <a:gd name="connsiteX522" fmla="*/ 5793439 w 7467600"/>
              <a:gd name="connsiteY522" fmla="*/ 2575235 h 6858000"/>
              <a:gd name="connsiteX523" fmla="*/ 5796837 w 7467600"/>
              <a:gd name="connsiteY523" fmla="*/ 2637633 h 6858000"/>
              <a:gd name="connsiteX524" fmla="*/ 5818614 w 7467600"/>
              <a:gd name="connsiteY524" fmla="*/ 2473055 h 6858000"/>
              <a:gd name="connsiteX525" fmla="*/ 5829202 w 7467600"/>
              <a:gd name="connsiteY525" fmla="*/ 1971679 h 6858000"/>
              <a:gd name="connsiteX526" fmla="*/ 5911389 w 7467600"/>
              <a:gd name="connsiteY526" fmla="*/ 1898371 h 6858000"/>
              <a:gd name="connsiteX527" fmla="*/ 6237627 w 7467600"/>
              <a:gd name="connsiteY527" fmla="*/ 2231921 h 6858000"/>
              <a:gd name="connsiteX528" fmla="*/ 5911389 w 7467600"/>
              <a:gd name="connsiteY528" fmla="*/ 1898371 h 6858000"/>
              <a:gd name="connsiteX529" fmla="*/ 6944437 w 7467600"/>
              <a:gd name="connsiteY529" fmla="*/ 1575402 h 6858000"/>
              <a:gd name="connsiteX530" fmla="*/ 6304730 w 7467600"/>
              <a:gd name="connsiteY530" fmla="*/ 1766654 h 6858000"/>
              <a:gd name="connsiteX531" fmla="*/ 6944437 w 7467600"/>
              <a:gd name="connsiteY531" fmla="*/ 1575402 h 6858000"/>
              <a:gd name="connsiteX532" fmla="*/ 7019523 w 7467600"/>
              <a:gd name="connsiteY532" fmla="*/ 1519450 h 6858000"/>
              <a:gd name="connsiteX533" fmla="*/ 6298091 w 7467600"/>
              <a:gd name="connsiteY533" fmla="*/ 1737122 h 6858000"/>
              <a:gd name="connsiteX534" fmla="*/ 7019523 w 7467600"/>
              <a:gd name="connsiteY534" fmla="*/ 1519450 h 6858000"/>
              <a:gd name="connsiteX535" fmla="*/ 2399523 w 7467600"/>
              <a:gd name="connsiteY535" fmla="*/ 1428234 h 6858000"/>
              <a:gd name="connsiteX536" fmla="*/ 2224982 w 7467600"/>
              <a:gd name="connsiteY536" fmla="*/ 1826201 h 6858000"/>
              <a:gd name="connsiteX537" fmla="*/ 2096099 w 7467600"/>
              <a:gd name="connsiteY537" fmla="*/ 2345900 h 6858000"/>
              <a:gd name="connsiteX538" fmla="*/ 2283317 w 7467600"/>
              <a:gd name="connsiteY538" fmla="*/ 1796925 h 6858000"/>
              <a:gd name="connsiteX539" fmla="*/ 2399523 w 7467600"/>
              <a:gd name="connsiteY539" fmla="*/ 1428234 h 6858000"/>
              <a:gd name="connsiteX540" fmla="*/ 2448558 w 7467600"/>
              <a:gd name="connsiteY540" fmla="*/ 1373435 h 6858000"/>
              <a:gd name="connsiteX541" fmla="*/ 2312521 w 7467600"/>
              <a:gd name="connsiteY541" fmla="*/ 1806140 h 6858000"/>
              <a:gd name="connsiteX542" fmla="*/ 2127533 w 7467600"/>
              <a:gd name="connsiteY542" fmla="*/ 2348380 h 6858000"/>
              <a:gd name="connsiteX543" fmla="*/ 2358080 w 7467600"/>
              <a:gd name="connsiteY543" fmla="*/ 1866134 h 6858000"/>
              <a:gd name="connsiteX544" fmla="*/ 2407436 w 7467600"/>
              <a:gd name="connsiteY544" fmla="*/ 1651070 h 6858000"/>
              <a:gd name="connsiteX545" fmla="*/ 2448558 w 7467600"/>
              <a:gd name="connsiteY545" fmla="*/ 1373435 h 6858000"/>
              <a:gd name="connsiteX546" fmla="*/ 278707 w 7467600"/>
              <a:gd name="connsiteY546" fmla="*/ 1352270 h 6858000"/>
              <a:gd name="connsiteX547" fmla="*/ 321570 w 7467600"/>
              <a:gd name="connsiteY547" fmla="*/ 1861610 h 6858000"/>
              <a:gd name="connsiteX548" fmla="*/ 294281 w 7467600"/>
              <a:gd name="connsiteY548" fmla="*/ 1440658 h 6858000"/>
              <a:gd name="connsiteX549" fmla="*/ 278707 w 7467600"/>
              <a:gd name="connsiteY549" fmla="*/ 1352270 h 6858000"/>
              <a:gd name="connsiteX550" fmla="*/ 1423821 w 7467600"/>
              <a:gd name="connsiteY550" fmla="*/ 1351958 h 6858000"/>
              <a:gd name="connsiteX551" fmla="*/ 1638521 w 7467600"/>
              <a:gd name="connsiteY551" fmla="*/ 1908470 h 6858000"/>
              <a:gd name="connsiteX552" fmla="*/ 1754199 w 7467600"/>
              <a:gd name="connsiteY552" fmla="*/ 2149284 h 6858000"/>
              <a:gd name="connsiteX553" fmla="*/ 1908359 w 7467600"/>
              <a:gd name="connsiteY553" fmla="*/ 2364988 h 6858000"/>
              <a:gd name="connsiteX554" fmla="*/ 1647661 w 7467600"/>
              <a:gd name="connsiteY554" fmla="*/ 1825945 h 6858000"/>
              <a:gd name="connsiteX555" fmla="*/ 1423821 w 7467600"/>
              <a:gd name="connsiteY555" fmla="*/ 1351958 h 6858000"/>
              <a:gd name="connsiteX556" fmla="*/ 1431890 w 7467600"/>
              <a:gd name="connsiteY556" fmla="*/ 1306475 h 6858000"/>
              <a:gd name="connsiteX557" fmla="*/ 1507597 w 7467600"/>
              <a:gd name="connsiteY557" fmla="*/ 1446132 h 6858000"/>
              <a:gd name="connsiteX558" fmla="*/ 1674586 w 7467600"/>
              <a:gd name="connsiteY558" fmla="*/ 1813832 h 6858000"/>
              <a:gd name="connsiteX559" fmla="*/ 1815950 w 7467600"/>
              <a:gd name="connsiteY559" fmla="*/ 2128564 h 6858000"/>
              <a:gd name="connsiteX560" fmla="*/ 1984242 w 7467600"/>
              <a:gd name="connsiteY560" fmla="*/ 2430829 h 6858000"/>
              <a:gd name="connsiteX561" fmla="*/ 2014023 w 7467600"/>
              <a:gd name="connsiteY561" fmla="*/ 2450995 h 6858000"/>
              <a:gd name="connsiteX562" fmla="*/ 1747337 w 7467600"/>
              <a:gd name="connsiteY562" fmla="*/ 1855264 h 6858000"/>
              <a:gd name="connsiteX563" fmla="*/ 1533749 w 7467600"/>
              <a:gd name="connsiteY563" fmla="*/ 1478656 h 6858000"/>
              <a:gd name="connsiteX564" fmla="*/ 1431890 w 7467600"/>
              <a:gd name="connsiteY564" fmla="*/ 1306475 h 6858000"/>
              <a:gd name="connsiteX565" fmla="*/ 5052692 w 7467600"/>
              <a:gd name="connsiteY565" fmla="*/ 1292994 h 6858000"/>
              <a:gd name="connsiteX566" fmla="*/ 5200661 w 7467600"/>
              <a:gd name="connsiteY566" fmla="*/ 1635186 h 6858000"/>
              <a:gd name="connsiteX567" fmla="*/ 5297138 w 7467600"/>
              <a:gd name="connsiteY567" fmla="*/ 1906351 h 6858000"/>
              <a:gd name="connsiteX568" fmla="*/ 5052692 w 7467600"/>
              <a:gd name="connsiteY568" fmla="*/ 1292994 h 6858000"/>
              <a:gd name="connsiteX569" fmla="*/ 5009948 w 7467600"/>
              <a:gd name="connsiteY569" fmla="*/ 1273619 h 6858000"/>
              <a:gd name="connsiteX570" fmla="*/ 5121777 w 7467600"/>
              <a:gd name="connsiteY570" fmla="*/ 1654213 h 6858000"/>
              <a:gd name="connsiteX571" fmla="*/ 5293545 w 7467600"/>
              <a:gd name="connsiteY571" fmla="*/ 2072247 h 6858000"/>
              <a:gd name="connsiteX572" fmla="*/ 5294042 w 7467600"/>
              <a:gd name="connsiteY572" fmla="*/ 2065019 h 6858000"/>
              <a:gd name="connsiteX573" fmla="*/ 5171936 w 7467600"/>
              <a:gd name="connsiteY573" fmla="*/ 1647613 h 6858000"/>
              <a:gd name="connsiteX574" fmla="*/ 5009948 w 7467600"/>
              <a:gd name="connsiteY574" fmla="*/ 1273619 h 6858000"/>
              <a:gd name="connsiteX575" fmla="*/ 655236 w 7467600"/>
              <a:gd name="connsiteY575" fmla="*/ 1268632 h 6858000"/>
              <a:gd name="connsiteX576" fmla="*/ 839521 w 7467600"/>
              <a:gd name="connsiteY576" fmla="*/ 1685315 h 6858000"/>
              <a:gd name="connsiteX577" fmla="*/ 1109416 w 7467600"/>
              <a:gd name="connsiteY577" fmla="*/ 2061663 h 6858000"/>
              <a:gd name="connsiteX578" fmla="*/ 1298300 w 7467600"/>
              <a:gd name="connsiteY578" fmla="*/ 2247742 h 6858000"/>
              <a:gd name="connsiteX579" fmla="*/ 1125871 w 7467600"/>
              <a:gd name="connsiteY579" fmla="*/ 1989513 h 6858000"/>
              <a:gd name="connsiteX580" fmla="*/ 981574 w 7467600"/>
              <a:gd name="connsiteY580" fmla="*/ 1783157 h 6858000"/>
              <a:gd name="connsiteX581" fmla="*/ 922198 w 7467600"/>
              <a:gd name="connsiteY581" fmla="*/ 1677437 h 6858000"/>
              <a:gd name="connsiteX582" fmla="*/ 869293 w 7467600"/>
              <a:gd name="connsiteY582" fmla="*/ 1583214 h 6858000"/>
              <a:gd name="connsiteX583" fmla="*/ 751431 w 7467600"/>
              <a:gd name="connsiteY583" fmla="*/ 1405731 h 6858000"/>
              <a:gd name="connsiteX584" fmla="*/ 655236 w 7467600"/>
              <a:gd name="connsiteY584" fmla="*/ 1268632 h 6858000"/>
              <a:gd name="connsiteX585" fmla="*/ 6516292 w 7467600"/>
              <a:gd name="connsiteY585" fmla="*/ 1263064 h 6858000"/>
              <a:gd name="connsiteX586" fmla="*/ 5736320 w 7467600"/>
              <a:gd name="connsiteY586" fmla="*/ 1501803 h 6858000"/>
              <a:gd name="connsiteX587" fmla="*/ 6516292 w 7467600"/>
              <a:gd name="connsiteY587" fmla="*/ 1263064 h 6858000"/>
              <a:gd name="connsiteX588" fmla="*/ 291466 w 7467600"/>
              <a:gd name="connsiteY588" fmla="*/ 1250369 h 6858000"/>
              <a:gd name="connsiteX589" fmla="*/ 323180 w 7467600"/>
              <a:gd name="connsiteY589" fmla="*/ 1435283 h 6858000"/>
              <a:gd name="connsiteX590" fmla="*/ 349381 w 7467600"/>
              <a:gd name="connsiteY590" fmla="*/ 1875041 h 6858000"/>
              <a:gd name="connsiteX591" fmla="*/ 374363 w 7467600"/>
              <a:gd name="connsiteY591" fmla="*/ 1506494 h 6858000"/>
              <a:gd name="connsiteX592" fmla="*/ 302168 w 7467600"/>
              <a:gd name="connsiteY592" fmla="*/ 1274495 h 6858000"/>
              <a:gd name="connsiteX593" fmla="*/ 291466 w 7467600"/>
              <a:gd name="connsiteY593" fmla="*/ 1250369 h 6858000"/>
              <a:gd name="connsiteX594" fmla="*/ 678222 w 7467600"/>
              <a:gd name="connsiteY594" fmla="*/ 1248670 h 6858000"/>
              <a:gd name="connsiteX595" fmla="*/ 775536 w 7467600"/>
              <a:gd name="connsiteY595" fmla="*/ 1388015 h 6858000"/>
              <a:gd name="connsiteX596" fmla="*/ 894529 w 7467600"/>
              <a:gd name="connsiteY596" fmla="*/ 1567739 h 6858000"/>
              <a:gd name="connsiteX597" fmla="*/ 948000 w 7467600"/>
              <a:gd name="connsiteY597" fmla="*/ 1663088 h 6858000"/>
              <a:gd name="connsiteX598" fmla="*/ 1006812 w 7467600"/>
              <a:gd name="connsiteY598" fmla="*/ 1767683 h 6858000"/>
              <a:gd name="connsiteX599" fmla="*/ 1149133 w 7467600"/>
              <a:gd name="connsiteY599" fmla="*/ 1971513 h 6858000"/>
              <a:gd name="connsiteX600" fmla="*/ 1333952 w 7467600"/>
              <a:gd name="connsiteY600" fmla="*/ 2251620 h 6858000"/>
              <a:gd name="connsiteX601" fmla="*/ 1337329 w 7467600"/>
              <a:gd name="connsiteY601" fmla="*/ 2258350 h 6858000"/>
              <a:gd name="connsiteX602" fmla="*/ 1014726 w 7467600"/>
              <a:gd name="connsiteY602" fmla="*/ 1615556 h 6858000"/>
              <a:gd name="connsiteX603" fmla="*/ 678222 w 7467600"/>
              <a:gd name="connsiteY603" fmla="*/ 1248670 h 6858000"/>
              <a:gd name="connsiteX604" fmla="*/ 6691602 w 7467600"/>
              <a:gd name="connsiteY604" fmla="*/ 1140573 h 6858000"/>
              <a:gd name="connsiteX605" fmla="*/ 6571100 w 7467600"/>
              <a:gd name="connsiteY605" fmla="*/ 1183662 h 6858000"/>
              <a:gd name="connsiteX606" fmla="*/ 6241687 w 7467600"/>
              <a:gd name="connsiteY606" fmla="*/ 1257600 h 6858000"/>
              <a:gd name="connsiteX607" fmla="*/ 5693009 w 7467600"/>
              <a:gd name="connsiteY607" fmla="*/ 1478256 h 6858000"/>
              <a:gd name="connsiteX608" fmla="*/ 6548420 w 7467600"/>
              <a:gd name="connsiteY608" fmla="*/ 1214599 h 6858000"/>
              <a:gd name="connsiteX609" fmla="*/ 6605473 w 7467600"/>
              <a:gd name="connsiteY609" fmla="*/ 1184686 h 6858000"/>
              <a:gd name="connsiteX610" fmla="*/ 6691602 w 7467600"/>
              <a:gd name="connsiteY610" fmla="*/ 1140573 h 6858000"/>
              <a:gd name="connsiteX611" fmla="*/ 4002475 w 7467600"/>
              <a:gd name="connsiteY611" fmla="*/ 1037802 h 6858000"/>
              <a:gd name="connsiteX612" fmla="*/ 4000324 w 7467600"/>
              <a:gd name="connsiteY612" fmla="*/ 1039362 h 6858000"/>
              <a:gd name="connsiteX613" fmla="*/ 4002862 w 7467600"/>
              <a:gd name="connsiteY613" fmla="*/ 1042866 h 6858000"/>
              <a:gd name="connsiteX614" fmla="*/ 4002475 w 7467600"/>
              <a:gd name="connsiteY614" fmla="*/ 1037802 h 6858000"/>
              <a:gd name="connsiteX615" fmla="*/ 506322 w 7467600"/>
              <a:gd name="connsiteY615" fmla="*/ 1020997 h 6858000"/>
              <a:gd name="connsiteX616" fmla="*/ 533068 w 7467600"/>
              <a:gd name="connsiteY616" fmla="*/ 1029409 h 6858000"/>
              <a:gd name="connsiteX617" fmla="*/ 1232525 w 7467600"/>
              <a:gd name="connsiteY617" fmla="*/ 1804675 h 6858000"/>
              <a:gd name="connsiteX618" fmla="*/ 1388858 w 7467600"/>
              <a:gd name="connsiteY618" fmla="*/ 2368011 h 6858000"/>
              <a:gd name="connsiteX619" fmla="*/ 1384098 w 7467600"/>
              <a:gd name="connsiteY619" fmla="*/ 2378125 h 6858000"/>
              <a:gd name="connsiteX620" fmla="*/ 1425393 w 7467600"/>
              <a:gd name="connsiteY620" fmla="*/ 2589124 h 6858000"/>
              <a:gd name="connsiteX621" fmla="*/ 1424001 w 7467600"/>
              <a:gd name="connsiteY621" fmla="*/ 2597541 h 6858000"/>
              <a:gd name="connsiteX622" fmla="*/ 2152729 w 7467600"/>
              <a:gd name="connsiteY622" fmla="*/ 2864487 h 6858000"/>
              <a:gd name="connsiteX623" fmla="*/ 2020609 w 7467600"/>
              <a:gd name="connsiteY623" fmla="*/ 2539671 h 6858000"/>
              <a:gd name="connsiteX624" fmla="*/ 2018920 w 7467600"/>
              <a:gd name="connsiteY624" fmla="*/ 2536309 h 6858000"/>
              <a:gd name="connsiteX625" fmla="*/ 1342441 w 7467600"/>
              <a:gd name="connsiteY625" fmla="*/ 1173017 h 6858000"/>
              <a:gd name="connsiteX626" fmla="*/ 1367925 w 7467600"/>
              <a:gd name="connsiteY626" fmla="*/ 1135648 h 6858000"/>
              <a:gd name="connsiteX627" fmla="*/ 1771401 w 7467600"/>
              <a:gd name="connsiteY627" fmla="*/ 1806673 h 6858000"/>
              <a:gd name="connsiteX628" fmla="*/ 1972385 w 7467600"/>
              <a:gd name="connsiteY628" fmla="*/ 2198735 h 6858000"/>
              <a:gd name="connsiteX629" fmla="*/ 2040892 w 7467600"/>
              <a:gd name="connsiteY629" fmla="*/ 2405205 h 6858000"/>
              <a:gd name="connsiteX630" fmla="*/ 2131689 w 7467600"/>
              <a:gd name="connsiteY630" fmla="*/ 1936926 h 6858000"/>
              <a:gd name="connsiteX631" fmla="*/ 2454820 w 7467600"/>
              <a:gd name="connsiteY631" fmla="*/ 1248808 h 6858000"/>
              <a:gd name="connsiteX632" fmla="*/ 2492512 w 7467600"/>
              <a:gd name="connsiteY632" fmla="*/ 1302920 h 6858000"/>
              <a:gd name="connsiteX633" fmla="*/ 2081216 w 7467600"/>
              <a:gd name="connsiteY633" fmla="*/ 2527513 h 6858000"/>
              <a:gd name="connsiteX634" fmla="*/ 2081211 w 7467600"/>
              <a:gd name="connsiteY634" fmla="*/ 2528916 h 6858000"/>
              <a:gd name="connsiteX635" fmla="*/ 2199067 w 7467600"/>
              <a:gd name="connsiteY635" fmla="*/ 2884061 h 6858000"/>
              <a:gd name="connsiteX636" fmla="*/ 3192586 w 7467600"/>
              <a:gd name="connsiteY636" fmla="*/ 3411496 h 6858000"/>
              <a:gd name="connsiteX637" fmla="*/ 3182620 w 7467600"/>
              <a:gd name="connsiteY637" fmla="*/ 3483279 h 6858000"/>
              <a:gd name="connsiteX638" fmla="*/ 2435119 w 7467600"/>
              <a:gd name="connsiteY638" fmla="*/ 3080173 h 6858000"/>
              <a:gd name="connsiteX639" fmla="*/ 2410152 w 7467600"/>
              <a:gd name="connsiteY639" fmla="*/ 3063751 h 6858000"/>
              <a:gd name="connsiteX640" fmla="*/ 2408099 w 7467600"/>
              <a:gd name="connsiteY640" fmla="*/ 3064403 h 6858000"/>
              <a:gd name="connsiteX641" fmla="*/ 2407218 w 7467600"/>
              <a:gd name="connsiteY641" fmla="*/ 3070324 h 6858000"/>
              <a:gd name="connsiteX642" fmla="*/ 2380138 w 7467600"/>
              <a:gd name="connsiteY642" fmla="*/ 3099341 h 6858000"/>
              <a:gd name="connsiteX643" fmla="*/ 1765923 w 7467600"/>
              <a:gd name="connsiteY643" fmla="*/ 3581043 h 6858000"/>
              <a:gd name="connsiteX644" fmla="*/ 1702258 w 7467600"/>
              <a:gd name="connsiteY644" fmla="*/ 3612286 h 6858000"/>
              <a:gd name="connsiteX645" fmla="*/ 1538370 w 7467600"/>
              <a:gd name="connsiteY645" fmla="*/ 3811804 h 6858000"/>
              <a:gd name="connsiteX646" fmla="*/ 542867 w 7467600"/>
              <a:gd name="connsiteY646" fmla="*/ 4944092 h 6858000"/>
              <a:gd name="connsiteX647" fmla="*/ 515800 w 7467600"/>
              <a:gd name="connsiteY647" fmla="*/ 4862180 h 6858000"/>
              <a:gd name="connsiteX648" fmla="*/ 909145 w 7467600"/>
              <a:gd name="connsiteY648" fmla="*/ 4199225 h 6858000"/>
              <a:gd name="connsiteX649" fmla="*/ 1214067 w 7467600"/>
              <a:gd name="connsiteY649" fmla="*/ 3908561 h 6858000"/>
              <a:gd name="connsiteX650" fmla="*/ 640967 w 7467600"/>
              <a:gd name="connsiteY650" fmla="*/ 4105601 h 6858000"/>
              <a:gd name="connsiteX651" fmla="*/ 112563 w 7467600"/>
              <a:gd name="connsiteY651" fmla="*/ 4396952 h 6858000"/>
              <a:gd name="connsiteX652" fmla="*/ 0 w 7467600"/>
              <a:gd name="connsiteY652" fmla="*/ 4466006 h 6858000"/>
              <a:gd name="connsiteX653" fmla="*/ 0 w 7467600"/>
              <a:gd name="connsiteY653" fmla="*/ 4233763 h 6858000"/>
              <a:gd name="connsiteX654" fmla="*/ 36881 w 7467600"/>
              <a:gd name="connsiteY654" fmla="*/ 4200118 h 6858000"/>
              <a:gd name="connsiteX655" fmla="*/ 910534 w 7467600"/>
              <a:gd name="connsiteY655" fmla="*/ 3629753 h 6858000"/>
              <a:gd name="connsiteX656" fmla="*/ 1578717 w 7467600"/>
              <a:gd name="connsiteY656" fmla="*/ 3575982 h 6858000"/>
              <a:gd name="connsiteX657" fmla="*/ 2338780 w 7467600"/>
              <a:gd name="connsiteY657" fmla="*/ 3033725 h 6858000"/>
              <a:gd name="connsiteX658" fmla="*/ 1807991 w 7467600"/>
              <a:gd name="connsiteY658" fmla="*/ 2807184 h 6858000"/>
              <a:gd name="connsiteX659" fmla="*/ 1416358 w 7467600"/>
              <a:gd name="connsiteY659" fmla="*/ 3112571 h 6858000"/>
              <a:gd name="connsiteX660" fmla="*/ 939066 w 7467600"/>
              <a:gd name="connsiteY660" fmla="*/ 3378798 h 6858000"/>
              <a:gd name="connsiteX661" fmla="*/ 115099 w 7467600"/>
              <a:gd name="connsiteY661" fmla="*/ 3607650 h 6858000"/>
              <a:gd name="connsiteX662" fmla="*/ 97284 w 7467600"/>
              <a:gd name="connsiteY662" fmla="*/ 3520393 h 6858000"/>
              <a:gd name="connsiteX663" fmla="*/ 922050 w 7467600"/>
              <a:gd name="connsiteY663" fmla="*/ 3074867 h 6858000"/>
              <a:gd name="connsiteX664" fmla="*/ 1405265 w 7467600"/>
              <a:gd name="connsiteY664" fmla="*/ 3016319 h 6858000"/>
              <a:gd name="connsiteX665" fmla="*/ 1407512 w 7467600"/>
              <a:gd name="connsiteY665" fmla="*/ 3018001 h 6858000"/>
              <a:gd name="connsiteX666" fmla="*/ 1726266 w 7467600"/>
              <a:gd name="connsiteY666" fmla="*/ 2777274 h 6858000"/>
              <a:gd name="connsiteX667" fmla="*/ 625390 w 7467600"/>
              <a:gd name="connsiteY667" fmla="*/ 2514541 h 6858000"/>
              <a:gd name="connsiteX668" fmla="*/ 619799 w 7467600"/>
              <a:gd name="connsiteY668" fmla="*/ 2527180 h 6858000"/>
              <a:gd name="connsiteX669" fmla="*/ 310030 w 7467600"/>
              <a:gd name="connsiteY669" fmla="*/ 2771818 h 6858000"/>
              <a:gd name="connsiteX670" fmla="*/ 173877 w 7467600"/>
              <a:gd name="connsiteY670" fmla="*/ 2937056 h 6858000"/>
              <a:gd name="connsiteX671" fmla="*/ 77889 w 7467600"/>
              <a:gd name="connsiteY671" fmla="*/ 3138440 h 6858000"/>
              <a:gd name="connsiteX672" fmla="*/ 0 w 7467600"/>
              <a:gd name="connsiteY672" fmla="*/ 3271395 h 6858000"/>
              <a:gd name="connsiteX673" fmla="*/ 0 w 7467600"/>
              <a:gd name="connsiteY673" fmla="*/ 3153002 h 6858000"/>
              <a:gd name="connsiteX674" fmla="*/ 2386 w 7467600"/>
              <a:gd name="connsiteY674" fmla="*/ 3149203 h 6858000"/>
              <a:gd name="connsiteX675" fmla="*/ 89753 w 7467600"/>
              <a:gd name="connsiteY675" fmla="*/ 2987702 h 6858000"/>
              <a:gd name="connsiteX676" fmla="*/ 76869 w 7467600"/>
              <a:gd name="connsiteY676" fmla="*/ 3005404 h 6858000"/>
              <a:gd name="connsiteX677" fmla="*/ 32049 w 7467600"/>
              <a:gd name="connsiteY677" fmla="*/ 3065814 h 6858000"/>
              <a:gd name="connsiteX678" fmla="*/ 0 w 7467600"/>
              <a:gd name="connsiteY678" fmla="*/ 3108744 h 6858000"/>
              <a:gd name="connsiteX679" fmla="*/ 0 w 7467600"/>
              <a:gd name="connsiteY679" fmla="*/ 3058059 h 6858000"/>
              <a:gd name="connsiteX680" fmla="*/ 7610 w 7467600"/>
              <a:gd name="connsiteY680" fmla="*/ 3047889 h 6858000"/>
              <a:gd name="connsiteX681" fmla="*/ 52419 w 7467600"/>
              <a:gd name="connsiteY681" fmla="*/ 2987479 h 6858000"/>
              <a:gd name="connsiteX682" fmla="*/ 59142 w 7467600"/>
              <a:gd name="connsiteY682" fmla="*/ 2978488 h 6858000"/>
              <a:gd name="connsiteX683" fmla="*/ 0 w 7467600"/>
              <a:gd name="connsiteY683" fmla="*/ 3015334 h 6858000"/>
              <a:gd name="connsiteX684" fmla="*/ 0 w 7467600"/>
              <a:gd name="connsiteY684" fmla="*/ 2914286 h 6858000"/>
              <a:gd name="connsiteX685" fmla="*/ 36383 w 7467600"/>
              <a:gd name="connsiteY685" fmla="*/ 2901128 h 6858000"/>
              <a:gd name="connsiteX686" fmla="*/ 156329 w 7467600"/>
              <a:gd name="connsiteY686" fmla="*/ 2840533 h 6858000"/>
              <a:gd name="connsiteX687" fmla="*/ 358355 w 7467600"/>
              <a:gd name="connsiteY687" fmla="*/ 2620471 h 6858000"/>
              <a:gd name="connsiteX688" fmla="*/ 510577 w 7467600"/>
              <a:gd name="connsiteY688" fmla="*/ 2501244 h 6858000"/>
              <a:gd name="connsiteX689" fmla="*/ 211967 w 7467600"/>
              <a:gd name="connsiteY689" fmla="*/ 2479171 h 6858000"/>
              <a:gd name="connsiteX690" fmla="*/ 0 w 7467600"/>
              <a:gd name="connsiteY690" fmla="*/ 2476398 h 6858000"/>
              <a:gd name="connsiteX691" fmla="*/ 0 w 7467600"/>
              <a:gd name="connsiteY691" fmla="*/ 2389189 h 6858000"/>
              <a:gd name="connsiteX692" fmla="*/ 103062 w 7467600"/>
              <a:gd name="connsiteY692" fmla="*/ 2389518 h 6858000"/>
              <a:gd name="connsiteX693" fmla="*/ 510734 w 7467600"/>
              <a:gd name="connsiteY693" fmla="*/ 2416201 h 6858000"/>
              <a:gd name="connsiteX694" fmla="*/ 279257 w 7467600"/>
              <a:gd name="connsiteY694" fmla="*/ 2092102 h 6858000"/>
              <a:gd name="connsiteX695" fmla="*/ 65265 w 7467600"/>
              <a:gd name="connsiteY695" fmla="*/ 2006049 h 6858000"/>
              <a:gd name="connsiteX696" fmla="*/ 0 w 7467600"/>
              <a:gd name="connsiteY696" fmla="*/ 1982532 h 6858000"/>
              <a:gd name="connsiteX697" fmla="*/ 0 w 7467600"/>
              <a:gd name="connsiteY697" fmla="*/ 1912789 h 6858000"/>
              <a:gd name="connsiteX698" fmla="*/ 97460 w 7467600"/>
              <a:gd name="connsiteY698" fmla="*/ 1953725 h 6858000"/>
              <a:gd name="connsiteX699" fmla="*/ 221272 w 7467600"/>
              <a:gd name="connsiteY699" fmla="*/ 1980766 h 6858000"/>
              <a:gd name="connsiteX700" fmla="*/ 116765 w 7467600"/>
              <a:gd name="connsiteY700" fmla="*/ 1911033 h 6858000"/>
              <a:gd name="connsiteX701" fmla="*/ 16405 w 7467600"/>
              <a:gd name="connsiteY701" fmla="*/ 1803412 h 6858000"/>
              <a:gd name="connsiteX702" fmla="*/ 0 w 7467600"/>
              <a:gd name="connsiteY702" fmla="*/ 1784777 h 6858000"/>
              <a:gd name="connsiteX703" fmla="*/ 0 w 7467600"/>
              <a:gd name="connsiteY703" fmla="*/ 1740082 h 6858000"/>
              <a:gd name="connsiteX704" fmla="*/ 39394 w 7467600"/>
              <a:gd name="connsiteY704" fmla="*/ 1784856 h 6858000"/>
              <a:gd name="connsiteX705" fmla="*/ 135813 w 7467600"/>
              <a:gd name="connsiteY705" fmla="*/ 1888838 h 6858000"/>
              <a:gd name="connsiteX706" fmla="*/ 242575 w 7467600"/>
              <a:gd name="connsiteY706" fmla="*/ 1958841 h 6858000"/>
              <a:gd name="connsiteX707" fmla="*/ 82197 w 7467600"/>
              <a:gd name="connsiteY707" fmla="*/ 1754826 h 6858000"/>
              <a:gd name="connsiteX708" fmla="*/ 0 w 7467600"/>
              <a:gd name="connsiteY708" fmla="*/ 1679650 h 6858000"/>
              <a:gd name="connsiteX709" fmla="*/ 0 w 7467600"/>
              <a:gd name="connsiteY709" fmla="*/ 1602463 h 6858000"/>
              <a:gd name="connsiteX710" fmla="*/ 84689 w 7467600"/>
              <a:gd name="connsiteY710" fmla="*/ 1677442 h 6858000"/>
              <a:gd name="connsiteX711" fmla="*/ 298437 w 7467600"/>
              <a:gd name="connsiteY711" fmla="*/ 1968019 h 6858000"/>
              <a:gd name="connsiteX712" fmla="*/ 227269 w 7467600"/>
              <a:gd name="connsiteY712" fmla="*/ 1114064 h 6858000"/>
              <a:gd name="connsiteX713" fmla="*/ 248003 w 7467600"/>
              <a:gd name="connsiteY713" fmla="*/ 1089613 h 6858000"/>
              <a:gd name="connsiteX714" fmla="*/ 427020 w 7467600"/>
              <a:gd name="connsiteY714" fmla="*/ 1619803 h 6858000"/>
              <a:gd name="connsiteX715" fmla="*/ 340345 w 7467600"/>
              <a:gd name="connsiteY715" fmla="*/ 2027739 h 6858000"/>
              <a:gd name="connsiteX716" fmla="*/ 360865 w 7467600"/>
              <a:gd name="connsiteY716" fmla="*/ 2044827 h 6858000"/>
              <a:gd name="connsiteX717" fmla="*/ 560414 w 7467600"/>
              <a:gd name="connsiteY717" fmla="*/ 2421457 h 6858000"/>
              <a:gd name="connsiteX718" fmla="*/ 1359703 w 7467600"/>
              <a:gd name="connsiteY718" fmla="*/ 2578554 h 6858000"/>
              <a:gd name="connsiteX719" fmla="*/ 1359422 w 7467600"/>
              <a:gd name="connsiteY719" fmla="*/ 2577994 h 6858000"/>
              <a:gd name="connsiteX720" fmla="*/ 828701 w 7467600"/>
              <a:gd name="connsiteY720" fmla="*/ 1839520 h 6858000"/>
              <a:gd name="connsiteX721" fmla="*/ 494427 w 7467600"/>
              <a:gd name="connsiteY721" fmla="*/ 1092333 h 6858000"/>
              <a:gd name="connsiteX722" fmla="*/ 506322 w 7467600"/>
              <a:gd name="connsiteY722" fmla="*/ 1020997 h 6858000"/>
              <a:gd name="connsiteX723" fmla="*/ 4570198 w 7467600"/>
              <a:gd name="connsiteY723" fmla="*/ 978081 h 6858000"/>
              <a:gd name="connsiteX724" fmla="*/ 4523691 w 7467600"/>
              <a:gd name="connsiteY724" fmla="*/ 1127776 h 6858000"/>
              <a:gd name="connsiteX725" fmla="*/ 4509875 w 7467600"/>
              <a:gd name="connsiteY725" fmla="*/ 1167552 h 6858000"/>
              <a:gd name="connsiteX726" fmla="*/ 4478168 w 7467600"/>
              <a:gd name="connsiteY726" fmla="*/ 1260735 h 6858000"/>
              <a:gd name="connsiteX727" fmla="*/ 4409309 w 7467600"/>
              <a:gd name="connsiteY727" fmla="*/ 1666996 h 6858000"/>
              <a:gd name="connsiteX728" fmla="*/ 4370031 w 7467600"/>
              <a:gd name="connsiteY728" fmla="*/ 1955666 h 6858000"/>
              <a:gd name="connsiteX729" fmla="*/ 4570198 w 7467600"/>
              <a:gd name="connsiteY729" fmla="*/ 978081 h 6858000"/>
              <a:gd name="connsiteX730" fmla="*/ 4557898 w 7467600"/>
              <a:gd name="connsiteY730" fmla="*/ 900011 h 6858000"/>
              <a:gd name="connsiteX731" fmla="*/ 4344840 w 7467600"/>
              <a:gd name="connsiteY731" fmla="*/ 1922038 h 6858000"/>
              <a:gd name="connsiteX732" fmla="*/ 4378710 w 7467600"/>
              <a:gd name="connsiteY732" fmla="*/ 1665516 h 6858000"/>
              <a:gd name="connsiteX733" fmla="*/ 4448798 w 7467600"/>
              <a:gd name="connsiteY733" fmla="*/ 1253024 h 6858000"/>
              <a:gd name="connsiteX734" fmla="*/ 4480315 w 7467600"/>
              <a:gd name="connsiteY734" fmla="*/ 1158454 h 6858000"/>
              <a:gd name="connsiteX735" fmla="*/ 4494133 w 7467600"/>
              <a:gd name="connsiteY735" fmla="*/ 1118676 h 6858000"/>
              <a:gd name="connsiteX736" fmla="*/ 4557898 w 7467600"/>
              <a:gd name="connsiteY736" fmla="*/ 900011 h 6858000"/>
              <a:gd name="connsiteX737" fmla="*/ 5870151 w 7467600"/>
              <a:gd name="connsiteY737" fmla="*/ 898890 h 6858000"/>
              <a:gd name="connsiteX738" fmla="*/ 5861335 w 7467600"/>
              <a:gd name="connsiteY738" fmla="*/ 899177 h 6858000"/>
              <a:gd name="connsiteX739" fmla="*/ 5843702 w 7467600"/>
              <a:gd name="connsiteY739" fmla="*/ 899748 h 6858000"/>
              <a:gd name="connsiteX740" fmla="*/ 5651107 w 7467600"/>
              <a:gd name="connsiteY740" fmla="*/ 920306 h 6858000"/>
              <a:gd name="connsiteX741" fmla="*/ 5459407 w 7467600"/>
              <a:gd name="connsiteY741" fmla="*/ 940975 h 6858000"/>
              <a:gd name="connsiteX742" fmla="*/ 5374846 w 7467600"/>
              <a:gd name="connsiteY742" fmla="*/ 941988 h 6858000"/>
              <a:gd name="connsiteX743" fmla="*/ 5256105 w 7467600"/>
              <a:gd name="connsiteY743" fmla="*/ 945632 h 6858000"/>
              <a:gd name="connsiteX744" fmla="*/ 5107071 w 7467600"/>
              <a:gd name="connsiteY744" fmla="*/ 969720 h 6858000"/>
              <a:gd name="connsiteX745" fmla="*/ 4998681 w 7467600"/>
              <a:gd name="connsiteY745" fmla="*/ 988771 h 6858000"/>
              <a:gd name="connsiteX746" fmla="*/ 5870151 w 7467600"/>
              <a:gd name="connsiteY746" fmla="*/ 898890 h 6858000"/>
              <a:gd name="connsiteX747" fmla="*/ 5504425 w 7467600"/>
              <a:gd name="connsiteY747" fmla="*/ 848067 h 6858000"/>
              <a:gd name="connsiteX748" fmla="*/ 4968849 w 7467600"/>
              <a:gd name="connsiteY748" fmla="*/ 962318 h 6858000"/>
              <a:gd name="connsiteX749" fmla="*/ 5104039 w 7467600"/>
              <a:gd name="connsiteY749" fmla="*/ 940634 h 6858000"/>
              <a:gd name="connsiteX750" fmla="*/ 5256311 w 7467600"/>
              <a:gd name="connsiteY750" fmla="*/ 916490 h 6858000"/>
              <a:gd name="connsiteX751" fmla="*/ 5377381 w 7467600"/>
              <a:gd name="connsiteY751" fmla="*/ 912671 h 6858000"/>
              <a:gd name="connsiteX752" fmla="*/ 5460148 w 7467600"/>
              <a:gd name="connsiteY752" fmla="*/ 911442 h 6858000"/>
              <a:gd name="connsiteX753" fmla="*/ 5648971 w 7467600"/>
              <a:gd name="connsiteY753" fmla="*/ 891331 h 6858000"/>
              <a:gd name="connsiteX754" fmla="*/ 5844807 w 7467600"/>
              <a:gd name="connsiteY754" fmla="*/ 870718 h 6858000"/>
              <a:gd name="connsiteX755" fmla="*/ 5862975 w 7467600"/>
              <a:gd name="connsiteY755" fmla="*/ 869756 h 6858000"/>
              <a:gd name="connsiteX756" fmla="*/ 5920887 w 7467600"/>
              <a:gd name="connsiteY756" fmla="*/ 865929 h 6858000"/>
              <a:gd name="connsiteX757" fmla="*/ 5504425 w 7467600"/>
              <a:gd name="connsiteY757" fmla="*/ 848067 h 6858000"/>
              <a:gd name="connsiteX758" fmla="*/ 3607114 w 7467600"/>
              <a:gd name="connsiteY758" fmla="*/ 467441 h 6858000"/>
              <a:gd name="connsiteX759" fmla="*/ 3296242 w 7467600"/>
              <a:gd name="connsiteY759" fmla="*/ 807991 h 6858000"/>
              <a:gd name="connsiteX760" fmla="*/ 3174674 w 7467600"/>
              <a:gd name="connsiteY760" fmla="*/ 919759 h 6858000"/>
              <a:gd name="connsiteX761" fmla="*/ 3042978 w 7467600"/>
              <a:gd name="connsiteY761" fmla="*/ 1054894 h 6858000"/>
              <a:gd name="connsiteX762" fmla="*/ 2968914 w 7467600"/>
              <a:gd name="connsiteY762" fmla="*/ 1133756 h 6858000"/>
              <a:gd name="connsiteX763" fmla="*/ 3103823 w 7467600"/>
              <a:gd name="connsiteY763" fmla="*/ 1026814 h 6858000"/>
              <a:gd name="connsiteX764" fmla="*/ 3607114 w 7467600"/>
              <a:gd name="connsiteY764" fmla="*/ 467441 h 6858000"/>
              <a:gd name="connsiteX765" fmla="*/ 3744487 w 7467600"/>
              <a:gd name="connsiteY765" fmla="*/ 383136 h 6858000"/>
              <a:gd name="connsiteX766" fmla="*/ 3970213 w 7467600"/>
              <a:gd name="connsiteY766" fmla="*/ 995559 h 6858000"/>
              <a:gd name="connsiteX767" fmla="*/ 3744487 w 7467600"/>
              <a:gd name="connsiteY767" fmla="*/ 383136 h 6858000"/>
              <a:gd name="connsiteX768" fmla="*/ 3624562 w 7467600"/>
              <a:gd name="connsiteY768" fmla="*/ 367041 h 6858000"/>
              <a:gd name="connsiteX769" fmla="*/ 3489712 w 7467600"/>
              <a:gd name="connsiteY769" fmla="*/ 485386 h 6858000"/>
              <a:gd name="connsiteX770" fmla="*/ 3182994 w 7467600"/>
              <a:gd name="connsiteY770" fmla="*/ 828265 h 6858000"/>
              <a:gd name="connsiteX771" fmla="*/ 2892114 w 7467600"/>
              <a:gd name="connsiteY771" fmla="*/ 1172635 h 6858000"/>
              <a:gd name="connsiteX772" fmla="*/ 3021459 w 7467600"/>
              <a:gd name="connsiteY772" fmla="*/ 1035385 h 6858000"/>
              <a:gd name="connsiteX773" fmla="*/ 3153873 w 7467600"/>
              <a:gd name="connsiteY773" fmla="*/ 898971 h 6858000"/>
              <a:gd name="connsiteX774" fmla="*/ 3276511 w 7467600"/>
              <a:gd name="connsiteY774" fmla="*/ 786423 h 6858000"/>
              <a:gd name="connsiteX775" fmla="*/ 3584154 w 7467600"/>
              <a:gd name="connsiteY775" fmla="*/ 448218 h 6858000"/>
              <a:gd name="connsiteX776" fmla="*/ 3624562 w 7467600"/>
              <a:gd name="connsiteY776" fmla="*/ 367041 h 6858000"/>
              <a:gd name="connsiteX777" fmla="*/ 3766672 w 7467600"/>
              <a:gd name="connsiteY777" fmla="*/ 359429 h 6858000"/>
              <a:gd name="connsiteX778" fmla="*/ 3996338 w 7467600"/>
              <a:gd name="connsiteY778" fmla="*/ 968237 h 6858000"/>
              <a:gd name="connsiteX779" fmla="*/ 3766672 w 7467600"/>
              <a:gd name="connsiteY779" fmla="*/ 359429 h 6858000"/>
              <a:gd name="connsiteX780" fmla="*/ 5805386 w 7467600"/>
              <a:gd name="connsiteY780" fmla="*/ 239240 h 6858000"/>
              <a:gd name="connsiteX781" fmla="*/ 5736947 w 7467600"/>
              <a:gd name="connsiteY781" fmla="*/ 261367 h 6858000"/>
              <a:gd name="connsiteX782" fmla="*/ 5427012 w 7467600"/>
              <a:gd name="connsiteY782" fmla="*/ 311272 h 6858000"/>
              <a:gd name="connsiteX783" fmla="*/ 5147818 w 7467600"/>
              <a:gd name="connsiteY783" fmla="*/ 322112 h 6858000"/>
              <a:gd name="connsiteX784" fmla="*/ 5060854 w 7467600"/>
              <a:gd name="connsiteY784" fmla="*/ 311882 h 6858000"/>
              <a:gd name="connsiteX785" fmla="*/ 4945989 w 7467600"/>
              <a:gd name="connsiteY785" fmla="*/ 300516 h 6858000"/>
              <a:gd name="connsiteX786" fmla="*/ 5410479 w 7467600"/>
              <a:gd name="connsiteY786" fmla="*/ 348434 h 6858000"/>
              <a:gd name="connsiteX787" fmla="*/ 5805386 w 7467600"/>
              <a:gd name="connsiteY787" fmla="*/ 239240 h 6858000"/>
              <a:gd name="connsiteX788" fmla="*/ 5905192 w 7467600"/>
              <a:gd name="connsiteY788" fmla="*/ 163079 h 6858000"/>
              <a:gd name="connsiteX789" fmla="*/ 5865655 w 7467600"/>
              <a:gd name="connsiteY789" fmla="*/ 171901 h 6858000"/>
              <a:gd name="connsiteX790" fmla="*/ 5259740 w 7467600"/>
              <a:gd name="connsiteY790" fmla="*/ 257013 h 6858000"/>
              <a:gd name="connsiteX791" fmla="*/ 5208466 w 7467600"/>
              <a:gd name="connsiteY791" fmla="*/ 257550 h 6858000"/>
              <a:gd name="connsiteX792" fmla="*/ 4980204 w 7467600"/>
              <a:gd name="connsiteY792" fmla="*/ 271903 h 6858000"/>
              <a:gd name="connsiteX793" fmla="*/ 5068068 w 7467600"/>
              <a:gd name="connsiteY793" fmla="*/ 282244 h 6858000"/>
              <a:gd name="connsiteX794" fmla="*/ 5153231 w 7467600"/>
              <a:gd name="connsiteY794" fmla="*/ 292240 h 6858000"/>
              <a:gd name="connsiteX795" fmla="*/ 5426491 w 7467600"/>
              <a:gd name="connsiteY795" fmla="*/ 281128 h 6858000"/>
              <a:gd name="connsiteX796" fmla="*/ 5731212 w 7467600"/>
              <a:gd name="connsiteY796" fmla="*/ 231951 h 6858000"/>
              <a:gd name="connsiteX797" fmla="*/ 5905192 w 7467600"/>
              <a:gd name="connsiteY797" fmla="*/ 163079 h 6858000"/>
              <a:gd name="connsiteX798" fmla="*/ 5944437 w 7467600"/>
              <a:gd name="connsiteY798" fmla="*/ 113829 h 6858000"/>
              <a:gd name="connsiteX799" fmla="*/ 5825032 w 7467600"/>
              <a:gd name="connsiteY799" fmla="*/ 146405 h 6858000"/>
              <a:gd name="connsiteX800" fmla="*/ 4955599 w 7467600"/>
              <a:gd name="connsiteY800" fmla="*/ 247008 h 6858000"/>
              <a:gd name="connsiteX801" fmla="*/ 5210104 w 7467600"/>
              <a:gd name="connsiteY801" fmla="*/ 228123 h 6858000"/>
              <a:gd name="connsiteX802" fmla="*/ 5261015 w 7467600"/>
              <a:gd name="connsiteY802" fmla="*/ 227087 h 6858000"/>
              <a:gd name="connsiteX803" fmla="*/ 5861181 w 7467600"/>
              <a:gd name="connsiteY803" fmla="*/ 143093 h 6858000"/>
              <a:gd name="connsiteX804" fmla="*/ 5961252 w 7467600"/>
              <a:gd name="connsiteY804" fmla="*/ 114820 h 6858000"/>
              <a:gd name="connsiteX805" fmla="*/ 5944437 w 7467600"/>
              <a:gd name="connsiteY805" fmla="*/ 113829 h 6858000"/>
              <a:gd name="connsiteX806" fmla="*/ 3882765 w 7467600"/>
              <a:gd name="connsiteY806" fmla="*/ 0 h 6858000"/>
              <a:gd name="connsiteX807" fmla="*/ 3995099 w 7467600"/>
              <a:gd name="connsiteY807" fmla="*/ 0 h 6858000"/>
              <a:gd name="connsiteX808" fmla="*/ 4163818 w 7467600"/>
              <a:gd name="connsiteY808" fmla="*/ 234104 h 6858000"/>
              <a:gd name="connsiteX809" fmla="*/ 4172099 w 7467600"/>
              <a:gd name="connsiteY809" fmla="*/ 234207 h 6858000"/>
              <a:gd name="connsiteX810" fmla="*/ 4784282 w 7467600"/>
              <a:gd name="connsiteY810" fmla="*/ 276561 h 6858000"/>
              <a:gd name="connsiteX811" fmla="*/ 4801687 w 7467600"/>
              <a:gd name="connsiteY811" fmla="*/ 267764 h 6858000"/>
              <a:gd name="connsiteX812" fmla="*/ 6082788 w 7467600"/>
              <a:gd name="connsiteY812" fmla="*/ 64119 h 6858000"/>
              <a:gd name="connsiteX813" fmla="*/ 6099442 w 7467600"/>
              <a:gd name="connsiteY813" fmla="*/ 82568 h 6858000"/>
              <a:gd name="connsiteX814" fmla="*/ 4804137 w 7467600"/>
              <a:gd name="connsiteY814" fmla="*/ 320931 h 6858000"/>
              <a:gd name="connsiteX815" fmla="*/ 4227047 w 7467600"/>
              <a:gd name="connsiteY815" fmla="*/ 313415 h 6858000"/>
              <a:gd name="connsiteX816" fmla="*/ 4346041 w 7467600"/>
              <a:gd name="connsiteY816" fmla="*/ 456086 h 6858000"/>
              <a:gd name="connsiteX817" fmla="*/ 4870967 w 7467600"/>
              <a:gd name="connsiteY817" fmla="*/ 963061 h 6858000"/>
              <a:gd name="connsiteX818" fmla="*/ 4889647 w 7467600"/>
              <a:gd name="connsiteY818" fmla="*/ 957147 h 6858000"/>
              <a:gd name="connsiteX819" fmla="*/ 5422504 w 7467600"/>
              <a:gd name="connsiteY819" fmla="*/ 805191 h 6858000"/>
              <a:gd name="connsiteX820" fmla="*/ 6087656 w 7467600"/>
              <a:gd name="connsiteY820" fmla="*/ 826703 h 6858000"/>
              <a:gd name="connsiteX821" fmla="*/ 6058717 w 7467600"/>
              <a:gd name="connsiteY821" fmla="*/ 865992 h 6858000"/>
              <a:gd name="connsiteX822" fmla="*/ 4974153 w 7467600"/>
              <a:gd name="connsiteY822" fmla="*/ 1045456 h 6858000"/>
              <a:gd name="connsiteX823" fmla="*/ 5627835 w 7467600"/>
              <a:gd name="connsiteY823" fmla="*/ 1472077 h 6858000"/>
              <a:gd name="connsiteX824" fmla="*/ 5629817 w 7467600"/>
              <a:gd name="connsiteY824" fmla="*/ 1471412 h 6858000"/>
              <a:gd name="connsiteX825" fmla="*/ 5634124 w 7467600"/>
              <a:gd name="connsiteY825" fmla="*/ 1470572 h 6858000"/>
              <a:gd name="connsiteX826" fmla="*/ 5755832 w 7467600"/>
              <a:gd name="connsiteY826" fmla="*/ 1383886 h 6858000"/>
              <a:gd name="connsiteX827" fmla="*/ 6014186 w 7467600"/>
              <a:gd name="connsiteY827" fmla="*/ 1279799 h 6858000"/>
              <a:gd name="connsiteX828" fmla="*/ 6901619 w 7467600"/>
              <a:gd name="connsiteY828" fmla="*/ 1047874 h 6858000"/>
              <a:gd name="connsiteX829" fmla="*/ 6931566 w 7467600"/>
              <a:gd name="connsiteY829" fmla="*/ 1062034 h 6858000"/>
              <a:gd name="connsiteX830" fmla="*/ 5790982 w 7467600"/>
              <a:gd name="connsiteY830" fmla="*/ 1561380 h 6858000"/>
              <a:gd name="connsiteX831" fmla="*/ 6188971 w 7467600"/>
              <a:gd name="connsiteY831" fmla="*/ 1755168 h 6858000"/>
              <a:gd name="connsiteX832" fmla="*/ 6202446 w 7467600"/>
              <a:gd name="connsiteY832" fmla="*/ 1752268 h 6858000"/>
              <a:gd name="connsiteX833" fmla="*/ 7179560 w 7467600"/>
              <a:gd name="connsiteY833" fmla="*/ 1467551 h 6858000"/>
              <a:gd name="connsiteX834" fmla="*/ 7158730 w 7467600"/>
              <a:gd name="connsiteY834" fmla="*/ 1507835 h 6858000"/>
              <a:gd name="connsiteX835" fmla="*/ 6326959 w 7467600"/>
              <a:gd name="connsiteY835" fmla="*/ 1817686 h 6858000"/>
              <a:gd name="connsiteX836" fmla="*/ 6537433 w 7467600"/>
              <a:gd name="connsiteY836" fmla="*/ 1907790 h 6858000"/>
              <a:gd name="connsiteX837" fmla="*/ 6550221 w 7467600"/>
              <a:gd name="connsiteY837" fmla="*/ 1910729 h 6858000"/>
              <a:gd name="connsiteX838" fmla="*/ 6964438 w 7467600"/>
              <a:gd name="connsiteY838" fmla="*/ 2209505 h 6858000"/>
              <a:gd name="connsiteX839" fmla="*/ 7367862 w 7467600"/>
              <a:gd name="connsiteY839" fmla="*/ 2806833 h 6858000"/>
              <a:gd name="connsiteX840" fmla="*/ 7364329 w 7467600"/>
              <a:gd name="connsiteY840" fmla="*/ 2826907 h 6858000"/>
              <a:gd name="connsiteX841" fmla="*/ 7290545 w 7467600"/>
              <a:gd name="connsiteY841" fmla="*/ 2850663 h 6858000"/>
              <a:gd name="connsiteX842" fmla="*/ 6472036 w 7467600"/>
              <a:gd name="connsiteY842" fmla="*/ 1959003 h 6858000"/>
              <a:gd name="connsiteX843" fmla="*/ 5792897 w 7467600"/>
              <a:gd name="connsiteY843" fmla="*/ 1647747 h 6858000"/>
              <a:gd name="connsiteX844" fmla="*/ 5842751 w 7467600"/>
              <a:gd name="connsiteY844" fmla="*/ 1816112 h 6858000"/>
              <a:gd name="connsiteX845" fmla="*/ 5847424 w 7467600"/>
              <a:gd name="connsiteY845" fmla="*/ 1815776 h 6858000"/>
              <a:gd name="connsiteX846" fmla="*/ 6399821 w 7467600"/>
              <a:gd name="connsiteY846" fmla="*/ 2344799 h 6858000"/>
              <a:gd name="connsiteX847" fmla="*/ 6323232 w 7467600"/>
              <a:gd name="connsiteY847" fmla="*/ 2389634 h 6858000"/>
              <a:gd name="connsiteX848" fmla="*/ 5942958 w 7467600"/>
              <a:gd name="connsiteY848" fmla="*/ 2077708 h 6858000"/>
              <a:gd name="connsiteX849" fmla="*/ 5921559 w 7467600"/>
              <a:gd name="connsiteY849" fmla="*/ 2378596 h 6858000"/>
              <a:gd name="connsiteX850" fmla="*/ 5817651 w 7467600"/>
              <a:gd name="connsiteY850" fmla="*/ 3023919 h 6858000"/>
              <a:gd name="connsiteX851" fmla="*/ 5729634 w 7467600"/>
              <a:gd name="connsiteY851" fmla="*/ 3051849 h 6858000"/>
              <a:gd name="connsiteX852" fmla="*/ 5611018 w 7467600"/>
              <a:gd name="connsiteY852" fmla="*/ 2316769 h 6858000"/>
              <a:gd name="connsiteX853" fmla="*/ 5687608 w 7467600"/>
              <a:gd name="connsiteY853" fmla="*/ 2039972 h 6858000"/>
              <a:gd name="connsiteX854" fmla="*/ 5657554 w 7467600"/>
              <a:gd name="connsiteY854" fmla="*/ 1576445 h 6858000"/>
              <a:gd name="connsiteX855" fmla="*/ 5150475 w 7467600"/>
              <a:gd name="connsiteY855" fmla="*/ 1274012 h 6858000"/>
              <a:gd name="connsiteX856" fmla="*/ 5349142 w 7467600"/>
              <a:gd name="connsiteY856" fmla="*/ 2204405 h 6858000"/>
              <a:gd name="connsiteX857" fmla="*/ 5262214 w 7467600"/>
              <a:gd name="connsiteY857" fmla="*/ 2233836 h 6858000"/>
              <a:gd name="connsiteX858" fmla="*/ 4981539 w 7467600"/>
              <a:gd name="connsiteY858" fmla="*/ 1542201 h 6858000"/>
              <a:gd name="connsiteX859" fmla="*/ 4958461 w 7467600"/>
              <a:gd name="connsiteY859" fmla="*/ 1136957 h 6858000"/>
              <a:gd name="connsiteX860" fmla="*/ 4655015 w 7467600"/>
              <a:gd name="connsiteY860" fmla="*/ 891426 h 6858000"/>
              <a:gd name="connsiteX861" fmla="*/ 4348002 w 7467600"/>
              <a:gd name="connsiteY861" fmla="*/ 2205895 h 6858000"/>
              <a:gd name="connsiteX862" fmla="*/ 4262250 w 7467600"/>
              <a:gd name="connsiteY862" fmla="*/ 2219972 h 6858000"/>
              <a:gd name="connsiteX863" fmla="*/ 4550611 w 7467600"/>
              <a:gd name="connsiteY863" fmla="*/ 817540 h 6858000"/>
              <a:gd name="connsiteX864" fmla="*/ 4564418 w 7467600"/>
              <a:gd name="connsiteY864" fmla="*/ 808293 h 6858000"/>
              <a:gd name="connsiteX865" fmla="*/ 4266388 w 7467600"/>
              <a:gd name="connsiteY865" fmla="*/ 500083 h 6858000"/>
              <a:gd name="connsiteX866" fmla="*/ 4032842 w 7467600"/>
              <a:gd name="connsiteY866" fmla="*/ 211809 h 6858000"/>
              <a:gd name="connsiteX867" fmla="*/ 3882765 w 7467600"/>
              <a:gd name="connsiteY867" fmla="*/ 0 h 6858000"/>
              <a:gd name="connsiteX868" fmla="*/ 3721337 w 7467600"/>
              <a:gd name="connsiteY868" fmla="*/ 0 h 6858000"/>
              <a:gd name="connsiteX869" fmla="*/ 3797544 w 7467600"/>
              <a:gd name="connsiteY869" fmla="*/ 0 h 6858000"/>
              <a:gd name="connsiteX870" fmla="*/ 3775734 w 7467600"/>
              <a:gd name="connsiteY870" fmla="*/ 95131 h 6858000"/>
              <a:gd name="connsiteX871" fmla="*/ 3724807 w 7467600"/>
              <a:gd name="connsiteY871" fmla="*/ 272257 h 6858000"/>
              <a:gd name="connsiteX872" fmla="*/ 3726844 w 7467600"/>
              <a:gd name="connsiteY872" fmla="*/ 282988 h 6858000"/>
              <a:gd name="connsiteX873" fmla="*/ 3742664 w 7467600"/>
              <a:gd name="connsiteY873" fmla="*/ 279918 h 6858000"/>
              <a:gd name="connsiteX874" fmla="*/ 4103910 w 7467600"/>
              <a:gd name="connsiteY874" fmla="*/ 1161917 h 6858000"/>
              <a:gd name="connsiteX875" fmla="*/ 4020269 w 7467600"/>
              <a:gd name="connsiteY875" fmla="*/ 1200406 h 6858000"/>
              <a:gd name="connsiteX876" fmla="*/ 3674882 w 7467600"/>
              <a:gd name="connsiteY876" fmla="*/ 488524 h 6858000"/>
              <a:gd name="connsiteX877" fmla="*/ 3132682 w 7467600"/>
              <a:gd name="connsiteY877" fmla="*/ 1072284 h 6858000"/>
              <a:gd name="connsiteX878" fmla="*/ 2716346 w 7467600"/>
              <a:gd name="connsiteY878" fmla="*/ 1276376 h 6858000"/>
              <a:gd name="connsiteX879" fmla="*/ 2716772 w 7467600"/>
              <a:gd name="connsiteY879" fmla="*/ 1255462 h 6858000"/>
              <a:gd name="connsiteX880" fmla="*/ 3471096 w 7467600"/>
              <a:gd name="connsiteY880" fmla="*/ 437072 h 6858000"/>
              <a:gd name="connsiteX881" fmla="*/ 3639057 w 7467600"/>
              <a:gd name="connsiteY881" fmla="*/ 286334 h 6858000"/>
              <a:gd name="connsiteX882" fmla="*/ 3640309 w 7467600"/>
              <a:gd name="connsiteY882" fmla="*/ 284664 h 6858000"/>
              <a:gd name="connsiteX883" fmla="*/ 3646022 w 7467600"/>
              <a:gd name="connsiteY883" fmla="*/ 276711 h 6858000"/>
              <a:gd name="connsiteX884" fmla="*/ 3707943 w 7467600"/>
              <a:gd name="connsiteY884" fmla="*/ 65958 h 6858000"/>
              <a:gd name="connsiteX885" fmla="*/ 3721337 w 7467600"/>
              <a:gd name="connsiteY885" fmla="*/ 0 h 6858000"/>
              <a:gd name="connsiteX886" fmla="*/ 2867960 w 7467600"/>
              <a:gd name="connsiteY886" fmla="*/ 0 h 6858000"/>
              <a:gd name="connsiteX887" fmla="*/ 2926351 w 7467600"/>
              <a:gd name="connsiteY887" fmla="*/ 0 h 6858000"/>
              <a:gd name="connsiteX888" fmla="*/ 2902823 w 7467600"/>
              <a:gd name="connsiteY888" fmla="*/ 262929 h 6858000"/>
              <a:gd name="connsiteX889" fmla="*/ 2940663 w 7467600"/>
              <a:gd name="connsiteY889" fmla="*/ 140884 h 6858000"/>
              <a:gd name="connsiteX890" fmla="*/ 2947039 w 7467600"/>
              <a:gd name="connsiteY890" fmla="*/ 122524 h 6858000"/>
              <a:gd name="connsiteX891" fmla="*/ 2984316 w 7467600"/>
              <a:gd name="connsiteY891" fmla="*/ 0 h 6858000"/>
              <a:gd name="connsiteX892" fmla="*/ 3016114 w 7467600"/>
              <a:gd name="connsiteY892" fmla="*/ 0 h 6858000"/>
              <a:gd name="connsiteX893" fmla="*/ 2979949 w 7467600"/>
              <a:gd name="connsiteY893" fmla="*/ 119274 h 6858000"/>
              <a:gd name="connsiteX894" fmla="*/ 3023879 w 7467600"/>
              <a:gd name="connsiteY894" fmla="*/ 0 h 6858000"/>
              <a:gd name="connsiteX895" fmla="*/ 3105400 w 7467600"/>
              <a:gd name="connsiteY895" fmla="*/ 0 h 6858000"/>
              <a:gd name="connsiteX896" fmla="*/ 3094669 w 7467600"/>
              <a:gd name="connsiteY896" fmla="*/ 30308 h 6858000"/>
              <a:gd name="connsiteX897" fmla="*/ 2901945 w 7467600"/>
              <a:gd name="connsiteY897" fmla="*/ 466538 h 6858000"/>
              <a:gd name="connsiteX898" fmla="*/ 2815209 w 7467600"/>
              <a:gd name="connsiteY898" fmla="*/ 497361 h 6858000"/>
              <a:gd name="connsiteX899" fmla="*/ 2844845 w 7467600"/>
              <a:gd name="connsiteY899" fmla="*/ 127638 h 6858000"/>
              <a:gd name="connsiteX900" fmla="*/ 2867960 w 7467600"/>
              <a:gd name="connsiteY900" fmla="*/ 0 h 6858000"/>
              <a:gd name="connsiteX901" fmla="*/ 1057230 w 7467600"/>
              <a:gd name="connsiteY901" fmla="*/ 0 h 6858000"/>
              <a:gd name="connsiteX902" fmla="*/ 1111003 w 7467600"/>
              <a:gd name="connsiteY902" fmla="*/ 0 h 6858000"/>
              <a:gd name="connsiteX903" fmla="*/ 1125553 w 7467600"/>
              <a:gd name="connsiteY903" fmla="*/ 52588 h 6858000"/>
              <a:gd name="connsiteX904" fmla="*/ 1304276 w 7467600"/>
              <a:gd name="connsiteY904" fmla="*/ 476275 h 6858000"/>
              <a:gd name="connsiteX905" fmla="*/ 1492066 w 7467600"/>
              <a:gd name="connsiteY905" fmla="*/ 886333 h 6858000"/>
              <a:gd name="connsiteX906" fmla="*/ 1423698 w 7467600"/>
              <a:gd name="connsiteY906" fmla="*/ 710817 h 6858000"/>
              <a:gd name="connsiteX907" fmla="*/ 1357609 w 7467600"/>
              <a:gd name="connsiteY907" fmla="*/ 532892 h 6858000"/>
              <a:gd name="connsiteX908" fmla="*/ 1309550 w 7467600"/>
              <a:gd name="connsiteY908" fmla="*/ 374031 h 6858000"/>
              <a:gd name="connsiteX909" fmla="*/ 1193673 w 7467600"/>
              <a:gd name="connsiteY909" fmla="*/ 49533 h 6858000"/>
              <a:gd name="connsiteX910" fmla="*/ 1164391 w 7467600"/>
              <a:gd name="connsiteY910" fmla="*/ 0 h 6858000"/>
              <a:gd name="connsiteX911" fmla="*/ 1200666 w 7467600"/>
              <a:gd name="connsiteY911" fmla="*/ 0 h 6858000"/>
              <a:gd name="connsiteX912" fmla="*/ 1223408 w 7467600"/>
              <a:gd name="connsiteY912" fmla="*/ 38996 h 6858000"/>
              <a:gd name="connsiteX913" fmla="*/ 1339635 w 7467600"/>
              <a:gd name="connsiteY913" fmla="*/ 365517 h 6858000"/>
              <a:gd name="connsiteX914" fmla="*/ 1387469 w 7467600"/>
              <a:gd name="connsiteY914" fmla="*/ 523079 h 6858000"/>
              <a:gd name="connsiteX915" fmla="*/ 1452685 w 7467600"/>
              <a:gd name="connsiteY915" fmla="*/ 699806 h 6858000"/>
              <a:gd name="connsiteX916" fmla="*/ 1492092 w 7467600"/>
              <a:gd name="connsiteY916" fmla="*/ 800424 h 6858000"/>
              <a:gd name="connsiteX917" fmla="*/ 1455302 w 7467600"/>
              <a:gd name="connsiteY917" fmla="*/ 632913 h 6858000"/>
              <a:gd name="connsiteX918" fmla="*/ 1222336 w 7467600"/>
              <a:gd name="connsiteY918" fmla="*/ 9480 h 6858000"/>
              <a:gd name="connsiteX919" fmla="*/ 1214634 w 7467600"/>
              <a:gd name="connsiteY919" fmla="*/ 0 h 6858000"/>
              <a:gd name="connsiteX920" fmla="*/ 1289827 w 7467600"/>
              <a:gd name="connsiteY920" fmla="*/ 0 h 6858000"/>
              <a:gd name="connsiteX921" fmla="*/ 1321076 w 7467600"/>
              <a:gd name="connsiteY921" fmla="*/ 59722 h 6858000"/>
              <a:gd name="connsiteX922" fmla="*/ 1512579 w 7467600"/>
              <a:gd name="connsiteY922" fmla="*/ 626441 h 6858000"/>
              <a:gd name="connsiteX923" fmla="*/ 1506076 w 7467600"/>
              <a:gd name="connsiteY923" fmla="*/ 1089289 h 6858000"/>
              <a:gd name="connsiteX924" fmla="*/ 1486346 w 7467600"/>
              <a:gd name="connsiteY924" fmla="*/ 1079919 h 6858000"/>
              <a:gd name="connsiteX925" fmla="*/ 1070511 w 7467600"/>
              <a:gd name="connsiteY925" fmla="*/ 48609 h 6858000"/>
              <a:gd name="connsiteX926" fmla="*/ 1057230 w 7467600"/>
              <a:gd name="connsiteY926" fmla="*/ 0 h 6858000"/>
              <a:gd name="connsiteX927" fmla="*/ 43151 w 7467600"/>
              <a:gd name="connsiteY927" fmla="*/ 0 h 6858000"/>
              <a:gd name="connsiteX928" fmla="*/ 95283 w 7467600"/>
              <a:gd name="connsiteY928" fmla="*/ 0 h 6858000"/>
              <a:gd name="connsiteX929" fmla="*/ 300708 w 7467600"/>
              <a:gd name="connsiteY929" fmla="*/ 154571 h 6858000"/>
              <a:gd name="connsiteX930" fmla="*/ 530414 w 7467600"/>
              <a:gd name="connsiteY930" fmla="*/ 354673 h 6858000"/>
              <a:gd name="connsiteX931" fmla="*/ 333785 w 7467600"/>
              <a:gd name="connsiteY931" fmla="*/ 161564 h 6858000"/>
              <a:gd name="connsiteX932" fmla="*/ 147005 w 7467600"/>
              <a:gd name="connsiteY932" fmla="*/ 0 h 6858000"/>
              <a:gd name="connsiteX933" fmla="*/ 272509 w 7467600"/>
              <a:gd name="connsiteY933" fmla="*/ 0 h 6858000"/>
              <a:gd name="connsiteX934" fmla="*/ 326276 w 7467600"/>
              <a:gd name="connsiteY934" fmla="*/ 45847 h 6858000"/>
              <a:gd name="connsiteX935" fmla="*/ 823759 w 7467600"/>
              <a:gd name="connsiteY935" fmla="*/ 574145 h 6858000"/>
              <a:gd name="connsiteX936" fmla="*/ 811254 w 7467600"/>
              <a:gd name="connsiteY936" fmla="*/ 665546 h 6858000"/>
              <a:gd name="connsiteX937" fmla="*/ 154042 w 7467600"/>
              <a:gd name="connsiteY937" fmla="*/ 261522 h 6858000"/>
              <a:gd name="connsiteX938" fmla="*/ 13550 w 7467600"/>
              <a:gd name="connsiteY938" fmla="*/ 158423 h 6858000"/>
              <a:gd name="connsiteX939" fmla="*/ 0 w 7467600"/>
              <a:gd name="connsiteY939" fmla="*/ 146618 h 6858000"/>
              <a:gd name="connsiteX940" fmla="*/ 0 w 7467600"/>
              <a:gd name="connsiteY940" fmla="*/ 59161 h 6858000"/>
              <a:gd name="connsiteX941" fmla="*/ 45427 w 7467600"/>
              <a:gd name="connsiteY941" fmla="*/ 101078 h 6858000"/>
              <a:gd name="connsiteX942" fmla="*/ 630103 w 7467600"/>
              <a:gd name="connsiteY942" fmla="*/ 485885 h 6858000"/>
              <a:gd name="connsiteX943" fmla="*/ 532040 w 7467600"/>
              <a:gd name="connsiteY943" fmla="*/ 399359 h 6858000"/>
              <a:gd name="connsiteX944" fmla="*/ 517618 w 7467600"/>
              <a:gd name="connsiteY944" fmla="*/ 385726 h 6858000"/>
              <a:gd name="connsiteX945" fmla="*/ 285074 w 7467600"/>
              <a:gd name="connsiteY945" fmla="*/ 182755 h 6858000"/>
              <a:gd name="connsiteX946" fmla="*/ 43151 w 7467600"/>
              <a:gd name="connsiteY946"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434024 w 7467600"/>
              <a:gd name="connsiteY4" fmla="*/ 6722130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1019354 w 7467600"/>
              <a:gd name="connsiteY14" fmla="*/ 6315006 h 6858000"/>
              <a:gd name="connsiteX15" fmla="*/ 441046 w 7467600"/>
              <a:gd name="connsiteY15" fmla="*/ 6691153 h 6858000"/>
              <a:gd name="connsiteX16" fmla="*/ 1019354 w 7467600"/>
              <a:gd name="connsiteY16" fmla="*/ 6315006 h 6858000"/>
              <a:gd name="connsiteX17" fmla="*/ 991680 w 7467600"/>
              <a:gd name="connsiteY17" fmla="*/ 6298413 h 6858000"/>
              <a:gd name="connsiteX18" fmla="*/ 409060 w 7467600"/>
              <a:gd name="connsiteY18" fmla="*/ 6671470 h 6858000"/>
              <a:gd name="connsiteX19" fmla="*/ 991680 w 7467600"/>
              <a:gd name="connsiteY19" fmla="*/ 6298413 h 6858000"/>
              <a:gd name="connsiteX20" fmla="*/ 103333 w 7467600"/>
              <a:gd name="connsiteY20" fmla="*/ 5699602 h 6858000"/>
              <a:gd name="connsiteX21" fmla="*/ 233938 w 7467600"/>
              <a:gd name="connsiteY21" fmla="*/ 5809416 h 6858000"/>
              <a:gd name="connsiteX22" fmla="*/ 883580 w 7467600"/>
              <a:gd name="connsiteY22" fmla="*/ 6180710 h 6858000"/>
              <a:gd name="connsiteX23" fmla="*/ 487337 w 7467600"/>
              <a:gd name="connsiteY23" fmla="*/ 5950182 h 6858000"/>
              <a:gd name="connsiteX24" fmla="*/ 354051 w 7467600"/>
              <a:gd name="connsiteY24" fmla="*/ 5854912 h 6858000"/>
              <a:gd name="connsiteX25" fmla="*/ 195436 w 7467600"/>
              <a:gd name="connsiteY25" fmla="*/ 5755068 h 6858000"/>
              <a:gd name="connsiteX26" fmla="*/ 103333 w 7467600"/>
              <a:gd name="connsiteY26" fmla="*/ 5699602 h 6858000"/>
              <a:gd name="connsiteX27" fmla="*/ 5539432 w 7467600"/>
              <a:gd name="connsiteY27" fmla="*/ 5642928 h 6858000"/>
              <a:gd name="connsiteX28" fmla="*/ 5555462 w 7467600"/>
              <a:gd name="connsiteY28" fmla="*/ 5694454 h 6858000"/>
              <a:gd name="connsiteX29" fmla="*/ 5828270 w 7467600"/>
              <a:gd name="connsiteY29" fmla="*/ 6320663 h 6858000"/>
              <a:gd name="connsiteX30" fmla="*/ 5947416 w 7467600"/>
              <a:gd name="connsiteY30" fmla="*/ 6574846 h 6858000"/>
              <a:gd name="connsiteX31" fmla="*/ 5539432 w 7467600"/>
              <a:gd name="connsiteY31" fmla="*/ 5642928 h 6858000"/>
              <a:gd name="connsiteX32" fmla="*/ 51253 w 7467600"/>
              <a:gd name="connsiteY32" fmla="*/ 5631825 h 6858000"/>
              <a:gd name="connsiteX33" fmla="*/ 211622 w 7467600"/>
              <a:gd name="connsiteY33" fmla="*/ 5728803 h 6858000"/>
              <a:gd name="connsiteX34" fmla="*/ 371652 w 7467600"/>
              <a:gd name="connsiteY34" fmla="*/ 5829062 h 6858000"/>
              <a:gd name="connsiteX35" fmla="*/ 505903 w 7467600"/>
              <a:gd name="connsiteY35" fmla="*/ 5925221 h 6858000"/>
              <a:gd name="connsiteX36" fmla="*/ 899240 w 7467600"/>
              <a:gd name="connsiteY36" fmla="*/ 6153068 h 6858000"/>
              <a:gd name="connsiteX37" fmla="*/ 988114 w 7467600"/>
              <a:gd name="connsiteY37" fmla="*/ 6174204 h 6858000"/>
              <a:gd name="connsiteX38" fmla="*/ 845971 w 7467600"/>
              <a:gd name="connsiteY38" fmla="*/ 6067177 h 6858000"/>
              <a:gd name="connsiteX39" fmla="*/ 448057 w 7467600"/>
              <a:gd name="connsiteY39" fmla="*/ 5841376 h 6858000"/>
              <a:gd name="connsiteX40" fmla="*/ 51253 w 7467600"/>
              <a:gd name="connsiteY40" fmla="*/ 5631825 h 6858000"/>
              <a:gd name="connsiteX41" fmla="*/ 2606687 w 7467600"/>
              <a:gd name="connsiteY41" fmla="*/ 5630718 h 6858000"/>
              <a:gd name="connsiteX42" fmla="*/ 2645658 w 7467600"/>
              <a:gd name="connsiteY42" fmla="*/ 6640259 h 6858000"/>
              <a:gd name="connsiteX43" fmla="*/ 2606687 w 7467600"/>
              <a:gd name="connsiteY43" fmla="*/ 5630718 h 6858000"/>
              <a:gd name="connsiteX44" fmla="*/ 3642057 w 7467600"/>
              <a:gd name="connsiteY44" fmla="*/ 5573487 h 6858000"/>
              <a:gd name="connsiteX45" fmla="*/ 3632981 w 7467600"/>
              <a:gd name="connsiteY45" fmla="*/ 5579437 h 6858000"/>
              <a:gd name="connsiteX46" fmla="*/ 3382436 w 7467600"/>
              <a:gd name="connsiteY46" fmla="*/ 5952726 h 6858000"/>
              <a:gd name="connsiteX47" fmla="*/ 3191929 w 7467600"/>
              <a:gd name="connsiteY47" fmla="*/ 6662669 h 6858000"/>
              <a:gd name="connsiteX48" fmla="*/ 3369898 w 7467600"/>
              <a:gd name="connsiteY48" fmla="*/ 6081771 h 6858000"/>
              <a:gd name="connsiteX49" fmla="*/ 3642057 w 7467600"/>
              <a:gd name="connsiteY49" fmla="*/ 5573487 h 6858000"/>
              <a:gd name="connsiteX50" fmla="*/ 2650666 w 7467600"/>
              <a:gd name="connsiteY50" fmla="*/ 5530686 h 6858000"/>
              <a:gd name="connsiteX51" fmla="*/ 2650249 w 7467600"/>
              <a:gd name="connsiteY51" fmla="*/ 5532101 h 6858000"/>
              <a:gd name="connsiteX52" fmla="*/ 2663808 w 7467600"/>
              <a:gd name="connsiteY52" fmla="*/ 6535215 h 6858000"/>
              <a:gd name="connsiteX53" fmla="*/ 2665418 w 7467600"/>
              <a:gd name="connsiteY53" fmla="*/ 6132756 h 6858000"/>
              <a:gd name="connsiteX54" fmla="*/ 2650666 w 7467600"/>
              <a:gd name="connsiteY54" fmla="*/ 5530686 h 6858000"/>
              <a:gd name="connsiteX55" fmla="*/ 2680277 w 7467600"/>
              <a:gd name="connsiteY55" fmla="*/ 5479204 h 6858000"/>
              <a:gd name="connsiteX56" fmla="*/ 2678972 w 7467600"/>
              <a:gd name="connsiteY56" fmla="*/ 5481582 h 6858000"/>
              <a:gd name="connsiteX57" fmla="*/ 2696666 w 7467600"/>
              <a:gd name="connsiteY57" fmla="*/ 6133836 h 6858000"/>
              <a:gd name="connsiteX58" fmla="*/ 2695769 w 7467600"/>
              <a:gd name="connsiteY58" fmla="*/ 6390955 h 6858000"/>
              <a:gd name="connsiteX59" fmla="*/ 2739893 w 7467600"/>
              <a:gd name="connsiteY59" fmla="*/ 6108357 h 6858000"/>
              <a:gd name="connsiteX60" fmla="*/ 2680277 w 7467600"/>
              <a:gd name="connsiteY60" fmla="*/ 5479204 h 6858000"/>
              <a:gd name="connsiteX61" fmla="*/ 1132195 w 7467600"/>
              <a:gd name="connsiteY61" fmla="*/ 5467980 h 6858000"/>
              <a:gd name="connsiteX62" fmla="*/ 1679056 w 7467600"/>
              <a:gd name="connsiteY62" fmla="*/ 5516907 h 6858000"/>
              <a:gd name="connsiteX63" fmla="*/ 2128648 w 7467600"/>
              <a:gd name="connsiteY63" fmla="*/ 5474249 h 6858000"/>
              <a:gd name="connsiteX64" fmla="*/ 1825619 w 7467600"/>
              <a:gd name="connsiteY64" fmla="*/ 5478447 h 6858000"/>
              <a:gd name="connsiteX65" fmla="*/ 1737798 w 7467600"/>
              <a:gd name="connsiteY65" fmla="*/ 5483353 h 6858000"/>
              <a:gd name="connsiteX66" fmla="*/ 1132195 w 7467600"/>
              <a:gd name="connsiteY66" fmla="*/ 5467980 h 6858000"/>
              <a:gd name="connsiteX67" fmla="*/ 1456157 w 7467600"/>
              <a:gd name="connsiteY67" fmla="*/ 5371404 h 6858000"/>
              <a:gd name="connsiteX68" fmla="*/ 1244432 w 7467600"/>
              <a:gd name="connsiteY68" fmla="*/ 5385601 h 6858000"/>
              <a:gd name="connsiteX69" fmla="*/ 973990 w 7467600"/>
              <a:gd name="connsiteY69" fmla="*/ 5424940 h 6858000"/>
              <a:gd name="connsiteX70" fmla="*/ 1103809 w 7467600"/>
              <a:gd name="connsiteY70" fmla="*/ 5433720 h 6858000"/>
              <a:gd name="connsiteX71" fmla="*/ 1123454 w 7467600"/>
              <a:gd name="connsiteY71" fmla="*/ 5435727 h 6858000"/>
              <a:gd name="connsiteX72" fmla="*/ 1737017 w 7467600"/>
              <a:gd name="connsiteY72" fmla="*/ 5452183 h 6858000"/>
              <a:gd name="connsiteX73" fmla="*/ 1824397 w 7467600"/>
              <a:gd name="connsiteY73" fmla="*/ 5447757 h 6858000"/>
              <a:gd name="connsiteX74" fmla="*/ 2070059 w 7467600"/>
              <a:gd name="connsiteY74" fmla="*/ 5441660 h 6858000"/>
              <a:gd name="connsiteX75" fmla="*/ 1456157 w 7467600"/>
              <a:gd name="connsiteY75" fmla="*/ 5371404 h 6858000"/>
              <a:gd name="connsiteX76" fmla="*/ 4988186 w 7467600"/>
              <a:gd name="connsiteY76" fmla="*/ 5216467 h 6858000"/>
              <a:gd name="connsiteX77" fmla="*/ 4777334 w 7467600"/>
              <a:gd name="connsiteY77" fmla="*/ 5406072 h 6858000"/>
              <a:gd name="connsiteX78" fmla="*/ 4718341 w 7467600"/>
              <a:gd name="connsiteY78" fmla="*/ 5468043 h 6858000"/>
              <a:gd name="connsiteX79" fmla="*/ 4604655 w 7467600"/>
              <a:gd name="connsiteY79" fmla="*/ 5583434 h 6858000"/>
              <a:gd name="connsiteX80" fmla="*/ 4565074 w 7467600"/>
              <a:gd name="connsiteY80" fmla="*/ 5618550 h 6858000"/>
              <a:gd name="connsiteX81" fmla="*/ 4988186 w 7467600"/>
              <a:gd name="connsiteY81" fmla="*/ 5216467 h 6858000"/>
              <a:gd name="connsiteX82" fmla="*/ 4978032 w 7467600"/>
              <a:gd name="connsiteY82" fmla="*/ 5183809 h 6858000"/>
              <a:gd name="connsiteX83" fmla="*/ 4463413 w 7467600"/>
              <a:gd name="connsiteY83" fmla="*/ 5615162 h 6858000"/>
              <a:gd name="connsiteX84" fmla="*/ 4358134 w 7467600"/>
              <a:gd name="connsiteY84" fmla="*/ 5742791 h 6858000"/>
              <a:gd name="connsiteX85" fmla="*/ 4376219 w 7467600"/>
              <a:gd name="connsiteY85" fmla="*/ 5729027 h 6858000"/>
              <a:gd name="connsiteX86" fmla="*/ 4582340 w 7467600"/>
              <a:gd name="connsiteY86" fmla="*/ 5561037 h 6858000"/>
              <a:gd name="connsiteX87" fmla="*/ 4694684 w 7467600"/>
              <a:gd name="connsiteY87" fmla="*/ 5447098 h 6858000"/>
              <a:gd name="connsiteX88" fmla="*/ 4754123 w 7467600"/>
              <a:gd name="connsiteY88" fmla="*/ 5384643 h 6858000"/>
              <a:gd name="connsiteX89" fmla="*/ 4978032 w 7467600"/>
              <a:gd name="connsiteY89" fmla="*/ 5183809 h 6858000"/>
              <a:gd name="connsiteX90" fmla="*/ 1903353 w 7467600"/>
              <a:gd name="connsiteY90" fmla="*/ 5044827 h 6858000"/>
              <a:gd name="connsiteX91" fmla="*/ 1936931 w 7467600"/>
              <a:gd name="connsiteY91" fmla="*/ 5093954 h 6858000"/>
              <a:gd name="connsiteX92" fmla="*/ 2195868 w 7467600"/>
              <a:gd name="connsiteY92" fmla="*/ 5396574 h 6858000"/>
              <a:gd name="connsiteX93" fmla="*/ 2088852 w 7467600"/>
              <a:gd name="connsiteY93" fmla="*/ 5166123 h 6858000"/>
              <a:gd name="connsiteX94" fmla="*/ 1958241 w 7467600"/>
              <a:gd name="connsiteY94" fmla="*/ 5067955 h 6858000"/>
              <a:gd name="connsiteX95" fmla="*/ 1903353 w 7467600"/>
              <a:gd name="connsiteY95" fmla="*/ 5044827 h 6858000"/>
              <a:gd name="connsiteX96" fmla="*/ 1979378 w 7467600"/>
              <a:gd name="connsiteY96" fmla="*/ 4769504 h 6858000"/>
              <a:gd name="connsiteX97" fmla="*/ 2882120 w 7467600"/>
              <a:gd name="connsiteY97" fmla="*/ 5064547 h 6858000"/>
              <a:gd name="connsiteX98" fmla="*/ 2793103 w 7467600"/>
              <a:gd name="connsiteY98" fmla="*/ 5039699 h 6858000"/>
              <a:gd name="connsiteX99" fmla="*/ 2770041 w 7467600"/>
              <a:gd name="connsiteY99" fmla="*/ 5033634 h 6858000"/>
              <a:gd name="connsiteX100" fmla="*/ 1979378 w 7467600"/>
              <a:gd name="connsiteY100" fmla="*/ 4769504 h 6858000"/>
              <a:gd name="connsiteX101" fmla="*/ 1927410 w 7467600"/>
              <a:gd name="connsiteY101" fmla="*/ 4716164 h 6858000"/>
              <a:gd name="connsiteX102" fmla="*/ 1959587 w 7467600"/>
              <a:gd name="connsiteY102" fmla="*/ 4728849 h 6858000"/>
              <a:gd name="connsiteX103" fmla="*/ 2777707 w 7467600"/>
              <a:gd name="connsiteY103" fmla="*/ 5003991 h 6858000"/>
              <a:gd name="connsiteX104" fmla="*/ 2800768 w 7467600"/>
              <a:gd name="connsiteY104" fmla="*/ 5010056 h 6858000"/>
              <a:gd name="connsiteX105" fmla="*/ 2879408 w 7467600"/>
              <a:gd name="connsiteY105" fmla="*/ 5031590 h 6858000"/>
              <a:gd name="connsiteX106" fmla="*/ 2862295 w 7467600"/>
              <a:gd name="connsiteY106" fmla="*/ 5022958 h 6858000"/>
              <a:gd name="connsiteX107" fmla="*/ 2813343 w 7467600"/>
              <a:gd name="connsiteY107" fmla="*/ 4998369 h 6858000"/>
              <a:gd name="connsiteX108" fmla="*/ 2646245 w 7467600"/>
              <a:gd name="connsiteY108" fmla="*/ 4930999 h 6858000"/>
              <a:gd name="connsiteX109" fmla="*/ 1999243 w 7467600"/>
              <a:gd name="connsiteY109" fmla="*/ 4730524 h 6858000"/>
              <a:gd name="connsiteX110" fmla="*/ 1979527 w 7467600"/>
              <a:gd name="connsiteY110" fmla="*/ 4726651 h 6858000"/>
              <a:gd name="connsiteX111" fmla="*/ 1927410 w 7467600"/>
              <a:gd name="connsiteY111" fmla="*/ 4716164 h 6858000"/>
              <a:gd name="connsiteX112" fmla="*/ 1997014 w 7467600"/>
              <a:gd name="connsiteY112" fmla="*/ 4698007 h 6858000"/>
              <a:gd name="connsiteX113" fmla="*/ 2005458 w 7467600"/>
              <a:gd name="connsiteY113" fmla="*/ 4699540 h 6858000"/>
              <a:gd name="connsiteX114" fmla="*/ 2657186 w 7467600"/>
              <a:gd name="connsiteY114" fmla="*/ 4901687 h 6858000"/>
              <a:gd name="connsiteX115" fmla="*/ 2826662 w 7467600"/>
              <a:gd name="connsiteY115" fmla="*/ 4970362 h 6858000"/>
              <a:gd name="connsiteX116" fmla="*/ 2876100 w 7467600"/>
              <a:gd name="connsiteY116" fmla="*/ 4995397 h 6858000"/>
              <a:gd name="connsiteX117" fmla="*/ 3042600 w 7467600"/>
              <a:gd name="connsiteY117" fmla="*/ 5059532 h 6858000"/>
              <a:gd name="connsiteX118" fmla="*/ 1997014 w 7467600"/>
              <a:gd name="connsiteY118" fmla="*/ 4698007 h 6858000"/>
              <a:gd name="connsiteX119" fmla="*/ 2305292 w 7467600"/>
              <a:gd name="connsiteY119" fmla="*/ 4219492 h 6858000"/>
              <a:gd name="connsiteX120" fmla="*/ 3360922 w 7467600"/>
              <a:gd name="connsiteY120" fmla="*/ 4529373 h 6858000"/>
              <a:gd name="connsiteX121" fmla="*/ 3492420 w 7467600"/>
              <a:gd name="connsiteY121" fmla="*/ 4510145 h 6858000"/>
              <a:gd name="connsiteX122" fmla="*/ 3364086 w 7467600"/>
              <a:gd name="connsiteY122" fmla="*/ 4480340 h 6858000"/>
              <a:gd name="connsiteX123" fmla="*/ 3225818 w 7467600"/>
              <a:gd name="connsiteY123" fmla="*/ 4411822 h 6858000"/>
              <a:gd name="connsiteX124" fmla="*/ 3129696 w 7467600"/>
              <a:gd name="connsiteY124" fmla="*/ 4360704 h 6858000"/>
              <a:gd name="connsiteX125" fmla="*/ 2814545 w 7467600"/>
              <a:gd name="connsiteY125" fmla="*/ 4282955 h 6858000"/>
              <a:gd name="connsiteX126" fmla="*/ 2305292 w 7467600"/>
              <a:gd name="connsiteY126" fmla="*/ 4219492 h 6858000"/>
              <a:gd name="connsiteX127" fmla="*/ 2626982 w 7467600"/>
              <a:gd name="connsiteY127" fmla="*/ 4206450 h 6858000"/>
              <a:gd name="connsiteX128" fmla="*/ 2490617 w 7467600"/>
              <a:gd name="connsiteY128" fmla="*/ 4206951 h 6858000"/>
              <a:gd name="connsiteX129" fmla="*/ 2819869 w 7467600"/>
              <a:gd name="connsiteY129" fmla="*/ 4252936 h 6858000"/>
              <a:gd name="connsiteX130" fmla="*/ 3143018 w 7467600"/>
              <a:gd name="connsiteY130" fmla="*/ 4332698 h 6858000"/>
              <a:gd name="connsiteX131" fmla="*/ 3241520 w 7467600"/>
              <a:gd name="connsiteY131" fmla="*/ 4385112 h 6858000"/>
              <a:gd name="connsiteX132" fmla="*/ 3374575 w 7467600"/>
              <a:gd name="connsiteY132" fmla="*/ 4451517 h 6858000"/>
              <a:gd name="connsiteX133" fmla="*/ 3505221 w 7467600"/>
              <a:gd name="connsiteY133" fmla="*/ 4480757 h 6858000"/>
              <a:gd name="connsiteX134" fmla="*/ 2626982 w 7467600"/>
              <a:gd name="connsiteY134" fmla="*/ 4206450 h 6858000"/>
              <a:gd name="connsiteX135" fmla="*/ 1310106 w 7467600"/>
              <a:gd name="connsiteY135" fmla="*/ 3943217 h 6858000"/>
              <a:gd name="connsiteX136" fmla="*/ 854994 w 7467600"/>
              <a:gd name="connsiteY136" fmla="*/ 4399136 h 6858000"/>
              <a:gd name="connsiteX137" fmla="*/ 742462 w 7467600"/>
              <a:gd name="connsiteY137" fmla="*/ 4594648 h 6858000"/>
              <a:gd name="connsiteX138" fmla="*/ 820602 w 7467600"/>
              <a:gd name="connsiteY138" fmla="*/ 4485915 h 6858000"/>
              <a:gd name="connsiteX139" fmla="*/ 878295 w 7467600"/>
              <a:gd name="connsiteY139" fmla="*/ 4403594 h 6858000"/>
              <a:gd name="connsiteX140" fmla="*/ 1240607 w 7467600"/>
              <a:gd name="connsiteY140" fmla="*/ 4010401 h 6858000"/>
              <a:gd name="connsiteX141" fmla="*/ 1310106 w 7467600"/>
              <a:gd name="connsiteY141" fmla="*/ 3943217 h 6858000"/>
              <a:gd name="connsiteX142" fmla="*/ 1423113 w 7467600"/>
              <a:gd name="connsiteY142" fmla="*/ 3874565 h 6858000"/>
              <a:gd name="connsiteX143" fmla="*/ 1260565 w 7467600"/>
              <a:gd name="connsiteY143" fmla="*/ 4031982 h 6858000"/>
              <a:gd name="connsiteX144" fmla="*/ 901900 w 7467600"/>
              <a:gd name="connsiteY144" fmla="*/ 4421236 h 6858000"/>
              <a:gd name="connsiteX145" fmla="*/ 845044 w 7467600"/>
              <a:gd name="connsiteY145" fmla="*/ 4502436 h 6858000"/>
              <a:gd name="connsiteX146" fmla="*/ 685926 w 7467600"/>
              <a:gd name="connsiteY146" fmla="*/ 4703069 h 6858000"/>
              <a:gd name="connsiteX147" fmla="*/ 684248 w 7467600"/>
              <a:gd name="connsiteY147" fmla="*/ 4706721 h 6858000"/>
              <a:gd name="connsiteX148" fmla="*/ 1423113 w 7467600"/>
              <a:gd name="connsiteY148" fmla="*/ 3874565 h 6858000"/>
              <a:gd name="connsiteX149" fmla="*/ 3316479 w 7467600"/>
              <a:gd name="connsiteY149" fmla="*/ 3872136 h 6858000"/>
              <a:gd name="connsiteX150" fmla="*/ 3546806 w 7467600"/>
              <a:gd name="connsiteY150" fmla="*/ 4356139 h 6858000"/>
              <a:gd name="connsiteX151" fmla="*/ 3364433 w 7467600"/>
              <a:gd name="connsiteY151" fmla="*/ 3953121 h 6858000"/>
              <a:gd name="connsiteX152" fmla="*/ 3316479 w 7467600"/>
              <a:gd name="connsiteY152" fmla="*/ 3872136 h 6858000"/>
              <a:gd name="connsiteX153" fmla="*/ 3291335 w 7467600"/>
              <a:gd name="connsiteY153" fmla="*/ 3767420 h 6858000"/>
              <a:gd name="connsiteX154" fmla="*/ 3390805 w 7467600"/>
              <a:gd name="connsiteY154" fmla="*/ 3937163 h 6858000"/>
              <a:gd name="connsiteX155" fmla="*/ 3579062 w 7467600"/>
              <a:gd name="connsiteY155" fmla="*/ 4359040 h 6858000"/>
              <a:gd name="connsiteX156" fmla="*/ 3467355 w 7467600"/>
              <a:gd name="connsiteY156" fmla="*/ 3988130 h 6858000"/>
              <a:gd name="connsiteX157" fmla="*/ 3310753 w 7467600"/>
              <a:gd name="connsiteY157" fmla="*/ 3787140 h 6858000"/>
              <a:gd name="connsiteX158" fmla="*/ 3291335 w 7467600"/>
              <a:gd name="connsiteY158" fmla="*/ 3767420 h 6858000"/>
              <a:gd name="connsiteX159" fmla="*/ 1635889 w 7467600"/>
              <a:gd name="connsiteY159" fmla="*/ 3709494 h 6858000"/>
              <a:gd name="connsiteX160" fmla="*/ 1634800 w 7467600"/>
              <a:gd name="connsiteY160" fmla="*/ 3731111 h 6858000"/>
              <a:gd name="connsiteX161" fmla="*/ 1635889 w 7467600"/>
              <a:gd name="connsiteY161" fmla="*/ 3709494 h 6858000"/>
              <a:gd name="connsiteX162" fmla="*/ 1510397 w 7467600"/>
              <a:gd name="connsiteY162" fmla="*/ 3684705 h 6858000"/>
              <a:gd name="connsiteX163" fmla="*/ 1146550 w 7467600"/>
              <a:gd name="connsiteY163" fmla="*/ 3802012 h 6858000"/>
              <a:gd name="connsiteX164" fmla="*/ 698834 w 7467600"/>
              <a:gd name="connsiteY164" fmla="*/ 3952272 h 6858000"/>
              <a:gd name="connsiteX165" fmla="*/ 34256 w 7467600"/>
              <a:gd name="connsiteY165" fmla="*/ 4347603 h 6858000"/>
              <a:gd name="connsiteX166" fmla="*/ 527241 w 7467600"/>
              <a:gd name="connsiteY166" fmla="*/ 4065078 h 6858000"/>
              <a:gd name="connsiteX167" fmla="*/ 1510397 w 7467600"/>
              <a:gd name="connsiteY167" fmla="*/ 3684705 h 6858000"/>
              <a:gd name="connsiteX168" fmla="*/ 1313114 w 7467600"/>
              <a:gd name="connsiteY168" fmla="*/ 3655216 h 6858000"/>
              <a:gd name="connsiteX169" fmla="*/ 1109304 w 7467600"/>
              <a:gd name="connsiteY169" fmla="*/ 3669030 h 6858000"/>
              <a:gd name="connsiteX170" fmla="*/ 8129 w 7467600"/>
              <a:gd name="connsiteY170" fmla="*/ 4330519 h 6858000"/>
              <a:gd name="connsiteX171" fmla="*/ 687572 w 7467600"/>
              <a:gd name="connsiteY171" fmla="*/ 3925629 h 6858000"/>
              <a:gd name="connsiteX172" fmla="*/ 1138365 w 7467600"/>
              <a:gd name="connsiteY172" fmla="*/ 3774515 h 6858000"/>
              <a:gd name="connsiteX173" fmla="*/ 1505579 w 7467600"/>
              <a:gd name="connsiteY173" fmla="*/ 3655526 h 6858000"/>
              <a:gd name="connsiteX174" fmla="*/ 1313114 w 7467600"/>
              <a:gd name="connsiteY174" fmla="*/ 3655216 h 6858000"/>
              <a:gd name="connsiteX175" fmla="*/ 3655073 w 7467600"/>
              <a:gd name="connsiteY175" fmla="*/ 3650884 h 6858000"/>
              <a:gd name="connsiteX176" fmla="*/ 3989938 w 7467600"/>
              <a:gd name="connsiteY176" fmla="*/ 3991685 h 6858000"/>
              <a:gd name="connsiteX177" fmla="*/ 4393907 w 7467600"/>
              <a:gd name="connsiteY177" fmla="*/ 4261258 h 6858000"/>
              <a:gd name="connsiteX178" fmla="*/ 4648051 w 7467600"/>
              <a:gd name="connsiteY178" fmla="*/ 4374051 h 6858000"/>
              <a:gd name="connsiteX179" fmla="*/ 4383389 w 7467600"/>
              <a:gd name="connsiteY179" fmla="*/ 4184369 h 6858000"/>
              <a:gd name="connsiteX180" fmla="*/ 4165508 w 7467600"/>
              <a:gd name="connsiteY180" fmla="*/ 4035196 h 6858000"/>
              <a:gd name="connsiteX181" fmla="*/ 4068162 w 7467600"/>
              <a:gd name="connsiteY181" fmla="*/ 3953394 h 6858000"/>
              <a:gd name="connsiteX182" fmla="*/ 3981416 w 7467600"/>
              <a:gd name="connsiteY182" fmla="*/ 3880482 h 6858000"/>
              <a:gd name="connsiteX183" fmla="*/ 3800147 w 7467600"/>
              <a:gd name="connsiteY183" fmla="*/ 3749872 h 6858000"/>
              <a:gd name="connsiteX184" fmla="*/ 3655073 w 7467600"/>
              <a:gd name="connsiteY184" fmla="*/ 3650884 h 6858000"/>
              <a:gd name="connsiteX185" fmla="*/ 3670252 w 7467600"/>
              <a:gd name="connsiteY185" fmla="*/ 3622798 h 6858000"/>
              <a:gd name="connsiteX186" fmla="*/ 3817258 w 7467600"/>
              <a:gd name="connsiteY186" fmla="*/ 3723577 h 6858000"/>
              <a:gd name="connsiteX187" fmla="*/ 4000461 w 7467600"/>
              <a:gd name="connsiteY187" fmla="*/ 3855966 h 6858000"/>
              <a:gd name="connsiteX188" fmla="*/ 4088180 w 7467600"/>
              <a:gd name="connsiteY188" fmla="*/ 3929774 h 6858000"/>
              <a:gd name="connsiteX189" fmla="*/ 4184555 w 7467600"/>
              <a:gd name="connsiteY189" fmla="*/ 4010683 h 6858000"/>
              <a:gd name="connsiteX190" fmla="*/ 4399563 w 7467600"/>
              <a:gd name="connsiteY190" fmla="*/ 4158106 h 6858000"/>
              <a:gd name="connsiteX191" fmla="*/ 4684469 w 7467600"/>
              <a:gd name="connsiteY191" fmla="*/ 4364680 h 6858000"/>
              <a:gd name="connsiteX192" fmla="*/ 4690271 w 7467600"/>
              <a:gd name="connsiteY192" fmla="*/ 4370034 h 6858000"/>
              <a:gd name="connsiteX193" fmla="*/ 4136093 w 7467600"/>
              <a:gd name="connsiteY193" fmla="*/ 3858466 h 6858000"/>
              <a:gd name="connsiteX194" fmla="*/ 3670252 w 7467600"/>
              <a:gd name="connsiteY194" fmla="*/ 3622798 h 6858000"/>
              <a:gd name="connsiteX195" fmla="*/ 4440129 w 7467600"/>
              <a:gd name="connsiteY195" fmla="*/ 3448571 h 6858000"/>
              <a:gd name="connsiteX196" fmla="*/ 4856525 w 7467600"/>
              <a:gd name="connsiteY196" fmla="*/ 3915351 h 6858000"/>
              <a:gd name="connsiteX197" fmla="*/ 5059055 w 7467600"/>
              <a:gd name="connsiteY197" fmla="*/ 4108918 h 6858000"/>
              <a:gd name="connsiteX198" fmla="*/ 5290070 w 7467600"/>
              <a:gd name="connsiteY198" fmla="*/ 4263619 h 6858000"/>
              <a:gd name="connsiteX199" fmla="*/ 4834991 w 7467600"/>
              <a:gd name="connsiteY199" fmla="*/ 3830985 h 6858000"/>
              <a:gd name="connsiteX200" fmla="*/ 4440129 w 7467600"/>
              <a:gd name="connsiteY200" fmla="*/ 3448571 h 6858000"/>
              <a:gd name="connsiteX201" fmla="*/ 4441737 w 7467600"/>
              <a:gd name="connsiteY201" fmla="*/ 3399734 h 6858000"/>
              <a:gd name="connsiteX202" fmla="*/ 4431236 w 7467600"/>
              <a:gd name="connsiteY202" fmla="*/ 3400954 h 6858000"/>
              <a:gd name="connsiteX203" fmla="*/ 4557150 w 7467600"/>
              <a:gd name="connsiteY203" fmla="*/ 3510023 h 6858000"/>
              <a:gd name="connsiteX204" fmla="*/ 4856936 w 7467600"/>
              <a:gd name="connsiteY204" fmla="*/ 3809146 h 6858000"/>
              <a:gd name="connsiteX205" fmla="*/ 5111996 w 7467600"/>
              <a:gd name="connsiteY205" fmla="*/ 4065759 h 6858000"/>
              <a:gd name="connsiteX206" fmla="*/ 5388878 w 7467600"/>
              <a:gd name="connsiteY206" fmla="*/ 4300185 h 6858000"/>
              <a:gd name="connsiteX207" fmla="*/ 5425556 w 7467600"/>
              <a:gd name="connsiteY207" fmla="*/ 4308967 h 6858000"/>
              <a:gd name="connsiteX208" fmla="*/ 4943646 w 7467600"/>
              <a:gd name="connsiteY208" fmla="*/ 3822916 h 6858000"/>
              <a:gd name="connsiteX209" fmla="*/ 4594837 w 7467600"/>
              <a:gd name="connsiteY209" fmla="*/ 3532274 h 6858000"/>
              <a:gd name="connsiteX210" fmla="*/ 4441737 w 7467600"/>
              <a:gd name="connsiteY210" fmla="*/ 3399734 h 6858000"/>
              <a:gd name="connsiteX211" fmla="*/ 5425834 w 7467600"/>
              <a:gd name="connsiteY211" fmla="*/ 3162785 h 6858000"/>
              <a:gd name="connsiteX212" fmla="*/ 5401644 w 7467600"/>
              <a:gd name="connsiteY212" fmla="*/ 3617847 h 6858000"/>
              <a:gd name="connsiteX213" fmla="*/ 5467256 w 7467600"/>
              <a:gd name="connsiteY213" fmla="*/ 4175494 h 6858000"/>
              <a:gd name="connsiteX214" fmla="*/ 5448069 w 7467600"/>
              <a:gd name="connsiteY214" fmla="*/ 3567554 h 6858000"/>
              <a:gd name="connsiteX215" fmla="*/ 5425834 w 7467600"/>
              <a:gd name="connsiteY215" fmla="*/ 3162785 h 6858000"/>
              <a:gd name="connsiteX216" fmla="*/ 1318687 w 7467600"/>
              <a:gd name="connsiteY216" fmla="*/ 3113840 h 6858000"/>
              <a:gd name="connsiteX217" fmla="*/ 1066793 w 7467600"/>
              <a:gd name="connsiteY217" fmla="*/ 3212171 h 6858000"/>
              <a:gd name="connsiteX218" fmla="*/ 993319 w 7467600"/>
              <a:gd name="connsiteY218" fmla="*/ 3247648 h 6858000"/>
              <a:gd name="connsiteX219" fmla="*/ 853081 w 7467600"/>
              <a:gd name="connsiteY219" fmla="*/ 3312410 h 6858000"/>
              <a:gd name="connsiteX220" fmla="*/ 805957 w 7467600"/>
              <a:gd name="connsiteY220" fmla="*/ 3330443 h 6858000"/>
              <a:gd name="connsiteX221" fmla="*/ 1318687 w 7467600"/>
              <a:gd name="connsiteY221" fmla="*/ 3113840 h 6858000"/>
              <a:gd name="connsiteX222" fmla="*/ 5453702 w 7467600"/>
              <a:gd name="connsiteY222" fmla="*/ 3090882 h 6858000"/>
              <a:gd name="connsiteX223" fmla="*/ 5480135 w 7467600"/>
              <a:gd name="connsiteY223" fmla="*/ 3565802 h 6858000"/>
              <a:gd name="connsiteX224" fmla="*/ 5499023 w 7467600"/>
              <a:gd name="connsiteY224" fmla="*/ 4166310 h 6858000"/>
              <a:gd name="connsiteX225" fmla="*/ 5547022 w 7467600"/>
              <a:gd name="connsiteY225" fmla="*/ 3607838 h 6858000"/>
              <a:gd name="connsiteX226" fmla="*/ 5515964 w 7467600"/>
              <a:gd name="connsiteY226" fmla="*/ 3378541 h 6858000"/>
              <a:gd name="connsiteX227" fmla="*/ 5453702 w 7467600"/>
              <a:gd name="connsiteY227" fmla="*/ 3090882 h 6858000"/>
              <a:gd name="connsiteX228" fmla="*/ 1238695 w 7467600"/>
              <a:gd name="connsiteY228" fmla="*/ 3076820 h 6858000"/>
              <a:gd name="connsiteX229" fmla="*/ 716371 w 7467600"/>
              <a:gd name="connsiteY229" fmla="*/ 3293249 h 6858000"/>
              <a:gd name="connsiteX230" fmla="*/ 579522 w 7467600"/>
              <a:gd name="connsiteY230" fmla="*/ 3371759 h 6858000"/>
              <a:gd name="connsiteX231" fmla="*/ 600288 w 7467600"/>
              <a:gd name="connsiteY231" fmla="*/ 3365555 h 6858000"/>
              <a:gd name="connsiteX232" fmla="*/ 840692 w 7467600"/>
              <a:gd name="connsiteY232" fmla="*/ 3284921 h 6858000"/>
              <a:gd name="connsiteX233" fmla="*/ 979248 w 7467600"/>
              <a:gd name="connsiteY233" fmla="*/ 3221003 h 6858000"/>
              <a:gd name="connsiteX234" fmla="*/ 1053282 w 7467600"/>
              <a:gd name="connsiteY234" fmla="*/ 3185247 h 6858000"/>
              <a:gd name="connsiteX235" fmla="*/ 1320603 w 7467600"/>
              <a:gd name="connsiteY235" fmla="*/ 3081281 h 6858000"/>
              <a:gd name="connsiteX236" fmla="*/ 1238695 w 7467600"/>
              <a:gd name="connsiteY236" fmla="*/ 3076820 h 6858000"/>
              <a:gd name="connsiteX237" fmla="*/ 5425627 w 7467600"/>
              <a:gd name="connsiteY237" fmla="*/ 2954192 h 6858000"/>
              <a:gd name="connsiteX238" fmla="*/ 5470770 w 7467600"/>
              <a:gd name="connsiteY238" fmla="*/ 3005435 h 6858000"/>
              <a:gd name="connsiteX239" fmla="*/ 5519779 w 7467600"/>
              <a:gd name="connsiteY239" fmla="*/ 4359223 h 6858000"/>
              <a:gd name="connsiteX240" fmla="*/ 5520293 w 7467600"/>
              <a:gd name="connsiteY240" fmla="*/ 4360602 h 6858000"/>
              <a:gd name="connsiteX241" fmla="*/ 5767221 w 7467600"/>
              <a:gd name="connsiteY241" fmla="*/ 4665564 h 6858000"/>
              <a:gd name="connsiteX242" fmla="*/ 6937169 w 7467600"/>
              <a:gd name="connsiteY242" fmla="*/ 4815941 h 6858000"/>
              <a:gd name="connsiteX243" fmla="*/ 6953922 w 7467600"/>
              <a:gd name="connsiteY243" fmla="*/ 4890068 h 6858000"/>
              <a:gd name="connsiteX244" fmla="*/ 6071359 w 7467600"/>
              <a:gd name="connsiteY244" fmla="*/ 4770770 h 6858000"/>
              <a:gd name="connsiteX245" fmla="*/ 6038839 w 7467600"/>
              <a:gd name="connsiteY245" fmla="*/ 4764474 h 6858000"/>
              <a:gd name="connsiteX246" fmla="*/ 6038706 w 7467600"/>
              <a:gd name="connsiteY246" fmla="*/ 4763847 h 6858000"/>
              <a:gd name="connsiteX247" fmla="*/ 6037784 w 7467600"/>
              <a:gd name="connsiteY247" fmla="*/ 4764270 h 6858000"/>
              <a:gd name="connsiteX248" fmla="*/ 6038839 w 7467600"/>
              <a:gd name="connsiteY248" fmla="*/ 4764474 h 6858000"/>
              <a:gd name="connsiteX249" fmla="*/ 6040338 w 7467600"/>
              <a:gd name="connsiteY249" fmla="*/ 4771418 h 6858000"/>
              <a:gd name="connsiteX250" fmla="*/ 6024488 w 7467600"/>
              <a:gd name="connsiteY250" fmla="*/ 4809903 h 6858000"/>
              <a:gd name="connsiteX251" fmla="*/ 5599771 w 7467600"/>
              <a:gd name="connsiteY251" fmla="*/ 5509652 h 6858000"/>
              <a:gd name="connsiteX252" fmla="*/ 5548843 w 7467600"/>
              <a:gd name="connsiteY252" fmla="*/ 5563845 h 6858000"/>
              <a:gd name="connsiteX253" fmla="*/ 5940952 w 7467600"/>
              <a:gd name="connsiteY253" fmla="*/ 6250028 h 6858000"/>
              <a:gd name="connsiteX254" fmla="*/ 6043441 w 7467600"/>
              <a:gd name="connsiteY254" fmla="*/ 6665847 h 6858000"/>
              <a:gd name="connsiteX255" fmla="*/ 6093432 w 7467600"/>
              <a:gd name="connsiteY255" fmla="*/ 6858000 h 6858000"/>
              <a:gd name="connsiteX256" fmla="*/ 6034344 w 7467600"/>
              <a:gd name="connsiteY256" fmla="*/ 6858000 h 6858000"/>
              <a:gd name="connsiteX257" fmla="*/ 6026679 w 7467600"/>
              <a:gd name="connsiteY257" fmla="*/ 6836959 h 6858000"/>
              <a:gd name="connsiteX258" fmla="*/ 5800441 w 7467600"/>
              <a:gd name="connsiteY258" fmla="*/ 6335286 h 6858000"/>
              <a:gd name="connsiteX259" fmla="*/ 5526562 w 7467600"/>
              <a:gd name="connsiteY259" fmla="*/ 5705388 h 6858000"/>
              <a:gd name="connsiteX260" fmla="*/ 5519640 w 7467600"/>
              <a:gd name="connsiteY260" fmla="*/ 5683774 h 6858000"/>
              <a:gd name="connsiteX261" fmla="*/ 5844559 w 7467600"/>
              <a:gd name="connsiteY261" fmla="*/ 6553349 h 6858000"/>
              <a:gd name="connsiteX262" fmla="*/ 5975994 w 7467600"/>
              <a:gd name="connsiteY262" fmla="*/ 6858000 h 6858000"/>
              <a:gd name="connsiteX263" fmla="*/ 5898547 w 7467600"/>
              <a:gd name="connsiteY263" fmla="*/ 6858000 h 6858000"/>
              <a:gd name="connsiteX264" fmla="*/ 5682041 w 7467600"/>
              <a:gd name="connsiteY264" fmla="*/ 6355860 h 6858000"/>
              <a:gd name="connsiteX265" fmla="*/ 5461758 w 7467600"/>
              <a:gd name="connsiteY265" fmla="*/ 5820220 h 6858000"/>
              <a:gd name="connsiteX266" fmla="*/ 5237282 w 7467600"/>
              <a:gd name="connsiteY266" fmla="*/ 6579086 h 6858000"/>
              <a:gd name="connsiteX267" fmla="*/ 5115009 w 7467600"/>
              <a:gd name="connsiteY267" fmla="*/ 6858000 h 6858000"/>
              <a:gd name="connsiteX268" fmla="*/ 5028074 w 7467600"/>
              <a:gd name="connsiteY268" fmla="*/ 6858000 h 6858000"/>
              <a:gd name="connsiteX269" fmla="*/ 5079508 w 7467600"/>
              <a:gd name="connsiteY269" fmla="*/ 6749074 h 6858000"/>
              <a:gd name="connsiteX270" fmla="*/ 5371846 w 7467600"/>
              <a:gd name="connsiteY270" fmla="*/ 5924413 h 6858000"/>
              <a:gd name="connsiteX271" fmla="*/ 5270512 w 7467600"/>
              <a:gd name="connsiteY271" fmla="*/ 6138975 h 6858000"/>
              <a:gd name="connsiteX272" fmla="*/ 5062409 w 7467600"/>
              <a:gd name="connsiteY272" fmla="*/ 6653544 h 6858000"/>
              <a:gd name="connsiteX273" fmla="*/ 5036628 w 7467600"/>
              <a:gd name="connsiteY273" fmla="*/ 6754247 h 6858000"/>
              <a:gd name="connsiteX274" fmla="*/ 5009112 w 7467600"/>
              <a:gd name="connsiteY274" fmla="*/ 6858000 h 6858000"/>
              <a:gd name="connsiteX275" fmla="*/ 4976679 w 7467600"/>
              <a:gd name="connsiteY275" fmla="*/ 6858000 h 6858000"/>
              <a:gd name="connsiteX276" fmla="*/ 5006537 w 7467600"/>
              <a:gd name="connsiteY276" fmla="*/ 6747068 h 6858000"/>
              <a:gd name="connsiteX277" fmla="*/ 5032723 w 7467600"/>
              <a:gd name="connsiteY277" fmla="*/ 6644957 h 6858000"/>
              <a:gd name="connsiteX278" fmla="*/ 5242949 w 7467600"/>
              <a:gd name="connsiteY278" fmla="*/ 6125175 h 6858000"/>
              <a:gd name="connsiteX279" fmla="*/ 5286321 w 7467600"/>
              <a:gd name="connsiteY279" fmla="*/ 6033555 h 6858000"/>
              <a:gd name="connsiteX280" fmla="*/ 5008210 w 7467600"/>
              <a:gd name="connsiteY280" fmla="*/ 6649194 h 6858000"/>
              <a:gd name="connsiteX281" fmla="*/ 4986321 w 7467600"/>
              <a:gd name="connsiteY281" fmla="*/ 6765687 h 6858000"/>
              <a:gd name="connsiteX282" fmla="*/ 4973474 w 7467600"/>
              <a:gd name="connsiteY282" fmla="*/ 6858000 h 6858000"/>
              <a:gd name="connsiteX283" fmla="*/ 4907178 w 7467600"/>
              <a:gd name="connsiteY283" fmla="*/ 6858000 h 6858000"/>
              <a:gd name="connsiteX284" fmla="*/ 4910810 w 7467600"/>
              <a:gd name="connsiteY284" fmla="*/ 6829660 h 6858000"/>
              <a:gd name="connsiteX285" fmla="*/ 4987461 w 7467600"/>
              <a:gd name="connsiteY285" fmla="*/ 6432994 h 6858000"/>
              <a:gd name="connsiteX286" fmla="*/ 5179262 w 7467600"/>
              <a:gd name="connsiteY286" fmla="*/ 6035044 h 6858000"/>
              <a:gd name="connsiteX287" fmla="*/ 4689678 w 7467600"/>
              <a:gd name="connsiteY287" fmla="*/ 6440241 h 6858000"/>
              <a:gd name="connsiteX288" fmla="*/ 4477543 w 7467600"/>
              <a:gd name="connsiteY288" fmla="*/ 6674836 h 6858000"/>
              <a:gd name="connsiteX289" fmla="*/ 4329957 w 7467600"/>
              <a:gd name="connsiteY289" fmla="*/ 6858000 h 6858000"/>
              <a:gd name="connsiteX290" fmla="*/ 4218595 w 7467600"/>
              <a:gd name="connsiteY290" fmla="*/ 6858000 h 6858000"/>
              <a:gd name="connsiteX291" fmla="*/ 4368888 w 7467600"/>
              <a:gd name="connsiteY291" fmla="*/ 6668412 h 6858000"/>
              <a:gd name="connsiteX292" fmla="*/ 4563091 w 7467600"/>
              <a:gd name="connsiteY292" fmla="*/ 6442508 h 6858000"/>
              <a:gd name="connsiteX293" fmla="*/ 5387324 w 7467600"/>
              <a:gd name="connsiteY293" fmla="*/ 5705830 h 6858000"/>
              <a:gd name="connsiteX294" fmla="*/ 5073620 w 7467600"/>
              <a:gd name="connsiteY294" fmla="*/ 5955437 h 6858000"/>
              <a:gd name="connsiteX295" fmla="*/ 4689789 w 7467600"/>
              <a:gd name="connsiteY295" fmla="*/ 6268382 h 6858000"/>
              <a:gd name="connsiteX296" fmla="*/ 4418722 w 7467600"/>
              <a:gd name="connsiteY296" fmla="*/ 6570886 h 6858000"/>
              <a:gd name="connsiteX297" fmla="*/ 4214944 w 7467600"/>
              <a:gd name="connsiteY297" fmla="*/ 6858000 h 6858000"/>
              <a:gd name="connsiteX298" fmla="*/ 4177898 w 7467600"/>
              <a:gd name="connsiteY298" fmla="*/ 6858000 h 6858000"/>
              <a:gd name="connsiteX299" fmla="*/ 4391597 w 7467600"/>
              <a:gd name="connsiteY299" fmla="*/ 6556370 h 6858000"/>
              <a:gd name="connsiteX300" fmla="*/ 4668889 w 7467600"/>
              <a:gd name="connsiteY300" fmla="*/ 6246399 h 6858000"/>
              <a:gd name="connsiteX301" fmla="*/ 5055427 w 7467600"/>
              <a:gd name="connsiteY301" fmla="*/ 5931476 h 6858000"/>
              <a:gd name="connsiteX302" fmla="*/ 5371814 w 7467600"/>
              <a:gd name="connsiteY302" fmla="*/ 5678975 h 6858000"/>
              <a:gd name="connsiteX303" fmla="*/ 4987918 w 7467600"/>
              <a:gd name="connsiteY303" fmla="*/ 5838701 h 6858000"/>
              <a:gd name="connsiteX304" fmla="*/ 4317146 w 7467600"/>
              <a:gd name="connsiteY304" fmla="*/ 6587716 h 6858000"/>
              <a:gd name="connsiteX305" fmla="*/ 4171627 w 7467600"/>
              <a:gd name="connsiteY305" fmla="*/ 6858000 h 6858000"/>
              <a:gd name="connsiteX306" fmla="*/ 4081585 w 7467600"/>
              <a:gd name="connsiteY306" fmla="*/ 6858000 h 6858000"/>
              <a:gd name="connsiteX307" fmla="*/ 4238603 w 7467600"/>
              <a:gd name="connsiteY307" fmla="*/ 6559341 h 6858000"/>
              <a:gd name="connsiteX308" fmla="*/ 4778333 w 7467600"/>
              <a:gd name="connsiteY308" fmla="*/ 5873626 h 6858000"/>
              <a:gd name="connsiteX309" fmla="*/ 5414185 w 7467600"/>
              <a:gd name="connsiteY309" fmla="*/ 5573882 h 6858000"/>
              <a:gd name="connsiteX310" fmla="*/ 5959648 w 7467600"/>
              <a:gd name="connsiteY310" fmla="*/ 4760797 h 6858000"/>
              <a:gd name="connsiteX311" fmla="*/ 5355019 w 7467600"/>
              <a:gd name="connsiteY311" fmla="*/ 4734672 h 6858000"/>
              <a:gd name="connsiteX312" fmla="*/ 5083565 w 7467600"/>
              <a:gd name="connsiteY312" fmla="*/ 5179121 h 6858000"/>
              <a:gd name="connsiteX313" fmla="*/ 4713577 w 7467600"/>
              <a:gd name="connsiteY313" fmla="*/ 5616803 h 6858000"/>
              <a:gd name="connsiteX314" fmla="*/ 3989559 w 7467600"/>
              <a:gd name="connsiteY314" fmla="*/ 6145945 h 6858000"/>
              <a:gd name="connsiteX315" fmla="*/ 3939824 w 7467600"/>
              <a:gd name="connsiteY315" fmla="*/ 6066900 h 6858000"/>
              <a:gd name="connsiteX316" fmla="*/ 4584537 w 7467600"/>
              <a:gd name="connsiteY316" fmla="*/ 5324826 h 6858000"/>
              <a:gd name="connsiteX317" fmla="*/ 5037105 w 7467600"/>
              <a:gd name="connsiteY317" fmla="*/ 5088765 h 6858000"/>
              <a:gd name="connsiteX318" fmla="*/ 5039930 w 7467600"/>
              <a:gd name="connsiteY318" fmla="*/ 5089585 h 6858000"/>
              <a:gd name="connsiteX319" fmla="*/ 5263764 w 7467600"/>
              <a:gd name="connsiteY319" fmla="*/ 4735525 h 6858000"/>
              <a:gd name="connsiteX320" fmla="*/ 4086300 w 7467600"/>
              <a:gd name="connsiteY320" fmla="*/ 4884599 h 6858000"/>
              <a:gd name="connsiteX321" fmla="*/ 4085485 w 7467600"/>
              <a:gd name="connsiteY321" fmla="*/ 4899070 h 6858000"/>
              <a:gd name="connsiteX322" fmla="*/ 3871915 w 7467600"/>
              <a:gd name="connsiteY322" fmla="*/ 5253645 h 6858000"/>
              <a:gd name="connsiteX323" fmla="*/ 3799374 w 7467600"/>
              <a:gd name="connsiteY323" fmla="*/ 5466127 h 6858000"/>
              <a:gd name="connsiteX324" fmla="*/ 3498850 w 7467600"/>
              <a:gd name="connsiteY324" fmla="*/ 6661888 h 6858000"/>
              <a:gd name="connsiteX325" fmla="*/ 3399216 w 7467600"/>
              <a:gd name="connsiteY325" fmla="*/ 6858000 h 6858000"/>
              <a:gd name="connsiteX326" fmla="*/ 3303688 w 7467600"/>
              <a:gd name="connsiteY326" fmla="*/ 6858000 h 6858000"/>
              <a:gd name="connsiteX327" fmla="*/ 3391774 w 7467600"/>
              <a:gd name="connsiteY327" fmla="*/ 6697181 h 6858000"/>
              <a:gd name="connsiteX328" fmla="*/ 3735540 w 7467600"/>
              <a:gd name="connsiteY328" fmla="*/ 5546923 h 6858000"/>
              <a:gd name="connsiteX329" fmla="*/ 3729438 w 7467600"/>
              <a:gd name="connsiteY329" fmla="*/ 5569058 h 6858000"/>
              <a:gd name="connsiteX330" fmla="*/ 3707782 w 7467600"/>
              <a:gd name="connsiteY330" fmla="*/ 5644908 h 6858000"/>
              <a:gd name="connsiteX331" fmla="*/ 3583827 w 7467600"/>
              <a:gd name="connsiteY331" fmla="*/ 6039215 h 6858000"/>
              <a:gd name="connsiteX332" fmla="*/ 3547861 w 7467600"/>
              <a:gd name="connsiteY332" fmla="*/ 6129609 h 6858000"/>
              <a:gd name="connsiteX333" fmla="*/ 3490905 w 7467600"/>
              <a:gd name="connsiteY333" fmla="*/ 6277660 h 6858000"/>
              <a:gd name="connsiteX334" fmla="*/ 3455859 w 7467600"/>
              <a:gd name="connsiteY334" fmla="*/ 6391301 h 6858000"/>
              <a:gd name="connsiteX335" fmla="*/ 3429112 w 7467600"/>
              <a:gd name="connsiteY335" fmla="*/ 6479469 h 6858000"/>
              <a:gd name="connsiteX336" fmla="*/ 3304862 w 7467600"/>
              <a:gd name="connsiteY336" fmla="*/ 6796476 h 6858000"/>
              <a:gd name="connsiteX337" fmla="*/ 3276071 w 7467600"/>
              <a:gd name="connsiteY337" fmla="*/ 6858000 h 6858000"/>
              <a:gd name="connsiteX338" fmla="*/ 3240805 w 7467600"/>
              <a:gd name="connsiteY338" fmla="*/ 6858000 h 6858000"/>
              <a:gd name="connsiteX339" fmla="*/ 3275917 w 7467600"/>
              <a:gd name="connsiteY339" fmla="*/ 6783192 h 6858000"/>
              <a:gd name="connsiteX340" fmla="*/ 3399358 w 7467600"/>
              <a:gd name="connsiteY340" fmla="*/ 6469011 h 6858000"/>
              <a:gd name="connsiteX341" fmla="*/ 3425650 w 7467600"/>
              <a:gd name="connsiteY341" fmla="*/ 6381333 h 6858000"/>
              <a:gd name="connsiteX342" fmla="*/ 3460661 w 7467600"/>
              <a:gd name="connsiteY342" fmla="*/ 6266763 h 6858000"/>
              <a:gd name="connsiteX343" fmla="*/ 3518021 w 7467600"/>
              <a:gd name="connsiteY343" fmla="*/ 6117298 h 6858000"/>
              <a:gd name="connsiteX344" fmla="*/ 3554035 w 7467600"/>
              <a:gd name="connsiteY344" fmla="*/ 6027832 h 6858000"/>
              <a:gd name="connsiteX345" fmla="*/ 3677174 w 7467600"/>
              <a:gd name="connsiteY345" fmla="*/ 5636351 h 6858000"/>
              <a:gd name="connsiteX346" fmla="*/ 3698819 w 7467600"/>
              <a:gd name="connsiteY346" fmla="*/ 5560503 h 6858000"/>
              <a:gd name="connsiteX347" fmla="*/ 3702094 w 7467600"/>
              <a:gd name="connsiteY347" fmla="*/ 5549194 h 6858000"/>
              <a:gd name="connsiteX348" fmla="*/ 3398355 w 7467600"/>
              <a:gd name="connsiteY348" fmla="*/ 6094603 h 6858000"/>
              <a:gd name="connsiteX349" fmla="*/ 3193941 w 7467600"/>
              <a:gd name="connsiteY349" fmla="*/ 6798775 h 6858000"/>
              <a:gd name="connsiteX350" fmla="*/ 3184140 w 7467600"/>
              <a:gd name="connsiteY350" fmla="*/ 6858000 h 6858000"/>
              <a:gd name="connsiteX351" fmla="*/ 3099978 w 7467600"/>
              <a:gd name="connsiteY351" fmla="*/ 6858000 h 6858000"/>
              <a:gd name="connsiteX352" fmla="*/ 3101556 w 7467600"/>
              <a:gd name="connsiteY352" fmla="*/ 6843337 h 6858000"/>
              <a:gd name="connsiteX353" fmla="*/ 3370162 w 7467600"/>
              <a:gd name="connsiteY353" fmla="*/ 5785550 h 6858000"/>
              <a:gd name="connsiteX354" fmla="*/ 3746477 w 7467600"/>
              <a:gd name="connsiteY354" fmla="*/ 5377889 h 6858000"/>
              <a:gd name="connsiteX355" fmla="*/ 3863399 w 7467600"/>
              <a:gd name="connsiteY355" fmla="*/ 5087257 h 6858000"/>
              <a:gd name="connsiteX356" fmla="*/ 3968712 w 7467600"/>
              <a:gd name="connsiteY356" fmla="*/ 4913989 h 6858000"/>
              <a:gd name="connsiteX357" fmla="*/ 2792390 w 7467600"/>
              <a:gd name="connsiteY357" fmla="*/ 5382974 h 6858000"/>
              <a:gd name="connsiteX358" fmla="*/ 2714982 w 7467600"/>
              <a:gd name="connsiteY358" fmla="*/ 5427051 h 6858000"/>
              <a:gd name="connsiteX359" fmla="*/ 2813361 w 7467600"/>
              <a:gd name="connsiteY359" fmla="*/ 6023912 h 6858000"/>
              <a:gd name="connsiteX360" fmla="*/ 2688430 w 7467600"/>
              <a:gd name="connsiteY360" fmla="*/ 6801564 h 6858000"/>
              <a:gd name="connsiteX361" fmla="*/ 2629626 w 7467600"/>
              <a:gd name="connsiteY361" fmla="*/ 6763394 h 6858000"/>
              <a:gd name="connsiteX362" fmla="*/ 2565328 w 7467600"/>
              <a:gd name="connsiteY362" fmla="*/ 5516399 h 6858000"/>
              <a:gd name="connsiteX363" fmla="*/ 1922999 w 7467600"/>
              <a:gd name="connsiteY363" fmla="*/ 5980343 h 6858000"/>
              <a:gd name="connsiteX364" fmla="*/ 1950261 w 7467600"/>
              <a:gd name="connsiteY364" fmla="*/ 6405858 h 6858000"/>
              <a:gd name="connsiteX365" fmla="*/ 2365554 w 7467600"/>
              <a:gd name="connsiteY365" fmla="*/ 6759107 h 6858000"/>
              <a:gd name="connsiteX366" fmla="*/ 2424142 w 7467600"/>
              <a:gd name="connsiteY366" fmla="*/ 6858000 h 6858000"/>
              <a:gd name="connsiteX367" fmla="*/ 2395994 w 7467600"/>
              <a:gd name="connsiteY367" fmla="*/ 6858000 h 6858000"/>
              <a:gd name="connsiteX368" fmla="*/ 2392863 w 7467600"/>
              <a:gd name="connsiteY368" fmla="*/ 6852964 h 6858000"/>
              <a:gd name="connsiteX369" fmla="*/ 2017589 w 7467600"/>
              <a:gd name="connsiteY369" fmla="*/ 6493982 h 6858000"/>
              <a:gd name="connsiteX370" fmla="*/ 2147336 w 7467600"/>
              <a:gd name="connsiteY370" fmla="*/ 6594052 h 6858000"/>
              <a:gd name="connsiteX371" fmla="*/ 2207047 w 7467600"/>
              <a:gd name="connsiteY371" fmla="*/ 6654540 h 6858000"/>
              <a:gd name="connsiteX372" fmla="*/ 2299106 w 7467600"/>
              <a:gd name="connsiteY372" fmla="*/ 6778931 h 6858000"/>
              <a:gd name="connsiteX373" fmla="*/ 2314430 w 7467600"/>
              <a:gd name="connsiteY373" fmla="*/ 6801144 h 6858000"/>
              <a:gd name="connsiteX374" fmla="*/ 2352406 w 7467600"/>
              <a:gd name="connsiteY374" fmla="*/ 6858000 h 6858000"/>
              <a:gd name="connsiteX375" fmla="*/ 2314492 w 7467600"/>
              <a:gd name="connsiteY375" fmla="*/ 6858000 h 6858000"/>
              <a:gd name="connsiteX376" fmla="*/ 2288095 w 7467600"/>
              <a:gd name="connsiteY376" fmla="*/ 6818030 h 6858000"/>
              <a:gd name="connsiteX377" fmla="*/ 2272768 w 7467600"/>
              <a:gd name="connsiteY377" fmla="*/ 6795822 h 6858000"/>
              <a:gd name="connsiteX378" fmla="*/ 2182715 w 7467600"/>
              <a:gd name="connsiteY378" fmla="*/ 6675071 h 6858000"/>
              <a:gd name="connsiteX379" fmla="*/ 2032061 w 7467600"/>
              <a:gd name="connsiteY379" fmla="*/ 6541380 h 6858000"/>
              <a:gd name="connsiteX380" fmla="*/ 2257220 w 7467600"/>
              <a:gd name="connsiteY380" fmla="*/ 6826257 h 6858000"/>
              <a:gd name="connsiteX381" fmla="*/ 2281324 w 7467600"/>
              <a:gd name="connsiteY381" fmla="*/ 6858000 h 6858000"/>
              <a:gd name="connsiteX382" fmla="*/ 2242860 w 7467600"/>
              <a:gd name="connsiteY382" fmla="*/ 6858000 h 6858000"/>
              <a:gd name="connsiteX383" fmla="*/ 2232818 w 7467600"/>
              <a:gd name="connsiteY383" fmla="*/ 6844926 h 6858000"/>
              <a:gd name="connsiteX384" fmla="*/ 1990172 w 7467600"/>
              <a:gd name="connsiteY384" fmla="*/ 6542121 h 6858000"/>
              <a:gd name="connsiteX385" fmla="*/ 2124090 w 7467600"/>
              <a:gd name="connsiteY385" fmla="*/ 6761017 h 6858000"/>
              <a:gd name="connsiteX386" fmla="*/ 2200380 w 7467600"/>
              <a:gd name="connsiteY386" fmla="*/ 6858000 h 6858000"/>
              <a:gd name="connsiteX387" fmla="*/ 2147507 w 7467600"/>
              <a:gd name="connsiteY387" fmla="*/ 6858000 h 6858000"/>
              <a:gd name="connsiteX388" fmla="*/ 2070668 w 7467600"/>
              <a:gd name="connsiteY388" fmla="*/ 6761520 h 6858000"/>
              <a:gd name="connsiteX389" fmla="*/ 1975142 w 7467600"/>
              <a:gd name="connsiteY389" fmla="*/ 6585570 h 6858000"/>
              <a:gd name="connsiteX390" fmla="*/ 2050035 w 7467600"/>
              <a:gd name="connsiteY390" fmla="*/ 6813345 h 6858000"/>
              <a:gd name="connsiteX391" fmla="*/ 2063025 w 7467600"/>
              <a:gd name="connsiteY391" fmla="*/ 6858000 h 6858000"/>
              <a:gd name="connsiteX392" fmla="*/ 2021675 w 7467600"/>
              <a:gd name="connsiteY392" fmla="*/ 6858000 h 6858000"/>
              <a:gd name="connsiteX393" fmla="*/ 2019308 w 7467600"/>
              <a:gd name="connsiteY393" fmla="*/ 6847118 h 6858000"/>
              <a:gd name="connsiteX394" fmla="*/ 1938835 w 7467600"/>
              <a:gd name="connsiteY394" fmla="*/ 6551160 h 6858000"/>
              <a:gd name="connsiteX395" fmla="*/ 1953230 w 7467600"/>
              <a:gd name="connsiteY395" fmla="*/ 6759699 h 6858000"/>
              <a:gd name="connsiteX396" fmla="*/ 1956763 w 7467600"/>
              <a:gd name="connsiteY396" fmla="*/ 6778191 h 6858000"/>
              <a:gd name="connsiteX397" fmla="*/ 1967925 w 7467600"/>
              <a:gd name="connsiteY397" fmla="*/ 6858000 h 6858000"/>
              <a:gd name="connsiteX398" fmla="*/ 1936622 w 7467600"/>
              <a:gd name="connsiteY398" fmla="*/ 6858000 h 6858000"/>
              <a:gd name="connsiteX399" fmla="*/ 1926261 w 7467600"/>
              <a:gd name="connsiteY399" fmla="*/ 6784064 h 6858000"/>
              <a:gd name="connsiteX400" fmla="*/ 1922724 w 7467600"/>
              <a:gd name="connsiteY400" fmla="*/ 6765577 h 6858000"/>
              <a:gd name="connsiteX401" fmla="*/ 1904650 w 7467600"/>
              <a:gd name="connsiteY401" fmla="*/ 6639616 h 6858000"/>
              <a:gd name="connsiteX402" fmla="*/ 1885273 w 7467600"/>
              <a:gd name="connsiteY402" fmla="*/ 6858000 h 6858000"/>
              <a:gd name="connsiteX403" fmla="*/ 1854363 w 7467600"/>
              <a:gd name="connsiteY403" fmla="*/ 6858000 h 6858000"/>
              <a:gd name="connsiteX404" fmla="*/ 1880391 w 7467600"/>
              <a:gd name="connsiteY404" fmla="*/ 6603796 h 6858000"/>
              <a:gd name="connsiteX405" fmla="*/ 1818273 w 7467600"/>
              <a:gd name="connsiteY405" fmla="*/ 6715729 h 6858000"/>
              <a:gd name="connsiteX406" fmla="*/ 1794691 w 7467600"/>
              <a:gd name="connsiteY406" fmla="*/ 6843239 h 6858000"/>
              <a:gd name="connsiteX407" fmla="*/ 1794914 w 7467600"/>
              <a:gd name="connsiteY407" fmla="*/ 6858000 h 6858000"/>
              <a:gd name="connsiteX408" fmla="*/ 1746128 w 7467600"/>
              <a:gd name="connsiteY408" fmla="*/ 6858000 h 6858000"/>
              <a:gd name="connsiteX409" fmla="*/ 1753934 w 7467600"/>
              <a:gd name="connsiteY409" fmla="*/ 6724796 h 6858000"/>
              <a:gd name="connsiteX410" fmla="*/ 1792053 w 7467600"/>
              <a:gd name="connsiteY410" fmla="*/ 6572396 h 6858000"/>
              <a:gd name="connsiteX411" fmla="*/ 1862248 w 7467600"/>
              <a:gd name="connsiteY411" fmla="*/ 6266397 h 6858000"/>
              <a:gd name="connsiteX412" fmla="*/ 1862250 w 7467600"/>
              <a:gd name="connsiteY412" fmla="*/ 6033531 h 6858000"/>
              <a:gd name="connsiteX413" fmla="*/ 1211999 w 7467600"/>
              <a:gd name="connsiteY413" fmla="*/ 6683610 h 6858000"/>
              <a:gd name="connsiteX414" fmla="*/ 1213266 w 7467600"/>
              <a:gd name="connsiteY414" fmla="*/ 6691947 h 6858000"/>
              <a:gd name="connsiteX415" fmla="*/ 1203370 w 7467600"/>
              <a:gd name="connsiteY415" fmla="*/ 6850676 h 6858000"/>
              <a:gd name="connsiteX416" fmla="*/ 1203671 w 7467600"/>
              <a:gd name="connsiteY416" fmla="*/ 6858000 h 6858000"/>
              <a:gd name="connsiteX417" fmla="*/ 1143180 w 7467600"/>
              <a:gd name="connsiteY417" fmla="*/ 6858000 h 6858000"/>
              <a:gd name="connsiteX418" fmla="*/ 1142176 w 7467600"/>
              <a:gd name="connsiteY418" fmla="*/ 6766045 h 6858000"/>
              <a:gd name="connsiteX419" fmla="*/ 1067484 w 7467600"/>
              <a:gd name="connsiteY419" fmla="*/ 6858000 h 6858000"/>
              <a:gd name="connsiteX420" fmla="*/ 953928 w 7467600"/>
              <a:gd name="connsiteY420" fmla="*/ 6858000 h 6858000"/>
              <a:gd name="connsiteX421" fmla="*/ 959715 w 7467600"/>
              <a:gd name="connsiteY421" fmla="*/ 6850185 h 6858000"/>
              <a:gd name="connsiteX422" fmla="*/ 1483788 w 7467600"/>
              <a:gd name="connsiteY422" fmla="*/ 6259174 h 6858000"/>
              <a:gd name="connsiteX423" fmla="*/ 1100671 w 7467600"/>
              <a:gd name="connsiteY423" fmla="*/ 6252137 h 6858000"/>
              <a:gd name="connsiteX424" fmla="*/ 1090144 w 7467600"/>
              <a:gd name="connsiteY424" fmla="*/ 6256748 h 6858000"/>
              <a:gd name="connsiteX425" fmla="*/ 1095872 w 7467600"/>
              <a:gd name="connsiteY425" fmla="*/ 6271892 h 6858000"/>
              <a:gd name="connsiteX426" fmla="*/ 262785 w 7467600"/>
              <a:gd name="connsiteY426" fmla="*/ 6845450 h 6858000"/>
              <a:gd name="connsiteX427" fmla="*/ 209968 w 7467600"/>
              <a:gd name="connsiteY427" fmla="*/ 6770713 h 6858000"/>
              <a:gd name="connsiteX428" fmla="*/ 873460 w 7467600"/>
              <a:gd name="connsiteY428" fmla="*/ 6253768 h 6858000"/>
              <a:gd name="connsiteX429" fmla="*/ 192686 w 7467600"/>
              <a:gd name="connsiteY429" fmla="*/ 5849257 h 6858000"/>
              <a:gd name="connsiteX430" fmla="*/ 4696 w 7467600"/>
              <a:gd name="connsiteY430" fmla="*/ 5697668 h 6858000"/>
              <a:gd name="connsiteX431" fmla="*/ 0 w 7467600"/>
              <a:gd name="connsiteY431" fmla="*/ 5689984 h 6858000"/>
              <a:gd name="connsiteX432" fmla="*/ 0 w 7467600"/>
              <a:gd name="connsiteY432" fmla="*/ 5513472 h 6858000"/>
              <a:gd name="connsiteX433" fmla="*/ 174101 w 7467600"/>
              <a:gd name="connsiteY433" fmla="*/ 5620277 h 6858000"/>
              <a:gd name="connsiteX434" fmla="*/ 891800 w 7467600"/>
              <a:gd name="connsiteY434" fmla="*/ 6036935 h 6858000"/>
              <a:gd name="connsiteX435" fmla="*/ 1072219 w 7467600"/>
              <a:gd name="connsiteY435" fmla="*/ 6169443 h 6858000"/>
              <a:gd name="connsiteX436" fmla="*/ 1074117 w 7467600"/>
              <a:gd name="connsiteY436" fmla="*/ 6170301 h 6858000"/>
              <a:gd name="connsiteX437" fmla="*/ 1083114 w 7467600"/>
              <a:gd name="connsiteY437" fmla="*/ 6174131 h 6858000"/>
              <a:gd name="connsiteX438" fmla="*/ 1543010 w 7467600"/>
              <a:gd name="connsiteY438" fmla="*/ 6191140 h 6858000"/>
              <a:gd name="connsiteX439" fmla="*/ 1551080 w 7467600"/>
              <a:gd name="connsiteY439" fmla="*/ 6195006 h 6858000"/>
              <a:gd name="connsiteX440" fmla="*/ 2345443 w 7467600"/>
              <a:gd name="connsiteY440" fmla="*/ 5549882 h 6858000"/>
              <a:gd name="connsiteX441" fmla="*/ 1721499 w 7467600"/>
              <a:gd name="connsiteY441" fmla="*/ 5599969 h 6858000"/>
              <a:gd name="connsiteX442" fmla="*/ 767716 w 7467600"/>
              <a:gd name="connsiteY442" fmla="*/ 5472768 h 6858000"/>
              <a:gd name="connsiteX443" fmla="*/ 722147 w 7467600"/>
              <a:gd name="connsiteY443" fmla="*/ 5393091 h 6858000"/>
              <a:gd name="connsiteX444" fmla="*/ 1485552 w 7467600"/>
              <a:gd name="connsiteY444" fmla="*/ 5313202 h 6858000"/>
              <a:gd name="connsiteX445" fmla="*/ 2143004 w 7467600"/>
              <a:gd name="connsiteY445" fmla="*/ 5402420 h 6858000"/>
              <a:gd name="connsiteX446" fmla="*/ 1933391 w 7467600"/>
              <a:gd name="connsiteY446" fmla="*/ 5156971 h 6858000"/>
              <a:gd name="connsiteX447" fmla="*/ 1827118 w 7467600"/>
              <a:gd name="connsiteY447" fmla="*/ 4968410 h 6858000"/>
              <a:gd name="connsiteX448" fmla="*/ 1837349 w 7467600"/>
              <a:gd name="connsiteY448" fmla="*/ 4956357 h 6858000"/>
              <a:gd name="connsiteX449" fmla="*/ 2162835 w 7467600"/>
              <a:gd name="connsiteY449" fmla="*/ 5187853 h 6858000"/>
              <a:gd name="connsiteX450" fmla="*/ 2257167 w 7467600"/>
              <a:gd name="connsiteY450" fmla="*/ 5462123 h 6858000"/>
              <a:gd name="connsiteX451" fmla="*/ 2261598 w 7467600"/>
              <a:gd name="connsiteY451" fmla="*/ 5467998 h 6858000"/>
              <a:gd name="connsiteX452" fmla="*/ 2437177 w 7467600"/>
              <a:gd name="connsiteY452" fmla="*/ 5479608 h 6858000"/>
              <a:gd name="connsiteX453" fmla="*/ 2445247 w 7467600"/>
              <a:gd name="connsiteY453" fmla="*/ 5483476 h 6858000"/>
              <a:gd name="connsiteX454" fmla="*/ 2743626 w 7467600"/>
              <a:gd name="connsiteY454" fmla="*/ 5304819 h 6858000"/>
              <a:gd name="connsiteX455" fmla="*/ 3048102 w 7467600"/>
              <a:gd name="connsiteY455" fmla="*/ 5150595 h 6858000"/>
              <a:gd name="connsiteX456" fmla="*/ 1799414 w 7467600"/>
              <a:gd name="connsiteY456" fmla="*/ 4694732 h 6858000"/>
              <a:gd name="connsiteX457" fmla="*/ 1771735 w 7467600"/>
              <a:gd name="connsiteY457" fmla="*/ 4619929 h 6858000"/>
              <a:gd name="connsiteX458" fmla="*/ 3104273 w 7467600"/>
              <a:gd name="connsiteY458" fmla="*/ 5076159 h 6858000"/>
              <a:gd name="connsiteX459" fmla="*/ 3113245 w 7467600"/>
              <a:gd name="connsiteY459" fmla="*/ 5090705 h 6858000"/>
              <a:gd name="connsiteX460" fmla="*/ 3126294 w 7467600"/>
              <a:gd name="connsiteY460" fmla="*/ 5114400 h 6858000"/>
              <a:gd name="connsiteX461" fmla="*/ 3937433 w 7467600"/>
              <a:gd name="connsiteY461" fmla="*/ 4830473 h 6858000"/>
              <a:gd name="connsiteX462" fmla="*/ 3590475 w 7467600"/>
              <a:gd name="connsiteY462" fmla="*/ 4597974 h 6858000"/>
              <a:gd name="connsiteX463" fmla="*/ 3100264 w 7467600"/>
              <a:gd name="connsiteY463" fmla="*/ 4579845 h 6858000"/>
              <a:gd name="connsiteX464" fmla="*/ 2183576 w 7467600"/>
              <a:gd name="connsiteY464" fmla="*/ 4227150 h 6858000"/>
              <a:gd name="connsiteX465" fmla="*/ 2151029 w 7467600"/>
              <a:gd name="connsiteY465" fmla="*/ 4146947 h 6858000"/>
              <a:gd name="connsiteX466" fmla="*/ 3563434 w 7467600"/>
              <a:gd name="connsiteY466" fmla="*/ 4469115 h 6858000"/>
              <a:gd name="connsiteX467" fmla="*/ 3177952 w 7467600"/>
              <a:gd name="connsiteY467" fmla="*/ 3657386 h 6858000"/>
              <a:gd name="connsiteX468" fmla="*/ 3189263 w 7467600"/>
              <a:gd name="connsiteY468" fmla="*/ 3625726 h 6858000"/>
              <a:gd name="connsiteX469" fmla="*/ 3560912 w 7467600"/>
              <a:gd name="connsiteY469" fmla="*/ 4079863 h 6858000"/>
              <a:gd name="connsiteX470" fmla="*/ 3626636 w 7467600"/>
              <a:gd name="connsiteY470" fmla="*/ 4512230 h 6858000"/>
              <a:gd name="connsiteX471" fmla="*/ 3653088 w 7467600"/>
              <a:gd name="connsiteY471" fmla="*/ 4521417 h 6858000"/>
              <a:gd name="connsiteX472" fmla="*/ 3988128 w 7467600"/>
              <a:gd name="connsiteY472" fmla="*/ 4817267 h 6858000"/>
              <a:gd name="connsiteX473" fmla="*/ 4830582 w 7467600"/>
              <a:gd name="connsiteY473" fmla="*/ 4676000 h 6858000"/>
              <a:gd name="connsiteX474" fmla="*/ 4830100 w 7467600"/>
              <a:gd name="connsiteY474" fmla="*/ 4675554 h 6858000"/>
              <a:gd name="connsiteX475" fmla="*/ 4036318 w 7467600"/>
              <a:gd name="connsiteY475" fmla="*/ 4147013 h 6858000"/>
              <a:gd name="connsiteX476" fmla="*/ 3432098 w 7467600"/>
              <a:gd name="connsiteY476" fmla="*/ 3537312 h 6858000"/>
              <a:gd name="connsiteX477" fmla="*/ 3446761 w 7467600"/>
              <a:gd name="connsiteY477" fmla="*/ 3461278 h 6858000"/>
              <a:gd name="connsiteX478" fmla="*/ 4419733 w 7467600"/>
              <a:gd name="connsiteY478" fmla="*/ 3963555 h 6858000"/>
              <a:gd name="connsiteX479" fmla="*/ 4781371 w 7467600"/>
              <a:gd name="connsiteY479" fmla="*/ 4458604 h 6858000"/>
              <a:gd name="connsiteX480" fmla="*/ 4780440 w 7467600"/>
              <a:gd name="connsiteY480" fmla="*/ 4470290 h 6858000"/>
              <a:gd name="connsiteX481" fmla="*/ 4898954 w 7467600"/>
              <a:gd name="connsiteY481" fmla="*/ 4662092 h 6858000"/>
              <a:gd name="connsiteX482" fmla="*/ 4900699 w 7467600"/>
              <a:gd name="connsiteY482" fmla="*/ 4670867 h 6858000"/>
              <a:gd name="connsiteX483" fmla="*/ 5714511 w 7467600"/>
              <a:gd name="connsiteY483" fmla="*/ 4663483 h 6858000"/>
              <a:gd name="connsiteX484" fmla="*/ 5464793 w 7467600"/>
              <a:gd name="connsiteY484" fmla="*/ 4393556 h 6858000"/>
              <a:gd name="connsiteX485" fmla="*/ 5461897 w 7467600"/>
              <a:gd name="connsiteY485" fmla="*/ 4390879 h 6858000"/>
              <a:gd name="connsiteX486" fmla="*/ 4294126 w 7467600"/>
              <a:gd name="connsiteY486" fmla="*/ 3303048 h 6858000"/>
              <a:gd name="connsiteX487" fmla="*/ 4305321 w 7467600"/>
              <a:gd name="connsiteY487" fmla="*/ 3256953 h 6858000"/>
              <a:gd name="connsiteX488" fmla="*/ 4949299 w 7467600"/>
              <a:gd name="connsiteY488" fmla="*/ 3766336 h 6858000"/>
              <a:gd name="connsiteX489" fmla="*/ 5291452 w 7467600"/>
              <a:gd name="connsiteY489" fmla="*/ 4076801 h 6858000"/>
              <a:gd name="connsiteX490" fmla="*/ 5434998 w 7467600"/>
              <a:gd name="connsiteY490" fmla="*/ 4254100 h 6858000"/>
              <a:gd name="connsiteX491" fmla="*/ 5351015 w 7467600"/>
              <a:gd name="connsiteY491" fmla="*/ 3760989 h 6858000"/>
              <a:gd name="connsiteX492" fmla="*/ 5413780 w 7467600"/>
              <a:gd name="connsiteY492" fmla="*/ 2966265 h 6858000"/>
              <a:gd name="connsiteX493" fmla="*/ 5425627 w 7467600"/>
              <a:gd name="connsiteY493" fmla="*/ 2954192 h 6858000"/>
              <a:gd name="connsiteX494" fmla="*/ 6604735 w 7467600"/>
              <a:gd name="connsiteY494" fmla="*/ 2041381 h 6858000"/>
              <a:gd name="connsiteX495" fmla="*/ 7204487 w 7467600"/>
              <a:gd name="connsiteY495" fmla="*/ 2742112 h 6858000"/>
              <a:gd name="connsiteX496" fmla="*/ 7131592 w 7467600"/>
              <a:gd name="connsiteY496" fmla="*/ 2672096 h 6858000"/>
              <a:gd name="connsiteX497" fmla="*/ 6996344 w 7467600"/>
              <a:gd name="connsiteY497" fmla="*/ 2518310 h 6858000"/>
              <a:gd name="connsiteX498" fmla="*/ 6735495 w 7467600"/>
              <a:gd name="connsiteY498" fmla="*/ 2196890 h 6858000"/>
              <a:gd name="connsiteX499" fmla="*/ 6721901 w 7467600"/>
              <a:gd name="connsiteY499" fmla="*/ 2179274 h 6858000"/>
              <a:gd name="connsiteX500" fmla="*/ 6604735 w 7467600"/>
              <a:gd name="connsiteY500" fmla="*/ 2041381 h 6858000"/>
              <a:gd name="connsiteX501" fmla="*/ 6591670 w 7467600"/>
              <a:gd name="connsiteY501" fmla="*/ 1988277 h 6858000"/>
              <a:gd name="connsiteX502" fmla="*/ 6747349 w 7467600"/>
              <a:gd name="connsiteY502" fmla="*/ 2160069 h 6858000"/>
              <a:gd name="connsiteX503" fmla="*/ 6760943 w 7467600"/>
              <a:gd name="connsiteY503" fmla="*/ 2177686 h 6858000"/>
              <a:gd name="connsiteX504" fmla="*/ 7021065 w 7467600"/>
              <a:gd name="connsiteY504" fmla="*/ 2498102 h 6858000"/>
              <a:gd name="connsiteX505" fmla="*/ 7155223 w 7467600"/>
              <a:gd name="connsiteY505" fmla="*/ 2650386 h 6858000"/>
              <a:gd name="connsiteX506" fmla="*/ 7203167 w 7467600"/>
              <a:gd name="connsiteY506" fmla="*/ 2697288 h 6858000"/>
              <a:gd name="connsiteX507" fmla="*/ 6937703 w 7467600"/>
              <a:gd name="connsiteY507" fmla="*/ 2321981 h 6858000"/>
              <a:gd name="connsiteX508" fmla="*/ 6591670 w 7467600"/>
              <a:gd name="connsiteY508" fmla="*/ 1988277 h 6858000"/>
              <a:gd name="connsiteX509" fmla="*/ 5798671 w 7467600"/>
              <a:gd name="connsiteY509" fmla="*/ 1981601 h 6858000"/>
              <a:gd name="connsiteX510" fmla="*/ 5754709 w 7467600"/>
              <a:gd name="connsiteY510" fmla="*/ 2071454 h 6858000"/>
              <a:gd name="connsiteX511" fmla="*/ 5763044 w 7467600"/>
              <a:gd name="connsiteY511" fmla="*/ 2842206 h 6858000"/>
              <a:gd name="connsiteX512" fmla="*/ 5764974 w 7467600"/>
              <a:gd name="connsiteY512" fmla="*/ 2799609 h 6858000"/>
              <a:gd name="connsiteX513" fmla="*/ 5767665 w 7467600"/>
              <a:gd name="connsiteY513" fmla="*/ 2666409 h 6858000"/>
              <a:gd name="connsiteX514" fmla="*/ 5763055 w 7467600"/>
              <a:gd name="connsiteY514" fmla="*/ 2579705 h 6858000"/>
              <a:gd name="connsiteX515" fmla="*/ 5758079 w 7467600"/>
              <a:gd name="connsiteY515" fmla="*/ 2492508 h 6858000"/>
              <a:gd name="connsiteX516" fmla="*/ 5779325 w 7467600"/>
              <a:gd name="connsiteY516" fmla="*/ 2197069 h 6858000"/>
              <a:gd name="connsiteX517" fmla="*/ 5798671 w 7467600"/>
              <a:gd name="connsiteY517" fmla="*/ 1981601 h 6858000"/>
              <a:gd name="connsiteX518" fmla="*/ 5829202 w 7467600"/>
              <a:gd name="connsiteY518" fmla="*/ 1971679 h 6858000"/>
              <a:gd name="connsiteX519" fmla="*/ 5809558 w 7467600"/>
              <a:gd name="connsiteY519" fmla="*/ 2198043 h 6858000"/>
              <a:gd name="connsiteX520" fmla="*/ 5788653 w 7467600"/>
              <a:gd name="connsiteY520" fmla="*/ 2489430 h 6858000"/>
              <a:gd name="connsiteX521" fmla="*/ 5793439 w 7467600"/>
              <a:gd name="connsiteY521" fmla="*/ 2575235 h 6858000"/>
              <a:gd name="connsiteX522" fmla="*/ 5796837 w 7467600"/>
              <a:gd name="connsiteY522" fmla="*/ 2637633 h 6858000"/>
              <a:gd name="connsiteX523" fmla="*/ 5818614 w 7467600"/>
              <a:gd name="connsiteY523" fmla="*/ 2473055 h 6858000"/>
              <a:gd name="connsiteX524" fmla="*/ 5829202 w 7467600"/>
              <a:gd name="connsiteY524" fmla="*/ 1971679 h 6858000"/>
              <a:gd name="connsiteX525" fmla="*/ 5911389 w 7467600"/>
              <a:gd name="connsiteY525" fmla="*/ 1898371 h 6858000"/>
              <a:gd name="connsiteX526" fmla="*/ 6237627 w 7467600"/>
              <a:gd name="connsiteY526" fmla="*/ 2231921 h 6858000"/>
              <a:gd name="connsiteX527" fmla="*/ 5911389 w 7467600"/>
              <a:gd name="connsiteY527" fmla="*/ 1898371 h 6858000"/>
              <a:gd name="connsiteX528" fmla="*/ 6944437 w 7467600"/>
              <a:gd name="connsiteY528" fmla="*/ 1575402 h 6858000"/>
              <a:gd name="connsiteX529" fmla="*/ 6304730 w 7467600"/>
              <a:gd name="connsiteY529" fmla="*/ 1766654 h 6858000"/>
              <a:gd name="connsiteX530" fmla="*/ 6944437 w 7467600"/>
              <a:gd name="connsiteY530" fmla="*/ 1575402 h 6858000"/>
              <a:gd name="connsiteX531" fmla="*/ 7019523 w 7467600"/>
              <a:gd name="connsiteY531" fmla="*/ 1519450 h 6858000"/>
              <a:gd name="connsiteX532" fmla="*/ 6298091 w 7467600"/>
              <a:gd name="connsiteY532" fmla="*/ 1737122 h 6858000"/>
              <a:gd name="connsiteX533" fmla="*/ 7019523 w 7467600"/>
              <a:gd name="connsiteY533" fmla="*/ 1519450 h 6858000"/>
              <a:gd name="connsiteX534" fmla="*/ 2399523 w 7467600"/>
              <a:gd name="connsiteY534" fmla="*/ 1428234 h 6858000"/>
              <a:gd name="connsiteX535" fmla="*/ 2224982 w 7467600"/>
              <a:gd name="connsiteY535" fmla="*/ 1826201 h 6858000"/>
              <a:gd name="connsiteX536" fmla="*/ 2096099 w 7467600"/>
              <a:gd name="connsiteY536" fmla="*/ 2345900 h 6858000"/>
              <a:gd name="connsiteX537" fmla="*/ 2283317 w 7467600"/>
              <a:gd name="connsiteY537" fmla="*/ 1796925 h 6858000"/>
              <a:gd name="connsiteX538" fmla="*/ 2399523 w 7467600"/>
              <a:gd name="connsiteY538" fmla="*/ 1428234 h 6858000"/>
              <a:gd name="connsiteX539" fmla="*/ 2448558 w 7467600"/>
              <a:gd name="connsiteY539" fmla="*/ 1373435 h 6858000"/>
              <a:gd name="connsiteX540" fmla="*/ 2312521 w 7467600"/>
              <a:gd name="connsiteY540" fmla="*/ 1806140 h 6858000"/>
              <a:gd name="connsiteX541" fmla="*/ 2127533 w 7467600"/>
              <a:gd name="connsiteY541" fmla="*/ 2348380 h 6858000"/>
              <a:gd name="connsiteX542" fmla="*/ 2358080 w 7467600"/>
              <a:gd name="connsiteY542" fmla="*/ 1866134 h 6858000"/>
              <a:gd name="connsiteX543" fmla="*/ 2407436 w 7467600"/>
              <a:gd name="connsiteY543" fmla="*/ 1651070 h 6858000"/>
              <a:gd name="connsiteX544" fmla="*/ 2448558 w 7467600"/>
              <a:gd name="connsiteY544" fmla="*/ 1373435 h 6858000"/>
              <a:gd name="connsiteX545" fmla="*/ 278707 w 7467600"/>
              <a:gd name="connsiteY545" fmla="*/ 1352270 h 6858000"/>
              <a:gd name="connsiteX546" fmla="*/ 321570 w 7467600"/>
              <a:gd name="connsiteY546" fmla="*/ 1861610 h 6858000"/>
              <a:gd name="connsiteX547" fmla="*/ 294281 w 7467600"/>
              <a:gd name="connsiteY547" fmla="*/ 1440658 h 6858000"/>
              <a:gd name="connsiteX548" fmla="*/ 278707 w 7467600"/>
              <a:gd name="connsiteY548" fmla="*/ 1352270 h 6858000"/>
              <a:gd name="connsiteX549" fmla="*/ 1423821 w 7467600"/>
              <a:gd name="connsiteY549" fmla="*/ 1351958 h 6858000"/>
              <a:gd name="connsiteX550" fmla="*/ 1638521 w 7467600"/>
              <a:gd name="connsiteY550" fmla="*/ 1908470 h 6858000"/>
              <a:gd name="connsiteX551" fmla="*/ 1754199 w 7467600"/>
              <a:gd name="connsiteY551" fmla="*/ 2149284 h 6858000"/>
              <a:gd name="connsiteX552" fmla="*/ 1908359 w 7467600"/>
              <a:gd name="connsiteY552" fmla="*/ 2364988 h 6858000"/>
              <a:gd name="connsiteX553" fmla="*/ 1647661 w 7467600"/>
              <a:gd name="connsiteY553" fmla="*/ 1825945 h 6858000"/>
              <a:gd name="connsiteX554" fmla="*/ 1423821 w 7467600"/>
              <a:gd name="connsiteY554" fmla="*/ 1351958 h 6858000"/>
              <a:gd name="connsiteX555" fmla="*/ 1431890 w 7467600"/>
              <a:gd name="connsiteY555" fmla="*/ 1306475 h 6858000"/>
              <a:gd name="connsiteX556" fmla="*/ 1507597 w 7467600"/>
              <a:gd name="connsiteY556" fmla="*/ 1446132 h 6858000"/>
              <a:gd name="connsiteX557" fmla="*/ 1674586 w 7467600"/>
              <a:gd name="connsiteY557" fmla="*/ 1813832 h 6858000"/>
              <a:gd name="connsiteX558" fmla="*/ 1815950 w 7467600"/>
              <a:gd name="connsiteY558" fmla="*/ 2128564 h 6858000"/>
              <a:gd name="connsiteX559" fmla="*/ 1984242 w 7467600"/>
              <a:gd name="connsiteY559" fmla="*/ 2430829 h 6858000"/>
              <a:gd name="connsiteX560" fmla="*/ 2014023 w 7467600"/>
              <a:gd name="connsiteY560" fmla="*/ 2450995 h 6858000"/>
              <a:gd name="connsiteX561" fmla="*/ 1747337 w 7467600"/>
              <a:gd name="connsiteY561" fmla="*/ 1855264 h 6858000"/>
              <a:gd name="connsiteX562" fmla="*/ 1533749 w 7467600"/>
              <a:gd name="connsiteY562" fmla="*/ 1478656 h 6858000"/>
              <a:gd name="connsiteX563" fmla="*/ 1431890 w 7467600"/>
              <a:gd name="connsiteY563" fmla="*/ 1306475 h 6858000"/>
              <a:gd name="connsiteX564" fmla="*/ 5052692 w 7467600"/>
              <a:gd name="connsiteY564" fmla="*/ 1292994 h 6858000"/>
              <a:gd name="connsiteX565" fmla="*/ 5200661 w 7467600"/>
              <a:gd name="connsiteY565" fmla="*/ 1635186 h 6858000"/>
              <a:gd name="connsiteX566" fmla="*/ 5297138 w 7467600"/>
              <a:gd name="connsiteY566" fmla="*/ 1906351 h 6858000"/>
              <a:gd name="connsiteX567" fmla="*/ 5052692 w 7467600"/>
              <a:gd name="connsiteY567" fmla="*/ 1292994 h 6858000"/>
              <a:gd name="connsiteX568" fmla="*/ 5009948 w 7467600"/>
              <a:gd name="connsiteY568" fmla="*/ 1273619 h 6858000"/>
              <a:gd name="connsiteX569" fmla="*/ 5121777 w 7467600"/>
              <a:gd name="connsiteY569" fmla="*/ 1654213 h 6858000"/>
              <a:gd name="connsiteX570" fmla="*/ 5293545 w 7467600"/>
              <a:gd name="connsiteY570" fmla="*/ 2072247 h 6858000"/>
              <a:gd name="connsiteX571" fmla="*/ 5294042 w 7467600"/>
              <a:gd name="connsiteY571" fmla="*/ 2065019 h 6858000"/>
              <a:gd name="connsiteX572" fmla="*/ 5171936 w 7467600"/>
              <a:gd name="connsiteY572" fmla="*/ 1647613 h 6858000"/>
              <a:gd name="connsiteX573" fmla="*/ 5009948 w 7467600"/>
              <a:gd name="connsiteY573" fmla="*/ 1273619 h 6858000"/>
              <a:gd name="connsiteX574" fmla="*/ 655236 w 7467600"/>
              <a:gd name="connsiteY574" fmla="*/ 1268632 h 6858000"/>
              <a:gd name="connsiteX575" fmla="*/ 839521 w 7467600"/>
              <a:gd name="connsiteY575" fmla="*/ 1685315 h 6858000"/>
              <a:gd name="connsiteX576" fmla="*/ 1109416 w 7467600"/>
              <a:gd name="connsiteY576" fmla="*/ 2061663 h 6858000"/>
              <a:gd name="connsiteX577" fmla="*/ 1298300 w 7467600"/>
              <a:gd name="connsiteY577" fmla="*/ 2247742 h 6858000"/>
              <a:gd name="connsiteX578" fmla="*/ 1125871 w 7467600"/>
              <a:gd name="connsiteY578" fmla="*/ 1989513 h 6858000"/>
              <a:gd name="connsiteX579" fmla="*/ 981574 w 7467600"/>
              <a:gd name="connsiteY579" fmla="*/ 1783157 h 6858000"/>
              <a:gd name="connsiteX580" fmla="*/ 922198 w 7467600"/>
              <a:gd name="connsiteY580" fmla="*/ 1677437 h 6858000"/>
              <a:gd name="connsiteX581" fmla="*/ 869293 w 7467600"/>
              <a:gd name="connsiteY581" fmla="*/ 1583214 h 6858000"/>
              <a:gd name="connsiteX582" fmla="*/ 751431 w 7467600"/>
              <a:gd name="connsiteY582" fmla="*/ 1405731 h 6858000"/>
              <a:gd name="connsiteX583" fmla="*/ 655236 w 7467600"/>
              <a:gd name="connsiteY583" fmla="*/ 1268632 h 6858000"/>
              <a:gd name="connsiteX584" fmla="*/ 6516292 w 7467600"/>
              <a:gd name="connsiteY584" fmla="*/ 1263064 h 6858000"/>
              <a:gd name="connsiteX585" fmla="*/ 5736320 w 7467600"/>
              <a:gd name="connsiteY585" fmla="*/ 1501803 h 6858000"/>
              <a:gd name="connsiteX586" fmla="*/ 6516292 w 7467600"/>
              <a:gd name="connsiteY586" fmla="*/ 1263064 h 6858000"/>
              <a:gd name="connsiteX587" fmla="*/ 291466 w 7467600"/>
              <a:gd name="connsiteY587" fmla="*/ 1250369 h 6858000"/>
              <a:gd name="connsiteX588" fmla="*/ 323180 w 7467600"/>
              <a:gd name="connsiteY588" fmla="*/ 1435283 h 6858000"/>
              <a:gd name="connsiteX589" fmla="*/ 349381 w 7467600"/>
              <a:gd name="connsiteY589" fmla="*/ 1875041 h 6858000"/>
              <a:gd name="connsiteX590" fmla="*/ 374363 w 7467600"/>
              <a:gd name="connsiteY590" fmla="*/ 1506494 h 6858000"/>
              <a:gd name="connsiteX591" fmla="*/ 302168 w 7467600"/>
              <a:gd name="connsiteY591" fmla="*/ 1274495 h 6858000"/>
              <a:gd name="connsiteX592" fmla="*/ 291466 w 7467600"/>
              <a:gd name="connsiteY592" fmla="*/ 1250369 h 6858000"/>
              <a:gd name="connsiteX593" fmla="*/ 678222 w 7467600"/>
              <a:gd name="connsiteY593" fmla="*/ 1248670 h 6858000"/>
              <a:gd name="connsiteX594" fmla="*/ 775536 w 7467600"/>
              <a:gd name="connsiteY594" fmla="*/ 1388015 h 6858000"/>
              <a:gd name="connsiteX595" fmla="*/ 894529 w 7467600"/>
              <a:gd name="connsiteY595" fmla="*/ 1567739 h 6858000"/>
              <a:gd name="connsiteX596" fmla="*/ 948000 w 7467600"/>
              <a:gd name="connsiteY596" fmla="*/ 1663088 h 6858000"/>
              <a:gd name="connsiteX597" fmla="*/ 1006812 w 7467600"/>
              <a:gd name="connsiteY597" fmla="*/ 1767683 h 6858000"/>
              <a:gd name="connsiteX598" fmla="*/ 1149133 w 7467600"/>
              <a:gd name="connsiteY598" fmla="*/ 1971513 h 6858000"/>
              <a:gd name="connsiteX599" fmla="*/ 1333952 w 7467600"/>
              <a:gd name="connsiteY599" fmla="*/ 2251620 h 6858000"/>
              <a:gd name="connsiteX600" fmla="*/ 1337329 w 7467600"/>
              <a:gd name="connsiteY600" fmla="*/ 2258350 h 6858000"/>
              <a:gd name="connsiteX601" fmla="*/ 1014726 w 7467600"/>
              <a:gd name="connsiteY601" fmla="*/ 1615556 h 6858000"/>
              <a:gd name="connsiteX602" fmla="*/ 678222 w 7467600"/>
              <a:gd name="connsiteY602" fmla="*/ 1248670 h 6858000"/>
              <a:gd name="connsiteX603" fmla="*/ 6691602 w 7467600"/>
              <a:gd name="connsiteY603" fmla="*/ 1140573 h 6858000"/>
              <a:gd name="connsiteX604" fmla="*/ 6571100 w 7467600"/>
              <a:gd name="connsiteY604" fmla="*/ 1183662 h 6858000"/>
              <a:gd name="connsiteX605" fmla="*/ 6241687 w 7467600"/>
              <a:gd name="connsiteY605" fmla="*/ 1257600 h 6858000"/>
              <a:gd name="connsiteX606" fmla="*/ 5693009 w 7467600"/>
              <a:gd name="connsiteY606" fmla="*/ 1478256 h 6858000"/>
              <a:gd name="connsiteX607" fmla="*/ 6548420 w 7467600"/>
              <a:gd name="connsiteY607" fmla="*/ 1214599 h 6858000"/>
              <a:gd name="connsiteX608" fmla="*/ 6605473 w 7467600"/>
              <a:gd name="connsiteY608" fmla="*/ 1184686 h 6858000"/>
              <a:gd name="connsiteX609" fmla="*/ 6691602 w 7467600"/>
              <a:gd name="connsiteY609" fmla="*/ 1140573 h 6858000"/>
              <a:gd name="connsiteX610" fmla="*/ 4002475 w 7467600"/>
              <a:gd name="connsiteY610" fmla="*/ 1037802 h 6858000"/>
              <a:gd name="connsiteX611" fmla="*/ 4000324 w 7467600"/>
              <a:gd name="connsiteY611" fmla="*/ 1039362 h 6858000"/>
              <a:gd name="connsiteX612" fmla="*/ 4002862 w 7467600"/>
              <a:gd name="connsiteY612" fmla="*/ 1042866 h 6858000"/>
              <a:gd name="connsiteX613" fmla="*/ 4002475 w 7467600"/>
              <a:gd name="connsiteY613" fmla="*/ 1037802 h 6858000"/>
              <a:gd name="connsiteX614" fmla="*/ 506322 w 7467600"/>
              <a:gd name="connsiteY614" fmla="*/ 1020997 h 6858000"/>
              <a:gd name="connsiteX615" fmla="*/ 533068 w 7467600"/>
              <a:gd name="connsiteY615" fmla="*/ 1029409 h 6858000"/>
              <a:gd name="connsiteX616" fmla="*/ 1232525 w 7467600"/>
              <a:gd name="connsiteY616" fmla="*/ 1804675 h 6858000"/>
              <a:gd name="connsiteX617" fmla="*/ 1388858 w 7467600"/>
              <a:gd name="connsiteY617" fmla="*/ 2368011 h 6858000"/>
              <a:gd name="connsiteX618" fmla="*/ 1384098 w 7467600"/>
              <a:gd name="connsiteY618" fmla="*/ 2378125 h 6858000"/>
              <a:gd name="connsiteX619" fmla="*/ 1425393 w 7467600"/>
              <a:gd name="connsiteY619" fmla="*/ 2589124 h 6858000"/>
              <a:gd name="connsiteX620" fmla="*/ 1424001 w 7467600"/>
              <a:gd name="connsiteY620" fmla="*/ 2597541 h 6858000"/>
              <a:gd name="connsiteX621" fmla="*/ 2152729 w 7467600"/>
              <a:gd name="connsiteY621" fmla="*/ 2864487 h 6858000"/>
              <a:gd name="connsiteX622" fmla="*/ 2020609 w 7467600"/>
              <a:gd name="connsiteY622" fmla="*/ 2539671 h 6858000"/>
              <a:gd name="connsiteX623" fmla="*/ 2018920 w 7467600"/>
              <a:gd name="connsiteY623" fmla="*/ 2536309 h 6858000"/>
              <a:gd name="connsiteX624" fmla="*/ 1342441 w 7467600"/>
              <a:gd name="connsiteY624" fmla="*/ 1173017 h 6858000"/>
              <a:gd name="connsiteX625" fmla="*/ 1367925 w 7467600"/>
              <a:gd name="connsiteY625" fmla="*/ 1135648 h 6858000"/>
              <a:gd name="connsiteX626" fmla="*/ 1771401 w 7467600"/>
              <a:gd name="connsiteY626" fmla="*/ 1806673 h 6858000"/>
              <a:gd name="connsiteX627" fmla="*/ 1972385 w 7467600"/>
              <a:gd name="connsiteY627" fmla="*/ 2198735 h 6858000"/>
              <a:gd name="connsiteX628" fmla="*/ 2040892 w 7467600"/>
              <a:gd name="connsiteY628" fmla="*/ 2405205 h 6858000"/>
              <a:gd name="connsiteX629" fmla="*/ 2131689 w 7467600"/>
              <a:gd name="connsiteY629" fmla="*/ 1936926 h 6858000"/>
              <a:gd name="connsiteX630" fmla="*/ 2454820 w 7467600"/>
              <a:gd name="connsiteY630" fmla="*/ 1248808 h 6858000"/>
              <a:gd name="connsiteX631" fmla="*/ 2492512 w 7467600"/>
              <a:gd name="connsiteY631" fmla="*/ 1302920 h 6858000"/>
              <a:gd name="connsiteX632" fmla="*/ 2081216 w 7467600"/>
              <a:gd name="connsiteY632" fmla="*/ 2527513 h 6858000"/>
              <a:gd name="connsiteX633" fmla="*/ 2081211 w 7467600"/>
              <a:gd name="connsiteY633" fmla="*/ 2528916 h 6858000"/>
              <a:gd name="connsiteX634" fmla="*/ 2199067 w 7467600"/>
              <a:gd name="connsiteY634" fmla="*/ 2884061 h 6858000"/>
              <a:gd name="connsiteX635" fmla="*/ 3192586 w 7467600"/>
              <a:gd name="connsiteY635" fmla="*/ 3411496 h 6858000"/>
              <a:gd name="connsiteX636" fmla="*/ 3182620 w 7467600"/>
              <a:gd name="connsiteY636" fmla="*/ 3483279 h 6858000"/>
              <a:gd name="connsiteX637" fmla="*/ 2435119 w 7467600"/>
              <a:gd name="connsiteY637" fmla="*/ 3080173 h 6858000"/>
              <a:gd name="connsiteX638" fmla="*/ 2410152 w 7467600"/>
              <a:gd name="connsiteY638" fmla="*/ 3063751 h 6858000"/>
              <a:gd name="connsiteX639" fmla="*/ 2408099 w 7467600"/>
              <a:gd name="connsiteY639" fmla="*/ 3064403 h 6858000"/>
              <a:gd name="connsiteX640" fmla="*/ 2407218 w 7467600"/>
              <a:gd name="connsiteY640" fmla="*/ 3070324 h 6858000"/>
              <a:gd name="connsiteX641" fmla="*/ 2380138 w 7467600"/>
              <a:gd name="connsiteY641" fmla="*/ 3099341 h 6858000"/>
              <a:gd name="connsiteX642" fmla="*/ 1765923 w 7467600"/>
              <a:gd name="connsiteY642" fmla="*/ 3581043 h 6858000"/>
              <a:gd name="connsiteX643" fmla="*/ 1702258 w 7467600"/>
              <a:gd name="connsiteY643" fmla="*/ 3612286 h 6858000"/>
              <a:gd name="connsiteX644" fmla="*/ 1538370 w 7467600"/>
              <a:gd name="connsiteY644" fmla="*/ 3811804 h 6858000"/>
              <a:gd name="connsiteX645" fmla="*/ 542867 w 7467600"/>
              <a:gd name="connsiteY645" fmla="*/ 4944092 h 6858000"/>
              <a:gd name="connsiteX646" fmla="*/ 515800 w 7467600"/>
              <a:gd name="connsiteY646" fmla="*/ 4862180 h 6858000"/>
              <a:gd name="connsiteX647" fmla="*/ 909145 w 7467600"/>
              <a:gd name="connsiteY647" fmla="*/ 4199225 h 6858000"/>
              <a:gd name="connsiteX648" fmla="*/ 1214067 w 7467600"/>
              <a:gd name="connsiteY648" fmla="*/ 3908561 h 6858000"/>
              <a:gd name="connsiteX649" fmla="*/ 640967 w 7467600"/>
              <a:gd name="connsiteY649" fmla="*/ 4105601 h 6858000"/>
              <a:gd name="connsiteX650" fmla="*/ 112563 w 7467600"/>
              <a:gd name="connsiteY650" fmla="*/ 4396952 h 6858000"/>
              <a:gd name="connsiteX651" fmla="*/ 0 w 7467600"/>
              <a:gd name="connsiteY651" fmla="*/ 4466006 h 6858000"/>
              <a:gd name="connsiteX652" fmla="*/ 0 w 7467600"/>
              <a:gd name="connsiteY652" fmla="*/ 4233763 h 6858000"/>
              <a:gd name="connsiteX653" fmla="*/ 36881 w 7467600"/>
              <a:gd name="connsiteY653" fmla="*/ 4200118 h 6858000"/>
              <a:gd name="connsiteX654" fmla="*/ 910534 w 7467600"/>
              <a:gd name="connsiteY654" fmla="*/ 3629753 h 6858000"/>
              <a:gd name="connsiteX655" fmla="*/ 1578717 w 7467600"/>
              <a:gd name="connsiteY655" fmla="*/ 3575982 h 6858000"/>
              <a:gd name="connsiteX656" fmla="*/ 2338780 w 7467600"/>
              <a:gd name="connsiteY656" fmla="*/ 3033725 h 6858000"/>
              <a:gd name="connsiteX657" fmla="*/ 1807991 w 7467600"/>
              <a:gd name="connsiteY657" fmla="*/ 2807184 h 6858000"/>
              <a:gd name="connsiteX658" fmla="*/ 1416358 w 7467600"/>
              <a:gd name="connsiteY658" fmla="*/ 3112571 h 6858000"/>
              <a:gd name="connsiteX659" fmla="*/ 939066 w 7467600"/>
              <a:gd name="connsiteY659" fmla="*/ 3378798 h 6858000"/>
              <a:gd name="connsiteX660" fmla="*/ 115099 w 7467600"/>
              <a:gd name="connsiteY660" fmla="*/ 3607650 h 6858000"/>
              <a:gd name="connsiteX661" fmla="*/ 97284 w 7467600"/>
              <a:gd name="connsiteY661" fmla="*/ 3520393 h 6858000"/>
              <a:gd name="connsiteX662" fmla="*/ 922050 w 7467600"/>
              <a:gd name="connsiteY662" fmla="*/ 3074867 h 6858000"/>
              <a:gd name="connsiteX663" fmla="*/ 1405265 w 7467600"/>
              <a:gd name="connsiteY663" fmla="*/ 3016319 h 6858000"/>
              <a:gd name="connsiteX664" fmla="*/ 1407512 w 7467600"/>
              <a:gd name="connsiteY664" fmla="*/ 3018001 h 6858000"/>
              <a:gd name="connsiteX665" fmla="*/ 1726266 w 7467600"/>
              <a:gd name="connsiteY665" fmla="*/ 2777274 h 6858000"/>
              <a:gd name="connsiteX666" fmla="*/ 625390 w 7467600"/>
              <a:gd name="connsiteY666" fmla="*/ 2514541 h 6858000"/>
              <a:gd name="connsiteX667" fmla="*/ 619799 w 7467600"/>
              <a:gd name="connsiteY667" fmla="*/ 2527180 h 6858000"/>
              <a:gd name="connsiteX668" fmla="*/ 310030 w 7467600"/>
              <a:gd name="connsiteY668" fmla="*/ 2771818 h 6858000"/>
              <a:gd name="connsiteX669" fmla="*/ 173877 w 7467600"/>
              <a:gd name="connsiteY669" fmla="*/ 2937056 h 6858000"/>
              <a:gd name="connsiteX670" fmla="*/ 77889 w 7467600"/>
              <a:gd name="connsiteY670" fmla="*/ 3138440 h 6858000"/>
              <a:gd name="connsiteX671" fmla="*/ 0 w 7467600"/>
              <a:gd name="connsiteY671" fmla="*/ 3271395 h 6858000"/>
              <a:gd name="connsiteX672" fmla="*/ 0 w 7467600"/>
              <a:gd name="connsiteY672" fmla="*/ 3153002 h 6858000"/>
              <a:gd name="connsiteX673" fmla="*/ 2386 w 7467600"/>
              <a:gd name="connsiteY673" fmla="*/ 3149203 h 6858000"/>
              <a:gd name="connsiteX674" fmla="*/ 89753 w 7467600"/>
              <a:gd name="connsiteY674" fmla="*/ 2987702 h 6858000"/>
              <a:gd name="connsiteX675" fmla="*/ 76869 w 7467600"/>
              <a:gd name="connsiteY675" fmla="*/ 3005404 h 6858000"/>
              <a:gd name="connsiteX676" fmla="*/ 32049 w 7467600"/>
              <a:gd name="connsiteY676" fmla="*/ 3065814 h 6858000"/>
              <a:gd name="connsiteX677" fmla="*/ 0 w 7467600"/>
              <a:gd name="connsiteY677" fmla="*/ 3108744 h 6858000"/>
              <a:gd name="connsiteX678" fmla="*/ 0 w 7467600"/>
              <a:gd name="connsiteY678" fmla="*/ 3058059 h 6858000"/>
              <a:gd name="connsiteX679" fmla="*/ 7610 w 7467600"/>
              <a:gd name="connsiteY679" fmla="*/ 3047889 h 6858000"/>
              <a:gd name="connsiteX680" fmla="*/ 52419 w 7467600"/>
              <a:gd name="connsiteY680" fmla="*/ 2987479 h 6858000"/>
              <a:gd name="connsiteX681" fmla="*/ 59142 w 7467600"/>
              <a:gd name="connsiteY681" fmla="*/ 2978488 h 6858000"/>
              <a:gd name="connsiteX682" fmla="*/ 0 w 7467600"/>
              <a:gd name="connsiteY682" fmla="*/ 3015334 h 6858000"/>
              <a:gd name="connsiteX683" fmla="*/ 0 w 7467600"/>
              <a:gd name="connsiteY683" fmla="*/ 2914286 h 6858000"/>
              <a:gd name="connsiteX684" fmla="*/ 36383 w 7467600"/>
              <a:gd name="connsiteY684" fmla="*/ 2901128 h 6858000"/>
              <a:gd name="connsiteX685" fmla="*/ 156329 w 7467600"/>
              <a:gd name="connsiteY685" fmla="*/ 2840533 h 6858000"/>
              <a:gd name="connsiteX686" fmla="*/ 358355 w 7467600"/>
              <a:gd name="connsiteY686" fmla="*/ 2620471 h 6858000"/>
              <a:gd name="connsiteX687" fmla="*/ 510577 w 7467600"/>
              <a:gd name="connsiteY687" fmla="*/ 2501244 h 6858000"/>
              <a:gd name="connsiteX688" fmla="*/ 211967 w 7467600"/>
              <a:gd name="connsiteY688" fmla="*/ 2479171 h 6858000"/>
              <a:gd name="connsiteX689" fmla="*/ 0 w 7467600"/>
              <a:gd name="connsiteY689" fmla="*/ 2476398 h 6858000"/>
              <a:gd name="connsiteX690" fmla="*/ 0 w 7467600"/>
              <a:gd name="connsiteY690" fmla="*/ 2389189 h 6858000"/>
              <a:gd name="connsiteX691" fmla="*/ 103062 w 7467600"/>
              <a:gd name="connsiteY691" fmla="*/ 2389518 h 6858000"/>
              <a:gd name="connsiteX692" fmla="*/ 510734 w 7467600"/>
              <a:gd name="connsiteY692" fmla="*/ 2416201 h 6858000"/>
              <a:gd name="connsiteX693" fmla="*/ 279257 w 7467600"/>
              <a:gd name="connsiteY693" fmla="*/ 2092102 h 6858000"/>
              <a:gd name="connsiteX694" fmla="*/ 65265 w 7467600"/>
              <a:gd name="connsiteY694" fmla="*/ 2006049 h 6858000"/>
              <a:gd name="connsiteX695" fmla="*/ 0 w 7467600"/>
              <a:gd name="connsiteY695" fmla="*/ 1982532 h 6858000"/>
              <a:gd name="connsiteX696" fmla="*/ 0 w 7467600"/>
              <a:gd name="connsiteY696" fmla="*/ 1912789 h 6858000"/>
              <a:gd name="connsiteX697" fmla="*/ 97460 w 7467600"/>
              <a:gd name="connsiteY697" fmla="*/ 1953725 h 6858000"/>
              <a:gd name="connsiteX698" fmla="*/ 221272 w 7467600"/>
              <a:gd name="connsiteY698" fmla="*/ 1980766 h 6858000"/>
              <a:gd name="connsiteX699" fmla="*/ 116765 w 7467600"/>
              <a:gd name="connsiteY699" fmla="*/ 1911033 h 6858000"/>
              <a:gd name="connsiteX700" fmla="*/ 16405 w 7467600"/>
              <a:gd name="connsiteY700" fmla="*/ 1803412 h 6858000"/>
              <a:gd name="connsiteX701" fmla="*/ 0 w 7467600"/>
              <a:gd name="connsiteY701" fmla="*/ 1784777 h 6858000"/>
              <a:gd name="connsiteX702" fmla="*/ 0 w 7467600"/>
              <a:gd name="connsiteY702" fmla="*/ 1740082 h 6858000"/>
              <a:gd name="connsiteX703" fmla="*/ 39394 w 7467600"/>
              <a:gd name="connsiteY703" fmla="*/ 1784856 h 6858000"/>
              <a:gd name="connsiteX704" fmla="*/ 135813 w 7467600"/>
              <a:gd name="connsiteY704" fmla="*/ 1888838 h 6858000"/>
              <a:gd name="connsiteX705" fmla="*/ 242575 w 7467600"/>
              <a:gd name="connsiteY705" fmla="*/ 1958841 h 6858000"/>
              <a:gd name="connsiteX706" fmla="*/ 82197 w 7467600"/>
              <a:gd name="connsiteY706" fmla="*/ 1754826 h 6858000"/>
              <a:gd name="connsiteX707" fmla="*/ 0 w 7467600"/>
              <a:gd name="connsiteY707" fmla="*/ 1679650 h 6858000"/>
              <a:gd name="connsiteX708" fmla="*/ 0 w 7467600"/>
              <a:gd name="connsiteY708" fmla="*/ 1602463 h 6858000"/>
              <a:gd name="connsiteX709" fmla="*/ 84689 w 7467600"/>
              <a:gd name="connsiteY709" fmla="*/ 1677442 h 6858000"/>
              <a:gd name="connsiteX710" fmla="*/ 298437 w 7467600"/>
              <a:gd name="connsiteY710" fmla="*/ 1968019 h 6858000"/>
              <a:gd name="connsiteX711" fmla="*/ 227269 w 7467600"/>
              <a:gd name="connsiteY711" fmla="*/ 1114064 h 6858000"/>
              <a:gd name="connsiteX712" fmla="*/ 248003 w 7467600"/>
              <a:gd name="connsiteY712" fmla="*/ 1089613 h 6858000"/>
              <a:gd name="connsiteX713" fmla="*/ 427020 w 7467600"/>
              <a:gd name="connsiteY713" fmla="*/ 1619803 h 6858000"/>
              <a:gd name="connsiteX714" fmla="*/ 340345 w 7467600"/>
              <a:gd name="connsiteY714" fmla="*/ 2027739 h 6858000"/>
              <a:gd name="connsiteX715" fmla="*/ 360865 w 7467600"/>
              <a:gd name="connsiteY715" fmla="*/ 2044827 h 6858000"/>
              <a:gd name="connsiteX716" fmla="*/ 560414 w 7467600"/>
              <a:gd name="connsiteY716" fmla="*/ 2421457 h 6858000"/>
              <a:gd name="connsiteX717" fmla="*/ 1359703 w 7467600"/>
              <a:gd name="connsiteY717" fmla="*/ 2578554 h 6858000"/>
              <a:gd name="connsiteX718" fmla="*/ 1359422 w 7467600"/>
              <a:gd name="connsiteY718" fmla="*/ 2577994 h 6858000"/>
              <a:gd name="connsiteX719" fmla="*/ 828701 w 7467600"/>
              <a:gd name="connsiteY719" fmla="*/ 1839520 h 6858000"/>
              <a:gd name="connsiteX720" fmla="*/ 494427 w 7467600"/>
              <a:gd name="connsiteY720" fmla="*/ 1092333 h 6858000"/>
              <a:gd name="connsiteX721" fmla="*/ 506322 w 7467600"/>
              <a:gd name="connsiteY721" fmla="*/ 1020997 h 6858000"/>
              <a:gd name="connsiteX722" fmla="*/ 4570198 w 7467600"/>
              <a:gd name="connsiteY722" fmla="*/ 978081 h 6858000"/>
              <a:gd name="connsiteX723" fmla="*/ 4523691 w 7467600"/>
              <a:gd name="connsiteY723" fmla="*/ 1127776 h 6858000"/>
              <a:gd name="connsiteX724" fmla="*/ 4509875 w 7467600"/>
              <a:gd name="connsiteY724" fmla="*/ 1167552 h 6858000"/>
              <a:gd name="connsiteX725" fmla="*/ 4478168 w 7467600"/>
              <a:gd name="connsiteY725" fmla="*/ 1260735 h 6858000"/>
              <a:gd name="connsiteX726" fmla="*/ 4409309 w 7467600"/>
              <a:gd name="connsiteY726" fmla="*/ 1666996 h 6858000"/>
              <a:gd name="connsiteX727" fmla="*/ 4370031 w 7467600"/>
              <a:gd name="connsiteY727" fmla="*/ 1955666 h 6858000"/>
              <a:gd name="connsiteX728" fmla="*/ 4570198 w 7467600"/>
              <a:gd name="connsiteY728" fmla="*/ 978081 h 6858000"/>
              <a:gd name="connsiteX729" fmla="*/ 4557898 w 7467600"/>
              <a:gd name="connsiteY729" fmla="*/ 900011 h 6858000"/>
              <a:gd name="connsiteX730" fmla="*/ 4344840 w 7467600"/>
              <a:gd name="connsiteY730" fmla="*/ 1922038 h 6858000"/>
              <a:gd name="connsiteX731" fmla="*/ 4378710 w 7467600"/>
              <a:gd name="connsiteY731" fmla="*/ 1665516 h 6858000"/>
              <a:gd name="connsiteX732" fmla="*/ 4448798 w 7467600"/>
              <a:gd name="connsiteY732" fmla="*/ 1253024 h 6858000"/>
              <a:gd name="connsiteX733" fmla="*/ 4480315 w 7467600"/>
              <a:gd name="connsiteY733" fmla="*/ 1158454 h 6858000"/>
              <a:gd name="connsiteX734" fmla="*/ 4494133 w 7467600"/>
              <a:gd name="connsiteY734" fmla="*/ 1118676 h 6858000"/>
              <a:gd name="connsiteX735" fmla="*/ 4557898 w 7467600"/>
              <a:gd name="connsiteY735" fmla="*/ 900011 h 6858000"/>
              <a:gd name="connsiteX736" fmla="*/ 5870151 w 7467600"/>
              <a:gd name="connsiteY736" fmla="*/ 898890 h 6858000"/>
              <a:gd name="connsiteX737" fmla="*/ 5861335 w 7467600"/>
              <a:gd name="connsiteY737" fmla="*/ 899177 h 6858000"/>
              <a:gd name="connsiteX738" fmla="*/ 5843702 w 7467600"/>
              <a:gd name="connsiteY738" fmla="*/ 899748 h 6858000"/>
              <a:gd name="connsiteX739" fmla="*/ 5651107 w 7467600"/>
              <a:gd name="connsiteY739" fmla="*/ 920306 h 6858000"/>
              <a:gd name="connsiteX740" fmla="*/ 5459407 w 7467600"/>
              <a:gd name="connsiteY740" fmla="*/ 940975 h 6858000"/>
              <a:gd name="connsiteX741" fmla="*/ 5374846 w 7467600"/>
              <a:gd name="connsiteY741" fmla="*/ 941988 h 6858000"/>
              <a:gd name="connsiteX742" fmla="*/ 5256105 w 7467600"/>
              <a:gd name="connsiteY742" fmla="*/ 945632 h 6858000"/>
              <a:gd name="connsiteX743" fmla="*/ 5107071 w 7467600"/>
              <a:gd name="connsiteY743" fmla="*/ 969720 h 6858000"/>
              <a:gd name="connsiteX744" fmla="*/ 4998681 w 7467600"/>
              <a:gd name="connsiteY744" fmla="*/ 988771 h 6858000"/>
              <a:gd name="connsiteX745" fmla="*/ 5870151 w 7467600"/>
              <a:gd name="connsiteY745" fmla="*/ 898890 h 6858000"/>
              <a:gd name="connsiteX746" fmla="*/ 5504425 w 7467600"/>
              <a:gd name="connsiteY746" fmla="*/ 848067 h 6858000"/>
              <a:gd name="connsiteX747" fmla="*/ 4968849 w 7467600"/>
              <a:gd name="connsiteY747" fmla="*/ 962318 h 6858000"/>
              <a:gd name="connsiteX748" fmla="*/ 5104039 w 7467600"/>
              <a:gd name="connsiteY748" fmla="*/ 940634 h 6858000"/>
              <a:gd name="connsiteX749" fmla="*/ 5256311 w 7467600"/>
              <a:gd name="connsiteY749" fmla="*/ 916490 h 6858000"/>
              <a:gd name="connsiteX750" fmla="*/ 5377381 w 7467600"/>
              <a:gd name="connsiteY750" fmla="*/ 912671 h 6858000"/>
              <a:gd name="connsiteX751" fmla="*/ 5460148 w 7467600"/>
              <a:gd name="connsiteY751" fmla="*/ 911442 h 6858000"/>
              <a:gd name="connsiteX752" fmla="*/ 5648971 w 7467600"/>
              <a:gd name="connsiteY752" fmla="*/ 891331 h 6858000"/>
              <a:gd name="connsiteX753" fmla="*/ 5844807 w 7467600"/>
              <a:gd name="connsiteY753" fmla="*/ 870718 h 6858000"/>
              <a:gd name="connsiteX754" fmla="*/ 5862975 w 7467600"/>
              <a:gd name="connsiteY754" fmla="*/ 869756 h 6858000"/>
              <a:gd name="connsiteX755" fmla="*/ 5920887 w 7467600"/>
              <a:gd name="connsiteY755" fmla="*/ 865929 h 6858000"/>
              <a:gd name="connsiteX756" fmla="*/ 5504425 w 7467600"/>
              <a:gd name="connsiteY756" fmla="*/ 848067 h 6858000"/>
              <a:gd name="connsiteX757" fmla="*/ 3607114 w 7467600"/>
              <a:gd name="connsiteY757" fmla="*/ 467441 h 6858000"/>
              <a:gd name="connsiteX758" fmla="*/ 3296242 w 7467600"/>
              <a:gd name="connsiteY758" fmla="*/ 807991 h 6858000"/>
              <a:gd name="connsiteX759" fmla="*/ 3174674 w 7467600"/>
              <a:gd name="connsiteY759" fmla="*/ 919759 h 6858000"/>
              <a:gd name="connsiteX760" fmla="*/ 3042978 w 7467600"/>
              <a:gd name="connsiteY760" fmla="*/ 1054894 h 6858000"/>
              <a:gd name="connsiteX761" fmla="*/ 2968914 w 7467600"/>
              <a:gd name="connsiteY761" fmla="*/ 1133756 h 6858000"/>
              <a:gd name="connsiteX762" fmla="*/ 3103823 w 7467600"/>
              <a:gd name="connsiteY762" fmla="*/ 1026814 h 6858000"/>
              <a:gd name="connsiteX763" fmla="*/ 3607114 w 7467600"/>
              <a:gd name="connsiteY763" fmla="*/ 467441 h 6858000"/>
              <a:gd name="connsiteX764" fmla="*/ 3744487 w 7467600"/>
              <a:gd name="connsiteY764" fmla="*/ 383136 h 6858000"/>
              <a:gd name="connsiteX765" fmla="*/ 3970213 w 7467600"/>
              <a:gd name="connsiteY765" fmla="*/ 995559 h 6858000"/>
              <a:gd name="connsiteX766" fmla="*/ 3744487 w 7467600"/>
              <a:gd name="connsiteY766" fmla="*/ 383136 h 6858000"/>
              <a:gd name="connsiteX767" fmla="*/ 3624562 w 7467600"/>
              <a:gd name="connsiteY767" fmla="*/ 367041 h 6858000"/>
              <a:gd name="connsiteX768" fmla="*/ 3489712 w 7467600"/>
              <a:gd name="connsiteY768" fmla="*/ 485386 h 6858000"/>
              <a:gd name="connsiteX769" fmla="*/ 3182994 w 7467600"/>
              <a:gd name="connsiteY769" fmla="*/ 828265 h 6858000"/>
              <a:gd name="connsiteX770" fmla="*/ 2892114 w 7467600"/>
              <a:gd name="connsiteY770" fmla="*/ 1172635 h 6858000"/>
              <a:gd name="connsiteX771" fmla="*/ 3021459 w 7467600"/>
              <a:gd name="connsiteY771" fmla="*/ 1035385 h 6858000"/>
              <a:gd name="connsiteX772" fmla="*/ 3153873 w 7467600"/>
              <a:gd name="connsiteY772" fmla="*/ 898971 h 6858000"/>
              <a:gd name="connsiteX773" fmla="*/ 3276511 w 7467600"/>
              <a:gd name="connsiteY773" fmla="*/ 786423 h 6858000"/>
              <a:gd name="connsiteX774" fmla="*/ 3584154 w 7467600"/>
              <a:gd name="connsiteY774" fmla="*/ 448218 h 6858000"/>
              <a:gd name="connsiteX775" fmla="*/ 3624562 w 7467600"/>
              <a:gd name="connsiteY775" fmla="*/ 367041 h 6858000"/>
              <a:gd name="connsiteX776" fmla="*/ 3766672 w 7467600"/>
              <a:gd name="connsiteY776" fmla="*/ 359429 h 6858000"/>
              <a:gd name="connsiteX777" fmla="*/ 3996338 w 7467600"/>
              <a:gd name="connsiteY777" fmla="*/ 968237 h 6858000"/>
              <a:gd name="connsiteX778" fmla="*/ 3766672 w 7467600"/>
              <a:gd name="connsiteY778" fmla="*/ 359429 h 6858000"/>
              <a:gd name="connsiteX779" fmla="*/ 5805386 w 7467600"/>
              <a:gd name="connsiteY779" fmla="*/ 239240 h 6858000"/>
              <a:gd name="connsiteX780" fmla="*/ 5736947 w 7467600"/>
              <a:gd name="connsiteY780" fmla="*/ 261367 h 6858000"/>
              <a:gd name="connsiteX781" fmla="*/ 5427012 w 7467600"/>
              <a:gd name="connsiteY781" fmla="*/ 311272 h 6858000"/>
              <a:gd name="connsiteX782" fmla="*/ 5147818 w 7467600"/>
              <a:gd name="connsiteY782" fmla="*/ 322112 h 6858000"/>
              <a:gd name="connsiteX783" fmla="*/ 5060854 w 7467600"/>
              <a:gd name="connsiteY783" fmla="*/ 311882 h 6858000"/>
              <a:gd name="connsiteX784" fmla="*/ 4945989 w 7467600"/>
              <a:gd name="connsiteY784" fmla="*/ 300516 h 6858000"/>
              <a:gd name="connsiteX785" fmla="*/ 5410479 w 7467600"/>
              <a:gd name="connsiteY785" fmla="*/ 348434 h 6858000"/>
              <a:gd name="connsiteX786" fmla="*/ 5805386 w 7467600"/>
              <a:gd name="connsiteY786" fmla="*/ 239240 h 6858000"/>
              <a:gd name="connsiteX787" fmla="*/ 5905192 w 7467600"/>
              <a:gd name="connsiteY787" fmla="*/ 163079 h 6858000"/>
              <a:gd name="connsiteX788" fmla="*/ 5865655 w 7467600"/>
              <a:gd name="connsiteY788" fmla="*/ 171901 h 6858000"/>
              <a:gd name="connsiteX789" fmla="*/ 5259740 w 7467600"/>
              <a:gd name="connsiteY789" fmla="*/ 257013 h 6858000"/>
              <a:gd name="connsiteX790" fmla="*/ 5208466 w 7467600"/>
              <a:gd name="connsiteY790" fmla="*/ 257550 h 6858000"/>
              <a:gd name="connsiteX791" fmla="*/ 4980204 w 7467600"/>
              <a:gd name="connsiteY791" fmla="*/ 271903 h 6858000"/>
              <a:gd name="connsiteX792" fmla="*/ 5068068 w 7467600"/>
              <a:gd name="connsiteY792" fmla="*/ 282244 h 6858000"/>
              <a:gd name="connsiteX793" fmla="*/ 5153231 w 7467600"/>
              <a:gd name="connsiteY793" fmla="*/ 292240 h 6858000"/>
              <a:gd name="connsiteX794" fmla="*/ 5426491 w 7467600"/>
              <a:gd name="connsiteY794" fmla="*/ 281128 h 6858000"/>
              <a:gd name="connsiteX795" fmla="*/ 5731212 w 7467600"/>
              <a:gd name="connsiteY795" fmla="*/ 231951 h 6858000"/>
              <a:gd name="connsiteX796" fmla="*/ 5905192 w 7467600"/>
              <a:gd name="connsiteY796" fmla="*/ 163079 h 6858000"/>
              <a:gd name="connsiteX797" fmla="*/ 5944437 w 7467600"/>
              <a:gd name="connsiteY797" fmla="*/ 113829 h 6858000"/>
              <a:gd name="connsiteX798" fmla="*/ 5825032 w 7467600"/>
              <a:gd name="connsiteY798" fmla="*/ 146405 h 6858000"/>
              <a:gd name="connsiteX799" fmla="*/ 4955599 w 7467600"/>
              <a:gd name="connsiteY799" fmla="*/ 247008 h 6858000"/>
              <a:gd name="connsiteX800" fmla="*/ 5210104 w 7467600"/>
              <a:gd name="connsiteY800" fmla="*/ 228123 h 6858000"/>
              <a:gd name="connsiteX801" fmla="*/ 5261015 w 7467600"/>
              <a:gd name="connsiteY801" fmla="*/ 227087 h 6858000"/>
              <a:gd name="connsiteX802" fmla="*/ 5861181 w 7467600"/>
              <a:gd name="connsiteY802" fmla="*/ 143093 h 6858000"/>
              <a:gd name="connsiteX803" fmla="*/ 5961252 w 7467600"/>
              <a:gd name="connsiteY803" fmla="*/ 114820 h 6858000"/>
              <a:gd name="connsiteX804" fmla="*/ 5944437 w 7467600"/>
              <a:gd name="connsiteY804" fmla="*/ 113829 h 6858000"/>
              <a:gd name="connsiteX805" fmla="*/ 3882765 w 7467600"/>
              <a:gd name="connsiteY805" fmla="*/ 0 h 6858000"/>
              <a:gd name="connsiteX806" fmla="*/ 3995099 w 7467600"/>
              <a:gd name="connsiteY806" fmla="*/ 0 h 6858000"/>
              <a:gd name="connsiteX807" fmla="*/ 4163818 w 7467600"/>
              <a:gd name="connsiteY807" fmla="*/ 234104 h 6858000"/>
              <a:gd name="connsiteX808" fmla="*/ 4172099 w 7467600"/>
              <a:gd name="connsiteY808" fmla="*/ 234207 h 6858000"/>
              <a:gd name="connsiteX809" fmla="*/ 4784282 w 7467600"/>
              <a:gd name="connsiteY809" fmla="*/ 276561 h 6858000"/>
              <a:gd name="connsiteX810" fmla="*/ 4801687 w 7467600"/>
              <a:gd name="connsiteY810" fmla="*/ 267764 h 6858000"/>
              <a:gd name="connsiteX811" fmla="*/ 6082788 w 7467600"/>
              <a:gd name="connsiteY811" fmla="*/ 64119 h 6858000"/>
              <a:gd name="connsiteX812" fmla="*/ 6099442 w 7467600"/>
              <a:gd name="connsiteY812" fmla="*/ 82568 h 6858000"/>
              <a:gd name="connsiteX813" fmla="*/ 4804137 w 7467600"/>
              <a:gd name="connsiteY813" fmla="*/ 320931 h 6858000"/>
              <a:gd name="connsiteX814" fmla="*/ 4227047 w 7467600"/>
              <a:gd name="connsiteY814" fmla="*/ 313415 h 6858000"/>
              <a:gd name="connsiteX815" fmla="*/ 4346041 w 7467600"/>
              <a:gd name="connsiteY815" fmla="*/ 456086 h 6858000"/>
              <a:gd name="connsiteX816" fmla="*/ 4870967 w 7467600"/>
              <a:gd name="connsiteY816" fmla="*/ 963061 h 6858000"/>
              <a:gd name="connsiteX817" fmla="*/ 4889647 w 7467600"/>
              <a:gd name="connsiteY817" fmla="*/ 957147 h 6858000"/>
              <a:gd name="connsiteX818" fmla="*/ 5422504 w 7467600"/>
              <a:gd name="connsiteY818" fmla="*/ 805191 h 6858000"/>
              <a:gd name="connsiteX819" fmla="*/ 6087656 w 7467600"/>
              <a:gd name="connsiteY819" fmla="*/ 826703 h 6858000"/>
              <a:gd name="connsiteX820" fmla="*/ 6058717 w 7467600"/>
              <a:gd name="connsiteY820" fmla="*/ 865992 h 6858000"/>
              <a:gd name="connsiteX821" fmla="*/ 4974153 w 7467600"/>
              <a:gd name="connsiteY821" fmla="*/ 1045456 h 6858000"/>
              <a:gd name="connsiteX822" fmla="*/ 5627835 w 7467600"/>
              <a:gd name="connsiteY822" fmla="*/ 1472077 h 6858000"/>
              <a:gd name="connsiteX823" fmla="*/ 5629817 w 7467600"/>
              <a:gd name="connsiteY823" fmla="*/ 1471412 h 6858000"/>
              <a:gd name="connsiteX824" fmla="*/ 5634124 w 7467600"/>
              <a:gd name="connsiteY824" fmla="*/ 1470572 h 6858000"/>
              <a:gd name="connsiteX825" fmla="*/ 5755832 w 7467600"/>
              <a:gd name="connsiteY825" fmla="*/ 1383886 h 6858000"/>
              <a:gd name="connsiteX826" fmla="*/ 6014186 w 7467600"/>
              <a:gd name="connsiteY826" fmla="*/ 1279799 h 6858000"/>
              <a:gd name="connsiteX827" fmla="*/ 6901619 w 7467600"/>
              <a:gd name="connsiteY827" fmla="*/ 1047874 h 6858000"/>
              <a:gd name="connsiteX828" fmla="*/ 6931566 w 7467600"/>
              <a:gd name="connsiteY828" fmla="*/ 1062034 h 6858000"/>
              <a:gd name="connsiteX829" fmla="*/ 5790982 w 7467600"/>
              <a:gd name="connsiteY829" fmla="*/ 1561380 h 6858000"/>
              <a:gd name="connsiteX830" fmla="*/ 6188971 w 7467600"/>
              <a:gd name="connsiteY830" fmla="*/ 1755168 h 6858000"/>
              <a:gd name="connsiteX831" fmla="*/ 6202446 w 7467600"/>
              <a:gd name="connsiteY831" fmla="*/ 1752268 h 6858000"/>
              <a:gd name="connsiteX832" fmla="*/ 7179560 w 7467600"/>
              <a:gd name="connsiteY832" fmla="*/ 1467551 h 6858000"/>
              <a:gd name="connsiteX833" fmla="*/ 7158730 w 7467600"/>
              <a:gd name="connsiteY833" fmla="*/ 1507835 h 6858000"/>
              <a:gd name="connsiteX834" fmla="*/ 6326959 w 7467600"/>
              <a:gd name="connsiteY834" fmla="*/ 1817686 h 6858000"/>
              <a:gd name="connsiteX835" fmla="*/ 6537433 w 7467600"/>
              <a:gd name="connsiteY835" fmla="*/ 1907790 h 6858000"/>
              <a:gd name="connsiteX836" fmla="*/ 6550221 w 7467600"/>
              <a:gd name="connsiteY836" fmla="*/ 1910729 h 6858000"/>
              <a:gd name="connsiteX837" fmla="*/ 6964438 w 7467600"/>
              <a:gd name="connsiteY837" fmla="*/ 2209505 h 6858000"/>
              <a:gd name="connsiteX838" fmla="*/ 7367862 w 7467600"/>
              <a:gd name="connsiteY838" fmla="*/ 2806833 h 6858000"/>
              <a:gd name="connsiteX839" fmla="*/ 7364329 w 7467600"/>
              <a:gd name="connsiteY839" fmla="*/ 2826907 h 6858000"/>
              <a:gd name="connsiteX840" fmla="*/ 7290545 w 7467600"/>
              <a:gd name="connsiteY840" fmla="*/ 2850663 h 6858000"/>
              <a:gd name="connsiteX841" fmla="*/ 6472036 w 7467600"/>
              <a:gd name="connsiteY841" fmla="*/ 1959003 h 6858000"/>
              <a:gd name="connsiteX842" fmla="*/ 5792897 w 7467600"/>
              <a:gd name="connsiteY842" fmla="*/ 1647747 h 6858000"/>
              <a:gd name="connsiteX843" fmla="*/ 5842751 w 7467600"/>
              <a:gd name="connsiteY843" fmla="*/ 1816112 h 6858000"/>
              <a:gd name="connsiteX844" fmla="*/ 5847424 w 7467600"/>
              <a:gd name="connsiteY844" fmla="*/ 1815776 h 6858000"/>
              <a:gd name="connsiteX845" fmla="*/ 6399821 w 7467600"/>
              <a:gd name="connsiteY845" fmla="*/ 2344799 h 6858000"/>
              <a:gd name="connsiteX846" fmla="*/ 6323232 w 7467600"/>
              <a:gd name="connsiteY846" fmla="*/ 2389634 h 6858000"/>
              <a:gd name="connsiteX847" fmla="*/ 5942958 w 7467600"/>
              <a:gd name="connsiteY847" fmla="*/ 2077708 h 6858000"/>
              <a:gd name="connsiteX848" fmla="*/ 5921559 w 7467600"/>
              <a:gd name="connsiteY848" fmla="*/ 2378596 h 6858000"/>
              <a:gd name="connsiteX849" fmla="*/ 5817651 w 7467600"/>
              <a:gd name="connsiteY849" fmla="*/ 3023919 h 6858000"/>
              <a:gd name="connsiteX850" fmla="*/ 5729634 w 7467600"/>
              <a:gd name="connsiteY850" fmla="*/ 3051849 h 6858000"/>
              <a:gd name="connsiteX851" fmla="*/ 5611018 w 7467600"/>
              <a:gd name="connsiteY851" fmla="*/ 2316769 h 6858000"/>
              <a:gd name="connsiteX852" fmla="*/ 5687608 w 7467600"/>
              <a:gd name="connsiteY852" fmla="*/ 2039972 h 6858000"/>
              <a:gd name="connsiteX853" fmla="*/ 5657554 w 7467600"/>
              <a:gd name="connsiteY853" fmla="*/ 1576445 h 6858000"/>
              <a:gd name="connsiteX854" fmla="*/ 5150475 w 7467600"/>
              <a:gd name="connsiteY854" fmla="*/ 1274012 h 6858000"/>
              <a:gd name="connsiteX855" fmla="*/ 5349142 w 7467600"/>
              <a:gd name="connsiteY855" fmla="*/ 2204405 h 6858000"/>
              <a:gd name="connsiteX856" fmla="*/ 5262214 w 7467600"/>
              <a:gd name="connsiteY856" fmla="*/ 2233836 h 6858000"/>
              <a:gd name="connsiteX857" fmla="*/ 4981539 w 7467600"/>
              <a:gd name="connsiteY857" fmla="*/ 1542201 h 6858000"/>
              <a:gd name="connsiteX858" fmla="*/ 4958461 w 7467600"/>
              <a:gd name="connsiteY858" fmla="*/ 1136957 h 6858000"/>
              <a:gd name="connsiteX859" fmla="*/ 4655015 w 7467600"/>
              <a:gd name="connsiteY859" fmla="*/ 891426 h 6858000"/>
              <a:gd name="connsiteX860" fmla="*/ 4348002 w 7467600"/>
              <a:gd name="connsiteY860" fmla="*/ 2205895 h 6858000"/>
              <a:gd name="connsiteX861" fmla="*/ 4262250 w 7467600"/>
              <a:gd name="connsiteY861" fmla="*/ 2219972 h 6858000"/>
              <a:gd name="connsiteX862" fmla="*/ 4550611 w 7467600"/>
              <a:gd name="connsiteY862" fmla="*/ 817540 h 6858000"/>
              <a:gd name="connsiteX863" fmla="*/ 4564418 w 7467600"/>
              <a:gd name="connsiteY863" fmla="*/ 808293 h 6858000"/>
              <a:gd name="connsiteX864" fmla="*/ 4266388 w 7467600"/>
              <a:gd name="connsiteY864" fmla="*/ 500083 h 6858000"/>
              <a:gd name="connsiteX865" fmla="*/ 4032842 w 7467600"/>
              <a:gd name="connsiteY865" fmla="*/ 211809 h 6858000"/>
              <a:gd name="connsiteX866" fmla="*/ 3882765 w 7467600"/>
              <a:gd name="connsiteY866" fmla="*/ 0 h 6858000"/>
              <a:gd name="connsiteX867" fmla="*/ 3721337 w 7467600"/>
              <a:gd name="connsiteY867" fmla="*/ 0 h 6858000"/>
              <a:gd name="connsiteX868" fmla="*/ 3797544 w 7467600"/>
              <a:gd name="connsiteY868" fmla="*/ 0 h 6858000"/>
              <a:gd name="connsiteX869" fmla="*/ 3775734 w 7467600"/>
              <a:gd name="connsiteY869" fmla="*/ 95131 h 6858000"/>
              <a:gd name="connsiteX870" fmla="*/ 3724807 w 7467600"/>
              <a:gd name="connsiteY870" fmla="*/ 272257 h 6858000"/>
              <a:gd name="connsiteX871" fmla="*/ 3726844 w 7467600"/>
              <a:gd name="connsiteY871" fmla="*/ 282988 h 6858000"/>
              <a:gd name="connsiteX872" fmla="*/ 3742664 w 7467600"/>
              <a:gd name="connsiteY872" fmla="*/ 279918 h 6858000"/>
              <a:gd name="connsiteX873" fmla="*/ 4103910 w 7467600"/>
              <a:gd name="connsiteY873" fmla="*/ 1161917 h 6858000"/>
              <a:gd name="connsiteX874" fmla="*/ 4020269 w 7467600"/>
              <a:gd name="connsiteY874" fmla="*/ 1200406 h 6858000"/>
              <a:gd name="connsiteX875" fmla="*/ 3674882 w 7467600"/>
              <a:gd name="connsiteY875" fmla="*/ 488524 h 6858000"/>
              <a:gd name="connsiteX876" fmla="*/ 3132682 w 7467600"/>
              <a:gd name="connsiteY876" fmla="*/ 1072284 h 6858000"/>
              <a:gd name="connsiteX877" fmla="*/ 2716346 w 7467600"/>
              <a:gd name="connsiteY877" fmla="*/ 1276376 h 6858000"/>
              <a:gd name="connsiteX878" fmla="*/ 2716772 w 7467600"/>
              <a:gd name="connsiteY878" fmla="*/ 1255462 h 6858000"/>
              <a:gd name="connsiteX879" fmla="*/ 3471096 w 7467600"/>
              <a:gd name="connsiteY879" fmla="*/ 437072 h 6858000"/>
              <a:gd name="connsiteX880" fmla="*/ 3639057 w 7467600"/>
              <a:gd name="connsiteY880" fmla="*/ 286334 h 6858000"/>
              <a:gd name="connsiteX881" fmla="*/ 3640309 w 7467600"/>
              <a:gd name="connsiteY881" fmla="*/ 284664 h 6858000"/>
              <a:gd name="connsiteX882" fmla="*/ 3646022 w 7467600"/>
              <a:gd name="connsiteY882" fmla="*/ 276711 h 6858000"/>
              <a:gd name="connsiteX883" fmla="*/ 3707943 w 7467600"/>
              <a:gd name="connsiteY883" fmla="*/ 65958 h 6858000"/>
              <a:gd name="connsiteX884" fmla="*/ 3721337 w 7467600"/>
              <a:gd name="connsiteY884" fmla="*/ 0 h 6858000"/>
              <a:gd name="connsiteX885" fmla="*/ 2867960 w 7467600"/>
              <a:gd name="connsiteY885" fmla="*/ 0 h 6858000"/>
              <a:gd name="connsiteX886" fmla="*/ 2926351 w 7467600"/>
              <a:gd name="connsiteY886" fmla="*/ 0 h 6858000"/>
              <a:gd name="connsiteX887" fmla="*/ 2902823 w 7467600"/>
              <a:gd name="connsiteY887" fmla="*/ 262929 h 6858000"/>
              <a:gd name="connsiteX888" fmla="*/ 2940663 w 7467600"/>
              <a:gd name="connsiteY888" fmla="*/ 140884 h 6858000"/>
              <a:gd name="connsiteX889" fmla="*/ 2947039 w 7467600"/>
              <a:gd name="connsiteY889" fmla="*/ 122524 h 6858000"/>
              <a:gd name="connsiteX890" fmla="*/ 2984316 w 7467600"/>
              <a:gd name="connsiteY890" fmla="*/ 0 h 6858000"/>
              <a:gd name="connsiteX891" fmla="*/ 3016114 w 7467600"/>
              <a:gd name="connsiteY891" fmla="*/ 0 h 6858000"/>
              <a:gd name="connsiteX892" fmla="*/ 2979949 w 7467600"/>
              <a:gd name="connsiteY892" fmla="*/ 119274 h 6858000"/>
              <a:gd name="connsiteX893" fmla="*/ 3023879 w 7467600"/>
              <a:gd name="connsiteY893" fmla="*/ 0 h 6858000"/>
              <a:gd name="connsiteX894" fmla="*/ 3105400 w 7467600"/>
              <a:gd name="connsiteY894" fmla="*/ 0 h 6858000"/>
              <a:gd name="connsiteX895" fmla="*/ 3094669 w 7467600"/>
              <a:gd name="connsiteY895" fmla="*/ 30308 h 6858000"/>
              <a:gd name="connsiteX896" fmla="*/ 2901945 w 7467600"/>
              <a:gd name="connsiteY896" fmla="*/ 466538 h 6858000"/>
              <a:gd name="connsiteX897" fmla="*/ 2815209 w 7467600"/>
              <a:gd name="connsiteY897" fmla="*/ 497361 h 6858000"/>
              <a:gd name="connsiteX898" fmla="*/ 2844845 w 7467600"/>
              <a:gd name="connsiteY898" fmla="*/ 127638 h 6858000"/>
              <a:gd name="connsiteX899" fmla="*/ 2867960 w 7467600"/>
              <a:gd name="connsiteY899" fmla="*/ 0 h 6858000"/>
              <a:gd name="connsiteX900" fmla="*/ 1057230 w 7467600"/>
              <a:gd name="connsiteY900" fmla="*/ 0 h 6858000"/>
              <a:gd name="connsiteX901" fmla="*/ 1111003 w 7467600"/>
              <a:gd name="connsiteY901" fmla="*/ 0 h 6858000"/>
              <a:gd name="connsiteX902" fmla="*/ 1125553 w 7467600"/>
              <a:gd name="connsiteY902" fmla="*/ 52588 h 6858000"/>
              <a:gd name="connsiteX903" fmla="*/ 1304276 w 7467600"/>
              <a:gd name="connsiteY903" fmla="*/ 476275 h 6858000"/>
              <a:gd name="connsiteX904" fmla="*/ 1492066 w 7467600"/>
              <a:gd name="connsiteY904" fmla="*/ 886333 h 6858000"/>
              <a:gd name="connsiteX905" fmla="*/ 1423698 w 7467600"/>
              <a:gd name="connsiteY905" fmla="*/ 710817 h 6858000"/>
              <a:gd name="connsiteX906" fmla="*/ 1357609 w 7467600"/>
              <a:gd name="connsiteY906" fmla="*/ 532892 h 6858000"/>
              <a:gd name="connsiteX907" fmla="*/ 1309550 w 7467600"/>
              <a:gd name="connsiteY907" fmla="*/ 374031 h 6858000"/>
              <a:gd name="connsiteX908" fmla="*/ 1193673 w 7467600"/>
              <a:gd name="connsiteY908" fmla="*/ 49533 h 6858000"/>
              <a:gd name="connsiteX909" fmla="*/ 1164391 w 7467600"/>
              <a:gd name="connsiteY909" fmla="*/ 0 h 6858000"/>
              <a:gd name="connsiteX910" fmla="*/ 1200666 w 7467600"/>
              <a:gd name="connsiteY910" fmla="*/ 0 h 6858000"/>
              <a:gd name="connsiteX911" fmla="*/ 1223408 w 7467600"/>
              <a:gd name="connsiteY911" fmla="*/ 38996 h 6858000"/>
              <a:gd name="connsiteX912" fmla="*/ 1339635 w 7467600"/>
              <a:gd name="connsiteY912" fmla="*/ 365517 h 6858000"/>
              <a:gd name="connsiteX913" fmla="*/ 1387469 w 7467600"/>
              <a:gd name="connsiteY913" fmla="*/ 523079 h 6858000"/>
              <a:gd name="connsiteX914" fmla="*/ 1452685 w 7467600"/>
              <a:gd name="connsiteY914" fmla="*/ 699806 h 6858000"/>
              <a:gd name="connsiteX915" fmla="*/ 1492092 w 7467600"/>
              <a:gd name="connsiteY915" fmla="*/ 800424 h 6858000"/>
              <a:gd name="connsiteX916" fmla="*/ 1455302 w 7467600"/>
              <a:gd name="connsiteY916" fmla="*/ 632913 h 6858000"/>
              <a:gd name="connsiteX917" fmla="*/ 1222336 w 7467600"/>
              <a:gd name="connsiteY917" fmla="*/ 9480 h 6858000"/>
              <a:gd name="connsiteX918" fmla="*/ 1214634 w 7467600"/>
              <a:gd name="connsiteY918" fmla="*/ 0 h 6858000"/>
              <a:gd name="connsiteX919" fmla="*/ 1289827 w 7467600"/>
              <a:gd name="connsiteY919" fmla="*/ 0 h 6858000"/>
              <a:gd name="connsiteX920" fmla="*/ 1321076 w 7467600"/>
              <a:gd name="connsiteY920" fmla="*/ 59722 h 6858000"/>
              <a:gd name="connsiteX921" fmla="*/ 1512579 w 7467600"/>
              <a:gd name="connsiteY921" fmla="*/ 626441 h 6858000"/>
              <a:gd name="connsiteX922" fmla="*/ 1506076 w 7467600"/>
              <a:gd name="connsiteY922" fmla="*/ 1089289 h 6858000"/>
              <a:gd name="connsiteX923" fmla="*/ 1486346 w 7467600"/>
              <a:gd name="connsiteY923" fmla="*/ 1079919 h 6858000"/>
              <a:gd name="connsiteX924" fmla="*/ 1070511 w 7467600"/>
              <a:gd name="connsiteY924" fmla="*/ 48609 h 6858000"/>
              <a:gd name="connsiteX925" fmla="*/ 1057230 w 7467600"/>
              <a:gd name="connsiteY925" fmla="*/ 0 h 6858000"/>
              <a:gd name="connsiteX926" fmla="*/ 43151 w 7467600"/>
              <a:gd name="connsiteY926" fmla="*/ 0 h 6858000"/>
              <a:gd name="connsiteX927" fmla="*/ 95283 w 7467600"/>
              <a:gd name="connsiteY927" fmla="*/ 0 h 6858000"/>
              <a:gd name="connsiteX928" fmla="*/ 300708 w 7467600"/>
              <a:gd name="connsiteY928" fmla="*/ 154571 h 6858000"/>
              <a:gd name="connsiteX929" fmla="*/ 530414 w 7467600"/>
              <a:gd name="connsiteY929" fmla="*/ 354673 h 6858000"/>
              <a:gd name="connsiteX930" fmla="*/ 333785 w 7467600"/>
              <a:gd name="connsiteY930" fmla="*/ 161564 h 6858000"/>
              <a:gd name="connsiteX931" fmla="*/ 147005 w 7467600"/>
              <a:gd name="connsiteY931" fmla="*/ 0 h 6858000"/>
              <a:gd name="connsiteX932" fmla="*/ 272509 w 7467600"/>
              <a:gd name="connsiteY932" fmla="*/ 0 h 6858000"/>
              <a:gd name="connsiteX933" fmla="*/ 326276 w 7467600"/>
              <a:gd name="connsiteY933" fmla="*/ 45847 h 6858000"/>
              <a:gd name="connsiteX934" fmla="*/ 823759 w 7467600"/>
              <a:gd name="connsiteY934" fmla="*/ 574145 h 6858000"/>
              <a:gd name="connsiteX935" fmla="*/ 811254 w 7467600"/>
              <a:gd name="connsiteY935" fmla="*/ 665546 h 6858000"/>
              <a:gd name="connsiteX936" fmla="*/ 154042 w 7467600"/>
              <a:gd name="connsiteY936" fmla="*/ 261522 h 6858000"/>
              <a:gd name="connsiteX937" fmla="*/ 13550 w 7467600"/>
              <a:gd name="connsiteY937" fmla="*/ 158423 h 6858000"/>
              <a:gd name="connsiteX938" fmla="*/ 0 w 7467600"/>
              <a:gd name="connsiteY938" fmla="*/ 146618 h 6858000"/>
              <a:gd name="connsiteX939" fmla="*/ 0 w 7467600"/>
              <a:gd name="connsiteY939" fmla="*/ 59161 h 6858000"/>
              <a:gd name="connsiteX940" fmla="*/ 45427 w 7467600"/>
              <a:gd name="connsiteY940" fmla="*/ 101078 h 6858000"/>
              <a:gd name="connsiteX941" fmla="*/ 630103 w 7467600"/>
              <a:gd name="connsiteY941" fmla="*/ 485885 h 6858000"/>
              <a:gd name="connsiteX942" fmla="*/ 532040 w 7467600"/>
              <a:gd name="connsiteY942" fmla="*/ 399359 h 6858000"/>
              <a:gd name="connsiteX943" fmla="*/ 517618 w 7467600"/>
              <a:gd name="connsiteY943" fmla="*/ 385726 h 6858000"/>
              <a:gd name="connsiteX944" fmla="*/ 285074 w 7467600"/>
              <a:gd name="connsiteY944" fmla="*/ 182755 h 6858000"/>
              <a:gd name="connsiteX945" fmla="*/ 43151 w 7467600"/>
              <a:gd name="connsiteY945"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289862 w 7467600"/>
              <a:gd name="connsiteY4" fmla="*/ 6659827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1019354 w 7467600"/>
              <a:gd name="connsiteY13" fmla="*/ 6315006 h 6858000"/>
              <a:gd name="connsiteX14" fmla="*/ 441046 w 7467600"/>
              <a:gd name="connsiteY14" fmla="*/ 6691153 h 6858000"/>
              <a:gd name="connsiteX15" fmla="*/ 1019354 w 7467600"/>
              <a:gd name="connsiteY15" fmla="*/ 6315006 h 6858000"/>
              <a:gd name="connsiteX16" fmla="*/ 991680 w 7467600"/>
              <a:gd name="connsiteY16" fmla="*/ 6298413 h 6858000"/>
              <a:gd name="connsiteX17" fmla="*/ 409060 w 7467600"/>
              <a:gd name="connsiteY17" fmla="*/ 6671470 h 6858000"/>
              <a:gd name="connsiteX18" fmla="*/ 991680 w 7467600"/>
              <a:gd name="connsiteY18" fmla="*/ 6298413 h 6858000"/>
              <a:gd name="connsiteX19" fmla="*/ 103333 w 7467600"/>
              <a:gd name="connsiteY19" fmla="*/ 5699602 h 6858000"/>
              <a:gd name="connsiteX20" fmla="*/ 233938 w 7467600"/>
              <a:gd name="connsiteY20" fmla="*/ 5809416 h 6858000"/>
              <a:gd name="connsiteX21" fmla="*/ 883580 w 7467600"/>
              <a:gd name="connsiteY21" fmla="*/ 6180710 h 6858000"/>
              <a:gd name="connsiteX22" fmla="*/ 487337 w 7467600"/>
              <a:gd name="connsiteY22" fmla="*/ 5950182 h 6858000"/>
              <a:gd name="connsiteX23" fmla="*/ 354051 w 7467600"/>
              <a:gd name="connsiteY23" fmla="*/ 5854912 h 6858000"/>
              <a:gd name="connsiteX24" fmla="*/ 195436 w 7467600"/>
              <a:gd name="connsiteY24" fmla="*/ 5755068 h 6858000"/>
              <a:gd name="connsiteX25" fmla="*/ 103333 w 7467600"/>
              <a:gd name="connsiteY25" fmla="*/ 5699602 h 6858000"/>
              <a:gd name="connsiteX26" fmla="*/ 5539432 w 7467600"/>
              <a:gd name="connsiteY26" fmla="*/ 5642928 h 6858000"/>
              <a:gd name="connsiteX27" fmla="*/ 5555462 w 7467600"/>
              <a:gd name="connsiteY27" fmla="*/ 5694454 h 6858000"/>
              <a:gd name="connsiteX28" fmla="*/ 5828270 w 7467600"/>
              <a:gd name="connsiteY28" fmla="*/ 6320663 h 6858000"/>
              <a:gd name="connsiteX29" fmla="*/ 5947416 w 7467600"/>
              <a:gd name="connsiteY29" fmla="*/ 6574846 h 6858000"/>
              <a:gd name="connsiteX30" fmla="*/ 5539432 w 7467600"/>
              <a:gd name="connsiteY30" fmla="*/ 5642928 h 6858000"/>
              <a:gd name="connsiteX31" fmla="*/ 51253 w 7467600"/>
              <a:gd name="connsiteY31" fmla="*/ 5631825 h 6858000"/>
              <a:gd name="connsiteX32" fmla="*/ 211622 w 7467600"/>
              <a:gd name="connsiteY32" fmla="*/ 5728803 h 6858000"/>
              <a:gd name="connsiteX33" fmla="*/ 371652 w 7467600"/>
              <a:gd name="connsiteY33" fmla="*/ 5829062 h 6858000"/>
              <a:gd name="connsiteX34" fmla="*/ 505903 w 7467600"/>
              <a:gd name="connsiteY34" fmla="*/ 5925221 h 6858000"/>
              <a:gd name="connsiteX35" fmla="*/ 899240 w 7467600"/>
              <a:gd name="connsiteY35" fmla="*/ 6153068 h 6858000"/>
              <a:gd name="connsiteX36" fmla="*/ 988114 w 7467600"/>
              <a:gd name="connsiteY36" fmla="*/ 6174204 h 6858000"/>
              <a:gd name="connsiteX37" fmla="*/ 845971 w 7467600"/>
              <a:gd name="connsiteY37" fmla="*/ 6067177 h 6858000"/>
              <a:gd name="connsiteX38" fmla="*/ 448057 w 7467600"/>
              <a:gd name="connsiteY38" fmla="*/ 5841376 h 6858000"/>
              <a:gd name="connsiteX39" fmla="*/ 51253 w 7467600"/>
              <a:gd name="connsiteY39" fmla="*/ 5631825 h 6858000"/>
              <a:gd name="connsiteX40" fmla="*/ 2606687 w 7467600"/>
              <a:gd name="connsiteY40" fmla="*/ 5630718 h 6858000"/>
              <a:gd name="connsiteX41" fmla="*/ 2645658 w 7467600"/>
              <a:gd name="connsiteY41" fmla="*/ 6640259 h 6858000"/>
              <a:gd name="connsiteX42" fmla="*/ 2606687 w 7467600"/>
              <a:gd name="connsiteY42" fmla="*/ 5630718 h 6858000"/>
              <a:gd name="connsiteX43" fmla="*/ 3642057 w 7467600"/>
              <a:gd name="connsiteY43" fmla="*/ 5573487 h 6858000"/>
              <a:gd name="connsiteX44" fmla="*/ 3632981 w 7467600"/>
              <a:gd name="connsiteY44" fmla="*/ 5579437 h 6858000"/>
              <a:gd name="connsiteX45" fmla="*/ 3382436 w 7467600"/>
              <a:gd name="connsiteY45" fmla="*/ 5952726 h 6858000"/>
              <a:gd name="connsiteX46" fmla="*/ 3191929 w 7467600"/>
              <a:gd name="connsiteY46" fmla="*/ 6662669 h 6858000"/>
              <a:gd name="connsiteX47" fmla="*/ 3369898 w 7467600"/>
              <a:gd name="connsiteY47" fmla="*/ 6081771 h 6858000"/>
              <a:gd name="connsiteX48" fmla="*/ 3642057 w 7467600"/>
              <a:gd name="connsiteY48" fmla="*/ 5573487 h 6858000"/>
              <a:gd name="connsiteX49" fmla="*/ 2650666 w 7467600"/>
              <a:gd name="connsiteY49" fmla="*/ 5530686 h 6858000"/>
              <a:gd name="connsiteX50" fmla="*/ 2650249 w 7467600"/>
              <a:gd name="connsiteY50" fmla="*/ 5532101 h 6858000"/>
              <a:gd name="connsiteX51" fmla="*/ 2663808 w 7467600"/>
              <a:gd name="connsiteY51" fmla="*/ 6535215 h 6858000"/>
              <a:gd name="connsiteX52" fmla="*/ 2665418 w 7467600"/>
              <a:gd name="connsiteY52" fmla="*/ 6132756 h 6858000"/>
              <a:gd name="connsiteX53" fmla="*/ 2650666 w 7467600"/>
              <a:gd name="connsiteY53" fmla="*/ 5530686 h 6858000"/>
              <a:gd name="connsiteX54" fmla="*/ 2680277 w 7467600"/>
              <a:gd name="connsiteY54" fmla="*/ 5479204 h 6858000"/>
              <a:gd name="connsiteX55" fmla="*/ 2678972 w 7467600"/>
              <a:gd name="connsiteY55" fmla="*/ 5481582 h 6858000"/>
              <a:gd name="connsiteX56" fmla="*/ 2696666 w 7467600"/>
              <a:gd name="connsiteY56" fmla="*/ 6133836 h 6858000"/>
              <a:gd name="connsiteX57" fmla="*/ 2695769 w 7467600"/>
              <a:gd name="connsiteY57" fmla="*/ 6390955 h 6858000"/>
              <a:gd name="connsiteX58" fmla="*/ 2739893 w 7467600"/>
              <a:gd name="connsiteY58" fmla="*/ 6108357 h 6858000"/>
              <a:gd name="connsiteX59" fmla="*/ 2680277 w 7467600"/>
              <a:gd name="connsiteY59" fmla="*/ 5479204 h 6858000"/>
              <a:gd name="connsiteX60" fmla="*/ 1132195 w 7467600"/>
              <a:gd name="connsiteY60" fmla="*/ 5467980 h 6858000"/>
              <a:gd name="connsiteX61" fmla="*/ 1679056 w 7467600"/>
              <a:gd name="connsiteY61" fmla="*/ 5516907 h 6858000"/>
              <a:gd name="connsiteX62" fmla="*/ 2128648 w 7467600"/>
              <a:gd name="connsiteY62" fmla="*/ 5474249 h 6858000"/>
              <a:gd name="connsiteX63" fmla="*/ 1825619 w 7467600"/>
              <a:gd name="connsiteY63" fmla="*/ 5478447 h 6858000"/>
              <a:gd name="connsiteX64" fmla="*/ 1737798 w 7467600"/>
              <a:gd name="connsiteY64" fmla="*/ 5483353 h 6858000"/>
              <a:gd name="connsiteX65" fmla="*/ 1132195 w 7467600"/>
              <a:gd name="connsiteY65" fmla="*/ 5467980 h 6858000"/>
              <a:gd name="connsiteX66" fmla="*/ 1456157 w 7467600"/>
              <a:gd name="connsiteY66" fmla="*/ 5371404 h 6858000"/>
              <a:gd name="connsiteX67" fmla="*/ 1244432 w 7467600"/>
              <a:gd name="connsiteY67" fmla="*/ 5385601 h 6858000"/>
              <a:gd name="connsiteX68" fmla="*/ 973990 w 7467600"/>
              <a:gd name="connsiteY68" fmla="*/ 5424940 h 6858000"/>
              <a:gd name="connsiteX69" fmla="*/ 1103809 w 7467600"/>
              <a:gd name="connsiteY69" fmla="*/ 5433720 h 6858000"/>
              <a:gd name="connsiteX70" fmla="*/ 1123454 w 7467600"/>
              <a:gd name="connsiteY70" fmla="*/ 5435727 h 6858000"/>
              <a:gd name="connsiteX71" fmla="*/ 1737017 w 7467600"/>
              <a:gd name="connsiteY71" fmla="*/ 5452183 h 6858000"/>
              <a:gd name="connsiteX72" fmla="*/ 1824397 w 7467600"/>
              <a:gd name="connsiteY72" fmla="*/ 5447757 h 6858000"/>
              <a:gd name="connsiteX73" fmla="*/ 2070059 w 7467600"/>
              <a:gd name="connsiteY73" fmla="*/ 5441660 h 6858000"/>
              <a:gd name="connsiteX74" fmla="*/ 1456157 w 7467600"/>
              <a:gd name="connsiteY74" fmla="*/ 5371404 h 6858000"/>
              <a:gd name="connsiteX75" fmla="*/ 4988186 w 7467600"/>
              <a:gd name="connsiteY75" fmla="*/ 5216467 h 6858000"/>
              <a:gd name="connsiteX76" fmla="*/ 4777334 w 7467600"/>
              <a:gd name="connsiteY76" fmla="*/ 5406072 h 6858000"/>
              <a:gd name="connsiteX77" fmla="*/ 4718341 w 7467600"/>
              <a:gd name="connsiteY77" fmla="*/ 5468043 h 6858000"/>
              <a:gd name="connsiteX78" fmla="*/ 4604655 w 7467600"/>
              <a:gd name="connsiteY78" fmla="*/ 5583434 h 6858000"/>
              <a:gd name="connsiteX79" fmla="*/ 4565074 w 7467600"/>
              <a:gd name="connsiteY79" fmla="*/ 5618550 h 6858000"/>
              <a:gd name="connsiteX80" fmla="*/ 4988186 w 7467600"/>
              <a:gd name="connsiteY80" fmla="*/ 5216467 h 6858000"/>
              <a:gd name="connsiteX81" fmla="*/ 4978032 w 7467600"/>
              <a:gd name="connsiteY81" fmla="*/ 5183809 h 6858000"/>
              <a:gd name="connsiteX82" fmla="*/ 4463413 w 7467600"/>
              <a:gd name="connsiteY82" fmla="*/ 5615162 h 6858000"/>
              <a:gd name="connsiteX83" fmla="*/ 4358134 w 7467600"/>
              <a:gd name="connsiteY83" fmla="*/ 5742791 h 6858000"/>
              <a:gd name="connsiteX84" fmla="*/ 4376219 w 7467600"/>
              <a:gd name="connsiteY84" fmla="*/ 5729027 h 6858000"/>
              <a:gd name="connsiteX85" fmla="*/ 4582340 w 7467600"/>
              <a:gd name="connsiteY85" fmla="*/ 5561037 h 6858000"/>
              <a:gd name="connsiteX86" fmla="*/ 4694684 w 7467600"/>
              <a:gd name="connsiteY86" fmla="*/ 5447098 h 6858000"/>
              <a:gd name="connsiteX87" fmla="*/ 4754123 w 7467600"/>
              <a:gd name="connsiteY87" fmla="*/ 5384643 h 6858000"/>
              <a:gd name="connsiteX88" fmla="*/ 4978032 w 7467600"/>
              <a:gd name="connsiteY88" fmla="*/ 5183809 h 6858000"/>
              <a:gd name="connsiteX89" fmla="*/ 1903353 w 7467600"/>
              <a:gd name="connsiteY89" fmla="*/ 5044827 h 6858000"/>
              <a:gd name="connsiteX90" fmla="*/ 1936931 w 7467600"/>
              <a:gd name="connsiteY90" fmla="*/ 5093954 h 6858000"/>
              <a:gd name="connsiteX91" fmla="*/ 2195868 w 7467600"/>
              <a:gd name="connsiteY91" fmla="*/ 5396574 h 6858000"/>
              <a:gd name="connsiteX92" fmla="*/ 2088852 w 7467600"/>
              <a:gd name="connsiteY92" fmla="*/ 5166123 h 6858000"/>
              <a:gd name="connsiteX93" fmla="*/ 1958241 w 7467600"/>
              <a:gd name="connsiteY93" fmla="*/ 5067955 h 6858000"/>
              <a:gd name="connsiteX94" fmla="*/ 1903353 w 7467600"/>
              <a:gd name="connsiteY94" fmla="*/ 5044827 h 6858000"/>
              <a:gd name="connsiteX95" fmla="*/ 1979378 w 7467600"/>
              <a:gd name="connsiteY95" fmla="*/ 4769504 h 6858000"/>
              <a:gd name="connsiteX96" fmla="*/ 2882120 w 7467600"/>
              <a:gd name="connsiteY96" fmla="*/ 5064547 h 6858000"/>
              <a:gd name="connsiteX97" fmla="*/ 2793103 w 7467600"/>
              <a:gd name="connsiteY97" fmla="*/ 5039699 h 6858000"/>
              <a:gd name="connsiteX98" fmla="*/ 2770041 w 7467600"/>
              <a:gd name="connsiteY98" fmla="*/ 5033634 h 6858000"/>
              <a:gd name="connsiteX99" fmla="*/ 1979378 w 7467600"/>
              <a:gd name="connsiteY99" fmla="*/ 4769504 h 6858000"/>
              <a:gd name="connsiteX100" fmla="*/ 1927410 w 7467600"/>
              <a:gd name="connsiteY100" fmla="*/ 4716164 h 6858000"/>
              <a:gd name="connsiteX101" fmla="*/ 1959587 w 7467600"/>
              <a:gd name="connsiteY101" fmla="*/ 4728849 h 6858000"/>
              <a:gd name="connsiteX102" fmla="*/ 2777707 w 7467600"/>
              <a:gd name="connsiteY102" fmla="*/ 5003991 h 6858000"/>
              <a:gd name="connsiteX103" fmla="*/ 2800768 w 7467600"/>
              <a:gd name="connsiteY103" fmla="*/ 5010056 h 6858000"/>
              <a:gd name="connsiteX104" fmla="*/ 2879408 w 7467600"/>
              <a:gd name="connsiteY104" fmla="*/ 5031590 h 6858000"/>
              <a:gd name="connsiteX105" fmla="*/ 2862295 w 7467600"/>
              <a:gd name="connsiteY105" fmla="*/ 5022958 h 6858000"/>
              <a:gd name="connsiteX106" fmla="*/ 2813343 w 7467600"/>
              <a:gd name="connsiteY106" fmla="*/ 4998369 h 6858000"/>
              <a:gd name="connsiteX107" fmla="*/ 2646245 w 7467600"/>
              <a:gd name="connsiteY107" fmla="*/ 4930999 h 6858000"/>
              <a:gd name="connsiteX108" fmla="*/ 1999243 w 7467600"/>
              <a:gd name="connsiteY108" fmla="*/ 4730524 h 6858000"/>
              <a:gd name="connsiteX109" fmla="*/ 1979527 w 7467600"/>
              <a:gd name="connsiteY109" fmla="*/ 4726651 h 6858000"/>
              <a:gd name="connsiteX110" fmla="*/ 1927410 w 7467600"/>
              <a:gd name="connsiteY110" fmla="*/ 4716164 h 6858000"/>
              <a:gd name="connsiteX111" fmla="*/ 1997014 w 7467600"/>
              <a:gd name="connsiteY111" fmla="*/ 4698007 h 6858000"/>
              <a:gd name="connsiteX112" fmla="*/ 2005458 w 7467600"/>
              <a:gd name="connsiteY112" fmla="*/ 4699540 h 6858000"/>
              <a:gd name="connsiteX113" fmla="*/ 2657186 w 7467600"/>
              <a:gd name="connsiteY113" fmla="*/ 4901687 h 6858000"/>
              <a:gd name="connsiteX114" fmla="*/ 2826662 w 7467600"/>
              <a:gd name="connsiteY114" fmla="*/ 4970362 h 6858000"/>
              <a:gd name="connsiteX115" fmla="*/ 2876100 w 7467600"/>
              <a:gd name="connsiteY115" fmla="*/ 4995397 h 6858000"/>
              <a:gd name="connsiteX116" fmla="*/ 3042600 w 7467600"/>
              <a:gd name="connsiteY116" fmla="*/ 5059532 h 6858000"/>
              <a:gd name="connsiteX117" fmla="*/ 1997014 w 7467600"/>
              <a:gd name="connsiteY117" fmla="*/ 4698007 h 6858000"/>
              <a:gd name="connsiteX118" fmla="*/ 2305292 w 7467600"/>
              <a:gd name="connsiteY118" fmla="*/ 4219492 h 6858000"/>
              <a:gd name="connsiteX119" fmla="*/ 3360922 w 7467600"/>
              <a:gd name="connsiteY119" fmla="*/ 4529373 h 6858000"/>
              <a:gd name="connsiteX120" fmla="*/ 3492420 w 7467600"/>
              <a:gd name="connsiteY120" fmla="*/ 4510145 h 6858000"/>
              <a:gd name="connsiteX121" fmla="*/ 3364086 w 7467600"/>
              <a:gd name="connsiteY121" fmla="*/ 4480340 h 6858000"/>
              <a:gd name="connsiteX122" fmla="*/ 3225818 w 7467600"/>
              <a:gd name="connsiteY122" fmla="*/ 4411822 h 6858000"/>
              <a:gd name="connsiteX123" fmla="*/ 3129696 w 7467600"/>
              <a:gd name="connsiteY123" fmla="*/ 4360704 h 6858000"/>
              <a:gd name="connsiteX124" fmla="*/ 2814545 w 7467600"/>
              <a:gd name="connsiteY124" fmla="*/ 4282955 h 6858000"/>
              <a:gd name="connsiteX125" fmla="*/ 2305292 w 7467600"/>
              <a:gd name="connsiteY125" fmla="*/ 4219492 h 6858000"/>
              <a:gd name="connsiteX126" fmla="*/ 2626982 w 7467600"/>
              <a:gd name="connsiteY126" fmla="*/ 4206450 h 6858000"/>
              <a:gd name="connsiteX127" fmla="*/ 2490617 w 7467600"/>
              <a:gd name="connsiteY127" fmla="*/ 4206951 h 6858000"/>
              <a:gd name="connsiteX128" fmla="*/ 2819869 w 7467600"/>
              <a:gd name="connsiteY128" fmla="*/ 4252936 h 6858000"/>
              <a:gd name="connsiteX129" fmla="*/ 3143018 w 7467600"/>
              <a:gd name="connsiteY129" fmla="*/ 4332698 h 6858000"/>
              <a:gd name="connsiteX130" fmla="*/ 3241520 w 7467600"/>
              <a:gd name="connsiteY130" fmla="*/ 4385112 h 6858000"/>
              <a:gd name="connsiteX131" fmla="*/ 3374575 w 7467600"/>
              <a:gd name="connsiteY131" fmla="*/ 4451517 h 6858000"/>
              <a:gd name="connsiteX132" fmla="*/ 3505221 w 7467600"/>
              <a:gd name="connsiteY132" fmla="*/ 4480757 h 6858000"/>
              <a:gd name="connsiteX133" fmla="*/ 2626982 w 7467600"/>
              <a:gd name="connsiteY133" fmla="*/ 4206450 h 6858000"/>
              <a:gd name="connsiteX134" fmla="*/ 1310106 w 7467600"/>
              <a:gd name="connsiteY134" fmla="*/ 3943217 h 6858000"/>
              <a:gd name="connsiteX135" fmla="*/ 854994 w 7467600"/>
              <a:gd name="connsiteY135" fmla="*/ 4399136 h 6858000"/>
              <a:gd name="connsiteX136" fmla="*/ 742462 w 7467600"/>
              <a:gd name="connsiteY136" fmla="*/ 4594648 h 6858000"/>
              <a:gd name="connsiteX137" fmla="*/ 820602 w 7467600"/>
              <a:gd name="connsiteY137" fmla="*/ 4485915 h 6858000"/>
              <a:gd name="connsiteX138" fmla="*/ 878295 w 7467600"/>
              <a:gd name="connsiteY138" fmla="*/ 4403594 h 6858000"/>
              <a:gd name="connsiteX139" fmla="*/ 1240607 w 7467600"/>
              <a:gd name="connsiteY139" fmla="*/ 4010401 h 6858000"/>
              <a:gd name="connsiteX140" fmla="*/ 1310106 w 7467600"/>
              <a:gd name="connsiteY140" fmla="*/ 3943217 h 6858000"/>
              <a:gd name="connsiteX141" fmla="*/ 1423113 w 7467600"/>
              <a:gd name="connsiteY141" fmla="*/ 3874565 h 6858000"/>
              <a:gd name="connsiteX142" fmla="*/ 1260565 w 7467600"/>
              <a:gd name="connsiteY142" fmla="*/ 4031982 h 6858000"/>
              <a:gd name="connsiteX143" fmla="*/ 901900 w 7467600"/>
              <a:gd name="connsiteY143" fmla="*/ 4421236 h 6858000"/>
              <a:gd name="connsiteX144" fmla="*/ 845044 w 7467600"/>
              <a:gd name="connsiteY144" fmla="*/ 4502436 h 6858000"/>
              <a:gd name="connsiteX145" fmla="*/ 685926 w 7467600"/>
              <a:gd name="connsiteY145" fmla="*/ 4703069 h 6858000"/>
              <a:gd name="connsiteX146" fmla="*/ 684248 w 7467600"/>
              <a:gd name="connsiteY146" fmla="*/ 4706721 h 6858000"/>
              <a:gd name="connsiteX147" fmla="*/ 1423113 w 7467600"/>
              <a:gd name="connsiteY147" fmla="*/ 3874565 h 6858000"/>
              <a:gd name="connsiteX148" fmla="*/ 3316479 w 7467600"/>
              <a:gd name="connsiteY148" fmla="*/ 3872136 h 6858000"/>
              <a:gd name="connsiteX149" fmla="*/ 3546806 w 7467600"/>
              <a:gd name="connsiteY149" fmla="*/ 4356139 h 6858000"/>
              <a:gd name="connsiteX150" fmla="*/ 3364433 w 7467600"/>
              <a:gd name="connsiteY150" fmla="*/ 3953121 h 6858000"/>
              <a:gd name="connsiteX151" fmla="*/ 3316479 w 7467600"/>
              <a:gd name="connsiteY151" fmla="*/ 3872136 h 6858000"/>
              <a:gd name="connsiteX152" fmla="*/ 3291335 w 7467600"/>
              <a:gd name="connsiteY152" fmla="*/ 3767420 h 6858000"/>
              <a:gd name="connsiteX153" fmla="*/ 3390805 w 7467600"/>
              <a:gd name="connsiteY153" fmla="*/ 3937163 h 6858000"/>
              <a:gd name="connsiteX154" fmla="*/ 3579062 w 7467600"/>
              <a:gd name="connsiteY154" fmla="*/ 4359040 h 6858000"/>
              <a:gd name="connsiteX155" fmla="*/ 3467355 w 7467600"/>
              <a:gd name="connsiteY155" fmla="*/ 3988130 h 6858000"/>
              <a:gd name="connsiteX156" fmla="*/ 3310753 w 7467600"/>
              <a:gd name="connsiteY156" fmla="*/ 3787140 h 6858000"/>
              <a:gd name="connsiteX157" fmla="*/ 3291335 w 7467600"/>
              <a:gd name="connsiteY157" fmla="*/ 3767420 h 6858000"/>
              <a:gd name="connsiteX158" fmla="*/ 1635889 w 7467600"/>
              <a:gd name="connsiteY158" fmla="*/ 3709494 h 6858000"/>
              <a:gd name="connsiteX159" fmla="*/ 1634800 w 7467600"/>
              <a:gd name="connsiteY159" fmla="*/ 3731111 h 6858000"/>
              <a:gd name="connsiteX160" fmla="*/ 1635889 w 7467600"/>
              <a:gd name="connsiteY160" fmla="*/ 3709494 h 6858000"/>
              <a:gd name="connsiteX161" fmla="*/ 1510397 w 7467600"/>
              <a:gd name="connsiteY161" fmla="*/ 3684705 h 6858000"/>
              <a:gd name="connsiteX162" fmla="*/ 1146550 w 7467600"/>
              <a:gd name="connsiteY162" fmla="*/ 3802012 h 6858000"/>
              <a:gd name="connsiteX163" fmla="*/ 698834 w 7467600"/>
              <a:gd name="connsiteY163" fmla="*/ 3952272 h 6858000"/>
              <a:gd name="connsiteX164" fmla="*/ 34256 w 7467600"/>
              <a:gd name="connsiteY164" fmla="*/ 4347603 h 6858000"/>
              <a:gd name="connsiteX165" fmla="*/ 527241 w 7467600"/>
              <a:gd name="connsiteY165" fmla="*/ 4065078 h 6858000"/>
              <a:gd name="connsiteX166" fmla="*/ 1510397 w 7467600"/>
              <a:gd name="connsiteY166" fmla="*/ 3684705 h 6858000"/>
              <a:gd name="connsiteX167" fmla="*/ 1313114 w 7467600"/>
              <a:gd name="connsiteY167" fmla="*/ 3655216 h 6858000"/>
              <a:gd name="connsiteX168" fmla="*/ 1109304 w 7467600"/>
              <a:gd name="connsiteY168" fmla="*/ 3669030 h 6858000"/>
              <a:gd name="connsiteX169" fmla="*/ 8129 w 7467600"/>
              <a:gd name="connsiteY169" fmla="*/ 4330519 h 6858000"/>
              <a:gd name="connsiteX170" fmla="*/ 687572 w 7467600"/>
              <a:gd name="connsiteY170" fmla="*/ 3925629 h 6858000"/>
              <a:gd name="connsiteX171" fmla="*/ 1138365 w 7467600"/>
              <a:gd name="connsiteY171" fmla="*/ 3774515 h 6858000"/>
              <a:gd name="connsiteX172" fmla="*/ 1505579 w 7467600"/>
              <a:gd name="connsiteY172" fmla="*/ 3655526 h 6858000"/>
              <a:gd name="connsiteX173" fmla="*/ 1313114 w 7467600"/>
              <a:gd name="connsiteY173" fmla="*/ 3655216 h 6858000"/>
              <a:gd name="connsiteX174" fmla="*/ 3655073 w 7467600"/>
              <a:gd name="connsiteY174" fmla="*/ 3650884 h 6858000"/>
              <a:gd name="connsiteX175" fmla="*/ 3989938 w 7467600"/>
              <a:gd name="connsiteY175" fmla="*/ 3991685 h 6858000"/>
              <a:gd name="connsiteX176" fmla="*/ 4393907 w 7467600"/>
              <a:gd name="connsiteY176" fmla="*/ 4261258 h 6858000"/>
              <a:gd name="connsiteX177" fmla="*/ 4648051 w 7467600"/>
              <a:gd name="connsiteY177" fmla="*/ 4374051 h 6858000"/>
              <a:gd name="connsiteX178" fmla="*/ 4383389 w 7467600"/>
              <a:gd name="connsiteY178" fmla="*/ 4184369 h 6858000"/>
              <a:gd name="connsiteX179" fmla="*/ 4165508 w 7467600"/>
              <a:gd name="connsiteY179" fmla="*/ 4035196 h 6858000"/>
              <a:gd name="connsiteX180" fmla="*/ 4068162 w 7467600"/>
              <a:gd name="connsiteY180" fmla="*/ 3953394 h 6858000"/>
              <a:gd name="connsiteX181" fmla="*/ 3981416 w 7467600"/>
              <a:gd name="connsiteY181" fmla="*/ 3880482 h 6858000"/>
              <a:gd name="connsiteX182" fmla="*/ 3800147 w 7467600"/>
              <a:gd name="connsiteY182" fmla="*/ 3749872 h 6858000"/>
              <a:gd name="connsiteX183" fmla="*/ 3655073 w 7467600"/>
              <a:gd name="connsiteY183" fmla="*/ 3650884 h 6858000"/>
              <a:gd name="connsiteX184" fmla="*/ 3670252 w 7467600"/>
              <a:gd name="connsiteY184" fmla="*/ 3622798 h 6858000"/>
              <a:gd name="connsiteX185" fmla="*/ 3817258 w 7467600"/>
              <a:gd name="connsiteY185" fmla="*/ 3723577 h 6858000"/>
              <a:gd name="connsiteX186" fmla="*/ 4000461 w 7467600"/>
              <a:gd name="connsiteY186" fmla="*/ 3855966 h 6858000"/>
              <a:gd name="connsiteX187" fmla="*/ 4088180 w 7467600"/>
              <a:gd name="connsiteY187" fmla="*/ 3929774 h 6858000"/>
              <a:gd name="connsiteX188" fmla="*/ 4184555 w 7467600"/>
              <a:gd name="connsiteY188" fmla="*/ 4010683 h 6858000"/>
              <a:gd name="connsiteX189" fmla="*/ 4399563 w 7467600"/>
              <a:gd name="connsiteY189" fmla="*/ 4158106 h 6858000"/>
              <a:gd name="connsiteX190" fmla="*/ 4684469 w 7467600"/>
              <a:gd name="connsiteY190" fmla="*/ 4364680 h 6858000"/>
              <a:gd name="connsiteX191" fmla="*/ 4690271 w 7467600"/>
              <a:gd name="connsiteY191" fmla="*/ 4370034 h 6858000"/>
              <a:gd name="connsiteX192" fmla="*/ 4136093 w 7467600"/>
              <a:gd name="connsiteY192" fmla="*/ 3858466 h 6858000"/>
              <a:gd name="connsiteX193" fmla="*/ 3670252 w 7467600"/>
              <a:gd name="connsiteY193" fmla="*/ 3622798 h 6858000"/>
              <a:gd name="connsiteX194" fmla="*/ 4440129 w 7467600"/>
              <a:gd name="connsiteY194" fmla="*/ 3448571 h 6858000"/>
              <a:gd name="connsiteX195" fmla="*/ 4856525 w 7467600"/>
              <a:gd name="connsiteY195" fmla="*/ 3915351 h 6858000"/>
              <a:gd name="connsiteX196" fmla="*/ 5059055 w 7467600"/>
              <a:gd name="connsiteY196" fmla="*/ 4108918 h 6858000"/>
              <a:gd name="connsiteX197" fmla="*/ 5290070 w 7467600"/>
              <a:gd name="connsiteY197" fmla="*/ 4263619 h 6858000"/>
              <a:gd name="connsiteX198" fmla="*/ 4834991 w 7467600"/>
              <a:gd name="connsiteY198" fmla="*/ 3830985 h 6858000"/>
              <a:gd name="connsiteX199" fmla="*/ 4440129 w 7467600"/>
              <a:gd name="connsiteY199" fmla="*/ 3448571 h 6858000"/>
              <a:gd name="connsiteX200" fmla="*/ 4441737 w 7467600"/>
              <a:gd name="connsiteY200" fmla="*/ 3399734 h 6858000"/>
              <a:gd name="connsiteX201" fmla="*/ 4431236 w 7467600"/>
              <a:gd name="connsiteY201" fmla="*/ 3400954 h 6858000"/>
              <a:gd name="connsiteX202" fmla="*/ 4557150 w 7467600"/>
              <a:gd name="connsiteY202" fmla="*/ 3510023 h 6858000"/>
              <a:gd name="connsiteX203" fmla="*/ 4856936 w 7467600"/>
              <a:gd name="connsiteY203" fmla="*/ 3809146 h 6858000"/>
              <a:gd name="connsiteX204" fmla="*/ 5111996 w 7467600"/>
              <a:gd name="connsiteY204" fmla="*/ 4065759 h 6858000"/>
              <a:gd name="connsiteX205" fmla="*/ 5388878 w 7467600"/>
              <a:gd name="connsiteY205" fmla="*/ 4300185 h 6858000"/>
              <a:gd name="connsiteX206" fmla="*/ 5425556 w 7467600"/>
              <a:gd name="connsiteY206" fmla="*/ 4308967 h 6858000"/>
              <a:gd name="connsiteX207" fmla="*/ 4943646 w 7467600"/>
              <a:gd name="connsiteY207" fmla="*/ 3822916 h 6858000"/>
              <a:gd name="connsiteX208" fmla="*/ 4594837 w 7467600"/>
              <a:gd name="connsiteY208" fmla="*/ 3532274 h 6858000"/>
              <a:gd name="connsiteX209" fmla="*/ 4441737 w 7467600"/>
              <a:gd name="connsiteY209" fmla="*/ 3399734 h 6858000"/>
              <a:gd name="connsiteX210" fmla="*/ 5425834 w 7467600"/>
              <a:gd name="connsiteY210" fmla="*/ 3162785 h 6858000"/>
              <a:gd name="connsiteX211" fmla="*/ 5401644 w 7467600"/>
              <a:gd name="connsiteY211" fmla="*/ 3617847 h 6858000"/>
              <a:gd name="connsiteX212" fmla="*/ 5467256 w 7467600"/>
              <a:gd name="connsiteY212" fmla="*/ 4175494 h 6858000"/>
              <a:gd name="connsiteX213" fmla="*/ 5448069 w 7467600"/>
              <a:gd name="connsiteY213" fmla="*/ 3567554 h 6858000"/>
              <a:gd name="connsiteX214" fmla="*/ 5425834 w 7467600"/>
              <a:gd name="connsiteY214" fmla="*/ 3162785 h 6858000"/>
              <a:gd name="connsiteX215" fmla="*/ 1318687 w 7467600"/>
              <a:gd name="connsiteY215" fmla="*/ 3113840 h 6858000"/>
              <a:gd name="connsiteX216" fmla="*/ 1066793 w 7467600"/>
              <a:gd name="connsiteY216" fmla="*/ 3212171 h 6858000"/>
              <a:gd name="connsiteX217" fmla="*/ 993319 w 7467600"/>
              <a:gd name="connsiteY217" fmla="*/ 3247648 h 6858000"/>
              <a:gd name="connsiteX218" fmla="*/ 853081 w 7467600"/>
              <a:gd name="connsiteY218" fmla="*/ 3312410 h 6858000"/>
              <a:gd name="connsiteX219" fmla="*/ 805957 w 7467600"/>
              <a:gd name="connsiteY219" fmla="*/ 3330443 h 6858000"/>
              <a:gd name="connsiteX220" fmla="*/ 1318687 w 7467600"/>
              <a:gd name="connsiteY220" fmla="*/ 3113840 h 6858000"/>
              <a:gd name="connsiteX221" fmla="*/ 5453702 w 7467600"/>
              <a:gd name="connsiteY221" fmla="*/ 3090882 h 6858000"/>
              <a:gd name="connsiteX222" fmla="*/ 5480135 w 7467600"/>
              <a:gd name="connsiteY222" fmla="*/ 3565802 h 6858000"/>
              <a:gd name="connsiteX223" fmla="*/ 5499023 w 7467600"/>
              <a:gd name="connsiteY223" fmla="*/ 4166310 h 6858000"/>
              <a:gd name="connsiteX224" fmla="*/ 5547022 w 7467600"/>
              <a:gd name="connsiteY224" fmla="*/ 3607838 h 6858000"/>
              <a:gd name="connsiteX225" fmla="*/ 5515964 w 7467600"/>
              <a:gd name="connsiteY225" fmla="*/ 3378541 h 6858000"/>
              <a:gd name="connsiteX226" fmla="*/ 5453702 w 7467600"/>
              <a:gd name="connsiteY226" fmla="*/ 3090882 h 6858000"/>
              <a:gd name="connsiteX227" fmla="*/ 1238695 w 7467600"/>
              <a:gd name="connsiteY227" fmla="*/ 3076820 h 6858000"/>
              <a:gd name="connsiteX228" fmla="*/ 716371 w 7467600"/>
              <a:gd name="connsiteY228" fmla="*/ 3293249 h 6858000"/>
              <a:gd name="connsiteX229" fmla="*/ 579522 w 7467600"/>
              <a:gd name="connsiteY229" fmla="*/ 3371759 h 6858000"/>
              <a:gd name="connsiteX230" fmla="*/ 600288 w 7467600"/>
              <a:gd name="connsiteY230" fmla="*/ 3365555 h 6858000"/>
              <a:gd name="connsiteX231" fmla="*/ 840692 w 7467600"/>
              <a:gd name="connsiteY231" fmla="*/ 3284921 h 6858000"/>
              <a:gd name="connsiteX232" fmla="*/ 979248 w 7467600"/>
              <a:gd name="connsiteY232" fmla="*/ 3221003 h 6858000"/>
              <a:gd name="connsiteX233" fmla="*/ 1053282 w 7467600"/>
              <a:gd name="connsiteY233" fmla="*/ 3185247 h 6858000"/>
              <a:gd name="connsiteX234" fmla="*/ 1320603 w 7467600"/>
              <a:gd name="connsiteY234" fmla="*/ 3081281 h 6858000"/>
              <a:gd name="connsiteX235" fmla="*/ 1238695 w 7467600"/>
              <a:gd name="connsiteY235" fmla="*/ 3076820 h 6858000"/>
              <a:gd name="connsiteX236" fmla="*/ 5425627 w 7467600"/>
              <a:gd name="connsiteY236" fmla="*/ 2954192 h 6858000"/>
              <a:gd name="connsiteX237" fmla="*/ 5470770 w 7467600"/>
              <a:gd name="connsiteY237" fmla="*/ 3005435 h 6858000"/>
              <a:gd name="connsiteX238" fmla="*/ 5519779 w 7467600"/>
              <a:gd name="connsiteY238" fmla="*/ 4359223 h 6858000"/>
              <a:gd name="connsiteX239" fmla="*/ 5520293 w 7467600"/>
              <a:gd name="connsiteY239" fmla="*/ 4360602 h 6858000"/>
              <a:gd name="connsiteX240" fmla="*/ 5767221 w 7467600"/>
              <a:gd name="connsiteY240" fmla="*/ 4665564 h 6858000"/>
              <a:gd name="connsiteX241" fmla="*/ 6937169 w 7467600"/>
              <a:gd name="connsiteY241" fmla="*/ 4815941 h 6858000"/>
              <a:gd name="connsiteX242" fmla="*/ 6953922 w 7467600"/>
              <a:gd name="connsiteY242" fmla="*/ 4890068 h 6858000"/>
              <a:gd name="connsiteX243" fmla="*/ 6071359 w 7467600"/>
              <a:gd name="connsiteY243" fmla="*/ 4770770 h 6858000"/>
              <a:gd name="connsiteX244" fmla="*/ 6038839 w 7467600"/>
              <a:gd name="connsiteY244" fmla="*/ 4764474 h 6858000"/>
              <a:gd name="connsiteX245" fmla="*/ 6038706 w 7467600"/>
              <a:gd name="connsiteY245" fmla="*/ 4763847 h 6858000"/>
              <a:gd name="connsiteX246" fmla="*/ 6037784 w 7467600"/>
              <a:gd name="connsiteY246" fmla="*/ 4764270 h 6858000"/>
              <a:gd name="connsiteX247" fmla="*/ 6038839 w 7467600"/>
              <a:gd name="connsiteY247" fmla="*/ 4764474 h 6858000"/>
              <a:gd name="connsiteX248" fmla="*/ 6040338 w 7467600"/>
              <a:gd name="connsiteY248" fmla="*/ 4771418 h 6858000"/>
              <a:gd name="connsiteX249" fmla="*/ 6024488 w 7467600"/>
              <a:gd name="connsiteY249" fmla="*/ 4809903 h 6858000"/>
              <a:gd name="connsiteX250" fmla="*/ 5599771 w 7467600"/>
              <a:gd name="connsiteY250" fmla="*/ 5509652 h 6858000"/>
              <a:gd name="connsiteX251" fmla="*/ 5548843 w 7467600"/>
              <a:gd name="connsiteY251" fmla="*/ 5563845 h 6858000"/>
              <a:gd name="connsiteX252" fmla="*/ 5940952 w 7467600"/>
              <a:gd name="connsiteY252" fmla="*/ 6250028 h 6858000"/>
              <a:gd name="connsiteX253" fmla="*/ 6043441 w 7467600"/>
              <a:gd name="connsiteY253" fmla="*/ 6665847 h 6858000"/>
              <a:gd name="connsiteX254" fmla="*/ 6093432 w 7467600"/>
              <a:gd name="connsiteY254" fmla="*/ 6858000 h 6858000"/>
              <a:gd name="connsiteX255" fmla="*/ 6034344 w 7467600"/>
              <a:gd name="connsiteY255" fmla="*/ 6858000 h 6858000"/>
              <a:gd name="connsiteX256" fmla="*/ 6026679 w 7467600"/>
              <a:gd name="connsiteY256" fmla="*/ 6836959 h 6858000"/>
              <a:gd name="connsiteX257" fmla="*/ 5800441 w 7467600"/>
              <a:gd name="connsiteY257" fmla="*/ 6335286 h 6858000"/>
              <a:gd name="connsiteX258" fmla="*/ 5526562 w 7467600"/>
              <a:gd name="connsiteY258" fmla="*/ 5705388 h 6858000"/>
              <a:gd name="connsiteX259" fmla="*/ 5519640 w 7467600"/>
              <a:gd name="connsiteY259" fmla="*/ 5683774 h 6858000"/>
              <a:gd name="connsiteX260" fmla="*/ 5844559 w 7467600"/>
              <a:gd name="connsiteY260" fmla="*/ 6553349 h 6858000"/>
              <a:gd name="connsiteX261" fmla="*/ 5975994 w 7467600"/>
              <a:gd name="connsiteY261" fmla="*/ 6858000 h 6858000"/>
              <a:gd name="connsiteX262" fmla="*/ 5898547 w 7467600"/>
              <a:gd name="connsiteY262" fmla="*/ 6858000 h 6858000"/>
              <a:gd name="connsiteX263" fmla="*/ 5682041 w 7467600"/>
              <a:gd name="connsiteY263" fmla="*/ 6355860 h 6858000"/>
              <a:gd name="connsiteX264" fmla="*/ 5461758 w 7467600"/>
              <a:gd name="connsiteY264" fmla="*/ 5820220 h 6858000"/>
              <a:gd name="connsiteX265" fmla="*/ 5237282 w 7467600"/>
              <a:gd name="connsiteY265" fmla="*/ 6579086 h 6858000"/>
              <a:gd name="connsiteX266" fmla="*/ 5115009 w 7467600"/>
              <a:gd name="connsiteY266" fmla="*/ 6858000 h 6858000"/>
              <a:gd name="connsiteX267" fmla="*/ 5028074 w 7467600"/>
              <a:gd name="connsiteY267" fmla="*/ 6858000 h 6858000"/>
              <a:gd name="connsiteX268" fmla="*/ 5079508 w 7467600"/>
              <a:gd name="connsiteY268" fmla="*/ 6749074 h 6858000"/>
              <a:gd name="connsiteX269" fmla="*/ 5371846 w 7467600"/>
              <a:gd name="connsiteY269" fmla="*/ 5924413 h 6858000"/>
              <a:gd name="connsiteX270" fmla="*/ 5270512 w 7467600"/>
              <a:gd name="connsiteY270" fmla="*/ 6138975 h 6858000"/>
              <a:gd name="connsiteX271" fmla="*/ 5062409 w 7467600"/>
              <a:gd name="connsiteY271" fmla="*/ 6653544 h 6858000"/>
              <a:gd name="connsiteX272" fmla="*/ 5036628 w 7467600"/>
              <a:gd name="connsiteY272" fmla="*/ 6754247 h 6858000"/>
              <a:gd name="connsiteX273" fmla="*/ 5009112 w 7467600"/>
              <a:gd name="connsiteY273" fmla="*/ 6858000 h 6858000"/>
              <a:gd name="connsiteX274" fmla="*/ 4976679 w 7467600"/>
              <a:gd name="connsiteY274" fmla="*/ 6858000 h 6858000"/>
              <a:gd name="connsiteX275" fmla="*/ 5006537 w 7467600"/>
              <a:gd name="connsiteY275" fmla="*/ 6747068 h 6858000"/>
              <a:gd name="connsiteX276" fmla="*/ 5032723 w 7467600"/>
              <a:gd name="connsiteY276" fmla="*/ 6644957 h 6858000"/>
              <a:gd name="connsiteX277" fmla="*/ 5242949 w 7467600"/>
              <a:gd name="connsiteY277" fmla="*/ 6125175 h 6858000"/>
              <a:gd name="connsiteX278" fmla="*/ 5286321 w 7467600"/>
              <a:gd name="connsiteY278" fmla="*/ 6033555 h 6858000"/>
              <a:gd name="connsiteX279" fmla="*/ 5008210 w 7467600"/>
              <a:gd name="connsiteY279" fmla="*/ 6649194 h 6858000"/>
              <a:gd name="connsiteX280" fmla="*/ 4986321 w 7467600"/>
              <a:gd name="connsiteY280" fmla="*/ 6765687 h 6858000"/>
              <a:gd name="connsiteX281" fmla="*/ 4973474 w 7467600"/>
              <a:gd name="connsiteY281" fmla="*/ 6858000 h 6858000"/>
              <a:gd name="connsiteX282" fmla="*/ 4907178 w 7467600"/>
              <a:gd name="connsiteY282" fmla="*/ 6858000 h 6858000"/>
              <a:gd name="connsiteX283" fmla="*/ 4910810 w 7467600"/>
              <a:gd name="connsiteY283" fmla="*/ 6829660 h 6858000"/>
              <a:gd name="connsiteX284" fmla="*/ 4987461 w 7467600"/>
              <a:gd name="connsiteY284" fmla="*/ 6432994 h 6858000"/>
              <a:gd name="connsiteX285" fmla="*/ 5179262 w 7467600"/>
              <a:gd name="connsiteY285" fmla="*/ 6035044 h 6858000"/>
              <a:gd name="connsiteX286" fmla="*/ 4689678 w 7467600"/>
              <a:gd name="connsiteY286" fmla="*/ 6440241 h 6858000"/>
              <a:gd name="connsiteX287" fmla="*/ 4477543 w 7467600"/>
              <a:gd name="connsiteY287" fmla="*/ 6674836 h 6858000"/>
              <a:gd name="connsiteX288" fmla="*/ 4329957 w 7467600"/>
              <a:gd name="connsiteY288" fmla="*/ 6858000 h 6858000"/>
              <a:gd name="connsiteX289" fmla="*/ 4218595 w 7467600"/>
              <a:gd name="connsiteY289" fmla="*/ 6858000 h 6858000"/>
              <a:gd name="connsiteX290" fmla="*/ 4368888 w 7467600"/>
              <a:gd name="connsiteY290" fmla="*/ 6668412 h 6858000"/>
              <a:gd name="connsiteX291" fmla="*/ 4563091 w 7467600"/>
              <a:gd name="connsiteY291" fmla="*/ 6442508 h 6858000"/>
              <a:gd name="connsiteX292" fmla="*/ 5387324 w 7467600"/>
              <a:gd name="connsiteY292" fmla="*/ 5705830 h 6858000"/>
              <a:gd name="connsiteX293" fmla="*/ 5073620 w 7467600"/>
              <a:gd name="connsiteY293" fmla="*/ 5955437 h 6858000"/>
              <a:gd name="connsiteX294" fmla="*/ 4689789 w 7467600"/>
              <a:gd name="connsiteY294" fmla="*/ 6268382 h 6858000"/>
              <a:gd name="connsiteX295" fmla="*/ 4418722 w 7467600"/>
              <a:gd name="connsiteY295" fmla="*/ 6570886 h 6858000"/>
              <a:gd name="connsiteX296" fmla="*/ 4214944 w 7467600"/>
              <a:gd name="connsiteY296" fmla="*/ 6858000 h 6858000"/>
              <a:gd name="connsiteX297" fmla="*/ 4177898 w 7467600"/>
              <a:gd name="connsiteY297" fmla="*/ 6858000 h 6858000"/>
              <a:gd name="connsiteX298" fmla="*/ 4391597 w 7467600"/>
              <a:gd name="connsiteY298" fmla="*/ 6556370 h 6858000"/>
              <a:gd name="connsiteX299" fmla="*/ 4668889 w 7467600"/>
              <a:gd name="connsiteY299" fmla="*/ 6246399 h 6858000"/>
              <a:gd name="connsiteX300" fmla="*/ 5055427 w 7467600"/>
              <a:gd name="connsiteY300" fmla="*/ 5931476 h 6858000"/>
              <a:gd name="connsiteX301" fmla="*/ 5371814 w 7467600"/>
              <a:gd name="connsiteY301" fmla="*/ 5678975 h 6858000"/>
              <a:gd name="connsiteX302" fmla="*/ 4987918 w 7467600"/>
              <a:gd name="connsiteY302" fmla="*/ 5838701 h 6858000"/>
              <a:gd name="connsiteX303" fmla="*/ 4317146 w 7467600"/>
              <a:gd name="connsiteY303" fmla="*/ 6587716 h 6858000"/>
              <a:gd name="connsiteX304" fmla="*/ 4171627 w 7467600"/>
              <a:gd name="connsiteY304" fmla="*/ 6858000 h 6858000"/>
              <a:gd name="connsiteX305" fmla="*/ 4081585 w 7467600"/>
              <a:gd name="connsiteY305" fmla="*/ 6858000 h 6858000"/>
              <a:gd name="connsiteX306" fmla="*/ 4238603 w 7467600"/>
              <a:gd name="connsiteY306" fmla="*/ 6559341 h 6858000"/>
              <a:gd name="connsiteX307" fmla="*/ 4778333 w 7467600"/>
              <a:gd name="connsiteY307" fmla="*/ 5873626 h 6858000"/>
              <a:gd name="connsiteX308" fmla="*/ 5414185 w 7467600"/>
              <a:gd name="connsiteY308" fmla="*/ 5573882 h 6858000"/>
              <a:gd name="connsiteX309" fmla="*/ 5959648 w 7467600"/>
              <a:gd name="connsiteY309" fmla="*/ 4760797 h 6858000"/>
              <a:gd name="connsiteX310" fmla="*/ 5355019 w 7467600"/>
              <a:gd name="connsiteY310" fmla="*/ 4734672 h 6858000"/>
              <a:gd name="connsiteX311" fmla="*/ 5083565 w 7467600"/>
              <a:gd name="connsiteY311" fmla="*/ 5179121 h 6858000"/>
              <a:gd name="connsiteX312" fmla="*/ 4713577 w 7467600"/>
              <a:gd name="connsiteY312" fmla="*/ 5616803 h 6858000"/>
              <a:gd name="connsiteX313" fmla="*/ 3989559 w 7467600"/>
              <a:gd name="connsiteY313" fmla="*/ 6145945 h 6858000"/>
              <a:gd name="connsiteX314" fmla="*/ 3939824 w 7467600"/>
              <a:gd name="connsiteY314" fmla="*/ 6066900 h 6858000"/>
              <a:gd name="connsiteX315" fmla="*/ 4584537 w 7467600"/>
              <a:gd name="connsiteY315" fmla="*/ 5324826 h 6858000"/>
              <a:gd name="connsiteX316" fmla="*/ 5037105 w 7467600"/>
              <a:gd name="connsiteY316" fmla="*/ 5088765 h 6858000"/>
              <a:gd name="connsiteX317" fmla="*/ 5039930 w 7467600"/>
              <a:gd name="connsiteY317" fmla="*/ 5089585 h 6858000"/>
              <a:gd name="connsiteX318" fmla="*/ 5263764 w 7467600"/>
              <a:gd name="connsiteY318" fmla="*/ 4735525 h 6858000"/>
              <a:gd name="connsiteX319" fmla="*/ 4086300 w 7467600"/>
              <a:gd name="connsiteY319" fmla="*/ 4884599 h 6858000"/>
              <a:gd name="connsiteX320" fmla="*/ 4085485 w 7467600"/>
              <a:gd name="connsiteY320" fmla="*/ 4899070 h 6858000"/>
              <a:gd name="connsiteX321" fmla="*/ 3871915 w 7467600"/>
              <a:gd name="connsiteY321" fmla="*/ 5253645 h 6858000"/>
              <a:gd name="connsiteX322" fmla="*/ 3799374 w 7467600"/>
              <a:gd name="connsiteY322" fmla="*/ 5466127 h 6858000"/>
              <a:gd name="connsiteX323" fmla="*/ 3498850 w 7467600"/>
              <a:gd name="connsiteY323" fmla="*/ 6661888 h 6858000"/>
              <a:gd name="connsiteX324" fmla="*/ 3399216 w 7467600"/>
              <a:gd name="connsiteY324" fmla="*/ 6858000 h 6858000"/>
              <a:gd name="connsiteX325" fmla="*/ 3303688 w 7467600"/>
              <a:gd name="connsiteY325" fmla="*/ 6858000 h 6858000"/>
              <a:gd name="connsiteX326" fmla="*/ 3391774 w 7467600"/>
              <a:gd name="connsiteY326" fmla="*/ 6697181 h 6858000"/>
              <a:gd name="connsiteX327" fmla="*/ 3735540 w 7467600"/>
              <a:gd name="connsiteY327" fmla="*/ 5546923 h 6858000"/>
              <a:gd name="connsiteX328" fmla="*/ 3729438 w 7467600"/>
              <a:gd name="connsiteY328" fmla="*/ 5569058 h 6858000"/>
              <a:gd name="connsiteX329" fmla="*/ 3707782 w 7467600"/>
              <a:gd name="connsiteY329" fmla="*/ 5644908 h 6858000"/>
              <a:gd name="connsiteX330" fmla="*/ 3583827 w 7467600"/>
              <a:gd name="connsiteY330" fmla="*/ 6039215 h 6858000"/>
              <a:gd name="connsiteX331" fmla="*/ 3547861 w 7467600"/>
              <a:gd name="connsiteY331" fmla="*/ 6129609 h 6858000"/>
              <a:gd name="connsiteX332" fmla="*/ 3490905 w 7467600"/>
              <a:gd name="connsiteY332" fmla="*/ 6277660 h 6858000"/>
              <a:gd name="connsiteX333" fmla="*/ 3455859 w 7467600"/>
              <a:gd name="connsiteY333" fmla="*/ 6391301 h 6858000"/>
              <a:gd name="connsiteX334" fmla="*/ 3429112 w 7467600"/>
              <a:gd name="connsiteY334" fmla="*/ 6479469 h 6858000"/>
              <a:gd name="connsiteX335" fmla="*/ 3304862 w 7467600"/>
              <a:gd name="connsiteY335" fmla="*/ 6796476 h 6858000"/>
              <a:gd name="connsiteX336" fmla="*/ 3276071 w 7467600"/>
              <a:gd name="connsiteY336" fmla="*/ 6858000 h 6858000"/>
              <a:gd name="connsiteX337" fmla="*/ 3240805 w 7467600"/>
              <a:gd name="connsiteY337" fmla="*/ 6858000 h 6858000"/>
              <a:gd name="connsiteX338" fmla="*/ 3275917 w 7467600"/>
              <a:gd name="connsiteY338" fmla="*/ 6783192 h 6858000"/>
              <a:gd name="connsiteX339" fmla="*/ 3399358 w 7467600"/>
              <a:gd name="connsiteY339" fmla="*/ 6469011 h 6858000"/>
              <a:gd name="connsiteX340" fmla="*/ 3425650 w 7467600"/>
              <a:gd name="connsiteY340" fmla="*/ 6381333 h 6858000"/>
              <a:gd name="connsiteX341" fmla="*/ 3460661 w 7467600"/>
              <a:gd name="connsiteY341" fmla="*/ 6266763 h 6858000"/>
              <a:gd name="connsiteX342" fmla="*/ 3518021 w 7467600"/>
              <a:gd name="connsiteY342" fmla="*/ 6117298 h 6858000"/>
              <a:gd name="connsiteX343" fmla="*/ 3554035 w 7467600"/>
              <a:gd name="connsiteY343" fmla="*/ 6027832 h 6858000"/>
              <a:gd name="connsiteX344" fmla="*/ 3677174 w 7467600"/>
              <a:gd name="connsiteY344" fmla="*/ 5636351 h 6858000"/>
              <a:gd name="connsiteX345" fmla="*/ 3698819 w 7467600"/>
              <a:gd name="connsiteY345" fmla="*/ 5560503 h 6858000"/>
              <a:gd name="connsiteX346" fmla="*/ 3702094 w 7467600"/>
              <a:gd name="connsiteY346" fmla="*/ 5549194 h 6858000"/>
              <a:gd name="connsiteX347" fmla="*/ 3398355 w 7467600"/>
              <a:gd name="connsiteY347" fmla="*/ 6094603 h 6858000"/>
              <a:gd name="connsiteX348" fmla="*/ 3193941 w 7467600"/>
              <a:gd name="connsiteY348" fmla="*/ 6798775 h 6858000"/>
              <a:gd name="connsiteX349" fmla="*/ 3184140 w 7467600"/>
              <a:gd name="connsiteY349" fmla="*/ 6858000 h 6858000"/>
              <a:gd name="connsiteX350" fmla="*/ 3099978 w 7467600"/>
              <a:gd name="connsiteY350" fmla="*/ 6858000 h 6858000"/>
              <a:gd name="connsiteX351" fmla="*/ 3101556 w 7467600"/>
              <a:gd name="connsiteY351" fmla="*/ 6843337 h 6858000"/>
              <a:gd name="connsiteX352" fmla="*/ 3370162 w 7467600"/>
              <a:gd name="connsiteY352" fmla="*/ 5785550 h 6858000"/>
              <a:gd name="connsiteX353" fmla="*/ 3746477 w 7467600"/>
              <a:gd name="connsiteY353" fmla="*/ 5377889 h 6858000"/>
              <a:gd name="connsiteX354" fmla="*/ 3863399 w 7467600"/>
              <a:gd name="connsiteY354" fmla="*/ 5087257 h 6858000"/>
              <a:gd name="connsiteX355" fmla="*/ 3968712 w 7467600"/>
              <a:gd name="connsiteY355" fmla="*/ 4913989 h 6858000"/>
              <a:gd name="connsiteX356" fmla="*/ 2792390 w 7467600"/>
              <a:gd name="connsiteY356" fmla="*/ 5382974 h 6858000"/>
              <a:gd name="connsiteX357" fmla="*/ 2714982 w 7467600"/>
              <a:gd name="connsiteY357" fmla="*/ 5427051 h 6858000"/>
              <a:gd name="connsiteX358" fmla="*/ 2813361 w 7467600"/>
              <a:gd name="connsiteY358" fmla="*/ 6023912 h 6858000"/>
              <a:gd name="connsiteX359" fmla="*/ 2688430 w 7467600"/>
              <a:gd name="connsiteY359" fmla="*/ 6801564 h 6858000"/>
              <a:gd name="connsiteX360" fmla="*/ 2629626 w 7467600"/>
              <a:gd name="connsiteY360" fmla="*/ 6763394 h 6858000"/>
              <a:gd name="connsiteX361" fmla="*/ 2565328 w 7467600"/>
              <a:gd name="connsiteY361" fmla="*/ 5516399 h 6858000"/>
              <a:gd name="connsiteX362" fmla="*/ 1922999 w 7467600"/>
              <a:gd name="connsiteY362" fmla="*/ 5980343 h 6858000"/>
              <a:gd name="connsiteX363" fmla="*/ 1950261 w 7467600"/>
              <a:gd name="connsiteY363" fmla="*/ 6405858 h 6858000"/>
              <a:gd name="connsiteX364" fmla="*/ 2365554 w 7467600"/>
              <a:gd name="connsiteY364" fmla="*/ 6759107 h 6858000"/>
              <a:gd name="connsiteX365" fmla="*/ 2424142 w 7467600"/>
              <a:gd name="connsiteY365" fmla="*/ 6858000 h 6858000"/>
              <a:gd name="connsiteX366" fmla="*/ 2395994 w 7467600"/>
              <a:gd name="connsiteY366" fmla="*/ 6858000 h 6858000"/>
              <a:gd name="connsiteX367" fmla="*/ 2392863 w 7467600"/>
              <a:gd name="connsiteY367" fmla="*/ 6852964 h 6858000"/>
              <a:gd name="connsiteX368" fmla="*/ 2017589 w 7467600"/>
              <a:gd name="connsiteY368" fmla="*/ 6493982 h 6858000"/>
              <a:gd name="connsiteX369" fmla="*/ 2147336 w 7467600"/>
              <a:gd name="connsiteY369" fmla="*/ 6594052 h 6858000"/>
              <a:gd name="connsiteX370" fmla="*/ 2207047 w 7467600"/>
              <a:gd name="connsiteY370" fmla="*/ 6654540 h 6858000"/>
              <a:gd name="connsiteX371" fmla="*/ 2299106 w 7467600"/>
              <a:gd name="connsiteY371" fmla="*/ 6778931 h 6858000"/>
              <a:gd name="connsiteX372" fmla="*/ 2314430 w 7467600"/>
              <a:gd name="connsiteY372" fmla="*/ 6801144 h 6858000"/>
              <a:gd name="connsiteX373" fmla="*/ 2352406 w 7467600"/>
              <a:gd name="connsiteY373" fmla="*/ 6858000 h 6858000"/>
              <a:gd name="connsiteX374" fmla="*/ 2314492 w 7467600"/>
              <a:gd name="connsiteY374" fmla="*/ 6858000 h 6858000"/>
              <a:gd name="connsiteX375" fmla="*/ 2288095 w 7467600"/>
              <a:gd name="connsiteY375" fmla="*/ 6818030 h 6858000"/>
              <a:gd name="connsiteX376" fmla="*/ 2272768 w 7467600"/>
              <a:gd name="connsiteY376" fmla="*/ 6795822 h 6858000"/>
              <a:gd name="connsiteX377" fmla="*/ 2182715 w 7467600"/>
              <a:gd name="connsiteY377" fmla="*/ 6675071 h 6858000"/>
              <a:gd name="connsiteX378" fmla="*/ 2032061 w 7467600"/>
              <a:gd name="connsiteY378" fmla="*/ 6541380 h 6858000"/>
              <a:gd name="connsiteX379" fmla="*/ 2257220 w 7467600"/>
              <a:gd name="connsiteY379" fmla="*/ 6826257 h 6858000"/>
              <a:gd name="connsiteX380" fmla="*/ 2281324 w 7467600"/>
              <a:gd name="connsiteY380" fmla="*/ 6858000 h 6858000"/>
              <a:gd name="connsiteX381" fmla="*/ 2242860 w 7467600"/>
              <a:gd name="connsiteY381" fmla="*/ 6858000 h 6858000"/>
              <a:gd name="connsiteX382" fmla="*/ 2232818 w 7467600"/>
              <a:gd name="connsiteY382" fmla="*/ 6844926 h 6858000"/>
              <a:gd name="connsiteX383" fmla="*/ 1990172 w 7467600"/>
              <a:gd name="connsiteY383" fmla="*/ 6542121 h 6858000"/>
              <a:gd name="connsiteX384" fmla="*/ 2124090 w 7467600"/>
              <a:gd name="connsiteY384" fmla="*/ 6761017 h 6858000"/>
              <a:gd name="connsiteX385" fmla="*/ 2200380 w 7467600"/>
              <a:gd name="connsiteY385" fmla="*/ 6858000 h 6858000"/>
              <a:gd name="connsiteX386" fmla="*/ 2147507 w 7467600"/>
              <a:gd name="connsiteY386" fmla="*/ 6858000 h 6858000"/>
              <a:gd name="connsiteX387" fmla="*/ 2070668 w 7467600"/>
              <a:gd name="connsiteY387" fmla="*/ 6761520 h 6858000"/>
              <a:gd name="connsiteX388" fmla="*/ 1975142 w 7467600"/>
              <a:gd name="connsiteY388" fmla="*/ 6585570 h 6858000"/>
              <a:gd name="connsiteX389" fmla="*/ 2050035 w 7467600"/>
              <a:gd name="connsiteY389" fmla="*/ 6813345 h 6858000"/>
              <a:gd name="connsiteX390" fmla="*/ 2063025 w 7467600"/>
              <a:gd name="connsiteY390" fmla="*/ 6858000 h 6858000"/>
              <a:gd name="connsiteX391" fmla="*/ 2021675 w 7467600"/>
              <a:gd name="connsiteY391" fmla="*/ 6858000 h 6858000"/>
              <a:gd name="connsiteX392" fmla="*/ 2019308 w 7467600"/>
              <a:gd name="connsiteY392" fmla="*/ 6847118 h 6858000"/>
              <a:gd name="connsiteX393" fmla="*/ 1938835 w 7467600"/>
              <a:gd name="connsiteY393" fmla="*/ 6551160 h 6858000"/>
              <a:gd name="connsiteX394" fmla="*/ 1953230 w 7467600"/>
              <a:gd name="connsiteY394" fmla="*/ 6759699 h 6858000"/>
              <a:gd name="connsiteX395" fmla="*/ 1956763 w 7467600"/>
              <a:gd name="connsiteY395" fmla="*/ 6778191 h 6858000"/>
              <a:gd name="connsiteX396" fmla="*/ 1967925 w 7467600"/>
              <a:gd name="connsiteY396" fmla="*/ 6858000 h 6858000"/>
              <a:gd name="connsiteX397" fmla="*/ 1936622 w 7467600"/>
              <a:gd name="connsiteY397" fmla="*/ 6858000 h 6858000"/>
              <a:gd name="connsiteX398" fmla="*/ 1926261 w 7467600"/>
              <a:gd name="connsiteY398" fmla="*/ 6784064 h 6858000"/>
              <a:gd name="connsiteX399" fmla="*/ 1922724 w 7467600"/>
              <a:gd name="connsiteY399" fmla="*/ 6765577 h 6858000"/>
              <a:gd name="connsiteX400" fmla="*/ 1904650 w 7467600"/>
              <a:gd name="connsiteY400" fmla="*/ 6639616 h 6858000"/>
              <a:gd name="connsiteX401" fmla="*/ 1885273 w 7467600"/>
              <a:gd name="connsiteY401" fmla="*/ 6858000 h 6858000"/>
              <a:gd name="connsiteX402" fmla="*/ 1854363 w 7467600"/>
              <a:gd name="connsiteY402" fmla="*/ 6858000 h 6858000"/>
              <a:gd name="connsiteX403" fmla="*/ 1880391 w 7467600"/>
              <a:gd name="connsiteY403" fmla="*/ 6603796 h 6858000"/>
              <a:gd name="connsiteX404" fmla="*/ 1818273 w 7467600"/>
              <a:gd name="connsiteY404" fmla="*/ 6715729 h 6858000"/>
              <a:gd name="connsiteX405" fmla="*/ 1794691 w 7467600"/>
              <a:gd name="connsiteY405" fmla="*/ 6843239 h 6858000"/>
              <a:gd name="connsiteX406" fmla="*/ 1794914 w 7467600"/>
              <a:gd name="connsiteY406" fmla="*/ 6858000 h 6858000"/>
              <a:gd name="connsiteX407" fmla="*/ 1746128 w 7467600"/>
              <a:gd name="connsiteY407" fmla="*/ 6858000 h 6858000"/>
              <a:gd name="connsiteX408" fmla="*/ 1753934 w 7467600"/>
              <a:gd name="connsiteY408" fmla="*/ 6724796 h 6858000"/>
              <a:gd name="connsiteX409" fmla="*/ 1792053 w 7467600"/>
              <a:gd name="connsiteY409" fmla="*/ 6572396 h 6858000"/>
              <a:gd name="connsiteX410" fmla="*/ 1862248 w 7467600"/>
              <a:gd name="connsiteY410" fmla="*/ 6266397 h 6858000"/>
              <a:gd name="connsiteX411" fmla="*/ 1862250 w 7467600"/>
              <a:gd name="connsiteY411" fmla="*/ 6033531 h 6858000"/>
              <a:gd name="connsiteX412" fmla="*/ 1211999 w 7467600"/>
              <a:gd name="connsiteY412" fmla="*/ 6683610 h 6858000"/>
              <a:gd name="connsiteX413" fmla="*/ 1213266 w 7467600"/>
              <a:gd name="connsiteY413" fmla="*/ 6691947 h 6858000"/>
              <a:gd name="connsiteX414" fmla="*/ 1203370 w 7467600"/>
              <a:gd name="connsiteY414" fmla="*/ 6850676 h 6858000"/>
              <a:gd name="connsiteX415" fmla="*/ 1203671 w 7467600"/>
              <a:gd name="connsiteY415" fmla="*/ 6858000 h 6858000"/>
              <a:gd name="connsiteX416" fmla="*/ 1143180 w 7467600"/>
              <a:gd name="connsiteY416" fmla="*/ 6858000 h 6858000"/>
              <a:gd name="connsiteX417" fmla="*/ 1142176 w 7467600"/>
              <a:gd name="connsiteY417" fmla="*/ 6766045 h 6858000"/>
              <a:gd name="connsiteX418" fmla="*/ 1067484 w 7467600"/>
              <a:gd name="connsiteY418" fmla="*/ 6858000 h 6858000"/>
              <a:gd name="connsiteX419" fmla="*/ 953928 w 7467600"/>
              <a:gd name="connsiteY419" fmla="*/ 6858000 h 6858000"/>
              <a:gd name="connsiteX420" fmla="*/ 959715 w 7467600"/>
              <a:gd name="connsiteY420" fmla="*/ 6850185 h 6858000"/>
              <a:gd name="connsiteX421" fmla="*/ 1483788 w 7467600"/>
              <a:gd name="connsiteY421" fmla="*/ 6259174 h 6858000"/>
              <a:gd name="connsiteX422" fmla="*/ 1100671 w 7467600"/>
              <a:gd name="connsiteY422" fmla="*/ 6252137 h 6858000"/>
              <a:gd name="connsiteX423" fmla="*/ 1090144 w 7467600"/>
              <a:gd name="connsiteY423" fmla="*/ 6256748 h 6858000"/>
              <a:gd name="connsiteX424" fmla="*/ 1095872 w 7467600"/>
              <a:gd name="connsiteY424" fmla="*/ 6271892 h 6858000"/>
              <a:gd name="connsiteX425" fmla="*/ 262785 w 7467600"/>
              <a:gd name="connsiteY425" fmla="*/ 6845450 h 6858000"/>
              <a:gd name="connsiteX426" fmla="*/ 209968 w 7467600"/>
              <a:gd name="connsiteY426" fmla="*/ 6770713 h 6858000"/>
              <a:gd name="connsiteX427" fmla="*/ 873460 w 7467600"/>
              <a:gd name="connsiteY427" fmla="*/ 6253768 h 6858000"/>
              <a:gd name="connsiteX428" fmla="*/ 192686 w 7467600"/>
              <a:gd name="connsiteY428" fmla="*/ 5849257 h 6858000"/>
              <a:gd name="connsiteX429" fmla="*/ 4696 w 7467600"/>
              <a:gd name="connsiteY429" fmla="*/ 5697668 h 6858000"/>
              <a:gd name="connsiteX430" fmla="*/ 0 w 7467600"/>
              <a:gd name="connsiteY430" fmla="*/ 5689984 h 6858000"/>
              <a:gd name="connsiteX431" fmla="*/ 0 w 7467600"/>
              <a:gd name="connsiteY431" fmla="*/ 5513472 h 6858000"/>
              <a:gd name="connsiteX432" fmla="*/ 174101 w 7467600"/>
              <a:gd name="connsiteY432" fmla="*/ 5620277 h 6858000"/>
              <a:gd name="connsiteX433" fmla="*/ 891800 w 7467600"/>
              <a:gd name="connsiteY433" fmla="*/ 6036935 h 6858000"/>
              <a:gd name="connsiteX434" fmla="*/ 1072219 w 7467600"/>
              <a:gd name="connsiteY434" fmla="*/ 6169443 h 6858000"/>
              <a:gd name="connsiteX435" fmla="*/ 1074117 w 7467600"/>
              <a:gd name="connsiteY435" fmla="*/ 6170301 h 6858000"/>
              <a:gd name="connsiteX436" fmla="*/ 1083114 w 7467600"/>
              <a:gd name="connsiteY436" fmla="*/ 6174131 h 6858000"/>
              <a:gd name="connsiteX437" fmla="*/ 1543010 w 7467600"/>
              <a:gd name="connsiteY437" fmla="*/ 6191140 h 6858000"/>
              <a:gd name="connsiteX438" fmla="*/ 1551080 w 7467600"/>
              <a:gd name="connsiteY438" fmla="*/ 6195006 h 6858000"/>
              <a:gd name="connsiteX439" fmla="*/ 2345443 w 7467600"/>
              <a:gd name="connsiteY439" fmla="*/ 5549882 h 6858000"/>
              <a:gd name="connsiteX440" fmla="*/ 1721499 w 7467600"/>
              <a:gd name="connsiteY440" fmla="*/ 5599969 h 6858000"/>
              <a:gd name="connsiteX441" fmla="*/ 767716 w 7467600"/>
              <a:gd name="connsiteY441" fmla="*/ 5472768 h 6858000"/>
              <a:gd name="connsiteX442" fmla="*/ 722147 w 7467600"/>
              <a:gd name="connsiteY442" fmla="*/ 5393091 h 6858000"/>
              <a:gd name="connsiteX443" fmla="*/ 1485552 w 7467600"/>
              <a:gd name="connsiteY443" fmla="*/ 5313202 h 6858000"/>
              <a:gd name="connsiteX444" fmla="*/ 2143004 w 7467600"/>
              <a:gd name="connsiteY444" fmla="*/ 5402420 h 6858000"/>
              <a:gd name="connsiteX445" fmla="*/ 1933391 w 7467600"/>
              <a:gd name="connsiteY445" fmla="*/ 5156971 h 6858000"/>
              <a:gd name="connsiteX446" fmla="*/ 1827118 w 7467600"/>
              <a:gd name="connsiteY446" fmla="*/ 4968410 h 6858000"/>
              <a:gd name="connsiteX447" fmla="*/ 1837349 w 7467600"/>
              <a:gd name="connsiteY447" fmla="*/ 4956357 h 6858000"/>
              <a:gd name="connsiteX448" fmla="*/ 2162835 w 7467600"/>
              <a:gd name="connsiteY448" fmla="*/ 5187853 h 6858000"/>
              <a:gd name="connsiteX449" fmla="*/ 2257167 w 7467600"/>
              <a:gd name="connsiteY449" fmla="*/ 5462123 h 6858000"/>
              <a:gd name="connsiteX450" fmla="*/ 2261598 w 7467600"/>
              <a:gd name="connsiteY450" fmla="*/ 5467998 h 6858000"/>
              <a:gd name="connsiteX451" fmla="*/ 2437177 w 7467600"/>
              <a:gd name="connsiteY451" fmla="*/ 5479608 h 6858000"/>
              <a:gd name="connsiteX452" fmla="*/ 2445247 w 7467600"/>
              <a:gd name="connsiteY452" fmla="*/ 5483476 h 6858000"/>
              <a:gd name="connsiteX453" fmla="*/ 2743626 w 7467600"/>
              <a:gd name="connsiteY453" fmla="*/ 5304819 h 6858000"/>
              <a:gd name="connsiteX454" fmla="*/ 3048102 w 7467600"/>
              <a:gd name="connsiteY454" fmla="*/ 5150595 h 6858000"/>
              <a:gd name="connsiteX455" fmla="*/ 1799414 w 7467600"/>
              <a:gd name="connsiteY455" fmla="*/ 4694732 h 6858000"/>
              <a:gd name="connsiteX456" fmla="*/ 1771735 w 7467600"/>
              <a:gd name="connsiteY456" fmla="*/ 4619929 h 6858000"/>
              <a:gd name="connsiteX457" fmla="*/ 3104273 w 7467600"/>
              <a:gd name="connsiteY457" fmla="*/ 5076159 h 6858000"/>
              <a:gd name="connsiteX458" fmla="*/ 3113245 w 7467600"/>
              <a:gd name="connsiteY458" fmla="*/ 5090705 h 6858000"/>
              <a:gd name="connsiteX459" fmla="*/ 3126294 w 7467600"/>
              <a:gd name="connsiteY459" fmla="*/ 5114400 h 6858000"/>
              <a:gd name="connsiteX460" fmla="*/ 3937433 w 7467600"/>
              <a:gd name="connsiteY460" fmla="*/ 4830473 h 6858000"/>
              <a:gd name="connsiteX461" fmla="*/ 3590475 w 7467600"/>
              <a:gd name="connsiteY461" fmla="*/ 4597974 h 6858000"/>
              <a:gd name="connsiteX462" fmla="*/ 3100264 w 7467600"/>
              <a:gd name="connsiteY462" fmla="*/ 4579845 h 6858000"/>
              <a:gd name="connsiteX463" fmla="*/ 2183576 w 7467600"/>
              <a:gd name="connsiteY463" fmla="*/ 4227150 h 6858000"/>
              <a:gd name="connsiteX464" fmla="*/ 2151029 w 7467600"/>
              <a:gd name="connsiteY464" fmla="*/ 4146947 h 6858000"/>
              <a:gd name="connsiteX465" fmla="*/ 3563434 w 7467600"/>
              <a:gd name="connsiteY465" fmla="*/ 4469115 h 6858000"/>
              <a:gd name="connsiteX466" fmla="*/ 3177952 w 7467600"/>
              <a:gd name="connsiteY466" fmla="*/ 3657386 h 6858000"/>
              <a:gd name="connsiteX467" fmla="*/ 3189263 w 7467600"/>
              <a:gd name="connsiteY467" fmla="*/ 3625726 h 6858000"/>
              <a:gd name="connsiteX468" fmla="*/ 3560912 w 7467600"/>
              <a:gd name="connsiteY468" fmla="*/ 4079863 h 6858000"/>
              <a:gd name="connsiteX469" fmla="*/ 3626636 w 7467600"/>
              <a:gd name="connsiteY469" fmla="*/ 4512230 h 6858000"/>
              <a:gd name="connsiteX470" fmla="*/ 3653088 w 7467600"/>
              <a:gd name="connsiteY470" fmla="*/ 4521417 h 6858000"/>
              <a:gd name="connsiteX471" fmla="*/ 3988128 w 7467600"/>
              <a:gd name="connsiteY471" fmla="*/ 4817267 h 6858000"/>
              <a:gd name="connsiteX472" fmla="*/ 4830582 w 7467600"/>
              <a:gd name="connsiteY472" fmla="*/ 4676000 h 6858000"/>
              <a:gd name="connsiteX473" fmla="*/ 4830100 w 7467600"/>
              <a:gd name="connsiteY473" fmla="*/ 4675554 h 6858000"/>
              <a:gd name="connsiteX474" fmla="*/ 4036318 w 7467600"/>
              <a:gd name="connsiteY474" fmla="*/ 4147013 h 6858000"/>
              <a:gd name="connsiteX475" fmla="*/ 3432098 w 7467600"/>
              <a:gd name="connsiteY475" fmla="*/ 3537312 h 6858000"/>
              <a:gd name="connsiteX476" fmla="*/ 3446761 w 7467600"/>
              <a:gd name="connsiteY476" fmla="*/ 3461278 h 6858000"/>
              <a:gd name="connsiteX477" fmla="*/ 4419733 w 7467600"/>
              <a:gd name="connsiteY477" fmla="*/ 3963555 h 6858000"/>
              <a:gd name="connsiteX478" fmla="*/ 4781371 w 7467600"/>
              <a:gd name="connsiteY478" fmla="*/ 4458604 h 6858000"/>
              <a:gd name="connsiteX479" fmla="*/ 4780440 w 7467600"/>
              <a:gd name="connsiteY479" fmla="*/ 4470290 h 6858000"/>
              <a:gd name="connsiteX480" fmla="*/ 4898954 w 7467600"/>
              <a:gd name="connsiteY480" fmla="*/ 4662092 h 6858000"/>
              <a:gd name="connsiteX481" fmla="*/ 4900699 w 7467600"/>
              <a:gd name="connsiteY481" fmla="*/ 4670867 h 6858000"/>
              <a:gd name="connsiteX482" fmla="*/ 5714511 w 7467600"/>
              <a:gd name="connsiteY482" fmla="*/ 4663483 h 6858000"/>
              <a:gd name="connsiteX483" fmla="*/ 5464793 w 7467600"/>
              <a:gd name="connsiteY483" fmla="*/ 4393556 h 6858000"/>
              <a:gd name="connsiteX484" fmla="*/ 5461897 w 7467600"/>
              <a:gd name="connsiteY484" fmla="*/ 4390879 h 6858000"/>
              <a:gd name="connsiteX485" fmla="*/ 4294126 w 7467600"/>
              <a:gd name="connsiteY485" fmla="*/ 3303048 h 6858000"/>
              <a:gd name="connsiteX486" fmla="*/ 4305321 w 7467600"/>
              <a:gd name="connsiteY486" fmla="*/ 3256953 h 6858000"/>
              <a:gd name="connsiteX487" fmla="*/ 4949299 w 7467600"/>
              <a:gd name="connsiteY487" fmla="*/ 3766336 h 6858000"/>
              <a:gd name="connsiteX488" fmla="*/ 5291452 w 7467600"/>
              <a:gd name="connsiteY488" fmla="*/ 4076801 h 6858000"/>
              <a:gd name="connsiteX489" fmla="*/ 5434998 w 7467600"/>
              <a:gd name="connsiteY489" fmla="*/ 4254100 h 6858000"/>
              <a:gd name="connsiteX490" fmla="*/ 5351015 w 7467600"/>
              <a:gd name="connsiteY490" fmla="*/ 3760989 h 6858000"/>
              <a:gd name="connsiteX491" fmla="*/ 5413780 w 7467600"/>
              <a:gd name="connsiteY491" fmla="*/ 2966265 h 6858000"/>
              <a:gd name="connsiteX492" fmla="*/ 5425627 w 7467600"/>
              <a:gd name="connsiteY492" fmla="*/ 2954192 h 6858000"/>
              <a:gd name="connsiteX493" fmla="*/ 6604735 w 7467600"/>
              <a:gd name="connsiteY493" fmla="*/ 2041381 h 6858000"/>
              <a:gd name="connsiteX494" fmla="*/ 7204487 w 7467600"/>
              <a:gd name="connsiteY494" fmla="*/ 2742112 h 6858000"/>
              <a:gd name="connsiteX495" fmla="*/ 7131592 w 7467600"/>
              <a:gd name="connsiteY495" fmla="*/ 2672096 h 6858000"/>
              <a:gd name="connsiteX496" fmla="*/ 6996344 w 7467600"/>
              <a:gd name="connsiteY496" fmla="*/ 2518310 h 6858000"/>
              <a:gd name="connsiteX497" fmla="*/ 6735495 w 7467600"/>
              <a:gd name="connsiteY497" fmla="*/ 2196890 h 6858000"/>
              <a:gd name="connsiteX498" fmla="*/ 6721901 w 7467600"/>
              <a:gd name="connsiteY498" fmla="*/ 2179274 h 6858000"/>
              <a:gd name="connsiteX499" fmla="*/ 6604735 w 7467600"/>
              <a:gd name="connsiteY499" fmla="*/ 2041381 h 6858000"/>
              <a:gd name="connsiteX500" fmla="*/ 6591670 w 7467600"/>
              <a:gd name="connsiteY500" fmla="*/ 1988277 h 6858000"/>
              <a:gd name="connsiteX501" fmla="*/ 6747349 w 7467600"/>
              <a:gd name="connsiteY501" fmla="*/ 2160069 h 6858000"/>
              <a:gd name="connsiteX502" fmla="*/ 6760943 w 7467600"/>
              <a:gd name="connsiteY502" fmla="*/ 2177686 h 6858000"/>
              <a:gd name="connsiteX503" fmla="*/ 7021065 w 7467600"/>
              <a:gd name="connsiteY503" fmla="*/ 2498102 h 6858000"/>
              <a:gd name="connsiteX504" fmla="*/ 7155223 w 7467600"/>
              <a:gd name="connsiteY504" fmla="*/ 2650386 h 6858000"/>
              <a:gd name="connsiteX505" fmla="*/ 7203167 w 7467600"/>
              <a:gd name="connsiteY505" fmla="*/ 2697288 h 6858000"/>
              <a:gd name="connsiteX506" fmla="*/ 6937703 w 7467600"/>
              <a:gd name="connsiteY506" fmla="*/ 2321981 h 6858000"/>
              <a:gd name="connsiteX507" fmla="*/ 6591670 w 7467600"/>
              <a:gd name="connsiteY507" fmla="*/ 1988277 h 6858000"/>
              <a:gd name="connsiteX508" fmla="*/ 5798671 w 7467600"/>
              <a:gd name="connsiteY508" fmla="*/ 1981601 h 6858000"/>
              <a:gd name="connsiteX509" fmla="*/ 5754709 w 7467600"/>
              <a:gd name="connsiteY509" fmla="*/ 2071454 h 6858000"/>
              <a:gd name="connsiteX510" fmla="*/ 5763044 w 7467600"/>
              <a:gd name="connsiteY510" fmla="*/ 2842206 h 6858000"/>
              <a:gd name="connsiteX511" fmla="*/ 5764974 w 7467600"/>
              <a:gd name="connsiteY511" fmla="*/ 2799609 h 6858000"/>
              <a:gd name="connsiteX512" fmla="*/ 5767665 w 7467600"/>
              <a:gd name="connsiteY512" fmla="*/ 2666409 h 6858000"/>
              <a:gd name="connsiteX513" fmla="*/ 5763055 w 7467600"/>
              <a:gd name="connsiteY513" fmla="*/ 2579705 h 6858000"/>
              <a:gd name="connsiteX514" fmla="*/ 5758079 w 7467600"/>
              <a:gd name="connsiteY514" fmla="*/ 2492508 h 6858000"/>
              <a:gd name="connsiteX515" fmla="*/ 5779325 w 7467600"/>
              <a:gd name="connsiteY515" fmla="*/ 2197069 h 6858000"/>
              <a:gd name="connsiteX516" fmla="*/ 5798671 w 7467600"/>
              <a:gd name="connsiteY516" fmla="*/ 1981601 h 6858000"/>
              <a:gd name="connsiteX517" fmla="*/ 5829202 w 7467600"/>
              <a:gd name="connsiteY517" fmla="*/ 1971679 h 6858000"/>
              <a:gd name="connsiteX518" fmla="*/ 5809558 w 7467600"/>
              <a:gd name="connsiteY518" fmla="*/ 2198043 h 6858000"/>
              <a:gd name="connsiteX519" fmla="*/ 5788653 w 7467600"/>
              <a:gd name="connsiteY519" fmla="*/ 2489430 h 6858000"/>
              <a:gd name="connsiteX520" fmla="*/ 5793439 w 7467600"/>
              <a:gd name="connsiteY520" fmla="*/ 2575235 h 6858000"/>
              <a:gd name="connsiteX521" fmla="*/ 5796837 w 7467600"/>
              <a:gd name="connsiteY521" fmla="*/ 2637633 h 6858000"/>
              <a:gd name="connsiteX522" fmla="*/ 5818614 w 7467600"/>
              <a:gd name="connsiteY522" fmla="*/ 2473055 h 6858000"/>
              <a:gd name="connsiteX523" fmla="*/ 5829202 w 7467600"/>
              <a:gd name="connsiteY523" fmla="*/ 1971679 h 6858000"/>
              <a:gd name="connsiteX524" fmla="*/ 5911389 w 7467600"/>
              <a:gd name="connsiteY524" fmla="*/ 1898371 h 6858000"/>
              <a:gd name="connsiteX525" fmla="*/ 6237627 w 7467600"/>
              <a:gd name="connsiteY525" fmla="*/ 2231921 h 6858000"/>
              <a:gd name="connsiteX526" fmla="*/ 5911389 w 7467600"/>
              <a:gd name="connsiteY526" fmla="*/ 1898371 h 6858000"/>
              <a:gd name="connsiteX527" fmla="*/ 6944437 w 7467600"/>
              <a:gd name="connsiteY527" fmla="*/ 1575402 h 6858000"/>
              <a:gd name="connsiteX528" fmla="*/ 6304730 w 7467600"/>
              <a:gd name="connsiteY528" fmla="*/ 1766654 h 6858000"/>
              <a:gd name="connsiteX529" fmla="*/ 6944437 w 7467600"/>
              <a:gd name="connsiteY529" fmla="*/ 1575402 h 6858000"/>
              <a:gd name="connsiteX530" fmla="*/ 7019523 w 7467600"/>
              <a:gd name="connsiteY530" fmla="*/ 1519450 h 6858000"/>
              <a:gd name="connsiteX531" fmla="*/ 6298091 w 7467600"/>
              <a:gd name="connsiteY531" fmla="*/ 1737122 h 6858000"/>
              <a:gd name="connsiteX532" fmla="*/ 7019523 w 7467600"/>
              <a:gd name="connsiteY532" fmla="*/ 1519450 h 6858000"/>
              <a:gd name="connsiteX533" fmla="*/ 2399523 w 7467600"/>
              <a:gd name="connsiteY533" fmla="*/ 1428234 h 6858000"/>
              <a:gd name="connsiteX534" fmla="*/ 2224982 w 7467600"/>
              <a:gd name="connsiteY534" fmla="*/ 1826201 h 6858000"/>
              <a:gd name="connsiteX535" fmla="*/ 2096099 w 7467600"/>
              <a:gd name="connsiteY535" fmla="*/ 2345900 h 6858000"/>
              <a:gd name="connsiteX536" fmla="*/ 2283317 w 7467600"/>
              <a:gd name="connsiteY536" fmla="*/ 1796925 h 6858000"/>
              <a:gd name="connsiteX537" fmla="*/ 2399523 w 7467600"/>
              <a:gd name="connsiteY537" fmla="*/ 1428234 h 6858000"/>
              <a:gd name="connsiteX538" fmla="*/ 2448558 w 7467600"/>
              <a:gd name="connsiteY538" fmla="*/ 1373435 h 6858000"/>
              <a:gd name="connsiteX539" fmla="*/ 2312521 w 7467600"/>
              <a:gd name="connsiteY539" fmla="*/ 1806140 h 6858000"/>
              <a:gd name="connsiteX540" fmla="*/ 2127533 w 7467600"/>
              <a:gd name="connsiteY540" fmla="*/ 2348380 h 6858000"/>
              <a:gd name="connsiteX541" fmla="*/ 2358080 w 7467600"/>
              <a:gd name="connsiteY541" fmla="*/ 1866134 h 6858000"/>
              <a:gd name="connsiteX542" fmla="*/ 2407436 w 7467600"/>
              <a:gd name="connsiteY542" fmla="*/ 1651070 h 6858000"/>
              <a:gd name="connsiteX543" fmla="*/ 2448558 w 7467600"/>
              <a:gd name="connsiteY543" fmla="*/ 1373435 h 6858000"/>
              <a:gd name="connsiteX544" fmla="*/ 278707 w 7467600"/>
              <a:gd name="connsiteY544" fmla="*/ 1352270 h 6858000"/>
              <a:gd name="connsiteX545" fmla="*/ 321570 w 7467600"/>
              <a:gd name="connsiteY545" fmla="*/ 1861610 h 6858000"/>
              <a:gd name="connsiteX546" fmla="*/ 294281 w 7467600"/>
              <a:gd name="connsiteY546" fmla="*/ 1440658 h 6858000"/>
              <a:gd name="connsiteX547" fmla="*/ 278707 w 7467600"/>
              <a:gd name="connsiteY547" fmla="*/ 1352270 h 6858000"/>
              <a:gd name="connsiteX548" fmla="*/ 1423821 w 7467600"/>
              <a:gd name="connsiteY548" fmla="*/ 1351958 h 6858000"/>
              <a:gd name="connsiteX549" fmla="*/ 1638521 w 7467600"/>
              <a:gd name="connsiteY549" fmla="*/ 1908470 h 6858000"/>
              <a:gd name="connsiteX550" fmla="*/ 1754199 w 7467600"/>
              <a:gd name="connsiteY550" fmla="*/ 2149284 h 6858000"/>
              <a:gd name="connsiteX551" fmla="*/ 1908359 w 7467600"/>
              <a:gd name="connsiteY551" fmla="*/ 2364988 h 6858000"/>
              <a:gd name="connsiteX552" fmla="*/ 1647661 w 7467600"/>
              <a:gd name="connsiteY552" fmla="*/ 1825945 h 6858000"/>
              <a:gd name="connsiteX553" fmla="*/ 1423821 w 7467600"/>
              <a:gd name="connsiteY553" fmla="*/ 1351958 h 6858000"/>
              <a:gd name="connsiteX554" fmla="*/ 1431890 w 7467600"/>
              <a:gd name="connsiteY554" fmla="*/ 1306475 h 6858000"/>
              <a:gd name="connsiteX555" fmla="*/ 1507597 w 7467600"/>
              <a:gd name="connsiteY555" fmla="*/ 1446132 h 6858000"/>
              <a:gd name="connsiteX556" fmla="*/ 1674586 w 7467600"/>
              <a:gd name="connsiteY556" fmla="*/ 1813832 h 6858000"/>
              <a:gd name="connsiteX557" fmla="*/ 1815950 w 7467600"/>
              <a:gd name="connsiteY557" fmla="*/ 2128564 h 6858000"/>
              <a:gd name="connsiteX558" fmla="*/ 1984242 w 7467600"/>
              <a:gd name="connsiteY558" fmla="*/ 2430829 h 6858000"/>
              <a:gd name="connsiteX559" fmla="*/ 2014023 w 7467600"/>
              <a:gd name="connsiteY559" fmla="*/ 2450995 h 6858000"/>
              <a:gd name="connsiteX560" fmla="*/ 1747337 w 7467600"/>
              <a:gd name="connsiteY560" fmla="*/ 1855264 h 6858000"/>
              <a:gd name="connsiteX561" fmla="*/ 1533749 w 7467600"/>
              <a:gd name="connsiteY561" fmla="*/ 1478656 h 6858000"/>
              <a:gd name="connsiteX562" fmla="*/ 1431890 w 7467600"/>
              <a:gd name="connsiteY562" fmla="*/ 1306475 h 6858000"/>
              <a:gd name="connsiteX563" fmla="*/ 5052692 w 7467600"/>
              <a:gd name="connsiteY563" fmla="*/ 1292994 h 6858000"/>
              <a:gd name="connsiteX564" fmla="*/ 5200661 w 7467600"/>
              <a:gd name="connsiteY564" fmla="*/ 1635186 h 6858000"/>
              <a:gd name="connsiteX565" fmla="*/ 5297138 w 7467600"/>
              <a:gd name="connsiteY565" fmla="*/ 1906351 h 6858000"/>
              <a:gd name="connsiteX566" fmla="*/ 5052692 w 7467600"/>
              <a:gd name="connsiteY566" fmla="*/ 1292994 h 6858000"/>
              <a:gd name="connsiteX567" fmla="*/ 5009948 w 7467600"/>
              <a:gd name="connsiteY567" fmla="*/ 1273619 h 6858000"/>
              <a:gd name="connsiteX568" fmla="*/ 5121777 w 7467600"/>
              <a:gd name="connsiteY568" fmla="*/ 1654213 h 6858000"/>
              <a:gd name="connsiteX569" fmla="*/ 5293545 w 7467600"/>
              <a:gd name="connsiteY569" fmla="*/ 2072247 h 6858000"/>
              <a:gd name="connsiteX570" fmla="*/ 5294042 w 7467600"/>
              <a:gd name="connsiteY570" fmla="*/ 2065019 h 6858000"/>
              <a:gd name="connsiteX571" fmla="*/ 5171936 w 7467600"/>
              <a:gd name="connsiteY571" fmla="*/ 1647613 h 6858000"/>
              <a:gd name="connsiteX572" fmla="*/ 5009948 w 7467600"/>
              <a:gd name="connsiteY572" fmla="*/ 1273619 h 6858000"/>
              <a:gd name="connsiteX573" fmla="*/ 655236 w 7467600"/>
              <a:gd name="connsiteY573" fmla="*/ 1268632 h 6858000"/>
              <a:gd name="connsiteX574" fmla="*/ 839521 w 7467600"/>
              <a:gd name="connsiteY574" fmla="*/ 1685315 h 6858000"/>
              <a:gd name="connsiteX575" fmla="*/ 1109416 w 7467600"/>
              <a:gd name="connsiteY575" fmla="*/ 2061663 h 6858000"/>
              <a:gd name="connsiteX576" fmla="*/ 1298300 w 7467600"/>
              <a:gd name="connsiteY576" fmla="*/ 2247742 h 6858000"/>
              <a:gd name="connsiteX577" fmla="*/ 1125871 w 7467600"/>
              <a:gd name="connsiteY577" fmla="*/ 1989513 h 6858000"/>
              <a:gd name="connsiteX578" fmla="*/ 981574 w 7467600"/>
              <a:gd name="connsiteY578" fmla="*/ 1783157 h 6858000"/>
              <a:gd name="connsiteX579" fmla="*/ 922198 w 7467600"/>
              <a:gd name="connsiteY579" fmla="*/ 1677437 h 6858000"/>
              <a:gd name="connsiteX580" fmla="*/ 869293 w 7467600"/>
              <a:gd name="connsiteY580" fmla="*/ 1583214 h 6858000"/>
              <a:gd name="connsiteX581" fmla="*/ 751431 w 7467600"/>
              <a:gd name="connsiteY581" fmla="*/ 1405731 h 6858000"/>
              <a:gd name="connsiteX582" fmla="*/ 655236 w 7467600"/>
              <a:gd name="connsiteY582" fmla="*/ 1268632 h 6858000"/>
              <a:gd name="connsiteX583" fmla="*/ 6516292 w 7467600"/>
              <a:gd name="connsiteY583" fmla="*/ 1263064 h 6858000"/>
              <a:gd name="connsiteX584" fmla="*/ 5736320 w 7467600"/>
              <a:gd name="connsiteY584" fmla="*/ 1501803 h 6858000"/>
              <a:gd name="connsiteX585" fmla="*/ 6516292 w 7467600"/>
              <a:gd name="connsiteY585" fmla="*/ 1263064 h 6858000"/>
              <a:gd name="connsiteX586" fmla="*/ 291466 w 7467600"/>
              <a:gd name="connsiteY586" fmla="*/ 1250369 h 6858000"/>
              <a:gd name="connsiteX587" fmla="*/ 323180 w 7467600"/>
              <a:gd name="connsiteY587" fmla="*/ 1435283 h 6858000"/>
              <a:gd name="connsiteX588" fmla="*/ 349381 w 7467600"/>
              <a:gd name="connsiteY588" fmla="*/ 1875041 h 6858000"/>
              <a:gd name="connsiteX589" fmla="*/ 374363 w 7467600"/>
              <a:gd name="connsiteY589" fmla="*/ 1506494 h 6858000"/>
              <a:gd name="connsiteX590" fmla="*/ 302168 w 7467600"/>
              <a:gd name="connsiteY590" fmla="*/ 1274495 h 6858000"/>
              <a:gd name="connsiteX591" fmla="*/ 291466 w 7467600"/>
              <a:gd name="connsiteY591" fmla="*/ 1250369 h 6858000"/>
              <a:gd name="connsiteX592" fmla="*/ 678222 w 7467600"/>
              <a:gd name="connsiteY592" fmla="*/ 1248670 h 6858000"/>
              <a:gd name="connsiteX593" fmla="*/ 775536 w 7467600"/>
              <a:gd name="connsiteY593" fmla="*/ 1388015 h 6858000"/>
              <a:gd name="connsiteX594" fmla="*/ 894529 w 7467600"/>
              <a:gd name="connsiteY594" fmla="*/ 1567739 h 6858000"/>
              <a:gd name="connsiteX595" fmla="*/ 948000 w 7467600"/>
              <a:gd name="connsiteY595" fmla="*/ 1663088 h 6858000"/>
              <a:gd name="connsiteX596" fmla="*/ 1006812 w 7467600"/>
              <a:gd name="connsiteY596" fmla="*/ 1767683 h 6858000"/>
              <a:gd name="connsiteX597" fmla="*/ 1149133 w 7467600"/>
              <a:gd name="connsiteY597" fmla="*/ 1971513 h 6858000"/>
              <a:gd name="connsiteX598" fmla="*/ 1333952 w 7467600"/>
              <a:gd name="connsiteY598" fmla="*/ 2251620 h 6858000"/>
              <a:gd name="connsiteX599" fmla="*/ 1337329 w 7467600"/>
              <a:gd name="connsiteY599" fmla="*/ 2258350 h 6858000"/>
              <a:gd name="connsiteX600" fmla="*/ 1014726 w 7467600"/>
              <a:gd name="connsiteY600" fmla="*/ 1615556 h 6858000"/>
              <a:gd name="connsiteX601" fmla="*/ 678222 w 7467600"/>
              <a:gd name="connsiteY601" fmla="*/ 1248670 h 6858000"/>
              <a:gd name="connsiteX602" fmla="*/ 6691602 w 7467600"/>
              <a:gd name="connsiteY602" fmla="*/ 1140573 h 6858000"/>
              <a:gd name="connsiteX603" fmla="*/ 6571100 w 7467600"/>
              <a:gd name="connsiteY603" fmla="*/ 1183662 h 6858000"/>
              <a:gd name="connsiteX604" fmla="*/ 6241687 w 7467600"/>
              <a:gd name="connsiteY604" fmla="*/ 1257600 h 6858000"/>
              <a:gd name="connsiteX605" fmla="*/ 5693009 w 7467600"/>
              <a:gd name="connsiteY605" fmla="*/ 1478256 h 6858000"/>
              <a:gd name="connsiteX606" fmla="*/ 6548420 w 7467600"/>
              <a:gd name="connsiteY606" fmla="*/ 1214599 h 6858000"/>
              <a:gd name="connsiteX607" fmla="*/ 6605473 w 7467600"/>
              <a:gd name="connsiteY607" fmla="*/ 1184686 h 6858000"/>
              <a:gd name="connsiteX608" fmla="*/ 6691602 w 7467600"/>
              <a:gd name="connsiteY608" fmla="*/ 1140573 h 6858000"/>
              <a:gd name="connsiteX609" fmla="*/ 4002475 w 7467600"/>
              <a:gd name="connsiteY609" fmla="*/ 1037802 h 6858000"/>
              <a:gd name="connsiteX610" fmla="*/ 4000324 w 7467600"/>
              <a:gd name="connsiteY610" fmla="*/ 1039362 h 6858000"/>
              <a:gd name="connsiteX611" fmla="*/ 4002862 w 7467600"/>
              <a:gd name="connsiteY611" fmla="*/ 1042866 h 6858000"/>
              <a:gd name="connsiteX612" fmla="*/ 4002475 w 7467600"/>
              <a:gd name="connsiteY612" fmla="*/ 1037802 h 6858000"/>
              <a:gd name="connsiteX613" fmla="*/ 506322 w 7467600"/>
              <a:gd name="connsiteY613" fmla="*/ 1020997 h 6858000"/>
              <a:gd name="connsiteX614" fmla="*/ 533068 w 7467600"/>
              <a:gd name="connsiteY614" fmla="*/ 1029409 h 6858000"/>
              <a:gd name="connsiteX615" fmla="*/ 1232525 w 7467600"/>
              <a:gd name="connsiteY615" fmla="*/ 1804675 h 6858000"/>
              <a:gd name="connsiteX616" fmla="*/ 1388858 w 7467600"/>
              <a:gd name="connsiteY616" fmla="*/ 2368011 h 6858000"/>
              <a:gd name="connsiteX617" fmla="*/ 1384098 w 7467600"/>
              <a:gd name="connsiteY617" fmla="*/ 2378125 h 6858000"/>
              <a:gd name="connsiteX618" fmla="*/ 1425393 w 7467600"/>
              <a:gd name="connsiteY618" fmla="*/ 2589124 h 6858000"/>
              <a:gd name="connsiteX619" fmla="*/ 1424001 w 7467600"/>
              <a:gd name="connsiteY619" fmla="*/ 2597541 h 6858000"/>
              <a:gd name="connsiteX620" fmla="*/ 2152729 w 7467600"/>
              <a:gd name="connsiteY620" fmla="*/ 2864487 h 6858000"/>
              <a:gd name="connsiteX621" fmla="*/ 2020609 w 7467600"/>
              <a:gd name="connsiteY621" fmla="*/ 2539671 h 6858000"/>
              <a:gd name="connsiteX622" fmla="*/ 2018920 w 7467600"/>
              <a:gd name="connsiteY622" fmla="*/ 2536309 h 6858000"/>
              <a:gd name="connsiteX623" fmla="*/ 1342441 w 7467600"/>
              <a:gd name="connsiteY623" fmla="*/ 1173017 h 6858000"/>
              <a:gd name="connsiteX624" fmla="*/ 1367925 w 7467600"/>
              <a:gd name="connsiteY624" fmla="*/ 1135648 h 6858000"/>
              <a:gd name="connsiteX625" fmla="*/ 1771401 w 7467600"/>
              <a:gd name="connsiteY625" fmla="*/ 1806673 h 6858000"/>
              <a:gd name="connsiteX626" fmla="*/ 1972385 w 7467600"/>
              <a:gd name="connsiteY626" fmla="*/ 2198735 h 6858000"/>
              <a:gd name="connsiteX627" fmla="*/ 2040892 w 7467600"/>
              <a:gd name="connsiteY627" fmla="*/ 2405205 h 6858000"/>
              <a:gd name="connsiteX628" fmla="*/ 2131689 w 7467600"/>
              <a:gd name="connsiteY628" fmla="*/ 1936926 h 6858000"/>
              <a:gd name="connsiteX629" fmla="*/ 2454820 w 7467600"/>
              <a:gd name="connsiteY629" fmla="*/ 1248808 h 6858000"/>
              <a:gd name="connsiteX630" fmla="*/ 2492512 w 7467600"/>
              <a:gd name="connsiteY630" fmla="*/ 1302920 h 6858000"/>
              <a:gd name="connsiteX631" fmla="*/ 2081216 w 7467600"/>
              <a:gd name="connsiteY631" fmla="*/ 2527513 h 6858000"/>
              <a:gd name="connsiteX632" fmla="*/ 2081211 w 7467600"/>
              <a:gd name="connsiteY632" fmla="*/ 2528916 h 6858000"/>
              <a:gd name="connsiteX633" fmla="*/ 2199067 w 7467600"/>
              <a:gd name="connsiteY633" fmla="*/ 2884061 h 6858000"/>
              <a:gd name="connsiteX634" fmla="*/ 3192586 w 7467600"/>
              <a:gd name="connsiteY634" fmla="*/ 3411496 h 6858000"/>
              <a:gd name="connsiteX635" fmla="*/ 3182620 w 7467600"/>
              <a:gd name="connsiteY635" fmla="*/ 3483279 h 6858000"/>
              <a:gd name="connsiteX636" fmla="*/ 2435119 w 7467600"/>
              <a:gd name="connsiteY636" fmla="*/ 3080173 h 6858000"/>
              <a:gd name="connsiteX637" fmla="*/ 2410152 w 7467600"/>
              <a:gd name="connsiteY637" fmla="*/ 3063751 h 6858000"/>
              <a:gd name="connsiteX638" fmla="*/ 2408099 w 7467600"/>
              <a:gd name="connsiteY638" fmla="*/ 3064403 h 6858000"/>
              <a:gd name="connsiteX639" fmla="*/ 2407218 w 7467600"/>
              <a:gd name="connsiteY639" fmla="*/ 3070324 h 6858000"/>
              <a:gd name="connsiteX640" fmla="*/ 2380138 w 7467600"/>
              <a:gd name="connsiteY640" fmla="*/ 3099341 h 6858000"/>
              <a:gd name="connsiteX641" fmla="*/ 1765923 w 7467600"/>
              <a:gd name="connsiteY641" fmla="*/ 3581043 h 6858000"/>
              <a:gd name="connsiteX642" fmla="*/ 1702258 w 7467600"/>
              <a:gd name="connsiteY642" fmla="*/ 3612286 h 6858000"/>
              <a:gd name="connsiteX643" fmla="*/ 1538370 w 7467600"/>
              <a:gd name="connsiteY643" fmla="*/ 3811804 h 6858000"/>
              <a:gd name="connsiteX644" fmla="*/ 542867 w 7467600"/>
              <a:gd name="connsiteY644" fmla="*/ 4944092 h 6858000"/>
              <a:gd name="connsiteX645" fmla="*/ 515800 w 7467600"/>
              <a:gd name="connsiteY645" fmla="*/ 4862180 h 6858000"/>
              <a:gd name="connsiteX646" fmla="*/ 909145 w 7467600"/>
              <a:gd name="connsiteY646" fmla="*/ 4199225 h 6858000"/>
              <a:gd name="connsiteX647" fmla="*/ 1214067 w 7467600"/>
              <a:gd name="connsiteY647" fmla="*/ 3908561 h 6858000"/>
              <a:gd name="connsiteX648" fmla="*/ 640967 w 7467600"/>
              <a:gd name="connsiteY648" fmla="*/ 4105601 h 6858000"/>
              <a:gd name="connsiteX649" fmla="*/ 112563 w 7467600"/>
              <a:gd name="connsiteY649" fmla="*/ 4396952 h 6858000"/>
              <a:gd name="connsiteX650" fmla="*/ 0 w 7467600"/>
              <a:gd name="connsiteY650" fmla="*/ 4466006 h 6858000"/>
              <a:gd name="connsiteX651" fmla="*/ 0 w 7467600"/>
              <a:gd name="connsiteY651" fmla="*/ 4233763 h 6858000"/>
              <a:gd name="connsiteX652" fmla="*/ 36881 w 7467600"/>
              <a:gd name="connsiteY652" fmla="*/ 4200118 h 6858000"/>
              <a:gd name="connsiteX653" fmla="*/ 910534 w 7467600"/>
              <a:gd name="connsiteY653" fmla="*/ 3629753 h 6858000"/>
              <a:gd name="connsiteX654" fmla="*/ 1578717 w 7467600"/>
              <a:gd name="connsiteY654" fmla="*/ 3575982 h 6858000"/>
              <a:gd name="connsiteX655" fmla="*/ 2338780 w 7467600"/>
              <a:gd name="connsiteY655" fmla="*/ 3033725 h 6858000"/>
              <a:gd name="connsiteX656" fmla="*/ 1807991 w 7467600"/>
              <a:gd name="connsiteY656" fmla="*/ 2807184 h 6858000"/>
              <a:gd name="connsiteX657" fmla="*/ 1416358 w 7467600"/>
              <a:gd name="connsiteY657" fmla="*/ 3112571 h 6858000"/>
              <a:gd name="connsiteX658" fmla="*/ 939066 w 7467600"/>
              <a:gd name="connsiteY658" fmla="*/ 3378798 h 6858000"/>
              <a:gd name="connsiteX659" fmla="*/ 115099 w 7467600"/>
              <a:gd name="connsiteY659" fmla="*/ 3607650 h 6858000"/>
              <a:gd name="connsiteX660" fmla="*/ 97284 w 7467600"/>
              <a:gd name="connsiteY660" fmla="*/ 3520393 h 6858000"/>
              <a:gd name="connsiteX661" fmla="*/ 922050 w 7467600"/>
              <a:gd name="connsiteY661" fmla="*/ 3074867 h 6858000"/>
              <a:gd name="connsiteX662" fmla="*/ 1405265 w 7467600"/>
              <a:gd name="connsiteY662" fmla="*/ 3016319 h 6858000"/>
              <a:gd name="connsiteX663" fmla="*/ 1407512 w 7467600"/>
              <a:gd name="connsiteY663" fmla="*/ 3018001 h 6858000"/>
              <a:gd name="connsiteX664" fmla="*/ 1726266 w 7467600"/>
              <a:gd name="connsiteY664" fmla="*/ 2777274 h 6858000"/>
              <a:gd name="connsiteX665" fmla="*/ 625390 w 7467600"/>
              <a:gd name="connsiteY665" fmla="*/ 2514541 h 6858000"/>
              <a:gd name="connsiteX666" fmla="*/ 619799 w 7467600"/>
              <a:gd name="connsiteY666" fmla="*/ 2527180 h 6858000"/>
              <a:gd name="connsiteX667" fmla="*/ 310030 w 7467600"/>
              <a:gd name="connsiteY667" fmla="*/ 2771818 h 6858000"/>
              <a:gd name="connsiteX668" fmla="*/ 173877 w 7467600"/>
              <a:gd name="connsiteY668" fmla="*/ 2937056 h 6858000"/>
              <a:gd name="connsiteX669" fmla="*/ 77889 w 7467600"/>
              <a:gd name="connsiteY669" fmla="*/ 3138440 h 6858000"/>
              <a:gd name="connsiteX670" fmla="*/ 0 w 7467600"/>
              <a:gd name="connsiteY670" fmla="*/ 3271395 h 6858000"/>
              <a:gd name="connsiteX671" fmla="*/ 0 w 7467600"/>
              <a:gd name="connsiteY671" fmla="*/ 3153002 h 6858000"/>
              <a:gd name="connsiteX672" fmla="*/ 2386 w 7467600"/>
              <a:gd name="connsiteY672" fmla="*/ 3149203 h 6858000"/>
              <a:gd name="connsiteX673" fmla="*/ 89753 w 7467600"/>
              <a:gd name="connsiteY673" fmla="*/ 2987702 h 6858000"/>
              <a:gd name="connsiteX674" fmla="*/ 76869 w 7467600"/>
              <a:gd name="connsiteY674" fmla="*/ 3005404 h 6858000"/>
              <a:gd name="connsiteX675" fmla="*/ 32049 w 7467600"/>
              <a:gd name="connsiteY675" fmla="*/ 3065814 h 6858000"/>
              <a:gd name="connsiteX676" fmla="*/ 0 w 7467600"/>
              <a:gd name="connsiteY676" fmla="*/ 3108744 h 6858000"/>
              <a:gd name="connsiteX677" fmla="*/ 0 w 7467600"/>
              <a:gd name="connsiteY677" fmla="*/ 3058059 h 6858000"/>
              <a:gd name="connsiteX678" fmla="*/ 7610 w 7467600"/>
              <a:gd name="connsiteY678" fmla="*/ 3047889 h 6858000"/>
              <a:gd name="connsiteX679" fmla="*/ 52419 w 7467600"/>
              <a:gd name="connsiteY679" fmla="*/ 2987479 h 6858000"/>
              <a:gd name="connsiteX680" fmla="*/ 59142 w 7467600"/>
              <a:gd name="connsiteY680" fmla="*/ 2978488 h 6858000"/>
              <a:gd name="connsiteX681" fmla="*/ 0 w 7467600"/>
              <a:gd name="connsiteY681" fmla="*/ 3015334 h 6858000"/>
              <a:gd name="connsiteX682" fmla="*/ 0 w 7467600"/>
              <a:gd name="connsiteY682" fmla="*/ 2914286 h 6858000"/>
              <a:gd name="connsiteX683" fmla="*/ 36383 w 7467600"/>
              <a:gd name="connsiteY683" fmla="*/ 2901128 h 6858000"/>
              <a:gd name="connsiteX684" fmla="*/ 156329 w 7467600"/>
              <a:gd name="connsiteY684" fmla="*/ 2840533 h 6858000"/>
              <a:gd name="connsiteX685" fmla="*/ 358355 w 7467600"/>
              <a:gd name="connsiteY685" fmla="*/ 2620471 h 6858000"/>
              <a:gd name="connsiteX686" fmla="*/ 510577 w 7467600"/>
              <a:gd name="connsiteY686" fmla="*/ 2501244 h 6858000"/>
              <a:gd name="connsiteX687" fmla="*/ 211967 w 7467600"/>
              <a:gd name="connsiteY687" fmla="*/ 2479171 h 6858000"/>
              <a:gd name="connsiteX688" fmla="*/ 0 w 7467600"/>
              <a:gd name="connsiteY688" fmla="*/ 2476398 h 6858000"/>
              <a:gd name="connsiteX689" fmla="*/ 0 w 7467600"/>
              <a:gd name="connsiteY689" fmla="*/ 2389189 h 6858000"/>
              <a:gd name="connsiteX690" fmla="*/ 103062 w 7467600"/>
              <a:gd name="connsiteY690" fmla="*/ 2389518 h 6858000"/>
              <a:gd name="connsiteX691" fmla="*/ 510734 w 7467600"/>
              <a:gd name="connsiteY691" fmla="*/ 2416201 h 6858000"/>
              <a:gd name="connsiteX692" fmla="*/ 279257 w 7467600"/>
              <a:gd name="connsiteY692" fmla="*/ 2092102 h 6858000"/>
              <a:gd name="connsiteX693" fmla="*/ 65265 w 7467600"/>
              <a:gd name="connsiteY693" fmla="*/ 2006049 h 6858000"/>
              <a:gd name="connsiteX694" fmla="*/ 0 w 7467600"/>
              <a:gd name="connsiteY694" fmla="*/ 1982532 h 6858000"/>
              <a:gd name="connsiteX695" fmla="*/ 0 w 7467600"/>
              <a:gd name="connsiteY695" fmla="*/ 1912789 h 6858000"/>
              <a:gd name="connsiteX696" fmla="*/ 97460 w 7467600"/>
              <a:gd name="connsiteY696" fmla="*/ 1953725 h 6858000"/>
              <a:gd name="connsiteX697" fmla="*/ 221272 w 7467600"/>
              <a:gd name="connsiteY697" fmla="*/ 1980766 h 6858000"/>
              <a:gd name="connsiteX698" fmla="*/ 116765 w 7467600"/>
              <a:gd name="connsiteY698" fmla="*/ 1911033 h 6858000"/>
              <a:gd name="connsiteX699" fmla="*/ 16405 w 7467600"/>
              <a:gd name="connsiteY699" fmla="*/ 1803412 h 6858000"/>
              <a:gd name="connsiteX700" fmla="*/ 0 w 7467600"/>
              <a:gd name="connsiteY700" fmla="*/ 1784777 h 6858000"/>
              <a:gd name="connsiteX701" fmla="*/ 0 w 7467600"/>
              <a:gd name="connsiteY701" fmla="*/ 1740082 h 6858000"/>
              <a:gd name="connsiteX702" fmla="*/ 39394 w 7467600"/>
              <a:gd name="connsiteY702" fmla="*/ 1784856 h 6858000"/>
              <a:gd name="connsiteX703" fmla="*/ 135813 w 7467600"/>
              <a:gd name="connsiteY703" fmla="*/ 1888838 h 6858000"/>
              <a:gd name="connsiteX704" fmla="*/ 242575 w 7467600"/>
              <a:gd name="connsiteY704" fmla="*/ 1958841 h 6858000"/>
              <a:gd name="connsiteX705" fmla="*/ 82197 w 7467600"/>
              <a:gd name="connsiteY705" fmla="*/ 1754826 h 6858000"/>
              <a:gd name="connsiteX706" fmla="*/ 0 w 7467600"/>
              <a:gd name="connsiteY706" fmla="*/ 1679650 h 6858000"/>
              <a:gd name="connsiteX707" fmla="*/ 0 w 7467600"/>
              <a:gd name="connsiteY707" fmla="*/ 1602463 h 6858000"/>
              <a:gd name="connsiteX708" fmla="*/ 84689 w 7467600"/>
              <a:gd name="connsiteY708" fmla="*/ 1677442 h 6858000"/>
              <a:gd name="connsiteX709" fmla="*/ 298437 w 7467600"/>
              <a:gd name="connsiteY709" fmla="*/ 1968019 h 6858000"/>
              <a:gd name="connsiteX710" fmla="*/ 227269 w 7467600"/>
              <a:gd name="connsiteY710" fmla="*/ 1114064 h 6858000"/>
              <a:gd name="connsiteX711" fmla="*/ 248003 w 7467600"/>
              <a:gd name="connsiteY711" fmla="*/ 1089613 h 6858000"/>
              <a:gd name="connsiteX712" fmla="*/ 427020 w 7467600"/>
              <a:gd name="connsiteY712" fmla="*/ 1619803 h 6858000"/>
              <a:gd name="connsiteX713" fmla="*/ 340345 w 7467600"/>
              <a:gd name="connsiteY713" fmla="*/ 2027739 h 6858000"/>
              <a:gd name="connsiteX714" fmla="*/ 360865 w 7467600"/>
              <a:gd name="connsiteY714" fmla="*/ 2044827 h 6858000"/>
              <a:gd name="connsiteX715" fmla="*/ 560414 w 7467600"/>
              <a:gd name="connsiteY715" fmla="*/ 2421457 h 6858000"/>
              <a:gd name="connsiteX716" fmla="*/ 1359703 w 7467600"/>
              <a:gd name="connsiteY716" fmla="*/ 2578554 h 6858000"/>
              <a:gd name="connsiteX717" fmla="*/ 1359422 w 7467600"/>
              <a:gd name="connsiteY717" fmla="*/ 2577994 h 6858000"/>
              <a:gd name="connsiteX718" fmla="*/ 828701 w 7467600"/>
              <a:gd name="connsiteY718" fmla="*/ 1839520 h 6858000"/>
              <a:gd name="connsiteX719" fmla="*/ 494427 w 7467600"/>
              <a:gd name="connsiteY719" fmla="*/ 1092333 h 6858000"/>
              <a:gd name="connsiteX720" fmla="*/ 506322 w 7467600"/>
              <a:gd name="connsiteY720" fmla="*/ 1020997 h 6858000"/>
              <a:gd name="connsiteX721" fmla="*/ 4570198 w 7467600"/>
              <a:gd name="connsiteY721" fmla="*/ 978081 h 6858000"/>
              <a:gd name="connsiteX722" fmla="*/ 4523691 w 7467600"/>
              <a:gd name="connsiteY722" fmla="*/ 1127776 h 6858000"/>
              <a:gd name="connsiteX723" fmla="*/ 4509875 w 7467600"/>
              <a:gd name="connsiteY723" fmla="*/ 1167552 h 6858000"/>
              <a:gd name="connsiteX724" fmla="*/ 4478168 w 7467600"/>
              <a:gd name="connsiteY724" fmla="*/ 1260735 h 6858000"/>
              <a:gd name="connsiteX725" fmla="*/ 4409309 w 7467600"/>
              <a:gd name="connsiteY725" fmla="*/ 1666996 h 6858000"/>
              <a:gd name="connsiteX726" fmla="*/ 4370031 w 7467600"/>
              <a:gd name="connsiteY726" fmla="*/ 1955666 h 6858000"/>
              <a:gd name="connsiteX727" fmla="*/ 4570198 w 7467600"/>
              <a:gd name="connsiteY727" fmla="*/ 978081 h 6858000"/>
              <a:gd name="connsiteX728" fmla="*/ 4557898 w 7467600"/>
              <a:gd name="connsiteY728" fmla="*/ 900011 h 6858000"/>
              <a:gd name="connsiteX729" fmla="*/ 4344840 w 7467600"/>
              <a:gd name="connsiteY729" fmla="*/ 1922038 h 6858000"/>
              <a:gd name="connsiteX730" fmla="*/ 4378710 w 7467600"/>
              <a:gd name="connsiteY730" fmla="*/ 1665516 h 6858000"/>
              <a:gd name="connsiteX731" fmla="*/ 4448798 w 7467600"/>
              <a:gd name="connsiteY731" fmla="*/ 1253024 h 6858000"/>
              <a:gd name="connsiteX732" fmla="*/ 4480315 w 7467600"/>
              <a:gd name="connsiteY732" fmla="*/ 1158454 h 6858000"/>
              <a:gd name="connsiteX733" fmla="*/ 4494133 w 7467600"/>
              <a:gd name="connsiteY733" fmla="*/ 1118676 h 6858000"/>
              <a:gd name="connsiteX734" fmla="*/ 4557898 w 7467600"/>
              <a:gd name="connsiteY734" fmla="*/ 900011 h 6858000"/>
              <a:gd name="connsiteX735" fmla="*/ 5870151 w 7467600"/>
              <a:gd name="connsiteY735" fmla="*/ 898890 h 6858000"/>
              <a:gd name="connsiteX736" fmla="*/ 5861335 w 7467600"/>
              <a:gd name="connsiteY736" fmla="*/ 899177 h 6858000"/>
              <a:gd name="connsiteX737" fmla="*/ 5843702 w 7467600"/>
              <a:gd name="connsiteY737" fmla="*/ 899748 h 6858000"/>
              <a:gd name="connsiteX738" fmla="*/ 5651107 w 7467600"/>
              <a:gd name="connsiteY738" fmla="*/ 920306 h 6858000"/>
              <a:gd name="connsiteX739" fmla="*/ 5459407 w 7467600"/>
              <a:gd name="connsiteY739" fmla="*/ 940975 h 6858000"/>
              <a:gd name="connsiteX740" fmla="*/ 5374846 w 7467600"/>
              <a:gd name="connsiteY740" fmla="*/ 941988 h 6858000"/>
              <a:gd name="connsiteX741" fmla="*/ 5256105 w 7467600"/>
              <a:gd name="connsiteY741" fmla="*/ 945632 h 6858000"/>
              <a:gd name="connsiteX742" fmla="*/ 5107071 w 7467600"/>
              <a:gd name="connsiteY742" fmla="*/ 969720 h 6858000"/>
              <a:gd name="connsiteX743" fmla="*/ 4998681 w 7467600"/>
              <a:gd name="connsiteY743" fmla="*/ 988771 h 6858000"/>
              <a:gd name="connsiteX744" fmla="*/ 5870151 w 7467600"/>
              <a:gd name="connsiteY744" fmla="*/ 898890 h 6858000"/>
              <a:gd name="connsiteX745" fmla="*/ 5504425 w 7467600"/>
              <a:gd name="connsiteY745" fmla="*/ 848067 h 6858000"/>
              <a:gd name="connsiteX746" fmla="*/ 4968849 w 7467600"/>
              <a:gd name="connsiteY746" fmla="*/ 962318 h 6858000"/>
              <a:gd name="connsiteX747" fmla="*/ 5104039 w 7467600"/>
              <a:gd name="connsiteY747" fmla="*/ 940634 h 6858000"/>
              <a:gd name="connsiteX748" fmla="*/ 5256311 w 7467600"/>
              <a:gd name="connsiteY748" fmla="*/ 916490 h 6858000"/>
              <a:gd name="connsiteX749" fmla="*/ 5377381 w 7467600"/>
              <a:gd name="connsiteY749" fmla="*/ 912671 h 6858000"/>
              <a:gd name="connsiteX750" fmla="*/ 5460148 w 7467600"/>
              <a:gd name="connsiteY750" fmla="*/ 911442 h 6858000"/>
              <a:gd name="connsiteX751" fmla="*/ 5648971 w 7467600"/>
              <a:gd name="connsiteY751" fmla="*/ 891331 h 6858000"/>
              <a:gd name="connsiteX752" fmla="*/ 5844807 w 7467600"/>
              <a:gd name="connsiteY752" fmla="*/ 870718 h 6858000"/>
              <a:gd name="connsiteX753" fmla="*/ 5862975 w 7467600"/>
              <a:gd name="connsiteY753" fmla="*/ 869756 h 6858000"/>
              <a:gd name="connsiteX754" fmla="*/ 5920887 w 7467600"/>
              <a:gd name="connsiteY754" fmla="*/ 865929 h 6858000"/>
              <a:gd name="connsiteX755" fmla="*/ 5504425 w 7467600"/>
              <a:gd name="connsiteY755" fmla="*/ 848067 h 6858000"/>
              <a:gd name="connsiteX756" fmla="*/ 3607114 w 7467600"/>
              <a:gd name="connsiteY756" fmla="*/ 467441 h 6858000"/>
              <a:gd name="connsiteX757" fmla="*/ 3296242 w 7467600"/>
              <a:gd name="connsiteY757" fmla="*/ 807991 h 6858000"/>
              <a:gd name="connsiteX758" fmla="*/ 3174674 w 7467600"/>
              <a:gd name="connsiteY758" fmla="*/ 919759 h 6858000"/>
              <a:gd name="connsiteX759" fmla="*/ 3042978 w 7467600"/>
              <a:gd name="connsiteY759" fmla="*/ 1054894 h 6858000"/>
              <a:gd name="connsiteX760" fmla="*/ 2968914 w 7467600"/>
              <a:gd name="connsiteY760" fmla="*/ 1133756 h 6858000"/>
              <a:gd name="connsiteX761" fmla="*/ 3103823 w 7467600"/>
              <a:gd name="connsiteY761" fmla="*/ 1026814 h 6858000"/>
              <a:gd name="connsiteX762" fmla="*/ 3607114 w 7467600"/>
              <a:gd name="connsiteY762" fmla="*/ 467441 h 6858000"/>
              <a:gd name="connsiteX763" fmla="*/ 3744487 w 7467600"/>
              <a:gd name="connsiteY763" fmla="*/ 383136 h 6858000"/>
              <a:gd name="connsiteX764" fmla="*/ 3970213 w 7467600"/>
              <a:gd name="connsiteY764" fmla="*/ 995559 h 6858000"/>
              <a:gd name="connsiteX765" fmla="*/ 3744487 w 7467600"/>
              <a:gd name="connsiteY765" fmla="*/ 383136 h 6858000"/>
              <a:gd name="connsiteX766" fmla="*/ 3624562 w 7467600"/>
              <a:gd name="connsiteY766" fmla="*/ 367041 h 6858000"/>
              <a:gd name="connsiteX767" fmla="*/ 3489712 w 7467600"/>
              <a:gd name="connsiteY767" fmla="*/ 485386 h 6858000"/>
              <a:gd name="connsiteX768" fmla="*/ 3182994 w 7467600"/>
              <a:gd name="connsiteY768" fmla="*/ 828265 h 6858000"/>
              <a:gd name="connsiteX769" fmla="*/ 2892114 w 7467600"/>
              <a:gd name="connsiteY769" fmla="*/ 1172635 h 6858000"/>
              <a:gd name="connsiteX770" fmla="*/ 3021459 w 7467600"/>
              <a:gd name="connsiteY770" fmla="*/ 1035385 h 6858000"/>
              <a:gd name="connsiteX771" fmla="*/ 3153873 w 7467600"/>
              <a:gd name="connsiteY771" fmla="*/ 898971 h 6858000"/>
              <a:gd name="connsiteX772" fmla="*/ 3276511 w 7467600"/>
              <a:gd name="connsiteY772" fmla="*/ 786423 h 6858000"/>
              <a:gd name="connsiteX773" fmla="*/ 3584154 w 7467600"/>
              <a:gd name="connsiteY773" fmla="*/ 448218 h 6858000"/>
              <a:gd name="connsiteX774" fmla="*/ 3624562 w 7467600"/>
              <a:gd name="connsiteY774" fmla="*/ 367041 h 6858000"/>
              <a:gd name="connsiteX775" fmla="*/ 3766672 w 7467600"/>
              <a:gd name="connsiteY775" fmla="*/ 359429 h 6858000"/>
              <a:gd name="connsiteX776" fmla="*/ 3996338 w 7467600"/>
              <a:gd name="connsiteY776" fmla="*/ 968237 h 6858000"/>
              <a:gd name="connsiteX777" fmla="*/ 3766672 w 7467600"/>
              <a:gd name="connsiteY777" fmla="*/ 359429 h 6858000"/>
              <a:gd name="connsiteX778" fmla="*/ 5805386 w 7467600"/>
              <a:gd name="connsiteY778" fmla="*/ 239240 h 6858000"/>
              <a:gd name="connsiteX779" fmla="*/ 5736947 w 7467600"/>
              <a:gd name="connsiteY779" fmla="*/ 261367 h 6858000"/>
              <a:gd name="connsiteX780" fmla="*/ 5427012 w 7467600"/>
              <a:gd name="connsiteY780" fmla="*/ 311272 h 6858000"/>
              <a:gd name="connsiteX781" fmla="*/ 5147818 w 7467600"/>
              <a:gd name="connsiteY781" fmla="*/ 322112 h 6858000"/>
              <a:gd name="connsiteX782" fmla="*/ 5060854 w 7467600"/>
              <a:gd name="connsiteY782" fmla="*/ 311882 h 6858000"/>
              <a:gd name="connsiteX783" fmla="*/ 4945989 w 7467600"/>
              <a:gd name="connsiteY783" fmla="*/ 300516 h 6858000"/>
              <a:gd name="connsiteX784" fmla="*/ 5410479 w 7467600"/>
              <a:gd name="connsiteY784" fmla="*/ 348434 h 6858000"/>
              <a:gd name="connsiteX785" fmla="*/ 5805386 w 7467600"/>
              <a:gd name="connsiteY785" fmla="*/ 239240 h 6858000"/>
              <a:gd name="connsiteX786" fmla="*/ 5905192 w 7467600"/>
              <a:gd name="connsiteY786" fmla="*/ 163079 h 6858000"/>
              <a:gd name="connsiteX787" fmla="*/ 5865655 w 7467600"/>
              <a:gd name="connsiteY787" fmla="*/ 171901 h 6858000"/>
              <a:gd name="connsiteX788" fmla="*/ 5259740 w 7467600"/>
              <a:gd name="connsiteY788" fmla="*/ 257013 h 6858000"/>
              <a:gd name="connsiteX789" fmla="*/ 5208466 w 7467600"/>
              <a:gd name="connsiteY789" fmla="*/ 257550 h 6858000"/>
              <a:gd name="connsiteX790" fmla="*/ 4980204 w 7467600"/>
              <a:gd name="connsiteY790" fmla="*/ 271903 h 6858000"/>
              <a:gd name="connsiteX791" fmla="*/ 5068068 w 7467600"/>
              <a:gd name="connsiteY791" fmla="*/ 282244 h 6858000"/>
              <a:gd name="connsiteX792" fmla="*/ 5153231 w 7467600"/>
              <a:gd name="connsiteY792" fmla="*/ 292240 h 6858000"/>
              <a:gd name="connsiteX793" fmla="*/ 5426491 w 7467600"/>
              <a:gd name="connsiteY793" fmla="*/ 281128 h 6858000"/>
              <a:gd name="connsiteX794" fmla="*/ 5731212 w 7467600"/>
              <a:gd name="connsiteY794" fmla="*/ 231951 h 6858000"/>
              <a:gd name="connsiteX795" fmla="*/ 5905192 w 7467600"/>
              <a:gd name="connsiteY795" fmla="*/ 163079 h 6858000"/>
              <a:gd name="connsiteX796" fmla="*/ 5944437 w 7467600"/>
              <a:gd name="connsiteY796" fmla="*/ 113829 h 6858000"/>
              <a:gd name="connsiteX797" fmla="*/ 5825032 w 7467600"/>
              <a:gd name="connsiteY797" fmla="*/ 146405 h 6858000"/>
              <a:gd name="connsiteX798" fmla="*/ 4955599 w 7467600"/>
              <a:gd name="connsiteY798" fmla="*/ 247008 h 6858000"/>
              <a:gd name="connsiteX799" fmla="*/ 5210104 w 7467600"/>
              <a:gd name="connsiteY799" fmla="*/ 228123 h 6858000"/>
              <a:gd name="connsiteX800" fmla="*/ 5261015 w 7467600"/>
              <a:gd name="connsiteY800" fmla="*/ 227087 h 6858000"/>
              <a:gd name="connsiteX801" fmla="*/ 5861181 w 7467600"/>
              <a:gd name="connsiteY801" fmla="*/ 143093 h 6858000"/>
              <a:gd name="connsiteX802" fmla="*/ 5961252 w 7467600"/>
              <a:gd name="connsiteY802" fmla="*/ 114820 h 6858000"/>
              <a:gd name="connsiteX803" fmla="*/ 5944437 w 7467600"/>
              <a:gd name="connsiteY803" fmla="*/ 113829 h 6858000"/>
              <a:gd name="connsiteX804" fmla="*/ 3882765 w 7467600"/>
              <a:gd name="connsiteY804" fmla="*/ 0 h 6858000"/>
              <a:gd name="connsiteX805" fmla="*/ 3995099 w 7467600"/>
              <a:gd name="connsiteY805" fmla="*/ 0 h 6858000"/>
              <a:gd name="connsiteX806" fmla="*/ 4163818 w 7467600"/>
              <a:gd name="connsiteY806" fmla="*/ 234104 h 6858000"/>
              <a:gd name="connsiteX807" fmla="*/ 4172099 w 7467600"/>
              <a:gd name="connsiteY807" fmla="*/ 234207 h 6858000"/>
              <a:gd name="connsiteX808" fmla="*/ 4784282 w 7467600"/>
              <a:gd name="connsiteY808" fmla="*/ 276561 h 6858000"/>
              <a:gd name="connsiteX809" fmla="*/ 4801687 w 7467600"/>
              <a:gd name="connsiteY809" fmla="*/ 267764 h 6858000"/>
              <a:gd name="connsiteX810" fmla="*/ 6082788 w 7467600"/>
              <a:gd name="connsiteY810" fmla="*/ 64119 h 6858000"/>
              <a:gd name="connsiteX811" fmla="*/ 6099442 w 7467600"/>
              <a:gd name="connsiteY811" fmla="*/ 82568 h 6858000"/>
              <a:gd name="connsiteX812" fmla="*/ 4804137 w 7467600"/>
              <a:gd name="connsiteY812" fmla="*/ 320931 h 6858000"/>
              <a:gd name="connsiteX813" fmla="*/ 4227047 w 7467600"/>
              <a:gd name="connsiteY813" fmla="*/ 313415 h 6858000"/>
              <a:gd name="connsiteX814" fmla="*/ 4346041 w 7467600"/>
              <a:gd name="connsiteY814" fmla="*/ 456086 h 6858000"/>
              <a:gd name="connsiteX815" fmla="*/ 4870967 w 7467600"/>
              <a:gd name="connsiteY815" fmla="*/ 963061 h 6858000"/>
              <a:gd name="connsiteX816" fmla="*/ 4889647 w 7467600"/>
              <a:gd name="connsiteY816" fmla="*/ 957147 h 6858000"/>
              <a:gd name="connsiteX817" fmla="*/ 5422504 w 7467600"/>
              <a:gd name="connsiteY817" fmla="*/ 805191 h 6858000"/>
              <a:gd name="connsiteX818" fmla="*/ 6087656 w 7467600"/>
              <a:gd name="connsiteY818" fmla="*/ 826703 h 6858000"/>
              <a:gd name="connsiteX819" fmla="*/ 6058717 w 7467600"/>
              <a:gd name="connsiteY819" fmla="*/ 865992 h 6858000"/>
              <a:gd name="connsiteX820" fmla="*/ 4974153 w 7467600"/>
              <a:gd name="connsiteY820" fmla="*/ 1045456 h 6858000"/>
              <a:gd name="connsiteX821" fmla="*/ 5627835 w 7467600"/>
              <a:gd name="connsiteY821" fmla="*/ 1472077 h 6858000"/>
              <a:gd name="connsiteX822" fmla="*/ 5629817 w 7467600"/>
              <a:gd name="connsiteY822" fmla="*/ 1471412 h 6858000"/>
              <a:gd name="connsiteX823" fmla="*/ 5634124 w 7467600"/>
              <a:gd name="connsiteY823" fmla="*/ 1470572 h 6858000"/>
              <a:gd name="connsiteX824" fmla="*/ 5755832 w 7467600"/>
              <a:gd name="connsiteY824" fmla="*/ 1383886 h 6858000"/>
              <a:gd name="connsiteX825" fmla="*/ 6014186 w 7467600"/>
              <a:gd name="connsiteY825" fmla="*/ 1279799 h 6858000"/>
              <a:gd name="connsiteX826" fmla="*/ 6901619 w 7467600"/>
              <a:gd name="connsiteY826" fmla="*/ 1047874 h 6858000"/>
              <a:gd name="connsiteX827" fmla="*/ 6931566 w 7467600"/>
              <a:gd name="connsiteY827" fmla="*/ 1062034 h 6858000"/>
              <a:gd name="connsiteX828" fmla="*/ 5790982 w 7467600"/>
              <a:gd name="connsiteY828" fmla="*/ 1561380 h 6858000"/>
              <a:gd name="connsiteX829" fmla="*/ 6188971 w 7467600"/>
              <a:gd name="connsiteY829" fmla="*/ 1755168 h 6858000"/>
              <a:gd name="connsiteX830" fmla="*/ 6202446 w 7467600"/>
              <a:gd name="connsiteY830" fmla="*/ 1752268 h 6858000"/>
              <a:gd name="connsiteX831" fmla="*/ 7179560 w 7467600"/>
              <a:gd name="connsiteY831" fmla="*/ 1467551 h 6858000"/>
              <a:gd name="connsiteX832" fmla="*/ 7158730 w 7467600"/>
              <a:gd name="connsiteY832" fmla="*/ 1507835 h 6858000"/>
              <a:gd name="connsiteX833" fmla="*/ 6326959 w 7467600"/>
              <a:gd name="connsiteY833" fmla="*/ 1817686 h 6858000"/>
              <a:gd name="connsiteX834" fmla="*/ 6537433 w 7467600"/>
              <a:gd name="connsiteY834" fmla="*/ 1907790 h 6858000"/>
              <a:gd name="connsiteX835" fmla="*/ 6550221 w 7467600"/>
              <a:gd name="connsiteY835" fmla="*/ 1910729 h 6858000"/>
              <a:gd name="connsiteX836" fmla="*/ 6964438 w 7467600"/>
              <a:gd name="connsiteY836" fmla="*/ 2209505 h 6858000"/>
              <a:gd name="connsiteX837" fmla="*/ 7367862 w 7467600"/>
              <a:gd name="connsiteY837" fmla="*/ 2806833 h 6858000"/>
              <a:gd name="connsiteX838" fmla="*/ 7364329 w 7467600"/>
              <a:gd name="connsiteY838" fmla="*/ 2826907 h 6858000"/>
              <a:gd name="connsiteX839" fmla="*/ 7290545 w 7467600"/>
              <a:gd name="connsiteY839" fmla="*/ 2850663 h 6858000"/>
              <a:gd name="connsiteX840" fmla="*/ 6472036 w 7467600"/>
              <a:gd name="connsiteY840" fmla="*/ 1959003 h 6858000"/>
              <a:gd name="connsiteX841" fmla="*/ 5792897 w 7467600"/>
              <a:gd name="connsiteY841" fmla="*/ 1647747 h 6858000"/>
              <a:gd name="connsiteX842" fmla="*/ 5842751 w 7467600"/>
              <a:gd name="connsiteY842" fmla="*/ 1816112 h 6858000"/>
              <a:gd name="connsiteX843" fmla="*/ 5847424 w 7467600"/>
              <a:gd name="connsiteY843" fmla="*/ 1815776 h 6858000"/>
              <a:gd name="connsiteX844" fmla="*/ 6399821 w 7467600"/>
              <a:gd name="connsiteY844" fmla="*/ 2344799 h 6858000"/>
              <a:gd name="connsiteX845" fmla="*/ 6323232 w 7467600"/>
              <a:gd name="connsiteY845" fmla="*/ 2389634 h 6858000"/>
              <a:gd name="connsiteX846" fmla="*/ 5942958 w 7467600"/>
              <a:gd name="connsiteY846" fmla="*/ 2077708 h 6858000"/>
              <a:gd name="connsiteX847" fmla="*/ 5921559 w 7467600"/>
              <a:gd name="connsiteY847" fmla="*/ 2378596 h 6858000"/>
              <a:gd name="connsiteX848" fmla="*/ 5817651 w 7467600"/>
              <a:gd name="connsiteY848" fmla="*/ 3023919 h 6858000"/>
              <a:gd name="connsiteX849" fmla="*/ 5729634 w 7467600"/>
              <a:gd name="connsiteY849" fmla="*/ 3051849 h 6858000"/>
              <a:gd name="connsiteX850" fmla="*/ 5611018 w 7467600"/>
              <a:gd name="connsiteY850" fmla="*/ 2316769 h 6858000"/>
              <a:gd name="connsiteX851" fmla="*/ 5687608 w 7467600"/>
              <a:gd name="connsiteY851" fmla="*/ 2039972 h 6858000"/>
              <a:gd name="connsiteX852" fmla="*/ 5657554 w 7467600"/>
              <a:gd name="connsiteY852" fmla="*/ 1576445 h 6858000"/>
              <a:gd name="connsiteX853" fmla="*/ 5150475 w 7467600"/>
              <a:gd name="connsiteY853" fmla="*/ 1274012 h 6858000"/>
              <a:gd name="connsiteX854" fmla="*/ 5349142 w 7467600"/>
              <a:gd name="connsiteY854" fmla="*/ 2204405 h 6858000"/>
              <a:gd name="connsiteX855" fmla="*/ 5262214 w 7467600"/>
              <a:gd name="connsiteY855" fmla="*/ 2233836 h 6858000"/>
              <a:gd name="connsiteX856" fmla="*/ 4981539 w 7467600"/>
              <a:gd name="connsiteY856" fmla="*/ 1542201 h 6858000"/>
              <a:gd name="connsiteX857" fmla="*/ 4958461 w 7467600"/>
              <a:gd name="connsiteY857" fmla="*/ 1136957 h 6858000"/>
              <a:gd name="connsiteX858" fmla="*/ 4655015 w 7467600"/>
              <a:gd name="connsiteY858" fmla="*/ 891426 h 6858000"/>
              <a:gd name="connsiteX859" fmla="*/ 4348002 w 7467600"/>
              <a:gd name="connsiteY859" fmla="*/ 2205895 h 6858000"/>
              <a:gd name="connsiteX860" fmla="*/ 4262250 w 7467600"/>
              <a:gd name="connsiteY860" fmla="*/ 2219972 h 6858000"/>
              <a:gd name="connsiteX861" fmla="*/ 4550611 w 7467600"/>
              <a:gd name="connsiteY861" fmla="*/ 817540 h 6858000"/>
              <a:gd name="connsiteX862" fmla="*/ 4564418 w 7467600"/>
              <a:gd name="connsiteY862" fmla="*/ 808293 h 6858000"/>
              <a:gd name="connsiteX863" fmla="*/ 4266388 w 7467600"/>
              <a:gd name="connsiteY863" fmla="*/ 500083 h 6858000"/>
              <a:gd name="connsiteX864" fmla="*/ 4032842 w 7467600"/>
              <a:gd name="connsiteY864" fmla="*/ 211809 h 6858000"/>
              <a:gd name="connsiteX865" fmla="*/ 3882765 w 7467600"/>
              <a:gd name="connsiteY865" fmla="*/ 0 h 6858000"/>
              <a:gd name="connsiteX866" fmla="*/ 3721337 w 7467600"/>
              <a:gd name="connsiteY866" fmla="*/ 0 h 6858000"/>
              <a:gd name="connsiteX867" fmla="*/ 3797544 w 7467600"/>
              <a:gd name="connsiteY867" fmla="*/ 0 h 6858000"/>
              <a:gd name="connsiteX868" fmla="*/ 3775734 w 7467600"/>
              <a:gd name="connsiteY868" fmla="*/ 95131 h 6858000"/>
              <a:gd name="connsiteX869" fmla="*/ 3724807 w 7467600"/>
              <a:gd name="connsiteY869" fmla="*/ 272257 h 6858000"/>
              <a:gd name="connsiteX870" fmla="*/ 3726844 w 7467600"/>
              <a:gd name="connsiteY870" fmla="*/ 282988 h 6858000"/>
              <a:gd name="connsiteX871" fmla="*/ 3742664 w 7467600"/>
              <a:gd name="connsiteY871" fmla="*/ 279918 h 6858000"/>
              <a:gd name="connsiteX872" fmla="*/ 4103910 w 7467600"/>
              <a:gd name="connsiteY872" fmla="*/ 1161917 h 6858000"/>
              <a:gd name="connsiteX873" fmla="*/ 4020269 w 7467600"/>
              <a:gd name="connsiteY873" fmla="*/ 1200406 h 6858000"/>
              <a:gd name="connsiteX874" fmla="*/ 3674882 w 7467600"/>
              <a:gd name="connsiteY874" fmla="*/ 488524 h 6858000"/>
              <a:gd name="connsiteX875" fmla="*/ 3132682 w 7467600"/>
              <a:gd name="connsiteY875" fmla="*/ 1072284 h 6858000"/>
              <a:gd name="connsiteX876" fmla="*/ 2716346 w 7467600"/>
              <a:gd name="connsiteY876" fmla="*/ 1276376 h 6858000"/>
              <a:gd name="connsiteX877" fmla="*/ 2716772 w 7467600"/>
              <a:gd name="connsiteY877" fmla="*/ 1255462 h 6858000"/>
              <a:gd name="connsiteX878" fmla="*/ 3471096 w 7467600"/>
              <a:gd name="connsiteY878" fmla="*/ 437072 h 6858000"/>
              <a:gd name="connsiteX879" fmla="*/ 3639057 w 7467600"/>
              <a:gd name="connsiteY879" fmla="*/ 286334 h 6858000"/>
              <a:gd name="connsiteX880" fmla="*/ 3640309 w 7467600"/>
              <a:gd name="connsiteY880" fmla="*/ 284664 h 6858000"/>
              <a:gd name="connsiteX881" fmla="*/ 3646022 w 7467600"/>
              <a:gd name="connsiteY881" fmla="*/ 276711 h 6858000"/>
              <a:gd name="connsiteX882" fmla="*/ 3707943 w 7467600"/>
              <a:gd name="connsiteY882" fmla="*/ 65958 h 6858000"/>
              <a:gd name="connsiteX883" fmla="*/ 3721337 w 7467600"/>
              <a:gd name="connsiteY883" fmla="*/ 0 h 6858000"/>
              <a:gd name="connsiteX884" fmla="*/ 2867960 w 7467600"/>
              <a:gd name="connsiteY884" fmla="*/ 0 h 6858000"/>
              <a:gd name="connsiteX885" fmla="*/ 2926351 w 7467600"/>
              <a:gd name="connsiteY885" fmla="*/ 0 h 6858000"/>
              <a:gd name="connsiteX886" fmla="*/ 2902823 w 7467600"/>
              <a:gd name="connsiteY886" fmla="*/ 262929 h 6858000"/>
              <a:gd name="connsiteX887" fmla="*/ 2940663 w 7467600"/>
              <a:gd name="connsiteY887" fmla="*/ 140884 h 6858000"/>
              <a:gd name="connsiteX888" fmla="*/ 2947039 w 7467600"/>
              <a:gd name="connsiteY888" fmla="*/ 122524 h 6858000"/>
              <a:gd name="connsiteX889" fmla="*/ 2984316 w 7467600"/>
              <a:gd name="connsiteY889" fmla="*/ 0 h 6858000"/>
              <a:gd name="connsiteX890" fmla="*/ 3016114 w 7467600"/>
              <a:gd name="connsiteY890" fmla="*/ 0 h 6858000"/>
              <a:gd name="connsiteX891" fmla="*/ 2979949 w 7467600"/>
              <a:gd name="connsiteY891" fmla="*/ 119274 h 6858000"/>
              <a:gd name="connsiteX892" fmla="*/ 3023879 w 7467600"/>
              <a:gd name="connsiteY892" fmla="*/ 0 h 6858000"/>
              <a:gd name="connsiteX893" fmla="*/ 3105400 w 7467600"/>
              <a:gd name="connsiteY893" fmla="*/ 0 h 6858000"/>
              <a:gd name="connsiteX894" fmla="*/ 3094669 w 7467600"/>
              <a:gd name="connsiteY894" fmla="*/ 30308 h 6858000"/>
              <a:gd name="connsiteX895" fmla="*/ 2901945 w 7467600"/>
              <a:gd name="connsiteY895" fmla="*/ 466538 h 6858000"/>
              <a:gd name="connsiteX896" fmla="*/ 2815209 w 7467600"/>
              <a:gd name="connsiteY896" fmla="*/ 497361 h 6858000"/>
              <a:gd name="connsiteX897" fmla="*/ 2844845 w 7467600"/>
              <a:gd name="connsiteY897" fmla="*/ 127638 h 6858000"/>
              <a:gd name="connsiteX898" fmla="*/ 2867960 w 7467600"/>
              <a:gd name="connsiteY898" fmla="*/ 0 h 6858000"/>
              <a:gd name="connsiteX899" fmla="*/ 1057230 w 7467600"/>
              <a:gd name="connsiteY899" fmla="*/ 0 h 6858000"/>
              <a:gd name="connsiteX900" fmla="*/ 1111003 w 7467600"/>
              <a:gd name="connsiteY900" fmla="*/ 0 h 6858000"/>
              <a:gd name="connsiteX901" fmla="*/ 1125553 w 7467600"/>
              <a:gd name="connsiteY901" fmla="*/ 52588 h 6858000"/>
              <a:gd name="connsiteX902" fmla="*/ 1304276 w 7467600"/>
              <a:gd name="connsiteY902" fmla="*/ 476275 h 6858000"/>
              <a:gd name="connsiteX903" fmla="*/ 1492066 w 7467600"/>
              <a:gd name="connsiteY903" fmla="*/ 886333 h 6858000"/>
              <a:gd name="connsiteX904" fmla="*/ 1423698 w 7467600"/>
              <a:gd name="connsiteY904" fmla="*/ 710817 h 6858000"/>
              <a:gd name="connsiteX905" fmla="*/ 1357609 w 7467600"/>
              <a:gd name="connsiteY905" fmla="*/ 532892 h 6858000"/>
              <a:gd name="connsiteX906" fmla="*/ 1309550 w 7467600"/>
              <a:gd name="connsiteY906" fmla="*/ 374031 h 6858000"/>
              <a:gd name="connsiteX907" fmla="*/ 1193673 w 7467600"/>
              <a:gd name="connsiteY907" fmla="*/ 49533 h 6858000"/>
              <a:gd name="connsiteX908" fmla="*/ 1164391 w 7467600"/>
              <a:gd name="connsiteY908" fmla="*/ 0 h 6858000"/>
              <a:gd name="connsiteX909" fmla="*/ 1200666 w 7467600"/>
              <a:gd name="connsiteY909" fmla="*/ 0 h 6858000"/>
              <a:gd name="connsiteX910" fmla="*/ 1223408 w 7467600"/>
              <a:gd name="connsiteY910" fmla="*/ 38996 h 6858000"/>
              <a:gd name="connsiteX911" fmla="*/ 1339635 w 7467600"/>
              <a:gd name="connsiteY911" fmla="*/ 365517 h 6858000"/>
              <a:gd name="connsiteX912" fmla="*/ 1387469 w 7467600"/>
              <a:gd name="connsiteY912" fmla="*/ 523079 h 6858000"/>
              <a:gd name="connsiteX913" fmla="*/ 1452685 w 7467600"/>
              <a:gd name="connsiteY913" fmla="*/ 699806 h 6858000"/>
              <a:gd name="connsiteX914" fmla="*/ 1492092 w 7467600"/>
              <a:gd name="connsiteY914" fmla="*/ 800424 h 6858000"/>
              <a:gd name="connsiteX915" fmla="*/ 1455302 w 7467600"/>
              <a:gd name="connsiteY915" fmla="*/ 632913 h 6858000"/>
              <a:gd name="connsiteX916" fmla="*/ 1222336 w 7467600"/>
              <a:gd name="connsiteY916" fmla="*/ 9480 h 6858000"/>
              <a:gd name="connsiteX917" fmla="*/ 1214634 w 7467600"/>
              <a:gd name="connsiteY917" fmla="*/ 0 h 6858000"/>
              <a:gd name="connsiteX918" fmla="*/ 1289827 w 7467600"/>
              <a:gd name="connsiteY918" fmla="*/ 0 h 6858000"/>
              <a:gd name="connsiteX919" fmla="*/ 1321076 w 7467600"/>
              <a:gd name="connsiteY919" fmla="*/ 59722 h 6858000"/>
              <a:gd name="connsiteX920" fmla="*/ 1512579 w 7467600"/>
              <a:gd name="connsiteY920" fmla="*/ 626441 h 6858000"/>
              <a:gd name="connsiteX921" fmla="*/ 1506076 w 7467600"/>
              <a:gd name="connsiteY921" fmla="*/ 1089289 h 6858000"/>
              <a:gd name="connsiteX922" fmla="*/ 1486346 w 7467600"/>
              <a:gd name="connsiteY922" fmla="*/ 1079919 h 6858000"/>
              <a:gd name="connsiteX923" fmla="*/ 1070511 w 7467600"/>
              <a:gd name="connsiteY923" fmla="*/ 48609 h 6858000"/>
              <a:gd name="connsiteX924" fmla="*/ 1057230 w 7467600"/>
              <a:gd name="connsiteY924" fmla="*/ 0 h 6858000"/>
              <a:gd name="connsiteX925" fmla="*/ 43151 w 7467600"/>
              <a:gd name="connsiteY925" fmla="*/ 0 h 6858000"/>
              <a:gd name="connsiteX926" fmla="*/ 95283 w 7467600"/>
              <a:gd name="connsiteY926" fmla="*/ 0 h 6858000"/>
              <a:gd name="connsiteX927" fmla="*/ 300708 w 7467600"/>
              <a:gd name="connsiteY927" fmla="*/ 154571 h 6858000"/>
              <a:gd name="connsiteX928" fmla="*/ 530414 w 7467600"/>
              <a:gd name="connsiteY928" fmla="*/ 354673 h 6858000"/>
              <a:gd name="connsiteX929" fmla="*/ 333785 w 7467600"/>
              <a:gd name="connsiteY929" fmla="*/ 161564 h 6858000"/>
              <a:gd name="connsiteX930" fmla="*/ 147005 w 7467600"/>
              <a:gd name="connsiteY930" fmla="*/ 0 h 6858000"/>
              <a:gd name="connsiteX931" fmla="*/ 272509 w 7467600"/>
              <a:gd name="connsiteY931" fmla="*/ 0 h 6858000"/>
              <a:gd name="connsiteX932" fmla="*/ 326276 w 7467600"/>
              <a:gd name="connsiteY932" fmla="*/ 45847 h 6858000"/>
              <a:gd name="connsiteX933" fmla="*/ 823759 w 7467600"/>
              <a:gd name="connsiteY933" fmla="*/ 574145 h 6858000"/>
              <a:gd name="connsiteX934" fmla="*/ 811254 w 7467600"/>
              <a:gd name="connsiteY934" fmla="*/ 665546 h 6858000"/>
              <a:gd name="connsiteX935" fmla="*/ 154042 w 7467600"/>
              <a:gd name="connsiteY935" fmla="*/ 261522 h 6858000"/>
              <a:gd name="connsiteX936" fmla="*/ 13550 w 7467600"/>
              <a:gd name="connsiteY936" fmla="*/ 158423 h 6858000"/>
              <a:gd name="connsiteX937" fmla="*/ 0 w 7467600"/>
              <a:gd name="connsiteY937" fmla="*/ 146618 h 6858000"/>
              <a:gd name="connsiteX938" fmla="*/ 0 w 7467600"/>
              <a:gd name="connsiteY938" fmla="*/ 59161 h 6858000"/>
              <a:gd name="connsiteX939" fmla="*/ 45427 w 7467600"/>
              <a:gd name="connsiteY939" fmla="*/ 101078 h 6858000"/>
              <a:gd name="connsiteX940" fmla="*/ 630103 w 7467600"/>
              <a:gd name="connsiteY940" fmla="*/ 485885 h 6858000"/>
              <a:gd name="connsiteX941" fmla="*/ 532040 w 7467600"/>
              <a:gd name="connsiteY941" fmla="*/ 399359 h 6858000"/>
              <a:gd name="connsiteX942" fmla="*/ 517618 w 7467600"/>
              <a:gd name="connsiteY942" fmla="*/ 385726 h 6858000"/>
              <a:gd name="connsiteX943" fmla="*/ 285074 w 7467600"/>
              <a:gd name="connsiteY943" fmla="*/ 182755 h 6858000"/>
              <a:gd name="connsiteX944" fmla="*/ 43151 w 7467600"/>
              <a:gd name="connsiteY944"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289862 w 7467600"/>
              <a:gd name="connsiteY4" fmla="*/ 6659827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289862 w 7467600"/>
              <a:gd name="connsiteY11" fmla="*/ 6659827 h 6858000"/>
              <a:gd name="connsiteX12" fmla="*/ 1019354 w 7467600"/>
              <a:gd name="connsiteY12" fmla="*/ 6315006 h 6858000"/>
              <a:gd name="connsiteX13" fmla="*/ 441046 w 7467600"/>
              <a:gd name="connsiteY13" fmla="*/ 6691153 h 6858000"/>
              <a:gd name="connsiteX14" fmla="*/ 1019354 w 7467600"/>
              <a:gd name="connsiteY14" fmla="*/ 6315006 h 6858000"/>
              <a:gd name="connsiteX15" fmla="*/ 991680 w 7467600"/>
              <a:gd name="connsiteY15" fmla="*/ 6298413 h 6858000"/>
              <a:gd name="connsiteX16" fmla="*/ 409060 w 7467600"/>
              <a:gd name="connsiteY16" fmla="*/ 6671470 h 6858000"/>
              <a:gd name="connsiteX17" fmla="*/ 991680 w 7467600"/>
              <a:gd name="connsiteY17" fmla="*/ 6298413 h 6858000"/>
              <a:gd name="connsiteX18" fmla="*/ 103333 w 7467600"/>
              <a:gd name="connsiteY18" fmla="*/ 5699602 h 6858000"/>
              <a:gd name="connsiteX19" fmla="*/ 233938 w 7467600"/>
              <a:gd name="connsiteY19" fmla="*/ 5809416 h 6858000"/>
              <a:gd name="connsiteX20" fmla="*/ 883580 w 7467600"/>
              <a:gd name="connsiteY20" fmla="*/ 6180710 h 6858000"/>
              <a:gd name="connsiteX21" fmla="*/ 487337 w 7467600"/>
              <a:gd name="connsiteY21" fmla="*/ 5950182 h 6858000"/>
              <a:gd name="connsiteX22" fmla="*/ 354051 w 7467600"/>
              <a:gd name="connsiteY22" fmla="*/ 5854912 h 6858000"/>
              <a:gd name="connsiteX23" fmla="*/ 195436 w 7467600"/>
              <a:gd name="connsiteY23" fmla="*/ 5755068 h 6858000"/>
              <a:gd name="connsiteX24" fmla="*/ 103333 w 7467600"/>
              <a:gd name="connsiteY24" fmla="*/ 5699602 h 6858000"/>
              <a:gd name="connsiteX25" fmla="*/ 5539432 w 7467600"/>
              <a:gd name="connsiteY25" fmla="*/ 5642928 h 6858000"/>
              <a:gd name="connsiteX26" fmla="*/ 5555462 w 7467600"/>
              <a:gd name="connsiteY26" fmla="*/ 5694454 h 6858000"/>
              <a:gd name="connsiteX27" fmla="*/ 5828270 w 7467600"/>
              <a:gd name="connsiteY27" fmla="*/ 6320663 h 6858000"/>
              <a:gd name="connsiteX28" fmla="*/ 5947416 w 7467600"/>
              <a:gd name="connsiteY28" fmla="*/ 6574846 h 6858000"/>
              <a:gd name="connsiteX29" fmla="*/ 5539432 w 7467600"/>
              <a:gd name="connsiteY29" fmla="*/ 5642928 h 6858000"/>
              <a:gd name="connsiteX30" fmla="*/ 51253 w 7467600"/>
              <a:gd name="connsiteY30" fmla="*/ 5631825 h 6858000"/>
              <a:gd name="connsiteX31" fmla="*/ 211622 w 7467600"/>
              <a:gd name="connsiteY31" fmla="*/ 5728803 h 6858000"/>
              <a:gd name="connsiteX32" fmla="*/ 371652 w 7467600"/>
              <a:gd name="connsiteY32" fmla="*/ 5829062 h 6858000"/>
              <a:gd name="connsiteX33" fmla="*/ 505903 w 7467600"/>
              <a:gd name="connsiteY33" fmla="*/ 5925221 h 6858000"/>
              <a:gd name="connsiteX34" fmla="*/ 899240 w 7467600"/>
              <a:gd name="connsiteY34" fmla="*/ 6153068 h 6858000"/>
              <a:gd name="connsiteX35" fmla="*/ 988114 w 7467600"/>
              <a:gd name="connsiteY35" fmla="*/ 6174204 h 6858000"/>
              <a:gd name="connsiteX36" fmla="*/ 845971 w 7467600"/>
              <a:gd name="connsiteY36" fmla="*/ 6067177 h 6858000"/>
              <a:gd name="connsiteX37" fmla="*/ 448057 w 7467600"/>
              <a:gd name="connsiteY37" fmla="*/ 5841376 h 6858000"/>
              <a:gd name="connsiteX38" fmla="*/ 51253 w 7467600"/>
              <a:gd name="connsiteY38" fmla="*/ 5631825 h 6858000"/>
              <a:gd name="connsiteX39" fmla="*/ 2606687 w 7467600"/>
              <a:gd name="connsiteY39" fmla="*/ 5630718 h 6858000"/>
              <a:gd name="connsiteX40" fmla="*/ 2645658 w 7467600"/>
              <a:gd name="connsiteY40" fmla="*/ 6640259 h 6858000"/>
              <a:gd name="connsiteX41" fmla="*/ 2606687 w 7467600"/>
              <a:gd name="connsiteY41" fmla="*/ 5630718 h 6858000"/>
              <a:gd name="connsiteX42" fmla="*/ 3642057 w 7467600"/>
              <a:gd name="connsiteY42" fmla="*/ 5573487 h 6858000"/>
              <a:gd name="connsiteX43" fmla="*/ 3632981 w 7467600"/>
              <a:gd name="connsiteY43" fmla="*/ 5579437 h 6858000"/>
              <a:gd name="connsiteX44" fmla="*/ 3382436 w 7467600"/>
              <a:gd name="connsiteY44" fmla="*/ 5952726 h 6858000"/>
              <a:gd name="connsiteX45" fmla="*/ 3191929 w 7467600"/>
              <a:gd name="connsiteY45" fmla="*/ 6662669 h 6858000"/>
              <a:gd name="connsiteX46" fmla="*/ 3369898 w 7467600"/>
              <a:gd name="connsiteY46" fmla="*/ 6081771 h 6858000"/>
              <a:gd name="connsiteX47" fmla="*/ 3642057 w 7467600"/>
              <a:gd name="connsiteY47" fmla="*/ 5573487 h 6858000"/>
              <a:gd name="connsiteX48" fmla="*/ 2650666 w 7467600"/>
              <a:gd name="connsiteY48" fmla="*/ 5530686 h 6858000"/>
              <a:gd name="connsiteX49" fmla="*/ 2650249 w 7467600"/>
              <a:gd name="connsiteY49" fmla="*/ 5532101 h 6858000"/>
              <a:gd name="connsiteX50" fmla="*/ 2663808 w 7467600"/>
              <a:gd name="connsiteY50" fmla="*/ 6535215 h 6858000"/>
              <a:gd name="connsiteX51" fmla="*/ 2665418 w 7467600"/>
              <a:gd name="connsiteY51" fmla="*/ 6132756 h 6858000"/>
              <a:gd name="connsiteX52" fmla="*/ 2650666 w 7467600"/>
              <a:gd name="connsiteY52" fmla="*/ 5530686 h 6858000"/>
              <a:gd name="connsiteX53" fmla="*/ 2680277 w 7467600"/>
              <a:gd name="connsiteY53" fmla="*/ 5479204 h 6858000"/>
              <a:gd name="connsiteX54" fmla="*/ 2678972 w 7467600"/>
              <a:gd name="connsiteY54" fmla="*/ 5481582 h 6858000"/>
              <a:gd name="connsiteX55" fmla="*/ 2696666 w 7467600"/>
              <a:gd name="connsiteY55" fmla="*/ 6133836 h 6858000"/>
              <a:gd name="connsiteX56" fmla="*/ 2695769 w 7467600"/>
              <a:gd name="connsiteY56" fmla="*/ 6390955 h 6858000"/>
              <a:gd name="connsiteX57" fmla="*/ 2739893 w 7467600"/>
              <a:gd name="connsiteY57" fmla="*/ 6108357 h 6858000"/>
              <a:gd name="connsiteX58" fmla="*/ 2680277 w 7467600"/>
              <a:gd name="connsiteY58" fmla="*/ 5479204 h 6858000"/>
              <a:gd name="connsiteX59" fmla="*/ 1132195 w 7467600"/>
              <a:gd name="connsiteY59" fmla="*/ 5467980 h 6858000"/>
              <a:gd name="connsiteX60" fmla="*/ 1679056 w 7467600"/>
              <a:gd name="connsiteY60" fmla="*/ 5516907 h 6858000"/>
              <a:gd name="connsiteX61" fmla="*/ 2128648 w 7467600"/>
              <a:gd name="connsiteY61" fmla="*/ 5474249 h 6858000"/>
              <a:gd name="connsiteX62" fmla="*/ 1825619 w 7467600"/>
              <a:gd name="connsiteY62" fmla="*/ 5478447 h 6858000"/>
              <a:gd name="connsiteX63" fmla="*/ 1737798 w 7467600"/>
              <a:gd name="connsiteY63" fmla="*/ 5483353 h 6858000"/>
              <a:gd name="connsiteX64" fmla="*/ 1132195 w 7467600"/>
              <a:gd name="connsiteY64" fmla="*/ 5467980 h 6858000"/>
              <a:gd name="connsiteX65" fmla="*/ 1456157 w 7467600"/>
              <a:gd name="connsiteY65" fmla="*/ 5371404 h 6858000"/>
              <a:gd name="connsiteX66" fmla="*/ 1244432 w 7467600"/>
              <a:gd name="connsiteY66" fmla="*/ 5385601 h 6858000"/>
              <a:gd name="connsiteX67" fmla="*/ 973990 w 7467600"/>
              <a:gd name="connsiteY67" fmla="*/ 5424940 h 6858000"/>
              <a:gd name="connsiteX68" fmla="*/ 1103809 w 7467600"/>
              <a:gd name="connsiteY68" fmla="*/ 5433720 h 6858000"/>
              <a:gd name="connsiteX69" fmla="*/ 1123454 w 7467600"/>
              <a:gd name="connsiteY69" fmla="*/ 5435727 h 6858000"/>
              <a:gd name="connsiteX70" fmla="*/ 1737017 w 7467600"/>
              <a:gd name="connsiteY70" fmla="*/ 5452183 h 6858000"/>
              <a:gd name="connsiteX71" fmla="*/ 1824397 w 7467600"/>
              <a:gd name="connsiteY71" fmla="*/ 5447757 h 6858000"/>
              <a:gd name="connsiteX72" fmla="*/ 2070059 w 7467600"/>
              <a:gd name="connsiteY72" fmla="*/ 5441660 h 6858000"/>
              <a:gd name="connsiteX73" fmla="*/ 1456157 w 7467600"/>
              <a:gd name="connsiteY73" fmla="*/ 5371404 h 6858000"/>
              <a:gd name="connsiteX74" fmla="*/ 4988186 w 7467600"/>
              <a:gd name="connsiteY74" fmla="*/ 5216467 h 6858000"/>
              <a:gd name="connsiteX75" fmla="*/ 4777334 w 7467600"/>
              <a:gd name="connsiteY75" fmla="*/ 5406072 h 6858000"/>
              <a:gd name="connsiteX76" fmla="*/ 4718341 w 7467600"/>
              <a:gd name="connsiteY76" fmla="*/ 5468043 h 6858000"/>
              <a:gd name="connsiteX77" fmla="*/ 4604655 w 7467600"/>
              <a:gd name="connsiteY77" fmla="*/ 5583434 h 6858000"/>
              <a:gd name="connsiteX78" fmla="*/ 4565074 w 7467600"/>
              <a:gd name="connsiteY78" fmla="*/ 5618550 h 6858000"/>
              <a:gd name="connsiteX79" fmla="*/ 4988186 w 7467600"/>
              <a:gd name="connsiteY79" fmla="*/ 5216467 h 6858000"/>
              <a:gd name="connsiteX80" fmla="*/ 4978032 w 7467600"/>
              <a:gd name="connsiteY80" fmla="*/ 5183809 h 6858000"/>
              <a:gd name="connsiteX81" fmla="*/ 4463413 w 7467600"/>
              <a:gd name="connsiteY81" fmla="*/ 5615162 h 6858000"/>
              <a:gd name="connsiteX82" fmla="*/ 4358134 w 7467600"/>
              <a:gd name="connsiteY82" fmla="*/ 5742791 h 6858000"/>
              <a:gd name="connsiteX83" fmla="*/ 4376219 w 7467600"/>
              <a:gd name="connsiteY83" fmla="*/ 5729027 h 6858000"/>
              <a:gd name="connsiteX84" fmla="*/ 4582340 w 7467600"/>
              <a:gd name="connsiteY84" fmla="*/ 5561037 h 6858000"/>
              <a:gd name="connsiteX85" fmla="*/ 4694684 w 7467600"/>
              <a:gd name="connsiteY85" fmla="*/ 5447098 h 6858000"/>
              <a:gd name="connsiteX86" fmla="*/ 4754123 w 7467600"/>
              <a:gd name="connsiteY86" fmla="*/ 5384643 h 6858000"/>
              <a:gd name="connsiteX87" fmla="*/ 4978032 w 7467600"/>
              <a:gd name="connsiteY87" fmla="*/ 5183809 h 6858000"/>
              <a:gd name="connsiteX88" fmla="*/ 1903353 w 7467600"/>
              <a:gd name="connsiteY88" fmla="*/ 5044827 h 6858000"/>
              <a:gd name="connsiteX89" fmla="*/ 1936931 w 7467600"/>
              <a:gd name="connsiteY89" fmla="*/ 5093954 h 6858000"/>
              <a:gd name="connsiteX90" fmla="*/ 2195868 w 7467600"/>
              <a:gd name="connsiteY90" fmla="*/ 5396574 h 6858000"/>
              <a:gd name="connsiteX91" fmla="*/ 2088852 w 7467600"/>
              <a:gd name="connsiteY91" fmla="*/ 5166123 h 6858000"/>
              <a:gd name="connsiteX92" fmla="*/ 1958241 w 7467600"/>
              <a:gd name="connsiteY92" fmla="*/ 5067955 h 6858000"/>
              <a:gd name="connsiteX93" fmla="*/ 1903353 w 7467600"/>
              <a:gd name="connsiteY93" fmla="*/ 5044827 h 6858000"/>
              <a:gd name="connsiteX94" fmla="*/ 1979378 w 7467600"/>
              <a:gd name="connsiteY94" fmla="*/ 4769504 h 6858000"/>
              <a:gd name="connsiteX95" fmla="*/ 2882120 w 7467600"/>
              <a:gd name="connsiteY95" fmla="*/ 5064547 h 6858000"/>
              <a:gd name="connsiteX96" fmla="*/ 2793103 w 7467600"/>
              <a:gd name="connsiteY96" fmla="*/ 5039699 h 6858000"/>
              <a:gd name="connsiteX97" fmla="*/ 2770041 w 7467600"/>
              <a:gd name="connsiteY97" fmla="*/ 5033634 h 6858000"/>
              <a:gd name="connsiteX98" fmla="*/ 1979378 w 7467600"/>
              <a:gd name="connsiteY98" fmla="*/ 4769504 h 6858000"/>
              <a:gd name="connsiteX99" fmla="*/ 1927410 w 7467600"/>
              <a:gd name="connsiteY99" fmla="*/ 4716164 h 6858000"/>
              <a:gd name="connsiteX100" fmla="*/ 1959587 w 7467600"/>
              <a:gd name="connsiteY100" fmla="*/ 4728849 h 6858000"/>
              <a:gd name="connsiteX101" fmla="*/ 2777707 w 7467600"/>
              <a:gd name="connsiteY101" fmla="*/ 5003991 h 6858000"/>
              <a:gd name="connsiteX102" fmla="*/ 2800768 w 7467600"/>
              <a:gd name="connsiteY102" fmla="*/ 5010056 h 6858000"/>
              <a:gd name="connsiteX103" fmla="*/ 2879408 w 7467600"/>
              <a:gd name="connsiteY103" fmla="*/ 5031590 h 6858000"/>
              <a:gd name="connsiteX104" fmla="*/ 2862295 w 7467600"/>
              <a:gd name="connsiteY104" fmla="*/ 5022958 h 6858000"/>
              <a:gd name="connsiteX105" fmla="*/ 2813343 w 7467600"/>
              <a:gd name="connsiteY105" fmla="*/ 4998369 h 6858000"/>
              <a:gd name="connsiteX106" fmla="*/ 2646245 w 7467600"/>
              <a:gd name="connsiteY106" fmla="*/ 4930999 h 6858000"/>
              <a:gd name="connsiteX107" fmla="*/ 1999243 w 7467600"/>
              <a:gd name="connsiteY107" fmla="*/ 4730524 h 6858000"/>
              <a:gd name="connsiteX108" fmla="*/ 1979527 w 7467600"/>
              <a:gd name="connsiteY108" fmla="*/ 4726651 h 6858000"/>
              <a:gd name="connsiteX109" fmla="*/ 1927410 w 7467600"/>
              <a:gd name="connsiteY109" fmla="*/ 4716164 h 6858000"/>
              <a:gd name="connsiteX110" fmla="*/ 1997014 w 7467600"/>
              <a:gd name="connsiteY110" fmla="*/ 4698007 h 6858000"/>
              <a:gd name="connsiteX111" fmla="*/ 2005458 w 7467600"/>
              <a:gd name="connsiteY111" fmla="*/ 4699540 h 6858000"/>
              <a:gd name="connsiteX112" fmla="*/ 2657186 w 7467600"/>
              <a:gd name="connsiteY112" fmla="*/ 4901687 h 6858000"/>
              <a:gd name="connsiteX113" fmla="*/ 2826662 w 7467600"/>
              <a:gd name="connsiteY113" fmla="*/ 4970362 h 6858000"/>
              <a:gd name="connsiteX114" fmla="*/ 2876100 w 7467600"/>
              <a:gd name="connsiteY114" fmla="*/ 4995397 h 6858000"/>
              <a:gd name="connsiteX115" fmla="*/ 3042600 w 7467600"/>
              <a:gd name="connsiteY115" fmla="*/ 5059532 h 6858000"/>
              <a:gd name="connsiteX116" fmla="*/ 1997014 w 7467600"/>
              <a:gd name="connsiteY116" fmla="*/ 4698007 h 6858000"/>
              <a:gd name="connsiteX117" fmla="*/ 2305292 w 7467600"/>
              <a:gd name="connsiteY117" fmla="*/ 4219492 h 6858000"/>
              <a:gd name="connsiteX118" fmla="*/ 3360922 w 7467600"/>
              <a:gd name="connsiteY118" fmla="*/ 4529373 h 6858000"/>
              <a:gd name="connsiteX119" fmla="*/ 3492420 w 7467600"/>
              <a:gd name="connsiteY119" fmla="*/ 4510145 h 6858000"/>
              <a:gd name="connsiteX120" fmla="*/ 3364086 w 7467600"/>
              <a:gd name="connsiteY120" fmla="*/ 4480340 h 6858000"/>
              <a:gd name="connsiteX121" fmla="*/ 3225818 w 7467600"/>
              <a:gd name="connsiteY121" fmla="*/ 4411822 h 6858000"/>
              <a:gd name="connsiteX122" fmla="*/ 3129696 w 7467600"/>
              <a:gd name="connsiteY122" fmla="*/ 4360704 h 6858000"/>
              <a:gd name="connsiteX123" fmla="*/ 2814545 w 7467600"/>
              <a:gd name="connsiteY123" fmla="*/ 4282955 h 6858000"/>
              <a:gd name="connsiteX124" fmla="*/ 2305292 w 7467600"/>
              <a:gd name="connsiteY124" fmla="*/ 4219492 h 6858000"/>
              <a:gd name="connsiteX125" fmla="*/ 2626982 w 7467600"/>
              <a:gd name="connsiteY125" fmla="*/ 4206450 h 6858000"/>
              <a:gd name="connsiteX126" fmla="*/ 2490617 w 7467600"/>
              <a:gd name="connsiteY126" fmla="*/ 4206951 h 6858000"/>
              <a:gd name="connsiteX127" fmla="*/ 2819869 w 7467600"/>
              <a:gd name="connsiteY127" fmla="*/ 4252936 h 6858000"/>
              <a:gd name="connsiteX128" fmla="*/ 3143018 w 7467600"/>
              <a:gd name="connsiteY128" fmla="*/ 4332698 h 6858000"/>
              <a:gd name="connsiteX129" fmla="*/ 3241520 w 7467600"/>
              <a:gd name="connsiteY129" fmla="*/ 4385112 h 6858000"/>
              <a:gd name="connsiteX130" fmla="*/ 3374575 w 7467600"/>
              <a:gd name="connsiteY130" fmla="*/ 4451517 h 6858000"/>
              <a:gd name="connsiteX131" fmla="*/ 3505221 w 7467600"/>
              <a:gd name="connsiteY131" fmla="*/ 4480757 h 6858000"/>
              <a:gd name="connsiteX132" fmla="*/ 2626982 w 7467600"/>
              <a:gd name="connsiteY132" fmla="*/ 4206450 h 6858000"/>
              <a:gd name="connsiteX133" fmla="*/ 1310106 w 7467600"/>
              <a:gd name="connsiteY133" fmla="*/ 3943217 h 6858000"/>
              <a:gd name="connsiteX134" fmla="*/ 854994 w 7467600"/>
              <a:gd name="connsiteY134" fmla="*/ 4399136 h 6858000"/>
              <a:gd name="connsiteX135" fmla="*/ 742462 w 7467600"/>
              <a:gd name="connsiteY135" fmla="*/ 4594648 h 6858000"/>
              <a:gd name="connsiteX136" fmla="*/ 820602 w 7467600"/>
              <a:gd name="connsiteY136" fmla="*/ 4485915 h 6858000"/>
              <a:gd name="connsiteX137" fmla="*/ 878295 w 7467600"/>
              <a:gd name="connsiteY137" fmla="*/ 4403594 h 6858000"/>
              <a:gd name="connsiteX138" fmla="*/ 1240607 w 7467600"/>
              <a:gd name="connsiteY138" fmla="*/ 4010401 h 6858000"/>
              <a:gd name="connsiteX139" fmla="*/ 1310106 w 7467600"/>
              <a:gd name="connsiteY139" fmla="*/ 3943217 h 6858000"/>
              <a:gd name="connsiteX140" fmla="*/ 1423113 w 7467600"/>
              <a:gd name="connsiteY140" fmla="*/ 3874565 h 6858000"/>
              <a:gd name="connsiteX141" fmla="*/ 1260565 w 7467600"/>
              <a:gd name="connsiteY141" fmla="*/ 4031982 h 6858000"/>
              <a:gd name="connsiteX142" fmla="*/ 901900 w 7467600"/>
              <a:gd name="connsiteY142" fmla="*/ 4421236 h 6858000"/>
              <a:gd name="connsiteX143" fmla="*/ 845044 w 7467600"/>
              <a:gd name="connsiteY143" fmla="*/ 4502436 h 6858000"/>
              <a:gd name="connsiteX144" fmla="*/ 685926 w 7467600"/>
              <a:gd name="connsiteY144" fmla="*/ 4703069 h 6858000"/>
              <a:gd name="connsiteX145" fmla="*/ 684248 w 7467600"/>
              <a:gd name="connsiteY145" fmla="*/ 4706721 h 6858000"/>
              <a:gd name="connsiteX146" fmla="*/ 1423113 w 7467600"/>
              <a:gd name="connsiteY146" fmla="*/ 3874565 h 6858000"/>
              <a:gd name="connsiteX147" fmla="*/ 3316479 w 7467600"/>
              <a:gd name="connsiteY147" fmla="*/ 3872136 h 6858000"/>
              <a:gd name="connsiteX148" fmla="*/ 3546806 w 7467600"/>
              <a:gd name="connsiteY148" fmla="*/ 4356139 h 6858000"/>
              <a:gd name="connsiteX149" fmla="*/ 3364433 w 7467600"/>
              <a:gd name="connsiteY149" fmla="*/ 3953121 h 6858000"/>
              <a:gd name="connsiteX150" fmla="*/ 3316479 w 7467600"/>
              <a:gd name="connsiteY150" fmla="*/ 3872136 h 6858000"/>
              <a:gd name="connsiteX151" fmla="*/ 3291335 w 7467600"/>
              <a:gd name="connsiteY151" fmla="*/ 3767420 h 6858000"/>
              <a:gd name="connsiteX152" fmla="*/ 3390805 w 7467600"/>
              <a:gd name="connsiteY152" fmla="*/ 3937163 h 6858000"/>
              <a:gd name="connsiteX153" fmla="*/ 3579062 w 7467600"/>
              <a:gd name="connsiteY153" fmla="*/ 4359040 h 6858000"/>
              <a:gd name="connsiteX154" fmla="*/ 3467355 w 7467600"/>
              <a:gd name="connsiteY154" fmla="*/ 3988130 h 6858000"/>
              <a:gd name="connsiteX155" fmla="*/ 3310753 w 7467600"/>
              <a:gd name="connsiteY155" fmla="*/ 3787140 h 6858000"/>
              <a:gd name="connsiteX156" fmla="*/ 3291335 w 7467600"/>
              <a:gd name="connsiteY156" fmla="*/ 3767420 h 6858000"/>
              <a:gd name="connsiteX157" fmla="*/ 1635889 w 7467600"/>
              <a:gd name="connsiteY157" fmla="*/ 3709494 h 6858000"/>
              <a:gd name="connsiteX158" fmla="*/ 1634800 w 7467600"/>
              <a:gd name="connsiteY158" fmla="*/ 3731111 h 6858000"/>
              <a:gd name="connsiteX159" fmla="*/ 1635889 w 7467600"/>
              <a:gd name="connsiteY159" fmla="*/ 3709494 h 6858000"/>
              <a:gd name="connsiteX160" fmla="*/ 1510397 w 7467600"/>
              <a:gd name="connsiteY160" fmla="*/ 3684705 h 6858000"/>
              <a:gd name="connsiteX161" fmla="*/ 1146550 w 7467600"/>
              <a:gd name="connsiteY161" fmla="*/ 3802012 h 6858000"/>
              <a:gd name="connsiteX162" fmla="*/ 698834 w 7467600"/>
              <a:gd name="connsiteY162" fmla="*/ 3952272 h 6858000"/>
              <a:gd name="connsiteX163" fmla="*/ 34256 w 7467600"/>
              <a:gd name="connsiteY163" fmla="*/ 4347603 h 6858000"/>
              <a:gd name="connsiteX164" fmla="*/ 527241 w 7467600"/>
              <a:gd name="connsiteY164" fmla="*/ 4065078 h 6858000"/>
              <a:gd name="connsiteX165" fmla="*/ 1510397 w 7467600"/>
              <a:gd name="connsiteY165" fmla="*/ 3684705 h 6858000"/>
              <a:gd name="connsiteX166" fmla="*/ 1313114 w 7467600"/>
              <a:gd name="connsiteY166" fmla="*/ 3655216 h 6858000"/>
              <a:gd name="connsiteX167" fmla="*/ 1109304 w 7467600"/>
              <a:gd name="connsiteY167" fmla="*/ 3669030 h 6858000"/>
              <a:gd name="connsiteX168" fmla="*/ 8129 w 7467600"/>
              <a:gd name="connsiteY168" fmla="*/ 4330519 h 6858000"/>
              <a:gd name="connsiteX169" fmla="*/ 687572 w 7467600"/>
              <a:gd name="connsiteY169" fmla="*/ 3925629 h 6858000"/>
              <a:gd name="connsiteX170" fmla="*/ 1138365 w 7467600"/>
              <a:gd name="connsiteY170" fmla="*/ 3774515 h 6858000"/>
              <a:gd name="connsiteX171" fmla="*/ 1505579 w 7467600"/>
              <a:gd name="connsiteY171" fmla="*/ 3655526 h 6858000"/>
              <a:gd name="connsiteX172" fmla="*/ 1313114 w 7467600"/>
              <a:gd name="connsiteY172" fmla="*/ 3655216 h 6858000"/>
              <a:gd name="connsiteX173" fmla="*/ 3655073 w 7467600"/>
              <a:gd name="connsiteY173" fmla="*/ 3650884 h 6858000"/>
              <a:gd name="connsiteX174" fmla="*/ 3989938 w 7467600"/>
              <a:gd name="connsiteY174" fmla="*/ 3991685 h 6858000"/>
              <a:gd name="connsiteX175" fmla="*/ 4393907 w 7467600"/>
              <a:gd name="connsiteY175" fmla="*/ 4261258 h 6858000"/>
              <a:gd name="connsiteX176" fmla="*/ 4648051 w 7467600"/>
              <a:gd name="connsiteY176" fmla="*/ 4374051 h 6858000"/>
              <a:gd name="connsiteX177" fmla="*/ 4383389 w 7467600"/>
              <a:gd name="connsiteY177" fmla="*/ 4184369 h 6858000"/>
              <a:gd name="connsiteX178" fmla="*/ 4165508 w 7467600"/>
              <a:gd name="connsiteY178" fmla="*/ 4035196 h 6858000"/>
              <a:gd name="connsiteX179" fmla="*/ 4068162 w 7467600"/>
              <a:gd name="connsiteY179" fmla="*/ 3953394 h 6858000"/>
              <a:gd name="connsiteX180" fmla="*/ 3981416 w 7467600"/>
              <a:gd name="connsiteY180" fmla="*/ 3880482 h 6858000"/>
              <a:gd name="connsiteX181" fmla="*/ 3800147 w 7467600"/>
              <a:gd name="connsiteY181" fmla="*/ 3749872 h 6858000"/>
              <a:gd name="connsiteX182" fmla="*/ 3655073 w 7467600"/>
              <a:gd name="connsiteY182" fmla="*/ 3650884 h 6858000"/>
              <a:gd name="connsiteX183" fmla="*/ 3670252 w 7467600"/>
              <a:gd name="connsiteY183" fmla="*/ 3622798 h 6858000"/>
              <a:gd name="connsiteX184" fmla="*/ 3817258 w 7467600"/>
              <a:gd name="connsiteY184" fmla="*/ 3723577 h 6858000"/>
              <a:gd name="connsiteX185" fmla="*/ 4000461 w 7467600"/>
              <a:gd name="connsiteY185" fmla="*/ 3855966 h 6858000"/>
              <a:gd name="connsiteX186" fmla="*/ 4088180 w 7467600"/>
              <a:gd name="connsiteY186" fmla="*/ 3929774 h 6858000"/>
              <a:gd name="connsiteX187" fmla="*/ 4184555 w 7467600"/>
              <a:gd name="connsiteY187" fmla="*/ 4010683 h 6858000"/>
              <a:gd name="connsiteX188" fmla="*/ 4399563 w 7467600"/>
              <a:gd name="connsiteY188" fmla="*/ 4158106 h 6858000"/>
              <a:gd name="connsiteX189" fmla="*/ 4684469 w 7467600"/>
              <a:gd name="connsiteY189" fmla="*/ 4364680 h 6858000"/>
              <a:gd name="connsiteX190" fmla="*/ 4690271 w 7467600"/>
              <a:gd name="connsiteY190" fmla="*/ 4370034 h 6858000"/>
              <a:gd name="connsiteX191" fmla="*/ 4136093 w 7467600"/>
              <a:gd name="connsiteY191" fmla="*/ 3858466 h 6858000"/>
              <a:gd name="connsiteX192" fmla="*/ 3670252 w 7467600"/>
              <a:gd name="connsiteY192" fmla="*/ 3622798 h 6858000"/>
              <a:gd name="connsiteX193" fmla="*/ 4440129 w 7467600"/>
              <a:gd name="connsiteY193" fmla="*/ 3448571 h 6858000"/>
              <a:gd name="connsiteX194" fmla="*/ 4856525 w 7467600"/>
              <a:gd name="connsiteY194" fmla="*/ 3915351 h 6858000"/>
              <a:gd name="connsiteX195" fmla="*/ 5059055 w 7467600"/>
              <a:gd name="connsiteY195" fmla="*/ 4108918 h 6858000"/>
              <a:gd name="connsiteX196" fmla="*/ 5290070 w 7467600"/>
              <a:gd name="connsiteY196" fmla="*/ 4263619 h 6858000"/>
              <a:gd name="connsiteX197" fmla="*/ 4834991 w 7467600"/>
              <a:gd name="connsiteY197" fmla="*/ 3830985 h 6858000"/>
              <a:gd name="connsiteX198" fmla="*/ 4440129 w 7467600"/>
              <a:gd name="connsiteY198" fmla="*/ 3448571 h 6858000"/>
              <a:gd name="connsiteX199" fmla="*/ 4441737 w 7467600"/>
              <a:gd name="connsiteY199" fmla="*/ 3399734 h 6858000"/>
              <a:gd name="connsiteX200" fmla="*/ 4431236 w 7467600"/>
              <a:gd name="connsiteY200" fmla="*/ 3400954 h 6858000"/>
              <a:gd name="connsiteX201" fmla="*/ 4557150 w 7467600"/>
              <a:gd name="connsiteY201" fmla="*/ 3510023 h 6858000"/>
              <a:gd name="connsiteX202" fmla="*/ 4856936 w 7467600"/>
              <a:gd name="connsiteY202" fmla="*/ 3809146 h 6858000"/>
              <a:gd name="connsiteX203" fmla="*/ 5111996 w 7467600"/>
              <a:gd name="connsiteY203" fmla="*/ 4065759 h 6858000"/>
              <a:gd name="connsiteX204" fmla="*/ 5388878 w 7467600"/>
              <a:gd name="connsiteY204" fmla="*/ 4300185 h 6858000"/>
              <a:gd name="connsiteX205" fmla="*/ 5425556 w 7467600"/>
              <a:gd name="connsiteY205" fmla="*/ 4308967 h 6858000"/>
              <a:gd name="connsiteX206" fmla="*/ 4943646 w 7467600"/>
              <a:gd name="connsiteY206" fmla="*/ 3822916 h 6858000"/>
              <a:gd name="connsiteX207" fmla="*/ 4594837 w 7467600"/>
              <a:gd name="connsiteY207" fmla="*/ 3532274 h 6858000"/>
              <a:gd name="connsiteX208" fmla="*/ 4441737 w 7467600"/>
              <a:gd name="connsiteY208" fmla="*/ 3399734 h 6858000"/>
              <a:gd name="connsiteX209" fmla="*/ 5425834 w 7467600"/>
              <a:gd name="connsiteY209" fmla="*/ 3162785 h 6858000"/>
              <a:gd name="connsiteX210" fmla="*/ 5401644 w 7467600"/>
              <a:gd name="connsiteY210" fmla="*/ 3617847 h 6858000"/>
              <a:gd name="connsiteX211" fmla="*/ 5467256 w 7467600"/>
              <a:gd name="connsiteY211" fmla="*/ 4175494 h 6858000"/>
              <a:gd name="connsiteX212" fmla="*/ 5448069 w 7467600"/>
              <a:gd name="connsiteY212" fmla="*/ 3567554 h 6858000"/>
              <a:gd name="connsiteX213" fmla="*/ 5425834 w 7467600"/>
              <a:gd name="connsiteY213" fmla="*/ 3162785 h 6858000"/>
              <a:gd name="connsiteX214" fmla="*/ 1318687 w 7467600"/>
              <a:gd name="connsiteY214" fmla="*/ 3113840 h 6858000"/>
              <a:gd name="connsiteX215" fmla="*/ 1066793 w 7467600"/>
              <a:gd name="connsiteY215" fmla="*/ 3212171 h 6858000"/>
              <a:gd name="connsiteX216" fmla="*/ 993319 w 7467600"/>
              <a:gd name="connsiteY216" fmla="*/ 3247648 h 6858000"/>
              <a:gd name="connsiteX217" fmla="*/ 853081 w 7467600"/>
              <a:gd name="connsiteY217" fmla="*/ 3312410 h 6858000"/>
              <a:gd name="connsiteX218" fmla="*/ 805957 w 7467600"/>
              <a:gd name="connsiteY218" fmla="*/ 3330443 h 6858000"/>
              <a:gd name="connsiteX219" fmla="*/ 1318687 w 7467600"/>
              <a:gd name="connsiteY219" fmla="*/ 3113840 h 6858000"/>
              <a:gd name="connsiteX220" fmla="*/ 5453702 w 7467600"/>
              <a:gd name="connsiteY220" fmla="*/ 3090882 h 6858000"/>
              <a:gd name="connsiteX221" fmla="*/ 5480135 w 7467600"/>
              <a:gd name="connsiteY221" fmla="*/ 3565802 h 6858000"/>
              <a:gd name="connsiteX222" fmla="*/ 5499023 w 7467600"/>
              <a:gd name="connsiteY222" fmla="*/ 4166310 h 6858000"/>
              <a:gd name="connsiteX223" fmla="*/ 5547022 w 7467600"/>
              <a:gd name="connsiteY223" fmla="*/ 3607838 h 6858000"/>
              <a:gd name="connsiteX224" fmla="*/ 5515964 w 7467600"/>
              <a:gd name="connsiteY224" fmla="*/ 3378541 h 6858000"/>
              <a:gd name="connsiteX225" fmla="*/ 5453702 w 7467600"/>
              <a:gd name="connsiteY225" fmla="*/ 3090882 h 6858000"/>
              <a:gd name="connsiteX226" fmla="*/ 1238695 w 7467600"/>
              <a:gd name="connsiteY226" fmla="*/ 3076820 h 6858000"/>
              <a:gd name="connsiteX227" fmla="*/ 716371 w 7467600"/>
              <a:gd name="connsiteY227" fmla="*/ 3293249 h 6858000"/>
              <a:gd name="connsiteX228" fmla="*/ 579522 w 7467600"/>
              <a:gd name="connsiteY228" fmla="*/ 3371759 h 6858000"/>
              <a:gd name="connsiteX229" fmla="*/ 600288 w 7467600"/>
              <a:gd name="connsiteY229" fmla="*/ 3365555 h 6858000"/>
              <a:gd name="connsiteX230" fmla="*/ 840692 w 7467600"/>
              <a:gd name="connsiteY230" fmla="*/ 3284921 h 6858000"/>
              <a:gd name="connsiteX231" fmla="*/ 979248 w 7467600"/>
              <a:gd name="connsiteY231" fmla="*/ 3221003 h 6858000"/>
              <a:gd name="connsiteX232" fmla="*/ 1053282 w 7467600"/>
              <a:gd name="connsiteY232" fmla="*/ 3185247 h 6858000"/>
              <a:gd name="connsiteX233" fmla="*/ 1320603 w 7467600"/>
              <a:gd name="connsiteY233" fmla="*/ 3081281 h 6858000"/>
              <a:gd name="connsiteX234" fmla="*/ 1238695 w 7467600"/>
              <a:gd name="connsiteY234" fmla="*/ 3076820 h 6858000"/>
              <a:gd name="connsiteX235" fmla="*/ 5425627 w 7467600"/>
              <a:gd name="connsiteY235" fmla="*/ 2954192 h 6858000"/>
              <a:gd name="connsiteX236" fmla="*/ 5470770 w 7467600"/>
              <a:gd name="connsiteY236" fmla="*/ 3005435 h 6858000"/>
              <a:gd name="connsiteX237" fmla="*/ 5519779 w 7467600"/>
              <a:gd name="connsiteY237" fmla="*/ 4359223 h 6858000"/>
              <a:gd name="connsiteX238" fmla="*/ 5520293 w 7467600"/>
              <a:gd name="connsiteY238" fmla="*/ 4360602 h 6858000"/>
              <a:gd name="connsiteX239" fmla="*/ 5767221 w 7467600"/>
              <a:gd name="connsiteY239" fmla="*/ 4665564 h 6858000"/>
              <a:gd name="connsiteX240" fmla="*/ 6937169 w 7467600"/>
              <a:gd name="connsiteY240" fmla="*/ 4815941 h 6858000"/>
              <a:gd name="connsiteX241" fmla="*/ 6953922 w 7467600"/>
              <a:gd name="connsiteY241" fmla="*/ 4890068 h 6858000"/>
              <a:gd name="connsiteX242" fmla="*/ 6071359 w 7467600"/>
              <a:gd name="connsiteY242" fmla="*/ 4770770 h 6858000"/>
              <a:gd name="connsiteX243" fmla="*/ 6038839 w 7467600"/>
              <a:gd name="connsiteY243" fmla="*/ 4764474 h 6858000"/>
              <a:gd name="connsiteX244" fmla="*/ 6038706 w 7467600"/>
              <a:gd name="connsiteY244" fmla="*/ 4763847 h 6858000"/>
              <a:gd name="connsiteX245" fmla="*/ 6037784 w 7467600"/>
              <a:gd name="connsiteY245" fmla="*/ 4764270 h 6858000"/>
              <a:gd name="connsiteX246" fmla="*/ 6038839 w 7467600"/>
              <a:gd name="connsiteY246" fmla="*/ 4764474 h 6858000"/>
              <a:gd name="connsiteX247" fmla="*/ 6040338 w 7467600"/>
              <a:gd name="connsiteY247" fmla="*/ 4771418 h 6858000"/>
              <a:gd name="connsiteX248" fmla="*/ 6024488 w 7467600"/>
              <a:gd name="connsiteY248" fmla="*/ 4809903 h 6858000"/>
              <a:gd name="connsiteX249" fmla="*/ 5599771 w 7467600"/>
              <a:gd name="connsiteY249" fmla="*/ 5509652 h 6858000"/>
              <a:gd name="connsiteX250" fmla="*/ 5548843 w 7467600"/>
              <a:gd name="connsiteY250" fmla="*/ 5563845 h 6858000"/>
              <a:gd name="connsiteX251" fmla="*/ 5940952 w 7467600"/>
              <a:gd name="connsiteY251" fmla="*/ 6250028 h 6858000"/>
              <a:gd name="connsiteX252" fmla="*/ 6043441 w 7467600"/>
              <a:gd name="connsiteY252" fmla="*/ 6665847 h 6858000"/>
              <a:gd name="connsiteX253" fmla="*/ 6093432 w 7467600"/>
              <a:gd name="connsiteY253" fmla="*/ 6858000 h 6858000"/>
              <a:gd name="connsiteX254" fmla="*/ 6034344 w 7467600"/>
              <a:gd name="connsiteY254" fmla="*/ 6858000 h 6858000"/>
              <a:gd name="connsiteX255" fmla="*/ 6026679 w 7467600"/>
              <a:gd name="connsiteY255" fmla="*/ 6836959 h 6858000"/>
              <a:gd name="connsiteX256" fmla="*/ 5800441 w 7467600"/>
              <a:gd name="connsiteY256" fmla="*/ 6335286 h 6858000"/>
              <a:gd name="connsiteX257" fmla="*/ 5526562 w 7467600"/>
              <a:gd name="connsiteY257" fmla="*/ 5705388 h 6858000"/>
              <a:gd name="connsiteX258" fmla="*/ 5519640 w 7467600"/>
              <a:gd name="connsiteY258" fmla="*/ 5683774 h 6858000"/>
              <a:gd name="connsiteX259" fmla="*/ 5844559 w 7467600"/>
              <a:gd name="connsiteY259" fmla="*/ 6553349 h 6858000"/>
              <a:gd name="connsiteX260" fmla="*/ 5975994 w 7467600"/>
              <a:gd name="connsiteY260" fmla="*/ 6858000 h 6858000"/>
              <a:gd name="connsiteX261" fmla="*/ 5898547 w 7467600"/>
              <a:gd name="connsiteY261" fmla="*/ 6858000 h 6858000"/>
              <a:gd name="connsiteX262" fmla="*/ 5682041 w 7467600"/>
              <a:gd name="connsiteY262" fmla="*/ 6355860 h 6858000"/>
              <a:gd name="connsiteX263" fmla="*/ 5461758 w 7467600"/>
              <a:gd name="connsiteY263" fmla="*/ 5820220 h 6858000"/>
              <a:gd name="connsiteX264" fmla="*/ 5237282 w 7467600"/>
              <a:gd name="connsiteY264" fmla="*/ 6579086 h 6858000"/>
              <a:gd name="connsiteX265" fmla="*/ 5115009 w 7467600"/>
              <a:gd name="connsiteY265" fmla="*/ 6858000 h 6858000"/>
              <a:gd name="connsiteX266" fmla="*/ 5028074 w 7467600"/>
              <a:gd name="connsiteY266" fmla="*/ 6858000 h 6858000"/>
              <a:gd name="connsiteX267" fmla="*/ 5079508 w 7467600"/>
              <a:gd name="connsiteY267" fmla="*/ 6749074 h 6858000"/>
              <a:gd name="connsiteX268" fmla="*/ 5371846 w 7467600"/>
              <a:gd name="connsiteY268" fmla="*/ 5924413 h 6858000"/>
              <a:gd name="connsiteX269" fmla="*/ 5270512 w 7467600"/>
              <a:gd name="connsiteY269" fmla="*/ 6138975 h 6858000"/>
              <a:gd name="connsiteX270" fmla="*/ 5062409 w 7467600"/>
              <a:gd name="connsiteY270" fmla="*/ 6653544 h 6858000"/>
              <a:gd name="connsiteX271" fmla="*/ 5036628 w 7467600"/>
              <a:gd name="connsiteY271" fmla="*/ 6754247 h 6858000"/>
              <a:gd name="connsiteX272" fmla="*/ 5009112 w 7467600"/>
              <a:gd name="connsiteY272" fmla="*/ 6858000 h 6858000"/>
              <a:gd name="connsiteX273" fmla="*/ 4976679 w 7467600"/>
              <a:gd name="connsiteY273" fmla="*/ 6858000 h 6858000"/>
              <a:gd name="connsiteX274" fmla="*/ 5006537 w 7467600"/>
              <a:gd name="connsiteY274" fmla="*/ 6747068 h 6858000"/>
              <a:gd name="connsiteX275" fmla="*/ 5032723 w 7467600"/>
              <a:gd name="connsiteY275" fmla="*/ 6644957 h 6858000"/>
              <a:gd name="connsiteX276" fmla="*/ 5242949 w 7467600"/>
              <a:gd name="connsiteY276" fmla="*/ 6125175 h 6858000"/>
              <a:gd name="connsiteX277" fmla="*/ 5286321 w 7467600"/>
              <a:gd name="connsiteY277" fmla="*/ 6033555 h 6858000"/>
              <a:gd name="connsiteX278" fmla="*/ 5008210 w 7467600"/>
              <a:gd name="connsiteY278" fmla="*/ 6649194 h 6858000"/>
              <a:gd name="connsiteX279" fmla="*/ 4986321 w 7467600"/>
              <a:gd name="connsiteY279" fmla="*/ 6765687 h 6858000"/>
              <a:gd name="connsiteX280" fmla="*/ 4973474 w 7467600"/>
              <a:gd name="connsiteY280" fmla="*/ 6858000 h 6858000"/>
              <a:gd name="connsiteX281" fmla="*/ 4907178 w 7467600"/>
              <a:gd name="connsiteY281" fmla="*/ 6858000 h 6858000"/>
              <a:gd name="connsiteX282" fmla="*/ 4910810 w 7467600"/>
              <a:gd name="connsiteY282" fmla="*/ 6829660 h 6858000"/>
              <a:gd name="connsiteX283" fmla="*/ 4987461 w 7467600"/>
              <a:gd name="connsiteY283" fmla="*/ 6432994 h 6858000"/>
              <a:gd name="connsiteX284" fmla="*/ 5179262 w 7467600"/>
              <a:gd name="connsiteY284" fmla="*/ 6035044 h 6858000"/>
              <a:gd name="connsiteX285" fmla="*/ 4689678 w 7467600"/>
              <a:gd name="connsiteY285" fmla="*/ 6440241 h 6858000"/>
              <a:gd name="connsiteX286" fmla="*/ 4477543 w 7467600"/>
              <a:gd name="connsiteY286" fmla="*/ 6674836 h 6858000"/>
              <a:gd name="connsiteX287" fmla="*/ 4329957 w 7467600"/>
              <a:gd name="connsiteY287" fmla="*/ 6858000 h 6858000"/>
              <a:gd name="connsiteX288" fmla="*/ 4218595 w 7467600"/>
              <a:gd name="connsiteY288" fmla="*/ 6858000 h 6858000"/>
              <a:gd name="connsiteX289" fmla="*/ 4368888 w 7467600"/>
              <a:gd name="connsiteY289" fmla="*/ 6668412 h 6858000"/>
              <a:gd name="connsiteX290" fmla="*/ 4563091 w 7467600"/>
              <a:gd name="connsiteY290" fmla="*/ 6442508 h 6858000"/>
              <a:gd name="connsiteX291" fmla="*/ 5387324 w 7467600"/>
              <a:gd name="connsiteY291" fmla="*/ 5705830 h 6858000"/>
              <a:gd name="connsiteX292" fmla="*/ 5073620 w 7467600"/>
              <a:gd name="connsiteY292" fmla="*/ 5955437 h 6858000"/>
              <a:gd name="connsiteX293" fmla="*/ 4689789 w 7467600"/>
              <a:gd name="connsiteY293" fmla="*/ 6268382 h 6858000"/>
              <a:gd name="connsiteX294" fmla="*/ 4418722 w 7467600"/>
              <a:gd name="connsiteY294" fmla="*/ 6570886 h 6858000"/>
              <a:gd name="connsiteX295" fmla="*/ 4214944 w 7467600"/>
              <a:gd name="connsiteY295" fmla="*/ 6858000 h 6858000"/>
              <a:gd name="connsiteX296" fmla="*/ 4177898 w 7467600"/>
              <a:gd name="connsiteY296" fmla="*/ 6858000 h 6858000"/>
              <a:gd name="connsiteX297" fmla="*/ 4391597 w 7467600"/>
              <a:gd name="connsiteY297" fmla="*/ 6556370 h 6858000"/>
              <a:gd name="connsiteX298" fmla="*/ 4668889 w 7467600"/>
              <a:gd name="connsiteY298" fmla="*/ 6246399 h 6858000"/>
              <a:gd name="connsiteX299" fmla="*/ 5055427 w 7467600"/>
              <a:gd name="connsiteY299" fmla="*/ 5931476 h 6858000"/>
              <a:gd name="connsiteX300" fmla="*/ 5371814 w 7467600"/>
              <a:gd name="connsiteY300" fmla="*/ 5678975 h 6858000"/>
              <a:gd name="connsiteX301" fmla="*/ 4987918 w 7467600"/>
              <a:gd name="connsiteY301" fmla="*/ 5838701 h 6858000"/>
              <a:gd name="connsiteX302" fmla="*/ 4317146 w 7467600"/>
              <a:gd name="connsiteY302" fmla="*/ 6587716 h 6858000"/>
              <a:gd name="connsiteX303" fmla="*/ 4171627 w 7467600"/>
              <a:gd name="connsiteY303" fmla="*/ 6858000 h 6858000"/>
              <a:gd name="connsiteX304" fmla="*/ 4081585 w 7467600"/>
              <a:gd name="connsiteY304" fmla="*/ 6858000 h 6858000"/>
              <a:gd name="connsiteX305" fmla="*/ 4238603 w 7467600"/>
              <a:gd name="connsiteY305" fmla="*/ 6559341 h 6858000"/>
              <a:gd name="connsiteX306" fmla="*/ 4778333 w 7467600"/>
              <a:gd name="connsiteY306" fmla="*/ 5873626 h 6858000"/>
              <a:gd name="connsiteX307" fmla="*/ 5414185 w 7467600"/>
              <a:gd name="connsiteY307" fmla="*/ 5573882 h 6858000"/>
              <a:gd name="connsiteX308" fmla="*/ 5959648 w 7467600"/>
              <a:gd name="connsiteY308" fmla="*/ 4760797 h 6858000"/>
              <a:gd name="connsiteX309" fmla="*/ 5355019 w 7467600"/>
              <a:gd name="connsiteY309" fmla="*/ 4734672 h 6858000"/>
              <a:gd name="connsiteX310" fmla="*/ 5083565 w 7467600"/>
              <a:gd name="connsiteY310" fmla="*/ 5179121 h 6858000"/>
              <a:gd name="connsiteX311" fmla="*/ 4713577 w 7467600"/>
              <a:gd name="connsiteY311" fmla="*/ 5616803 h 6858000"/>
              <a:gd name="connsiteX312" fmla="*/ 3989559 w 7467600"/>
              <a:gd name="connsiteY312" fmla="*/ 6145945 h 6858000"/>
              <a:gd name="connsiteX313" fmla="*/ 3939824 w 7467600"/>
              <a:gd name="connsiteY313" fmla="*/ 6066900 h 6858000"/>
              <a:gd name="connsiteX314" fmla="*/ 4584537 w 7467600"/>
              <a:gd name="connsiteY314" fmla="*/ 5324826 h 6858000"/>
              <a:gd name="connsiteX315" fmla="*/ 5037105 w 7467600"/>
              <a:gd name="connsiteY315" fmla="*/ 5088765 h 6858000"/>
              <a:gd name="connsiteX316" fmla="*/ 5039930 w 7467600"/>
              <a:gd name="connsiteY316" fmla="*/ 5089585 h 6858000"/>
              <a:gd name="connsiteX317" fmla="*/ 5263764 w 7467600"/>
              <a:gd name="connsiteY317" fmla="*/ 4735525 h 6858000"/>
              <a:gd name="connsiteX318" fmla="*/ 4086300 w 7467600"/>
              <a:gd name="connsiteY318" fmla="*/ 4884599 h 6858000"/>
              <a:gd name="connsiteX319" fmla="*/ 4085485 w 7467600"/>
              <a:gd name="connsiteY319" fmla="*/ 4899070 h 6858000"/>
              <a:gd name="connsiteX320" fmla="*/ 3871915 w 7467600"/>
              <a:gd name="connsiteY320" fmla="*/ 5253645 h 6858000"/>
              <a:gd name="connsiteX321" fmla="*/ 3799374 w 7467600"/>
              <a:gd name="connsiteY321" fmla="*/ 5466127 h 6858000"/>
              <a:gd name="connsiteX322" fmla="*/ 3498850 w 7467600"/>
              <a:gd name="connsiteY322" fmla="*/ 6661888 h 6858000"/>
              <a:gd name="connsiteX323" fmla="*/ 3399216 w 7467600"/>
              <a:gd name="connsiteY323" fmla="*/ 6858000 h 6858000"/>
              <a:gd name="connsiteX324" fmla="*/ 3303688 w 7467600"/>
              <a:gd name="connsiteY324" fmla="*/ 6858000 h 6858000"/>
              <a:gd name="connsiteX325" fmla="*/ 3391774 w 7467600"/>
              <a:gd name="connsiteY325" fmla="*/ 6697181 h 6858000"/>
              <a:gd name="connsiteX326" fmla="*/ 3735540 w 7467600"/>
              <a:gd name="connsiteY326" fmla="*/ 5546923 h 6858000"/>
              <a:gd name="connsiteX327" fmla="*/ 3729438 w 7467600"/>
              <a:gd name="connsiteY327" fmla="*/ 5569058 h 6858000"/>
              <a:gd name="connsiteX328" fmla="*/ 3707782 w 7467600"/>
              <a:gd name="connsiteY328" fmla="*/ 5644908 h 6858000"/>
              <a:gd name="connsiteX329" fmla="*/ 3583827 w 7467600"/>
              <a:gd name="connsiteY329" fmla="*/ 6039215 h 6858000"/>
              <a:gd name="connsiteX330" fmla="*/ 3547861 w 7467600"/>
              <a:gd name="connsiteY330" fmla="*/ 6129609 h 6858000"/>
              <a:gd name="connsiteX331" fmla="*/ 3490905 w 7467600"/>
              <a:gd name="connsiteY331" fmla="*/ 6277660 h 6858000"/>
              <a:gd name="connsiteX332" fmla="*/ 3455859 w 7467600"/>
              <a:gd name="connsiteY332" fmla="*/ 6391301 h 6858000"/>
              <a:gd name="connsiteX333" fmla="*/ 3429112 w 7467600"/>
              <a:gd name="connsiteY333" fmla="*/ 6479469 h 6858000"/>
              <a:gd name="connsiteX334" fmla="*/ 3304862 w 7467600"/>
              <a:gd name="connsiteY334" fmla="*/ 6796476 h 6858000"/>
              <a:gd name="connsiteX335" fmla="*/ 3276071 w 7467600"/>
              <a:gd name="connsiteY335" fmla="*/ 6858000 h 6858000"/>
              <a:gd name="connsiteX336" fmla="*/ 3240805 w 7467600"/>
              <a:gd name="connsiteY336" fmla="*/ 6858000 h 6858000"/>
              <a:gd name="connsiteX337" fmla="*/ 3275917 w 7467600"/>
              <a:gd name="connsiteY337" fmla="*/ 6783192 h 6858000"/>
              <a:gd name="connsiteX338" fmla="*/ 3399358 w 7467600"/>
              <a:gd name="connsiteY338" fmla="*/ 6469011 h 6858000"/>
              <a:gd name="connsiteX339" fmla="*/ 3425650 w 7467600"/>
              <a:gd name="connsiteY339" fmla="*/ 6381333 h 6858000"/>
              <a:gd name="connsiteX340" fmla="*/ 3460661 w 7467600"/>
              <a:gd name="connsiteY340" fmla="*/ 6266763 h 6858000"/>
              <a:gd name="connsiteX341" fmla="*/ 3518021 w 7467600"/>
              <a:gd name="connsiteY341" fmla="*/ 6117298 h 6858000"/>
              <a:gd name="connsiteX342" fmla="*/ 3554035 w 7467600"/>
              <a:gd name="connsiteY342" fmla="*/ 6027832 h 6858000"/>
              <a:gd name="connsiteX343" fmla="*/ 3677174 w 7467600"/>
              <a:gd name="connsiteY343" fmla="*/ 5636351 h 6858000"/>
              <a:gd name="connsiteX344" fmla="*/ 3698819 w 7467600"/>
              <a:gd name="connsiteY344" fmla="*/ 5560503 h 6858000"/>
              <a:gd name="connsiteX345" fmla="*/ 3702094 w 7467600"/>
              <a:gd name="connsiteY345" fmla="*/ 5549194 h 6858000"/>
              <a:gd name="connsiteX346" fmla="*/ 3398355 w 7467600"/>
              <a:gd name="connsiteY346" fmla="*/ 6094603 h 6858000"/>
              <a:gd name="connsiteX347" fmla="*/ 3193941 w 7467600"/>
              <a:gd name="connsiteY347" fmla="*/ 6798775 h 6858000"/>
              <a:gd name="connsiteX348" fmla="*/ 3184140 w 7467600"/>
              <a:gd name="connsiteY348" fmla="*/ 6858000 h 6858000"/>
              <a:gd name="connsiteX349" fmla="*/ 3099978 w 7467600"/>
              <a:gd name="connsiteY349" fmla="*/ 6858000 h 6858000"/>
              <a:gd name="connsiteX350" fmla="*/ 3101556 w 7467600"/>
              <a:gd name="connsiteY350" fmla="*/ 6843337 h 6858000"/>
              <a:gd name="connsiteX351" fmla="*/ 3370162 w 7467600"/>
              <a:gd name="connsiteY351" fmla="*/ 5785550 h 6858000"/>
              <a:gd name="connsiteX352" fmla="*/ 3746477 w 7467600"/>
              <a:gd name="connsiteY352" fmla="*/ 5377889 h 6858000"/>
              <a:gd name="connsiteX353" fmla="*/ 3863399 w 7467600"/>
              <a:gd name="connsiteY353" fmla="*/ 5087257 h 6858000"/>
              <a:gd name="connsiteX354" fmla="*/ 3968712 w 7467600"/>
              <a:gd name="connsiteY354" fmla="*/ 4913989 h 6858000"/>
              <a:gd name="connsiteX355" fmla="*/ 2792390 w 7467600"/>
              <a:gd name="connsiteY355" fmla="*/ 5382974 h 6858000"/>
              <a:gd name="connsiteX356" fmla="*/ 2714982 w 7467600"/>
              <a:gd name="connsiteY356" fmla="*/ 5427051 h 6858000"/>
              <a:gd name="connsiteX357" fmla="*/ 2813361 w 7467600"/>
              <a:gd name="connsiteY357" fmla="*/ 6023912 h 6858000"/>
              <a:gd name="connsiteX358" fmla="*/ 2688430 w 7467600"/>
              <a:gd name="connsiteY358" fmla="*/ 6801564 h 6858000"/>
              <a:gd name="connsiteX359" fmla="*/ 2629626 w 7467600"/>
              <a:gd name="connsiteY359" fmla="*/ 6763394 h 6858000"/>
              <a:gd name="connsiteX360" fmla="*/ 2565328 w 7467600"/>
              <a:gd name="connsiteY360" fmla="*/ 5516399 h 6858000"/>
              <a:gd name="connsiteX361" fmla="*/ 1922999 w 7467600"/>
              <a:gd name="connsiteY361" fmla="*/ 5980343 h 6858000"/>
              <a:gd name="connsiteX362" fmla="*/ 1950261 w 7467600"/>
              <a:gd name="connsiteY362" fmla="*/ 6405858 h 6858000"/>
              <a:gd name="connsiteX363" fmla="*/ 2365554 w 7467600"/>
              <a:gd name="connsiteY363" fmla="*/ 6759107 h 6858000"/>
              <a:gd name="connsiteX364" fmla="*/ 2424142 w 7467600"/>
              <a:gd name="connsiteY364" fmla="*/ 6858000 h 6858000"/>
              <a:gd name="connsiteX365" fmla="*/ 2395994 w 7467600"/>
              <a:gd name="connsiteY365" fmla="*/ 6858000 h 6858000"/>
              <a:gd name="connsiteX366" fmla="*/ 2392863 w 7467600"/>
              <a:gd name="connsiteY366" fmla="*/ 6852964 h 6858000"/>
              <a:gd name="connsiteX367" fmla="*/ 2017589 w 7467600"/>
              <a:gd name="connsiteY367" fmla="*/ 6493982 h 6858000"/>
              <a:gd name="connsiteX368" fmla="*/ 2147336 w 7467600"/>
              <a:gd name="connsiteY368" fmla="*/ 6594052 h 6858000"/>
              <a:gd name="connsiteX369" fmla="*/ 2207047 w 7467600"/>
              <a:gd name="connsiteY369" fmla="*/ 6654540 h 6858000"/>
              <a:gd name="connsiteX370" fmla="*/ 2299106 w 7467600"/>
              <a:gd name="connsiteY370" fmla="*/ 6778931 h 6858000"/>
              <a:gd name="connsiteX371" fmla="*/ 2314430 w 7467600"/>
              <a:gd name="connsiteY371" fmla="*/ 6801144 h 6858000"/>
              <a:gd name="connsiteX372" fmla="*/ 2352406 w 7467600"/>
              <a:gd name="connsiteY372" fmla="*/ 6858000 h 6858000"/>
              <a:gd name="connsiteX373" fmla="*/ 2314492 w 7467600"/>
              <a:gd name="connsiteY373" fmla="*/ 6858000 h 6858000"/>
              <a:gd name="connsiteX374" fmla="*/ 2288095 w 7467600"/>
              <a:gd name="connsiteY374" fmla="*/ 6818030 h 6858000"/>
              <a:gd name="connsiteX375" fmla="*/ 2272768 w 7467600"/>
              <a:gd name="connsiteY375" fmla="*/ 6795822 h 6858000"/>
              <a:gd name="connsiteX376" fmla="*/ 2182715 w 7467600"/>
              <a:gd name="connsiteY376" fmla="*/ 6675071 h 6858000"/>
              <a:gd name="connsiteX377" fmla="*/ 2032061 w 7467600"/>
              <a:gd name="connsiteY377" fmla="*/ 6541380 h 6858000"/>
              <a:gd name="connsiteX378" fmla="*/ 2257220 w 7467600"/>
              <a:gd name="connsiteY378" fmla="*/ 6826257 h 6858000"/>
              <a:gd name="connsiteX379" fmla="*/ 2281324 w 7467600"/>
              <a:gd name="connsiteY379" fmla="*/ 6858000 h 6858000"/>
              <a:gd name="connsiteX380" fmla="*/ 2242860 w 7467600"/>
              <a:gd name="connsiteY380" fmla="*/ 6858000 h 6858000"/>
              <a:gd name="connsiteX381" fmla="*/ 2232818 w 7467600"/>
              <a:gd name="connsiteY381" fmla="*/ 6844926 h 6858000"/>
              <a:gd name="connsiteX382" fmla="*/ 1990172 w 7467600"/>
              <a:gd name="connsiteY382" fmla="*/ 6542121 h 6858000"/>
              <a:gd name="connsiteX383" fmla="*/ 2124090 w 7467600"/>
              <a:gd name="connsiteY383" fmla="*/ 6761017 h 6858000"/>
              <a:gd name="connsiteX384" fmla="*/ 2200380 w 7467600"/>
              <a:gd name="connsiteY384" fmla="*/ 6858000 h 6858000"/>
              <a:gd name="connsiteX385" fmla="*/ 2147507 w 7467600"/>
              <a:gd name="connsiteY385" fmla="*/ 6858000 h 6858000"/>
              <a:gd name="connsiteX386" fmla="*/ 2070668 w 7467600"/>
              <a:gd name="connsiteY386" fmla="*/ 6761520 h 6858000"/>
              <a:gd name="connsiteX387" fmla="*/ 1975142 w 7467600"/>
              <a:gd name="connsiteY387" fmla="*/ 6585570 h 6858000"/>
              <a:gd name="connsiteX388" fmla="*/ 2050035 w 7467600"/>
              <a:gd name="connsiteY388" fmla="*/ 6813345 h 6858000"/>
              <a:gd name="connsiteX389" fmla="*/ 2063025 w 7467600"/>
              <a:gd name="connsiteY389" fmla="*/ 6858000 h 6858000"/>
              <a:gd name="connsiteX390" fmla="*/ 2021675 w 7467600"/>
              <a:gd name="connsiteY390" fmla="*/ 6858000 h 6858000"/>
              <a:gd name="connsiteX391" fmla="*/ 2019308 w 7467600"/>
              <a:gd name="connsiteY391" fmla="*/ 6847118 h 6858000"/>
              <a:gd name="connsiteX392" fmla="*/ 1938835 w 7467600"/>
              <a:gd name="connsiteY392" fmla="*/ 6551160 h 6858000"/>
              <a:gd name="connsiteX393" fmla="*/ 1953230 w 7467600"/>
              <a:gd name="connsiteY393" fmla="*/ 6759699 h 6858000"/>
              <a:gd name="connsiteX394" fmla="*/ 1956763 w 7467600"/>
              <a:gd name="connsiteY394" fmla="*/ 6778191 h 6858000"/>
              <a:gd name="connsiteX395" fmla="*/ 1967925 w 7467600"/>
              <a:gd name="connsiteY395" fmla="*/ 6858000 h 6858000"/>
              <a:gd name="connsiteX396" fmla="*/ 1936622 w 7467600"/>
              <a:gd name="connsiteY396" fmla="*/ 6858000 h 6858000"/>
              <a:gd name="connsiteX397" fmla="*/ 1926261 w 7467600"/>
              <a:gd name="connsiteY397" fmla="*/ 6784064 h 6858000"/>
              <a:gd name="connsiteX398" fmla="*/ 1922724 w 7467600"/>
              <a:gd name="connsiteY398" fmla="*/ 6765577 h 6858000"/>
              <a:gd name="connsiteX399" fmla="*/ 1904650 w 7467600"/>
              <a:gd name="connsiteY399" fmla="*/ 6639616 h 6858000"/>
              <a:gd name="connsiteX400" fmla="*/ 1885273 w 7467600"/>
              <a:gd name="connsiteY400" fmla="*/ 6858000 h 6858000"/>
              <a:gd name="connsiteX401" fmla="*/ 1854363 w 7467600"/>
              <a:gd name="connsiteY401" fmla="*/ 6858000 h 6858000"/>
              <a:gd name="connsiteX402" fmla="*/ 1880391 w 7467600"/>
              <a:gd name="connsiteY402" fmla="*/ 6603796 h 6858000"/>
              <a:gd name="connsiteX403" fmla="*/ 1818273 w 7467600"/>
              <a:gd name="connsiteY403" fmla="*/ 6715729 h 6858000"/>
              <a:gd name="connsiteX404" fmla="*/ 1794691 w 7467600"/>
              <a:gd name="connsiteY404" fmla="*/ 6843239 h 6858000"/>
              <a:gd name="connsiteX405" fmla="*/ 1794914 w 7467600"/>
              <a:gd name="connsiteY405" fmla="*/ 6858000 h 6858000"/>
              <a:gd name="connsiteX406" fmla="*/ 1746128 w 7467600"/>
              <a:gd name="connsiteY406" fmla="*/ 6858000 h 6858000"/>
              <a:gd name="connsiteX407" fmla="*/ 1753934 w 7467600"/>
              <a:gd name="connsiteY407" fmla="*/ 6724796 h 6858000"/>
              <a:gd name="connsiteX408" fmla="*/ 1792053 w 7467600"/>
              <a:gd name="connsiteY408" fmla="*/ 6572396 h 6858000"/>
              <a:gd name="connsiteX409" fmla="*/ 1862248 w 7467600"/>
              <a:gd name="connsiteY409" fmla="*/ 6266397 h 6858000"/>
              <a:gd name="connsiteX410" fmla="*/ 1862250 w 7467600"/>
              <a:gd name="connsiteY410" fmla="*/ 6033531 h 6858000"/>
              <a:gd name="connsiteX411" fmla="*/ 1211999 w 7467600"/>
              <a:gd name="connsiteY411" fmla="*/ 6683610 h 6858000"/>
              <a:gd name="connsiteX412" fmla="*/ 1213266 w 7467600"/>
              <a:gd name="connsiteY412" fmla="*/ 6691947 h 6858000"/>
              <a:gd name="connsiteX413" fmla="*/ 1203370 w 7467600"/>
              <a:gd name="connsiteY413" fmla="*/ 6850676 h 6858000"/>
              <a:gd name="connsiteX414" fmla="*/ 1203671 w 7467600"/>
              <a:gd name="connsiteY414" fmla="*/ 6858000 h 6858000"/>
              <a:gd name="connsiteX415" fmla="*/ 1143180 w 7467600"/>
              <a:gd name="connsiteY415" fmla="*/ 6858000 h 6858000"/>
              <a:gd name="connsiteX416" fmla="*/ 1142176 w 7467600"/>
              <a:gd name="connsiteY416" fmla="*/ 6766045 h 6858000"/>
              <a:gd name="connsiteX417" fmla="*/ 1067484 w 7467600"/>
              <a:gd name="connsiteY417" fmla="*/ 6858000 h 6858000"/>
              <a:gd name="connsiteX418" fmla="*/ 953928 w 7467600"/>
              <a:gd name="connsiteY418" fmla="*/ 6858000 h 6858000"/>
              <a:gd name="connsiteX419" fmla="*/ 959715 w 7467600"/>
              <a:gd name="connsiteY419" fmla="*/ 6850185 h 6858000"/>
              <a:gd name="connsiteX420" fmla="*/ 1483788 w 7467600"/>
              <a:gd name="connsiteY420" fmla="*/ 6259174 h 6858000"/>
              <a:gd name="connsiteX421" fmla="*/ 1100671 w 7467600"/>
              <a:gd name="connsiteY421" fmla="*/ 6252137 h 6858000"/>
              <a:gd name="connsiteX422" fmla="*/ 1090144 w 7467600"/>
              <a:gd name="connsiteY422" fmla="*/ 6256748 h 6858000"/>
              <a:gd name="connsiteX423" fmla="*/ 1095872 w 7467600"/>
              <a:gd name="connsiteY423" fmla="*/ 6271892 h 6858000"/>
              <a:gd name="connsiteX424" fmla="*/ 262785 w 7467600"/>
              <a:gd name="connsiteY424" fmla="*/ 6845450 h 6858000"/>
              <a:gd name="connsiteX425" fmla="*/ 209968 w 7467600"/>
              <a:gd name="connsiteY425" fmla="*/ 6770713 h 6858000"/>
              <a:gd name="connsiteX426" fmla="*/ 873460 w 7467600"/>
              <a:gd name="connsiteY426" fmla="*/ 6253768 h 6858000"/>
              <a:gd name="connsiteX427" fmla="*/ 192686 w 7467600"/>
              <a:gd name="connsiteY427" fmla="*/ 5849257 h 6858000"/>
              <a:gd name="connsiteX428" fmla="*/ 4696 w 7467600"/>
              <a:gd name="connsiteY428" fmla="*/ 5697668 h 6858000"/>
              <a:gd name="connsiteX429" fmla="*/ 0 w 7467600"/>
              <a:gd name="connsiteY429" fmla="*/ 5689984 h 6858000"/>
              <a:gd name="connsiteX430" fmla="*/ 0 w 7467600"/>
              <a:gd name="connsiteY430" fmla="*/ 5513472 h 6858000"/>
              <a:gd name="connsiteX431" fmla="*/ 174101 w 7467600"/>
              <a:gd name="connsiteY431" fmla="*/ 5620277 h 6858000"/>
              <a:gd name="connsiteX432" fmla="*/ 891800 w 7467600"/>
              <a:gd name="connsiteY432" fmla="*/ 6036935 h 6858000"/>
              <a:gd name="connsiteX433" fmla="*/ 1072219 w 7467600"/>
              <a:gd name="connsiteY433" fmla="*/ 6169443 h 6858000"/>
              <a:gd name="connsiteX434" fmla="*/ 1074117 w 7467600"/>
              <a:gd name="connsiteY434" fmla="*/ 6170301 h 6858000"/>
              <a:gd name="connsiteX435" fmla="*/ 1083114 w 7467600"/>
              <a:gd name="connsiteY435" fmla="*/ 6174131 h 6858000"/>
              <a:gd name="connsiteX436" fmla="*/ 1543010 w 7467600"/>
              <a:gd name="connsiteY436" fmla="*/ 6191140 h 6858000"/>
              <a:gd name="connsiteX437" fmla="*/ 1551080 w 7467600"/>
              <a:gd name="connsiteY437" fmla="*/ 6195006 h 6858000"/>
              <a:gd name="connsiteX438" fmla="*/ 2345443 w 7467600"/>
              <a:gd name="connsiteY438" fmla="*/ 5549882 h 6858000"/>
              <a:gd name="connsiteX439" fmla="*/ 1721499 w 7467600"/>
              <a:gd name="connsiteY439" fmla="*/ 5599969 h 6858000"/>
              <a:gd name="connsiteX440" fmla="*/ 767716 w 7467600"/>
              <a:gd name="connsiteY440" fmla="*/ 5472768 h 6858000"/>
              <a:gd name="connsiteX441" fmla="*/ 722147 w 7467600"/>
              <a:gd name="connsiteY441" fmla="*/ 5393091 h 6858000"/>
              <a:gd name="connsiteX442" fmla="*/ 1485552 w 7467600"/>
              <a:gd name="connsiteY442" fmla="*/ 5313202 h 6858000"/>
              <a:gd name="connsiteX443" fmla="*/ 2143004 w 7467600"/>
              <a:gd name="connsiteY443" fmla="*/ 5402420 h 6858000"/>
              <a:gd name="connsiteX444" fmla="*/ 1933391 w 7467600"/>
              <a:gd name="connsiteY444" fmla="*/ 5156971 h 6858000"/>
              <a:gd name="connsiteX445" fmla="*/ 1827118 w 7467600"/>
              <a:gd name="connsiteY445" fmla="*/ 4968410 h 6858000"/>
              <a:gd name="connsiteX446" fmla="*/ 1837349 w 7467600"/>
              <a:gd name="connsiteY446" fmla="*/ 4956357 h 6858000"/>
              <a:gd name="connsiteX447" fmla="*/ 2162835 w 7467600"/>
              <a:gd name="connsiteY447" fmla="*/ 5187853 h 6858000"/>
              <a:gd name="connsiteX448" fmla="*/ 2257167 w 7467600"/>
              <a:gd name="connsiteY448" fmla="*/ 5462123 h 6858000"/>
              <a:gd name="connsiteX449" fmla="*/ 2261598 w 7467600"/>
              <a:gd name="connsiteY449" fmla="*/ 5467998 h 6858000"/>
              <a:gd name="connsiteX450" fmla="*/ 2437177 w 7467600"/>
              <a:gd name="connsiteY450" fmla="*/ 5479608 h 6858000"/>
              <a:gd name="connsiteX451" fmla="*/ 2445247 w 7467600"/>
              <a:gd name="connsiteY451" fmla="*/ 5483476 h 6858000"/>
              <a:gd name="connsiteX452" fmla="*/ 2743626 w 7467600"/>
              <a:gd name="connsiteY452" fmla="*/ 5304819 h 6858000"/>
              <a:gd name="connsiteX453" fmla="*/ 3048102 w 7467600"/>
              <a:gd name="connsiteY453" fmla="*/ 5150595 h 6858000"/>
              <a:gd name="connsiteX454" fmla="*/ 1799414 w 7467600"/>
              <a:gd name="connsiteY454" fmla="*/ 4694732 h 6858000"/>
              <a:gd name="connsiteX455" fmla="*/ 1771735 w 7467600"/>
              <a:gd name="connsiteY455" fmla="*/ 4619929 h 6858000"/>
              <a:gd name="connsiteX456" fmla="*/ 3104273 w 7467600"/>
              <a:gd name="connsiteY456" fmla="*/ 5076159 h 6858000"/>
              <a:gd name="connsiteX457" fmla="*/ 3113245 w 7467600"/>
              <a:gd name="connsiteY457" fmla="*/ 5090705 h 6858000"/>
              <a:gd name="connsiteX458" fmla="*/ 3126294 w 7467600"/>
              <a:gd name="connsiteY458" fmla="*/ 5114400 h 6858000"/>
              <a:gd name="connsiteX459" fmla="*/ 3937433 w 7467600"/>
              <a:gd name="connsiteY459" fmla="*/ 4830473 h 6858000"/>
              <a:gd name="connsiteX460" fmla="*/ 3590475 w 7467600"/>
              <a:gd name="connsiteY460" fmla="*/ 4597974 h 6858000"/>
              <a:gd name="connsiteX461" fmla="*/ 3100264 w 7467600"/>
              <a:gd name="connsiteY461" fmla="*/ 4579845 h 6858000"/>
              <a:gd name="connsiteX462" fmla="*/ 2183576 w 7467600"/>
              <a:gd name="connsiteY462" fmla="*/ 4227150 h 6858000"/>
              <a:gd name="connsiteX463" fmla="*/ 2151029 w 7467600"/>
              <a:gd name="connsiteY463" fmla="*/ 4146947 h 6858000"/>
              <a:gd name="connsiteX464" fmla="*/ 3563434 w 7467600"/>
              <a:gd name="connsiteY464" fmla="*/ 4469115 h 6858000"/>
              <a:gd name="connsiteX465" fmla="*/ 3177952 w 7467600"/>
              <a:gd name="connsiteY465" fmla="*/ 3657386 h 6858000"/>
              <a:gd name="connsiteX466" fmla="*/ 3189263 w 7467600"/>
              <a:gd name="connsiteY466" fmla="*/ 3625726 h 6858000"/>
              <a:gd name="connsiteX467" fmla="*/ 3560912 w 7467600"/>
              <a:gd name="connsiteY467" fmla="*/ 4079863 h 6858000"/>
              <a:gd name="connsiteX468" fmla="*/ 3626636 w 7467600"/>
              <a:gd name="connsiteY468" fmla="*/ 4512230 h 6858000"/>
              <a:gd name="connsiteX469" fmla="*/ 3653088 w 7467600"/>
              <a:gd name="connsiteY469" fmla="*/ 4521417 h 6858000"/>
              <a:gd name="connsiteX470" fmla="*/ 3988128 w 7467600"/>
              <a:gd name="connsiteY470" fmla="*/ 4817267 h 6858000"/>
              <a:gd name="connsiteX471" fmla="*/ 4830582 w 7467600"/>
              <a:gd name="connsiteY471" fmla="*/ 4676000 h 6858000"/>
              <a:gd name="connsiteX472" fmla="*/ 4830100 w 7467600"/>
              <a:gd name="connsiteY472" fmla="*/ 4675554 h 6858000"/>
              <a:gd name="connsiteX473" fmla="*/ 4036318 w 7467600"/>
              <a:gd name="connsiteY473" fmla="*/ 4147013 h 6858000"/>
              <a:gd name="connsiteX474" fmla="*/ 3432098 w 7467600"/>
              <a:gd name="connsiteY474" fmla="*/ 3537312 h 6858000"/>
              <a:gd name="connsiteX475" fmla="*/ 3446761 w 7467600"/>
              <a:gd name="connsiteY475" fmla="*/ 3461278 h 6858000"/>
              <a:gd name="connsiteX476" fmla="*/ 4419733 w 7467600"/>
              <a:gd name="connsiteY476" fmla="*/ 3963555 h 6858000"/>
              <a:gd name="connsiteX477" fmla="*/ 4781371 w 7467600"/>
              <a:gd name="connsiteY477" fmla="*/ 4458604 h 6858000"/>
              <a:gd name="connsiteX478" fmla="*/ 4780440 w 7467600"/>
              <a:gd name="connsiteY478" fmla="*/ 4470290 h 6858000"/>
              <a:gd name="connsiteX479" fmla="*/ 4898954 w 7467600"/>
              <a:gd name="connsiteY479" fmla="*/ 4662092 h 6858000"/>
              <a:gd name="connsiteX480" fmla="*/ 4900699 w 7467600"/>
              <a:gd name="connsiteY480" fmla="*/ 4670867 h 6858000"/>
              <a:gd name="connsiteX481" fmla="*/ 5714511 w 7467600"/>
              <a:gd name="connsiteY481" fmla="*/ 4663483 h 6858000"/>
              <a:gd name="connsiteX482" fmla="*/ 5464793 w 7467600"/>
              <a:gd name="connsiteY482" fmla="*/ 4393556 h 6858000"/>
              <a:gd name="connsiteX483" fmla="*/ 5461897 w 7467600"/>
              <a:gd name="connsiteY483" fmla="*/ 4390879 h 6858000"/>
              <a:gd name="connsiteX484" fmla="*/ 4294126 w 7467600"/>
              <a:gd name="connsiteY484" fmla="*/ 3303048 h 6858000"/>
              <a:gd name="connsiteX485" fmla="*/ 4305321 w 7467600"/>
              <a:gd name="connsiteY485" fmla="*/ 3256953 h 6858000"/>
              <a:gd name="connsiteX486" fmla="*/ 4949299 w 7467600"/>
              <a:gd name="connsiteY486" fmla="*/ 3766336 h 6858000"/>
              <a:gd name="connsiteX487" fmla="*/ 5291452 w 7467600"/>
              <a:gd name="connsiteY487" fmla="*/ 4076801 h 6858000"/>
              <a:gd name="connsiteX488" fmla="*/ 5434998 w 7467600"/>
              <a:gd name="connsiteY488" fmla="*/ 4254100 h 6858000"/>
              <a:gd name="connsiteX489" fmla="*/ 5351015 w 7467600"/>
              <a:gd name="connsiteY489" fmla="*/ 3760989 h 6858000"/>
              <a:gd name="connsiteX490" fmla="*/ 5413780 w 7467600"/>
              <a:gd name="connsiteY490" fmla="*/ 2966265 h 6858000"/>
              <a:gd name="connsiteX491" fmla="*/ 5425627 w 7467600"/>
              <a:gd name="connsiteY491" fmla="*/ 2954192 h 6858000"/>
              <a:gd name="connsiteX492" fmla="*/ 6604735 w 7467600"/>
              <a:gd name="connsiteY492" fmla="*/ 2041381 h 6858000"/>
              <a:gd name="connsiteX493" fmla="*/ 7204487 w 7467600"/>
              <a:gd name="connsiteY493" fmla="*/ 2742112 h 6858000"/>
              <a:gd name="connsiteX494" fmla="*/ 7131592 w 7467600"/>
              <a:gd name="connsiteY494" fmla="*/ 2672096 h 6858000"/>
              <a:gd name="connsiteX495" fmla="*/ 6996344 w 7467600"/>
              <a:gd name="connsiteY495" fmla="*/ 2518310 h 6858000"/>
              <a:gd name="connsiteX496" fmla="*/ 6735495 w 7467600"/>
              <a:gd name="connsiteY496" fmla="*/ 2196890 h 6858000"/>
              <a:gd name="connsiteX497" fmla="*/ 6721901 w 7467600"/>
              <a:gd name="connsiteY497" fmla="*/ 2179274 h 6858000"/>
              <a:gd name="connsiteX498" fmla="*/ 6604735 w 7467600"/>
              <a:gd name="connsiteY498" fmla="*/ 2041381 h 6858000"/>
              <a:gd name="connsiteX499" fmla="*/ 6591670 w 7467600"/>
              <a:gd name="connsiteY499" fmla="*/ 1988277 h 6858000"/>
              <a:gd name="connsiteX500" fmla="*/ 6747349 w 7467600"/>
              <a:gd name="connsiteY500" fmla="*/ 2160069 h 6858000"/>
              <a:gd name="connsiteX501" fmla="*/ 6760943 w 7467600"/>
              <a:gd name="connsiteY501" fmla="*/ 2177686 h 6858000"/>
              <a:gd name="connsiteX502" fmla="*/ 7021065 w 7467600"/>
              <a:gd name="connsiteY502" fmla="*/ 2498102 h 6858000"/>
              <a:gd name="connsiteX503" fmla="*/ 7155223 w 7467600"/>
              <a:gd name="connsiteY503" fmla="*/ 2650386 h 6858000"/>
              <a:gd name="connsiteX504" fmla="*/ 7203167 w 7467600"/>
              <a:gd name="connsiteY504" fmla="*/ 2697288 h 6858000"/>
              <a:gd name="connsiteX505" fmla="*/ 6937703 w 7467600"/>
              <a:gd name="connsiteY505" fmla="*/ 2321981 h 6858000"/>
              <a:gd name="connsiteX506" fmla="*/ 6591670 w 7467600"/>
              <a:gd name="connsiteY506" fmla="*/ 1988277 h 6858000"/>
              <a:gd name="connsiteX507" fmla="*/ 5798671 w 7467600"/>
              <a:gd name="connsiteY507" fmla="*/ 1981601 h 6858000"/>
              <a:gd name="connsiteX508" fmla="*/ 5754709 w 7467600"/>
              <a:gd name="connsiteY508" fmla="*/ 2071454 h 6858000"/>
              <a:gd name="connsiteX509" fmla="*/ 5763044 w 7467600"/>
              <a:gd name="connsiteY509" fmla="*/ 2842206 h 6858000"/>
              <a:gd name="connsiteX510" fmla="*/ 5764974 w 7467600"/>
              <a:gd name="connsiteY510" fmla="*/ 2799609 h 6858000"/>
              <a:gd name="connsiteX511" fmla="*/ 5767665 w 7467600"/>
              <a:gd name="connsiteY511" fmla="*/ 2666409 h 6858000"/>
              <a:gd name="connsiteX512" fmla="*/ 5763055 w 7467600"/>
              <a:gd name="connsiteY512" fmla="*/ 2579705 h 6858000"/>
              <a:gd name="connsiteX513" fmla="*/ 5758079 w 7467600"/>
              <a:gd name="connsiteY513" fmla="*/ 2492508 h 6858000"/>
              <a:gd name="connsiteX514" fmla="*/ 5779325 w 7467600"/>
              <a:gd name="connsiteY514" fmla="*/ 2197069 h 6858000"/>
              <a:gd name="connsiteX515" fmla="*/ 5798671 w 7467600"/>
              <a:gd name="connsiteY515" fmla="*/ 1981601 h 6858000"/>
              <a:gd name="connsiteX516" fmla="*/ 5829202 w 7467600"/>
              <a:gd name="connsiteY516" fmla="*/ 1971679 h 6858000"/>
              <a:gd name="connsiteX517" fmla="*/ 5809558 w 7467600"/>
              <a:gd name="connsiteY517" fmla="*/ 2198043 h 6858000"/>
              <a:gd name="connsiteX518" fmla="*/ 5788653 w 7467600"/>
              <a:gd name="connsiteY518" fmla="*/ 2489430 h 6858000"/>
              <a:gd name="connsiteX519" fmla="*/ 5793439 w 7467600"/>
              <a:gd name="connsiteY519" fmla="*/ 2575235 h 6858000"/>
              <a:gd name="connsiteX520" fmla="*/ 5796837 w 7467600"/>
              <a:gd name="connsiteY520" fmla="*/ 2637633 h 6858000"/>
              <a:gd name="connsiteX521" fmla="*/ 5818614 w 7467600"/>
              <a:gd name="connsiteY521" fmla="*/ 2473055 h 6858000"/>
              <a:gd name="connsiteX522" fmla="*/ 5829202 w 7467600"/>
              <a:gd name="connsiteY522" fmla="*/ 1971679 h 6858000"/>
              <a:gd name="connsiteX523" fmla="*/ 5911389 w 7467600"/>
              <a:gd name="connsiteY523" fmla="*/ 1898371 h 6858000"/>
              <a:gd name="connsiteX524" fmla="*/ 6237627 w 7467600"/>
              <a:gd name="connsiteY524" fmla="*/ 2231921 h 6858000"/>
              <a:gd name="connsiteX525" fmla="*/ 5911389 w 7467600"/>
              <a:gd name="connsiteY525" fmla="*/ 1898371 h 6858000"/>
              <a:gd name="connsiteX526" fmla="*/ 6944437 w 7467600"/>
              <a:gd name="connsiteY526" fmla="*/ 1575402 h 6858000"/>
              <a:gd name="connsiteX527" fmla="*/ 6304730 w 7467600"/>
              <a:gd name="connsiteY527" fmla="*/ 1766654 h 6858000"/>
              <a:gd name="connsiteX528" fmla="*/ 6944437 w 7467600"/>
              <a:gd name="connsiteY528" fmla="*/ 1575402 h 6858000"/>
              <a:gd name="connsiteX529" fmla="*/ 7019523 w 7467600"/>
              <a:gd name="connsiteY529" fmla="*/ 1519450 h 6858000"/>
              <a:gd name="connsiteX530" fmla="*/ 6298091 w 7467600"/>
              <a:gd name="connsiteY530" fmla="*/ 1737122 h 6858000"/>
              <a:gd name="connsiteX531" fmla="*/ 7019523 w 7467600"/>
              <a:gd name="connsiteY531" fmla="*/ 1519450 h 6858000"/>
              <a:gd name="connsiteX532" fmla="*/ 2399523 w 7467600"/>
              <a:gd name="connsiteY532" fmla="*/ 1428234 h 6858000"/>
              <a:gd name="connsiteX533" fmla="*/ 2224982 w 7467600"/>
              <a:gd name="connsiteY533" fmla="*/ 1826201 h 6858000"/>
              <a:gd name="connsiteX534" fmla="*/ 2096099 w 7467600"/>
              <a:gd name="connsiteY534" fmla="*/ 2345900 h 6858000"/>
              <a:gd name="connsiteX535" fmla="*/ 2283317 w 7467600"/>
              <a:gd name="connsiteY535" fmla="*/ 1796925 h 6858000"/>
              <a:gd name="connsiteX536" fmla="*/ 2399523 w 7467600"/>
              <a:gd name="connsiteY536" fmla="*/ 1428234 h 6858000"/>
              <a:gd name="connsiteX537" fmla="*/ 2448558 w 7467600"/>
              <a:gd name="connsiteY537" fmla="*/ 1373435 h 6858000"/>
              <a:gd name="connsiteX538" fmla="*/ 2312521 w 7467600"/>
              <a:gd name="connsiteY538" fmla="*/ 1806140 h 6858000"/>
              <a:gd name="connsiteX539" fmla="*/ 2127533 w 7467600"/>
              <a:gd name="connsiteY539" fmla="*/ 2348380 h 6858000"/>
              <a:gd name="connsiteX540" fmla="*/ 2358080 w 7467600"/>
              <a:gd name="connsiteY540" fmla="*/ 1866134 h 6858000"/>
              <a:gd name="connsiteX541" fmla="*/ 2407436 w 7467600"/>
              <a:gd name="connsiteY541" fmla="*/ 1651070 h 6858000"/>
              <a:gd name="connsiteX542" fmla="*/ 2448558 w 7467600"/>
              <a:gd name="connsiteY542" fmla="*/ 1373435 h 6858000"/>
              <a:gd name="connsiteX543" fmla="*/ 278707 w 7467600"/>
              <a:gd name="connsiteY543" fmla="*/ 1352270 h 6858000"/>
              <a:gd name="connsiteX544" fmla="*/ 321570 w 7467600"/>
              <a:gd name="connsiteY544" fmla="*/ 1861610 h 6858000"/>
              <a:gd name="connsiteX545" fmla="*/ 294281 w 7467600"/>
              <a:gd name="connsiteY545" fmla="*/ 1440658 h 6858000"/>
              <a:gd name="connsiteX546" fmla="*/ 278707 w 7467600"/>
              <a:gd name="connsiteY546" fmla="*/ 1352270 h 6858000"/>
              <a:gd name="connsiteX547" fmla="*/ 1423821 w 7467600"/>
              <a:gd name="connsiteY547" fmla="*/ 1351958 h 6858000"/>
              <a:gd name="connsiteX548" fmla="*/ 1638521 w 7467600"/>
              <a:gd name="connsiteY548" fmla="*/ 1908470 h 6858000"/>
              <a:gd name="connsiteX549" fmla="*/ 1754199 w 7467600"/>
              <a:gd name="connsiteY549" fmla="*/ 2149284 h 6858000"/>
              <a:gd name="connsiteX550" fmla="*/ 1908359 w 7467600"/>
              <a:gd name="connsiteY550" fmla="*/ 2364988 h 6858000"/>
              <a:gd name="connsiteX551" fmla="*/ 1647661 w 7467600"/>
              <a:gd name="connsiteY551" fmla="*/ 1825945 h 6858000"/>
              <a:gd name="connsiteX552" fmla="*/ 1423821 w 7467600"/>
              <a:gd name="connsiteY552" fmla="*/ 1351958 h 6858000"/>
              <a:gd name="connsiteX553" fmla="*/ 1431890 w 7467600"/>
              <a:gd name="connsiteY553" fmla="*/ 1306475 h 6858000"/>
              <a:gd name="connsiteX554" fmla="*/ 1507597 w 7467600"/>
              <a:gd name="connsiteY554" fmla="*/ 1446132 h 6858000"/>
              <a:gd name="connsiteX555" fmla="*/ 1674586 w 7467600"/>
              <a:gd name="connsiteY555" fmla="*/ 1813832 h 6858000"/>
              <a:gd name="connsiteX556" fmla="*/ 1815950 w 7467600"/>
              <a:gd name="connsiteY556" fmla="*/ 2128564 h 6858000"/>
              <a:gd name="connsiteX557" fmla="*/ 1984242 w 7467600"/>
              <a:gd name="connsiteY557" fmla="*/ 2430829 h 6858000"/>
              <a:gd name="connsiteX558" fmla="*/ 2014023 w 7467600"/>
              <a:gd name="connsiteY558" fmla="*/ 2450995 h 6858000"/>
              <a:gd name="connsiteX559" fmla="*/ 1747337 w 7467600"/>
              <a:gd name="connsiteY559" fmla="*/ 1855264 h 6858000"/>
              <a:gd name="connsiteX560" fmla="*/ 1533749 w 7467600"/>
              <a:gd name="connsiteY560" fmla="*/ 1478656 h 6858000"/>
              <a:gd name="connsiteX561" fmla="*/ 1431890 w 7467600"/>
              <a:gd name="connsiteY561" fmla="*/ 1306475 h 6858000"/>
              <a:gd name="connsiteX562" fmla="*/ 5052692 w 7467600"/>
              <a:gd name="connsiteY562" fmla="*/ 1292994 h 6858000"/>
              <a:gd name="connsiteX563" fmla="*/ 5200661 w 7467600"/>
              <a:gd name="connsiteY563" fmla="*/ 1635186 h 6858000"/>
              <a:gd name="connsiteX564" fmla="*/ 5297138 w 7467600"/>
              <a:gd name="connsiteY564" fmla="*/ 1906351 h 6858000"/>
              <a:gd name="connsiteX565" fmla="*/ 5052692 w 7467600"/>
              <a:gd name="connsiteY565" fmla="*/ 1292994 h 6858000"/>
              <a:gd name="connsiteX566" fmla="*/ 5009948 w 7467600"/>
              <a:gd name="connsiteY566" fmla="*/ 1273619 h 6858000"/>
              <a:gd name="connsiteX567" fmla="*/ 5121777 w 7467600"/>
              <a:gd name="connsiteY567" fmla="*/ 1654213 h 6858000"/>
              <a:gd name="connsiteX568" fmla="*/ 5293545 w 7467600"/>
              <a:gd name="connsiteY568" fmla="*/ 2072247 h 6858000"/>
              <a:gd name="connsiteX569" fmla="*/ 5294042 w 7467600"/>
              <a:gd name="connsiteY569" fmla="*/ 2065019 h 6858000"/>
              <a:gd name="connsiteX570" fmla="*/ 5171936 w 7467600"/>
              <a:gd name="connsiteY570" fmla="*/ 1647613 h 6858000"/>
              <a:gd name="connsiteX571" fmla="*/ 5009948 w 7467600"/>
              <a:gd name="connsiteY571" fmla="*/ 1273619 h 6858000"/>
              <a:gd name="connsiteX572" fmla="*/ 655236 w 7467600"/>
              <a:gd name="connsiteY572" fmla="*/ 1268632 h 6858000"/>
              <a:gd name="connsiteX573" fmla="*/ 839521 w 7467600"/>
              <a:gd name="connsiteY573" fmla="*/ 1685315 h 6858000"/>
              <a:gd name="connsiteX574" fmla="*/ 1109416 w 7467600"/>
              <a:gd name="connsiteY574" fmla="*/ 2061663 h 6858000"/>
              <a:gd name="connsiteX575" fmla="*/ 1298300 w 7467600"/>
              <a:gd name="connsiteY575" fmla="*/ 2247742 h 6858000"/>
              <a:gd name="connsiteX576" fmla="*/ 1125871 w 7467600"/>
              <a:gd name="connsiteY576" fmla="*/ 1989513 h 6858000"/>
              <a:gd name="connsiteX577" fmla="*/ 981574 w 7467600"/>
              <a:gd name="connsiteY577" fmla="*/ 1783157 h 6858000"/>
              <a:gd name="connsiteX578" fmla="*/ 922198 w 7467600"/>
              <a:gd name="connsiteY578" fmla="*/ 1677437 h 6858000"/>
              <a:gd name="connsiteX579" fmla="*/ 869293 w 7467600"/>
              <a:gd name="connsiteY579" fmla="*/ 1583214 h 6858000"/>
              <a:gd name="connsiteX580" fmla="*/ 751431 w 7467600"/>
              <a:gd name="connsiteY580" fmla="*/ 1405731 h 6858000"/>
              <a:gd name="connsiteX581" fmla="*/ 655236 w 7467600"/>
              <a:gd name="connsiteY581" fmla="*/ 1268632 h 6858000"/>
              <a:gd name="connsiteX582" fmla="*/ 6516292 w 7467600"/>
              <a:gd name="connsiteY582" fmla="*/ 1263064 h 6858000"/>
              <a:gd name="connsiteX583" fmla="*/ 5736320 w 7467600"/>
              <a:gd name="connsiteY583" fmla="*/ 1501803 h 6858000"/>
              <a:gd name="connsiteX584" fmla="*/ 6516292 w 7467600"/>
              <a:gd name="connsiteY584" fmla="*/ 1263064 h 6858000"/>
              <a:gd name="connsiteX585" fmla="*/ 291466 w 7467600"/>
              <a:gd name="connsiteY585" fmla="*/ 1250369 h 6858000"/>
              <a:gd name="connsiteX586" fmla="*/ 323180 w 7467600"/>
              <a:gd name="connsiteY586" fmla="*/ 1435283 h 6858000"/>
              <a:gd name="connsiteX587" fmla="*/ 349381 w 7467600"/>
              <a:gd name="connsiteY587" fmla="*/ 1875041 h 6858000"/>
              <a:gd name="connsiteX588" fmla="*/ 374363 w 7467600"/>
              <a:gd name="connsiteY588" fmla="*/ 1506494 h 6858000"/>
              <a:gd name="connsiteX589" fmla="*/ 302168 w 7467600"/>
              <a:gd name="connsiteY589" fmla="*/ 1274495 h 6858000"/>
              <a:gd name="connsiteX590" fmla="*/ 291466 w 7467600"/>
              <a:gd name="connsiteY590" fmla="*/ 1250369 h 6858000"/>
              <a:gd name="connsiteX591" fmla="*/ 678222 w 7467600"/>
              <a:gd name="connsiteY591" fmla="*/ 1248670 h 6858000"/>
              <a:gd name="connsiteX592" fmla="*/ 775536 w 7467600"/>
              <a:gd name="connsiteY592" fmla="*/ 1388015 h 6858000"/>
              <a:gd name="connsiteX593" fmla="*/ 894529 w 7467600"/>
              <a:gd name="connsiteY593" fmla="*/ 1567739 h 6858000"/>
              <a:gd name="connsiteX594" fmla="*/ 948000 w 7467600"/>
              <a:gd name="connsiteY594" fmla="*/ 1663088 h 6858000"/>
              <a:gd name="connsiteX595" fmla="*/ 1006812 w 7467600"/>
              <a:gd name="connsiteY595" fmla="*/ 1767683 h 6858000"/>
              <a:gd name="connsiteX596" fmla="*/ 1149133 w 7467600"/>
              <a:gd name="connsiteY596" fmla="*/ 1971513 h 6858000"/>
              <a:gd name="connsiteX597" fmla="*/ 1333952 w 7467600"/>
              <a:gd name="connsiteY597" fmla="*/ 2251620 h 6858000"/>
              <a:gd name="connsiteX598" fmla="*/ 1337329 w 7467600"/>
              <a:gd name="connsiteY598" fmla="*/ 2258350 h 6858000"/>
              <a:gd name="connsiteX599" fmla="*/ 1014726 w 7467600"/>
              <a:gd name="connsiteY599" fmla="*/ 1615556 h 6858000"/>
              <a:gd name="connsiteX600" fmla="*/ 678222 w 7467600"/>
              <a:gd name="connsiteY600" fmla="*/ 1248670 h 6858000"/>
              <a:gd name="connsiteX601" fmla="*/ 6691602 w 7467600"/>
              <a:gd name="connsiteY601" fmla="*/ 1140573 h 6858000"/>
              <a:gd name="connsiteX602" fmla="*/ 6571100 w 7467600"/>
              <a:gd name="connsiteY602" fmla="*/ 1183662 h 6858000"/>
              <a:gd name="connsiteX603" fmla="*/ 6241687 w 7467600"/>
              <a:gd name="connsiteY603" fmla="*/ 1257600 h 6858000"/>
              <a:gd name="connsiteX604" fmla="*/ 5693009 w 7467600"/>
              <a:gd name="connsiteY604" fmla="*/ 1478256 h 6858000"/>
              <a:gd name="connsiteX605" fmla="*/ 6548420 w 7467600"/>
              <a:gd name="connsiteY605" fmla="*/ 1214599 h 6858000"/>
              <a:gd name="connsiteX606" fmla="*/ 6605473 w 7467600"/>
              <a:gd name="connsiteY606" fmla="*/ 1184686 h 6858000"/>
              <a:gd name="connsiteX607" fmla="*/ 6691602 w 7467600"/>
              <a:gd name="connsiteY607" fmla="*/ 1140573 h 6858000"/>
              <a:gd name="connsiteX608" fmla="*/ 4002475 w 7467600"/>
              <a:gd name="connsiteY608" fmla="*/ 1037802 h 6858000"/>
              <a:gd name="connsiteX609" fmla="*/ 4000324 w 7467600"/>
              <a:gd name="connsiteY609" fmla="*/ 1039362 h 6858000"/>
              <a:gd name="connsiteX610" fmla="*/ 4002862 w 7467600"/>
              <a:gd name="connsiteY610" fmla="*/ 1042866 h 6858000"/>
              <a:gd name="connsiteX611" fmla="*/ 4002475 w 7467600"/>
              <a:gd name="connsiteY611" fmla="*/ 1037802 h 6858000"/>
              <a:gd name="connsiteX612" fmla="*/ 506322 w 7467600"/>
              <a:gd name="connsiteY612" fmla="*/ 1020997 h 6858000"/>
              <a:gd name="connsiteX613" fmla="*/ 533068 w 7467600"/>
              <a:gd name="connsiteY613" fmla="*/ 1029409 h 6858000"/>
              <a:gd name="connsiteX614" fmla="*/ 1232525 w 7467600"/>
              <a:gd name="connsiteY614" fmla="*/ 1804675 h 6858000"/>
              <a:gd name="connsiteX615" fmla="*/ 1388858 w 7467600"/>
              <a:gd name="connsiteY615" fmla="*/ 2368011 h 6858000"/>
              <a:gd name="connsiteX616" fmla="*/ 1384098 w 7467600"/>
              <a:gd name="connsiteY616" fmla="*/ 2378125 h 6858000"/>
              <a:gd name="connsiteX617" fmla="*/ 1425393 w 7467600"/>
              <a:gd name="connsiteY617" fmla="*/ 2589124 h 6858000"/>
              <a:gd name="connsiteX618" fmla="*/ 1424001 w 7467600"/>
              <a:gd name="connsiteY618" fmla="*/ 2597541 h 6858000"/>
              <a:gd name="connsiteX619" fmla="*/ 2152729 w 7467600"/>
              <a:gd name="connsiteY619" fmla="*/ 2864487 h 6858000"/>
              <a:gd name="connsiteX620" fmla="*/ 2020609 w 7467600"/>
              <a:gd name="connsiteY620" fmla="*/ 2539671 h 6858000"/>
              <a:gd name="connsiteX621" fmla="*/ 2018920 w 7467600"/>
              <a:gd name="connsiteY621" fmla="*/ 2536309 h 6858000"/>
              <a:gd name="connsiteX622" fmla="*/ 1342441 w 7467600"/>
              <a:gd name="connsiteY622" fmla="*/ 1173017 h 6858000"/>
              <a:gd name="connsiteX623" fmla="*/ 1367925 w 7467600"/>
              <a:gd name="connsiteY623" fmla="*/ 1135648 h 6858000"/>
              <a:gd name="connsiteX624" fmla="*/ 1771401 w 7467600"/>
              <a:gd name="connsiteY624" fmla="*/ 1806673 h 6858000"/>
              <a:gd name="connsiteX625" fmla="*/ 1972385 w 7467600"/>
              <a:gd name="connsiteY625" fmla="*/ 2198735 h 6858000"/>
              <a:gd name="connsiteX626" fmla="*/ 2040892 w 7467600"/>
              <a:gd name="connsiteY626" fmla="*/ 2405205 h 6858000"/>
              <a:gd name="connsiteX627" fmla="*/ 2131689 w 7467600"/>
              <a:gd name="connsiteY627" fmla="*/ 1936926 h 6858000"/>
              <a:gd name="connsiteX628" fmla="*/ 2454820 w 7467600"/>
              <a:gd name="connsiteY628" fmla="*/ 1248808 h 6858000"/>
              <a:gd name="connsiteX629" fmla="*/ 2492512 w 7467600"/>
              <a:gd name="connsiteY629" fmla="*/ 1302920 h 6858000"/>
              <a:gd name="connsiteX630" fmla="*/ 2081216 w 7467600"/>
              <a:gd name="connsiteY630" fmla="*/ 2527513 h 6858000"/>
              <a:gd name="connsiteX631" fmla="*/ 2081211 w 7467600"/>
              <a:gd name="connsiteY631" fmla="*/ 2528916 h 6858000"/>
              <a:gd name="connsiteX632" fmla="*/ 2199067 w 7467600"/>
              <a:gd name="connsiteY632" fmla="*/ 2884061 h 6858000"/>
              <a:gd name="connsiteX633" fmla="*/ 3192586 w 7467600"/>
              <a:gd name="connsiteY633" fmla="*/ 3411496 h 6858000"/>
              <a:gd name="connsiteX634" fmla="*/ 3182620 w 7467600"/>
              <a:gd name="connsiteY634" fmla="*/ 3483279 h 6858000"/>
              <a:gd name="connsiteX635" fmla="*/ 2435119 w 7467600"/>
              <a:gd name="connsiteY635" fmla="*/ 3080173 h 6858000"/>
              <a:gd name="connsiteX636" fmla="*/ 2410152 w 7467600"/>
              <a:gd name="connsiteY636" fmla="*/ 3063751 h 6858000"/>
              <a:gd name="connsiteX637" fmla="*/ 2408099 w 7467600"/>
              <a:gd name="connsiteY637" fmla="*/ 3064403 h 6858000"/>
              <a:gd name="connsiteX638" fmla="*/ 2407218 w 7467600"/>
              <a:gd name="connsiteY638" fmla="*/ 3070324 h 6858000"/>
              <a:gd name="connsiteX639" fmla="*/ 2380138 w 7467600"/>
              <a:gd name="connsiteY639" fmla="*/ 3099341 h 6858000"/>
              <a:gd name="connsiteX640" fmla="*/ 1765923 w 7467600"/>
              <a:gd name="connsiteY640" fmla="*/ 3581043 h 6858000"/>
              <a:gd name="connsiteX641" fmla="*/ 1702258 w 7467600"/>
              <a:gd name="connsiteY641" fmla="*/ 3612286 h 6858000"/>
              <a:gd name="connsiteX642" fmla="*/ 1538370 w 7467600"/>
              <a:gd name="connsiteY642" fmla="*/ 3811804 h 6858000"/>
              <a:gd name="connsiteX643" fmla="*/ 542867 w 7467600"/>
              <a:gd name="connsiteY643" fmla="*/ 4944092 h 6858000"/>
              <a:gd name="connsiteX644" fmla="*/ 515800 w 7467600"/>
              <a:gd name="connsiteY644" fmla="*/ 4862180 h 6858000"/>
              <a:gd name="connsiteX645" fmla="*/ 909145 w 7467600"/>
              <a:gd name="connsiteY645" fmla="*/ 4199225 h 6858000"/>
              <a:gd name="connsiteX646" fmla="*/ 1214067 w 7467600"/>
              <a:gd name="connsiteY646" fmla="*/ 3908561 h 6858000"/>
              <a:gd name="connsiteX647" fmla="*/ 640967 w 7467600"/>
              <a:gd name="connsiteY647" fmla="*/ 4105601 h 6858000"/>
              <a:gd name="connsiteX648" fmla="*/ 112563 w 7467600"/>
              <a:gd name="connsiteY648" fmla="*/ 4396952 h 6858000"/>
              <a:gd name="connsiteX649" fmla="*/ 0 w 7467600"/>
              <a:gd name="connsiteY649" fmla="*/ 4466006 h 6858000"/>
              <a:gd name="connsiteX650" fmla="*/ 0 w 7467600"/>
              <a:gd name="connsiteY650" fmla="*/ 4233763 h 6858000"/>
              <a:gd name="connsiteX651" fmla="*/ 36881 w 7467600"/>
              <a:gd name="connsiteY651" fmla="*/ 4200118 h 6858000"/>
              <a:gd name="connsiteX652" fmla="*/ 910534 w 7467600"/>
              <a:gd name="connsiteY652" fmla="*/ 3629753 h 6858000"/>
              <a:gd name="connsiteX653" fmla="*/ 1578717 w 7467600"/>
              <a:gd name="connsiteY653" fmla="*/ 3575982 h 6858000"/>
              <a:gd name="connsiteX654" fmla="*/ 2338780 w 7467600"/>
              <a:gd name="connsiteY654" fmla="*/ 3033725 h 6858000"/>
              <a:gd name="connsiteX655" fmla="*/ 1807991 w 7467600"/>
              <a:gd name="connsiteY655" fmla="*/ 2807184 h 6858000"/>
              <a:gd name="connsiteX656" fmla="*/ 1416358 w 7467600"/>
              <a:gd name="connsiteY656" fmla="*/ 3112571 h 6858000"/>
              <a:gd name="connsiteX657" fmla="*/ 939066 w 7467600"/>
              <a:gd name="connsiteY657" fmla="*/ 3378798 h 6858000"/>
              <a:gd name="connsiteX658" fmla="*/ 115099 w 7467600"/>
              <a:gd name="connsiteY658" fmla="*/ 3607650 h 6858000"/>
              <a:gd name="connsiteX659" fmla="*/ 97284 w 7467600"/>
              <a:gd name="connsiteY659" fmla="*/ 3520393 h 6858000"/>
              <a:gd name="connsiteX660" fmla="*/ 922050 w 7467600"/>
              <a:gd name="connsiteY660" fmla="*/ 3074867 h 6858000"/>
              <a:gd name="connsiteX661" fmla="*/ 1405265 w 7467600"/>
              <a:gd name="connsiteY661" fmla="*/ 3016319 h 6858000"/>
              <a:gd name="connsiteX662" fmla="*/ 1407512 w 7467600"/>
              <a:gd name="connsiteY662" fmla="*/ 3018001 h 6858000"/>
              <a:gd name="connsiteX663" fmla="*/ 1726266 w 7467600"/>
              <a:gd name="connsiteY663" fmla="*/ 2777274 h 6858000"/>
              <a:gd name="connsiteX664" fmla="*/ 625390 w 7467600"/>
              <a:gd name="connsiteY664" fmla="*/ 2514541 h 6858000"/>
              <a:gd name="connsiteX665" fmla="*/ 619799 w 7467600"/>
              <a:gd name="connsiteY665" fmla="*/ 2527180 h 6858000"/>
              <a:gd name="connsiteX666" fmla="*/ 310030 w 7467600"/>
              <a:gd name="connsiteY666" fmla="*/ 2771818 h 6858000"/>
              <a:gd name="connsiteX667" fmla="*/ 173877 w 7467600"/>
              <a:gd name="connsiteY667" fmla="*/ 2937056 h 6858000"/>
              <a:gd name="connsiteX668" fmla="*/ 77889 w 7467600"/>
              <a:gd name="connsiteY668" fmla="*/ 3138440 h 6858000"/>
              <a:gd name="connsiteX669" fmla="*/ 0 w 7467600"/>
              <a:gd name="connsiteY669" fmla="*/ 3271395 h 6858000"/>
              <a:gd name="connsiteX670" fmla="*/ 0 w 7467600"/>
              <a:gd name="connsiteY670" fmla="*/ 3153002 h 6858000"/>
              <a:gd name="connsiteX671" fmla="*/ 2386 w 7467600"/>
              <a:gd name="connsiteY671" fmla="*/ 3149203 h 6858000"/>
              <a:gd name="connsiteX672" fmla="*/ 89753 w 7467600"/>
              <a:gd name="connsiteY672" fmla="*/ 2987702 h 6858000"/>
              <a:gd name="connsiteX673" fmla="*/ 76869 w 7467600"/>
              <a:gd name="connsiteY673" fmla="*/ 3005404 h 6858000"/>
              <a:gd name="connsiteX674" fmla="*/ 32049 w 7467600"/>
              <a:gd name="connsiteY674" fmla="*/ 3065814 h 6858000"/>
              <a:gd name="connsiteX675" fmla="*/ 0 w 7467600"/>
              <a:gd name="connsiteY675" fmla="*/ 3108744 h 6858000"/>
              <a:gd name="connsiteX676" fmla="*/ 0 w 7467600"/>
              <a:gd name="connsiteY676" fmla="*/ 3058059 h 6858000"/>
              <a:gd name="connsiteX677" fmla="*/ 7610 w 7467600"/>
              <a:gd name="connsiteY677" fmla="*/ 3047889 h 6858000"/>
              <a:gd name="connsiteX678" fmla="*/ 52419 w 7467600"/>
              <a:gd name="connsiteY678" fmla="*/ 2987479 h 6858000"/>
              <a:gd name="connsiteX679" fmla="*/ 59142 w 7467600"/>
              <a:gd name="connsiteY679" fmla="*/ 2978488 h 6858000"/>
              <a:gd name="connsiteX680" fmla="*/ 0 w 7467600"/>
              <a:gd name="connsiteY680" fmla="*/ 3015334 h 6858000"/>
              <a:gd name="connsiteX681" fmla="*/ 0 w 7467600"/>
              <a:gd name="connsiteY681" fmla="*/ 2914286 h 6858000"/>
              <a:gd name="connsiteX682" fmla="*/ 36383 w 7467600"/>
              <a:gd name="connsiteY682" fmla="*/ 2901128 h 6858000"/>
              <a:gd name="connsiteX683" fmla="*/ 156329 w 7467600"/>
              <a:gd name="connsiteY683" fmla="*/ 2840533 h 6858000"/>
              <a:gd name="connsiteX684" fmla="*/ 358355 w 7467600"/>
              <a:gd name="connsiteY684" fmla="*/ 2620471 h 6858000"/>
              <a:gd name="connsiteX685" fmla="*/ 510577 w 7467600"/>
              <a:gd name="connsiteY685" fmla="*/ 2501244 h 6858000"/>
              <a:gd name="connsiteX686" fmla="*/ 211967 w 7467600"/>
              <a:gd name="connsiteY686" fmla="*/ 2479171 h 6858000"/>
              <a:gd name="connsiteX687" fmla="*/ 0 w 7467600"/>
              <a:gd name="connsiteY687" fmla="*/ 2476398 h 6858000"/>
              <a:gd name="connsiteX688" fmla="*/ 0 w 7467600"/>
              <a:gd name="connsiteY688" fmla="*/ 2389189 h 6858000"/>
              <a:gd name="connsiteX689" fmla="*/ 103062 w 7467600"/>
              <a:gd name="connsiteY689" fmla="*/ 2389518 h 6858000"/>
              <a:gd name="connsiteX690" fmla="*/ 510734 w 7467600"/>
              <a:gd name="connsiteY690" fmla="*/ 2416201 h 6858000"/>
              <a:gd name="connsiteX691" fmla="*/ 279257 w 7467600"/>
              <a:gd name="connsiteY691" fmla="*/ 2092102 h 6858000"/>
              <a:gd name="connsiteX692" fmla="*/ 65265 w 7467600"/>
              <a:gd name="connsiteY692" fmla="*/ 2006049 h 6858000"/>
              <a:gd name="connsiteX693" fmla="*/ 0 w 7467600"/>
              <a:gd name="connsiteY693" fmla="*/ 1982532 h 6858000"/>
              <a:gd name="connsiteX694" fmla="*/ 0 w 7467600"/>
              <a:gd name="connsiteY694" fmla="*/ 1912789 h 6858000"/>
              <a:gd name="connsiteX695" fmla="*/ 97460 w 7467600"/>
              <a:gd name="connsiteY695" fmla="*/ 1953725 h 6858000"/>
              <a:gd name="connsiteX696" fmla="*/ 221272 w 7467600"/>
              <a:gd name="connsiteY696" fmla="*/ 1980766 h 6858000"/>
              <a:gd name="connsiteX697" fmla="*/ 116765 w 7467600"/>
              <a:gd name="connsiteY697" fmla="*/ 1911033 h 6858000"/>
              <a:gd name="connsiteX698" fmla="*/ 16405 w 7467600"/>
              <a:gd name="connsiteY698" fmla="*/ 1803412 h 6858000"/>
              <a:gd name="connsiteX699" fmla="*/ 0 w 7467600"/>
              <a:gd name="connsiteY699" fmla="*/ 1784777 h 6858000"/>
              <a:gd name="connsiteX700" fmla="*/ 0 w 7467600"/>
              <a:gd name="connsiteY700" fmla="*/ 1740082 h 6858000"/>
              <a:gd name="connsiteX701" fmla="*/ 39394 w 7467600"/>
              <a:gd name="connsiteY701" fmla="*/ 1784856 h 6858000"/>
              <a:gd name="connsiteX702" fmla="*/ 135813 w 7467600"/>
              <a:gd name="connsiteY702" fmla="*/ 1888838 h 6858000"/>
              <a:gd name="connsiteX703" fmla="*/ 242575 w 7467600"/>
              <a:gd name="connsiteY703" fmla="*/ 1958841 h 6858000"/>
              <a:gd name="connsiteX704" fmla="*/ 82197 w 7467600"/>
              <a:gd name="connsiteY704" fmla="*/ 1754826 h 6858000"/>
              <a:gd name="connsiteX705" fmla="*/ 0 w 7467600"/>
              <a:gd name="connsiteY705" fmla="*/ 1679650 h 6858000"/>
              <a:gd name="connsiteX706" fmla="*/ 0 w 7467600"/>
              <a:gd name="connsiteY706" fmla="*/ 1602463 h 6858000"/>
              <a:gd name="connsiteX707" fmla="*/ 84689 w 7467600"/>
              <a:gd name="connsiteY707" fmla="*/ 1677442 h 6858000"/>
              <a:gd name="connsiteX708" fmla="*/ 298437 w 7467600"/>
              <a:gd name="connsiteY708" fmla="*/ 1968019 h 6858000"/>
              <a:gd name="connsiteX709" fmla="*/ 227269 w 7467600"/>
              <a:gd name="connsiteY709" fmla="*/ 1114064 h 6858000"/>
              <a:gd name="connsiteX710" fmla="*/ 248003 w 7467600"/>
              <a:gd name="connsiteY710" fmla="*/ 1089613 h 6858000"/>
              <a:gd name="connsiteX711" fmla="*/ 427020 w 7467600"/>
              <a:gd name="connsiteY711" fmla="*/ 1619803 h 6858000"/>
              <a:gd name="connsiteX712" fmla="*/ 340345 w 7467600"/>
              <a:gd name="connsiteY712" fmla="*/ 2027739 h 6858000"/>
              <a:gd name="connsiteX713" fmla="*/ 360865 w 7467600"/>
              <a:gd name="connsiteY713" fmla="*/ 2044827 h 6858000"/>
              <a:gd name="connsiteX714" fmla="*/ 560414 w 7467600"/>
              <a:gd name="connsiteY714" fmla="*/ 2421457 h 6858000"/>
              <a:gd name="connsiteX715" fmla="*/ 1359703 w 7467600"/>
              <a:gd name="connsiteY715" fmla="*/ 2578554 h 6858000"/>
              <a:gd name="connsiteX716" fmla="*/ 1359422 w 7467600"/>
              <a:gd name="connsiteY716" fmla="*/ 2577994 h 6858000"/>
              <a:gd name="connsiteX717" fmla="*/ 828701 w 7467600"/>
              <a:gd name="connsiteY717" fmla="*/ 1839520 h 6858000"/>
              <a:gd name="connsiteX718" fmla="*/ 494427 w 7467600"/>
              <a:gd name="connsiteY718" fmla="*/ 1092333 h 6858000"/>
              <a:gd name="connsiteX719" fmla="*/ 506322 w 7467600"/>
              <a:gd name="connsiteY719" fmla="*/ 1020997 h 6858000"/>
              <a:gd name="connsiteX720" fmla="*/ 4570198 w 7467600"/>
              <a:gd name="connsiteY720" fmla="*/ 978081 h 6858000"/>
              <a:gd name="connsiteX721" fmla="*/ 4523691 w 7467600"/>
              <a:gd name="connsiteY721" fmla="*/ 1127776 h 6858000"/>
              <a:gd name="connsiteX722" fmla="*/ 4509875 w 7467600"/>
              <a:gd name="connsiteY722" fmla="*/ 1167552 h 6858000"/>
              <a:gd name="connsiteX723" fmla="*/ 4478168 w 7467600"/>
              <a:gd name="connsiteY723" fmla="*/ 1260735 h 6858000"/>
              <a:gd name="connsiteX724" fmla="*/ 4409309 w 7467600"/>
              <a:gd name="connsiteY724" fmla="*/ 1666996 h 6858000"/>
              <a:gd name="connsiteX725" fmla="*/ 4370031 w 7467600"/>
              <a:gd name="connsiteY725" fmla="*/ 1955666 h 6858000"/>
              <a:gd name="connsiteX726" fmla="*/ 4570198 w 7467600"/>
              <a:gd name="connsiteY726" fmla="*/ 978081 h 6858000"/>
              <a:gd name="connsiteX727" fmla="*/ 4557898 w 7467600"/>
              <a:gd name="connsiteY727" fmla="*/ 900011 h 6858000"/>
              <a:gd name="connsiteX728" fmla="*/ 4344840 w 7467600"/>
              <a:gd name="connsiteY728" fmla="*/ 1922038 h 6858000"/>
              <a:gd name="connsiteX729" fmla="*/ 4378710 w 7467600"/>
              <a:gd name="connsiteY729" fmla="*/ 1665516 h 6858000"/>
              <a:gd name="connsiteX730" fmla="*/ 4448798 w 7467600"/>
              <a:gd name="connsiteY730" fmla="*/ 1253024 h 6858000"/>
              <a:gd name="connsiteX731" fmla="*/ 4480315 w 7467600"/>
              <a:gd name="connsiteY731" fmla="*/ 1158454 h 6858000"/>
              <a:gd name="connsiteX732" fmla="*/ 4494133 w 7467600"/>
              <a:gd name="connsiteY732" fmla="*/ 1118676 h 6858000"/>
              <a:gd name="connsiteX733" fmla="*/ 4557898 w 7467600"/>
              <a:gd name="connsiteY733" fmla="*/ 900011 h 6858000"/>
              <a:gd name="connsiteX734" fmla="*/ 5870151 w 7467600"/>
              <a:gd name="connsiteY734" fmla="*/ 898890 h 6858000"/>
              <a:gd name="connsiteX735" fmla="*/ 5861335 w 7467600"/>
              <a:gd name="connsiteY735" fmla="*/ 899177 h 6858000"/>
              <a:gd name="connsiteX736" fmla="*/ 5843702 w 7467600"/>
              <a:gd name="connsiteY736" fmla="*/ 899748 h 6858000"/>
              <a:gd name="connsiteX737" fmla="*/ 5651107 w 7467600"/>
              <a:gd name="connsiteY737" fmla="*/ 920306 h 6858000"/>
              <a:gd name="connsiteX738" fmla="*/ 5459407 w 7467600"/>
              <a:gd name="connsiteY738" fmla="*/ 940975 h 6858000"/>
              <a:gd name="connsiteX739" fmla="*/ 5374846 w 7467600"/>
              <a:gd name="connsiteY739" fmla="*/ 941988 h 6858000"/>
              <a:gd name="connsiteX740" fmla="*/ 5256105 w 7467600"/>
              <a:gd name="connsiteY740" fmla="*/ 945632 h 6858000"/>
              <a:gd name="connsiteX741" fmla="*/ 5107071 w 7467600"/>
              <a:gd name="connsiteY741" fmla="*/ 969720 h 6858000"/>
              <a:gd name="connsiteX742" fmla="*/ 4998681 w 7467600"/>
              <a:gd name="connsiteY742" fmla="*/ 988771 h 6858000"/>
              <a:gd name="connsiteX743" fmla="*/ 5870151 w 7467600"/>
              <a:gd name="connsiteY743" fmla="*/ 898890 h 6858000"/>
              <a:gd name="connsiteX744" fmla="*/ 5504425 w 7467600"/>
              <a:gd name="connsiteY744" fmla="*/ 848067 h 6858000"/>
              <a:gd name="connsiteX745" fmla="*/ 4968849 w 7467600"/>
              <a:gd name="connsiteY745" fmla="*/ 962318 h 6858000"/>
              <a:gd name="connsiteX746" fmla="*/ 5104039 w 7467600"/>
              <a:gd name="connsiteY746" fmla="*/ 940634 h 6858000"/>
              <a:gd name="connsiteX747" fmla="*/ 5256311 w 7467600"/>
              <a:gd name="connsiteY747" fmla="*/ 916490 h 6858000"/>
              <a:gd name="connsiteX748" fmla="*/ 5377381 w 7467600"/>
              <a:gd name="connsiteY748" fmla="*/ 912671 h 6858000"/>
              <a:gd name="connsiteX749" fmla="*/ 5460148 w 7467600"/>
              <a:gd name="connsiteY749" fmla="*/ 911442 h 6858000"/>
              <a:gd name="connsiteX750" fmla="*/ 5648971 w 7467600"/>
              <a:gd name="connsiteY750" fmla="*/ 891331 h 6858000"/>
              <a:gd name="connsiteX751" fmla="*/ 5844807 w 7467600"/>
              <a:gd name="connsiteY751" fmla="*/ 870718 h 6858000"/>
              <a:gd name="connsiteX752" fmla="*/ 5862975 w 7467600"/>
              <a:gd name="connsiteY752" fmla="*/ 869756 h 6858000"/>
              <a:gd name="connsiteX753" fmla="*/ 5920887 w 7467600"/>
              <a:gd name="connsiteY753" fmla="*/ 865929 h 6858000"/>
              <a:gd name="connsiteX754" fmla="*/ 5504425 w 7467600"/>
              <a:gd name="connsiteY754" fmla="*/ 848067 h 6858000"/>
              <a:gd name="connsiteX755" fmla="*/ 3607114 w 7467600"/>
              <a:gd name="connsiteY755" fmla="*/ 467441 h 6858000"/>
              <a:gd name="connsiteX756" fmla="*/ 3296242 w 7467600"/>
              <a:gd name="connsiteY756" fmla="*/ 807991 h 6858000"/>
              <a:gd name="connsiteX757" fmla="*/ 3174674 w 7467600"/>
              <a:gd name="connsiteY757" fmla="*/ 919759 h 6858000"/>
              <a:gd name="connsiteX758" fmla="*/ 3042978 w 7467600"/>
              <a:gd name="connsiteY758" fmla="*/ 1054894 h 6858000"/>
              <a:gd name="connsiteX759" fmla="*/ 2968914 w 7467600"/>
              <a:gd name="connsiteY759" fmla="*/ 1133756 h 6858000"/>
              <a:gd name="connsiteX760" fmla="*/ 3103823 w 7467600"/>
              <a:gd name="connsiteY760" fmla="*/ 1026814 h 6858000"/>
              <a:gd name="connsiteX761" fmla="*/ 3607114 w 7467600"/>
              <a:gd name="connsiteY761" fmla="*/ 467441 h 6858000"/>
              <a:gd name="connsiteX762" fmla="*/ 3744487 w 7467600"/>
              <a:gd name="connsiteY762" fmla="*/ 383136 h 6858000"/>
              <a:gd name="connsiteX763" fmla="*/ 3970213 w 7467600"/>
              <a:gd name="connsiteY763" fmla="*/ 995559 h 6858000"/>
              <a:gd name="connsiteX764" fmla="*/ 3744487 w 7467600"/>
              <a:gd name="connsiteY764" fmla="*/ 383136 h 6858000"/>
              <a:gd name="connsiteX765" fmla="*/ 3624562 w 7467600"/>
              <a:gd name="connsiteY765" fmla="*/ 367041 h 6858000"/>
              <a:gd name="connsiteX766" fmla="*/ 3489712 w 7467600"/>
              <a:gd name="connsiteY766" fmla="*/ 485386 h 6858000"/>
              <a:gd name="connsiteX767" fmla="*/ 3182994 w 7467600"/>
              <a:gd name="connsiteY767" fmla="*/ 828265 h 6858000"/>
              <a:gd name="connsiteX768" fmla="*/ 2892114 w 7467600"/>
              <a:gd name="connsiteY768" fmla="*/ 1172635 h 6858000"/>
              <a:gd name="connsiteX769" fmla="*/ 3021459 w 7467600"/>
              <a:gd name="connsiteY769" fmla="*/ 1035385 h 6858000"/>
              <a:gd name="connsiteX770" fmla="*/ 3153873 w 7467600"/>
              <a:gd name="connsiteY770" fmla="*/ 898971 h 6858000"/>
              <a:gd name="connsiteX771" fmla="*/ 3276511 w 7467600"/>
              <a:gd name="connsiteY771" fmla="*/ 786423 h 6858000"/>
              <a:gd name="connsiteX772" fmla="*/ 3584154 w 7467600"/>
              <a:gd name="connsiteY772" fmla="*/ 448218 h 6858000"/>
              <a:gd name="connsiteX773" fmla="*/ 3624562 w 7467600"/>
              <a:gd name="connsiteY773" fmla="*/ 367041 h 6858000"/>
              <a:gd name="connsiteX774" fmla="*/ 3766672 w 7467600"/>
              <a:gd name="connsiteY774" fmla="*/ 359429 h 6858000"/>
              <a:gd name="connsiteX775" fmla="*/ 3996338 w 7467600"/>
              <a:gd name="connsiteY775" fmla="*/ 968237 h 6858000"/>
              <a:gd name="connsiteX776" fmla="*/ 3766672 w 7467600"/>
              <a:gd name="connsiteY776" fmla="*/ 359429 h 6858000"/>
              <a:gd name="connsiteX777" fmla="*/ 5805386 w 7467600"/>
              <a:gd name="connsiteY777" fmla="*/ 239240 h 6858000"/>
              <a:gd name="connsiteX778" fmla="*/ 5736947 w 7467600"/>
              <a:gd name="connsiteY778" fmla="*/ 261367 h 6858000"/>
              <a:gd name="connsiteX779" fmla="*/ 5427012 w 7467600"/>
              <a:gd name="connsiteY779" fmla="*/ 311272 h 6858000"/>
              <a:gd name="connsiteX780" fmla="*/ 5147818 w 7467600"/>
              <a:gd name="connsiteY780" fmla="*/ 322112 h 6858000"/>
              <a:gd name="connsiteX781" fmla="*/ 5060854 w 7467600"/>
              <a:gd name="connsiteY781" fmla="*/ 311882 h 6858000"/>
              <a:gd name="connsiteX782" fmla="*/ 4945989 w 7467600"/>
              <a:gd name="connsiteY782" fmla="*/ 300516 h 6858000"/>
              <a:gd name="connsiteX783" fmla="*/ 5410479 w 7467600"/>
              <a:gd name="connsiteY783" fmla="*/ 348434 h 6858000"/>
              <a:gd name="connsiteX784" fmla="*/ 5805386 w 7467600"/>
              <a:gd name="connsiteY784" fmla="*/ 239240 h 6858000"/>
              <a:gd name="connsiteX785" fmla="*/ 5905192 w 7467600"/>
              <a:gd name="connsiteY785" fmla="*/ 163079 h 6858000"/>
              <a:gd name="connsiteX786" fmla="*/ 5865655 w 7467600"/>
              <a:gd name="connsiteY786" fmla="*/ 171901 h 6858000"/>
              <a:gd name="connsiteX787" fmla="*/ 5259740 w 7467600"/>
              <a:gd name="connsiteY787" fmla="*/ 257013 h 6858000"/>
              <a:gd name="connsiteX788" fmla="*/ 5208466 w 7467600"/>
              <a:gd name="connsiteY788" fmla="*/ 257550 h 6858000"/>
              <a:gd name="connsiteX789" fmla="*/ 4980204 w 7467600"/>
              <a:gd name="connsiteY789" fmla="*/ 271903 h 6858000"/>
              <a:gd name="connsiteX790" fmla="*/ 5068068 w 7467600"/>
              <a:gd name="connsiteY790" fmla="*/ 282244 h 6858000"/>
              <a:gd name="connsiteX791" fmla="*/ 5153231 w 7467600"/>
              <a:gd name="connsiteY791" fmla="*/ 292240 h 6858000"/>
              <a:gd name="connsiteX792" fmla="*/ 5426491 w 7467600"/>
              <a:gd name="connsiteY792" fmla="*/ 281128 h 6858000"/>
              <a:gd name="connsiteX793" fmla="*/ 5731212 w 7467600"/>
              <a:gd name="connsiteY793" fmla="*/ 231951 h 6858000"/>
              <a:gd name="connsiteX794" fmla="*/ 5905192 w 7467600"/>
              <a:gd name="connsiteY794" fmla="*/ 163079 h 6858000"/>
              <a:gd name="connsiteX795" fmla="*/ 5944437 w 7467600"/>
              <a:gd name="connsiteY795" fmla="*/ 113829 h 6858000"/>
              <a:gd name="connsiteX796" fmla="*/ 5825032 w 7467600"/>
              <a:gd name="connsiteY796" fmla="*/ 146405 h 6858000"/>
              <a:gd name="connsiteX797" fmla="*/ 4955599 w 7467600"/>
              <a:gd name="connsiteY797" fmla="*/ 247008 h 6858000"/>
              <a:gd name="connsiteX798" fmla="*/ 5210104 w 7467600"/>
              <a:gd name="connsiteY798" fmla="*/ 228123 h 6858000"/>
              <a:gd name="connsiteX799" fmla="*/ 5261015 w 7467600"/>
              <a:gd name="connsiteY799" fmla="*/ 227087 h 6858000"/>
              <a:gd name="connsiteX800" fmla="*/ 5861181 w 7467600"/>
              <a:gd name="connsiteY800" fmla="*/ 143093 h 6858000"/>
              <a:gd name="connsiteX801" fmla="*/ 5961252 w 7467600"/>
              <a:gd name="connsiteY801" fmla="*/ 114820 h 6858000"/>
              <a:gd name="connsiteX802" fmla="*/ 5944437 w 7467600"/>
              <a:gd name="connsiteY802" fmla="*/ 113829 h 6858000"/>
              <a:gd name="connsiteX803" fmla="*/ 3882765 w 7467600"/>
              <a:gd name="connsiteY803" fmla="*/ 0 h 6858000"/>
              <a:gd name="connsiteX804" fmla="*/ 3995099 w 7467600"/>
              <a:gd name="connsiteY804" fmla="*/ 0 h 6858000"/>
              <a:gd name="connsiteX805" fmla="*/ 4163818 w 7467600"/>
              <a:gd name="connsiteY805" fmla="*/ 234104 h 6858000"/>
              <a:gd name="connsiteX806" fmla="*/ 4172099 w 7467600"/>
              <a:gd name="connsiteY806" fmla="*/ 234207 h 6858000"/>
              <a:gd name="connsiteX807" fmla="*/ 4784282 w 7467600"/>
              <a:gd name="connsiteY807" fmla="*/ 276561 h 6858000"/>
              <a:gd name="connsiteX808" fmla="*/ 4801687 w 7467600"/>
              <a:gd name="connsiteY808" fmla="*/ 267764 h 6858000"/>
              <a:gd name="connsiteX809" fmla="*/ 6082788 w 7467600"/>
              <a:gd name="connsiteY809" fmla="*/ 64119 h 6858000"/>
              <a:gd name="connsiteX810" fmla="*/ 6099442 w 7467600"/>
              <a:gd name="connsiteY810" fmla="*/ 82568 h 6858000"/>
              <a:gd name="connsiteX811" fmla="*/ 4804137 w 7467600"/>
              <a:gd name="connsiteY811" fmla="*/ 320931 h 6858000"/>
              <a:gd name="connsiteX812" fmla="*/ 4227047 w 7467600"/>
              <a:gd name="connsiteY812" fmla="*/ 313415 h 6858000"/>
              <a:gd name="connsiteX813" fmla="*/ 4346041 w 7467600"/>
              <a:gd name="connsiteY813" fmla="*/ 456086 h 6858000"/>
              <a:gd name="connsiteX814" fmla="*/ 4870967 w 7467600"/>
              <a:gd name="connsiteY814" fmla="*/ 963061 h 6858000"/>
              <a:gd name="connsiteX815" fmla="*/ 4889647 w 7467600"/>
              <a:gd name="connsiteY815" fmla="*/ 957147 h 6858000"/>
              <a:gd name="connsiteX816" fmla="*/ 5422504 w 7467600"/>
              <a:gd name="connsiteY816" fmla="*/ 805191 h 6858000"/>
              <a:gd name="connsiteX817" fmla="*/ 6087656 w 7467600"/>
              <a:gd name="connsiteY817" fmla="*/ 826703 h 6858000"/>
              <a:gd name="connsiteX818" fmla="*/ 6058717 w 7467600"/>
              <a:gd name="connsiteY818" fmla="*/ 865992 h 6858000"/>
              <a:gd name="connsiteX819" fmla="*/ 4974153 w 7467600"/>
              <a:gd name="connsiteY819" fmla="*/ 1045456 h 6858000"/>
              <a:gd name="connsiteX820" fmla="*/ 5627835 w 7467600"/>
              <a:gd name="connsiteY820" fmla="*/ 1472077 h 6858000"/>
              <a:gd name="connsiteX821" fmla="*/ 5629817 w 7467600"/>
              <a:gd name="connsiteY821" fmla="*/ 1471412 h 6858000"/>
              <a:gd name="connsiteX822" fmla="*/ 5634124 w 7467600"/>
              <a:gd name="connsiteY822" fmla="*/ 1470572 h 6858000"/>
              <a:gd name="connsiteX823" fmla="*/ 5755832 w 7467600"/>
              <a:gd name="connsiteY823" fmla="*/ 1383886 h 6858000"/>
              <a:gd name="connsiteX824" fmla="*/ 6014186 w 7467600"/>
              <a:gd name="connsiteY824" fmla="*/ 1279799 h 6858000"/>
              <a:gd name="connsiteX825" fmla="*/ 6901619 w 7467600"/>
              <a:gd name="connsiteY825" fmla="*/ 1047874 h 6858000"/>
              <a:gd name="connsiteX826" fmla="*/ 6931566 w 7467600"/>
              <a:gd name="connsiteY826" fmla="*/ 1062034 h 6858000"/>
              <a:gd name="connsiteX827" fmla="*/ 5790982 w 7467600"/>
              <a:gd name="connsiteY827" fmla="*/ 1561380 h 6858000"/>
              <a:gd name="connsiteX828" fmla="*/ 6188971 w 7467600"/>
              <a:gd name="connsiteY828" fmla="*/ 1755168 h 6858000"/>
              <a:gd name="connsiteX829" fmla="*/ 6202446 w 7467600"/>
              <a:gd name="connsiteY829" fmla="*/ 1752268 h 6858000"/>
              <a:gd name="connsiteX830" fmla="*/ 7179560 w 7467600"/>
              <a:gd name="connsiteY830" fmla="*/ 1467551 h 6858000"/>
              <a:gd name="connsiteX831" fmla="*/ 7158730 w 7467600"/>
              <a:gd name="connsiteY831" fmla="*/ 1507835 h 6858000"/>
              <a:gd name="connsiteX832" fmla="*/ 6326959 w 7467600"/>
              <a:gd name="connsiteY832" fmla="*/ 1817686 h 6858000"/>
              <a:gd name="connsiteX833" fmla="*/ 6537433 w 7467600"/>
              <a:gd name="connsiteY833" fmla="*/ 1907790 h 6858000"/>
              <a:gd name="connsiteX834" fmla="*/ 6550221 w 7467600"/>
              <a:gd name="connsiteY834" fmla="*/ 1910729 h 6858000"/>
              <a:gd name="connsiteX835" fmla="*/ 6964438 w 7467600"/>
              <a:gd name="connsiteY835" fmla="*/ 2209505 h 6858000"/>
              <a:gd name="connsiteX836" fmla="*/ 7367862 w 7467600"/>
              <a:gd name="connsiteY836" fmla="*/ 2806833 h 6858000"/>
              <a:gd name="connsiteX837" fmla="*/ 7364329 w 7467600"/>
              <a:gd name="connsiteY837" fmla="*/ 2826907 h 6858000"/>
              <a:gd name="connsiteX838" fmla="*/ 7290545 w 7467600"/>
              <a:gd name="connsiteY838" fmla="*/ 2850663 h 6858000"/>
              <a:gd name="connsiteX839" fmla="*/ 6472036 w 7467600"/>
              <a:gd name="connsiteY839" fmla="*/ 1959003 h 6858000"/>
              <a:gd name="connsiteX840" fmla="*/ 5792897 w 7467600"/>
              <a:gd name="connsiteY840" fmla="*/ 1647747 h 6858000"/>
              <a:gd name="connsiteX841" fmla="*/ 5842751 w 7467600"/>
              <a:gd name="connsiteY841" fmla="*/ 1816112 h 6858000"/>
              <a:gd name="connsiteX842" fmla="*/ 5847424 w 7467600"/>
              <a:gd name="connsiteY842" fmla="*/ 1815776 h 6858000"/>
              <a:gd name="connsiteX843" fmla="*/ 6399821 w 7467600"/>
              <a:gd name="connsiteY843" fmla="*/ 2344799 h 6858000"/>
              <a:gd name="connsiteX844" fmla="*/ 6323232 w 7467600"/>
              <a:gd name="connsiteY844" fmla="*/ 2389634 h 6858000"/>
              <a:gd name="connsiteX845" fmla="*/ 5942958 w 7467600"/>
              <a:gd name="connsiteY845" fmla="*/ 2077708 h 6858000"/>
              <a:gd name="connsiteX846" fmla="*/ 5921559 w 7467600"/>
              <a:gd name="connsiteY846" fmla="*/ 2378596 h 6858000"/>
              <a:gd name="connsiteX847" fmla="*/ 5817651 w 7467600"/>
              <a:gd name="connsiteY847" fmla="*/ 3023919 h 6858000"/>
              <a:gd name="connsiteX848" fmla="*/ 5729634 w 7467600"/>
              <a:gd name="connsiteY848" fmla="*/ 3051849 h 6858000"/>
              <a:gd name="connsiteX849" fmla="*/ 5611018 w 7467600"/>
              <a:gd name="connsiteY849" fmla="*/ 2316769 h 6858000"/>
              <a:gd name="connsiteX850" fmla="*/ 5687608 w 7467600"/>
              <a:gd name="connsiteY850" fmla="*/ 2039972 h 6858000"/>
              <a:gd name="connsiteX851" fmla="*/ 5657554 w 7467600"/>
              <a:gd name="connsiteY851" fmla="*/ 1576445 h 6858000"/>
              <a:gd name="connsiteX852" fmla="*/ 5150475 w 7467600"/>
              <a:gd name="connsiteY852" fmla="*/ 1274012 h 6858000"/>
              <a:gd name="connsiteX853" fmla="*/ 5349142 w 7467600"/>
              <a:gd name="connsiteY853" fmla="*/ 2204405 h 6858000"/>
              <a:gd name="connsiteX854" fmla="*/ 5262214 w 7467600"/>
              <a:gd name="connsiteY854" fmla="*/ 2233836 h 6858000"/>
              <a:gd name="connsiteX855" fmla="*/ 4981539 w 7467600"/>
              <a:gd name="connsiteY855" fmla="*/ 1542201 h 6858000"/>
              <a:gd name="connsiteX856" fmla="*/ 4958461 w 7467600"/>
              <a:gd name="connsiteY856" fmla="*/ 1136957 h 6858000"/>
              <a:gd name="connsiteX857" fmla="*/ 4655015 w 7467600"/>
              <a:gd name="connsiteY857" fmla="*/ 891426 h 6858000"/>
              <a:gd name="connsiteX858" fmla="*/ 4348002 w 7467600"/>
              <a:gd name="connsiteY858" fmla="*/ 2205895 h 6858000"/>
              <a:gd name="connsiteX859" fmla="*/ 4262250 w 7467600"/>
              <a:gd name="connsiteY859" fmla="*/ 2219972 h 6858000"/>
              <a:gd name="connsiteX860" fmla="*/ 4550611 w 7467600"/>
              <a:gd name="connsiteY860" fmla="*/ 817540 h 6858000"/>
              <a:gd name="connsiteX861" fmla="*/ 4564418 w 7467600"/>
              <a:gd name="connsiteY861" fmla="*/ 808293 h 6858000"/>
              <a:gd name="connsiteX862" fmla="*/ 4266388 w 7467600"/>
              <a:gd name="connsiteY862" fmla="*/ 500083 h 6858000"/>
              <a:gd name="connsiteX863" fmla="*/ 4032842 w 7467600"/>
              <a:gd name="connsiteY863" fmla="*/ 211809 h 6858000"/>
              <a:gd name="connsiteX864" fmla="*/ 3882765 w 7467600"/>
              <a:gd name="connsiteY864" fmla="*/ 0 h 6858000"/>
              <a:gd name="connsiteX865" fmla="*/ 3721337 w 7467600"/>
              <a:gd name="connsiteY865" fmla="*/ 0 h 6858000"/>
              <a:gd name="connsiteX866" fmla="*/ 3797544 w 7467600"/>
              <a:gd name="connsiteY866" fmla="*/ 0 h 6858000"/>
              <a:gd name="connsiteX867" fmla="*/ 3775734 w 7467600"/>
              <a:gd name="connsiteY867" fmla="*/ 95131 h 6858000"/>
              <a:gd name="connsiteX868" fmla="*/ 3724807 w 7467600"/>
              <a:gd name="connsiteY868" fmla="*/ 272257 h 6858000"/>
              <a:gd name="connsiteX869" fmla="*/ 3726844 w 7467600"/>
              <a:gd name="connsiteY869" fmla="*/ 282988 h 6858000"/>
              <a:gd name="connsiteX870" fmla="*/ 3742664 w 7467600"/>
              <a:gd name="connsiteY870" fmla="*/ 279918 h 6858000"/>
              <a:gd name="connsiteX871" fmla="*/ 4103910 w 7467600"/>
              <a:gd name="connsiteY871" fmla="*/ 1161917 h 6858000"/>
              <a:gd name="connsiteX872" fmla="*/ 4020269 w 7467600"/>
              <a:gd name="connsiteY872" fmla="*/ 1200406 h 6858000"/>
              <a:gd name="connsiteX873" fmla="*/ 3674882 w 7467600"/>
              <a:gd name="connsiteY873" fmla="*/ 488524 h 6858000"/>
              <a:gd name="connsiteX874" fmla="*/ 3132682 w 7467600"/>
              <a:gd name="connsiteY874" fmla="*/ 1072284 h 6858000"/>
              <a:gd name="connsiteX875" fmla="*/ 2716346 w 7467600"/>
              <a:gd name="connsiteY875" fmla="*/ 1276376 h 6858000"/>
              <a:gd name="connsiteX876" fmla="*/ 2716772 w 7467600"/>
              <a:gd name="connsiteY876" fmla="*/ 1255462 h 6858000"/>
              <a:gd name="connsiteX877" fmla="*/ 3471096 w 7467600"/>
              <a:gd name="connsiteY877" fmla="*/ 437072 h 6858000"/>
              <a:gd name="connsiteX878" fmla="*/ 3639057 w 7467600"/>
              <a:gd name="connsiteY878" fmla="*/ 286334 h 6858000"/>
              <a:gd name="connsiteX879" fmla="*/ 3640309 w 7467600"/>
              <a:gd name="connsiteY879" fmla="*/ 284664 h 6858000"/>
              <a:gd name="connsiteX880" fmla="*/ 3646022 w 7467600"/>
              <a:gd name="connsiteY880" fmla="*/ 276711 h 6858000"/>
              <a:gd name="connsiteX881" fmla="*/ 3707943 w 7467600"/>
              <a:gd name="connsiteY881" fmla="*/ 65958 h 6858000"/>
              <a:gd name="connsiteX882" fmla="*/ 3721337 w 7467600"/>
              <a:gd name="connsiteY882" fmla="*/ 0 h 6858000"/>
              <a:gd name="connsiteX883" fmla="*/ 2867960 w 7467600"/>
              <a:gd name="connsiteY883" fmla="*/ 0 h 6858000"/>
              <a:gd name="connsiteX884" fmla="*/ 2926351 w 7467600"/>
              <a:gd name="connsiteY884" fmla="*/ 0 h 6858000"/>
              <a:gd name="connsiteX885" fmla="*/ 2902823 w 7467600"/>
              <a:gd name="connsiteY885" fmla="*/ 262929 h 6858000"/>
              <a:gd name="connsiteX886" fmla="*/ 2940663 w 7467600"/>
              <a:gd name="connsiteY886" fmla="*/ 140884 h 6858000"/>
              <a:gd name="connsiteX887" fmla="*/ 2947039 w 7467600"/>
              <a:gd name="connsiteY887" fmla="*/ 122524 h 6858000"/>
              <a:gd name="connsiteX888" fmla="*/ 2984316 w 7467600"/>
              <a:gd name="connsiteY888" fmla="*/ 0 h 6858000"/>
              <a:gd name="connsiteX889" fmla="*/ 3016114 w 7467600"/>
              <a:gd name="connsiteY889" fmla="*/ 0 h 6858000"/>
              <a:gd name="connsiteX890" fmla="*/ 2979949 w 7467600"/>
              <a:gd name="connsiteY890" fmla="*/ 119274 h 6858000"/>
              <a:gd name="connsiteX891" fmla="*/ 3023879 w 7467600"/>
              <a:gd name="connsiteY891" fmla="*/ 0 h 6858000"/>
              <a:gd name="connsiteX892" fmla="*/ 3105400 w 7467600"/>
              <a:gd name="connsiteY892" fmla="*/ 0 h 6858000"/>
              <a:gd name="connsiteX893" fmla="*/ 3094669 w 7467600"/>
              <a:gd name="connsiteY893" fmla="*/ 30308 h 6858000"/>
              <a:gd name="connsiteX894" fmla="*/ 2901945 w 7467600"/>
              <a:gd name="connsiteY894" fmla="*/ 466538 h 6858000"/>
              <a:gd name="connsiteX895" fmla="*/ 2815209 w 7467600"/>
              <a:gd name="connsiteY895" fmla="*/ 497361 h 6858000"/>
              <a:gd name="connsiteX896" fmla="*/ 2844845 w 7467600"/>
              <a:gd name="connsiteY896" fmla="*/ 127638 h 6858000"/>
              <a:gd name="connsiteX897" fmla="*/ 2867960 w 7467600"/>
              <a:gd name="connsiteY897" fmla="*/ 0 h 6858000"/>
              <a:gd name="connsiteX898" fmla="*/ 1057230 w 7467600"/>
              <a:gd name="connsiteY898" fmla="*/ 0 h 6858000"/>
              <a:gd name="connsiteX899" fmla="*/ 1111003 w 7467600"/>
              <a:gd name="connsiteY899" fmla="*/ 0 h 6858000"/>
              <a:gd name="connsiteX900" fmla="*/ 1125553 w 7467600"/>
              <a:gd name="connsiteY900" fmla="*/ 52588 h 6858000"/>
              <a:gd name="connsiteX901" fmla="*/ 1304276 w 7467600"/>
              <a:gd name="connsiteY901" fmla="*/ 476275 h 6858000"/>
              <a:gd name="connsiteX902" fmla="*/ 1492066 w 7467600"/>
              <a:gd name="connsiteY902" fmla="*/ 886333 h 6858000"/>
              <a:gd name="connsiteX903" fmla="*/ 1423698 w 7467600"/>
              <a:gd name="connsiteY903" fmla="*/ 710817 h 6858000"/>
              <a:gd name="connsiteX904" fmla="*/ 1357609 w 7467600"/>
              <a:gd name="connsiteY904" fmla="*/ 532892 h 6858000"/>
              <a:gd name="connsiteX905" fmla="*/ 1309550 w 7467600"/>
              <a:gd name="connsiteY905" fmla="*/ 374031 h 6858000"/>
              <a:gd name="connsiteX906" fmla="*/ 1193673 w 7467600"/>
              <a:gd name="connsiteY906" fmla="*/ 49533 h 6858000"/>
              <a:gd name="connsiteX907" fmla="*/ 1164391 w 7467600"/>
              <a:gd name="connsiteY907" fmla="*/ 0 h 6858000"/>
              <a:gd name="connsiteX908" fmla="*/ 1200666 w 7467600"/>
              <a:gd name="connsiteY908" fmla="*/ 0 h 6858000"/>
              <a:gd name="connsiteX909" fmla="*/ 1223408 w 7467600"/>
              <a:gd name="connsiteY909" fmla="*/ 38996 h 6858000"/>
              <a:gd name="connsiteX910" fmla="*/ 1339635 w 7467600"/>
              <a:gd name="connsiteY910" fmla="*/ 365517 h 6858000"/>
              <a:gd name="connsiteX911" fmla="*/ 1387469 w 7467600"/>
              <a:gd name="connsiteY911" fmla="*/ 523079 h 6858000"/>
              <a:gd name="connsiteX912" fmla="*/ 1452685 w 7467600"/>
              <a:gd name="connsiteY912" fmla="*/ 699806 h 6858000"/>
              <a:gd name="connsiteX913" fmla="*/ 1492092 w 7467600"/>
              <a:gd name="connsiteY913" fmla="*/ 800424 h 6858000"/>
              <a:gd name="connsiteX914" fmla="*/ 1455302 w 7467600"/>
              <a:gd name="connsiteY914" fmla="*/ 632913 h 6858000"/>
              <a:gd name="connsiteX915" fmla="*/ 1222336 w 7467600"/>
              <a:gd name="connsiteY915" fmla="*/ 9480 h 6858000"/>
              <a:gd name="connsiteX916" fmla="*/ 1214634 w 7467600"/>
              <a:gd name="connsiteY916" fmla="*/ 0 h 6858000"/>
              <a:gd name="connsiteX917" fmla="*/ 1289827 w 7467600"/>
              <a:gd name="connsiteY917" fmla="*/ 0 h 6858000"/>
              <a:gd name="connsiteX918" fmla="*/ 1321076 w 7467600"/>
              <a:gd name="connsiteY918" fmla="*/ 59722 h 6858000"/>
              <a:gd name="connsiteX919" fmla="*/ 1512579 w 7467600"/>
              <a:gd name="connsiteY919" fmla="*/ 626441 h 6858000"/>
              <a:gd name="connsiteX920" fmla="*/ 1506076 w 7467600"/>
              <a:gd name="connsiteY920" fmla="*/ 1089289 h 6858000"/>
              <a:gd name="connsiteX921" fmla="*/ 1486346 w 7467600"/>
              <a:gd name="connsiteY921" fmla="*/ 1079919 h 6858000"/>
              <a:gd name="connsiteX922" fmla="*/ 1070511 w 7467600"/>
              <a:gd name="connsiteY922" fmla="*/ 48609 h 6858000"/>
              <a:gd name="connsiteX923" fmla="*/ 1057230 w 7467600"/>
              <a:gd name="connsiteY923" fmla="*/ 0 h 6858000"/>
              <a:gd name="connsiteX924" fmla="*/ 43151 w 7467600"/>
              <a:gd name="connsiteY924" fmla="*/ 0 h 6858000"/>
              <a:gd name="connsiteX925" fmla="*/ 95283 w 7467600"/>
              <a:gd name="connsiteY925" fmla="*/ 0 h 6858000"/>
              <a:gd name="connsiteX926" fmla="*/ 300708 w 7467600"/>
              <a:gd name="connsiteY926" fmla="*/ 154571 h 6858000"/>
              <a:gd name="connsiteX927" fmla="*/ 530414 w 7467600"/>
              <a:gd name="connsiteY927" fmla="*/ 354673 h 6858000"/>
              <a:gd name="connsiteX928" fmla="*/ 333785 w 7467600"/>
              <a:gd name="connsiteY928" fmla="*/ 161564 h 6858000"/>
              <a:gd name="connsiteX929" fmla="*/ 147005 w 7467600"/>
              <a:gd name="connsiteY929" fmla="*/ 0 h 6858000"/>
              <a:gd name="connsiteX930" fmla="*/ 272509 w 7467600"/>
              <a:gd name="connsiteY930" fmla="*/ 0 h 6858000"/>
              <a:gd name="connsiteX931" fmla="*/ 326276 w 7467600"/>
              <a:gd name="connsiteY931" fmla="*/ 45847 h 6858000"/>
              <a:gd name="connsiteX932" fmla="*/ 823759 w 7467600"/>
              <a:gd name="connsiteY932" fmla="*/ 574145 h 6858000"/>
              <a:gd name="connsiteX933" fmla="*/ 811254 w 7467600"/>
              <a:gd name="connsiteY933" fmla="*/ 665546 h 6858000"/>
              <a:gd name="connsiteX934" fmla="*/ 154042 w 7467600"/>
              <a:gd name="connsiteY934" fmla="*/ 261522 h 6858000"/>
              <a:gd name="connsiteX935" fmla="*/ 13550 w 7467600"/>
              <a:gd name="connsiteY935" fmla="*/ 158423 h 6858000"/>
              <a:gd name="connsiteX936" fmla="*/ 0 w 7467600"/>
              <a:gd name="connsiteY936" fmla="*/ 146618 h 6858000"/>
              <a:gd name="connsiteX937" fmla="*/ 0 w 7467600"/>
              <a:gd name="connsiteY937" fmla="*/ 59161 h 6858000"/>
              <a:gd name="connsiteX938" fmla="*/ 45427 w 7467600"/>
              <a:gd name="connsiteY938" fmla="*/ 101078 h 6858000"/>
              <a:gd name="connsiteX939" fmla="*/ 630103 w 7467600"/>
              <a:gd name="connsiteY939" fmla="*/ 485885 h 6858000"/>
              <a:gd name="connsiteX940" fmla="*/ 532040 w 7467600"/>
              <a:gd name="connsiteY940" fmla="*/ 399359 h 6858000"/>
              <a:gd name="connsiteX941" fmla="*/ 517618 w 7467600"/>
              <a:gd name="connsiteY941" fmla="*/ 385726 h 6858000"/>
              <a:gd name="connsiteX942" fmla="*/ 285074 w 7467600"/>
              <a:gd name="connsiteY942" fmla="*/ 182755 h 6858000"/>
              <a:gd name="connsiteX943" fmla="*/ 43151 w 7467600"/>
              <a:gd name="connsiteY943"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289862 w 7467600"/>
              <a:gd name="connsiteY4" fmla="*/ 6659827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289862 w 7467600"/>
              <a:gd name="connsiteY10" fmla="*/ 6659827 h 6858000"/>
              <a:gd name="connsiteX11" fmla="*/ 1019354 w 7467600"/>
              <a:gd name="connsiteY11" fmla="*/ 6315006 h 6858000"/>
              <a:gd name="connsiteX12" fmla="*/ 441046 w 7467600"/>
              <a:gd name="connsiteY12" fmla="*/ 6691153 h 6858000"/>
              <a:gd name="connsiteX13" fmla="*/ 1019354 w 7467600"/>
              <a:gd name="connsiteY13" fmla="*/ 6315006 h 6858000"/>
              <a:gd name="connsiteX14" fmla="*/ 991680 w 7467600"/>
              <a:gd name="connsiteY14" fmla="*/ 6298413 h 6858000"/>
              <a:gd name="connsiteX15" fmla="*/ 409060 w 7467600"/>
              <a:gd name="connsiteY15" fmla="*/ 6671470 h 6858000"/>
              <a:gd name="connsiteX16" fmla="*/ 991680 w 7467600"/>
              <a:gd name="connsiteY16" fmla="*/ 6298413 h 6858000"/>
              <a:gd name="connsiteX17" fmla="*/ 103333 w 7467600"/>
              <a:gd name="connsiteY17" fmla="*/ 5699602 h 6858000"/>
              <a:gd name="connsiteX18" fmla="*/ 233938 w 7467600"/>
              <a:gd name="connsiteY18" fmla="*/ 5809416 h 6858000"/>
              <a:gd name="connsiteX19" fmla="*/ 883580 w 7467600"/>
              <a:gd name="connsiteY19" fmla="*/ 6180710 h 6858000"/>
              <a:gd name="connsiteX20" fmla="*/ 487337 w 7467600"/>
              <a:gd name="connsiteY20" fmla="*/ 5950182 h 6858000"/>
              <a:gd name="connsiteX21" fmla="*/ 354051 w 7467600"/>
              <a:gd name="connsiteY21" fmla="*/ 5854912 h 6858000"/>
              <a:gd name="connsiteX22" fmla="*/ 195436 w 7467600"/>
              <a:gd name="connsiteY22" fmla="*/ 5755068 h 6858000"/>
              <a:gd name="connsiteX23" fmla="*/ 103333 w 7467600"/>
              <a:gd name="connsiteY23" fmla="*/ 5699602 h 6858000"/>
              <a:gd name="connsiteX24" fmla="*/ 5539432 w 7467600"/>
              <a:gd name="connsiteY24" fmla="*/ 5642928 h 6858000"/>
              <a:gd name="connsiteX25" fmla="*/ 5555462 w 7467600"/>
              <a:gd name="connsiteY25" fmla="*/ 5694454 h 6858000"/>
              <a:gd name="connsiteX26" fmla="*/ 5828270 w 7467600"/>
              <a:gd name="connsiteY26" fmla="*/ 6320663 h 6858000"/>
              <a:gd name="connsiteX27" fmla="*/ 5947416 w 7467600"/>
              <a:gd name="connsiteY27" fmla="*/ 6574846 h 6858000"/>
              <a:gd name="connsiteX28" fmla="*/ 5539432 w 7467600"/>
              <a:gd name="connsiteY28" fmla="*/ 5642928 h 6858000"/>
              <a:gd name="connsiteX29" fmla="*/ 51253 w 7467600"/>
              <a:gd name="connsiteY29" fmla="*/ 5631825 h 6858000"/>
              <a:gd name="connsiteX30" fmla="*/ 211622 w 7467600"/>
              <a:gd name="connsiteY30" fmla="*/ 5728803 h 6858000"/>
              <a:gd name="connsiteX31" fmla="*/ 371652 w 7467600"/>
              <a:gd name="connsiteY31" fmla="*/ 5829062 h 6858000"/>
              <a:gd name="connsiteX32" fmla="*/ 505903 w 7467600"/>
              <a:gd name="connsiteY32" fmla="*/ 5925221 h 6858000"/>
              <a:gd name="connsiteX33" fmla="*/ 899240 w 7467600"/>
              <a:gd name="connsiteY33" fmla="*/ 6153068 h 6858000"/>
              <a:gd name="connsiteX34" fmla="*/ 988114 w 7467600"/>
              <a:gd name="connsiteY34" fmla="*/ 6174204 h 6858000"/>
              <a:gd name="connsiteX35" fmla="*/ 845971 w 7467600"/>
              <a:gd name="connsiteY35" fmla="*/ 6067177 h 6858000"/>
              <a:gd name="connsiteX36" fmla="*/ 448057 w 7467600"/>
              <a:gd name="connsiteY36" fmla="*/ 5841376 h 6858000"/>
              <a:gd name="connsiteX37" fmla="*/ 51253 w 7467600"/>
              <a:gd name="connsiteY37" fmla="*/ 5631825 h 6858000"/>
              <a:gd name="connsiteX38" fmla="*/ 2606687 w 7467600"/>
              <a:gd name="connsiteY38" fmla="*/ 5630718 h 6858000"/>
              <a:gd name="connsiteX39" fmla="*/ 2645658 w 7467600"/>
              <a:gd name="connsiteY39" fmla="*/ 6640259 h 6858000"/>
              <a:gd name="connsiteX40" fmla="*/ 2606687 w 7467600"/>
              <a:gd name="connsiteY40" fmla="*/ 5630718 h 6858000"/>
              <a:gd name="connsiteX41" fmla="*/ 3642057 w 7467600"/>
              <a:gd name="connsiteY41" fmla="*/ 5573487 h 6858000"/>
              <a:gd name="connsiteX42" fmla="*/ 3632981 w 7467600"/>
              <a:gd name="connsiteY42" fmla="*/ 5579437 h 6858000"/>
              <a:gd name="connsiteX43" fmla="*/ 3382436 w 7467600"/>
              <a:gd name="connsiteY43" fmla="*/ 5952726 h 6858000"/>
              <a:gd name="connsiteX44" fmla="*/ 3191929 w 7467600"/>
              <a:gd name="connsiteY44" fmla="*/ 6662669 h 6858000"/>
              <a:gd name="connsiteX45" fmla="*/ 3369898 w 7467600"/>
              <a:gd name="connsiteY45" fmla="*/ 6081771 h 6858000"/>
              <a:gd name="connsiteX46" fmla="*/ 3642057 w 7467600"/>
              <a:gd name="connsiteY46" fmla="*/ 5573487 h 6858000"/>
              <a:gd name="connsiteX47" fmla="*/ 2650666 w 7467600"/>
              <a:gd name="connsiteY47" fmla="*/ 5530686 h 6858000"/>
              <a:gd name="connsiteX48" fmla="*/ 2650249 w 7467600"/>
              <a:gd name="connsiteY48" fmla="*/ 5532101 h 6858000"/>
              <a:gd name="connsiteX49" fmla="*/ 2663808 w 7467600"/>
              <a:gd name="connsiteY49" fmla="*/ 6535215 h 6858000"/>
              <a:gd name="connsiteX50" fmla="*/ 2665418 w 7467600"/>
              <a:gd name="connsiteY50" fmla="*/ 6132756 h 6858000"/>
              <a:gd name="connsiteX51" fmla="*/ 2650666 w 7467600"/>
              <a:gd name="connsiteY51" fmla="*/ 5530686 h 6858000"/>
              <a:gd name="connsiteX52" fmla="*/ 2680277 w 7467600"/>
              <a:gd name="connsiteY52" fmla="*/ 5479204 h 6858000"/>
              <a:gd name="connsiteX53" fmla="*/ 2678972 w 7467600"/>
              <a:gd name="connsiteY53" fmla="*/ 5481582 h 6858000"/>
              <a:gd name="connsiteX54" fmla="*/ 2696666 w 7467600"/>
              <a:gd name="connsiteY54" fmla="*/ 6133836 h 6858000"/>
              <a:gd name="connsiteX55" fmla="*/ 2695769 w 7467600"/>
              <a:gd name="connsiteY55" fmla="*/ 6390955 h 6858000"/>
              <a:gd name="connsiteX56" fmla="*/ 2739893 w 7467600"/>
              <a:gd name="connsiteY56" fmla="*/ 6108357 h 6858000"/>
              <a:gd name="connsiteX57" fmla="*/ 2680277 w 7467600"/>
              <a:gd name="connsiteY57" fmla="*/ 5479204 h 6858000"/>
              <a:gd name="connsiteX58" fmla="*/ 1132195 w 7467600"/>
              <a:gd name="connsiteY58" fmla="*/ 5467980 h 6858000"/>
              <a:gd name="connsiteX59" fmla="*/ 1679056 w 7467600"/>
              <a:gd name="connsiteY59" fmla="*/ 5516907 h 6858000"/>
              <a:gd name="connsiteX60" fmla="*/ 2128648 w 7467600"/>
              <a:gd name="connsiteY60" fmla="*/ 5474249 h 6858000"/>
              <a:gd name="connsiteX61" fmla="*/ 1825619 w 7467600"/>
              <a:gd name="connsiteY61" fmla="*/ 5478447 h 6858000"/>
              <a:gd name="connsiteX62" fmla="*/ 1737798 w 7467600"/>
              <a:gd name="connsiteY62" fmla="*/ 5483353 h 6858000"/>
              <a:gd name="connsiteX63" fmla="*/ 1132195 w 7467600"/>
              <a:gd name="connsiteY63" fmla="*/ 5467980 h 6858000"/>
              <a:gd name="connsiteX64" fmla="*/ 1456157 w 7467600"/>
              <a:gd name="connsiteY64" fmla="*/ 5371404 h 6858000"/>
              <a:gd name="connsiteX65" fmla="*/ 1244432 w 7467600"/>
              <a:gd name="connsiteY65" fmla="*/ 5385601 h 6858000"/>
              <a:gd name="connsiteX66" fmla="*/ 973990 w 7467600"/>
              <a:gd name="connsiteY66" fmla="*/ 5424940 h 6858000"/>
              <a:gd name="connsiteX67" fmla="*/ 1103809 w 7467600"/>
              <a:gd name="connsiteY67" fmla="*/ 5433720 h 6858000"/>
              <a:gd name="connsiteX68" fmla="*/ 1123454 w 7467600"/>
              <a:gd name="connsiteY68" fmla="*/ 5435727 h 6858000"/>
              <a:gd name="connsiteX69" fmla="*/ 1737017 w 7467600"/>
              <a:gd name="connsiteY69" fmla="*/ 5452183 h 6858000"/>
              <a:gd name="connsiteX70" fmla="*/ 1824397 w 7467600"/>
              <a:gd name="connsiteY70" fmla="*/ 5447757 h 6858000"/>
              <a:gd name="connsiteX71" fmla="*/ 2070059 w 7467600"/>
              <a:gd name="connsiteY71" fmla="*/ 5441660 h 6858000"/>
              <a:gd name="connsiteX72" fmla="*/ 1456157 w 7467600"/>
              <a:gd name="connsiteY72" fmla="*/ 5371404 h 6858000"/>
              <a:gd name="connsiteX73" fmla="*/ 4988186 w 7467600"/>
              <a:gd name="connsiteY73" fmla="*/ 5216467 h 6858000"/>
              <a:gd name="connsiteX74" fmla="*/ 4777334 w 7467600"/>
              <a:gd name="connsiteY74" fmla="*/ 5406072 h 6858000"/>
              <a:gd name="connsiteX75" fmla="*/ 4718341 w 7467600"/>
              <a:gd name="connsiteY75" fmla="*/ 5468043 h 6858000"/>
              <a:gd name="connsiteX76" fmla="*/ 4604655 w 7467600"/>
              <a:gd name="connsiteY76" fmla="*/ 5583434 h 6858000"/>
              <a:gd name="connsiteX77" fmla="*/ 4565074 w 7467600"/>
              <a:gd name="connsiteY77" fmla="*/ 5618550 h 6858000"/>
              <a:gd name="connsiteX78" fmla="*/ 4988186 w 7467600"/>
              <a:gd name="connsiteY78" fmla="*/ 5216467 h 6858000"/>
              <a:gd name="connsiteX79" fmla="*/ 4978032 w 7467600"/>
              <a:gd name="connsiteY79" fmla="*/ 5183809 h 6858000"/>
              <a:gd name="connsiteX80" fmla="*/ 4463413 w 7467600"/>
              <a:gd name="connsiteY80" fmla="*/ 5615162 h 6858000"/>
              <a:gd name="connsiteX81" fmla="*/ 4358134 w 7467600"/>
              <a:gd name="connsiteY81" fmla="*/ 5742791 h 6858000"/>
              <a:gd name="connsiteX82" fmla="*/ 4376219 w 7467600"/>
              <a:gd name="connsiteY82" fmla="*/ 5729027 h 6858000"/>
              <a:gd name="connsiteX83" fmla="*/ 4582340 w 7467600"/>
              <a:gd name="connsiteY83" fmla="*/ 5561037 h 6858000"/>
              <a:gd name="connsiteX84" fmla="*/ 4694684 w 7467600"/>
              <a:gd name="connsiteY84" fmla="*/ 5447098 h 6858000"/>
              <a:gd name="connsiteX85" fmla="*/ 4754123 w 7467600"/>
              <a:gd name="connsiteY85" fmla="*/ 5384643 h 6858000"/>
              <a:gd name="connsiteX86" fmla="*/ 4978032 w 7467600"/>
              <a:gd name="connsiteY86" fmla="*/ 5183809 h 6858000"/>
              <a:gd name="connsiteX87" fmla="*/ 1903353 w 7467600"/>
              <a:gd name="connsiteY87" fmla="*/ 5044827 h 6858000"/>
              <a:gd name="connsiteX88" fmla="*/ 1936931 w 7467600"/>
              <a:gd name="connsiteY88" fmla="*/ 5093954 h 6858000"/>
              <a:gd name="connsiteX89" fmla="*/ 2195868 w 7467600"/>
              <a:gd name="connsiteY89" fmla="*/ 5396574 h 6858000"/>
              <a:gd name="connsiteX90" fmla="*/ 2088852 w 7467600"/>
              <a:gd name="connsiteY90" fmla="*/ 5166123 h 6858000"/>
              <a:gd name="connsiteX91" fmla="*/ 1958241 w 7467600"/>
              <a:gd name="connsiteY91" fmla="*/ 5067955 h 6858000"/>
              <a:gd name="connsiteX92" fmla="*/ 1903353 w 7467600"/>
              <a:gd name="connsiteY92" fmla="*/ 5044827 h 6858000"/>
              <a:gd name="connsiteX93" fmla="*/ 1979378 w 7467600"/>
              <a:gd name="connsiteY93" fmla="*/ 4769504 h 6858000"/>
              <a:gd name="connsiteX94" fmla="*/ 2882120 w 7467600"/>
              <a:gd name="connsiteY94" fmla="*/ 5064547 h 6858000"/>
              <a:gd name="connsiteX95" fmla="*/ 2793103 w 7467600"/>
              <a:gd name="connsiteY95" fmla="*/ 5039699 h 6858000"/>
              <a:gd name="connsiteX96" fmla="*/ 2770041 w 7467600"/>
              <a:gd name="connsiteY96" fmla="*/ 5033634 h 6858000"/>
              <a:gd name="connsiteX97" fmla="*/ 1979378 w 7467600"/>
              <a:gd name="connsiteY97" fmla="*/ 4769504 h 6858000"/>
              <a:gd name="connsiteX98" fmla="*/ 1927410 w 7467600"/>
              <a:gd name="connsiteY98" fmla="*/ 4716164 h 6858000"/>
              <a:gd name="connsiteX99" fmla="*/ 1959587 w 7467600"/>
              <a:gd name="connsiteY99" fmla="*/ 4728849 h 6858000"/>
              <a:gd name="connsiteX100" fmla="*/ 2777707 w 7467600"/>
              <a:gd name="connsiteY100" fmla="*/ 5003991 h 6858000"/>
              <a:gd name="connsiteX101" fmla="*/ 2800768 w 7467600"/>
              <a:gd name="connsiteY101" fmla="*/ 5010056 h 6858000"/>
              <a:gd name="connsiteX102" fmla="*/ 2879408 w 7467600"/>
              <a:gd name="connsiteY102" fmla="*/ 5031590 h 6858000"/>
              <a:gd name="connsiteX103" fmla="*/ 2862295 w 7467600"/>
              <a:gd name="connsiteY103" fmla="*/ 5022958 h 6858000"/>
              <a:gd name="connsiteX104" fmla="*/ 2813343 w 7467600"/>
              <a:gd name="connsiteY104" fmla="*/ 4998369 h 6858000"/>
              <a:gd name="connsiteX105" fmla="*/ 2646245 w 7467600"/>
              <a:gd name="connsiteY105" fmla="*/ 4930999 h 6858000"/>
              <a:gd name="connsiteX106" fmla="*/ 1999243 w 7467600"/>
              <a:gd name="connsiteY106" fmla="*/ 4730524 h 6858000"/>
              <a:gd name="connsiteX107" fmla="*/ 1979527 w 7467600"/>
              <a:gd name="connsiteY107" fmla="*/ 4726651 h 6858000"/>
              <a:gd name="connsiteX108" fmla="*/ 1927410 w 7467600"/>
              <a:gd name="connsiteY108" fmla="*/ 4716164 h 6858000"/>
              <a:gd name="connsiteX109" fmla="*/ 1997014 w 7467600"/>
              <a:gd name="connsiteY109" fmla="*/ 4698007 h 6858000"/>
              <a:gd name="connsiteX110" fmla="*/ 2005458 w 7467600"/>
              <a:gd name="connsiteY110" fmla="*/ 4699540 h 6858000"/>
              <a:gd name="connsiteX111" fmla="*/ 2657186 w 7467600"/>
              <a:gd name="connsiteY111" fmla="*/ 4901687 h 6858000"/>
              <a:gd name="connsiteX112" fmla="*/ 2826662 w 7467600"/>
              <a:gd name="connsiteY112" fmla="*/ 4970362 h 6858000"/>
              <a:gd name="connsiteX113" fmla="*/ 2876100 w 7467600"/>
              <a:gd name="connsiteY113" fmla="*/ 4995397 h 6858000"/>
              <a:gd name="connsiteX114" fmla="*/ 3042600 w 7467600"/>
              <a:gd name="connsiteY114" fmla="*/ 5059532 h 6858000"/>
              <a:gd name="connsiteX115" fmla="*/ 1997014 w 7467600"/>
              <a:gd name="connsiteY115" fmla="*/ 4698007 h 6858000"/>
              <a:gd name="connsiteX116" fmla="*/ 2305292 w 7467600"/>
              <a:gd name="connsiteY116" fmla="*/ 4219492 h 6858000"/>
              <a:gd name="connsiteX117" fmla="*/ 3360922 w 7467600"/>
              <a:gd name="connsiteY117" fmla="*/ 4529373 h 6858000"/>
              <a:gd name="connsiteX118" fmla="*/ 3492420 w 7467600"/>
              <a:gd name="connsiteY118" fmla="*/ 4510145 h 6858000"/>
              <a:gd name="connsiteX119" fmla="*/ 3364086 w 7467600"/>
              <a:gd name="connsiteY119" fmla="*/ 4480340 h 6858000"/>
              <a:gd name="connsiteX120" fmla="*/ 3225818 w 7467600"/>
              <a:gd name="connsiteY120" fmla="*/ 4411822 h 6858000"/>
              <a:gd name="connsiteX121" fmla="*/ 3129696 w 7467600"/>
              <a:gd name="connsiteY121" fmla="*/ 4360704 h 6858000"/>
              <a:gd name="connsiteX122" fmla="*/ 2814545 w 7467600"/>
              <a:gd name="connsiteY122" fmla="*/ 4282955 h 6858000"/>
              <a:gd name="connsiteX123" fmla="*/ 2305292 w 7467600"/>
              <a:gd name="connsiteY123" fmla="*/ 4219492 h 6858000"/>
              <a:gd name="connsiteX124" fmla="*/ 2626982 w 7467600"/>
              <a:gd name="connsiteY124" fmla="*/ 4206450 h 6858000"/>
              <a:gd name="connsiteX125" fmla="*/ 2490617 w 7467600"/>
              <a:gd name="connsiteY125" fmla="*/ 4206951 h 6858000"/>
              <a:gd name="connsiteX126" fmla="*/ 2819869 w 7467600"/>
              <a:gd name="connsiteY126" fmla="*/ 4252936 h 6858000"/>
              <a:gd name="connsiteX127" fmla="*/ 3143018 w 7467600"/>
              <a:gd name="connsiteY127" fmla="*/ 4332698 h 6858000"/>
              <a:gd name="connsiteX128" fmla="*/ 3241520 w 7467600"/>
              <a:gd name="connsiteY128" fmla="*/ 4385112 h 6858000"/>
              <a:gd name="connsiteX129" fmla="*/ 3374575 w 7467600"/>
              <a:gd name="connsiteY129" fmla="*/ 4451517 h 6858000"/>
              <a:gd name="connsiteX130" fmla="*/ 3505221 w 7467600"/>
              <a:gd name="connsiteY130" fmla="*/ 4480757 h 6858000"/>
              <a:gd name="connsiteX131" fmla="*/ 2626982 w 7467600"/>
              <a:gd name="connsiteY131" fmla="*/ 4206450 h 6858000"/>
              <a:gd name="connsiteX132" fmla="*/ 1310106 w 7467600"/>
              <a:gd name="connsiteY132" fmla="*/ 3943217 h 6858000"/>
              <a:gd name="connsiteX133" fmla="*/ 854994 w 7467600"/>
              <a:gd name="connsiteY133" fmla="*/ 4399136 h 6858000"/>
              <a:gd name="connsiteX134" fmla="*/ 742462 w 7467600"/>
              <a:gd name="connsiteY134" fmla="*/ 4594648 h 6858000"/>
              <a:gd name="connsiteX135" fmla="*/ 820602 w 7467600"/>
              <a:gd name="connsiteY135" fmla="*/ 4485915 h 6858000"/>
              <a:gd name="connsiteX136" fmla="*/ 878295 w 7467600"/>
              <a:gd name="connsiteY136" fmla="*/ 4403594 h 6858000"/>
              <a:gd name="connsiteX137" fmla="*/ 1240607 w 7467600"/>
              <a:gd name="connsiteY137" fmla="*/ 4010401 h 6858000"/>
              <a:gd name="connsiteX138" fmla="*/ 1310106 w 7467600"/>
              <a:gd name="connsiteY138" fmla="*/ 3943217 h 6858000"/>
              <a:gd name="connsiteX139" fmla="*/ 1423113 w 7467600"/>
              <a:gd name="connsiteY139" fmla="*/ 3874565 h 6858000"/>
              <a:gd name="connsiteX140" fmla="*/ 1260565 w 7467600"/>
              <a:gd name="connsiteY140" fmla="*/ 4031982 h 6858000"/>
              <a:gd name="connsiteX141" fmla="*/ 901900 w 7467600"/>
              <a:gd name="connsiteY141" fmla="*/ 4421236 h 6858000"/>
              <a:gd name="connsiteX142" fmla="*/ 845044 w 7467600"/>
              <a:gd name="connsiteY142" fmla="*/ 4502436 h 6858000"/>
              <a:gd name="connsiteX143" fmla="*/ 685926 w 7467600"/>
              <a:gd name="connsiteY143" fmla="*/ 4703069 h 6858000"/>
              <a:gd name="connsiteX144" fmla="*/ 684248 w 7467600"/>
              <a:gd name="connsiteY144" fmla="*/ 4706721 h 6858000"/>
              <a:gd name="connsiteX145" fmla="*/ 1423113 w 7467600"/>
              <a:gd name="connsiteY145" fmla="*/ 3874565 h 6858000"/>
              <a:gd name="connsiteX146" fmla="*/ 3316479 w 7467600"/>
              <a:gd name="connsiteY146" fmla="*/ 3872136 h 6858000"/>
              <a:gd name="connsiteX147" fmla="*/ 3546806 w 7467600"/>
              <a:gd name="connsiteY147" fmla="*/ 4356139 h 6858000"/>
              <a:gd name="connsiteX148" fmla="*/ 3364433 w 7467600"/>
              <a:gd name="connsiteY148" fmla="*/ 3953121 h 6858000"/>
              <a:gd name="connsiteX149" fmla="*/ 3316479 w 7467600"/>
              <a:gd name="connsiteY149" fmla="*/ 3872136 h 6858000"/>
              <a:gd name="connsiteX150" fmla="*/ 3291335 w 7467600"/>
              <a:gd name="connsiteY150" fmla="*/ 3767420 h 6858000"/>
              <a:gd name="connsiteX151" fmla="*/ 3390805 w 7467600"/>
              <a:gd name="connsiteY151" fmla="*/ 3937163 h 6858000"/>
              <a:gd name="connsiteX152" fmla="*/ 3579062 w 7467600"/>
              <a:gd name="connsiteY152" fmla="*/ 4359040 h 6858000"/>
              <a:gd name="connsiteX153" fmla="*/ 3467355 w 7467600"/>
              <a:gd name="connsiteY153" fmla="*/ 3988130 h 6858000"/>
              <a:gd name="connsiteX154" fmla="*/ 3310753 w 7467600"/>
              <a:gd name="connsiteY154" fmla="*/ 3787140 h 6858000"/>
              <a:gd name="connsiteX155" fmla="*/ 3291335 w 7467600"/>
              <a:gd name="connsiteY155" fmla="*/ 3767420 h 6858000"/>
              <a:gd name="connsiteX156" fmla="*/ 1635889 w 7467600"/>
              <a:gd name="connsiteY156" fmla="*/ 3709494 h 6858000"/>
              <a:gd name="connsiteX157" fmla="*/ 1634800 w 7467600"/>
              <a:gd name="connsiteY157" fmla="*/ 3731111 h 6858000"/>
              <a:gd name="connsiteX158" fmla="*/ 1635889 w 7467600"/>
              <a:gd name="connsiteY158" fmla="*/ 3709494 h 6858000"/>
              <a:gd name="connsiteX159" fmla="*/ 1510397 w 7467600"/>
              <a:gd name="connsiteY159" fmla="*/ 3684705 h 6858000"/>
              <a:gd name="connsiteX160" fmla="*/ 1146550 w 7467600"/>
              <a:gd name="connsiteY160" fmla="*/ 3802012 h 6858000"/>
              <a:gd name="connsiteX161" fmla="*/ 698834 w 7467600"/>
              <a:gd name="connsiteY161" fmla="*/ 3952272 h 6858000"/>
              <a:gd name="connsiteX162" fmla="*/ 34256 w 7467600"/>
              <a:gd name="connsiteY162" fmla="*/ 4347603 h 6858000"/>
              <a:gd name="connsiteX163" fmla="*/ 527241 w 7467600"/>
              <a:gd name="connsiteY163" fmla="*/ 4065078 h 6858000"/>
              <a:gd name="connsiteX164" fmla="*/ 1510397 w 7467600"/>
              <a:gd name="connsiteY164" fmla="*/ 3684705 h 6858000"/>
              <a:gd name="connsiteX165" fmla="*/ 1313114 w 7467600"/>
              <a:gd name="connsiteY165" fmla="*/ 3655216 h 6858000"/>
              <a:gd name="connsiteX166" fmla="*/ 1109304 w 7467600"/>
              <a:gd name="connsiteY166" fmla="*/ 3669030 h 6858000"/>
              <a:gd name="connsiteX167" fmla="*/ 8129 w 7467600"/>
              <a:gd name="connsiteY167" fmla="*/ 4330519 h 6858000"/>
              <a:gd name="connsiteX168" fmla="*/ 687572 w 7467600"/>
              <a:gd name="connsiteY168" fmla="*/ 3925629 h 6858000"/>
              <a:gd name="connsiteX169" fmla="*/ 1138365 w 7467600"/>
              <a:gd name="connsiteY169" fmla="*/ 3774515 h 6858000"/>
              <a:gd name="connsiteX170" fmla="*/ 1505579 w 7467600"/>
              <a:gd name="connsiteY170" fmla="*/ 3655526 h 6858000"/>
              <a:gd name="connsiteX171" fmla="*/ 1313114 w 7467600"/>
              <a:gd name="connsiteY171" fmla="*/ 3655216 h 6858000"/>
              <a:gd name="connsiteX172" fmla="*/ 3655073 w 7467600"/>
              <a:gd name="connsiteY172" fmla="*/ 3650884 h 6858000"/>
              <a:gd name="connsiteX173" fmla="*/ 3989938 w 7467600"/>
              <a:gd name="connsiteY173" fmla="*/ 3991685 h 6858000"/>
              <a:gd name="connsiteX174" fmla="*/ 4393907 w 7467600"/>
              <a:gd name="connsiteY174" fmla="*/ 4261258 h 6858000"/>
              <a:gd name="connsiteX175" fmla="*/ 4648051 w 7467600"/>
              <a:gd name="connsiteY175" fmla="*/ 4374051 h 6858000"/>
              <a:gd name="connsiteX176" fmla="*/ 4383389 w 7467600"/>
              <a:gd name="connsiteY176" fmla="*/ 4184369 h 6858000"/>
              <a:gd name="connsiteX177" fmla="*/ 4165508 w 7467600"/>
              <a:gd name="connsiteY177" fmla="*/ 4035196 h 6858000"/>
              <a:gd name="connsiteX178" fmla="*/ 4068162 w 7467600"/>
              <a:gd name="connsiteY178" fmla="*/ 3953394 h 6858000"/>
              <a:gd name="connsiteX179" fmla="*/ 3981416 w 7467600"/>
              <a:gd name="connsiteY179" fmla="*/ 3880482 h 6858000"/>
              <a:gd name="connsiteX180" fmla="*/ 3800147 w 7467600"/>
              <a:gd name="connsiteY180" fmla="*/ 3749872 h 6858000"/>
              <a:gd name="connsiteX181" fmla="*/ 3655073 w 7467600"/>
              <a:gd name="connsiteY181" fmla="*/ 3650884 h 6858000"/>
              <a:gd name="connsiteX182" fmla="*/ 3670252 w 7467600"/>
              <a:gd name="connsiteY182" fmla="*/ 3622798 h 6858000"/>
              <a:gd name="connsiteX183" fmla="*/ 3817258 w 7467600"/>
              <a:gd name="connsiteY183" fmla="*/ 3723577 h 6858000"/>
              <a:gd name="connsiteX184" fmla="*/ 4000461 w 7467600"/>
              <a:gd name="connsiteY184" fmla="*/ 3855966 h 6858000"/>
              <a:gd name="connsiteX185" fmla="*/ 4088180 w 7467600"/>
              <a:gd name="connsiteY185" fmla="*/ 3929774 h 6858000"/>
              <a:gd name="connsiteX186" fmla="*/ 4184555 w 7467600"/>
              <a:gd name="connsiteY186" fmla="*/ 4010683 h 6858000"/>
              <a:gd name="connsiteX187" fmla="*/ 4399563 w 7467600"/>
              <a:gd name="connsiteY187" fmla="*/ 4158106 h 6858000"/>
              <a:gd name="connsiteX188" fmla="*/ 4684469 w 7467600"/>
              <a:gd name="connsiteY188" fmla="*/ 4364680 h 6858000"/>
              <a:gd name="connsiteX189" fmla="*/ 4690271 w 7467600"/>
              <a:gd name="connsiteY189" fmla="*/ 4370034 h 6858000"/>
              <a:gd name="connsiteX190" fmla="*/ 4136093 w 7467600"/>
              <a:gd name="connsiteY190" fmla="*/ 3858466 h 6858000"/>
              <a:gd name="connsiteX191" fmla="*/ 3670252 w 7467600"/>
              <a:gd name="connsiteY191" fmla="*/ 3622798 h 6858000"/>
              <a:gd name="connsiteX192" fmla="*/ 4440129 w 7467600"/>
              <a:gd name="connsiteY192" fmla="*/ 3448571 h 6858000"/>
              <a:gd name="connsiteX193" fmla="*/ 4856525 w 7467600"/>
              <a:gd name="connsiteY193" fmla="*/ 3915351 h 6858000"/>
              <a:gd name="connsiteX194" fmla="*/ 5059055 w 7467600"/>
              <a:gd name="connsiteY194" fmla="*/ 4108918 h 6858000"/>
              <a:gd name="connsiteX195" fmla="*/ 5290070 w 7467600"/>
              <a:gd name="connsiteY195" fmla="*/ 4263619 h 6858000"/>
              <a:gd name="connsiteX196" fmla="*/ 4834991 w 7467600"/>
              <a:gd name="connsiteY196" fmla="*/ 3830985 h 6858000"/>
              <a:gd name="connsiteX197" fmla="*/ 4440129 w 7467600"/>
              <a:gd name="connsiteY197" fmla="*/ 3448571 h 6858000"/>
              <a:gd name="connsiteX198" fmla="*/ 4441737 w 7467600"/>
              <a:gd name="connsiteY198" fmla="*/ 3399734 h 6858000"/>
              <a:gd name="connsiteX199" fmla="*/ 4431236 w 7467600"/>
              <a:gd name="connsiteY199" fmla="*/ 3400954 h 6858000"/>
              <a:gd name="connsiteX200" fmla="*/ 4557150 w 7467600"/>
              <a:gd name="connsiteY200" fmla="*/ 3510023 h 6858000"/>
              <a:gd name="connsiteX201" fmla="*/ 4856936 w 7467600"/>
              <a:gd name="connsiteY201" fmla="*/ 3809146 h 6858000"/>
              <a:gd name="connsiteX202" fmla="*/ 5111996 w 7467600"/>
              <a:gd name="connsiteY202" fmla="*/ 4065759 h 6858000"/>
              <a:gd name="connsiteX203" fmla="*/ 5388878 w 7467600"/>
              <a:gd name="connsiteY203" fmla="*/ 4300185 h 6858000"/>
              <a:gd name="connsiteX204" fmla="*/ 5425556 w 7467600"/>
              <a:gd name="connsiteY204" fmla="*/ 4308967 h 6858000"/>
              <a:gd name="connsiteX205" fmla="*/ 4943646 w 7467600"/>
              <a:gd name="connsiteY205" fmla="*/ 3822916 h 6858000"/>
              <a:gd name="connsiteX206" fmla="*/ 4594837 w 7467600"/>
              <a:gd name="connsiteY206" fmla="*/ 3532274 h 6858000"/>
              <a:gd name="connsiteX207" fmla="*/ 4441737 w 7467600"/>
              <a:gd name="connsiteY207" fmla="*/ 3399734 h 6858000"/>
              <a:gd name="connsiteX208" fmla="*/ 5425834 w 7467600"/>
              <a:gd name="connsiteY208" fmla="*/ 3162785 h 6858000"/>
              <a:gd name="connsiteX209" fmla="*/ 5401644 w 7467600"/>
              <a:gd name="connsiteY209" fmla="*/ 3617847 h 6858000"/>
              <a:gd name="connsiteX210" fmla="*/ 5467256 w 7467600"/>
              <a:gd name="connsiteY210" fmla="*/ 4175494 h 6858000"/>
              <a:gd name="connsiteX211" fmla="*/ 5448069 w 7467600"/>
              <a:gd name="connsiteY211" fmla="*/ 3567554 h 6858000"/>
              <a:gd name="connsiteX212" fmla="*/ 5425834 w 7467600"/>
              <a:gd name="connsiteY212" fmla="*/ 3162785 h 6858000"/>
              <a:gd name="connsiteX213" fmla="*/ 1318687 w 7467600"/>
              <a:gd name="connsiteY213" fmla="*/ 3113840 h 6858000"/>
              <a:gd name="connsiteX214" fmla="*/ 1066793 w 7467600"/>
              <a:gd name="connsiteY214" fmla="*/ 3212171 h 6858000"/>
              <a:gd name="connsiteX215" fmla="*/ 993319 w 7467600"/>
              <a:gd name="connsiteY215" fmla="*/ 3247648 h 6858000"/>
              <a:gd name="connsiteX216" fmla="*/ 853081 w 7467600"/>
              <a:gd name="connsiteY216" fmla="*/ 3312410 h 6858000"/>
              <a:gd name="connsiteX217" fmla="*/ 805957 w 7467600"/>
              <a:gd name="connsiteY217" fmla="*/ 3330443 h 6858000"/>
              <a:gd name="connsiteX218" fmla="*/ 1318687 w 7467600"/>
              <a:gd name="connsiteY218" fmla="*/ 3113840 h 6858000"/>
              <a:gd name="connsiteX219" fmla="*/ 5453702 w 7467600"/>
              <a:gd name="connsiteY219" fmla="*/ 3090882 h 6858000"/>
              <a:gd name="connsiteX220" fmla="*/ 5480135 w 7467600"/>
              <a:gd name="connsiteY220" fmla="*/ 3565802 h 6858000"/>
              <a:gd name="connsiteX221" fmla="*/ 5499023 w 7467600"/>
              <a:gd name="connsiteY221" fmla="*/ 4166310 h 6858000"/>
              <a:gd name="connsiteX222" fmla="*/ 5547022 w 7467600"/>
              <a:gd name="connsiteY222" fmla="*/ 3607838 h 6858000"/>
              <a:gd name="connsiteX223" fmla="*/ 5515964 w 7467600"/>
              <a:gd name="connsiteY223" fmla="*/ 3378541 h 6858000"/>
              <a:gd name="connsiteX224" fmla="*/ 5453702 w 7467600"/>
              <a:gd name="connsiteY224" fmla="*/ 3090882 h 6858000"/>
              <a:gd name="connsiteX225" fmla="*/ 1238695 w 7467600"/>
              <a:gd name="connsiteY225" fmla="*/ 3076820 h 6858000"/>
              <a:gd name="connsiteX226" fmla="*/ 716371 w 7467600"/>
              <a:gd name="connsiteY226" fmla="*/ 3293249 h 6858000"/>
              <a:gd name="connsiteX227" fmla="*/ 579522 w 7467600"/>
              <a:gd name="connsiteY227" fmla="*/ 3371759 h 6858000"/>
              <a:gd name="connsiteX228" fmla="*/ 600288 w 7467600"/>
              <a:gd name="connsiteY228" fmla="*/ 3365555 h 6858000"/>
              <a:gd name="connsiteX229" fmla="*/ 840692 w 7467600"/>
              <a:gd name="connsiteY229" fmla="*/ 3284921 h 6858000"/>
              <a:gd name="connsiteX230" fmla="*/ 979248 w 7467600"/>
              <a:gd name="connsiteY230" fmla="*/ 3221003 h 6858000"/>
              <a:gd name="connsiteX231" fmla="*/ 1053282 w 7467600"/>
              <a:gd name="connsiteY231" fmla="*/ 3185247 h 6858000"/>
              <a:gd name="connsiteX232" fmla="*/ 1320603 w 7467600"/>
              <a:gd name="connsiteY232" fmla="*/ 3081281 h 6858000"/>
              <a:gd name="connsiteX233" fmla="*/ 1238695 w 7467600"/>
              <a:gd name="connsiteY233" fmla="*/ 3076820 h 6858000"/>
              <a:gd name="connsiteX234" fmla="*/ 5425627 w 7467600"/>
              <a:gd name="connsiteY234" fmla="*/ 2954192 h 6858000"/>
              <a:gd name="connsiteX235" fmla="*/ 5470770 w 7467600"/>
              <a:gd name="connsiteY235" fmla="*/ 3005435 h 6858000"/>
              <a:gd name="connsiteX236" fmla="*/ 5519779 w 7467600"/>
              <a:gd name="connsiteY236" fmla="*/ 4359223 h 6858000"/>
              <a:gd name="connsiteX237" fmla="*/ 5520293 w 7467600"/>
              <a:gd name="connsiteY237" fmla="*/ 4360602 h 6858000"/>
              <a:gd name="connsiteX238" fmla="*/ 5767221 w 7467600"/>
              <a:gd name="connsiteY238" fmla="*/ 4665564 h 6858000"/>
              <a:gd name="connsiteX239" fmla="*/ 6937169 w 7467600"/>
              <a:gd name="connsiteY239" fmla="*/ 4815941 h 6858000"/>
              <a:gd name="connsiteX240" fmla="*/ 6953922 w 7467600"/>
              <a:gd name="connsiteY240" fmla="*/ 4890068 h 6858000"/>
              <a:gd name="connsiteX241" fmla="*/ 6071359 w 7467600"/>
              <a:gd name="connsiteY241" fmla="*/ 4770770 h 6858000"/>
              <a:gd name="connsiteX242" fmla="*/ 6038839 w 7467600"/>
              <a:gd name="connsiteY242" fmla="*/ 4764474 h 6858000"/>
              <a:gd name="connsiteX243" fmla="*/ 6038706 w 7467600"/>
              <a:gd name="connsiteY243" fmla="*/ 4763847 h 6858000"/>
              <a:gd name="connsiteX244" fmla="*/ 6037784 w 7467600"/>
              <a:gd name="connsiteY244" fmla="*/ 4764270 h 6858000"/>
              <a:gd name="connsiteX245" fmla="*/ 6038839 w 7467600"/>
              <a:gd name="connsiteY245" fmla="*/ 4764474 h 6858000"/>
              <a:gd name="connsiteX246" fmla="*/ 6040338 w 7467600"/>
              <a:gd name="connsiteY246" fmla="*/ 4771418 h 6858000"/>
              <a:gd name="connsiteX247" fmla="*/ 6024488 w 7467600"/>
              <a:gd name="connsiteY247" fmla="*/ 4809903 h 6858000"/>
              <a:gd name="connsiteX248" fmla="*/ 5599771 w 7467600"/>
              <a:gd name="connsiteY248" fmla="*/ 5509652 h 6858000"/>
              <a:gd name="connsiteX249" fmla="*/ 5548843 w 7467600"/>
              <a:gd name="connsiteY249" fmla="*/ 5563845 h 6858000"/>
              <a:gd name="connsiteX250" fmla="*/ 5940952 w 7467600"/>
              <a:gd name="connsiteY250" fmla="*/ 6250028 h 6858000"/>
              <a:gd name="connsiteX251" fmla="*/ 6043441 w 7467600"/>
              <a:gd name="connsiteY251" fmla="*/ 6665847 h 6858000"/>
              <a:gd name="connsiteX252" fmla="*/ 6093432 w 7467600"/>
              <a:gd name="connsiteY252" fmla="*/ 6858000 h 6858000"/>
              <a:gd name="connsiteX253" fmla="*/ 6034344 w 7467600"/>
              <a:gd name="connsiteY253" fmla="*/ 6858000 h 6858000"/>
              <a:gd name="connsiteX254" fmla="*/ 6026679 w 7467600"/>
              <a:gd name="connsiteY254" fmla="*/ 6836959 h 6858000"/>
              <a:gd name="connsiteX255" fmla="*/ 5800441 w 7467600"/>
              <a:gd name="connsiteY255" fmla="*/ 6335286 h 6858000"/>
              <a:gd name="connsiteX256" fmla="*/ 5526562 w 7467600"/>
              <a:gd name="connsiteY256" fmla="*/ 5705388 h 6858000"/>
              <a:gd name="connsiteX257" fmla="*/ 5519640 w 7467600"/>
              <a:gd name="connsiteY257" fmla="*/ 5683774 h 6858000"/>
              <a:gd name="connsiteX258" fmla="*/ 5844559 w 7467600"/>
              <a:gd name="connsiteY258" fmla="*/ 6553349 h 6858000"/>
              <a:gd name="connsiteX259" fmla="*/ 5975994 w 7467600"/>
              <a:gd name="connsiteY259" fmla="*/ 6858000 h 6858000"/>
              <a:gd name="connsiteX260" fmla="*/ 5898547 w 7467600"/>
              <a:gd name="connsiteY260" fmla="*/ 6858000 h 6858000"/>
              <a:gd name="connsiteX261" fmla="*/ 5682041 w 7467600"/>
              <a:gd name="connsiteY261" fmla="*/ 6355860 h 6858000"/>
              <a:gd name="connsiteX262" fmla="*/ 5461758 w 7467600"/>
              <a:gd name="connsiteY262" fmla="*/ 5820220 h 6858000"/>
              <a:gd name="connsiteX263" fmla="*/ 5237282 w 7467600"/>
              <a:gd name="connsiteY263" fmla="*/ 6579086 h 6858000"/>
              <a:gd name="connsiteX264" fmla="*/ 5115009 w 7467600"/>
              <a:gd name="connsiteY264" fmla="*/ 6858000 h 6858000"/>
              <a:gd name="connsiteX265" fmla="*/ 5028074 w 7467600"/>
              <a:gd name="connsiteY265" fmla="*/ 6858000 h 6858000"/>
              <a:gd name="connsiteX266" fmla="*/ 5079508 w 7467600"/>
              <a:gd name="connsiteY266" fmla="*/ 6749074 h 6858000"/>
              <a:gd name="connsiteX267" fmla="*/ 5371846 w 7467600"/>
              <a:gd name="connsiteY267" fmla="*/ 5924413 h 6858000"/>
              <a:gd name="connsiteX268" fmla="*/ 5270512 w 7467600"/>
              <a:gd name="connsiteY268" fmla="*/ 6138975 h 6858000"/>
              <a:gd name="connsiteX269" fmla="*/ 5062409 w 7467600"/>
              <a:gd name="connsiteY269" fmla="*/ 6653544 h 6858000"/>
              <a:gd name="connsiteX270" fmla="*/ 5036628 w 7467600"/>
              <a:gd name="connsiteY270" fmla="*/ 6754247 h 6858000"/>
              <a:gd name="connsiteX271" fmla="*/ 5009112 w 7467600"/>
              <a:gd name="connsiteY271" fmla="*/ 6858000 h 6858000"/>
              <a:gd name="connsiteX272" fmla="*/ 4976679 w 7467600"/>
              <a:gd name="connsiteY272" fmla="*/ 6858000 h 6858000"/>
              <a:gd name="connsiteX273" fmla="*/ 5006537 w 7467600"/>
              <a:gd name="connsiteY273" fmla="*/ 6747068 h 6858000"/>
              <a:gd name="connsiteX274" fmla="*/ 5032723 w 7467600"/>
              <a:gd name="connsiteY274" fmla="*/ 6644957 h 6858000"/>
              <a:gd name="connsiteX275" fmla="*/ 5242949 w 7467600"/>
              <a:gd name="connsiteY275" fmla="*/ 6125175 h 6858000"/>
              <a:gd name="connsiteX276" fmla="*/ 5286321 w 7467600"/>
              <a:gd name="connsiteY276" fmla="*/ 6033555 h 6858000"/>
              <a:gd name="connsiteX277" fmla="*/ 5008210 w 7467600"/>
              <a:gd name="connsiteY277" fmla="*/ 6649194 h 6858000"/>
              <a:gd name="connsiteX278" fmla="*/ 4986321 w 7467600"/>
              <a:gd name="connsiteY278" fmla="*/ 6765687 h 6858000"/>
              <a:gd name="connsiteX279" fmla="*/ 4973474 w 7467600"/>
              <a:gd name="connsiteY279" fmla="*/ 6858000 h 6858000"/>
              <a:gd name="connsiteX280" fmla="*/ 4907178 w 7467600"/>
              <a:gd name="connsiteY280" fmla="*/ 6858000 h 6858000"/>
              <a:gd name="connsiteX281" fmla="*/ 4910810 w 7467600"/>
              <a:gd name="connsiteY281" fmla="*/ 6829660 h 6858000"/>
              <a:gd name="connsiteX282" fmla="*/ 4987461 w 7467600"/>
              <a:gd name="connsiteY282" fmla="*/ 6432994 h 6858000"/>
              <a:gd name="connsiteX283" fmla="*/ 5179262 w 7467600"/>
              <a:gd name="connsiteY283" fmla="*/ 6035044 h 6858000"/>
              <a:gd name="connsiteX284" fmla="*/ 4689678 w 7467600"/>
              <a:gd name="connsiteY284" fmla="*/ 6440241 h 6858000"/>
              <a:gd name="connsiteX285" fmla="*/ 4477543 w 7467600"/>
              <a:gd name="connsiteY285" fmla="*/ 6674836 h 6858000"/>
              <a:gd name="connsiteX286" fmla="*/ 4329957 w 7467600"/>
              <a:gd name="connsiteY286" fmla="*/ 6858000 h 6858000"/>
              <a:gd name="connsiteX287" fmla="*/ 4218595 w 7467600"/>
              <a:gd name="connsiteY287" fmla="*/ 6858000 h 6858000"/>
              <a:gd name="connsiteX288" fmla="*/ 4368888 w 7467600"/>
              <a:gd name="connsiteY288" fmla="*/ 6668412 h 6858000"/>
              <a:gd name="connsiteX289" fmla="*/ 4563091 w 7467600"/>
              <a:gd name="connsiteY289" fmla="*/ 6442508 h 6858000"/>
              <a:gd name="connsiteX290" fmla="*/ 5387324 w 7467600"/>
              <a:gd name="connsiteY290" fmla="*/ 5705830 h 6858000"/>
              <a:gd name="connsiteX291" fmla="*/ 5073620 w 7467600"/>
              <a:gd name="connsiteY291" fmla="*/ 5955437 h 6858000"/>
              <a:gd name="connsiteX292" fmla="*/ 4689789 w 7467600"/>
              <a:gd name="connsiteY292" fmla="*/ 6268382 h 6858000"/>
              <a:gd name="connsiteX293" fmla="*/ 4418722 w 7467600"/>
              <a:gd name="connsiteY293" fmla="*/ 6570886 h 6858000"/>
              <a:gd name="connsiteX294" fmla="*/ 4214944 w 7467600"/>
              <a:gd name="connsiteY294" fmla="*/ 6858000 h 6858000"/>
              <a:gd name="connsiteX295" fmla="*/ 4177898 w 7467600"/>
              <a:gd name="connsiteY295" fmla="*/ 6858000 h 6858000"/>
              <a:gd name="connsiteX296" fmla="*/ 4391597 w 7467600"/>
              <a:gd name="connsiteY296" fmla="*/ 6556370 h 6858000"/>
              <a:gd name="connsiteX297" fmla="*/ 4668889 w 7467600"/>
              <a:gd name="connsiteY297" fmla="*/ 6246399 h 6858000"/>
              <a:gd name="connsiteX298" fmla="*/ 5055427 w 7467600"/>
              <a:gd name="connsiteY298" fmla="*/ 5931476 h 6858000"/>
              <a:gd name="connsiteX299" fmla="*/ 5371814 w 7467600"/>
              <a:gd name="connsiteY299" fmla="*/ 5678975 h 6858000"/>
              <a:gd name="connsiteX300" fmla="*/ 4987918 w 7467600"/>
              <a:gd name="connsiteY300" fmla="*/ 5838701 h 6858000"/>
              <a:gd name="connsiteX301" fmla="*/ 4317146 w 7467600"/>
              <a:gd name="connsiteY301" fmla="*/ 6587716 h 6858000"/>
              <a:gd name="connsiteX302" fmla="*/ 4171627 w 7467600"/>
              <a:gd name="connsiteY302" fmla="*/ 6858000 h 6858000"/>
              <a:gd name="connsiteX303" fmla="*/ 4081585 w 7467600"/>
              <a:gd name="connsiteY303" fmla="*/ 6858000 h 6858000"/>
              <a:gd name="connsiteX304" fmla="*/ 4238603 w 7467600"/>
              <a:gd name="connsiteY304" fmla="*/ 6559341 h 6858000"/>
              <a:gd name="connsiteX305" fmla="*/ 4778333 w 7467600"/>
              <a:gd name="connsiteY305" fmla="*/ 5873626 h 6858000"/>
              <a:gd name="connsiteX306" fmla="*/ 5414185 w 7467600"/>
              <a:gd name="connsiteY306" fmla="*/ 5573882 h 6858000"/>
              <a:gd name="connsiteX307" fmla="*/ 5959648 w 7467600"/>
              <a:gd name="connsiteY307" fmla="*/ 4760797 h 6858000"/>
              <a:gd name="connsiteX308" fmla="*/ 5355019 w 7467600"/>
              <a:gd name="connsiteY308" fmla="*/ 4734672 h 6858000"/>
              <a:gd name="connsiteX309" fmla="*/ 5083565 w 7467600"/>
              <a:gd name="connsiteY309" fmla="*/ 5179121 h 6858000"/>
              <a:gd name="connsiteX310" fmla="*/ 4713577 w 7467600"/>
              <a:gd name="connsiteY310" fmla="*/ 5616803 h 6858000"/>
              <a:gd name="connsiteX311" fmla="*/ 3989559 w 7467600"/>
              <a:gd name="connsiteY311" fmla="*/ 6145945 h 6858000"/>
              <a:gd name="connsiteX312" fmla="*/ 3939824 w 7467600"/>
              <a:gd name="connsiteY312" fmla="*/ 6066900 h 6858000"/>
              <a:gd name="connsiteX313" fmla="*/ 4584537 w 7467600"/>
              <a:gd name="connsiteY313" fmla="*/ 5324826 h 6858000"/>
              <a:gd name="connsiteX314" fmla="*/ 5037105 w 7467600"/>
              <a:gd name="connsiteY314" fmla="*/ 5088765 h 6858000"/>
              <a:gd name="connsiteX315" fmla="*/ 5039930 w 7467600"/>
              <a:gd name="connsiteY315" fmla="*/ 5089585 h 6858000"/>
              <a:gd name="connsiteX316" fmla="*/ 5263764 w 7467600"/>
              <a:gd name="connsiteY316" fmla="*/ 4735525 h 6858000"/>
              <a:gd name="connsiteX317" fmla="*/ 4086300 w 7467600"/>
              <a:gd name="connsiteY317" fmla="*/ 4884599 h 6858000"/>
              <a:gd name="connsiteX318" fmla="*/ 4085485 w 7467600"/>
              <a:gd name="connsiteY318" fmla="*/ 4899070 h 6858000"/>
              <a:gd name="connsiteX319" fmla="*/ 3871915 w 7467600"/>
              <a:gd name="connsiteY319" fmla="*/ 5253645 h 6858000"/>
              <a:gd name="connsiteX320" fmla="*/ 3799374 w 7467600"/>
              <a:gd name="connsiteY320" fmla="*/ 5466127 h 6858000"/>
              <a:gd name="connsiteX321" fmla="*/ 3498850 w 7467600"/>
              <a:gd name="connsiteY321" fmla="*/ 6661888 h 6858000"/>
              <a:gd name="connsiteX322" fmla="*/ 3399216 w 7467600"/>
              <a:gd name="connsiteY322" fmla="*/ 6858000 h 6858000"/>
              <a:gd name="connsiteX323" fmla="*/ 3303688 w 7467600"/>
              <a:gd name="connsiteY323" fmla="*/ 6858000 h 6858000"/>
              <a:gd name="connsiteX324" fmla="*/ 3391774 w 7467600"/>
              <a:gd name="connsiteY324" fmla="*/ 6697181 h 6858000"/>
              <a:gd name="connsiteX325" fmla="*/ 3735540 w 7467600"/>
              <a:gd name="connsiteY325" fmla="*/ 5546923 h 6858000"/>
              <a:gd name="connsiteX326" fmla="*/ 3729438 w 7467600"/>
              <a:gd name="connsiteY326" fmla="*/ 5569058 h 6858000"/>
              <a:gd name="connsiteX327" fmla="*/ 3707782 w 7467600"/>
              <a:gd name="connsiteY327" fmla="*/ 5644908 h 6858000"/>
              <a:gd name="connsiteX328" fmla="*/ 3583827 w 7467600"/>
              <a:gd name="connsiteY328" fmla="*/ 6039215 h 6858000"/>
              <a:gd name="connsiteX329" fmla="*/ 3547861 w 7467600"/>
              <a:gd name="connsiteY329" fmla="*/ 6129609 h 6858000"/>
              <a:gd name="connsiteX330" fmla="*/ 3490905 w 7467600"/>
              <a:gd name="connsiteY330" fmla="*/ 6277660 h 6858000"/>
              <a:gd name="connsiteX331" fmla="*/ 3455859 w 7467600"/>
              <a:gd name="connsiteY331" fmla="*/ 6391301 h 6858000"/>
              <a:gd name="connsiteX332" fmla="*/ 3429112 w 7467600"/>
              <a:gd name="connsiteY332" fmla="*/ 6479469 h 6858000"/>
              <a:gd name="connsiteX333" fmla="*/ 3304862 w 7467600"/>
              <a:gd name="connsiteY333" fmla="*/ 6796476 h 6858000"/>
              <a:gd name="connsiteX334" fmla="*/ 3276071 w 7467600"/>
              <a:gd name="connsiteY334" fmla="*/ 6858000 h 6858000"/>
              <a:gd name="connsiteX335" fmla="*/ 3240805 w 7467600"/>
              <a:gd name="connsiteY335" fmla="*/ 6858000 h 6858000"/>
              <a:gd name="connsiteX336" fmla="*/ 3275917 w 7467600"/>
              <a:gd name="connsiteY336" fmla="*/ 6783192 h 6858000"/>
              <a:gd name="connsiteX337" fmla="*/ 3399358 w 7467600"/>
              <a:gd name="connsiteY337" fmla="*/ 6469011 h 6858000"/>
              <a:gd name="connsiteX338" fmla="*/ 3425650 w 7467600"/>
              <a:gd name="connsiteY338" fmla="*/ 6381333 h 6858000"/>
              <a:gd name="connsiteX339" fmla="*/ 3460661 w 7467600"/>
              <a:gd name="connsiteY339" fmla="*/ 6266763 h 6858000"/>
              <a:gd name="connsiteX340" fmla="*/ 3518021 w 7467600"/>
              <a:gd name="connsiteY340" fmla="*/ 6117298 h 6858000"/>
              <a:gd name="connsiteX341" fmla="*/ 3554035 w 7467600"/>
              <a:gd name="connsiteY341" fmla="*/ 6027832 h 6858000"/>
              <a:gd name="connsiteX342" fmla="*/ 3677174 w 7467600"/>
              <a:gd name="connsiteY342" fmla="*/ 5636351 h 6858000"/>
              <a:gd name="connsiteX343" fmla="*/ 3698819 w 7467600"/>
              <a:gd name="connsiteY343" fmla="*/ 5560503 h 6858000"/>
              <a:gd name="connsiteX344" fmla="*/ 3702094 w 7467600"/>
              <a:gd name="connsiteY344" fmla="*/ 5549194 h 6858000"/>
              <a:gd name="connsiteX345" fmla="*/ 3398355 w 7467600"/>
              <a:gd name="connsiteY345" fmla="*/ 6094603 h 6858000"/>
              <a:gd name="connsiteX346" fmla="*/ 3193941 w 7467600"/>
              <a:gd name="connsiteY346" fmla="*/ 6798775 h 6858000"/>
              <a:gd name="connsiteX347" fmla="*/ 3184140 w 7467600"/>
              <a:gd name="connsiteY347" fmla="*/ 6858000 h 6858000"/>
              <a:gd name="connsiteX348" fmla="*/ 3099978 w 7467600"/>
              <a:gd name="connsiteY348" fmla="*/ 6858000 h 6858000"/>
              <a:gd name="connsiteX349" fmla="*/ 3101556 w 7467600"/>
              <a:gd name="connsiteY349" fmla="*/ 6843337 h 6858000"/>
              <a:gd name="connsiteX350" fmla="*/ 3370162 w 7467600"/>
              <a:gd name="connsiteY350" fmla="*/ 5785550 h 6858000"/>
              <a:gd name="connsiteX351" fmla="*/ 3746477 w 7467600"/>
              <a:gd name="connsiteY351" fmla="*/ 5377889 h 6858000"/>
              <a:gd name="connsiteX352" fmla="*/ 3863399 w 7467600"/>
              <a:gd name="connsiteY352" fmla="*/ 5087257 h 6858000"/>
              <a:gd name="connsiteX353" fmla="*/ 3968712 w 7467600"/>
              <a:gd name="connsiteY353" fmla="*/ 4913989 h 6858000"/>
              <a:gd name="connsiteX354" fmla="*/ 2792390 w 7467600"/>
              <a:gd name="connsiteY354" fmla="*/ 5382974 h 6858000"/>
              <a:gd name="connsiteX355" fmla="*/ 2714982 w 7467600"/>
              <a:gd name="connsiteY355" fmla="*/ 5427051 h 6858000"/>
              <a:gd name="connsiteX356" fmla="*/ 2813361 w 7467600"/>
              <a:gd name="connsiteY356" fmla="*/ 6023912 h 6858000"/>
              <a:gd name="connsiteX357" fmla="*/ 2688430 w 7467600"/>
              <a:gd name="connsiteY357" fmla="*/ 6801564 h 6858000"/>
              <a:gd name="connsiteX358" fmla="*/ 2629626 w 7467600"/>
              <a:gd name="connsiteY358" fmla="*/ 6763394 h 6858000"/>
              <a:gd name="connsiteX359" fmla="*/ 2565328 w 7467600"/>
              <a:gd name="connsiteY359" fmla="*/ 5516399 h 6858000"/>
              <a:gd name="connsiteX360" fmla="*/ 1922999 w 7467600"/>
              <a:gd name="connsiteY360" fmla="*/ 5980343 h 6858000"/>
              <a:gd name="connsiteX361" fmla="*/ 1950261 w 7467600"/>
              <a:gd name="connsiteY361" fmla="*/ 6405858 h 6858000"/>
              <a:gd name="connsiteX362" fmla="*/ 2365554 w 7467600"/>
              <a:gd name="connsiteY362" fmla="*/ 6759107 h 6858000"/>
              <a:gd name="connsiteX363" fmla="*/ 2424142 w 7467600"/>
              <a:gd name="connsiteY363" fmla="*/ 6858000 h 6858000"/>
              <a:gd name="connsiteX364" fmla="*/ 2395994 w 7467600"/>
              <a:gd name="connsiteY364" fmla="*/ 6858000 h 6858000"/>
              <a:gd name="connsiteX365" fmla="*/ 2392863 w 7467600"/>
              <a:gd name="connsiteY365" fmla="*/ 6852964 h 6858000"/>
              <a:gd name="connsiteX366" fmla="*/ 2017589 w 7467600"/>
              <a:gd name="connsiteY366" fmla="*/ 6493982 h 6858000"/>
              <a:gd name="connsiteX367" fmla="*/ 2147336 w 7467600"/>
              <a:gd name="connsiteY367" fmla="*/ 6594052 h 6858000"/>
              <a:gd name="connsiteX368" fmla="*/ 2207047 w 7467600"/>
              <a:gd name="connsiteY368" fmla="*/ 6654540 h 6858000"/>
              <a:gd name="connsiteX369" fmla="*/ 2299106 w 7467600"/>
              <a:gd name="connsiteY369" fmla="*/ 6778931 h 6858000"/>
              <a:gd name="connsiteX370" fmla="*/ 2314430 w 7467600"/>
              <a:gd name="connsiteY370" fmla="*/ 6801144 h 6858000"/>
              <a:gd name="connsiteX371" fmla="*/ 2352406 w 7467600"/>
              <a:gd name="connsiteY371" fmla="*/ 6858000 h 6858000"/>
              <a:gd name="connsiteX372" fmla="*/ 2314492 w 7467600"/>
              <a:gd name="connsiteY372" fmla="*/ 6858000 h 6858000"/>
              <a:gd name="connsiteX373" fmla="*/ 2288095 w 7467600"/>
              <a:gd name="connsiteY373" fmla="*/ 6818030 h 6858000"/>
              <a:gd name="connsiteX374" fmla="*/ 2272768 w 7467600"/>
              <a:gd name="connsiteY374" fmla="*/ 6795822 h 6858000"/>
              <a:gd name="connsiteX375" fmla="*/ 2182715 w 7467600"/>
              <a:gd name="connsiteY375" fmla="*/ 6675071 h 6858000"/>
              <a:gd name="connsiteX376" fmla="*/ 2032061 w 7467600"/>
              <a:gd name="connsiteY376" fmla="*/ 6541380 h 6858000"/>
              <a:gd name="connsiteX377" fmla="*/ 2257220 w 7467600"/>
              <a:gd name="connsiteY377" fmla="*/ 6826257 h 6858000"/>
              <a:gd name="connsiteX378" fmla="*/ 2281324 w 7467600"/>
              <a:gd name="connsiteY378" fmla="*/ 6858000 h 6858000"/>
              <a:gd name="connsiteX379" fmla="*/ 2242860 w 7467600"/>
              <a:gd name="connsiteY379" fmla="*/ 6858000 h 6858000"/>
              <a:gd name="connsiteX380" fmla="*/ 2232818 w 7467600"/>
              <a:gd name="connsiteY380" fmla="*/ 6844926 h 6858000"/>
              <a:gd name="connsiteX381" fmla="*/ 1990172 w 7467600"/>
              <a:gd name="connsiteY381" fmla="*/ 6542121 h 6858000"/>
              <a:gd name="connsiteX382" fmla="*/ 2124090 w 7467600"/>
              <a:gd name="connsiteY382" fmla="*/ 6761017 h 6858000"/>
              <a:gd name="connsiteX383" fmla="*/ 2200380 w 7467600"/>
              <a:gd name="connsiteY383" fmla="*/ 6858000 h 6858000"/>
              <a:gd name="connsiteX384" fmla="*/ 2147507 w 7467600"/>
              <a:gd name="connsiteY384" fmla="*/ 6858000 h 6858000"/>
              <a:gd name="connsiteX385" fmla="*/ 2070668 w 7467600"/>
              <a:gd name="connsiteY385" fmla="*/ 6761520 h 6858000"/>
              <a:gd name="connsiteX386" fmla="*/ 1975142 w 7467600"/>
              <a:gd name="connsiteY386" fmla="*/ 6585570 h 6858000"/>
              <a:gd name="connsiteX387" fmla="*/ 2050035 w 7467600"/>
              <a:gd name="connsiteY387" fmla="*/ 6813345 h 6858000"/>
              <a:gd name="connsiteX388" fmla="*/ 2063025 w 7467600"/>
              <a:gd name="connsiteY388" fmla="*/ 6858000 h 6858000"/>
              <a:gd name="connsiteX389" fmla="*/ 2021675 w 7467600"/>
              <a:gd name="connsiteY389" fmla="*/ 6858000 h 6858000"/>
              <a:gd name="connsiteX390" fmla="*/ 2019308 w 7467600"/>
              <a:gd name="connsiteY390" fmla="*/ 6847118 h 6858000"/>
              <a:gd name="connsiteX391" fmla="*/ 1938835 w 7467600"/>
              <a:gd name="connsiteY391" fmla="*/ 6551160 h 6858000"/>
              <a:gd name="connsiteX392" fmla="*/ 1953230 w 7467600"/>
              <a:gd name="connsiteY392" fmla="*/ 6759699 h 6858000"/>
              <a:gd name="connsiteX393" fmla="*/ 1956763 w 7467600"/>
              <a:gd name="connsiteY393" fmla="*/ 6778191 h 6858000"/>
              <a:gd name="connsiteX394" fmla="*/ 1967925 w 7467600"/>
              <a:gd name="connsiteY394" fmla="*/ 6858000 h 6858000"/>
              <a:gd name="connsiteX395" fmla="*/ 1936622 w 7467600"/>
              <a:gd name="connsiteY395" fmla="*/ 6858000 h 6858000"/>
              <a:gd name="connsiteX396" fmla="*/ 1926261 w 7467600"/>
              <a:gd name="connsiteY396" fmla="*/ 6784064 h 6858000"/>
              <a:gd name="connsiteX397" fmla="*/ 1922724 w 7467600"/>
              <a:gd name="connsiteY397" fmla="*/ 6765577 h 6858000"/>
              <a:gd name="connsiteX398" fmla="*/ 1904650 w 7467600"/>
              <a:gd name="connsiteY398" fmla="*/ 6639616 h 6858000"/>
              <a:gd name="connsiteX399" fmla="*/ 1885273 w 7467600"/>
              <a:gd name="connsiteY399" fmla="*/ 6858000 h 6858000"/>
              <a:gd name="connsiteX400" fmla="*/ 1854363 w 7467600"/>
              <a:gd name="connsiteY400" fmla="*/ 6858000 h 6858000"/>
              <a:gd name="connsiteX401" fmla="*/ 1880391 w 7467600"/>
              <a:gd name="connsiteY401" fmla="*/ 6603796 h 6858000"/>
              <a:gd name="connsiteX402" fmla="*/ 1818273 w 7467600"/>
              <a:gd name="connsiteY402" fmla="*/ 6715729 h 6858000"/>
              <a:gd name="connsiteX403" fmla="*/ 1794691 w 7467600"/>
              <a:gd name="connsiteY403" fmla="*/ 6843239 h 6858000"/>
              <a:gd name="connsiteX404" fmla="*/ 1794914 w 7467600"/>
              <a:gd name="connsiteY404" fmla="*/ 6858000 h 6858000"/>
              <a:gd name="connsiteX405" fmla="*/ 1746128 w 7467600"/>
              <a:gd name="connsiteY405" fmla="*/ 6858000 h 6858000"/>
              <a:gd name="connsiteX406" fmla="*/ 1753934 w 7467600"/>
              <a:gd name="connsiteY406" fmla="*/ 6724796 h 6858000"/>
              <a:gd name="connsiteX407" fmla="*/ 1792053 w 7467600"/>
              <a:gd name="connsiteY407" fmla="*/ 6572396 h 6858000"/>
              <a:gd name="connsiteX408" fmla="*/ 1862248 w 7467600"/>
              <a:gd name="connsiteY408" fmla="*/ 6266397 h 6858000"/>
              <a:gd name="connsiteX409" fmla="*/ 1862250 w 7467600"/>
              <a:gd name="connsiteY409" fmla="*/ 6033531 h 6858000"/>
              <a:gd name="connsiteX410" fmla="*/ 1211999 w 7467600"/>
              <a:gd name="connsiteY410" fmla="*/ 6683610 h 6858000"/>
              <a:gd name="connsiteX411" fmla="*/ 1213266 w 7467600"/>
              <a:gd name="connsiteY411" fmla="*/ 6691947 h 6858000"/>
              <a:gd name="connsiteX412" fmla="*/ 1203370 w 7467600"/>
              <a:gd name="connsiteY412" fmla="*/ 6850676 h 6858000"/>
              <a:gd name="connsiteX413" fmla="*/ 1203671 w 7467600"/>
              <a:gd name="connsiteY413" fmla="*/ 6858000 h 6858000"/>
              <a:gd name="connsiteX414" fmla="*/ 1143180 w 7467600"/>
              <a:gd name="connsiteY414" fmla="*/ 6858000 h 6858000"/>
              <a:gd name="connsiteX415" fmla="*/ 1142176 w 7467600"/>
              <a:gd name="connsiteY415" fmla="*/ 6766045 h 6858000"/>
              <a:gd name="connsiteX416" fmla="*/ 1067484 w 7467600"/>
              <a:gd name="connsiteY416" fmla="*/ 6858000 h 6858000"/>
              <a:gd name="connsiteX417" fmla="*/ 953928 w 7467600"/>
              <a:gd name="connsiteY417" fmla="*/ 6858000 h 6858000"/>
              <a:gd name="connsiteX418" fmla="*/ 959715 w 7467600"/>
              <a:gd name="connsiteY418" fmla="*/ 6850185 h 6858000"/>
              <a:gd name="connsiteX419" fmla="*/ 1483788 w 7467600"/>
              <a:gd name="connsiteY419" fmla="*/ 6259174 h 6858000"/>
              <a:gd name="connsiteX420" fmla="*/ 1100671 w 7467600"/>
              <a:gd name="connsiteY420" fmla="*/ 6252137 h 6858000"/>
              <a:gd name="connsiteX421" fmla="*/ 1090144 w 7467600"/>
              <a:gd name="connsiteY421" fmla="*/ 6256748 h 6858000"/>
              <a:gd name="connsiteX422" fmla="*/ 1095872 w 7467600"/>
              <a:gd name="connsiteY422" fmla="*/ 6271892 h 6858000"/>
              <a:gd name="connsiteX423" fmla="*/ 262785 w 7467600"/>
              <a:gd name="connsiteY423" fmla="*/ 6845450 h 6858000"/>
              <a:gd name="connsiteX424" fmla="*/ 209968 w 7467600"/>
              <a:gd name="connsiteY424" fmla="*/ 6770713 h 6858000"/>
              <a:gd name="connsiteX425" fmla="*/ 873460 w 7467600"/>
              <a:gd name="connsiteY425" fmla="*/ 6253768 h 6858000"/>
              <a:gd name="connsiteX426" fmla="*/ 192686 w 7467600"/>
              <a:gd name="connsiteY426" fmla="*/ 5849257 h 6858000"/>
              <a:gd name="connsiteX427" fmla="*/ 4696 w 7467600"/>
              <a:gd name="connsiteY427" fmla="*/ 5697668 h 6858000"/>
              <a:gd name="connsiteX428" fmla="*/ 0 w 7467600"/>
              <a:gd name="connsiteY428" fmla="*/ 5689984 h 6858000"/>
              <a:gd name="connsiteX429" fmla="*/ 0 w 7467600"/>
              <a:gd name="connsiteY429" fmla="*/ 5513472 h 6858000"/>
              <a:gd name="connsiteX430" fmla="*/ 174101 w 7467600"/>
              <a:gd name="connsiteY430" fmla="*/ 5620277 h 6858000"/>
              <a:gd name="connsiteX431" fmla="*/ 891800 w 7467600"/>
              <a:gd name="connsiteY431" fmla="*/ 6036935 h 6858000"/>
              <a:gd name="connsiteX432" fmla="*/ 1072219 w 7467600"/>
              <a:gd name="connsiteY432" fmla="*/ 6169443 h 6858000"/>
              <a:gd name="connsiteX433" fmla="*/ 1074117 w 7467600"/>
              <a:gd name="connsiteY433" fmla="*/ 6170301 h 6858000"/>
              <a:gd name="connsiteX434" fmla="*/ 1083114 w 7467600"/>
              <a:gd name="connsiteY434" fmla="*/ 6174131 h 6858000"/>
              <a:gd name="connsiteX435" fmla="*/ 1543010 w 7467600"/>
              <a:gd name="connsiteY435" fmla="*/ 6191140 h 6858000"/>
              <a:gd name="connsiteX436" fmla="*/ 1551080 w 7467600"/>
              <a:gd name="connsiteY436" fmla="*/ 6195006 h 6858000"/>
              <a:gd name="connsiteX437" fmla="*/ 2345443 w 7467600"/>
              <a:gd name="connsiteY437" fmla="*/ 5549882 h 6858000"/>
              <a:gd name="connsiteX438" fmla="*/ 1721499 w 7467600"/>
              <a:gd name="connsiteY438" fmla="*/ 5599969 h 6858000"/>
              <a:gd name="connsiteX439" fmla="*/ 767716 w 7467600"/>
              <a:gd name="connsiteY439" fmla="*/ 5472768 h 6858000"/>
              <a:gd name="connsiteX440" fmla="*/ 722147 w 7467600"/>
              <a:gd name="connsiteY440" fmla="*/ 5393091 h 6858000"/>
              <a:gd name="connsiteX441" fmla="*/ 1485552 w 7467600"/>
              <a:gd name="connsiteY441" fmla="*/ 5313202 h 6858000"/>
              <a:gd name="connsiteX442" fmla="*/ 2143004 w 7467600"/>
              <a:gd name="connsiteY442" fmla="*/ 5402420 h 6858000"/>
              <a:gd name="connsiteX443" fmla="*/ 1933391 w 7467600"/>
              <a:gd name="connsiteY443" fmla="*/ 5156971 h 6858000"/>
              <a:gd name="connsiteX444" fmla="*/ 1827118 w 7467600"/>
              <a:gd name="connsiteY444" fmla="*/ 4968410 h 6858000"/>
              <a:gd name="connsiteX445" fmla="*/ 1837349 w 7467600"/>
              <a:gd name="connsiteY445" fmla="*/ 4956357 h 6858000"/>
              <a:gd name="connsiteX446" fmla="*/ 2162835 w 7467600"/>
              <a:gd name="connsiteY446" fmla="*/ 5187853 h 6858000"/>
              <a:gd name="connsiteX447" fmla="*/ 2257167 w 7467600"/>
              <a:gd name="connsiteY447" fmla="*/ 5462123 h 6858000"/>
              <a:gd name="connsiteX448" fmla="*/ 2261598 w 7467600"/>
              <a:gd name="connsiteY448" fmla="*/ 5467998 h 6858000"/>
              <a:gd name="connsiteX449" fmla="*/ 2437177 w 7467600"/>
              <a:gd name="connsiteY449" fmla="*/ 5479608 h 6858000"/>
              <a:gd name="connsiteX450" fmla="*/ 2445247 w 7467600"/>
              <a:gd name="connsiteY450" fmla="*/ 5483476 h 6858000"/>
              <a:gd name="connsiteX451" fmla="*/ 2743626 w 7467600"/>
              <a:gd name="connsiteY451" fmla="*/ 5304819 h 6858000"/>
              <a:gd name="connsiteX452" fmla="*/ 3048102 w 7467600"/>
              <a:gd name="connsiteY452" fmla="*/ 5150595 h 6858000"/>
              <a:gd name="connsiteX453" fmla="*/ 1799414 w 7467600"/>
              <a:gd name="connsiteY453" fmla="*/ 4694732 h 6858000"/>
              <a:gd name="connsiteX454" fmla="*/ 1771735 w 7467600"/>
              <a:gd name="connsiteY454" fmla="*/ 4619929 h 6858000"/>
              <a:gd name="connsiteX455" fmla="*/ 3104273 w 7467600"/>
              <a:gd name="connsiteY455" fmla="*/ 5076159 h 6858000"/>
              <a:gd name="connsiteX456" fmla="*/ 3113245 w 7467600"/>
              <a:gd name="connsiteY456" fmla="*/ 5090705 h 6858000"/>
              <a:gd name="connsiteX457" fmla="*/ 3126294 w 7467600"/>
              <a:gd name="connsiteY457" fmla="*/ 5114400 h 6858000"/>
              <a:gd name="connsiteX458" fmla="*/ 3937433 w 7467600"/>
              <a:gd name="connsiteY458" fmla="*/ 4830473 h 6858000"/>
              <a:gd name="connsiteX459" fmla="*/ 3590475 w 7467600"/>
              <a:gd name="connsiteY459" fmla="*/ 4597974 h 6858000"/>
              <a:gd name="connsiteX460" fmla="*/ 3100264 w 7467600"/>
              <a:gd name="connsiteY460" fmla="*/ 4579845 h 6858000"/>
              <a:gd name="connsiteX461" fmla="*/ 2183576 w 7467600"/>
              <a:gd name="connsiteY461" fmla="*/ 4227150 h 6858000"/>
              <a:gd name="connsiteX462" fmla="*/ 2151029 w 7467600"/>
              <a:gd name="connsiteY462" fmla="*/ 4146947 h 6858000"/>
              <a:gd name="connsiteX463" fmla="*/ 3563434 w 7467600"/>
              <a:gd name="connsiteY463" fmla="*/ 4469115 h 6858000"/>
              <a:gd name="connsiteX464" fmla="*/ 3177952 w 7467600"/>
              <a:gd name="connsiteY464" fmla="*/ 3657386 h 6858000"/>
              <a:gd name="connsiteX465" fmla="*/ 3189263 w 7467600"/>
              <a:gd name="connsiteY465" fmla="*/ 3625726 h 6858000"/>
              <a:gd name="connsiteX466" fmla="*/ 3560912 w 7467600"/>
              <a:gd name="connsiteY466" fmla="*/ 4079863 h 6858000"/>
              <a:gd name="connsiteX467" fmla="*/ 3626636 w 7467600"/>
              <a:gd name="connsiteY467" fmla="*/ 4512230 h 6858000"/>
              <a:gd name="connsiteX468" fmla="*/ 3653088 w 7467600"/>
              <a:gd name="connsiteY468" fmla="*/ 4521417 h 6858000"/>
              <a:gd name="connsiteX469" fmla="*/ 3988128 w 7467600"/>
              <a:gd name="connsiteY469" fmla="*/ 4817267 h 6858000"/>
              <a:gd name="connsiteX470" fmla="*/ 4830582 w 7467600"/>
              <a:gd name="connsiteY470" fmla="*/ 4676000 h 6858000"/>
              <a:gd name="connsiteX471" fmla="*/ 4830100 w 7467600"/>
              <a:gd name="connsiteY471" fmla="*/ 4675554 h 6858000"/>
              <a:gd name="connsiteX472" fmla="*/ 4036318 w 7467600"/>
              <a:gd name="connsiteY472" fmla="*/ 4147013 h 6858000"/>
              <a:gd name="connsiteX473" fmla="*/ 3432098 w 7467600"/>
              <a:gd name="connsiteY473" fmla="*/ 3537312 h 6858000"/>
              <a:gd name="connsiteX474" fmla="*/ 3446761 w 7467600"/>
              <a:gd name="connsiteY474" fmla="*/ 3461278 h 6858000"/>
              <a:gd name="connsiteX475" fmla="*/ 4419733 w 7467600"/>
              <a:gd name="connsiteY475" fmla="*/ 3963555 h 6858000"/>
              <a:gd name="connsiteX476" fmla="*/ 4781371 w 7467600"/>
              <a:gd name="connsiteY476" fmla="*/ 4458604 h 6858000"/>
              <a:gd name="connsiteX477" fmla="*/ 4780440 w 7467600"/>
              <a:gd name="connsiteY477" fmla="*/ 4470290 h 6858000"/>
              <a:gd name="connsiteX478" fmla="*/ 4898954 w 7467600"/>
              <a:gd name="connsiteY478" fmla="*/ 4662092 h 6858000"/>
              <a:gd name="connsiteX479" fmla="*/ 4900699 w 7467600"/>
              <a:gd name="connsiteY479" fmla="*/ 4670867 h 6858000"/>
              <a:gd name="connsiteX480" fmla="*/ 5714511 w 7467600"/>
              <a:gd name="connsiteY480" fmla="*/ 4663483 h 6858000"/>
              <a:gd name="connsiteX481" fmla="*/ 5464793 w 7467600"/>
              <a:gd name="connsiteY481" fmla="*/ 4393556 h 6858000"/>
              <a:gd name="connsiteX482" fmla="*/ 5461897 w 7467600"/>
              <a:gd name="connsiteY482" fmla="*/ 4390879 h 6858000"/>
              <a:gd name="connsiteX483" fmla="*/ 4294126 w 7467600"/>
              <a:gd name="connsiteY483" fmla="*/ 3303048 h 6858000"/>
              <a:gd name="connsiteX484" fmla="*/ 4305321 w 7467600"/>
              <a:gd name="connsiteY484" fmla="*/ 3256953 h 6858000"/>
              <a:gd name="connsiteX485" fmla="*/ 4949299 w 7467600"/>
              <a:gd name="connsiteY485" fmla="*/ 3766336 h 6858000"/>
              <a:gd name="connsiteX486" fmla="*/ 5291452 w 7467600"/>
              <a:gd name="connsiteY486" fmla="*/ 4076801 h 6858000"/>
              <a:gd name="connsiteX487" fmla="*/ 5434998 w 7467600"/>
              <a:gd name="connsiteY487" fmla="*/ 4254100 h 6858000"/>
              <a:gd name="connsiteX488" fmla="*/ 5351015 w 7467600"/>
              <a:gd name="connsiteY488" fmla="*/ 3760989 h 6858000"/>
              <a:gd name="connsiteX489" fmla="*/ 5413780 w 7467600"/>
              <a:gd name="connsiteY489" fmla="*/ 2966265 h 6858000"/>
              <a:gd name="connsiteX490" fmla="*/ 5425627 w 7467600"/>
              <a:gd name="connsiteY490" fmla="*/ 2954192 h 6858000"/>
              <a:gd name="connsiteX491" fmla="*/ 6604735 w 7467600"/>
              <a:gd name="connsiteY491" fmla="*/ 2041381 h 6858000"/>
              <a:gd name="connsiteX492" fmla="*/ 7204487 w 7467600"/>
              <a:gd name="connsiteY492" fmla="*/ 2742112 h 6858000"/>
              <a:gd name="connsiteX493" fmla="*/ 7131592 w 7467600"/>
              <a:gd name="connsiteY493" fmla="*/ 2672096 h 6858000"/>
              <a:gd name="connsiteX494" fmla="*/ 6996344 w 7467600"/>
              <a:gd name="connsiteY494" fmla="*/ 2518310 h 6858000"/>
              <a:gd name="connsiteX495" fmla="*/ 6735495 w 7467600"/>
              <a:gd name="connsiteY495" fmla="*/ 2196890 h 6858000"/>
              <a:gd name="connsiteX496" fmla="*/ 6721901 w 7467600"/>
              <a:gd name="connsiteY496" fmla="*/ 2179274 h 6858000"/>
              <a:gd name="connsiteX497" fmla="*/ 6604735 w 7467600"/>
              <a:gd name="connsiteY497" fmla="*/ 2041381 h 6858000"/>
              <a:gd name="connsiteX498" fmla="*/ 6591670 w 7467600"/>
              <a:gd name="connsiteY498" fmla="*/ 1988277 h 6858000"/>
              <a:gd name="connsiteX499" fmla="*/ 6747349 w 7467600"/>
              <a:gd name="connsiteY499" fmla="*/ 2160069 h 6858000"/>
              <a:gd name="connsiteX500" fmla="*/ 6760943 w 7467600"/>
              <a:gd name="connsiteY500" fmla="*/ 2177686 h 6858000"/>
              <a:gd name="connsiteX501" fmla="*/ 7021065 w 7467600"/>
              <a:gd name="connsiteY501" fmla="*/ 2498102 h 6858000"/>
              <a:gd name="connsiteX502" fmla="*/ 7155223 w 7467600"/>
              <a:gd name="connsiteY502" fmla="*/ 2650386 h 6858000"/>
              <a:gd name="connsiteX503" fmla="*/ 7203167 w 7467600"/>
              <a:gd name="connsiteY503" fmla="*/ 2697288 h 6858000"/>
              <a:gd name="connsiteX504" fmla="*/ 6937703 w 7467600"/>
              <a:gd name="connsiteY504" fmla="*/ 2321981 h 6858000"/>
              <a:gd name="connsiteX505" fmla="*/ 6591670 w 7467600"/>
              <a:gd name="connsiteY505" fmla="*/ 1988277 h 6858000"/>
              <a:gd name="connsiteX506" fmla="*/ 5798671 w 7467600"/>
              <a:gd name="connsiteY506" fmla="*/ 1981601 h 6858000"/>
              <a:gd name="connsiteX507" fmla="*/ 5754709 w 7467600"/>
              <a:gd name="connsiteY507" fmla="*/ 2071454 h 6858000"/>
              <a:gd name="connsiteX508" fmla="*/ 5763044 w 7467600"/>
              <a:gd name="connsiteY508" fmla="*/ 2842206 h 6858000"/>
              <a:gd name="connsiteX509" fmla="*/ 5764974 w 7467600"/>
              <a:gd name="connsiteY509" fmla="*/ 2799609 h 6858000"/>
              <a:gd name="connsiteX510" fmla="*/ 5767665 w 7467600"/>
              <a:gd name="connsiteY510" fmla="*/ 2666409 h 6858000"/>
              <a:gd name="connsiteX511" fmla="*/ 5763055 w 7467600"/>
              <a:gd name="connsiteY511" fmla="*/ 2579705 h 6858000"/>
              <a:gd name="connsiteX512" fmla="*/ 5758079 w 7467600"/>
              <a:gd name="connsiteY512" fmla="*/ 2492508 h 6858000"/>
              <a:gd name="connsiteX513" fmla="*/ 5779325 w 7467600"/>
              <a:gd name="connsiteY513" fmla="*/ 2197069 h 6858000"/>
              <a:gd name="connsiteX514" fmla="*/ 5798671 w 7467600"/>
              <a:gd name="connsiteY514" fmla="*/ 1981601 h 6858000"/>
              <a:gd name="connsiteX515" fmla="*/ 5829202 w 7467600"/>
              <a:gd name="connsiteY515" fmla="*/ 1971679 h 6858000"/>
              <a:gd name="connsiteX516" fmla="*/ 5809558 w 7467600"/>
              <a:gd name="connsiteY516" fmla="*/ 2198043 h 6858000"/>
              <a:gd name="connsiteX517" fmla="*/ 5788653 w 7467600"/>
              <a:gd name="connsiteY517" fmla="*/ 2489430 h 6858000"/>
              <a:gd name="connsiteX518" fmla="*/ 5793439 w 7467600"/>
              <a:gd name="connsiteY518" fmla="*/ 2575235 h 6858000"/>
              <a:gd name="connsiteX519" fmla="*/ 5796837 w 7467600"/>
              <a:gd name="connsiteY519" fmla="*/ 2637633 h 6858000"/>
              <a:gd name="connsiteX520" fmla="*/ 5818614 w 7467600"/>
              <a:gd name="connsiteY520" fmla="*/ 2473055 h 6858000"/>
              <a:gd name="connsiteX521" fmla="*/ 5829202 w 7467600"/>
              <a:gd name="connsiteY521" fmla="*/ 1971679 h 6858000"/>
              <a:gd name="connsiteX522" fmla="*/ 5911389 w 7467600"/>
              <a:gd name="connsiteY522" fmla="*/ 1898371 h 6858000"/>
              <a:gd name="connsiteX523" fmla="*/ 6237627 w 7467600"/>
              <a:gd name="connsiteY523" fmla="*/ 2231921 h 6858000"/>
              <a:gd name="connsiteX524" fmla="*/ 5911389 w 7467600"/>
              <a:gd name="connsiteY524" fmla="*/ 1898371 h 6858000"/>
              <a:gd name="connsiteX525" fmla="*/ 6944437 w 7467600"/>
              <a:gd name="connsiteY525" fmla="*/ 1575402 h 6858000"/>
              <a:gd name="connsiteX526" fmla="*/ 6304730 w 7467600"/>
              <a:gd name="connsiteY526" fmla="*/ 1766654 h 6858000"/>
              <a:gd name="connsiteX527" fmla="*/ 6944437 w 7467600"/>
              <a:gd name="connsiteY527" fmla="*/ 1575402 h 6858000"/>
              <a:gd name="connsiteX528" fmla="*/ 7019523 w 7467600"/>
              <a:gd name="connsiteY528" fmla="*/ 1519450 h 6858000"/>
              <a:gd name="connsiteX529" fmla="*/ 6298091 w 7467600"/>
              <a:gd name="connsiteY529" fmla="*/ 1737122 h 6858000"/>
              <a:gd name="connsiteX530" fmla="*/ 7019523 w 7467600"/>
              <a:gd name="connsiteY530" fmla="*/ 1519450 h 6858000"/>
              <a:gd name="connsiteX531" fmla="*/ 2399523 w 7467600"/>
              <a:gd name="connsiteY531" fmla="*/ 1428234 h 6858000"/>
              <a:gd name="connsiteX532" fmla="*/ 2224982 w 7467600"/>
              <a:gd name="connsiteY532" fmla="*/ 1826201 h 6858000"/>
              <a:gd name="connsiteX533" fmla="*/ 2096099 w 7467600"/>
              <a:gd name="connsiteY533" fmla="*/ 2345900 h 6858000"/>
              <a:gd name="connsiteX534" fmla="*/ 2283317 w 7467600"/>
              <a:gd name="connsiteY534" fmla="*/ 1796925 h 6858000"/>
              <a:gd name="connsiteX535" fmla="*/ 2399523 w 7467600"/>
              <a:gd name="connsiteY535" fmla="*/ 1428234 h 6858000"/>
              <a:gd name="connsiteX536" fmla="*/ 2448558 w 7467600"/>
              <a:gd name="connsiteY536" fmla="*/ 1373435 h 6858000"/>
              <a:gd name="connsiteX537" fmla="*/ 2312521 w 7467600"/>
              <a:gd name="connsiteY537" fmla="*/ 1806140 h 6858000"/>
              <a:gd name="connsiteX538" fmla="*/ 2127533 w 7467600"/>
              <a:gd name="connsiteY538" fmla="*/ 2348380 h 6858000"/>
              <a:gd name="connsiteX539" fmla="*/ 2358080 w 7467600"/>
              <a:gd name="connsiteY539" fmla="*/ 1866134 h 6858000"/>
              <a:gd name="connsiteX540" fmla="*/ 2407436 w 7467600"/>
              <a:gd name="connsiteY540" fmla="*/ 1651070 h 6858000"/>
              <a:gd name="connsiteX541" fmla="*/ 2448558 w 7467600"/>
              <a:gd name="connsiteY541" fmla="*/ 1373435 h 6858000"/>
              <a:gd name="connsiteX542" fmla="*/ 278707 w 7467600"/>
              <a:gd name="connsiteY542" fmla="*/ 1352270 h 6858000"/>
              <a:gd name="connsiteX543" fmla="*/ 321570 w 7467600"/>
              <a:gd name="connsiteY543" fmla="*/ 1861610 h 6858000"/>
              <a:gd name="connsiteX544" fmla="*/ 294281 w 7467600"/>
              <a:gd name="connsiteY544" fmla="*/ 1440658 h 6858000"/>
              <a:gd name="connsiteX545" fmla="*/ 278707 w 7467600"/>
              <a:gd name="connsiteY545" fmla="*/ 1352270 h 6858000"/>
              <a:gd name="connsiteX546" fmla="*/ 1423821 w 7467600"/>
              <a:gd name="connsiteY546" fmla="*/ 1351958 h 6858000"/>
              <a:gd name="connsiteX547" fmla="*/ 1638521 w 7467600"/>
              <a:gd name="connsiteY547" fmla="*/ 1908470 h 6858000"/>
              <a:gd name="connsiteX548" fmla="*/ 1754199 w 7467600"/>
              <a:gd name="connsiteY548" fmla="*/ 2149284 h 6858000"/>
              <a:gd name="connsiteX549" fmla="*/ 1908359 w 7467600"/>
              <a:gd name="connsiteY549" fmla="*/ 2364988 h 6858000"/>
              <a:gd name="connsiteX550" fmla="*/ 1647661 w 7467600"/>
              <a:gd name="connsiteY550" fmla="*/ 1825945 h 6858000"/>
              <a:gd name="connsiteX551" fmla="*/ 1423821 w 7467600"/>
              <a:gd name="connsiteY551" fmla="*/ 1351958 h 6858000"/>
              <a:gd name="connsiteX552" fmla="*/ 1431890 w 7467600"/>
              <a:gd name="connsiteY552" fmla="*/ 1306475 h 6858000"/>
              <a:gd name="connsiteX553" fmla="*/ 1507597 w 7467600"/>
              <a:gd name="connsiteY553" fmla="*/ 1446132 h 6858000"/>
              <a:gd name="connsiteX554" fmla="*/ 1674586 w 7467600"/>
              <a:gd name="connsiteY554" fmla="*/ 1813832 h 6858000"/>
              <a:gd name="connsiteX555" fmla="*/ 1815950 w 7467600"/>
              <a:gd name="connsiteY555" fmla="*/ 2128564 h 6858000"/>
              <a:gd name="connsiteX556" fmla="*/ 1984242 w 7467600"/>
              <a:gd name="connsiteY556" fmla="*/ 2430829 h 6858000"/>
              <a:gd name="connsiteX557" fmla="*/ 2014023 w 7467600"/>
              <a:gd name="connsiteY557" fmla="*/ 2450995 h 6858000"/>
              <a:gd name="connsiteX558" fmla="*/ 1747337 w 7467600"/>
              <a:gd name="connsiteY558" fmla="*/ 1855264 h 6858000"/>
              <a:gd name="connsiteX559" fmla="*/ 1533749 w 7467600"/>
              <a:gd name="connsiteY559" fmla="*/ 1478656 h 6858000"/>
              <a:gd name="connsiteX560" fmla="*/ 1431890 w 7467600"/>
              <a:gd name="connsiteY560" fmla="*/ 1306475 h 6858000"/>
              <a:gd name="connsiteX561" fmla="*/ 5052692 w 7467600"/>
              <a:gd name="connsiteY561" fmla="*/ 1292994 h 6858000"/>
              <a:gd name="connsiteX562" fmla="*/ 5200661 w 7467600"/>
              <a:gd name="connsiteY562" fmla="*/ 1635186 h 6858000"/>
              <a:gd name="connsiteX563" fmla="*/ 5297138 w 7467600"/>
              <a:gd name="connsiteY563" fmla="*/ 1906351 h 6858000"/>
              <a:gd name="connsiteX564" fmla="*/ 5052692 w 7467600"/>
              <a:gd name="connsiteY564" fmla="*/ 1292994 h 6858000"/>
              <a:gd name="connsiteX565" fmla="*/ 5009948 w 7467600"/>
              <a:gd name="connsiteY565" fmla="*/ 1273619 h 6858000"/>
              <a:gd name="connsiteX566" fmla="*/ 5121777 w 7467600"/>
              <a:gd name="connsiteY566" fmla="*/ 1654213 h 6858000"/>
              <a:gd name="connsiteX567" fmla="*/ 5293545 w 7467600"/>
              <a:gd name="connsiteY567" fmla="*/ 2072247 h 6858000"/>
              <a:gd name="connsiteX568" fmla="*/ 5294042 w 7467600"/>
              <a:gd name="connsiteY568" fmla="*/ 2065019 h 6858000"/>
              <a:gd name="connsiteX569" fmla="*/ 5171936 w 7467600"/>
              <a:gd name="connsiteY569" fmla="*/ 1647613 h 6858000"/>
              <a:gd name="connsiteX570" fmla="*/ 5009948 w 7467600"/>
              <a:gd name="connsiteY570" fmla="*/ 1273619 h 6858000"/>
              <a:gd name="connsiteX571" fmla="*/ 655236 w 7467600"/>
              <a:gd name="connsiteY571" fmla="*/ 1268632 h 6858000"/>
              <a:gd name="connsiteX572" fmla="*/ 839521 w 7467600"/>
              <a:gd name="connsiteY572" fmla="*/ 1685315 h 6858000"/>
              <a:gd name="connsiteX573" fmla="*/ 1109416 w 7467600"/>
              <a:gd name="connsiteY573" fmla="*/ 2061663 h 6858000"/>
              <a:gd name="connsiteX574" fmla="*/ 1298300 w 7467600"/>
              <a:gd name="connsiteY574" fmla="*/ 2247742 h 6858000"/>
              <a:gd name="connsiteX575" fmla="*/ 1125871 w 7467600"/>
              <a:gd name="connsiteY575" fmla="*/ 1989513 h 6858000"/>
              <a:gd name="connsiteX576" fmla="*/ 981574 w 7467600"/>
              <a:gd name="connsiteY576" fmla="*/ 1783157 h 6858000"/>
              <a:gd name="connsiteX577" fmla="*/ 922198 w 7467600"/>
              <a:gd name="connsiteY577" fmla="*/ 1677437 h 6858000"/>
              <a:gd name="connsiteX578" fmla="*/ 869293 w 7467600"/>
              <a:gd name="connsiteY578" fmla="*/ 1583214 h 6858000"/>
              <a:gd name="connsiteX579" fmla="*/ 751431 w 7467600"/>
              <a:gd name="connsiteY579" fmla="*/ 1405731 h 6858000"/>
              <a:gd name="connsiteX580" fmla="*/ 655236 w 7467600"/>
              <a:gd name="connsiteY580" fmla="*/ 1268632 h 6858000"/>
              <a:gd name="connsiteX581" fmla="*/ 6516292 w 7467600"/>
              <a:gd name="connsiteY581" fmla="*/ 1263064 h 6858000"/>
              <a:gd name="connsiteX582" fmla="*/ 5736320 w 7467600"/>
              <a:gd name="connsiteY582" fmla="*/ 1501803 h 6858000"/>
              <a:gd name="connsiteX583" fmla="*/ 6516292 w 7467600"/>
              <a:gd name="connsiteY583" fmla="*/ 1263064 h 6858000"/>
              <a:gd name="connsiteX584" fmla="*/ 291466 w 7467600"/>
              <a:gd name="connsiteY584" fmla="*/ 1250369 h 6858000"/>
              <a:gd name="connsiteX585" fmla="*/ 323180 w 7467600"/>
              <a:gd name="connsiteY585" fmla="*/ 1435283 h 6858000"/>
              <a:gd name="connsiteX586" fmla="*/ 349381 w 7467600"/>
              <a:gd name="connsiteY586" fmla="*/ 1875041 h 6858000"/>
              <a:gd name="connsiteX587" fmla="*/ 374363 w 7467600"/>
              <a:gd name="connsiteY587" fmla="*/ 1506494 h 6858000"/>
              <a:gd name="connsiteX588" fmla="*/ 302168 w 7467600"/>
              <a:gd name="connsiteY588" fmla="*/ 1274495 h 6858000"/>
              <a:gd name="connsiteX589" fmla="*/ 291466 w 7467600"/>
              <a:gd name="connsiteY589" fmla="*/ 1250369 h 6858000"/>
              <a:gd name="connsiteX590" fmla="*/ 678222 w 7467600"/>
              <a:gd name="connsiteY590" fmla="*/ 1248670 h 6858000"/>
              <a:gd name="connsiteX591" fmla="*/ 775536 w 7467600"/>
              <a:gd name="connsiteY591" fmla="*/ 1388015 h 6858000"/>
              <a:gd name="connsiteX592" fmla="*/ 894529 w 7467600"/>
              <a:gd name="connsiteY592" fmla="*/ 1567739 h 6858000"/>
              <a:gd name="connsiteX593" fmla="*/ 948000 w 7467600"/>
              <a:gd name="connsiteY593" fmla="*/ 1663088 h 6858000"/>
              <a:gd name="connsiteX594" fmla="*/ 1006812 w 7467600"/>
              <a:gd name="connsiteY594" fmla="*/ 1767683 h 6858000"/>
              <a:gd name="connsiteX595" fmla="*/ 1149133 w 7467600"/>
              <a:gd name="connsiteY595" fmla="*/ 1971513 h 6858000"/>
              <a:gd name="connsiteX596" fmla="*/ 1333952 w 7467600"/>
              <a:gd name="connsiteY596" fmla="*/ 2251620 h 6858000"/>
              <a:gd name="connsiteX597" fmla="*/ 1337329 w 7467600"/>
              <a:gd name="connsiteY597" fmla="*/ 2258350 h 6858000"/>
              <a:gd name="connsiteX598" fmla="*/ 1014726 w 7467600"/>
              <a:gd name="connsiteY598" fmla="*/ 1615556 h 6858000"/>
              <a:gd name="connsiteX599" fmla="*/ 678222 w 7467600"/>
              <a:gd name="connsiteY599" fmla="*/ 1248670 h 6858000"/>
              <a:gd name="connsiteX600" fmla="*/ 6691602 w 7467600"/>
              <a:gd name="connsiteY600" fmla="*/ 1140573 h 6858000"/>
              <a:gd name="connsiteX601" fmla="*/ 6571100 w 7467600"/>
              <a:gd name="connsiteY601" fmla="*/ 1183662 h 6858000"/>
              <a:gd name="connsiteX602" fmla="*/ 6241687 w 7467600"/>
              <a:gd name="connsiteY602" fmla="*/ 1257600 h 6858000"/>
              <a:gd name="connsiteX603" fmla="*/ 5693009 w 7467600"/>
              <a:gd name="connsiteY603" fmla="*/ 1478256 h 6858000"/>
              <a:gd name="connsiteX604" fmla="*/ 6548420 w 7467600"/>
              <a:gd name="connsiteY604" fmla="*/ 1214599 h 6858000"/>
              <a:gd name="connsiteX605" fmla="*/ 6605473 w 7467600"/>
              <a:gd name="connsiteY605" fmla="*/ 1184686 h 6858000"/>
              <a:gd name="connsiteX606" fmla="*/ 6691602 w 7467600"/>
              <a:gd name="connsiteY606" fmla="*/ 1140573 h 6858000"/>
              <a:gd name="connsiteX607" fmla="*/ 4002475 w 7467600"/>
              <a:gd name="connsiteY607" fmla="*/ 1037802 h 6858000"/>
              <a:gd name="connsiteX608" fmla="*/ 4000324 w 7467600"/>
              <a:gd name="connsiteY608" fmla="*/ 1039362 h 6858000"/>
              <a:gd name="connsiteX609" fmla="*/ 4002862 w 7467600"/>
              <a:gd name="connsiteY609" fmla="*/ 1042866 h 6858000"/>
              <a:gd name="connsiteX610" fmla="*/ 4002475 w 7467600"/>
              <a:gd name="connsiteY610" fmla="*/ 1037802 h 6858000"/>
              <a:gd name="connsiteX611" fmla="*/ 506322 w 7467600"/>
              <a:gd name="connsiteY611" fmla="*/ 1020997 h 6858000"/>
              <a:gd name="connsiteX612" fmla="*/ 533068 w 7467600"/>
              <a:gd name="connsiteY612" fmla="*/ 1029409 h 6858000"/>
              <a:gd name="connsiteX613" fmla="*/ 1232525 w 7467600"/>
              <a:gd name="connsiteY613" fmla="*/ 1804675 h 6858000"/>
              <a:gd name="connsiteX614" fmla="*/ 1388858 w 7467600"/>
              <a:gd name="connsiteY614" fmla="*/ 2368011 h 6858000"/>
              <a:gd name="connsiteX615" fmla="*/ 1384098 w 7467600"/>
              <a:gd name="connsiteY615" fmla="*/ 2378125 h 6858000"/>
              <a:gd name="connsiteX616" fmla="*/ 1425393 w 7467600"/>
              <a:gd name="connsiteY616" fmla="*/ 2589124 h 6858000"/>
              <a:gd name="connsiteX617" fmla="*/ 1424001 w 7467600"/>
              <a:gd name="connsiteY617" fmla="*/ 2597541 h 6858000"/>
              <a:gd name="connsiteX618" fmla="*/ 2152729 w 7467600"/>
              <a:gd name="connsiteY618" fmla="*/ 2864487 h 6858000"/>
              <a:gd name="connsiteX619" fmla="*/ 2020609 w 7467600"/>
              <a:gd name="connsiteY619" fmla="*/ 2539671 h 6858000"/>
              <a:gd name="connsiteX620" fmla="*/ 2018920 w 7467600"/>
              <a:gd name="connsiteY620" fmla="*/ 2536309 h 6858000"/>
              <a:gd name="connsiteX621" fmla="*/ 1342441 w 7467600"/>
              <a:gd name="connsiteY621" fmla="*/ 1173017 h 6858000"/>
              <a:gd name="connsiteX622" fmla="*/ 1367925 w 7467600"/>
              <a:gd name="connsiteY622" fmla="*/ 1135648 h 6858000"/>
              <a:gd name="connsiteX623" fmla="*/ 1771401 w 7467600"/>
              <a:gd name="connsiteY623" fmla="*/ 1806673 h 6858000"/>
              <a:gd name="connsiteX624" fmla="*/ 1972385 w 7467600"/>
              <a:gd name="connsiteY624" fmla="*/ 2198735 h 6858000"/>
              <a:gd name="connsiteX625" fmla="*/ 2040892 w 7467600"/>
              <a:gd name="connsiteY625" fmla="*/ 2405205 h 6858000"/>
              <a:gd name="connsiteX626" fmla="*/ 2131689 w 7467600"/>
              <a:gd name="connsiteY626" fmla="*/ 1936926 h 6858000"/>
              <a:gd name="connsiteX627" fmla="*/ 2454820 w 7467600"/>
              <a:gd name="connsiteY627" fmla="*/ 1248808 h 6858000"/>
              <a:gd name="connsiteX628" fmla="*/ 2492512 w 7467600"/>
              <a:gd name="connsiteY628" fmla="*/ 1302920 h 6858000"/>
              <a:gd name="connsiteX629" fmla="*/ 2081216 w 7467600"/>
              <a:gd name="connsiteY629" fmla="*/ 2527513 h 6858000"/>
              <a:gd name="connsiteX630" fmla="*/ 2081211 w 7467600"/>
              <a:gd name="connsiteY630" fmla="*/ 2528916 h 6858000"/>
              <a:gd name="connsiteX631" fmla="*/ 2199067 w 7467600"/>
              <a:gd name="connsiteY631" fmla="*/ 2884061 h 6858000"/>
              <a:gd name="connsiteX632" fmla="*/ 3192586 w 7467600"/>
              <a:gd name="connsiteY632" fmla="*/ 3411496 h 6858000"/>
              <a:gd name="connsiteX633" fmla="*/ 3182620 w 7467600"/>
              <a:gd name="connsiteY633" fmla="*/ 3483279 h 6858000"/>
              <a:gd name="connsiteX634" fmla="*/ 2435119 w 7467600"/>
              <a:gd name="connsiteY634" fmla="*/ 3080173 h 6858000"/>
              <a:gd name="connsiteX635" fmla="*/ 2410152 w 7467600"/>
              <a:gd name="connsiteY635" fmla="*/ 3063751 h 6858000"/>
              <a:gd name="connsiteX636" fmla="*/ 2408099 w 7467600"/>
              <a:gd name="connsiteY636" fmla="*/ 3064403 h 6858000"/>
              <a:gd name="connsiteX637" fmla="*/ 2407218 w 7467600"/>
              <a:gd name="connsiteY637" fmla="*/ 3070324 h 6858000"/>
              <a:gd name="connsiteX638" fmla="*/ 2380138 w 7467600"/>
              <a:gd name="connsiteY638" fmla="*/ 3099341 h 6858000"/>
              <a:gd name="connsiteX639" fmla="*/ 1765923 w 7467600"/>
              <a:gd name="connsiteY639" fmla="*/ 3581043 h 6858000"/>
              <a:gd name="connsiteX640" fmla="*/ 1702258 w 7467600"/>
              <a:gd name="connsiteY640" fmla="*/ 3612286 h 6858000"/>
              <a:gd name="connsiteX641" fmla="*/ 1538370 w 7467600"/>
              <a:gd name="connsiteY641" fmla="*/ 3811804 h 6858000"/>
              <a:gd name="connsiteX642" fmla="*/ 542867 w 7467600"/>
              <a:gd name="connsiteY642" fmla="*/ 4944092 h 6858000"/>
              <a:gd name="connsiteX643" fmla="*/ 515800 w 7467600"/>
              <a:gd name="connsiteY643" fmla="*/ 4862180 h 6858000"/>
              <a:gd name="connsiteX644" fmla="*/ 909145 w 7467600"/>
              <a:gd name="connsiteY644" fmla="*/ 4199225 h 6858000"/>
              <a:gd name="connsiteX645" fmla="*/ 1214067 w 7467600"/>
              <a:gd name="connsiteY645" fmla="*/ 3908561 h 6858000"/>
              <a:gd name="connsiteX646" fmla="*/ 640967 w 7467600"/>
              <a:gd name="connsiteY646" fmla="*/ 4105601 h 6858000"/>
              <a:gd name="connsiteX647" fmla="*/ 112563 w 7467600"/>
              <a:gd name="connsiteY647" fmla="*/ 4396952 h 6858000"/>
              <a:gd name="connsiteX648" fmla="*/ 0 w 7467600"/>
              <a:gd name="connsiteY648" fmla="*/ 4466006 h 6858000"/>
              <a:gd name="connsiteX649" fmla="*/ 0 w 7467600"/>
              <a:gd name="connsiteY649" fmla="*/ 4233763 h 6858000"/>
              <a:gd name="connsiteX650" fmla="*/ 36881 w 7467600"/>
              <a:gd name="connsiteY650" fmla="*/ 4200118 h 6858000"/>
              <a:gd name="connsiteX651" fmla="*/ 910534 w 7467600"/>
              <a:gd name="connsiteY651" fmla="*/ 3629753 h 6858000"/>
              <a:gd name="connsiteX652" fmla="*/ 1578717 w 7467600"/>
              <a:gd name="connsiteY652" fmla="*/ 3575982 h 6858000"/>
              <a:gd name="connsiteX653" fmla="*/ 2338780 w 7467600"/>
              <a:gd name="connsiteY653" fmla="*/ 3033725 h 6858000"/>
              <a:gd name="connsiteX654" fmla="*/ 1807991 w 7467600"/>
              <a:gd name="connsiteY654" fmla="*/ 2807184 h 6858000"/>
              <a:gd name="connsiteX655" fmla="*/ 1416358 w 7467600"/>
              <a:gd name="connsiteY655" fmla="*/ 3112571 h 6858000"/>
              <a:gd name="connsiteX656" fmla="*/ 939066 w 7467600"/>
              <a:gd name="connsiteY656" fmla="*/ 3378798 h 6858000"/>
              <a:gd name="connsiteX657" fmla="*/ 115099 w 7467600"/>
              <a:gd name="connsiteY657" fmla="*/ 3607650 h 6858000"/>
              <a:gd name="connsiteX658" fmla="*/ 97284 w 7467600"/>
              <a:gd name="connsiteY658" fmla="*/ 3520393 h 6858000"/>
              <a:gd name="connsiteX659" fmla="*/ 922050 w 7467600"/>
              <a:gd name="connsiteY659" fmla="*/ 3074867 h 6858000"/>
              <a:gd name="connsiteX660" fmla="*/ 1405265 w 7467600"/>
              <a:gd name="connsiteY660" fmla="*/ 3016319 h 6858000"/>
              <a:gd name="connsiteX661" fmla="*/ 1407512 w 7467600"/>
              <a:gd name="connsiteY661" fmla="*/ 3018001 h 6858000"/>
              <a:gd name="connsiteX662" fmla="*/ 1726266 w 7467600"/>
              <a:gd name="connsiteY662" fmla="*/ 2777274 h 6858000"/>
              <a:gd name="connsiteX663" fmla="*/ 625390 w 7467600"/>
              <a:gd name="connsiteY663" fmla="*/ 2514541 h 6858000"/>
              <a:gd name="connsiteX664" fmla="*/ 619799 w 7467600"/>
              <a:gd name="connsiteY664" fmla="*/ 2527180 h 6858000"/>
              <a:gd name="connsiteX665" fmla="*/ 310030 w 7467600"/>
              <a:gd name="connsiteY665" fmla="*/ 2771818 h 6858000"/>
              <a:gd name="connsiteX666" fmla="*/ 173877 w 7467600"/>
              <a:gd name="connsiteY666" fmla="*/ 2937056 h 6858000"/>
              <a:gd name="connsiteX667" fmla="*/ 77889 w 7467600"/>
              <a:gd name="connsiteY667" fmla="*/ 3138440 h 6858000"/>
              <a:gd name="connsiteX668" fmla="*/ 0 w 7467600"/>
              <a:gd name="connsiteY668" fmla="*/ 3271395 h 6858000"/>
              <a:gd name="connsiteX669" fmla="*/ 0 w 7467600"/>
              <a:gd name="connsiteY669" fmla="*/ 3153002 h 6858000"/>
              <a:gd name="connsiteX670" fmla="*/ 2386 w 7467600"/>
              <a:gd name="connsiteY670" fmla="*/ 3149203 h 6858000"/>
              <a:gd name="connsiteX671" fmla="*/ 89753 w 7467600"/>
              <a:gd name="connsiteY671" fmla="*/ 2987702 h 6858000"/>
              <a:gd name="connsiteX672" fmla="*/ 76869 w 7467600"/>
              <a:gd name="connsiteY672" fmla="*/ 3005404 h 6858000"/>
              <a:gd name="connsiteX673" fmla="*/ 32049 w 7467600"/>
              <a:gd name="connsiteY673" fmla="*/ 3065814 h 6858000"/>
              <a:gd name="connsiteX674" fmla="*/ 0 w 7467600"/>
              <a:gd name="connsiteY674" fmla="*/ 3108744 h 6858000"/>
              <a:gd name="connsiteX675" fmla="*/ 0 w 7467600"/>
              <a:gd name="connsiteY675" fmla="*/ 3058059 h 6858000"/>
              <a:gd name="connsiteX676" fmla="*/ 7610 w 7467600"/>
              <a:gd name="connsiteY676" fmla="*/ 3047889 h 6858000"/>
              <a:gd name="connsiteX677" fmla="*/ 52419 w 7467600"/>
              <a:gd name="connsiteY677" fmla="*/ 2987479 h 6858000"/>
              <a:gd name="connsiteX678" fmla="*/ 59142 w 7467600"/>
              <a:gd name="connsiteY678" fmla="*/ 2978488 h 6858000"/>
              <a:gd name="connsiteX679" fmla="*/ 0 w 7467600"/>
              <a:gd name="connsiteY679" fmla="*/ 3015334 h 6858000"/>
              <a:gd name="connsiteX680" fmla="*/ 0 w 7467600"/>
              <a:gd name="connsiteY680" fmla="*/ 2914286 h 6858000"/>
              <a:gd name="connsiteX681" fmla="*/ 36383 w 7467600"/>
              <a:gd name="connsiteY681" fmla="*/ 2901128 h 6858000"/>
              <a:gd name="connsiteX682" fmla="*/ 156329 w 7467600"/>
              <a:gd name="connsiteY682" fmla="*/ 2840533 h 6858000"/>
              <a:gd name="connsiteX683" fmla="*/ 358355 w 7467600"/>
              <a:gd name="connsiteY683" fmla="*/ 2620471 h 6858000"/>
              <a:gd name="connsiteX684" fmla="*/ 510577 w 7467600"/>
              <a:gd name="connsiteY684" fmla="*/ 2501244 h 6858000"/>
              <a:gd name="connsiteX685" fmla="*/ 211967 w 7467600"/>
              <a:gd name="connsiteY685" fmla="*/ 2479171 h 6858000"/>
              <a:gd name="connsiteX686" fmla="*/ 0 w 7467600"/>
              <a:gd name="connsiteY686" fmla="*/ 2476398 h 6858000"/>
              <a:gd name="connsiteX687" fmla="*/ 0 w 7467600"/>
              <a:gd name="connsiteY687" fmla="*/ 2389189 h 6858000"/>
              <a:gd name="connsiteX688" fmla="*/ 103062 w 7467600"/>
              <a:gd name="connsiteY688" fmla="*/ 2389518 h 6858000"/>
              <a:gd name="connsiteX689" fmla="*/ 510734 w 7467600"/>
              <a:gd name="connsiteY689" fmla="*/ 2416201 h 6858000"/>
              <a:gd name="connsiteX690" fmla="*/ 279257 w 7467600"/>
              <a:gd name="connsiteY690" fmla="*/ 2092102 h 6858000"/>
              <a:gd name="connsiteX691" fmla="*/ 65265 w 7467600"/>
              <a:gd name="connsiteY691" fmla="*/ 2006049 h 6858000"/>
              <a:gd name="connsiteX692" fmla="*/ 0 w 7467600"/>
              <a:gd name="connsiteY692" fmla="*/ 1982532 h 6858000"/>
              <a:gd name="connsiteX693" fmla="*/ 0 w 7467600"/>
              <a:gd name="connsiteY693" fmla="*/ 1912789 h 6858000"/>
              <a:gd name="connsiteX694" fmla="*/ 97460 w 7467600"/>
              <a:gd name="connsiteY694" fmla="*/ 1953725 h 6858000"/>
              <a:gd name="connsiteX695" fmla="*/ 221272 w 7467600"/>
              <a:gd name="connsiteY695" fmla="*/ 1980766 h 6858000"/>
              <a:gd name="connsiteX696" fmla="*/ 116765 w 7467600"/>
              <a:gd name="connsiteY696" fmla="*/ 1911033 h 6858000"/>
              <a:gd name="connsiteX697" fmla="*/ 16405 w 7467600"/>
              <a:gd name="connsiteY697" fmla="*/ 1803412 h 6858000"/>
              <a:gd name="connsiteX698" fmla="*/ 0 w 7467600"/>
              <a:gd name="connsiteY698" fmla="*/ 1784777 h 6858000"/>
              <a:gd name="connsiteX699" fmla="*/ 0 w 7467600"/>
              <a:gd name="connsiteY699" fmla="*/ 1740082 h 6858000"/>
              <a:gd name="connsiteX700" fmla="*/ 39394 w 7467600"/>
              <a:gd name="connsiteY700" fmla="*/ 1784856 h 6858000"/>
              <a:gd name="connsiteX701" fmla="*/ 135813 w 7467600"/>
              <a:gd name="connsiteY701" fmla="*/ 1888838 h 6858000"/>
              <a:gd name="connsiteX702" fmla="*/ 242575 w 7467600"/>
              <a:gd name="connsiteY702" fmla="*/ 1958841 h 6858000"/>
              <a:gd name="connsiteX703" fmla="*/ 82197 w 7467600"/>
              <a:gd name="connsiteY703" fmla="*/ 1754826 h 6858000"/>
              <a:gd name="connsiteX704" fmla="*/ 0 w 7467600"/>
              <a:gd name="connsiteY704" fmla="*/ 1679650 h 6858000"/>
              <a:gd name="connsiteX705" fmla="*/ 0 w 7467600"/>
              <a:gd name="connsiteY705" fmla="*/ 1602463 h 6858000"/>
              <a:gd name="connsiteX706" fmla="*/ 84689 w 7467600"/>
              <a:gd name="connsiteY706" fmla="*/ 1677442 h 6858000"/>
              <a:gd name="connsiteX707" fmla="*/ 298437 w 7467600"/>
              <a:gd name="connsiteY707" fmla="*/ 1968019 h 6858000"/>
              <a:gd name="connsiteX708" fmla="*/ 227269 w 7467600"/>
              <a:gd name="connsiteY708" fmla="*/ 1114064 h 6858000"/>
              <a:gd name="connsiteX709" fmla="*/ 248003 w 7467600"/>
              <a:gd name="connsiteY709" fmla="*/ 1089613 h 6858000"/>
              <a:gd name="connsiteX710" fmla="*/ 427020 w 7467600"/>
              <a:gd name="connsiteY710" fmla="*/ 1619803 h 6858000"/>
              <a:gd name="connsiteX711" fmla="*/ 340345 w 7467600"/>
              <a:gd name="connsiteY711" fmla="*/ 2027739 h 6858000"/>
              <a:gd name="connsiteX712" fmla="*/ 360865 w 7467600"/>
              <a:gd name="connsiteY712" fmla="*/ 2044827 h 6858000"/>
              <a:gd name="connsiteX713" fmla="*/ 560414 w 7467600"/>
              <a:gd name="connsiteY713" fmla="*/ 2421457 h 6858000"/>
              <a:gd name="connsiteX714" fmla="*/ 1359703 w 7467600"/>
              <a:gd name="connsiteY714" fmla="*/ 2578554 h 6858000"/>
              <a:gd name="connsiteX715" fmla="*/ 1359422 w 7467600"/>
              <a:gd name="connsiteY715" fmla="*/ 2577994 h 6858000"/>
              <a:gd name="connsiteX716" fmla="*/ 828701 w 7467600"/>
              <a:gd name="connsiteY716" fmla="*/ 1839520 h 6858000"/>
              <a:gd name="connsiteX717" fmla="*/ 494427 w 7467600"/>
              <a:gd name="connsiteY717" fmla="*/ 1092333 h 6858000"/>
              <a:gd name="connsiteX718" fmla="*/ 506322 w 7467600"/>
              <a:gd name="connsiteY718" fmla="*/ 1020997 h 6858000"/>
              <a:gd name="connsiteX719" fmla="*/ 4570198 w 7467600"/>
              <a:gd name="connsiteY719" fmla="*/ 978081 h 6858000"/>
              <a:gd name="connsiteX720" fmla="*/ 4523691 w 7467600"/>
              <a:gd name="connsiteY720" fmla="*/ 1127776 h 6858000"/>
              <a:gd name="connsiteX721" fmla="*/ 4509875 w 7467600"/>
              <a:gd name="connsiteY721" fmla="*/ 1167552 h 6858000"/>
              <a:gd name="connsiteX722" fmla="*/ 4478168 w 7467600"/>
              <a:gd name="connsiteY722" fmla="*/ 1260735 h 6858000"/>
              <a:gd name="connsiteX723" fmla="*/ 4409309 w 7467600"/>
              <a:gd name="connsiteY723" fmla="*/ 1666996 h 6858000"/>
              <a:gd name="connsiteX724" fmla="*/ 4370031 w 7467600"/>
              <a:gd name="connsiteY724" fmla="*/ 1955666 h 6858000"/>
              <a:gd name="connsiteX725" fmla="*/ 4570198 w 7467600"/>
              <a:gd name="connsiteY725" fmla="*/ 978081 h 6858000"/>
              <a:gd name="connsiteX726" fmla="*/ 4557898 w 7467600"/>
              <a:gd name="connsiteY726" fmla="*/ 900011 h 6858000"/>
              <a:gd name="connsiteX727" fmla="*/ 4344840 w 7467600"/>
              <a:gd name="connsiteY727" fmla="*/ 1922038 h 6858000"/>
              <a:gd name="connsiteX728" fmla="*/ 4378710 w 7467600"/>
              <a:gd name="connsiteY728" fmla="*/ 1665516 h 6858000"/>
              <a:gd name="connsiteX729" fmla="*/ 4448798 w 7467600"/>
              <a:gd name="connsiteY729" fmla="*/ 1253024 h 6858000"/>
              <a:gd name="connsiteX730" fmla="*/ 4480315 w 7467600"/>
              <a:gd name="connsiteY730" fmla="*/ 1158454 h 6858000"/>
              <a:gd name="connsiteX731" fmla="*/ 4494133 w 7467600"/>
              <a:gd name="connsiteY731" fmla="*/ 1118676 h 6858000"/>
              <a:gd name="connsiteX732" fmla="*/ 4557898 w 7467600"/>
              <a:gd name="connsiteY732" fmla="*/ 900011 h 6858000"/>
              <a:gd name="connsiteX733" fmla="*/ 5870151 w 7467600"/>
              <a:gd name="connsiteY733" fmla="*/ 898890 h 6858000"/>
              <a:gd name="connsiteX734" fmla="*/ 5861335 w 7467600"/>
              <a:gd name="connsiteY734" fmla="*/ 899177 h 6858000"/>
              <a:gd name="connsiteX735" fmla="*/ 5843702 w 7467600"/>
              <a:gd name="connsiteY735" fmla="*/ 899748 h 6858000"/>
              <a:gd name="connsiteX736" fmla="*/ 5651107 w 7467600"/>
              <a:gd name="connsiteY736" fmla="*/ 920306 h 6858000"/>
              <a:gd name="connsiteX737" fmla="*/ 5459407 w 7467600"/>
              <a:gd name="connsiteY737" fmla="*/ 940975 h 6858000"/>
              <a:gd name="connsiteX738" fmla="*/ 5374846 w 7467600"/>
              <a:gd name="connsiteY738" fmla="*/ 941988 h 6858000"/>
              <a:gd name="connsiteX739" fmla="*/ 5256105 w 7467600"/>
              <a:gd name="connsiteY739" fmla="*/ 945632 h 6858000"/>
              <a:gd name="connsiteX740" fmla="*/ 5107071 w 7467600"/>
              <a:gd name="connsiteY740" fmla="*/ 969720 h 6858000"/>
              <a:gd name="connsiteX741" fmla="*/ 4998681 w 7467600"/>
              <a:gd name="connsiteY741" fmla="*/ 988771 h 6858000"/>
              <a:gd name="connsiteX742" fmla="*/ 5870151 w 7467600"/>
              <a:gd name="connsiteY742" fmla="*/ 898890 h 6858000"/>
              <a:gd name="connsiteX743" fmla="*/ 5504425 w 7467600"/>
              <a:gd name="connsiteY743" fmla="*/ 848067 h 6858000"/>
              <a:gd name="connsiteX744" fmla="*/ 4968849 w 7467600"/>
              <a:gd name="connsiteY744" fmla="*/ 962318 h 6858000"/>
              <a:gd name="connsiteX745" fmla="*/ 5104039 w 7467600"/>
              <a:gd name="connsiteY745" fmla="*/ 940634 h 6858000"/>
              <a:gd name="connsiteX746" fmla="*/ 5256311 w 7467600"/>
              <a:gd name="connsiteY746" fmla="*/ 916490 h 6858000"/>
              <a:gd name="connsiteX747" fmla="*/ 5377381 w 7467600"/>
              <a:gd name="connsiteY747" fmla="*/ 912671 h 6858000"/>
              <a:gd name="connsiteX748" fmla="*/ 5460148 w 7467600"/>
              <a:gd name="connsiteY748" fmla="*/ 911442 h 6858000"/>
              <a:gd name="connsiteX749" fmla="*/ 5648971 w 7467600"/>
              <a:gd name="connsiteY749" fmla="*/ 891331 h 6858000"/>
              <a:gd name="connsiteX750" fmla="*/ 5844807 w 7467600"/>
              <a:gd name="connsiteY750" fmla="*/ 870718 h 6858000"/>
              <a:gd name="connsiteX751" fmla="*/ 5862975 w 7467600"/>
              <a:gd name="connsiteY751" fmla="*/ 869756 h 6858000"/>
              <a:gd name="connsiteX752" fmla="*/ 5920887 w 7467600"/>
              <a:gd name="connsiteY752" fmla="*/ 865929 h 6858000"/>
              <a:gd name="connsiteX753" fmla="*/ 5504425 w 7467600"/>
              <a:gd name="connsiteY753" fmla="*/ 848067 h 6858000"/>
              <a:gd name="connsiteX754" fmla="*/ 3607114 w 7467600"/>
              <a:gd name="connsiteY754" fmla="*/ 467441 h 6858000"/>
              <a:gd name="connsiteX755" fmla="*/ 3296242 w 7467600"/>
              <a:gd name="connsiteY755" fmla="*/ 807991 h 6858000"/>
              <a:gd name="connsiteX756" fmla="*/ 3174674 w 7467600"/>
              <a:gd name="connsiteY756" fmla="*/ 919759 h 6858000"/>
              <a:gd name="connsiteX757" fmla="*/ 3042978 w 7467600"/>
              <a:gd name="connsiteY757" fmla="*/ 1054894 h 6858000"/>
              <a:gd name="connsiteX758" fmla="*/ 2968914 w 7467600"/>
              <a:gd name="connsiteY758" fmla="*/ 1133756 h 6858000"/>
              <a:gd name="connsiteX759" fmla="*/ 3103823 w 7467600"/>
              <a:gd name="connsiteY759" fmla="*/ 1026814 h 6858000"/>
              <a:gd name="connsiteX760" fmla="*/ 3607114 w 7467600"/>
              <a:gd name="connsiteY760" fmla="*/ 467441 h 6858000"/>
              <a:gd name="connsiteX761" fmla="*/ 3744487 w 7467600"/>
              <a:gd name="connsiteY761" fmla="*/ 383136 h 6858000"/>
              <a:gd name="connsiteX762" fmla="*/ 3970213 w 7467600"/>
              <a:gd name="connsiteY762" fmla="*/ 995559 h 6858000"/>
              <a:gd name="connsiteX763" fmla="*/ 3744487 w 7467600"/>
              <a:gd name="connsiteY763" fmla="*/ 383136 h 6858000"/>
              <a:gd name="connsiteX764" fmla="*/ 3624562 w 7467600"/>
              <a:gd name="connsiteY764" fmla="*/ 367041 h 6858000"/>
              <a:gd name="connsiteX765" fmla="*/ 3489712 w 7467600"/>
              <a:gd name="connsiteY765" fmla="*/ 485386 h 6858000"/>
              <a:gd name="connsiteX766" fmla="*/ 3182994 w 7467600"/>
              <a:gd name="connsiteY766" fmla="*/ 828265 h 6858000"/>
              <a:gd name="connsiteX767" fmla="*/ 2892114 w 7467600"/>
              <a:gd name="connsiteY767" fmla="*/ 1172635 h 6858000"/>
              <a:gd name="connsiteX768" fmla="*/ 3021459 w 7467600"/>
              <a:gd name="connsiteY768" fmla="*/ 1035385 h 6858000"/>
              <a:gd name="connsiteX769" fmla="*/ 3153873 w 7467600"/>
              <a:gd name="connsiteY769" fmla="*/ 898971 h 6858000"/>
              <a:gd name="connsiteX770" fmla="*/ 3276511 w 7467600"/>
              <a:gd name="connsiteY770" fmla="*/ 786423 h 6858000"/>
              <a:gd name="connsiteX771" fmla="*/ 3584154 w 7467600"/>
              <a:gd name="connsiteY771" fmla="*/ 448218 h 6858000"/>
              <a:gd name="connsiteX772" fmla="*/ 3624562 w 7467600"/>
              <a:gd name="connsiteY772" fmla="*/ 367041 h 6858000"/>
              <a:gd name="connsiteX773" fmla="*/ 3766672 w 7467600"/>
              <a:gd name="connsiteY773" fmla="*/ 359429 h 6858000"/>
              <a:gd name="connsiteX774" fmla="*/ 3996338 w 7467600"/>
              <a:gd name="connsiteY774" fmla="*/ 968237 h 6858000"/>
              <a:gd name="connsiteX775" fmla="*/ 3766672 w 7467600"/>
              <a:gd name="connsiteY775" fmla="*/ 359429 h 6858000"/>
              <a:gd name="connsiteX776" fmla="*/ 5805386 w 7467600"/>
              <a:gd name="connsiteY776" fmla="*/ 239240 h 6858000"/>
              <a:gd name="connsiteX777" fmla="*/ 5736947 w 7467600"/>
              <a:gd name="connsiteY777" fmla="*/ 261367 h 6858000"/>
              <a:gd name="connsiteX778" fmla="*/ 5427012 w 7467600"/>
              <a:gd name="connsiteY778" fmla="*/ 311272 h 6858000"/>
              <a:gd name="connsiteX779" fmla="*/ 5147818 w 7467600"/>
              <a:gd name="connsiteY779" fmla="*/ 322112 h 6858000"/>
              <a:gd name="connsiteX780" fmla="*/ 5060854 w 7467600"/>
              <a:gd name="connsiteY780" fmla="*/ 311882 h 6858000"/>
              <a:gd name="connsiteX781" fmla="*/ 4945989 w 7467600"/>
              <a:gd name="connsiteY781" fmla="*/ 300516 h 6858000"/>
              <a:gd name="connsiteX782" fmla="*/ 5410479 w 7467600"/>
              <a:gd name="connsiteY782" fmla="*/ 348434 h 6858000"/>
              <a:gd name="connsiteX783" fmla="*/ 5805386 w 7467600"/>
              <a:gd name="connsiteY783" fmla="*/ 239240 h 6858000"/>
              <a:gd name="connsiteX784" fmla="*/ 5905192 w 7467600"/>
              <a:gd name="connsiteY784" fmla="*/ 163079 h 6858000"/>
              <a:gd name="connsiteX785" fmla="*/ 5865655 w 7467600"/>
              <a:gd name="connsiteY785" fmla="*/ 171901 h 6858000"/>
              <a:gd name="connsiteX786" fmla="*/ 5259740 w 7467600"/>
              <a:gd name="connsiteY786" fmla="*/ 257013 h 6858000"/>
              <a:gd name="connsiteX787" fmla="*/ 5208466 w 7467600"/>
              <a:gd name="connsiteY787" fmla="*/ 257550 h 6858000"/>
              <a:gd name="connsiteX788" fmla="*/ 4980204 w 7467600"/>
              <a:gd name="connsiteY788" fmla="*/ 271903 h 6858000"/>
              <a:gd name="connsiteX789" fmla="*/ 5068068 w 7467600"/>
              <a:gd name="connsiteY789" fmla="*/ 282244 h 6858000"/>
              <a:gd name="connsiteX790" fmla="*/ 5153231 w 7467600"/>
              <a:gd name="connsiteY790" fmla="*/ 292240 h 6858000"/>
              <a:gd name="connsiteX791" fmla="*/ 5426491 w 7467600"/>
              <a:gd name="connsiteY791" fmla="*/ 281128 h 6858000"/>
              <a:gd name="connsiteX792" fmla="*/ 5731212 w 7467600"/>
              <a:gd name="connsiteY792" fmla="*/ 231951 h 6858000"/>
              <a:gd name="connsiteX793" fmla="*/ 5905192 w 7467600"/>
              <a:gd name="connsiteY793" fmla="*/ 163079 h 6858000"/>
              <a:gd name="connsiteX794" fmla="*/ 5944437 w 7467600"/>
              <a:gd name="connsiteY794" fmla="*/ 113829 h 6858000"/>
              <a:gd name="connsiteX795" fmla="*/ 5825032 w 7467600"/>
              <a:gd name="connsiteY795" fmla="*/ 146405 h 6858000"/>
              <a:gd name="connsiteX796" fmla="*/ 4955599 w 7467600"/>
              <a:gd name="connsiteY796" fmla="*/ 247008 h 6858000"/>
              <a:gd name="connsiteX797" fmla="*/ 5210104 w 7467600"/>
              <a:gd name="connsiteY797" fmla="*/ 228123 h 6858000"/>
              <a:gd name="connsiteX798" fmla="*/ 5261015 w 7467600"/>
              <a:gd name="connsiteY798" fmla="*/ 227087 h 6858000"/>
              <a:gd name="connsiteX799" fmla="*/ 5861181 w 7467600"/>
              <a:gd name="connsiteY799" fmla="*/ 143093 h 6858000"/>
              <a:gd name="connsiteX800" fmla="*/ 5961252 w 7467600"/>
              <a:gd name="connsiteY800" fmla="*/ 114820 h 6858000"/>
              <a:gd name="connsiteX801" fmla="*/ 5944437 w 7467600"/>
              <a:gd name="connsiteY801" fmla="*/ 113829 h 6858000"/>
              <a:gd name="connsiteX802" fmla="*/ 3882765 w 7467600"/>
              <a:gd name="connsiteY802" fmla="*/ 0 h 6858000"/>
              <a:gd name="connsiteX803" fmla="*/ 3995099 w 7467600"/>
              <a:gd name="connsiteY803" fmla="*/ 0 h 6858000"/>
              <a:gd name="connsiteX804" fmla="*/ 4163818 w 7467600"/>
              <a:gd name="connsiteY804" fmla="*/ 234104 h 6858000"/>
              <a:gd name="connsiteX805" fmla="*/ 4172099 w 7467600"/>
              <a:gd name="connsiteY805" fmla="*/ 234207 h 6858000"/>
              <a:gd name="connsiteX806" fmla="*/ 4784282 w 7467600"/>
              <a:gd name="connsiteY806" fmla="*/ 276561 h 6858000"/>
              <a:gd name="connsiteX807" fmla="*/ 4801687 w 7467600"/>
              <a:gd name="connsiteY807" fmla="*/ 267764 h 6858000"/>
              <a:gd name="connsiteX808" fmla="*/ 6082788 w 7467600"/>
              <a:gd name="connsiteY808" fmla="*/ 64119 h 6858000"/>
              <a:gd name="connsiteX809" fmla="*/ 6099442 w 7467600"/>
              <a:gd name="connsiteY809" fmla="*/ 82568 h 6858000"/>
              <a:gd name="connsiteX810" fmla="*/ 4804137 w 7467600"/>
              <a:gd name="connsiteY810" fmla="*/ 320931 h 6858000"/>
              <a:gd name="connsiteX811" fmla="*/ 4227047 w 7467600"/>
              <a:gd name="connsiteY811" fmla="*/ 313415 h 6858000"/>
              <a:gd name="connsiteX812" fmla="*/ 4346041 w 7467600"/>
              <a:gd name="connsiteY812" fmla="*/ 456086 h 6858000"/>
              <a:gd name="connsiteX813" fmla="*/ 4870967 w 7467600"/>
              <a:gd name="connsiteY813" fmla="*/ 963061 h 6858000"/>
              <a:gd name="connsiteX814" fmla="*/ 4889647 w 7467600"/>
              <a:gd name="connsiteY814" fmla="*/ 957147 h 6858000"/>
              <a:gd name="connsiteX815" fmla="*/ 5422504 w 7467600"/>
              <a:gd name="connsiteY815" fmla="*/ 805191 h 6858000"/>
              <a:gd name="connsiteX816" fmla="*/ 6087656 w 7467600"/>
              <a:gd name="connsiteY816" fmla="*/ 826703 h 6858000"/>
              <a:gd name="connsiteX817" fmla="*/ 6058717 w 7467600"/>
              <a:gd name="connsiteY817" fmla="*/ 865992 h 6858000"/>
              <a:gd name="connsiteX818" fmla="*/ 4974153 w 7467600"/>
              <a:gd name="connsiteY818" fmla="*/ 1045456 h 6858000"/>
              <a:gd name="connsiteX819" fmla="*/ 5627835 w 7467600"/>
              <a:gd name="connsiteY819" fmla="*/ 1472077 h 6858000"/>
              <a:gd name="connsiteX820" fmla="*/ 5629817 w 7467600"/>
              <a:gd name="connsiteY820" fmla="*/ 1471412 h 6858000"/>
              <a:gd name="connsiteX821" fmla="*/ 5634124 w 7467600"/>
              <a:gd name="connsiteY821" fmla="*/ 1470572 h 6858000"/>
              <a:gd name="connsiteX822" fmla="*/ 5755832 w 7467600"/>
              <a:gd name="connsiteY822" fmla="*/ 1383886 h 6858000"/>
              <a:gd name="connsiteX823" fmla="*/ 6014186 w 7467600"/>
              <a:gd name="connsiteY823" fmla="*/ 1279799 h 6858000"/>
              <a:gd name="connsiteX824" fmla="*/ 6901619 w 7467600"/>
              <a:gd name="connsiteY824" fmla="*/ 1047874 h 6858000"/>
              <a:gd name="connsiteX825" fmla="*/ 6931566 w 7467600"/>
              <a:gd name="connsiteY825" fmla="*/ 1062034 h 6858000"/>
              <a:gd name="connsiteX826" fmla="*/ 5790982 w 7467600"/>
              <a:gd name="connsiteY826" fmla="*/ 1561380 h 6858000"/>
              <a:gd name="connsiteX827" fmla="*/ 6188971 w 7467600"/>
              <a:gd name="connsiteY827" fmla="*/ 1755168 h 6858000"/>
              <a:gd name="connsiteX828" fmla="*/ 6202446 w 7467600"/>
              <a:gd name="connsiteY828" fmla="*/ 1752268 h 6858000"/>
              <a:gd name="connsiteX829" fmla="*/ 7179560 w 7467600"/>
              <a:gd name="connsiteY829" fmla="*/ 1467551 h 6858000"/>
              <a:gd name="connsiteX830" fmla="*/ 7158730 w 7467600"/>
              <a:gd name="connsiteY830" fmla="*/ 1507835 h 6858000"/>
              <a:gd name="connsiteX831" fmla="*/ 6326959 w 7467600"/>
              <a:gd name="connsiteY831" fmla="*/ 1817686 h 6858000"/>
              <a:gd name="connsiteX832" fmla="*/ 6537433 w 7467600"/>
              <a:gd name="connsiteY832" fmla="*/ 1907790 h 6858000"/>
              <a:gd name="connsiteX833" fmla="*/ 6550221 w 7467600"/>
              <a:gd name="connsiteY833" fmla="*/ 1910729 h 6858000"/>
              <a:gd name="connsiteX834" fmla="*/ 6964438 w 7467600"/>
              <a:gd name="connsiteY834" fmla="*/ 2209505 h 6858000"/>
              <a:gd name="connsiteX835" fmla="*/ 7367862 w 7467600"/>
              <a:gd name="connsiteY835" fmla="*/ 2806833 h 6858000"/>
              <a:gd name="connsiteX836" fmla="*/ 7364329 w 7467600"/>
              <a:gd name="connsiteY836" fmla="*/ 2826907 h 6858000"/>
              <a:gd name="connsiteX837" fmla="*/ 7290545 w 7467600"/>
              <a:gd name="connsiteY837" fmla="*/ 2850663 h 6858000"/>
              <a:gd name="connsiteX838" fmla="*/ 6472036 w 7467600"/>
              <a:gd name="connsiteY838" fmla="*/ 1959003 h 6858000"/>
              <a:gd name="connsiteX839" fmla="*/ 5792897 w 7467600"/>
              <a:gd name="connsiteY839" fmla="*/ 1647747 h 6858000"/>
              <a:gd name="connsiteX840" fmla="*/ 5842751 w 7467600"/>
              <a:gd name="connsiteY840" fmla="*/ 1816112 h 6858000"/>
              <a:gd name="connsiteX841" fmla="*/ 5847424 w 7467600"/>
              <a:gd name="connsiteY841" fmla="*/ 1815776 h 6858000"/>
              <a:gd name="connsiteX842" fmla="*/ 6399821 w 7467600"/>
              <a:gd name="connsiteY842" fmla="*/ 2344799 h 6858000"/>
              <a:gd name="connsiteX843" fmla="*/ 6323232 w 7467600"/>
              <a:gd name="connsiteY843" fmla="*/ 2389634 h 6858000"/>
              <a:gd name="connsiteX844" fmla="*/ 5942958 w 7467600"/>
              <a:gd name="connsiteY844" fmla="*/ 2077708 h 6858000"/>
              <a:gd name="connsiteX845" fmla="*/ 5921559 w 7467600"/>
              <a:gd name="connsiteY845" fmla="*/ 2378596 h 6858000"/>
              <a:gd name="connsiteX846" fmla="*/ 5817651 w 7467600"/>
              <a:gd name="connsiteY846" fmla="*/ 3023919 h 6858000"/>
              <a:gd name="connsiteX847" fmla="*/ 5729634 w 7467600"/>
              <a:gd name="connsiteY847" fmla="*/ 3051849 h 6858000"/>
              <a:gd name="connsiteX848" fmla="*/ 5611018 w 7467600"/>
              <a:gd name="connsiteY848" fmla="*/ 2316769 h 6858000"/>
              <a:gd name="connsiteX849" fmla="*/ 5687608 w 7467600"/>
              <a:gd name="connsiteY849" fmla="*/ 2039972 h 6858000"/>
              <a:gd name="connsiteX850" fmla="*/ 5657554 w 7467600"/>
              <a:gd name="connsiteY850" fmla="*/ 1576445 h 6858000"/>
              <a:gd name="connsiteX851" fmla="*/ 5150475 w 7467600"/>
              <a:gd name="connsiteY851" fmla="*/ 1274012 h 6858000"/>
              <a:gd name="connsiteX852" fmla="*/ 5349142 w 7467600"/>
              <a:gd name="connsiteY852" fmla="*/ 2204405 h 6858000"/>
              <a:gd name="connsiteX853" fmla="*/ 5262214 w 7467600"/>
              <a:gd name="connsiteY853" fmla="*/ 2233836 h 6858000"/>
              <a:gd name="connsiteX854" fmla="*/ 4981539 w 7467600"/>
              <a:gd name="connsiteY854" fmla="*/ 1542201 h 6858000"/>
              <a:gd name="connsiteX855" fmla="*/ 4958461 w 7467600"/>
              <a:gd name="connsiteY855" fmla="*/ 1136957 h 6858000"/>
              <a:gd name="connsiteX856" fmla="*/ 4655015 w 7467600"/>
              <a:gd name="connsiteY856" fmla="*/ 891426 h 6858000"/>
              <a:gd name="connsiteX857" fmla="*/ 4348002 w 7467600"/>
              <a:gd name="connsiteY857" fmla="*/ 2205895 h 6858000"/>
              <a:gd name="connsiteX858" fmla="*/ 4262250 w 7467600"/>
              <a:gd name="connsiteY858" fmla="*/ 2219972 h 6858000"/>
              <a:gd name="connsiteX859" fmla="*/ 4550611 w 7467600"/>
              <a:gd name="connsiteY859" fmla="*/ 817540 h 6858000"/>
              <a:gd name="connsiteX860" fmla="*/ 4564418 w 7467600"/>
              <a:gd name="connsiteY860" fmla="*/ 808293 h 6858000"/>
              <a:gd name="connsiteX861" fmla="*/ 4266388 w 7467600"/>
              <a:gd name="connsiteY861" fmla="*/ 500083 h 6858000"/>
              <a:gd name="connsiteX862" fmla="*/ 4032842 w 7467600"/>
              <a:gd name="connsiteY862" fmla="*/ 211809 h 6858000"/>
              <a:gd name="connsiteX863" fmla="*/ 3882765 w 7467600"/>
              <a:gd name="connsiteY863" fmla="*/ 0 h 6858000"/>
              <a:gd name="connsiteX864" fmla="*/ 3721337 w 7467600"/>
              <a:gd name="connsiteY864" fmla="*/ 0 h 6858000"/>
              <a:gd name="connsiteX865" fmla="*/ 3797544 w 7467600"/>
              <a:gd name="connsiteY865" fmla="*/ 0 h 6858000"/>
              <a:gd name="connsiteX866" fmla="*/ 3775734 w 7467600"/>
              <a:gd name="connsiteY866" fmla="*/ 95131 h 6858000"/>
              <a:gd name="connsiteX867" fmla="*/ 3724807 w 7467600"/>
              <a:gd name="connsiteY867" fmla="*/ 272257 h 6858000"/>
              <a:gd name="connsiteX868" fmla="*/ 3726844 w 7467600"/>
              <a:gd name="connsiteY868" fmla="*/ 282988 h 6858000"/>
              <a:gd name="connsiteX869" fmla="*/ 3742664 w 7467600"/>
              <a:gd name="connsiteY869" fmla="*/ 279918 h 6858000"/>
              <a:gd name="connsiteX870" fmla="*/ 4103910 w 7467600"/>
              <a:gd name="connsiteY870" fmla="*/ 1161917 h 6858000"/>
              <a:gd name="connsiteX871" fmla="*/ 4020269 w 7467600"/>
              <a:gd name="connsiteY871" fmla="*/ 1200406 h 6858000"/>
              <a:gd name="connsiteX872" fmla="*/ 3674882 w 7467600"/>
              <a:gd name="connsiteY872" fmla="*/ 488524 h 6858000"/>
              <a:gd name="connsiteX873" fmla="*/ 3132682 w 7467600"/>
              <a:gd name="connsiteY873" fmla="*/ 1072284 h 6858000"/>
              <a:gd name="connsiteX874" fmla="*/ 2716346 w 7467600"/>
              <a:gd name="connsiteY874" fmla="*/ 1276376 h 6858000"/>
              <a:gd name="connsiteX875" fmla="*/ 2716772 w 7467600"/>
              <a:gd name="connsiteY875" fmla="*/ 1255462 h 6858000"/>
              <a:gd name="connsiteX876" fmla="*/ 3471096 w 7467600"/>
              <a:gd name="connsiteY876" fmla="*/ 437072 h 6858000"/>
              <a:gd name="connsiteX877" fmla="*/ 3639057 w 7467600"/>
              <a:gd name="connsiteY877" fmla="*/ 286334 h 6858000"/>
              <a:gd name="connsiteX878" fmla="*/ 3640309 w 7467600"/>
              <a:gd name="connsiteY878" fmla="*/ 284664 h 6858000"/>
              <a:gd name="connsiteX879" fmla="*/ 3646022 w 7467600"/>
              <a:gd name="connsiteY879" fmla="*/ 276711 h 6858000"/>
              <a:gd name="connsiteX880" fmla="*/ 3707943 w 7467600"/>
              <a:gd name="connsiteY880" fmla="*/ 65958 h 6858000"/>
              <a:gd name="connsiteX881" fmla="*/ 3721337 w 7467600"/>
              <a:gd name="connsiteY881" fmla="*/ 0 h 6858000"/>
              <a:gd name="connsiteX882" fmla="*/ 2867960 w 7467600"/>
              <a:gd name="connsiteY882" fmla="*/ 0 h 6858000"/>
              <a:gd name="connsiteX883" fmla="*/ 2926351 w 7467600"/>
              <a:gd name="connsiteY883" fmla="*/ 0 h 6858000"/>
              <a:gd name="connsiteX884" fmla="*/ 2902823 w 7467600"/>
              <a:gd name="connsiteY884" fmla="*/ 262929 h 6858000"/>
              <a:gd name="connsiteX885" fmla="*/ 2940663 w 7467600"/>
              <a:gd name="connsiteY885" fmla="*/ 140884 h 6858000"/>
              <a:gd name="connsiteX886" fmla="*/ 2947039 w 7467600"/>
              <a:gd name="connsiteY886" fmla="*/ 122524 h 6858000"/>
              <a:gd name="connsiteX887" fmla="*/ 2984316 w 7467600"/>
              <a:gd name="connsiteY887" fmla="*/ 0 h 6858000"/>
              <a:gd name="connsiteX888" fmla="*/ 3016114 w 7467600"/>
              <a:gd name="connsiteY888" fmla="*/ 0 h 6858000"/>
              <a:gd name="connsiteX889" fmla="*/ 2979949 w 7467600"/>
              <a:gd name="connsiteY889" fmla="*/ 119274 h 6858000"/>
              <a:gd name="connsiteX890" fmla="*/ 3023879 w 7467600"/>
              <a:gd name="connsiteY890" fmla="*/ 0 h 6858000"/>
              <a:gd name="connsiteX891" fmla="*/ 3105400 w 7467600"/>
              <a:gd name="connsiteY891" fmla="*/ 0 h 6858000"/>
              <a:gd name="connsiteX892" fmla="*/ 3094669 w 7467600"/>
              <a:gd name="connsiteY892" fmla="*/ 30308 h 6858000"/>
              <a:gd name="connsiteX893" fmla="*/ 2901945 w 7467600"/>
              <a:gd name="connsiteY893" fmla="*/ 466538 h 6858000"/>
              <a:gd name="connsiteX894" fmla="*/ 2815209 w 7467600"/>
              <a:gd name="connsiteY894" fmla="*/ 497361 h 6858000"/>
              <a:gd name="connsiteX895" fmla="*/ 2844845 w 7467600"/>
              <a:gd name="connsiteY895" fmla="*/ 127638 h 6858000"/>
              <a:gd name="connsiteX896" fmla="*/ 2867960 w 7467600"/>
              <a:gd name="connsiteY896" fmla="*/ 0 h 6858000"/>
              <a:gd name="connsiteX897" fmla="*/ 1057230 w 7467600"/>
              <a:gd name="connsiteY897" fmla="*/ 0 h 6858000"/>
              <a:gd name="connsiteX898" fmla="*/ 1111003 w 7467600"/>
              <a:gd name="connsiteY898" fmla="*/ 0 h 6858000"/>
              <a:gd name="connsiteX899" fmla="*/ 1125553 w 7467600"/>
              <a:gd name="connsiteY899" fmla="*/ 52588 h 6858000"/>
              <a:gd name="connsiteX900" fmla="*/ 1304276 w 7467600"/>
              <a:gd name="connsiteY900" fmla="*/ 476275 h 6858000"/>
              <a:gd name="connsiteX901" fmla="*/ 1492066 w 7467600"/>
              <a:gd name="connsiteY901" fmla="*/ 886333 h 6858000"/>
              <a:gd name="connsiteX902" fmla="*/ 1423698 w 7467600"/>
              <a:gd name="connsiteY902" fmla="*/ 710817 h 6858000"/>
              <a:gd name="connsiteX903" fmla="*/ 1357609 w 7467600"/>
              <a:gd name="connsiteY903" fmla="*/ 532892 h 6858000"/>
              <a:gd name="connsiteX904" fmla="*/ 1309550 w 7467600"/>
              <a:gd name="connsiteY904" fmla="*/ 374031 h 6858000"/>
              <a:gd name="connsiteX905" fmla="*/ 1193673 w 7467600"/>
              <a:gd name="connsiteY905" fmla="*/ 49533 h 6858000"/>
              <a:gd name="connsiteX906" fmla="*/ 1164391 w 7467600"/>
              <a:gd name="connsiteY906" fmla="*/ 0 h 6858000"/>
              <a:gd name="connsiteX907" fmla="*/ 1200666 w 7467600"/>
              <a:gd name="connsiteY907" fmla="*/ 0 h 6858000"/>
              <a:gd name="connsiteX908" fmla="*/ 1223408 w 7467600"/>
              <a:gd name="connsiteY908" fmla="*/ 38996 h 6858000"/>
              <a:gd name="connsiteX909" fmla="*/ 1339635 w 7467600"/>
              <a:gd name="connsiteY909" fmla="*/ 365517 h 6858000"/>
              <a:gd name="connsiteX910" fmla="*/ 1387469 w 7467600"/>
              <a:gd name="connsiteY910" fmla="*/ 523079 h 6858000"/>
              <a:gd name="connsiteX911" fmla="*/ 1452685 w 7467600"/>
              <a:gd name="connsiteY911" fmla="*/ 699806 h 6858000"/>
              <a:gd name="connsiteX912" fmla="*/ 1492092 w 7467600"/>
              <a:gd name="connsiteY912" fmla="*/ 800424 h 6858000"/>
              <a:gd name="connsiteX913" fmla="*/ 1455302 w 7467600"/>
              <a:gd name="connsiteY913" fmla="*/ 632913 h 6858000"/>
              <a:gd name="connsiteX914" fmla="*/ 1222336 w 7467600"/>
              <a:gd name="connsiteY914" fmla="*/ 9480 h 6858000"/>
              <a:gd name="connsiteX915" fmla="*/ 1214634 w 7467600"/>
              <a:gd name="connsiteY915" fmla="*/ 0 h 6858000"/>
              <a:gd name="connsiteX916" fmla="*/ 1289827 w 7467600"/>
              <a:gd name="connsiteY916" fmla="*/ 0 h 6858000"/>
              <a:gd name="connsiteX917" fmla="*/ 1321076 w 7467600"/>
              <a:gd name="connsiteY917" fmla="*/ 59722 h 6858000"/>
              <a:gd name="connsiteX918" fmla="*/ 1512579 w 7467600"/>
              <a:gd name="connsiteY918" fmla="*/ 626441 h 6858000"/>
              <a:gd name="connsiteX919" fmla="*/ 1506076 w 7467600"/>
              <a:gd name="connsiteY919" fmla="*/ 1089289 h 6858000"/>
              <a:gd name="connsiteX920" fmla="*/ 1486346 w 7467600"/>
              <a:gd name="connsiteY920" fmla="*/ 1079919 h 6858000"/>
              <a:gd name="connsiteX921" fmla="*/ 1070511 w 7467600"/>
              <a:gd name="connsiteY921" fmla="*/ 48609 h 6858000"/>
              <a:gd name="connsiteX922" fmla="*/ 1057230 w 7467600"/>
              <a:gd name="connsiteY922" fmla="*/ 0 h 6858000"/>
              <a:gd name="connsiteX923" fmla="*/ 43151 w 7467600"/>
              <a:gd name="connsiteY923" fmla="*/ 0 h 6858000"/>
              <a:gd name="connsiteX924" fmla="*/ 95283 w 7467600"/>
              <a:gd name="connsiteY924" fmla="*/ 0 h 6858000"/>
              <a:gd name="connsiteX925" fmla="*/ 300708 w 7467600"/>
              <a:gd name="connsiteY925" fmla="*/ 154571 h 6858000"/>
              <a:gd name="connsiteX926" fmla="*/ 530414 w 7467600"/>
              <a:gd name="connsiteY926" fmla="*/ 354673 h 6858000"/>
              <a:gd name="connsiteX927" fmla="*/ 333785 w 7467600"/>
              <a:gd name="connsiteY927" fmla="*/ 161564 h 6858000"/>
              <a:gd name="connsiteX928" fmla="*/ 147005 w 7467600"/>
              <a:gd name="connsiteY928" fmla="*/ 0 h 6858000"/>
              <a:gd name="connsiteX929" fmla="*/ 272509 w 7467600"/>
              <a:gd name="connsiteY929" fmla="*/ 0 h 6858000"/>
              <a:gd name="connsiteX930" fmla="*/ 326276 w 7467600"/>
              <a:gd name="connsiteY930" fmla="*/ 45847 h 6858000"/>
              <a:gd name="connsiteX931" fmla="*/ 823759 w 7467600"/>
              <a:gd name="connsiteY931" fmla="*/ 574145 h 6858000"/>
              <a:gd name="connsiteX932" fmla="*/ 811254 w 7467600"/>
              <a:gd name="connsiteY932" fmla="*/ 665546 h 6858000"/>
              <a:gd name="connsiteX933" fmla="*/ 154042 w 7467600"/>
              <a:gd name="connsiteY933" fmla="*/ 261522 h 6858000"/>
              <a:gd name="connsiteX934" fmla="*/ 13550 w 7467600"/>
              <a:gd name="connsiteY934" fmla="*/ 158423 h 6858000"/>
              <a:gd name="connsiteX935" fmla="*/ 0 w 7467600"/>
              <a:gd name="connsiteY935" fmla="*/ 146618 h 6858000"/>
              <a:gd name="connsiteX936" fmla="*/ 0 w 7467600"/>
              <a:gd name="connsiteY936" fmla="*/ 59161 h 6858000"/>
              <a:gd name="connsiteX937" fmla="*/ 45427 w 7467600"/>
              <a:gd name="connsiteY937" fmla="*/ 101078 h 6858000"/>
              <a:gd name="connsiteX938" fmla="*/ 630103 w 7467600"/>
              <a:gd name="connsiteY938" fmla="*/ 485885 h 6858000"/>
              <a:gd name="connsiteX939" fmla="*/ 532040 w 7467600"/>
              <a:gd name="connsiteY939" fmla="*/ 399359 h 6858000"/>
              <a:gd name="connsiteX940" fmla="*/ 517618 w 7467600"/>
              <a:gd name="connsiteY940" fmla="*/ 385726 h 6858000"/>
              <a:gd name="connsiteX941" fmla="*/ 285074 w 7467600"/>
              <a:gd name="connsiteY941" fmla="*/ 182755 h 6858000"/>
              <a:gd name="connsiteX942" fmla="*/ 43151 w 7467600"/>
              <a:gd name="connsiteY942"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289862 w 7467600"/>
              <a:gd name="connsiteY4" fmla="*/ 6659827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289862 w 7467600"/>
              <a:gd name="connsiteY9" fmla="*/ 6659827 h 6858000"/>
              <a:gd name="connsiteX10" fmla="*/ 1019354 w 7467600"/>
              <a:gd name="connsiteY10" fmla="*/ 6315006 h 6858000"/>
              <a:gd name="connsiteX11" fmla="*/ 441046 w 7467600"/>
              <a:gd name="connsiteY11" fmla="*/ 6691153 h 6858000"/>
              <a:gd name="connsiteX12" fmla="*/ 1019354 w 7467600"/>
              <a:gd name="connsiteY12" fmla="*/ 6315006 h 6858000"/>
              <a:gd name="connsiteX13" fmla="*/ 991680 w 7467600"/>
              <a:gd name="connsiteY13" fmla="*/ 6298413 h 6858000"/>
              <a:gd name="connsiteX14" fmla="*/ 409060 w 7467600"/>
              <a:gd name="connsiteY14" fmla="*/ 6671470 h 6858000"/>
              <a:gd name="connsiteX15" fmla="*/ 991680 w 7467600"/>
              <a:gd name="connsiteY15" fmla="*/ 6298413 h 6858000"/>
              <a:gd name="connsiteX16" fmla="*/ 103333 w 7467600"/>
              <a:gd name="connsiteY16" fmla="*/ 5699602 h 6858000"/>
              <a:gd name="connsiteX17" fmla="*/ 233938 w 7467600"/>
              <a:gd name="connsiteY17" fmla="*/ 5809416 h 6858000"/>
              <a:gd name="connsiteX18" fmla="*/ 883580 w 7467600"/>
              <a:gd name="connsiteY18" fmla="*/ 6180710 h 6858000"/>
              <a:gd name="connsiteX19" fmla="*/ 487337 w 7467600"/>
              <a:gd name="connsiteY19" fmla="*/ 5950182 h 6858000"/>
              <a:gd name="connsiteX20" fmla="*/ 354051 w 7467600"/>
              <a:gd name="connsiteY20" fmla="*/ 5854912 h 6858000"/>
              <a:gd name="connsiteX21" fmla="*/ 195436 w 7467600"/>
              <a:gd name="connsiteY21" fmla="*/ 5755068 h 6858000"/>
              <a:gd name="connsiteX22" fmla="*/ 103333 w 7467600"/>
              <a:gd name="connsiteY22" fmla="*/ 5699602 h 6858000"/>
              <a:gd name="connsiteX23" fmla="*/ 5539432 w 7467600"/>
              <a:gd name="connsiteY23" fmla="*/ 5642928 h 6858000"/>
              <a:gd name="connsiteX24" fmla="*/ 5555462 w 7467600"/>
              <a:gd name="connsiteY24" fmla="*/ 5694454 h 6858000"/>
              <a:gd name="connsiteX25" fmla="*/ 5828270 w 7467600"/>
              <a:gd name="connsiteY25" fmla="*/ 6320663 h 6858000"/>
              <a:gd name="connsiteX26" fmla="*/ 5947416 w 7467600"/>
              <a:gd name="connsiteY26" fmla="*/ 6574846 h 6858000"/>
              <a:gd name="connsiteX27" fmla="*/ 5539432 w 7467600"/>
              <a:gd name="connsiteY27" fmla="*/ 5642928 h 6858000"/>
              <a:gd name="connsiteX28" fmla="*/ 51253 w 7467600"/>
              <a:gd name="connsiteY28" fmla="*/ 5631825 h 6858000"/>
              <a:gd name="connsiteX29" fmla="*/ 211622 w 7467600"/>
              <a:gd name="connsiteY29" fmla="*/ 5728803 h 6858000"/>
              <a:gd name="connsiteX30" fmla="*/ 371652 w 7467600"/>
              <a:gd name="connsiteY30" fmla="*/ 5829062 h 6858000"/>
              <a:gd name="connsiteX31" fmla="*/ 505903 w 7467600"/>
              <a:gd name="connsiteY31" fmla="*/ 5925221 h 6858000"/>
              <a:gd name="connsiteX32" fmla="*/ 899240 w 7467600"/>
              <a:gd name="connsiteY32" fmla="*/ 6153068 h 6858000"/>
              <a:gd name="connsiteX33" fmla="*/ 988114 w 7467600"/>
              <a:gd name="connsiteY33" fmla="*/ 6174204 h 6858000"/>
              <a:gd name="connsiteX34" fmla="*/ 845971 w 7467600"/>
              <a:gd name="connsiteY34" fmla="*/ 6067177 h 6858000"/>
              <a:gd name="connsiteX35" fmla="*/ 448057 w 7467600"/>
              <a:gd name="connsiteY35" fmla="*/ 5841376 h 6858000"/>
              <a:gd name="connsiteX36" fmla="*/ 51253 w 7467600"/>
              <a:gd name="connsiteY36" fmla="*/ 5631825 h 6858000"/>
              <a:gd name="connsiteX37" fmla="*/ 2606687 w 7467600"/>
              <a:gd name="connsiteY37" fmla="*/ 5630718 h 6858000"/>
              <a:gd name="connsiteX38" fmla="*/ 2645658 w 7467600"/>
              <a:gd name="connsiteY38" fmla="*/ 6640259 h 6858000"/>
              <a:gd name="connsiteX39" fmla="*/ 2606687 w 7467600"/>
              <a:gd name="connsiteY39" fmla="*/ 5630718 h 6858000"/>
              <a:gd name="connsiteX40" fmla="*/ 3642057 w 7467600"/>
              <a:gd name="connsiteY40" fmla="*/ 5573487 h 6858000"/>
              <a:gd name="connsiteX41" fmla="*/ 3632981 w 7467600"/>
              <a:gd name="connsiteY41" fmla="*/ 5579437 h 6858000"/>
              <a:gd name="connsiteX42" fmla="*/ 3382436 w 7467600"/>
              <a:gd name="connsiteY42" fmla="*/ 5952726 h 6858000"/>
              <a:gd name="connsiteX43" fmla="*/ 3191929 w 7467600"/>
              <a:gd name="connsiteY43" fmla="*/ 6662669 h 6858000"/>
              <a:gd name="connsiteX44" fmla="*/ 3369898 w 7467600"/>
              <a:gd name="connsiteY44" fmla="*/ 6081771 h 6858000"/>
              <a:gd name="connsiteX45" fmla="*/ 3642057 w 7467600"/>
              <a:gd name="connsiteY45" fmla="*/ 5573487 h 6858000"/>
              <a:gd name="connsiteX46" fmla="*/ 2650666 w 7467600"/>
              <a:gd name="connsiteY46" fmla="*/ 5530686 h 6858000"/>
              <a:gd name="connsiteX47" fmla="*/ 2650249 w 7467600"/>
              <a:gd name="connsiteY47" fmla="*/ 5532101 h 6858000"/>
              <a:gd name="connsiteX48" fmla="*/ 2663808 w 7467600"/>
              <a:gd name="connsiteY48" fmla="*/ 6535215 h 6858000"/>
              <a:gd name="connsiteX49" fmla="*/ 2665418 w 7467600"/>
              <a:gd name="connsiteY49" fmla="*/ 6132756 h 6858000"/>
              <a:gd name="connsiteX50" fmla="*/ 2650666 w 7467600"/>
              <a:gd name="connsiteY50" fmla="*/ 5530686 h 6858000"/>
              <a:gd name="connsiteX51" fmla="*/ 2680277 w 7467600"/>
              <a:gd name="connsiteY51" fmla="*/ 5479204 h 6858000"/>
              <a:gd name="connsiteX52" fmla="*/ 2678972 w 7467600"/>
              <a:gd name="connsiteY52" fmla="*/ 5481582 h 6858000"/>
              <a:gd name="connsiteX53" fmla="*/ 2696666 w 7467600"/>
              <a:gd name="connsiteY53" fmla="*/ 6133836 h 6858000"/>
              <a:gd name="connsiteX54" fmla="*/ 2695769 w 7467600"/>
              <a:gd name="connsiteY54" fmla="*/ 6390955 h 6858000"/>
              <a:gd name="connsiteX55" fmla="*/ 2739893 w 7467600"/>
              <a:gd name="connsiteY55" fmla="*/ 6108357 h 6858000"/>
              <a:gd name="connsiteX56" fmla="*/ 2680277 w 7467600"/>
              <a:gd name="connsiteY56" fmla="*/ 5479204 h 6858000"/>
              <a:gd name="connsiteX57" fmla="*/ 1132195 w 7467600"/>
              <a:gd name="connsiteY57" fmla="*/ 5467980 h 6858000"/>
              <a:gd name="connsiteX58" fmla="*/ 1679056 w 7467600"/>
              <a:gd name="connsiteY58" fmla="*/ 5516907 h 6858000"/>
              <a:gd name="connsiteX59" fmla="*/ 2128648 w 7467600"/>
              <a:gd name="connsiteY59" fmla="*/ 5474249 h 6858000"/>
              <a:gd name="connsiteX60" fmla="*/ 1825619 w 7467600"/>
              <a:gd name="connsiteY60" fmla="*/ 5478447 h 6858000"/>
              <a:gd name="connsiteX61" fmla="*/ 1737798 w 7467600"/>
              <a:gd name="connsiteY61" fmla="*/ 5483353 h 6858000"/>
              <a:gd name="connsiteX62" fmla="*/ 1132195 w 7467600"/>
              <a:gd name="connsiteY62" fmla="*/ 5467980 h 6858000"/>
              <a:gd name="connsiteX63" fmla="*/ 1456157 w 7467600"/>
              <a:gd name="connsiteY63" fmla="*/ 5371404 h 6858000"/>
              <a:gd name="connsiteX64" fmla="*/ 1244432 w 7467600"/>
              <a:gd name="connsiteY64" fmla="*/ 5385601 h 6858000"/>
              <a:gd name="connsiteX65" fmla="*/ 973990 w 7467600"/>
              <a:gd name="connsiteY65" fmla="*/ 5424940 h 6858000"/>
              <a:gd name="connsiteX66" fmla="*/ 1103809 w 7467600"/>
              <a:gd name="connsiteY66" fmla="*/ 5433720 h 6858000"/>
              <a:gd name="connsiteX67" fmla="*/ 1123454 w 7467600"/>
              <a:gd name="connsiteY67" fmla="*/ 5435727 h 6858000"/>
              <a:gd name="connsiteX68" fmla="*/ 1737017 w 7467600"/>
              <a:gd name="connsiteY68" fmla="*/ 5452183 h 6858000"/>
              <a:gd name="connsiteX69" fmla="*/ 1824397 w 7467600"/>
              <a:gd name="connsiteY69" fmla="*/ 5447757 h 6858000"/>
              <a:gd name="connsiteX70" fmla="*/ 2070059 w 7467600"/>
              <a:gd name="connsiteY70" fmla="*/ 5441660 h 6858000"/>
              <a:gd name="connsiteX71" fmla="*/ 1456157 w 7467600"/>
              <a:gd name="connsiteY71" fmla="*/ 5371404 h 6858000"/>
              <a:gd name="connsiteX72" fmla="*/ 4988186 w 7467600"/>
              <a:gd name="connsiteY72" fmla="*/ 5216467 h 6858000"/>
              <a:gd name="connsiteX73" fmla="*/ 4777334 w 7467600"/>
              <a:gd name="connsiteY73" fmla="*/ 5406072 h 6858000"/>
              <a:gd name="connsiteX74" fmla="*/ 4718341 w 7467600"/>
              <a:gd name="connsiteY74" fmla="*/ 5468043 h 6858000"/>
              <a:gd name="connsiteX75" fmla="*/ 4604655 w 7467600"/>
              <a:gd name="connsiteY75" fmla="*/ 5583434 h 6858000"/>
              <a:gd name="connsiteX76" fmla="*/ 4565074 w 7467600"/>
              <a:gd name="connsiteY76" fmla="*/ 5618550 h 6858000"/>
              <a:gd name="connsiteX77" fmla="*/ 4988186 w 7467600"/>
              <a:gd name="connsiteY77" fmla="*/ 5216467 h 6858000"/>
              <a:gd name="connsiteX78" fmla="*/ 4978032 w 7467600"/>
              <a:gd name="connsiteY78" fmla="*/ 5183809 h 6858000"/>
              <a:gd name="connsiteX79" fmla="*/ 4463413 w 7467600"/>
              <a:gd name="connsiteY79" fmla="*/ 5615162 h 6858000"/>
              <a:gd name="connsiteX80" fmla="*/ 4358134 w 7467600"/>
              <a:gd name="connsiteY80" fmla="*/ 5742791 h 6858000"/>
              <a:gd name="connsiteX81" fmla="*/ 4376219 w 7467600"/>
              <a:gd name="connsiteY81" fmla="*/ 5729027 h 6858000"/>
              <a:gd name="connsiteX82" fmla="*/ 4582340 w 7467600"/>
              <a:gd name="connsiteY82" fmla="*/ 5561037 h 6858000"/>
              <a:gd name="connsiteX83" fmla="*/ 4694684 w 7467600"/>
              <a:gd name="connsiteY83" fmla="*/ 5447098 h 6858000"/>
              <a:gd name="connsiteX84" fmla="*/ 4754123 w 7467600"/>
              <a:gd name="connsiteY84" fmla="*/ 5384643 h 6858000"/>
              <a:gd name="connsiteX85" fmla="*/ 4978032 w 7467600"/>
              <a:gd name="connsiteY85" fmla="*/ 5183809 h 6858000"/>
              <a:gd name="connsiteX86" fmla="*/ 1903353 w 7467600"/>
              <a:gd name="connsiteY86" fmla="*/ 5044827 h 6858000"/>
              <a:gd name="connsiteX87" fmla="*/ 1936931 w 7467600"/>
              <a:gd name="connsiteY87" fmla="*/ 5093954 h 6858000"/>
              <a:gd name="connsiteX88" fmla="*/ 2195868 w 7467600"/>
              <a:gd name="connsiteY88" fmla="*/ 5396574 h 6858000"/>
              <a:gd name="connsiteX89" fmla="*/ 2088852 w 7467600"/>
              <a:gd name="connsiteY89" fmla="*/ 5166123 h 6858000"/>
              <a:gd name="connsiteX90" fmla="*/ 1958241 w 7467600"/>
              <a:gd name="connsiteY90" fmla="*/ 5067955 h 6858000"/>
              <a:gd name="connsiteX91" fmla="*/ 1903353 w 7467600"/>
              <a:gd name="connsiteY91" fmla="*/ 5044827 h 6858000"/>
              <a:gd name="connsiteX92" fmla="*/ 1979378 w 7467600"/>
              <a:gd name="connsiteY92" fmla="*/ 4769504 h 6858000"/>
              <a:gd name="connsiteX93" fmla="*/ 2882120 w 7467600"/>
              <a:gd name="connsiteY93" fmla="*/ 5064547 h 6858000"/>
              <a:gd name="connsiteX94" fmla="*/ 2793103 w 7467600"/>
              <a:gd name="connsiteY94" fmla="*/ 5039699 h 6858000"/>
              <a:gd name="connsiteX95" fmla="*/ 2770041 w 7467600"/>
              <a:gd name="connsiteY95" fmla="*/ 5033634 h 6858000"/>
              <a:gd name="connsiteX96" fmla="*/ 1979378 w 7467600"/>
              <a:gd name="connsiteY96" fmla="*/ 4769504 h 6858000"/>
              <a:gd name="connsiteX97" fmla="*/ 1927410 w 7467600"/>
              <a:gd name="connsiteY97" fmla="*/ 4716164 h 6858000"/>
              <a:gd name="connsiteX98" fmla="*/ 1959587 w 7467600"/>
              <a:gd name="connsiteY98" fmla="*/ 4728849 h 6858000"/>
              <a:gd name="connsiteX99" fmla="*/ 2777707 w 7467600"/>
              <a:gd name="connsiteY99" fmla="*/ 5003991 h 6858000"/>
              <a:gd name="connsiteX100" fmla="*/ 2800768 w 7467600"/>
              <a:gd name="connsiteY100" fmla="*/ 5010056 h 6858000"/>
              <a:gd name="connsiteX101" fmla="*/ 2879408 w 7467600"/>
              <a:gd name="connsiteY101" fmla="*/ 5031590 h 6858000"/>
              <a:gd name="connsiteX102" fmla="*/ 2862295 w 7467600"/>
              <a:gd name="connsiteY102" fmla="*/ 5022958 h 6858000"/>
              <a:gd name="connsiteX103" fmla="*/ 2813343 w 7467600"/>
              <a:gd name="connsiteY103" fmla="*/ 4998369 h 6858000"/>
              <a:gd name="connsiteX104" fmla="*/ 2646245 w 7467600"/>
              <a:gd name="connsiteY104" fmla="*/ 4930999 h 6858000"/>
              <a:gd name="connsiteX105" fmla="*/ 1999243 w 7467600"/>
              <a:gd name="connsiteY105" fmla="*/ 4730524 h 6858000"/>
              <a:gd name="connsiteX106" fmla="*/ 1979527 w 7467600"/>
              <a:gd name="connsiteY106" fmla="*/ 4726651 h 6858000"/>
              <a:gd name="connsiteX107" fmla="*/ 1927410 w 7467600"/>
              <a:gd name="connsiteY107" fmla="*/ 4716164 h 6858000"/>
              <a:gd name="connsiteX108" fmla="*/ 1997014 w 7467600"/>
              <a:gd name="connsiteY108" fmla="*/ 4698007 h 6858000"/>
              <a:gd name="connsiteX109" fmla="*/ 2005458 w 7467600"/>
              <a:gd name="connsiteY109" fmla="*/ 4699540 h 6858000"/>
              <a:gd name="connsiteX110" fmla="*/ 2657186 w 7467600"/>
              <a:gd name="connsiteY110" fmla="*/ 4901687 h 6858000"/>
              <a:gd name="connsiteX111" fmla="*/ 2826662 w 7467600"/>
              <a:gd name="connsiteY111" fmla="*/ 4970362 h 6858000"/>
              <a:gd name="connsiteX112" fmla="*/ 2876100 w 7467600"/>
              <a:gd name="connsiteY112" fmla="*/ 4995397 h 6858000"/>
              <a:gd name="connsiteX113" fmla="*/ 3042600 w 7467600"/>
              <a:gd name="connsiteY113" fmla="*/ 5059532 h 6858000"/>
              <a:gd name="connsiteX114" fmla="*/ 1997014 w 7467600"/>
              <a:gd name="connsiteY114" fmla="*/ 4698007 h 6858000"/>
              <a:gd name="connsiteX115" fmla="*/ 2305292 w 7467600"/>
              <a:gd name="connsiteY115" fmla="*/ 4219492 h 6858000"/>
              <a:gd name="connsiteX116" fmla="*/ 3360922 w 7467600"/>
              <a:gd name="connsiteY116" fmla="*/ 4529373 h 6858000"/>
              <a:gd name="connsiteX117" fmla="*/ 3492420 w 7467600"/>
              <a:gd name="connsiteY117" fmla="*/ 4510145 h 6858000"/>
              <a:gd name="connsiteX118" fmla="*/ 3364086 w 7467600"/>
              <a:gd name="connsiteY118" fmla="*/ 4480340 h 6858000"/>
              <a:gd name="connsiteX119" fmla="*/ 3225818 w 7467600"/>
              <a:gd name="connsiteY119" fmla="*/ 4411822 h 6858000"/>
              <a:gd name="connsiteX120" fmla="*/ 3129696 w 7467600"/>
              <a:gd name="connsiteY120" fmla="*/ 4360704 h 6858000"/>
              <a:gd name="connsiteX121" fmla="*/ 2814545 w 7467600"/>
              <a:gd name="connsiteY121" fmla="*/ 4282955 h 6858000"/>
              <a:gd name="connsiteX122" fmla="*/ 2305292 w 7467600"/>
              <a:gd name="connsiteY122" fmla="*/ 4219492 h 6858000"/>
              <a:gd name="connsiteX123" fmla="*/ 2626982 w 7467600"/>
              <a:gd name="connsiteY123" fmla="*/ 4206450 h 6858000"/>
              <a:gd name="connsiteX124" fmla="*/ 2490617 w 7467600"/>
              <a:gd name="connsiteY124" fmla="*/ 4206951 h 6858000"/>
              <a:gd name="connsiteX125" fmla="*/ 2819869 w 7467600"/>
              <a:gd name="connsiteY125" fmla="*/ 4252936 h 6858000"/>
              <a:gd name="connsiteX126" fmla="*/ 3143018 w 7467600"/>
              <a:gd name="connsiteY126" fmla="*/ 4332698 h 6858000"/>
              <a:gd name="connsiteX127" fmla="*/ 3241520 w 7467600"/>
              <a:gd name="connsiteY127" fmla="*/ 4385112 h 6858000"/>
              <a:gd name="connsiteX128" fmla="*/ 3374575 w 7467600"/>
              <a:gd name="connsiteY128" fmla="*/ 4451517 h 6858000"/>
              <a:gd name="connsiteX129" fmla="*/ 3505221 w 7467600"/>
              <a:gd name="connsiteY129" fmla="*/ 4480757 h 6858000"/>
              <a:gd name="connsiteX130" fmla="*/ 2626982 w 7467600"/>
              <a:gd name="connsiteY130" fmla="*/ 4206450 h 6858000"/>
              <a:gd name="connsiteX131" fmla="*/ 1310106 w 7467600"/>
              <a:gd name="connsiteY131" fmla="*/ 3943217 h 6858000"/>
              <a:gd name="connsiteX132" fmla="*/ 854994 w 7467600"/>
              <a:gd name="connsiteY132" fmla="*/ 4399136 h 6858000"/>
              <a:gd name="connsiteX133" fmla="*/ 742462 w 7467600"/>
              <a:gd name="connsiteY133" fmla="*/ 4594648 h 6858000"/>
              <a:gd name="connsiteX134" fmla="*/ 820602 w 7467600"/>
              <a:gd name="connsiteY134" fmla="*/ 4485915 h 6858000"/>
              <a:gd name="connsiteX135" fmla="*/ 878295 w 7467600"/>
              <a:gd name="connsiteY135" fmla="*/ 4403594 h 6858000"/>
              <a:gd name="connsiteX136" fmla="*/ 1240607 w 7467600"/>
              <a:gd name="connsiteY136" fmla="*/ 4010401 h 6858000"/>
              <a:gd name="connsiteX137" fmla="*/ 1310106 w 7467600"/>
              <a:gd name="connsiteY137" fmla="*/ 3943217 h 6858000"/>
              <a:gd name="connsiteX138" fmla="*/ 1423113 w 7467600"/>
              <a:gd name="connsiteY138" fmla="*/ 3874565 h 6858000"/>
              <a:gd name="connsiteX139" fmla="*/ 1260565 w 7467600"/>
              <a:gd name="connsiteY139" fmla="*/ 4031982 h 6858000"/>
              <a:gd name="connsiteX140" fmla="*/ 901900 w 7467600"/>
              <a:gd name="connsiteY140" fmla="*/ 4421236 h 6858000"/>
              <a:gd name="connsiteX141" fmla="*/ 845044 w 7467600"/>
              <a:gd name="connsiteY141" fmla="*/ 4502436 h 6858000"/>
              <a:gd name="connsiteX142" fmla="*/ 685926 w 7467600"/>
              <a:gd name="connsiteY142" fmla="*/ 4703069 h 6858000"/>
              <a:gd name="connsiteX143" fmla="*/ 684248 w 7467600"/>
              <a:gd name="connsiteY143" fmla="*/ 4706721 h 6858000"/>
              <a:gd name="connsiteX144" fmla="*/ 1423113 w 7467600"/>
              <a:gd name="connsiteY144" fmla="*/ 3874565 h 6858000"/>
              <a:gd name="connsiteX145" fmla="*/ 3316479 w 7467600"/>
              <a:gd name="connsiteY145" fmla="*/ 3872136 h 6858000"/>
              <a:gd name="connsiteX146" fmla="*/ 3546806 w 7467600"/>
              <a:gd name="connsiteY146" fmla="*/ 4356139 h 6858000"/>
              <a:gd name="connsiteX147" fmla="*/ 3364433 w 7467600"/>
              <a:gd name="connsiteY147" fmla="*/ 3953121 h 6858000"/>
              <a:gd name="connsiteX148" fmla="*/ 3316479 w 7467600"/>
              <a:gd name="connsiteY148" fmla="*/ 3872136 h 6858000"/>
              <a:gd name="connsiteX149" fmla="*/ 3291335 w 7467600"/>
              <a:gd name="connsiteY149" fmla="*/ 3767420 h 6858000"/>
              <a:gd name="connsiteX150" fmla="*/ 3390805 w 7467600"/>
              <a:gd name="connsiteY150" fmla="*/ 3937163 h 6858000"/>
              <a:gd name="connsiteX151" fmla="*/ 3579062 w 7467600"/>
              <a:gd name="connsiteY151" fmla="*/ 4359040 h 6858000"/>
              <a:gd name="connsiteX152" fmla="*/ 3467355 w 7467600"/>
              <a:gd name="connsiteY152" fmla="*/ 3988130 h 6858000"/>
              <a:gd name="connsiteX153" fmla="*/ 3310753 w 7467600"/>
              <a:gd name="connsiteY153" fmla="*/ 3787140 h 6858000"/>
              <a:gd name="connsiteX154" fmla="*/ 3291335 w 7467600"/>
              <a:gd name="connsiteY154" fmla="*/ 3767420 h 6858000"/>
              <a:gd name="connsiteX155" fmla="*/ 1635889 w 7467600"/>
              <a:gd name="connsiteY155" fmla="*/ 3709494 h 6858000"/>
              <a:gd name="connsiteX156" fmla="*/ 1634800 w 7467600"/>
              <a:gd name="connsiteY156" fmla="*/ 3731111 h 6858000"/>
              <a:gd name="connsiteX157" fmla="*/ 1635889 w 7467600"/>
              <a:gd name="connsiteY157" fmla="*/ 3709494 h 6858000"/>
              <a:gd name="connsiteX158" fmla="*/ 1510397 w 7467600"/>
              <a:gd name="connsiteY158" fmla="*/ 3684705 h 6858000"/>
              <a:gd name="connsiteX159" fmla="*/ 1146550 w 7467600"/>
              <a:gd name="connsiteY159" fmla="*/ 3802012 h 6858000"/>
              <a:gd name="connsiteX160" fmla="*/ 698834 w 7467600"/>
              <a:gd name="connsiteY160" fmla="*/ 3952272 h 6858000"/>
              <a:gd name="connsiteX161" fmla="*/ 34256 w 7467600"/>
              <a:gd name="connsiteY161" fmla="*/ 4347603 h 6858000"/>
              <a:gd name="connsiteX162" fmla="*/ 527241 w 7467600"/>
              <a:gd name="connsiteY162" fmla="*/ 4065078 h 6858000"/>
              <a:gd name="connsiteX163" fmla="*/ 1510397 w 7467600"/>
              <a:gd name="connsiteY163" fmla="*/ 3684705 h 6858000"/>
              <a:gd name="connsiteX164" fmla="*/ 1313114 w 7467600"/>
              <a:gd name="connsiteY164" fmla="*/ 3655216 h 6858000"/>
              <a:gd name="connsiteX165" fmla="*/ 1109304 w 7467600"/>
              <a:gd name="connsiteY165" fmla="*/ 3669030 h 6858000"/>
              <a:gd name="connsiteX166" fmla="*/ 8129 w 7467600"/>
              <a:gd name="connsiteY166" fmla="*/ 4330519 h 6858000"/>
              <a:gd name="connsiteX167" fmla="*/ 687572 w 7467600"/>
              <a:gd name="connsiteY167" fmla="*/ 3925629 h 6858000"/>
              <a:gd name="connsiteX168" fmla="*/ 1138365 w 7467600"/>
              <a:gd name="connsiteY168" fmla="*/ 3774515 h 6858000"/>
              <a:gd name="connsiteX169" fmla="*/ 1505579 w 7467600"/>
              <a:gd name="connsiteY169" fmla="*/ 3655526 h 6858000"/>
              <a:gd name="connsiteX170" fmla="*/ 1313114 w 7467600"/>
              <a:gd name="connsiteY170" fmla="*/ 3655216 h 6858000"/>
              <a:gd name="connsiteX171" fmla="*/ 3655073 w 7467600"/>
              <a:gd name="connsiteY171" fmla="*/ 3650884 h 6858000"/>
              <a:gd name="connsiteX172" fmla="*/ 3989938 w 7467600"/>
              <a:gd name="connsiteY172" fmla="*/ 3991685 h 6858000"/>
              <a:gd name="connsiteX173" fmla="*/ 4393907 w 7467600"/>
              <a:gd name="connsiteY173" fmla="*/ 4261258 h 6858000"/>
              <a:gd name="connsiteX174" fmla="*/ 4648051 w 7467600"/>
              <a:gd name="connsiteY174" fmla="*/ 4374051 h 6858000"/>
              <a:gd name="connsiteX175" fmla="*/ 4383389 w 7467600"/>
              <a:gd name="connsiteY175" fmla="*/ 4184369 h 6858000"/>
              <a:gd name="connsiteX176" fmla="*/ 4165508 w 7467600"/>
              <a:gd name="connsiteY176" fmla="*/ 4035196 h 6858000"/>
              <a:gd name="connsiteX177" fmla="*/ 4068162 w 7467600"/>
              <a:gd name="connsiteY177" fmla="*/ 3953394 h 6858000"/>
              <a:gd name="connsiteX178" fmla="*/ 3981416 w 7467600"/>
              <a:gd name="connsiteY178" fmla="*/ 3880482 h 6858000"/>
              <a:gd name="connsiteX179" fmla="*/ 3800147 w 7467600"/>
              <a:gd name="connsiteY179" fmla="*/ 3749872 h 6858000"/>
              <a:gd name="connsiteX180" fmla="*/ 3655073 w 7467600"/>
              <a:gd name="connsiteY180" fmla="*/ 3650884 h 6858000"/>
              <a:gd name="connsiteX181" fmla="*/ 3670252 w 7467600"/>
              <a:gd name="connsiteY181" fmla="*/ 3622798 h 6858000"/>
              <a:gd name="connsiteX182" fmla="*/ 3817258 w 7467600"/>
              <a:gd name="connsiteY182" fmla="*/ 3723577 h 6858000"/>
              <a:gd name="connsiteX183" fmla="*/ 4000461 w 7467600"/>
              <a:gd name="connsiteY183" fmla="*/ 3855966 h 6858000"/>
              <a:gd name="connsiteX184" fmla="*/ 4088180 w 7467600"/>
              <a:gd name="connsiteY184" fmla="*/ 3929774 h 6858000"/>
              <a:gd name="connsiteX185" fmla="*/ 4184555 w 7467600"/>
              <a:gd name="connsiteY185" fmla="*/ 4010683 h 6858000"/>
              <a:gd name="connsiteX186" fmla="*/ 4399563 w 7467600"/>
              <a:gd name="connsiteY186" fmla="*/ 4158106 h 6858000"/>
              <a:gd name="connsiteX187" fmla="*/ 4684469 w 7467600"/>
              <a:gd name="connsiteY187" fmla="*/ 4364680 h 6858000"/>
              <a:gd name="connsiteX188" fmla="*/ 4690271 w 7467600"/>
              <a:gd name="connsiteY188" fmla="*/ 4370034 h 6858000"/>
              <a:gd name="connsiteX189" fmla="*/ 4136093 w 7467600"/>
              <a:gd name="connsiteY189" fmla="*/ 3858466 h 6858000"/>
              <a:gd name="connsiteX190" fmla="*/ 3670252 w 7467600"/>
              <a:gd name="connsiteY190" fmla="*/ 3622798 h 6858000"/>
              <a:gd name="connsiteX191" fmla="*/ 4440129 w 7467600"/>
              <a:gd name="connsiteY191" fmla="*/ 3448571 h 6858000"/>
              <a:gd name="connsiteX192" fmla="*/ 4856525 w 7467600"/>
              <a:gd name="connsiteY192" fmla="*/ 3915351 h 6858000"/>
              <a:gd name="connsiteX193" fmla="*/ 5059055 w 7467600"/>
              <a:gd name="connsiteY193" fmla="*/ 4108918 h 6858000"/>
              <a:gd name="connsiteX194" fmla="*/ 5290070 w 7467600"/>
              <a:gd name="connsiteY194" fmla="*/ 4263619 h 6858000"/>
              <a:gd name="connsiteX195" fmla="*/ 4834991 w 7467600"/>
              <a:gd name="connsiteY195" fmla="*/ 3830985 h 6858000"/>
              <a:gd name="connsiteX196" fmla="*/ 4440129 w 7467600"/>
              <a:gd name="connsiteY196" fmla="*/ 3448571 h 6858000"/>
              <a:gd name="connsiteX197" fmla="*/ 4441737 w 7467600"/>
              <a:gd name="connsiteY197" fmla="*/ 3399734 h 6858000"/>
              <a:gd name="connsiteX198" fmla="*/ 4431236 w 7467600"/>
              <a:gd name="connsiteY198" fmla="*/ 3400954 h 6858000"/>
              <a:gd name="connsiteX199" fmla="*/ 4557150 w 7467600"/>
              <a:gd name="connsiteY199" fmla="*/ 3510023 h 6858000"/>
              <a:gd name="connsiteX200" fmla="*/ 4856936 w 7467600"/>
              <a:gd name="connsiteY200" fmla="*/ 3809146 h 6858000"/>
              <a:gd name="connsiteX201" fmla="*/ 5111996 w 7467600"/>
              <a:gd name="connsiteY201" fmla="*/ 4065759 h 6858000"/>
              <a:gd name="connsiteX202" fmla="*/ 5388878 w 7467600"/>
              <a:gd name="connsiteY202" fmla="*/ 4300185 h 6858000"/>
              <a:gd name="connsiteX203" fmla="*/ 5425556 w 7467600"/>
              <a:gd name="connsiteY203" fmla="*/ 4308967 h 6858000"/>
              <a:gd name="connsiteX204" fmla="*/ 4943646 w 7467600"/>
              <a:gd name="connsiteY204" fmla="*/ 3822916 h 6858000"/>
              <a:gd name="connsiteX205" fmla="*/ 4594837 w 7467600"/>
              <a:gd name="connsiteY205" fmla="*/ 3532274 h 6858000"/>
              <a:gd name="connsiteX206" fmla="*/ 4441737 w 7467600"/>
              <a:gd name="connsiteY206" fmla="*/ 3399734 h 6858000"/>
              <a:gd name="connsiteX207" fmla="*/ 5425834 w 7467600"/>
              <a:gd name="connsiteY207" fmla="*/ 3162785 h 6858000"/>
              <a:gd name="connsiteX208" fmla="*/ 5401644 w 7467600"/>
              <a:gd name="connsiteY208" fmla="*/ 3617847 h 6858000"/>
              <a:gd name="connsiteX209" fmla="*/ 5467256 w 7467600"/>
              <a:gd name="connsiteY209" fmla="*/ 4175494 h 6858000"/>
              <a:gd name="connsiteX210" fmla="*/ 5448069 w 7467600"/>
              <a:gd name="connsiteY210" fmla="*/ 3567554 h 6858000"/>
              <a:gd name="connsiteX211" fmla="*/ 5425834 w 7467600"/>
              <a:gd name="connsiteY211" fmla="*/ 3162785 h 6858000"/>
              <a:gd name="connsiteX212" fmla="*/ 1318687 w 7467600"/>
              <a:gd name="connsiteY212" fmla="*/ 3113840 h 6858000"/>
              <a:gd name="connsiteX213" fmla="*/ 1066793 w 7467600"/>
              <a:gd name="connsiteY213" fmla="*/ 3212171 h 6858000"/>
              <a:gd name="connsiteX214" fmla="*/ 993319 w 7467600"/>
              <a:gd name="connsiteY214" fmla="*/ 3247648 h 6858000"/>
              <a:gd name="connsiteX215" fmla="*/ 853081 w 7467600"/>
              <a:gd name="connsiteY215" fmla="*/ 3312410 h 6858000"/>
              <a:gd name="connsiteX216" fmla="*/ 805957 w 7467600"/>
              <a:gd name="connsiteY216" fmla="*/ 3330443 h 6858000"/>
              <a:gd name="connsiteX217" fmla="*/ 1318687 w 7467600"/>
              <a:gd name="connsiteY217" fmla="*/ 3113840 h 6858000"/>
              <a:gd name="connsiteX218" fmla="*/ 5453702 w 7467600"/>
              <a:gd name="connsiteY218" fmla="*/ 3090882 h 6858000"/>
              <a:gd name="connsiteX219" fmla="*/ 5480135 w 7467600"/>
              <a:gd name="connsiteY219" fmla="*/ 3565802 h 6858000"/>
              <a:gd name="connsiteX220" fmla="*/ 5499023 w 7467600"/>
              <a:gd name="connsiteY220" fmla="*/ 4166310 h 6858000"/>
              <a:gd name="connsiteX221" fmla="*/ 5547022 w 7467600"/>
              <a:gd name="connsiteY221" fmla="*/ 3607838 h 6858000"/>
              <a:gd name="connsiteX222" fmla="*/ 5515964 w 7467600"/>
              <a:gd name="connsiteY222" fmla="*/ 3378541 h 6858000"/>
              <a:gd name="connsiteX223" fmla="*/ 5453702 w 7467600"/>
              <a:gd name="connsiteY223" fmla="*/ 3090882 h 6858000"/>
              <a:gd name="connsiteX224" fmla="*/ 1238695 w 7467600"/>
              <a:gd name="connsiteY224" fmla="*/ 3076820 h 6858000"/>
              <a:gd name="connsiteX225" fmla="*/ 716371 w 7467600"/>
              <a:gd name="connsiteY225" fmla="*/ 3293249 h 6858000"/>
              <a:gd name="connsiteX226" fmla="*/ 579522 w 7467600"/>
              <a:gd name="connsiteY226" fmla="*/ 3371759 h 6858000"/>
              <a:gd name="connsiteX227" fmla="*/ 600288 w 7467600"/>
              <a:gd name="connsiteY227" fmla="*/ 3365555 h 6858000"/>
              <a:gd name="connsiteX228" fmla="*/ 840692 w 7467600"/>
              <a:gd name="connsiteY228" fmla="*/ 3284921 h 6858000"/>
              <a:gd name="connsiteX229" fmla="*/ 979248 w 7467600"/>
              <a:gd name="connsiteY229" fmla="*/ 3221003 h 6858000"/>
              <a:gd name="connsiteX230" fmla="*/ 1053282 w 7467600"/>
              <a:gd name="connsiteY230" fmla="*/ 3185247 h 6858000"/>
              <a:gd name="connsiteX231" fmla="*/ 1320603 w 7467600"/>
              <a:gd name="connsiteY231" fmla="*/ 3081281 h 6858000"/>
              <a:gd name="connsiteX232" fmla="*/ 1238695 w 7467600"/>
              <a:gd name="connsiteY232" fmla="*/ 3076820 h 6858000"/>
              <a:gd name="connsiteX233" fmla="*/ 5425627 w 7467600"/>
              <a:gd name="connsiteY233" fmla="*/ 2954192 h 6858000"/>
              <a:gd name="connsiteX234" fmla="*/ 5470770 w 7467600"/>
              <a:gd name="connsiteY234" fmla="*/ 3005435 h 6858000"/>
              <a:gd name="connsiteX235" fmla="*/ 5519779 w 7467600"/>
              <a:gd name="connsiteY235" fmla="*/ 4359223 h 6858000"/>
              <a:gd name="connsiteX236" fmla="*/ 5520293 w 7467600"/>
              <a:gd name="connsiteY236" fmla="*/ 4360602 h 6858000"/>
              <a:gd name="connsiteX237" fmla="*/ 5767221 w 7467600"/>
              <a:gd name="connsiteY237" fmla="*/ 4665564 h 6858000"/>
              <a:gd name="connsiteX238" fmla="*/ 6937169 w 7467600"/>
              <a:gd name="connsiteY238" fmla="*/ 4815941 h 6858000"/>
              <a:gd name="connsiteX239" fmla="*/ 6953922 w 7467600"/>
              <a:gd name="connsiteY239" fmla="*/ 4890068 h 6858000"/>
              <a:gd name="connsiteX240" fmla="*/ 6071359 w 7467600"/>
              <a:gd name="connsiteY240" fmla="*/ 4770770 h 6858000"/>
              <a:gd name="connsiteX241" fmla="*/ 6038839 w 7467600"/>
              <a:gd name="connsiteY241" fmla="*/ 4764474 h 6858000"/>
              <a:gd name="connsiteX242" fmla="*/ 6038706 w 7467600"/>
              <a:gd name="connsiteY242" fmla="*/ 4763847 h 6858000"/>
              <a:gd name="connsiteX243" fmla="*/ 6037784 w 7467600"/>
              <a:gd name="connsiteY243" fmla="*/ 4764270 h 6858000"/>
              <a:gd name="connsiteX244" fmla="*/ 6038839 w 7467600"/>
              <a:gd name="connsiteY244" fmla="*/ 4764474 h 6858000"/>
              <a:gd name="connsiteX245" fmla="*/ 6040338 w 7467600"/>
              <a:gd name="connsiteY245" fmla="*/ 4771418 h 6858000"/>
              <a:gd name="connsiteX246" fmla="*/ 6024488 w 7467600"/>
              <a:gd name="connsiteY246" fmla="*/ 4809903 h 6858000"/>
              <a:gd name="connsiteX247" fmla="*/ 5599771 w 7467600"/>
              <a:gd name="connsiteY247" fmla="*/ 5509652 h 6858000"/>
              <a:gd name="connsiteX248" fmla="*/ 5548843 w 7467600"/>
              <a:gd name="connsiteY248" fmla="*/ 5563845 h 6858000"/>
              <a:gd name="connsiteX249" fmla="*/ 5940952 w 7467600"/>
              <a:gd name="connsiteY249" fmla="*/ 6250028 h 6858000"/>
              <a:gd name="connsiteX250" fmla="*/ 6043441 w 7467600"/>
              <a:gd name="connsiteY250" fmla="*/ 6665847 h 6858000"/>
              <a:gd name="connsiteX251" fmla="*/ 6093432 w 7467600"/>
              <a:gd name="connsiteY251" fmla="*/ 6858000 h 6858000"/>
              <a:gd name="connsiteX252" fmla="*/ 6034344 w 7467600"/>
              <a:gd name="connsiteY252" fmla="*/ 6858000 h 6858000"/>
              <a:gd name="connsiteX253" fmla="*/ 6026679 w 7467600"/>
              <a:gd name="connsiteY253" fmla="*/ 6836959 h 6858000"/>
              <a:gd name="connsiteX254" fmla="*/ 5800441 w 7467600"/>
              <a:gd name="connsiteY254" fmla="*/ 6335286 h 6858000"/>
              <a:gd name="connsiteX255" fmla="*/ 5526562 w 7467600"/>
              <a:gd name="connsiteY255" fmla="*/ 5705388 h 6858000"/>
              <a:gd name="connsiteX256" fmla="*/ 5519640 w 7467600"/>
              <a:gd name="connsiteY256" fmla="*/ 5683774 h 6858000"/>
              <a:gd name="connsiteX257" fmla="*/ 5844559 w 7467600"/>
              <a:gd name="connsiteY257" fmla="*/ 6553349 h 6858000"/>
              <a:gd name="connsiteX258" fmla="*/ 5975994 w 7467600"/>
              <a:gd name="connsiteY258" fmla="*/ 6858000 h 6858000"/>
              <a:gd name="connsiteX259" fmla="*/ 5898547 w 7467600"/>
              <a:gd name="connsiteY259" fmla="*/ 6858000 h 6858000"/>
              <a:gd name="connsiteX260" fmla="*/ 5682041 w 7467600"/>
              <a:gd name="connsiteY260" fmla="*/ 6355860 h 6858000"/>
              <a:gd name="connsiteX261" fmla="*/ 5461758 w 7467600"/>
              <a:gd name="connsiteY261" fmla="*/ 5820220 h 6858000"/>
              <a:gd name="connsiteX262" fmla="*/ 5237282 w 7467600"/>
              <a:gd name="connsiteY262" fmla="*/ 6579086 h 6858000"/>
              <a:gd name="connsiteX263" fmla="*/ 5115009 w 7467600"/>
              <a:gd name="connsiteY263" fmla="*/ 6858000 h 6858000"/>
              <a:gd name="connsiteX264" fmla="*/ 5028074 w 7467600"/>
              <a:gd name="connsiteY264" fmla="*/ 6858000 h 6858000"/>
              <a:gd name="connsiteX265" fmla="*/ 5079508 w 7467600"/>
              <a:gd name="connsiteY265" fmla="*/ 6749074 h 6858000"/>
              <a:gd name="connsiteX266" fmla="*/ 5371846 w 7467600"/>
              <a:gd name="connsiteY266" fmla="*/ 5924413 h 6858000"/>
              <a:gd name="connsiteX267" fmla="*/ 5270512 w 7467600"/>
              <a:gd name="connsiteY267" fmla="*/ 6138975 h 6858000"/>
              <a:gd name="connsiteX268" fmla="*/ 5062409 w 7467600"/>
              <a:gd name="connsiteY268" fmla="*/ 6653544 h 6858000"/>
              <a:gd name="connsiteX269" fmla="*/ 5036628 w 7467600"/>
              <a:gd name="connsiteY269" fmla="*/ 6754247 h 6858000"/>
              <a:gd name="connsiteX270" fmla="*/ 5009112 w 7467600"/>
              <a:gd name="connsiteY270" fmla="*/ 6858000 h 6858000"/>
              <a:gd name="connsiteX271" fmla="*/ 4976679 w 7467600"/>
              <a:gd name="connsiteY271" fmla="*/ 6858000 h 6858000"/>
              <a:gd name="connsiteX272" fmla="*/ 5006537 w 7467600"/>
              <a:gd name="connsiteY272" fmla="*/ 6747068 h 6858000"/>
              <a:gd name="connsiteX273" fmla="*/ 5032723 w 7467600"/>
              <a:gd name="connsiteY273" fmla="*/ 6644957 h 6858000"/>
              <a:gd name="connsiteX274" fmla="*/ 5242949 w 7467600"/>
              <a:gd name="connsiteY274" fmla="*/ 6125175 h 6858000"/>
              <a:gd name="connsiteX275" fmla="*/ 5286321 w 7467600"/>
              <a:gd name="connsiteY275" fmla="*/ 6033555 h 6858000"/>
              <a:gd name="connsiteX276" fmla="*/ 5008210 w 7467600"/>
              <a:gd name="connsiteY276" fmla="*/ 6649194 h 6858000"/>
              <a:gd name="connsiteX277" fmla="*/ 4986321 w 7467600"/>
              <a:gd name="connsiteY277" fmla="*/ 6765687 h 6858000"/>
              <a:gd name="connsiteX278" fmla="*/ 4973474 w 7467600"/>
              <a:gd name="connsiteY278" fmla="*/ 6858000 h 6858000"/>
              <a:gd name="connsiteX279" fmla="*/ 4907178 w 7467600"/>
              <a:gd name="connsiteY279" fmla="*/ 6858000 h 6858000"/>
              <a:gd name="connsiteX280" fmla="*/ 4910810 w 7467600"/>
              <a:gd name="connsiteY280" fmla="*/ 6829660 h 6858000"/>
              <a:gd name="connsiteX281" fmla="*/ 4987461 w 7467600"/>
              <a:gd name="connsiteY281" fmla="*/ 6432994 h 6858000"/>
              <a:gd name="connsiteX282" fmla="*/ 5179262 w 7467600"/>
              <a:gd name="connsiteY282" fmla="*/ 6035044 h 6858000"/>
              <a:gd name="connsiteX283" fmla="*/ 4689678 w 7467600"/>
              <a:gd name="connsiteY283" fmla="*/ 6440241 h 6858000"/>
              <a:gd name="connsiteX284" fmla="*/ 4477543 w 7467600"/>
              <a:gd name="connsiteY284" fmla="*/ 6674836 h 6858000"/>
              <a:gd name="connsiteX285" fmla="*/ 4329957 w 7467600"/>
              <a:gd name="connsiteY285" fmla="*/ 6858000 h 6858000"/>
              <a:gd name="connsiteX286" fmla="*/ 4218595 w 7467600"/>
              <a:gd name="connsiteY286" fmla="*/ 6858000 h 6858000"/>
              <a:gd name="connsiteX287" fmla="*/ 4368888 w 7467600"/>
              <a:gd name="connsiteY287" fmla="*/ 6668412 h 6858000"/>
              <a:gd name="connsiteX288" fmla="*/ 4563091 w 7467600"/>
              <a:gd name="connsiteY288" fmla="*/ 6442508 h 6858000"/>
              <a:gd name="connsiteX289" fmla="*/ 5387324 w 7467600"/>
              <a:gd name="connsiteY289" fmla="*/ 5705830 h 6858000"/>
              <a:gd name="connsiteX290" fmla="*/ 5073620 w 7467600"/>
              <a:gd name="connsiteY290" fmla="*/ 5955437 h 6858000"/>
              <a:gd name="connsiteX291" fmla="*/ 4689789 w 7467600"/>
              <a:gd name="connsiteY291" fmla="*/ 6268382 h 6858000"/>
              <a:gd name="connsiteX292" fmla="*/ 4418722 w 7467600"/>
              <a:gd name="connsiteY292" fmla="*/ 6570886 h 6858000"/>
              <a:gd name="connsiteX293" fmla="*/ 4214944 w 7467600"/>
              <a:gd name="connsiteY293" fmla="*/ 6858000 h 6858000"/>
              <a:gd name="connsiteX294" fmla="*/ 4177898 w 7467600"/>
              <a:gd name="connsiteY294" fmla="*/ 6858000 h 6858000"/>
              <a:gd name="connsiteX295" fmla="*/ 4391597 w 7467600"/>
              <a:gd name="connsiteY295" fmla="*/ 6556370 h 6858000"/>
              <a:gd name="connsiteX296" fmla="*/ 4668889 w 7467600"/>
              <a:gd name="connsiteY296" fmla="*/ 6246399 h 6858000"/>
              <a:gd name="connsiteX297" fmla="*/ 5055427 w 7467600"/>
              <a:gd name="connsiteY297" fmla="*/ 5931476 h 6858000"/>
              <a:gd name="connsiteX298" fmla="*/ 5371814 w 7467600"/>
              <a:gd name="connsiteY298" fmla="*/ 5678975 h 6858000"/>
              <a:gd name="connsiteX299" fmla="*/ 4987918 w 7467600"/>
              <a:gd name="connsiteY299" fmla="*/ 5838701 h 6858000"/>
              <a:gd name="connsiteX300" fmla="*/ 4317146 w 7467600"/>
              <a:gd name="connsiteY300" fmla="*/ 6587716 h 6858000"/>
              <a:gd name="connsiteX301" fmla="*/ 4171627 w 7467600"/>
              <a:gd name="connsiteY301" fmla="*/ 6858000 h 6858000"/>
              <a:gd name="connsiteX302" fmla="*/ 4081585 w 7467600"/>
              <a:gd name="connsiteY302" fmla="*/ 6858000 h 6858000"/>
              <a:gd name="connsiteX303" fmla="*/ 4238603 w 7467600"/>
              <a:gd name="connsiteY303" fmla="*/ 6559341 h 6858000"/>
              <a:gd name="connsiteX304" fmla="*/ 4778333 w 7467600"/>
              <a:gd name="connsiteY304" fmla="*/ 5873626 h 6858000"/>
              <a:gd name="connsiteX305" fmla="*/ 5414185 w 7467600"/>
              <a:gd name="connsiteY305" fmla="*/ 5573882 h 6858000"/>
              <a:gd name="connsiteX306" fmla="*/ 5959648 w 7467600"/>
              <a:gd name="connsiteY306" fmla="*/ 4760797 h 6858000"/>
              <a:gd name="connsiteX307" fmla="*/ 5355019 w 7467600"/>
              <a:gd name="connsiteY307" fmla="*/ 4734672 h 6858000"/>
              <a:gd name="connsiteX308" fmla="*/ 5083565 w 7467600"/>
              <a:gd name="connsiteY308" fmla="*/ 5179121 h 6858000"/>
              <a:gd name="connsiteX309" fmla="*/ 4713577 w 7467600"/>
              <a:gd name="connsiteY309" fmla="*/ 5616803 h 6858000"/>
              <a:gd name="connsiteX310" fmla="*/ 3989559 w 7467600"/>
              <a:gd name="connsiteY310" fmla="*/ 6145945 h 6858000"/>
              <a:gd name="connsiteX311" fmla="*/ 3939824 w 7467600"/>
              <a:gd name="connsiteY311" fmla="*/ 6066900 h 6858000"/>
              <a:gd name="connsiteX312" fmla="*/ 4584537 w 7467600"/>
              <a:gd name="connsiteY312" fmla="*/ 5324826 h 6858000"/>
              <a:gd name="connsiteX313" fmla="*/ 5037105 w 7467600"/>
              <a:gd name="connsiteY313" fmla="*/ 5088765 h 6858000"/>
              <a:gd name="connsiteX314" fmla="*/ 5039930 w 7467600"/>
              <a:gd name="connsiteY314" fmla="*/ 5089585 h 6858000"/>
              <a:gd name="connsiteX315" fmla="*/ 5263764 w 7467600"/>
              <a:gd name="connsiteY315" fmla="*/ 4735525 h 6858000"/>
              <a:gd name="connsiteX316" fmla="*/ 4086300 w 7467600"/>
              <a:gd name="connsiteY316" fmla="*/ 4884599 h 6858000"/>
              <a:gd name="connsiteX317" fmla="*/ 4085485 w 7467600"/>
              <a:gd name="connsiteY317" fmla="*/ 4899070 h 6858000"/>
              <a:gd name="connsiteX318" fmla="*/ 3871915 w 7467600"/>
              <a:gd name="connsiteY318" fmla="*/ 5253645 h 6858000"/>
              <a:gd name="connsiteX319" fmla="*/ 3799374 w 7467600"/>
              <a:gd name="connsiteY319" fmla="*/ 5466127 h 6858000"/>
              <a:gd name="connsiteX320" fmla="*/ 3498850 w 7467600"/>
              <a:gd name="connsiteY320" fmla="*/ 6661888 h 6858000"/>
              <a:gd name="connsiteX321" fmla="*/ 3399216 w 7467600"/>
              <a:gd name="connsiteY321" fmla="*/ 6858000 h 6858000"/>
              <a:gd name="connsiteX322" fmla="*/ 3303688 w 7467600"/>
              <a:gd name="connsiteY322" fmla="*/ 6858000 h 6858000"/>
              <a:gd name="connsiteX323" fmla="*/ 3391774 w 7467600"/>
              <a:gd name="connsiteY323" fmla="*/ 6697181 h 6858000"/>
              <a:gd name="connsiteX324" fmla="*/ 3735540 w 7467600"/>
              <a:gd name="connsiteY324" fmla="*/ 5546923 h 6858000"/>
              <a:gd name="connsiteX325" fmla="*/ 3729438 w 7467600"/>
              <a:gd name="connsiteY325" fmla="*/ 5569058 h 6858000"/>
              <a:gd name="connsiteX326" fmla="*/ 3707782 w 7467600"/>
              <a:gd name="connsiteY326" fmla="*/ 5644908 h 6858000"/>
              <a:gd name="connsiteX327" fmla="*/ 3583827 w 7467600"/>
              <a:gd name="connsiteY327" fmla="*/ 6039215 h 6858000"/>
              <a:gd name="connsiteX328" fmla="*/ 3547861 w 7467600"/>
              <a:gd name="connsiteY328" fmla="*/ 6129609 h 6858000"/>
              <a:gd name="connsiteX329" fmla="*/ 3490905 w 7467600"/>
              <a:gd name="connsiteY329" fmla="*/ 6277660 h 6858000"/>
              <a:gd name="connsiteX330" fmla="*/ 3455859 w 7467600"/>
              <a:gd name="connsiteY330" fmla="*/ 6391301 h 6858000"/>
              <a:gd name="connsiteX331" fmla="*/ 3429112 w 7467600"/>
              <a:gd name="connsiteY331" fmla="*/ 6479469 h 6858000"/>
              <a:gd name="connsiteX332" fmla="*/ 3304862 w 7467600"/>
              <a:gd name="connsiteY332" fmla="*/ 6796476 h 6858000"/>
              <a:gd name="connsiteX333" fmla="*/ 3276071 w 7467600"/>
              <a:gd name="connsiteY333" fmla="*/ 6858000 h 6858000"/>
              <a:gd name="connsiteX334" fmla="*/ 3240805 w 7467600"/>
              <a:gd name="connsiteY334" fmla="*/ 6858000 h 6858000"/>
              <a:gd name="connsiteX335" fmla="*/ 3275917 w 7467600"/>
              <a:gd name="connsiteY335" fmla="*/ 6783192 h 6858000"/>
              <a:gd name="connsiteX336" fmla="*/ 3399358 w 7467600"/>
              <a:gd name="connsiteY336" fmla="*/ 6469011 h 6858000"/>
              <a:gd name="connsiteX337" fmla="*/ 3425650 w 7467600"/>
              <a:gd name="connsiteY337" fmla="*/ 6381333 h 6858000"/>
              <a:gd name="connsiteX338" fmla="*/ 3460661 w 7467600"/>
              <a:gd name="connsiteY338" fmla="*/ 6266763 h 6858000"/>
              <a:gd name="connsiteX339" fmla="*/ 3518021 w 7467600"/>
              <a:gd name="connsiteY339" fmla="*/ 6117298 h 6858000"/>
              <a:gd name="connsiteX340" fmla="*/ 3554035 w 7467600"/>
              <a:gd name="connsiteY340" fmla="*/ 6027832 h 6858000"/>
              <a:gd name="connsiteX341" fmla="*/ 3677174 w 7467600"/>
              <a:gd name="connsiteY341" fmla="*/ 5636351 h 6858000"/>
              <a:gd name="connsiteX342" fmla="*/ 3698819 w 7467600"/>
              <a:gd name="connsiteY342" fmla="*/ 5560503 h 6858000"/>
              <a:gd name="connsiteX343" fmla="*/ 3702094 w 7467600"/>
              <a:gd name="connsiteY343" fmla="*/ 5549194 h 6858000"/>
              <a:gd name="connsiteX344" fmla="*/ 3398355 w 7467600"/>
              <a:gd name="connsiteY344" fmla="*/ 6094603 h 6858000"/>
              <a:gd name="connsiteX345" fmla="*/ 3193941 w 7467600"/>
              <a:gd name="connsiteY345" fmla="*/ 6798775 h 6858000"/>
              <a:gd name="connsiteX346" fmla="*/ 3184140 w 7467600"/>
              <a:gd name="connsiteY346" fmla="*/ 6858000 h 6858000"/>
              <a:gd name="connsiteX347" fmla="*/ 3099978 w 7467600"/>
              <a:gd name="connsiteY347" fmla="*/ 6858000 h 6858000"/>
              <a:gd name="connsiteX348" fmla="*/ 3101556 w 7467600"/>
              <a:gd name="connsiteY348" fmla="*/ 6843337 h 6858000"/>
              <a:gd name="connsiteX349" fmla="*/ 3370162 w 7467600"/>
              <a:gd name="connsiteY349" fmla="*/ 5785550 h 6858000"/>
              <a:gd name="connsiteX350" fmla="*/ 3746477 w 7467600"/>
              <a:gd name="connsiteY350" fmla="*/ 5377889 h 6858000"/>
              <a:gd name="connsiteX351" fmla="*/ 3863399 w 7467600"/>
              <a:gd name="connsiteY351" fmla="*/ 5087257 h 6858000"/>
              <a:gd name="connsiteX352" fmla="*/ 3968712 w 7467600"/>
              <a:gd name="connsiteY352" fmla="*/ 4913989 h 6858000"/>
              <a:gd name="connsiteX353" fmla="*/ 2792390 w 7467600"/>
              <a:gd name="connsiteY353" fmla="*/ 5382974 h 6858000"/>
              <a:gd name="connsiteX354" fmla="*/ 2714982 w 7467600"/>
              <a:gd name="connsiteY354" fmla="*/ 5427051 h 6858000"/>
              <a:gd name="connsiteX355" fmla="*/ 2813361 w 7467600"/>
              <a:gd name="connsiteY355" fmla="*/ 6023912 h 6858000"/>
              <a:gd name="connsiteX356" fmla="*/ 2688430 w 7467600"/>
              <a:gd name="connsiteY356" fmla="*/ 6801564 h 6858000"/>
              <a:gd name="connsiteX357" fmla="*/ 2629626 w 7467600"/>
              <a:gd name="connsiteY357" fmla="*/ 6763394 h 6858000"/>
              <a:gd name="connsiteX358" fmla="*/ 2565328 w 7467600"/>
              <a:gd name="connsiteY358" fmla="*/ 5516399 h 6858000"/>
              <a:gd name="connsiteX359" fmla="*/ 1922999 w 7467600"/>
              <a:gd name="connsiteY359" fmla="*/ 5980343 h 6858000"/>
              <a:gd name="connsiteX360" fmla="*/ 1950261 w 7467600"/>
              <a:gd name="connsiteY360" fmla="*/ 6405858 h 6858000"/>
              <a:gd name="connsiteX361" fmla="*/ 2365554 w 7467600"/>
              <a:gd name="connsiteY361" fmla="*/ 6759107 h 6858000"/>
              <a:gd name="connsiteX362" fmla="*/ 2424142 w 7467600"/>
              <a:gd name="connsiteY362" fmla="*/ 6858000 h 6858000"/>
              <a:gd name="connsiteX363" fmla="*/ 2395994 w 7467600"/>
              <a:gd name="connsiteY363" fmla="*/ 6858000 h 6858000"/>
              <a:gd name="connsiteX364" fmla="*/ 2392863 w 7467600"/>
              <a:gd name="connsiteY364" fmla="*/ 6852964 h 6858000"/>
              <a:gd name="connsiteX365" fmla="*/ 2017589 w 7467600"/>
              <a:gd name="connsiteY365" fmla="*/ 6493982 h 6858000"/>
              <a:gd name="connsiteX366" fmla="*/ 2147336 w 7467600"/>
              <a:gd name="connsiteY366" fmla="*/ 6594052 h 6858000"/>
              <a:gd name="connsiteX367" fmla="*/ 2207047 w 7467600"/>
              <a:gd name="connsiteY367" fmla="*/ 6654540 h 6858000"/>
              <a:gd name="connsiteX368" fmla="*/ 2299106 w 7467600"/>
              <a:gd name="connsiteY368" fmla="*/ 6778931 h 6858000"/>
              <a:gd name="connsiteX369" fmla="*/ 2314430 w 7467600"/>
              <a:gd name="connsiteY369" fmla="*/ 6801144 h 6858000"/>
              <a:gd name="connsiteX370" fmla="*/ 2352406 w 7467600"/>
              <a:gd name="connsiteY370" fmla="*/ 6858000 h 6858000"/>
              <a:gd name="connsiteX371" fmla="*/ 2314492 w 7467600"/>
              <a:gd name="connsiteY371" fmla="*/ 6858000 h 6858000"/>
              <a:gd name="connsiteX372" fmla="*/ 2288095 w 7467600"/>
              <a:gd name="connsiteY372" fmla="*/ 6818030 h 6858000"/>
              <a:gd name="connsiteX373" fmla="*/ 2272768 w 7467600"/>
              <a:gd name="connsiteY373" fmla="*/ 6795822 h 6858000"/>
              <a:gd name="connsiteX374" fmla="*/ 2182715 w 7467600"/>
              <a:gd name="connsiteY374" fmla="*/ 6675071 h 6858000"/>
              <a:gd name="connsiteX375" fmla="*/ 2032061 w 7467600"/>
              <a:gd name="connsiteY375" fmla="*/ 6541380 h 6858000"/>
              <a:gd name="connsiteX376" fmla="*/ 2257220 w 7467600"/>
              <a:gd name="connsiteY376" fmla="*/ 6826257 h 6858000"/>
              <a:gd name="connsiteX377" fmla="*/ 2281324 w 7467600"/>
              <a:gd name="connsiteY377" fmla="*/ 6858000 h 6858000"/>
              <a:gd name="connsiteX378" fmla="*/ 2242860 w 7467600"/>
              <a:gd name="connsiteY378" fmla="*/ 6858000 h 6858000"/>
              <a:gd name="connsiteX379" fmla="*/ 2232818 w 7467600"/>
              <a:gd name="connsiteY379" fmla="*/ 6844926 h 6858000"/>
              <a:gd name="connsiteX380" fmla="*/ 1990172 w 7467600"/>
              <a:gd name="connsiteY380" fmla="*/ 6542121 h 6858000"/>
              <a:gd name="connsiteX381" fmla="*/ 2124090 w 7467600"/>
              <a:gd name="connsiteY381" fmla="*/ 6761017 h 6858000"/>
              <a:gd name="connsiteX382" fmla="*/ 2200380 w 7467600"/>
              <a:gd name="connsiteY382" fmla="*/ 6858000 h 6858000"/>
              <a:gd name="connsiteX383" fmla="*/ 2147507 w 7467600"/>
              <a:gd name="connsiteY383" fmla="*/ 6858000 h 6858000"/>
              <a:gd name="connsiteX384" fmla="*/ 2070668 w 7467600"/>
              <a:gd name="connsiteY384" fmla="*/ 6761520 h 6858000"/>
              <a:gd name="connsiteX385" fmla="*/ 1975142 w 7467600"/>
              <a:gd name="connsiteY385" fmla="*/ 6585570 h 6858000"/>
              <a:gd name="connsiteX386" fmla="*/ 2050035 w 7467600"/>
              <a:gd name="connsiteY386" fmla="*/ 6813345 h 6858000"/>
              <a:gd name="connsiteX387" fmla="*/ 2063025 w 7467600"/>
              <a:gd name="connsiteY387" fmla="*/ 6858000 h 6858000"/>
              <a:gd name="connsiteX388" fmla="*/ 2021675 w 7467600"/>
              <a:gd name="connsiteY388" fmla="*/ 6858000 h 6858000"/>
              <a:gd name="connsiteX389" fmla="*/ 2019308 w 7467600"/>
              <a:gd name="connsiteY389" fmla="*/ 6847118 h 6858000"/>
              <a:gd name="connsiteX390" fmla="*/ 1938835 w 7467600"/>
              <a:gd name="connsiteY390" fmla="*/ 6551160 h 6858000"/>
              <a:gd name="connsiteX391" fmla="*/ 1953230 w 7467600"/>
              <a:gd name="connsiteY391" fmla="*/ 6759699 h 6858000"/>
              <a:gd name="connsiteX392" fmla="*/ 1956763 w 7467600"/>
              <a:gd name="connsiteY392" fmla="*/ 6778191 h 6858000"/>
              <a:gd name="connsiteX393" fmla="*/ 1967925 w 7467600"/>
              <a:gd name="connsiteY393" fmla="*/ 6858000 h 6858000"/>
              <a:gd name="connsiteX394" fmla="*/ 1936622 w 7467600"/>
              <a:gd name="connsiteY394" fmla="*/ 6858000 h 6858000"/>
              <a:gd name="connsiteX395" fmla="*/ 1926261 w 7467600"/>
              <a:gd name="connsiteY395" fmla="*/ 6784064 h 6858000"/>
              <a:gd name="connsiteX396" fmla="*/ 1922724 w 7467600"/>
              <a:gd name="connsiteY396" fmla="*/ 6765577 h 6858000"/>
              <a:gd name="connsiteX397" fmla="*/ 1904650 w 7467600"/>
              <a:gd name="connsiteY397" fmla="*/ 6639616 h 6858000"/>
              <a:gd name="connsiteX398" fmla="*/ 1885273 w 7467600"/>
              <a:gd name="connsiteY398" fmla="*/ 6858000 h 6858000"/>
              <a:gd name="connsiteX399" fmla="*/ 1854363 w 7467600"/>
              <a:gd name="connsiteY399" fmla="*/ 6858000 h 6858000"/>
              <a:gd name="connsiteX400" fmla="*/ 1880391 w 7467600"/>
              <a:gd name="connsiteY400" fmla="*/ 6603796 h 6858000"/>
              <a:gd name="connsiteX401" fmla="*/ 1818273 w 7467600"/>
              <a:gd name="connsiteY401" fmla="*/ 6715729 h 6858000"/>
              <a:gd name="connsiteX402" fmla="*/ 1794691 w 7467600"/>
              <a:gd name="connsiteY402" fmla="*/ 6843239 h 6858000"/>
              <a:gd name="connsiteX403" fmla="*/ 1794914 w 7467600"/>
              <a:gd name="connsiteY403" fmla="*/ 6858000 h 6858000"/>
              <a:gd name="connsiteX404" fmla="*/ 1746128 w 7467600"/>
              <a:gd name="connsiteY404" fmla="*/ 6858000 h 6858000"/>
              <a:gd name="connsiteX405" fmla="*/ 1753934 w 7467600"/>
              <a:gd name="connsiteY405" fmla="*/ 6724796 h 6858000"/>
              <a:gd name="connsiteX406" fmla="*/ 1792053 w 7467600"/>
              <a:gd name="connsiteY406" fmla="*/ 6572396 h 6858000"/>
              <a:gd name="connsiteX407" fmla="*/ 1862248 w 7467600"/>
              <a:gd name="connsiteY407" fmla="*/ 6266397 h 6858000"/>
              <a:gd name="connsiteX408" fmla="*/ 1862250 w 7467600"/>
              <a:gd name="connsiteY408" fmla="*/ 6033531 h 6858000"/>
              <a:gd name="connsiteX409" fmla="*/ 1211999 w 7467600"/>
              <a:gd name="connsiteY409" fmla="*/ 6683610 h 6858000"/>
              <a:gd name="connsiteX410" fmla="*/ 1213266 w 7467600"/>
              <a:gd name="connsiteY410" fmla="*/ 6691947 h 6858000"/>
              <a:gd name="connsiteX411" fmla="*/ 1203370 w 7467600"/>
              <a:gd name="connsiteY411" fmla="*/ 6850676 h 6858000"/>
              <a:gd name="connsiteX412" fmla="*/ 1203671 w 7467600"/>
              <a:gd name="connsiteY412" fmla="*/ 6858000 h 6858000"/>
              <a:gd name="connsiteX413" fmla="*/ 1143180 w 7467600"/>
              <a:gd name="connsiteY413" fmla="*/ 6858000 h 6858000"/>
              <a:gd name="connsiteX414" fmla="*/ 1142176 w 7467600"/>
              <a:gd name="connsiteY414" fmla="*/ 6766045 h 6858000"/>
              <a:gd name="connsiteX415" fmla="*/ 1067484 w 7467600"/>
              <a:gd name="connsiteY415" fmla="*/ 6858000 h 6858000"/>
              <a:gd name="connsiteX416" fmla="*/ 953928 w 7467600"/>
              <a:gd name="connsiteY416" fmla="*/ 6858000 h 6858000"/>
              <a:gd name="connsiteX417" fmla="*/ 959715 w 7467600"/>
              <a:gd name="connsiteY417" fmla="*/ 6850185 h 6858000"/>
              <a:gd name="connsiteX418" fmla="*/ 1483788 w 7467600"/>
              <a:gd name="connsiteY418" fmla="*/ 6259174 h 6858000"/>
              <a:gd name="connsiteX419" fmla="*/ 1100671 w 7467600"/>
              <a:gd name="connsiteY419" fmla="*/ 6252137 h 6858000"/>
              <a:gd name="connsiteX420" fmla="*/ 1090144 w 7467600"/>
              <a:gd name="connsiteY420" fmla="*/ 6256748 h 6858000"/>
              <a:gd name="connsiteX421" fmla="*/ 1095872 w 7467600"/>
              <a:gd name="connsiteY421" fmla="*/ 6271892 h 6858000"/>
              <a:gd name="connsiteX422" fmla="*/ 262785 w 7467600"/>
              <a:gd name="connsiteY422" fmla="*/ 6845450 h 6858000"/>
              <a:gd name="connsiteX423" fmla="*/ 209968 w 7467600"/>
              <a:gd name="connsiteY423" fmla="*/ 6770713 h 6858000"/>
              <a:gd name="connsiteX424" fmla="*/ 873460 w 7467600"/>
              <a:gd name="connsiteY424" fmla="*/ 6253768 h 6858000"/>
              <a:gd name="connsiteX425" fmla="*/ 192686 w 7467600"/>
              <a:gd name="connsiteY425" fmla="*/ 5849257 h 6858000"/>
              <a:gd name="connsiteX426" fmla="*/ 4696 w 7467600"/>
              <a:gd name="connsiteY426" fmla="*/ 5697668 h 6858000"/>
              <a:gd name="connsiteX427" fmla="*/ 0 w 7467600"/>
              <a:gd name="connsiteY427" fmla="*/ 5689984 h 6858000"/>
              <a:gd name="connsiteX428" fmla="*/ 0 w 7467600"/>
              <a:gd name="connsiteY428" fmla="*/ 5513472 h 6858000"/>
              <a:gd name="connsiteX429" fmla="*/ 174101 w 7467600"/>
              <a:gd name="connsiteY429" fmla="*/ 5620277 h 6858000"/>
              <a:gd name="connsiteX430" fmla="*/ 891800 w 7467600"/>
              <a:gd name="connsiteY430" fmla="*/ 6036935 h 6858000"/>
              <a:gd name="connsiteX431" fmla="*/ 1072219 w 7467600"/>
              <a:gd name="connsiteY431" fmla="*/ 6169443 h 6858000"/>
              <a:gd name="connsiteX432" fmla="*/ 1074117 w 7467600"/>
              <a:gd name="connsiteY432" fmla="*/ 6170301 h 6858000"/>
              <a:gd name="connsiteX433" fmla="*/ 1083114 w 7467600"/>
              <a:gd name="connsiteY433" fmla="*/ 6174131 h 6858000"/>
              <a:gd name="connsiteX434" fmla="*/ 1543010 w 7467600"/>
              <a:gd name="connsiteY434" fmla="*/ 6191140 h 6858000"/>
              <a:gd name="connsiteX435" fmla="*/ 1551080 w 7467600"/>
              <a:gd name="connsiteY435" fmla="*/ 6195006 h 6858000"/>
              <a:gd name="connsiteX436" fmla="*/ 2345443 w 7467600"/>
              <a:gd name="connsiteY436" fmla="*/ 5549882 h 6858000"/>
              <a:gd name="connsiteX437" fmla="*/ 1721499 w 7467600"/>
              <a:gd name="connsiteY437" fmla="*/ 5599969 h 6858000"/>
              <a:gd name="connsiteX438" fmla="*/ 767716 w 7467600"/>
              <a:gd name="connsiteY438" fmla="*/ 5472768 h 6858000"/>
              <a:gd name="connsiteX439" fmla="*/ 722147 w 7467600"/>
              <a:gd name="connsiteY439" fmla="*/ 5393091 h 6858000"/>
              <a:gd name="connsiteX440" fmla="*/ 1485552 w 7467600"/>
              <a:gd name="connsiteY440" fmla="*/ 5313202 h 6858000"/>
              <a:gd name="connsiteX441" fmla="*/ 2143004 w 7467600"/>
              <a:gd name="connsiteY441" fmla="*/ 5402420 h 6858000"/>
              <a:gd name="connsiteX442" fmla="*/ 1933391 w 7467600"/>
              <a:gd name="connsiteY442" fmla="*/ 5156971 h 6858000"/>
              <a:gd name="connsiteX443" fmla="*/ 1827118 w 7467600"/>
              <a:gd name="connsiteY443" fmla="*/ 4968410 h 6858000"/>
              <a:gd name="connsiteX444" fmla="*/ 1837349 w 7467600"/>
              <a:gd name="connsiteY444" fmla="*/ 4956357 h 6858000"/>
              <a:gd name="connsiteX445" fmla="*/ 2162835 w 7467600"/>
              <a:gd name="connsiteY445" fmla="*/ 5187853 h 6858000"/>
              <a:gd name="connsiteX446" fmla="*/ 2257167 w 7467600"/>
              <a:gd name="connsiteY446" fmla="*/ 5462123 h 6858000"/>
              <a:gd name="connsiteX447" fmla="*/ 2261598 w 7467600"/>
              <a:gd name="connsiteY447" fmla="*/ 5467998 h 6858000"/>
              <a:gd name="connsiteX448" fmla="*/ 2437177 w 7467600"/>
              <a:gd name="connsiteY448" fmla="*/ 5479608 h 6858000"/>
              <a:gd name="connsiteX449" fmla="*/ 2445247 w 7467600"/>
              <a:gd name="connsiteY449" fmla="*/ 5483476 h 6858000"/>
              <a:gd name="connsiteX450" fmla="*/ 2743626 w 7467600"/>
              <a:gd name="connsiteY450" fmla="*/ 5304819 h 6858000"/>
              <a:gd name="connsiteX451" fmla="*/ 3048102 w 7467600"/>
              <a:gd name="connsiteY451" fmla="*/ 5150595 h 6858000"/>
              <a:gd name="connsiteX452" fmla="*/ 1799414 w 7467600"/>
              <a:gd name="connsiteY452" fmla="*/ 4694732 h 6858000"/>
              <a:gd name="connsiteX453" fmla="*/ 1771735 w 7467600"/>
              <a:gd name="connsiteY453" fmla="*/ 4619929 h 6858000"/>
              <a:gd name="connsiteX454" fmla="*/ 3104273 w 7467600"/>
              <a:gd name="connsiteY454" fmla="*/ 5076159 h 6858000"/>
              <a:gd name="connsiteX455" fmla="*/ 3113245 w 7467600"/>
              <a:gd name="connsiteY455" fmla="*/ 5090705 h 6858000"/>
              <a:gd name="connsiteX456" fmla="*/ 3126294 w 7467600"/>
              <a:gd name="connsiteY456" fmla="*/ 5114400 h 6858000"/>
              <a:gd name="connsiteX457" fmla="*/ 3937433 w 7467600"/>
              <a:gd name="connsiteY457" fmla="*/ 4830473 h 6858000"/>
              <a:gd name="connsiteX458" fmla="*/ 3590475 w 7467600"/>
              <a:gd name="connsiteY458" fmla="*/ 4597974 h 6858000"/>
              <a:gd name="connsiteX459" fmla="*/ 3100264 w 7467600"/>
              <a:gd name="connsiteY459" fmla="*/ 4579845 h 6858000"/>
              <a:gd name="connsiteX460" fmla="*/ 2183576 w 7467600"/>
              <a:gd name="connsiteY460" fmla="*/ 4227150 h 6858000"/>
              <a:gd name="connsiteX461" fmla="*/ 2151029 w 7467600"/>
              <a:gd name="connsiteY461" fmla="*/ 4146947 h 6858000"/>
              <a:gd name="connsiteX462" fmla="*/ 3563434 w 7467600"/>
              <a:gd name="connsiteY462" fmla="*/ 4469115 h 6858000"/>
              <a:gd name="connsiteX463" fmla="*/ 3177952 w 7467600"/>
              <a:gd name="connsiteY463" fmla="*/ 3657386 h 6858000"/>
              <a:gd name="connsiteX464" fmla="*/ 3189263 w 7467600"/>
              <a:gd name="connsiteY464" fmla="*/ 3625726 h 6858000"/>
              <a:gd name="connsiteX465" fmla="*/ 3560912 w 7467600"/>
              <a:gd name="connsiteY465" fmla="*/ 4079863 h 6858000"/>
              <a:gd name="connsiteX466" fmla="*/ 3626636 w 7467600"/>
              <a:gd name="connsiteY466" fmla="*/ 4512230 h 6858000"/>
              <a:gd name="connsiteX467" fmla="*/ 3653088 w 7467600"/>
              <a:gd name="connsiteY467" fmla="*/ 4521417 h 6858000"/>
              <a:gd name="connsiteX468" fmla="*/ 3988128 w 7467600"/>
              <a:gd name="connsiteY468" fmla="*/ 4817267 h 6858000"/>
              <a:gd name="connsiteX469" fmla="*/ 4830582 w 7467600"/>
              <a:gd name="connsiteY469" fmla="*/ 4676000 h 6858000"/>
              <a:gd name="connsiteX470" fmla="*/ 4830100 w 7467600"/>
              <a:gd name="connsiteY470" fmla="*/ 4675554 h 6858000"/>
              <a:gd name="connsiteX471" fmla="*/ 4036318 w 7467600"/>
              <a:gd name="connsiteY471" fmla="*/ 4147013 h 6858000"/>
              <a:gd name="connsiteX472" fmla="*/ 3432098 w 7467600"/>
              <a:gd name="connsiteY472" fmla="*/ 3537312 h 6858000"/>
              <a:gd name="connsiteX473" fmla="*/ 3446761 w 7467600"/>
              <a:gd name="connsiteY473" fmla="*/ 3461278 h 6858000"/>
              <a:gd name="connsiteX474" fmla="*/ 4419733 w 7467600"/>
              <a:gd name="connsiteY474" fmla="*/ 3963555 h 6858000"/>
              <a:gd name="connsiteX475" fmla="*/ 4781371 w 7467600"/>
              <a:gd name="connsiteY475" fmla="*/ 4458604 h 6858000"/>
              <a:gd name="connsiteX476" fmla="*/ 4780440 w 7467600"/>
              <a:gd name="connsiteY476" fmla="*/ 4470290 h 6858000"/>
              <a:gd name="connsiteX477" fmla="*/ 4898954 w 7467600"/>
              <a:gd name="connsiteY477" fmla="*/ 4662092 h 6858000"/>
              <a:gd name="connsiteX478" fmla="*/ 4900699 w 7467600"/>
              <a:gd name="connsiteY478" fmla="*/ 4670867 h 6858000"/>
              <a:gd name="connsiteX479" fmla="*/ 5714511 w 7467600"/>
              <a:gd name="connsiteY479" fmla="*/ 4663483 h 6858000"/>
              <a:gd name="connsiteX480" fmla="*/ 5464793 w 7467600"/>
              <a:gd name="connsiteY480" fmla="*/ 4393556 h 6858000"/>
              <a:gd name="connsiteX481" fmla="*/ 5461897 w 7467600"/>
              <a:gd name="connsiteY481" fmla="*/ 4390879 h 6858000"/>
              <a:gd name="connsiteX482" fmla="*/ 4294126 w 7467600"/>
              <a:gd name="connsiteY482" fmla="*/ 3303048 h 6858000"/>
              <a:gd name="connsiteX483" fmla="*/ 4305321 w 7467600"/>
              <a:gd name="connsiteY483" fmla="*/ 3256953 h 6858000"/>
              <a:gd name="connsiteX484" fmla="*/ 4949299 w 7467600"/>
              <a:gd name="connsiteY484" fmla="*/ 3766336 h 6858000"/>
              <a:gd name="connsiteX485" fmla="*/ 5291452 w 7467600"/>
              <a:gd name="connsiteY485" fmla="*/ 4076801 h 6858000"/>
              <a:gd name="connsiteX486" fmla="*/ 5434998 w 7467600"/>
              <a:gd name="connsiteY486" fmla="*/ 4254100 h 6858000"/>
              <a:gd name="connsiteX487" fmla="*/ 5351015 w 7467600"/>
              <a:gd name="connsiteY487" fmla="*/ 3760989 h 6858000"/>
              <a:gd name="connsiteX488" fmla="*/ 5413780 w 7467600"/>
              <a:gd name="connsiteY488" fmla="*/ 2966265 h 6858000"/>
              <a:gd name="connsiteX489" fmla="*/ 5425627 w 7467600"/>
              <a:gd name="connsiteY489" fmla="*/ 2954192 h 6858000"/>
              <a:gd name="connsiteX490" fmla="*/ 6604735 w 7467600"/>
              <a:gd name="connsiteY490" fmla="*/ 2041381 h 6858000"/>
              <a:gd name="connsiteX491" fmla="*/ 7204487 w 7467600"/>
              <a:gd name="connsiteY491" fmla="*/ 2742112 h 6858000"/>
              <a:gd name="connsiteX492" fmla="*/ 7131592 w 7467600"/>
              <a:gd name="connsiteY492" fmla="*/ 2672096 h 6858000"/>
              <a:gd name="connsiteX493" fmla="*/ 6996344 w 7467600"/>
              <a:gd name="connsiteY493" fmla="*/ 2518310 h 6858000"/>
              <a:gd name="connsiteX494" fmla="*/ 6735495 w 7467600"/>
              <a:gd name="connsiteY494" fmla="*/ 2196890 h 6858000"/>
              <a:gd name="connsiteX495" fmla="*/ 6721901 w 7467600"/>
              <a:gd name="connsiteY495" fmla="*/ 2179274 h 6858000"/>
              <a:gd name="connsiteX496" fmla="*/ 6604735 w 7467600"/>
              <a:gd name="connsiteY496" fmla="*/ 2041381 h 6858000"/>
              <a:gd name="connsiteX497" fmla="*/ 6591670 w 7467600"/>
              <a:gd name="connsiteY497" fmla="*/ 1988277 h 6858000"/>
              <a:gd name="connsiteX498" fmla="*/ 6747349 w 7467600"/>
              <a:gd name="connsiteY498" fmla="*/ 2160069 h 6858000"/>
              <a:gd name="connsiteX499" fmla="*/ 6760943 w 7467600"/>
              <a:gd name="connsiteY499" fmla="*/ 2177686 h 6858000"/>
              <a:gd name="connsiteX500" fmla="*/ 7021065 w 7467600"/>
              <a:gd name="connsiteY500" fmla="*/ 2498102 h 6858000"/>
              <a:gd name="connsiteX501" fmla="*/ 7155223 w 7467600"/>
              <a:gd name="connsiteY501" fmla="*/ 2650386 h 6858000"/>
              <a:gd name="connsiteX502" fmla="*/ 7203167 w 7467600"/>
              <a:gd name="connsiteY502" fmla="*/ 2697288 h 6858000"/>
              <a:gd name="connsiteX503" fmla="*/ 6937703 w 7467600"/>
              <a:gd name="connsiteY503" fmla="*/ 2321981 h 6858000"/>
              <a:gd name="connsiteX504" fmla="*/ 6591670 w 7467600"/>
              <a:gd name="connsiteY504" fmla="*/ 1988277 h 6858000"/>
              <a:gd name="connsiteX505" fmla="*/ 5798671 w 7467600"/>
              <a:gd name="connsiteY505" fmla="*/ 1981601 h 6858000"/>
              <a:gd name="connsiteX506" fmla="*/ 5754709 w 7467600"/>
              <a:gd name="connsiteY506" fmla="*/ 2071454 h 6858000"/>
              <a:gd name="connsiteX507" fmla="*/ 5763044 w 7467600"/>
              <a:gd name="connsiteY507" fmla="*/ 2842206 h 6858000"/>
              <a:gd name="connsiteX508" fmla="*/ 5764974 w 7467600"/>
              <a:gd name="connsiteY508" fmla="*/ 2799609 h 6858000"/>
              <a:gd name="connsiteX509" fmla="*/ 5767665 w 7467600"/>
              <a:gd name="connsiteY509" fmla="*/ 2666409 h 6858000"/>
              <a:gd name="connsiteX510" fmla="*/ 5763055 w 7467600"/>
              <a:gd name="connsiteY510" fmla="*/ 2579705 h 6858000"/>
              <a:gd name="connsiteX511" fmla="*/ 5758079 w 7467600"/>
              <a:gd name="connsiteY511" fmla="*/ 2492508 h 6858000"/>
              <a:gd name="connsiteX512" fmla="*/ 5779325 w 7467600"/>
              <a:gd name="connsiteY512" fmla="*/ 2197069 h 6858000"/>
              <a:gd name="connsiteX513" fmla="*/ 5798671 w 7467600"/>
              <a:gd name="connsiteY513" fmla="*/ 1981601 h 6858000"/>
              <a:gd name="connsiteX514" fmla="*/ 5829202 w 7467600"/>
              <a:gd name="connsiteY514" fmla="*/ 1971679 h 6858000"/>
              <a:gd name="connsiteX515" fmla="*/ 5809558 w 7467600"/>
              <a:gd name="connsiteY515" fmla="*/ 2198043 h 6858000"/>
              <a:gd name="connsiteX516" fmla="*/ 5788653 w 7467600"/>
              <a:gd name="connsiteY516" fmla="*/ 2489430 h 6858000"/>
              <a:gd name="connsiteX517" fmla="*/ 5793439 w 7467600"/>
              <a:gd name="connsiteY517" fmla="*/ 2575235 h 6858000"/>
              <a:gd name="connsiteX518" fmla="*/ 5796837 w 7467600"/>
              <a:gd name="connsiteY518" fmla="*/ 2637633 h 6858000"/>
              <a:gd name="connsiteX519" fmla="*/ 5818614 w 7467600"/>
              <a:gd name="connsiteY519" fmla="*/ 2473055 h 6858000"/>
              <a:gd name="connsiteX520" fmla="*/ 5829202 w 7467600"/>
              <a:gd name="connsiteY520" fmla="*/ 1971679 h 6858000"/>
              <a:gd name="connsiteX521" fmla="*/ 5911389 w 7467600"/>
              <a:gd name="connsiteY521" fmla="*/ 1898371 h 6858000"/>
              <a:gd name="connsiteX522" fmla="*/ 6237627 w 7467600"/>
              <a:gd name="connsiteY522" fmla="*/ 2231921 h 6858000"/>
              <a:gd name="connsiteX523" fmla="*/ 5911389 w 7467600"/>
              <a:gd name="connsiteY523" fmla="*/ 1898371 h 6858000"/>
              <a:gd name="connsiteX524" fmla="*/ 6944437 w 7467600"/>
              <a:gd name="connsiteY524" fmla="*/ 1575402 h 6858000"/>
              <a:gd name="connsiteX525" fmla="*/ 6304730 w 7467600"/>
              <a:gd name="connsiteY525" fmla="*/ 1766654 h 6858000"/>
              <a:gd name="connsiteX526" fmla="*/ 6944437 w 7467600"/>
              <a:gd name="connsiteY526" fmla="*/ 1575402 h 6858000"/>
              <a:gd name="connsiteX527" fmla="*/ 7019523 w 7467600"/>
              <a:gd name="connsiteY527" fmla="*/ 1519450 h 6858000"/>
              <a:gd name="connsiteX528" fmla="*/ 6298091 w 7467600"/>
              <a:gd name="connsiteY528" fmla="*/ 1737122 h 6858000"/>
              <a:gd name="connsiteX529" fmla="*/ 7019523 w 7467600"/>
              <a:gd name="connsiteY529" fmla="*/ 1519450 h 6858000"/>
              <a:gd name="connsiteX530" fmla="*/ 2399523 w 7467600"/>
              <a:gd name="connsiteY530" fmla="*/ 1428234 h 6858000"/>
              <a:gd name="connsiteX531" fmla="*/ 2224982 w 7467600"/>
              <a:gd name="connsiteY531" fmla="*/ 1826201 h 6858000"/>
              <a:gd name="connsiteX532" fmla="*/ 2096099 w 7467600"/>
              <a:gd name="connsiteY532" fmla="*/ 2345900 h 6858000"/>
              <a:gd name="connsiteX533" fmla="*/ 2283317 w 7467600"/>
              <a:gd name="connsiteY533" fmla="*/ 1796925 h 6858000"/>
              <a:gd name="connsiteX534" fmla="*/ 2399523 w 7467600"/>
              <a:gd name="connsiteY534" fmla="*/ 1428234 h 6858000"/>
              <a:gd name="connsiteX535" fmla="*/ 2448558 w 7467600"/>
              <a:gd name="connsiteY535" fmla="*/ 1373435 h 6858000"/>
              <a:gd name="connsiteX536" fmla="*/ 2312521 w 7467600"/>
              <a:gd name="connsiteY536" fmla="*/ 1806140 h 6858000"/>
              <a:gd name="connsiteX537" fmla="*/ 2127533 w 7467600"/>
              <a:gd name="connsiteY537" fmla="*/ 2348380 h 6858000"/>
              <a:gd name="connsiteX538" fmla="*/ 2358080 w 7467600"/>
              <a:gd name="connsiteY538" fmla="*/ 1866134 h 6858000"/>
              <a:gd name="connsiteX539" fmla="*/ 2407436 w 7467600"/>
              <a:gd name="connsiteY539" fmla="*/ 1651070 h 6858000"/>
              <a:gd name="connsiteX540" fmla="*/ 2448558 w 7467600"/>
              <a:gd name="connsiteY540" fmla="*/ 1373435 h 6858000"/>
              <a:gd name="connsiteX541" fmla="*/ 278707 w 7467600"/>
              <a:gd name="connsiteY541" fmla="*/ 1352270 h 6858000"/>
              <a:gd name="connsiteX542" fmla="*/ 321570 w 7467600"/>
              <a:gd name="connsiteY542" fmla="*/ 1861610 h 6858000"/>
              <a:gd name="connsiteX543" fmla="*/ 294281 w 7467600"/>
              <a:gd name="connsiteY543" fmla="*/ 1440658 h 6858000"/>
              <a:gd name="connsiteX544" fmla="*/ 278707 w 7467600"/>
              <a:gd name="connsiteY544" fmla="*/ 1352270 h 6858000"/>
              <a:gd name="connsiteX545" fmla="*/ 1423821 w 7467600"/>
              <a:gd name="connsiteY545" fmla="*/ 1351958 h 6858000"/>
              <a:gd name="connsiteX546" fmla="*/ 1638521 w 7467600"/>
              <a:gd name="connsiteY546" fmla="*/ 1908470 h 6858000"/>
              <a:gd name="connsiteX547" fmla="*/ 1754199 w 7467600"/>
              <a:gd name="connsiteY547" fmla="*/ 2149284 h 6858000"/>
              <a:gd name="connsiteX548" fmla="*/ 1908359 w 7467600"/>
              <a:gd name="connsiteY548" fmla="*/ 2364988 h 6858000"/>
              <a:gd name="connsiteX549" fmla="*/ 1647661 w 7467600"/>
              <a:gd name="connsiteY549" fmla="*/ 1825945 h 6858000"/>
              <a:gd name="connsiteX550" fmla="*/ 1423821 w 7467600"/>
              <a:gd name="connsiteY550" fmla="*/ 1351958 h 6858000"/>
              <a:gd name="connsiteX551" fmla="*/ 1431890 w 7467600"/>
              <a:gd name="connsiteY551" fmla="*/ 1306475 h 6858000"/>
              <a:gd name="connsiteX552" fmla="*/ 1507597 w 7467600"/>
              <a:gd name="connsiteY552" fmla="*/ 1446132 h 6858000"/>
              <a:gd name="connsiteX553" fmla="*/ 1674586 w 7467600"/>
              <a:gd name="connsiteY553" fmla="*/ 1813832 h 6858000"/>
              <a:gd name="connsiteX554" fmla="*/ 1815950 w 7467600"/>
              <a:gd name="connsiteY554" fmla="*/ 2128564 h 6858000"/>
              <a:gd name="connsiteX555" fmla="*/ 1984242 w 7467600"/>
              <a:gd name="connsiteY555" fmla="*/ 2430829 h 6858000"/>
              <a:gd name="connsiteX556" fmla="*/ 2014023 w 7467600"/>
              <a:gd name="connsiteY556" fmla="*/ 2450995 h 6858000"/>
              <a:gd name="connsiteX557" fmla="*/ 1747337 w 7467600"/>
              <a:gd name="connsiteY557" fmla="*/ 1855264 h 6858000"/>
              <a:gd name="connsiteX558" fmla="*/ 1533749 w 7467600"/>
              <a:gd name="connsiteY558" fmla="*/ 1478656 h 6858000"/>
              <a:gd name="connsiteX559" fmla="*/ 1431890 w 7467600"/>
              <a:gd name="connsiteY559" fmla="*/ 1306475 h 6858000"/>
              <a:gd name="connsiteX560" fmla="*/ 5052692 w 7467600"/>
              <a:gd name="connsiteY560" fmla="*/ 1292994 h 6858000"/>
              <a:gd name="connsiteX561" fmla="*/ 5200661 w 7467600"/>
              <a:gd name="connsiteY561" fmla="*/ 1635186 h 6858000"/>
              <a:gd name="connsiteX562" fmla="*/ 5297138 w 7467600"/>
              <a:gd name="connsiteY562" fmla="*/ 1906351 h 6858000"/>
              <a:gd name="connsiteX563" fmla="*/ 5052692 w 7467600"/>
              <a:gd name="connsiteY563" fmla="*/ 1292994 h 6858000"/>
              <a:gd name="connsiteX564" fmla="*/ 5009948 w 7467600"/>
              <a:gd name="connsiteY564" fmla="*/ 1273619 h 6858000"/>
              <a:gd name="connsiteX565" fmla="*/ 5121777 w 7467600"/>
              <a:gd name="connsiteY565" fmla="*/ 1654213 h 6858000"/>
              <a:gd name="connsiteX566" fmla="*/ 5293545 w 7467600"/>
              <a:gd name="connsiteY566" fmla="*/ 2072247 h 6858000"/>
              <a:gd name="connsiteX567" fmla="*/ 5294042 w 7467600"/>
              <a:gd name="connsiteY567" fmla="*/ 2065019 h 6858000"/>
              <a:gd name="connsiteX568" fmla="*/ 5171936 w 7467600"/>
              <a:gd name="connsiteY568" fmla="*/ 1647613 h 6858000"/>
              <a:gd name="connsiteX569" fmla="*/ 5009948 w 7467600"/>
              <a:gd name="connsiteY569" fmla="*/ 1273619 h 6858000"/>
              <a:gd name="connsiteX570" fmla="*/ 655236 w 7467600"/>
              <a:gd name="connsiteY570" fmla="*/ 1268632 h 6858000"/>
              <a:gd name="connsiteX571" fmla="*/ 839521 w 7467600"/>
              <a:gd name="connsiteY571" fmla="*/ 1685315 h 6858000"/>
              <a:gd name="connsiteX572" fmla="*/ 1109416 w 7467600"/>
              <a:gd name="connsiteY572" fmla="*/ 2061663 h 6858000"/>
              <a:gd name="connsiteX573" fmla="*/ 1298300 w 7467600"/>
              <a:gd name="connsiteY573" fmla="*/ 2247742 h 6858000"/>
              <a:gd name="connsiteX574" fmla="*/ 1125871 w 7467600"/>
              <a:gd name="connsiteY574" fmla="*/ 1989513 h 6858000"/>
              <a:gd name="connsiteX575" fmla="*/ 981574 w 7467600"/>
              <a:gd name="connsiteY575" fmla="*/ 1783157 h 6858000"/>
              <a:gd name="connsiteX576" fmla="*/ 922198 w 7467600"/>
              <a:gd name="connsiteY576" fmla="*/ 1677437 h 6858000"/>
              <a:gd name="connsiteX577" fmla="*/ 869293 w 7467600"/>
              <a:gd name="connsiteY577" fmla="*/ 1583214 h 6858000"/>
              <a:gd name="connsiteX578" fmla="*/ 751431 w 7467600"/>
              <a:gd name="connsiteY578" fmla="*/ 1405731 h 6858000"/>
              <a:gd name="connsiteX579" fmla="*/ 655236 w 7467600"/>
              <a:gd name="connsiteY579" fmla="*/ 1268632 h 6858000"/>
              <a:gd name="connsiteX580" fmla="*/ 6516292 w 7467600"/>
              <a:gd name="connsiteY580" fmla="*/ 1263064 h 6858000"/>
              <a:gd name="connsiteX581" fmla="*/ 5736320 w 7467600"/>
              <a:gd name="connsiteY581" fmla="*/ 1501803 h 6858000"/>
              <a:gd name="connsiteX582" fmla="*/ 6516292 w 7467600"/>
              <a:gd name="connsiteY582" fmla="*/ 1263064 h 6858000"/>
              <a:gd name="connsiteX583" fmla="*/ 291466 w 7467600"/>
              <a:gd name="connsiteY583" fmla="*/ 1250369 h 6858000"/>
              <a:gd name="connsiteX584" fmla="*/ 323180 w 7467600"/>
              <a:gd name="connsiteY584" fmla="*/ 1435283 h 6858000"/>
              <a:gd name="connsiteX585" fmla="*/ 349381 w 7467600"/>
              <a:gd name="connsiteY585" fmla="*/ 1875041 h 6858000"/>
              <a:gd name="connsiteX586" fmla="*/ 374363 w 7467600"/>
              <a:gd name="connsiteY586" fmla="*/ 1506494 h 6858000"/>
              <a:gd name="connsiteX587" fmla="*/ 302168 w 7467600"/>
              <a:gd name="connsiteY587" fmla="*/ 1274495 h 6858000"/>
              <a:gd name="connsiteX588" fmla="*/ 291466 w 7467600"/>
              <a:gd name="connsiteY588" fmla="*/ 1250369 h 6858000"/>
              <a:gd name="connsiteX589" fmla="*/ 678222 w 7467600"/>
              <a:gd name="connsiteY589" fmla="*/ 1248670 h 6858000"/>
              <a:gd name="connsiteX590" fmla="*/ 775536 w 7467600"/>
              <a:gd name="connsiteY590" fmla="*/ 1388015 h 6858000"/>
              <a:gd name="connsiteX591" fmla="*/ 894529 w 7467600"/>
              <a:gd name="connsiteY591" fmla="*/ 1567739 h 6858000"/>
              <a:gd name="connsiteX592" fmla="*/ 948000 w 7467600"/>
              <a:gd name="connsiteY592" fmla="*/ 1663088 h 6858000"/>
              <a:gd name="connsiteX593" fmla="*/ 1006812 w 7467600"/>
              <a:gd name="connsiteY593" fmla="*/ 1767683 h 6858000"/>
              <a:gd name="connsiteX594" fmla="*/ 1149133 w 7467600"/>
              <a:gd name="connsiteY594" fmla="*/ 1971513 h 6858000"/>
              <a:gd name="connsiteX595" fmla="*/ 1333952 w 7467600"/>
              <a:gd name="connsiteY595" fmla="*/ 2251620 h 6858000"/>
              <a:gd name="connsiteX596" fmla="*/ 1337329 w 7467600"/>
              <a:gd name="connsiteY596" fmla="*/ 2258350 h 6858000"/>
              <a:gd name="connsiteX597" fmla="*/ 1014726 w 7467600"/>
              <a:gd name="connsiteY597" fmla="*/ 1615556 h 6858000"/>
              <a:gd name="connsiteX598" fmla="*/ 678222 w 7467600"/>
              <a:gd name="connsiteY598" fmla="*/ 1248670 h 6858000"/>
              <a:gd name="connsiteX599" fmla="*/ 6691602 w 7467600"/>
              <a:gd name="connsiteY599" fmla="*/ 1140573 h 6858000"/>
              <a:gd name="connsiteX600" fmla="*/ 6571100 w 7467600"/>
              <a:gd name="connsiteY600" fmla="*/ 1183662 h 6858000"/>
              <a:gd name="connsiteX601" fmla="*/ 6241687 w 7467600"/>
              <a:gd name="connsiteY601" fmla="*/ 1257600 h 6858000"/>
              <a:gd name="connsiteX602" fmla="*/ 5693009 w 7467600"/>
              <a:gd name="connsiteY602" fmla="*/ 1478256 h 6858000"/>
              <a:gd name="connsiteX603" fmla="*/ 6548420 w 7467600"/>
              <a:gd name="connsiteY603" fmla="*/ 1214599 h 6858000"/>
              <a:gd name="connsiteX604" fmla="*/ 6605473 w 7467600"/>
              <a:gd name="connsiteY604" fmla="*/ 1184686 h 6858000"/>
              <a:gd name="connsiteX605" fmla="*/ 6691602 w 7467600"/>
              <a:gd name="connsiteY605" fmla="*/ 1140573 h 6858000"/>
              <a:gd name="connsiteX606" fmla="*/ 4002475 w 7467600"/>
              <a:gd name="connsiteY606" fmla="*/ 1037802 h 6858000"/>
              <a:gd name="connsiteX607" fmla="*/ 4000324 w 7467600"/>
              <a:gd name="connsiteY607" fmla="*/ 1039362 h 6858000"/>
              <a:gd name="connsiteX608" fmla="*/ 4002862 w 7467600"/>
              <a:gd name="connsiteY608" fmla="*/ 1042866 h 6858000"/>
              <a:gd name="connsiteX609" fmla="*/ 4002475 w 7467600"/>
              <a:gd name="connsiteY609" fmla="*/ 1037802 h 6858000"/>
              <a:gd name="connsiteX610" fmla="*/ 506322 w 7467600"/>
              <a:gd name="connsiteY610" fmla="*/ 1020997 h 6858000"/>
              <a:gd name="connsiteX611" fmla="*/ 533068 w 7467600"/>
              <a:gd name="connsiteY611" fmla="*/ 1029409 h 6858000"/>
              <a:gd name="connsiteX612" fmla="*/ 1232525 w 7467600"/>
              <a:gd name="connsiteY612" fmla="*/ 1804675 h 6858000"/>
              <a:gd name="connsiteX613" fmla="*/ 1388858 w 7467600"/>
              <a:gd name="connsiteY613" fmla="*/ 2368011 h 6858000"/>
              <a:gd name="connsiteX614" fmla="*/ 1384098 w 7467600"/>
              <a:gd name="connsiteY614" fmla="*/ 2378125 h 6858000"/>
              <a:gd name="connsiteX615" fmla="*/ 1425393 w 7467600"/>
              <a:gd name="connsiteY615" fmla="*/ 2589124 h 6858000"/>
              <a:gd name="connsiteX616" fmla="*/ 1424001 w 7467600"/>
              <a:gd name="connsiteY616" fmla="*/ 2597541 h 6858000"/>
              <a:gd name="connsiteX617" fmla="*/ 2152729 w 7467600"/>
              <a:gd name="connsiteY617" fmla="*/ 2864487 h 6858000"/>
              <a:gd name="connsiteX618" fmla="*/ 2020609 w 7467600"/>
              <a:gd name="connsiteY618" fmla="*/ 2539671 h 6858000"/>
              <a:gd name="connsiteX619" fmla="*/ 2018920 w 7467600"/>
              <a:gd name="connsiteY619" fmla="*/ 2536309 h 6858000"/>
              <a:gd name="connsiteX620" fmla="*/ 1342441 w 7467600"/>
              <a:gd name="connsiteY620" fmla="*/ 1173017 h 6858000"/>
              <a:gd name="connsiteX621" fmla="*/ 1367925 w 7467600"/>
              <a:gd name="connsiteY621" fmla="*/ 1135648 h 6858000"/>
              <a:gd name="connsiteX622" fmla="*/ 1771401 w 7467600"/>
              <a:gd name="connsiteY622" fmla="*/ 1806673 h 6858000"/>
              <a:gd name="connsiteX623" fmla="*/ 1972385 w 7467600"/>
              <a:gd name="connsiteY623" fmla="*/ 2198735 h 6858000"/>
              <a:gd name="connsiteX624" fmla="*/ 2040892 w 7467600"/>
              <a:gd name="connsiteY624" fmla="*/ 2405205 h 6858000"/>
              <a:gd name="connsiteX625" fmla="*/ 2131689 w 7467600"/>
              <a:gd name="connsiteY625" fmla="*/ 1936926 h 6858000"/>
              <a:gd name="connsiteX626" fmla="*/ 2454820 w 7467600"/>
              <a:gd name="connsiteY626" fmla="*/ 1248808 h 6858000"/>
              <a:gd name="connsiteX627" fmla="*/ 2492512 w 7467600"/>
              <a:gd name="connsiteY627" fmla="*/ 1302920 h 6858000"/>
              <a:gd name="connsiteX628" fmla="*/ 2081216 w 7467600"/>
              <a:gd name="connsiteY628" fmla="*/ 2527513 h 6858000"/>
              <a:gd name="connsiteX629" fmla="*/ 2081211 w 7467600"/>
              <a:gd name="connsiteY629" fmla="*/ 2528916 h 6858000"/>
              <a:gd name="connsiteX630" fmla="*/ 2199067 w 7467600"/>
              <a:gd name="connsiteY630" fmla="*/ 2884061 h 6858000"/>
              <a:gd name="connsiteX631" fmla="*/ 3192586 w 7467600"/>
              <a:gd name="connsiteY631" fmla="*/ 3411496 h 6858000"/>
              <a:gd name="connsiteX632" fmla="*/ 3182620 w 7467600"/>
              <a:gd name="connsiteY632" fmla="*/ 3483279 h 6858000"/>
              <a:gd name="connsiteX633" fmla="*/ 2435119 w 7467600"/>
              <a:gd name="connsiteY633" fmla="*/ 3080173 h 6858000"/>
              <a:gd name="connsiteX634" fmla="*/ 2410152 w 7467600"/>
              <a:gd name="connsiteY634" fmla="*/ 3063751 h 6858000"/>
              <a:gd name="connsiteX635" fmla="*/ 2408099 w 7467600"/>
              <a:gd name="connsiteY635" fmla="*/ 3064403 h 6858000"/>
              <a:gd name="connsiteX636" fmla="*/ 2407218 w 7467600"/>
              <a:gd name="connsiteY636" fmla="*/ 3070324 h 6858000"/>
              <a:gd name="connsiteX637" fmla="*/ 2380138 w 7467600"/>
              <a:gd name="connsiteY637" fmla="*/ 3099341 h 6858000"/>
              <a:gd name="connsiteX638" fmla="*/ 1765923 w 7467600"/>
              <a:gd name="connsiteY638" fmla="*/ 3581043 h 6858000"/>
              <a:gd name="connsiteX639" fmla="*/ 1702258 w 7467600"/>
              <a:gd name="connsiteY639" fmla="*/ 3612286 h 6858000"/>
              <a:gd name="connsiteX640" fmla="*/ 1538370 w 7467600"/>
              <a:gd name="connsiteY640" fmla="*/ 3811804 h 6858000"/>
              <a:gd name="connsiteX641" fmla="*/ 542867 w 7467600"/>
              <a:gd name="connsiteY641" fmla="*/ 4944092 h 6858000"/>
              <a:gd name="connsiteX642" fmla="*/ 515800 w 7467600"/>
              <a:gd name="connsiteY642" fmla="*/ 4862180 h 6858000"/>
              <a:gd name="connsiteX643" fmla="*/ 909145 w 7467600"/>
              <a:gd name="connsiteY643" fmla="*/ 4199225 h 6858000"/>
              <a:gd name="connsiteX644" fmla="*/ 1214067 w 7467600"/>
              <a:gd name="connsiteY644" fmla="*/ 3908561 h 6858000"/>
              <a:gd name="connsiteX645" fmla="*/ 640967 w 7467600"/>
              <a:gd name="connsiteY645" fmla="*/ 4105601 h 6858000"/>
              <a:gd name="connsiteX646" fmla="*/ 112563 w 7467600"/>
              <a:gd name="connsiteY646" fmla="*/ 4396952 h 6858000"/>
              <a:gd name="connsiteX647" fmla="*/ 0 w 7467600"/>
              <a:gd name="connsiteY647" fmla="*/ 4466006 h 6858000"/>
              <a:gd name="connsiteX648" fmla="*/ 0 w 7467600"/>
              <a:gd name="connsiteY648" fmla="*/ 4233763 h 6858000"/>
              <a:gd name="connsiteX649" fmla="*/ 36881 w 7467600"/>
              <a:gd name="connsiteY649" fmla="*/ 4200118 h 6858000"/>
              <a:gd name="connsiteX650" fmla="*/ 910534 w 7467600"/>
              <a:gd name="connsiteY650" fmla="*/ 3629753 h 6858000"/>
              <a:gd name="connsiteX651" fmla="*/ 1578717 w 7467600"/>
              <a:gd name="connsiteY651" fmla="*/ 3575982 h 6858000"/>
              <a:gd name="connsiteX652" fmla="*/ 2338780 w 7467600"/>
              <a:gd name="connsiteY652" fmla="*/ 3033725 h 6858000"/>
              <a:gd name="connsiteX653" fmla="*/ 1807991 w 7467600"/>
              <a:gd name="connsiteY653" fmla="*/ 2807184 h 6858000"/>
              <a:gd name="connsiteX654" fmla="*/ 1416358 w 7467600"/>
              <a:gd name="connsiteY654" fmla="*/ 3112571 h 6858000"/>
              <a:gd name="connsiteX655" fmla="*/ 939066 w 7467600"/>
              <a:gd name="connsiteY655" fmla="*/ 3378798 h 6858000"/>
              <a:gd name="connsiteX656" fmla="*/ 115099 w 7467600"/>
              <a:gd name="connsiteY656" fmla="*/ 3607650 h 6858000"/>
              <a:gd name="connsiteX657" fmla="*/ 97284 w 7467600"/>
              <a:gd name="connsiteY657" fmla="*/ 3520393 h 6858000"/>
              <a:gd name="connsiteX658" fmla="*/ 922050 w 7467600"/>
              <a:gd name="connsiteY658" fmla="*/ 3074867 h 6858000"/>
              <a:gd name="connsiteX659" fmla="*/ 1405265 w 7467600"/>
              <a:gd name="connsiteY659" fmla="*/ 3016319 h 6858000"/>
              <a:gd name="connsiteX660" fmla="*/ 1407512 w 7467600"/>
              <a:gd name="connsiteY660" fmla="*/ 3018001 h 6858000"/>
              <a:gd name="connsiteX661" fmla="*/ 1726266 w 7467600"/>
              <a:gd name="connsiteY661" fmla="*/ 2777274 h 6858000"/>
              <a:gd name="connsiteX662" fmla="*/ 625390 w 7467600"/>
              <a:gd name="connsiteY662" fmla="*/ 2514541 h 6858000"/>
              <a:gd name="connsiteX663" fmla="*/ 619799 w 7467600"/>
              <a:gd name="connsiteY663" fmla="*/ 2527180 h 6858000"/>
              <a:gd name="connsiteX664" fmla="*/ 310030 w 7467600"/>
              <a:gd name="connsiteY664" fmla="*/ 2771818 h 6858000"/>
              <a:gd name="connsiteX665" fmla="*/ 173877 w 7467600"/>
              <a:gd name="connsiteY665" fmla="*/ 2937056 h 6858000"/>
              <a:gd name="connsiteX666" fmla="*/ 77889 w 7467600"/>
              <a:gd name="connsiteY666" fmla="*/ 3138440 h 6858000"/>
              <a:gd name="connsiteX667" fmla="*/ 0 w 7467600"/>
              <a:gd name="connsiteY667" fmla="*/ 3271395 h 6858000"/>
              <a:gd name="connsiteX668" fmla="*/ 0 w 7467600"/>
              <a:gd name="connsiteY668" fmla="*/ 3153002 h 6858000"/>
              <a:gd name="connsiteX669" fmla="*/ 2386 w 7467600"/>
              <a:gd name="connsiteY669" fmla="*/ 3149203 h 6858000"/>
              <a:gd name="connsiteX670" fmla="*/ 89753 w 7467600"/>
              <a:gd name="connsiteY670" fmla="*/ 2987702 h 6858000"/>
              <a:gd name="connsiteX671" fmla="*/ 76869 w 7467600"/>
              <a:gd name="connsiteY671" fmla="*/ 3005404 h 6858000"/>
              <a:gd name="connsiteX672" fmla="*/ 32049 w 7467600"/>
              <a:gd name="connsiteY672" fmla="*/ 3065814 h 6858000"/>
              <a:gd name="connsiteX673" fmla="*/ 0 w 7467600"/>
              <a:gd name="connsiteY673" fmla="*/ 3108744 h 6858000"/>
              <a:gd name="connsiteX674" fmla="*/ 0 w 7467600"/>
              <a:gd name="connsiteY674" fmla="*/ 3058059 h 6858000"/>
              <a:gd name="connsiteX675" fmla="*/ 7610 w 7467600"/>
              <a:gd name="connsiteY675" fmla="*/ 3047889 h 6858000"/>
              <a:gd name="connsiteX676" fmla="*/ 52419 w 7467600"/>
              <a:gd name="connsiteY676" fmla="*/ 2987479 h 6858000"/>
              <a:gd name="connsiteX677" fmla="*/ 59142 w 7467600"/>
              <a:gd name="connsiteY677" fmla="*/ 2978488 h 6858000"/>
              <a:gd name="connsiteX678" fmla="*/ 0 w 7467600"/>
              <a:gd name="connsiteY678" fmla="*/ 3015334 h 6858000"/>
              <a:gd name="connsiteX679" fmla="*/ 0 w 7467600"/>
              <a:gd name="connsiteY679" fmla="*/ 2914286 h 6858000"/>
              <a:gd name="connsiteX680" fmla="*/ 36383 w 7467600"/>
              <a:gd name="connsiteY680" fmla="*/ 2901128 h 6858000"/>
              <a:gd name="connsiteX681" fmla="*/ 156329 w 7467600"/>
              <a:gd name="connsiteY681" fmla="*/ 2840533 h 6858000"/>
              <a:gd name="connsiteX682" fmla="*/ 358355 w 7467600"/>
              <a:gd name="connsiteY682" fmla="*/ 2620471 h 6858000"/>
              <a:gd name="connsiteX683" fmla="*/ 510577 w 7467600"/>
              <a:gd name="connsiteY683" fmla="*/ 2501244 h 6858000"/>
              <a:gd name="connsiteX684" fmla="*/ 211967 w 7467600"/>
              <a:gd name="connsiteY684" fmla="*/ 2479171 h 6858000"/>
              <a:gd name="connsiteX685" fmla="*/ 0 w 7467600"/>
              <a:gd name="connsiteY685" fmla="*/ 2476398 h 6858000"/>
              <a:gd name="connsiteX686" fmla="*/ 0 w 7467600"/>
              <a:gd name="connsiteY686" fmla="*/ 2389189 h 6858000"/>
              <a:gd name="connsiteX687" fmla="*/ 103062 w 7467600"/>
              <a:gd name="connsiteY687" fmla="*/ 2389518 h 6858000"/>
              <a:gd name="connsiteX688" fmla="*/ 510734 w 7467600"/>
              <a:gd name="connsiteY688" fmla="*/ 2416201 h 6858000"/>
              <a:gd name="connsiteX689" fmla="*/ 279257 w 7467600"/>
              <a:gd name="connsiteY689" fmla="*/ 2092102 h 6858000"/>
              <a:gd name="connsiteX690" fmla="*/ 65265 w 7467600"/>
              <a:gd name="connsiteY690" fmla="*/ 2006049 h 6858000"/>
              <a:gd name="connsiteX691" fmla="*/ 0 w 7467600"/>
              <a:gd name="connsiteY691" fmla="*/ 1982532 h 6858000"/>
              <a:gd name="connsiteX692" fmla="*/ 0 w 7467600"/>
              <a:gd name="connsiteY692" fmla="*/ 1912789 h 6858000"/>
              <a:gd name="connsiteX693" fmla="*/ 97460 w 7467600"/>
              <a:gd name="connsiteY693" fmla="*/ 1953725 h 6858000"/>
              <a:gd name="connsiteX694" fmla="*/ 221272 w 7467600"/>
              <a:gd name="connsiteY694" fmla="*/ 1980766 h 6858000"/>
              <a:gd name="connsiteX695" fmla="*/ 116765 w 7467600"/>
              <a:gd name="connsiteY695" fmla="*/ 1911033 h 6858000"/>
              <a:gd name="connsiteX696" fmla="*/ 16405 w 7467600"/>
              <a:gd name="connsiteY696" fmla="*/ 1803412 h 6858000"/>
              <a:gd name="connsiteX697" fmla="*/ 0 w 7467600"/>
              <a:gd name="connsiteY697" fmla="*/ 1784777 h 6858000"/>
              <a:gd name="connsiteX698" fmla="*/ 0 w 7467600"/>
              <a:gd name="connsiteY698" fmla="*/ 1740082 h 6858000"/>
              <a:gd name="connsiteX699" fmla="*/ 39394 w 7467600"/>
              <a:gd name="connsiteY699" fmla="*/ 1784856 h 6858000"/>
              <a:gd name="connsiteX700" fmla="*/ 135813 w 7467600"/>
              <a:gd name="connsiteY700" fmla="*/ 1888838 h 6858000"/>
              <a:gd name="connsiteX701" fmla="*/ 242575 w 7467600"/>
              <a:gd name="connsiteY701" fmla="*/ 1958841 h 6858000"/>
              <a:gd name="connsiteX702" fmla="*/ 82197 w 7467600"/>
              <a:gd name="connsiteY702" fmla="*/ 1754826 h 6858000"/>
              <a:gd name="connsiteX703" fmla="*/ 0 w 7467600"/>
              <a:gd name="connsiteY703" fmla="*/ 1679650 h 6858000"/>
              <a:gd name="connsiteX704" fmla="*/ 0 w 7467600"/>
              <a:gd name="connsiteY704" fmla="*/ 1602463 h 6858000"/>
              <a:gd name="connsiteX705" fmla="*/ 84689 w 7467600"/>
              <a:gd name="connsiteY705" fmla="*/ 1677442 h 6858000"/>
              <a:gd name="connsiteX706" fmla="*/ 298437 w 7467600"/>
              <a:gd name="connsiteY706" fmla="*/ 1968019 h 6858000"/>
              <a:gd name="connsiteX707" fmla="*/ 227269 w 7467600"/>
              <a:gd name="connsiteY707" fmla="*/ 1114064 h 6858000"/>
              <a:gd name="connsiteX708" fmla="*/ 248003 w 7467600"/>
              <a:gd name="connsiteY708" fmla="*/ 1089613 h 6858000"/>
              <a:gd name="connsiteX709" fmla="*/ 427020 w 7467600"/>
              <a:gd name="connsiteY709" fmla="*/ 1619803 h 6858000"/>
              <a:gd name="connsiteX710" fmla="*/ 340345 w 7467600"/>
              <a:gd name="connsiteY710" fmla="*/ 2027739 h 6858000"/>
              <a:gd name="connsiteX711" fmla="*/ 360865 w 7467600"/>
              <a:gd name="connsiteY711" fmla="*/ 2044827 h 6858000"/>
              <a:gd name="connsiteX712" fmla="*/ 560414 w 7467600"/>
              <a:gd name="connsiteY712" fmla="*/ 2421457 h 6858000"/>
              <a:gd name="connsiteX713" fmla="*/ 1359703 w 7467600"/>
              <a:gd name="connsiteY713" fmla="*/ 2578554 h 6858000"/>
              <a:gd name="connsiteX714" fmla="*/ 1359422 w 7467600"/>
              <a:gd name="connsiteY714" fmla="*/ 2577994 h 6858000"/>
              <a:gd name="connsiteX715" fmla="*/ 828701 w 7467600"/>
              <a:gd name="connsiteY715" fmla="*/ 1839520 h 6858000"/>
              <a:gd name="connsiteX716" fmla="*/ 494427 w 7467600"/>
              <a:gd name="connsiteY716" fmla="*/ 1092333 h 6858000"/>
              <a:gd name="connsiteX717" fmla="*/ 506322 w 7467600"/>
              <a:gd name="connsiteY717" fmla="*/ 1020997 h 6858000"/>
              <a:gd name="connsiteX718" fmla="*/ 4570198 w 7467600"/>
              <a:gd name="connsiteY718" fmla="*/ 978081 h 6858000"/>
              <a:gd name="connsiteX719" fmla="*/ 4523691 w 7467600"/>
              <a:gd name="connsiteY719" fmla="*/ 1127776 h 6858000"/>
              <a:gd name="connsiteX720" fmla="*/ 4509875 w 7467600"/>
              <a:gd name="connsiteY720" fmla="*/ 1167552 h 6858000"/>
              <a:gd name="connsiteX721" fmla="*/ 4478168 w 7467600"/>
              <a:gd name="connsiteY721" fmla="*/ 1260735 h 6858000"/>
              <a:gd name="connsiteX722" fmla="*/ 4409309 w 7467600"/>
              <a:gd name="connsiteY722" fmla="*/ 1666996 h 6858000"/>
              <a:gd name="connsiteX723" fmla="*/ 4370031 w 7467600"/>
              <a:gd name="connsiteY723" fmla="*/ 1955666 h 6858000"/>
              <a:gd name="connsiteX724" fmla="*/ 4570198 w 7467600"/>
              <a:gd name="connsiteY724" fmla="*/ 978081 h 6858000"/>
              <a:gd name="connsiteX725" fmla="*/ 4557898 w 7467600"/>
              <a:gd name="connsiteY725" fmla="*/ 900011 h 6858000"/>
              <a:gd name="connsiteX726" fmla="*/ 4344840 w 7467600"/>
              <a:gd name="connsiteY726" fmla="*/ 1922038 h 6858000"/>
              <a:gd name="connsiteX727" fmla="*/ 4378710 w 7467600"/>
              <a:gd name="connsiteY727" fmla="*/ 1665516 h 6858000"/>
              <a:gd name="connsiteX728" fmla="*/ 4448798 w 7467600"/>
              <a:gd name="connsiteY728" fmla="*/ 1253024 h 6858000"/>
              <a:gd name="connsiteX729" fmla="*/ 4480315 w 7467600"/>
              <a:gd name="connsiteY729" fmla="*/ 1158454 h 6858000"/>
              <a:gd name="connsiteX730" fmla="*/ 4494133 w 7467600"/>
              <a:gd name="connsiteY730" fmla="*/ 1118676 h 6858000"/>
              <a:gd name="connsiteX731" fmla="*/ 4557898 w 7467600"/>
              <a:gd name="connsiteY731" fmla="*/ 900011 h 6858000"/>
              <a:gd name="connsiteX732" fmla="*/ 5870151 w 7467600"/>
              <a:gd name="connsiteY732" fmla="*/ 898890 h 6858000"/>
              <a:gd name="connsiteX733" fmla="*/ 5861335 w 7467600"/>
              <a:gd name="connsiteY733" fmla="*/ 899177 h 6858000"/>
              <a:gd name="connsiteX734" fmla="*/ 5843702 w 7467600"/>
              <a:gd name="connsiteY734" fmla="*/ 899748 h 6858000"/>
              <a:gd name="connsiteX735" fmla="*/ 5651107 w 7467600"/>
              <a:gd name="connsiteY735" fmla="*/ 920306 h 6858000"/>
              <a:gd name="connsiteX736" fmla="*/ 5459407 w 7467600"/>
              <a:gd name="connsiteY736" fmla="*/ 940975 h 6858000"/>
              <a:gd name="connsiteX737" fmla="*/ 5374846 w 7467600"/>
              <a:gd name="connsiteY737" fmla="*/ 941988 h 6858000"/>
              <a:gd name="connsiteX738" fmla="*/ 5256105 w 7467600"/>
              <a:gd name="connsiteY738" fmla="*/ 945632 h 6858000"/>
              <a:gd name="connsiteX739" fmla="*/ 5107071 w 7467600"/>
              <a:gd name="connsiteY739" fmla="*/ 969720 h 6858000"/>
              <a:gd name="connsiteX740" fmla="*/ 4998681 w 7467600"/>
              <a:gd name="connsiteY740" fmla="*/ 988771 h 6858000"/>
              <a:gd name="connsiteX741" fmla="*/ 5870151 w 7467600"/>
              <a:gd name="connsiteY741" fmla="*/ 898890 h 6858000"/>
              <a:gd name="connsiteX742" fmla="*/ 5504425 w 7467600"/>
              <a:gd name="connsiteY742" fmla="*/ 848067 h 6858000"/>
              <a:gd name="connsiteX743" fmla="*/ 4968849 w 7467600"/>
              <a:gd name="connsiteY743" fmla="*/ 962318 h 6858000"/>
              <a:gd name="connsiteX744" fmla="*/ 5104039 w 7467600"/>
              <a:gd name="connsiteY744" fmla="*/ 940634 h 6858000"/>
              <a:gd name="connsiteX745" fmla="*/ 5256311 w 7467600"/>
              <a:gd name="connsiteY745" fmla="*/ 916490 h 6858000"/>
              <a:gd name="connsiteX746" fmla="*/ 5377381 w 7467600"/>
              <a:gd name="connsiteY746" fmla="*/ 912671 h 6858000"/>
              <a:gd name="connsiteX747" fmla="*/ 5460148 w 7467600"/>
              <a:gd name="connsiteY747" fmla="*/ 911442 h 6858000"/>
              <a:gd name="connsiteX748" fmla="*/ 5648971 w 7467600"/>
              <a:gd name="connsiteY748" fmla="*/ 891331 h 6858000"/>
              <a:gd name="connsiteX749" fmla="*/ 5844807 w 7467600"/>
              <a:gd name="connsiteY749" fmla="*/ 870718 h 6858000"/>
              <a:gd name="connsiteX750" fmla="*/ 5862975 w 7467600"/>
              <a:gd name="connsiteY750" fmla="*/ 869756 h 6858000"/>
              <a:gd name="connsiteX751" fmla="*/ 5920887 w 7467600"/>
              <a:gd name="connsiteY751" fmla="*/ 865929 h 6858000"/>
              <a:gd name="connsiteX752" fmla="*/ 5504425 w 7467600"/>
              <a:gd name="connsiteY752" fmla="*/ 848067 h 6858000"/>
              <a:gd name="connsiteX753" fmla="*/ 3607114 w 7467600"/>
              <a:gd name="connsiteY753" fmla="*/ 467441 h 6858000"/>
              <a:gd name="connsiteX754" fmla="*/ 3296242 w 7467600"/>
              <a:gd name="connsiteY754" fmla="*/ 807991 h 6858000"/>
              <a:gd name="connsiteX755" fmla="*/ 3174674 w 7467600"/>
              <a:gd name="connsiteY755" fmla="*/ 919759 h 6858000"/>
              <a:gd name="connsiteX756" fmla="*/ 3042978 w 7467600"/>
              <a:gd name="connsiteY756" fmla="*/ 1054894 h 6858000"/>
              <a:gd name="connsiteX757" fmla="*/ 2968914 w 7467600"/>
              <a:gd name="connsiteY757" fmla="*/ 1133756 h 6858000"/>
              <a:gd name="connsiteX758" fmla="*/ 3103823 w 7467600"/>
              <a:gd name="connsiteY758" fmla="*/ 1026814 h 6858000"/>
              <a:gd name="connsiteX759" fmla="*/ 3607114 w 7467600"/>
              <a:gd name="connsiteY759" fmla="*/ 467441 h 6858000"/>
              <a:gd name="connsiteX760" fmla="*/ 3744487 w 7467600"/>
              <a:gd name="connsiteY760" fmla="*/ 383136 h 6858000"/>
              <a:gd name="connsiteX761" fmla="*/ 3970213 w 7467600"/>
              <a:gd name="connsiteY761" fmla="*/ 995559 h 6858000"/>
              <a:gd name="connsiteX762" fmla="*/ 3744487 w 7467600"/>
              <a:gd name="connsiteY762" fmla="*/ 383136 h 6858000"/>
              <a:gd name="connsiteX763" fmla="*/ 3624562 w 7467600"/>
              <a:gd name="connsiteY763" fmla="*/ 367041 h 6858000"/>
              <a:gd name="connsiteX764" fmla="*/ 3489712 w 7467600"/>
              <a:gd name="connsiteY764" fmla="*/ 485386 h 6858000"/>
              <a:gd name="connsiteX765" fmla="*/ 3182994 w 7467600"/>
              <a:gd name="connsiteY765" fmla="*/ 828265 h 6858000"/>
              <a:gd name="connsiteX766" fmla="*/ 2892114 w 7467600"/>
              <a:gd name="connsiteY766" fmla="*/ 1172635 h 6858000"/>
              <a:gd name="connsiteX767" fmla="*/ 3021459 w 7467600"/>
              <a:gd name="connsiteY767" fmla="*/ 1035385 h 6858000"/>
              <a:gd name="connsiteX768" fmla="*/ 3153873 w 7467600"/>
              <a:gd name="connsiteY768" fmla="*/ 898971 h 6858000"/>
              <a:gd name="connsiteX769" fmla="*/ 3276511 w 7467600"/>
              <a:gd name="connsiteY769" fmla="*/ 786423 h 6858000"/>
              <a:gd name="connsiteX770" fmla="*/ 3584154 w 7467600"/>
              <a:gd name="connsiteY770" fmla="*/ 448218 h 6858000"/>
              <a:gd name="connsiteX771" fmla="*/ 3624562 w 7467600"/>
              <a:gd name="connsiteY771" fmla="*/ 367041 h 6858000"/>
              <a:gd name="connsiteX772" fmla="*/ 3766672 w 7467600"/>
              <a:gd name="connsiteY772" fmla="*/ 359429 h 6858000"/>
              <a:gd name="connsiteX773" fmla="*/ 3996338 w 7467600"/>
              <a:gd name="connsiteY773" fmla="*/ 968237 h 6858000"/>
              <a:gd name="connsiteX774" fmla="*/ 3766672 w 7467600"/>
              <a:gd name="connsiteY774" fmla="*/ 359429 h 6858000"/>
              <a:gd name="connsiteX775" fmla="*/ 5805386 w 7467600"/>
              <a:gd name="connsiteY775" fmla="*/ 239240 h 6858000"/>
              <a:gd name="connsiteX776" fmla="*/ 5736947 w 7467600"/>
              <a:gd name="connsiteY776" fmla="*/ 261367 h 6858000"/>
              <a:gd name="connsiteX777" fmla="*/ 5427012 w 7467600"/>
              <a:gd name="connsiteY777" fmla="*/ 311272 h 6858000"/>
              <a:gd name="connsiteX778" fmla="*/ 5147818 w 7467600"/>
              <a:gd name="connsiteY778" fmla="*/ 322112 h 6858000"/>
              <a:gd name="connsiteX779" fmla="*/ 5060854 w 7467600"/>
              <a:gd name="connsiteY779" fmla="*/ 311882 h 6858000"/>
              <a:gd name="connsiteX780" fmla="*/ 4945989 w 7467600"/>
              <a:gd name="connsiteY780" fmla="*/ 300516 h 6858000"/>
              <a:gd name="connsiteX781" fmla="*/ 5410479 w 7467600"/>
              <a:gd name="connsiteY781" fmla="*/ 348434 h 6858000"/>
              <a:gd name="connsiteX782" fmla="*/ 5805386 w 7467600"/>
              <a:gd name="connsiteY782" fmla="*/ 239240 h 6858000"/>
              <a:gd name="connsiteX783" fmla="*/ 5905192 w 7467600"/>
              <a:gd name="connsiteY783" fmla="*/ 163079 h 6858000"/>
              <a:gd name="connsiteX784" fmla="*/ 5865655 w 7467600"/>
              <a:gd name="connsiteY784" fmla="*/ 171901 h 6858000"/>
              <a:gd name="connsiteX785" fmla="*/ 5259740 w 7467600"/>
              <a:gd name="connsiteY785" fmla="*/ 257013 h 6858000"/>
              <a:gd name="connsiteX786" fmla="*/ 5208466 w 7467600"/>
              <a:gd name="connsiteY786" fmla="*/ 257550 h 6858000"/>
              <a:gd name="connsiteX787" fmla="*/ 4980204 w 7467600"/>
              <a:gd name="connsiteY787" fmla="*/ 271903 h 6858000"/>
              <a:gd name="connsiteX788" fmla="*/ 5068068 w 7467600"/>
              <a:gd name="connsiteY788" fmla="*/ 282244 h 6858000"/>
              <a:gd name="connsiteX789" fmla="*/ 5153231 w 7467600"/>
              <a:gd name="connsiteY789" fmla="*/ 292240 h 6858000"/>
              <a:gd name="connsiteX790" fmla="*/ 5426491 w 7467600"/>
              <a:gd name="connsiteY790" fmla="*/ 281128 h 6858000"/>
              <a:gd name="connsiteX791" fmla="*/ 5731212 w 7467600"/>
              <a:gd name="connsiteY791" fmla="*/ 231951 h 6858000"/>
              <a:gd name="connsiteX792" fmla="*/ 5905192 w 7467600"/>
              <a:gd name="connsiteY792" fmla="*/ 163079 h 6858000"/>
              <a:gd name="connsiteX793" fmla="*/ 5944437 w 7467600"/>
              <a:gd name="connsiteY793" fmla="*/ 113829 h 6858000"/>
              <a:gd name="connsiteX794" fmla="*/ 5825032 w 7467600"/>
              <a:gd name="connsiteY794" fmla="*/ 146405 h 6858000"/>
              <a:gd name="connsiteX795" fmla="*/ 4955599 w 7467600"/>
              <a:gd name="connsiteY795" fmla="*/ 247008 h 6858000"/>
              <a:gd name="connsiteX796" fmla="*/ 5210104 w 7467600"/>
              <a:gd name="connsiteY796" fmla="*/ 228123 h 6858000"/>
              <a:gd name="connsiteX797" fmla="*/ 5261015 w 7467600"/>
              <a:gd name="connsiteY797" fmla="*/ 227087 h 6858000"/>
              <a:gd name="connsiteX798" fmla="*/ 5861181 w 7467600"/>
              <a:gd name="connsiteY798" fmla="*/ 143093 h 6858000"/>
              <a:gd name="connsiteX799" fmla="*/ 5961252 w 7467600"/>
              <a:gd name="connsiteY799" fmla="*/ 114820 h 6858000"/>
              <a:gd name="connsiteX800" fmla="*/ 5944437 w 7467600"/>
              <a:gd name="connsiteY800" fmla="*/ 113829 h 6858000"/>
              <a:gd name="connsiteX801" fmla="*/ 3882765 w 7467600"/>
              <a:gd name="connsiteY801" fmla="*/ 0 h 6858000"/>
              <a:gd name="connsiteX802" fmla="*/ 3995099 w 7467600"/>
              <a:gd name="connsiteY802" fmla="*/ 0 h 6858000"/>
              <a:gd name="connsiteX803" fmla="*/ 4163818 w 7467600"/>
              <a:gd name="connsiteY803" fmla="*/ 234104 h 6858000"/>
              <a:gd name="connsiteX804" fmla="*/ 4172099 w 7467600"/>
              <a:gd name="connsiteY804" fmla="*/ 234207 h 6858000"/>
              <a:gd name="connsiteX805" fmla="*/ 4784282 w 7467600"/>
              <a:gd name="connsiteY805" fmla="*/ 276561 h 6858000"/>
              <a:gd name="connsiteX806" fmla="*/ 4801687 w 7467600"/>
              <a:gd name="connsiteY806" fmla="*/ 267764 h 6858000"/>
              <a:gd name="connsiteX807" fmla="*/ 6082788 w 7467600"/>
              <a:gd name="connsiteY807" fmla="*/ 64119 h 6858000"/>
              <a:gd name="connsiteX808" fmla="*/ 6099442 w 7467600"/>
              <a:gd name="connsiteY808" fmla="*/ 82568 h 6858000"/>
              <a:gd name="connsiteX809" fmla="*/ 4804137 w 7467600"/>
              <a:gd name="connsiteY809" fmla="*/ 320931 h 6858000"/>
              <a:gd name="connsiteX810" fmla="*/ 4227047 w 7467600"/>
              <a:gd name="connsiteY810" fmla="*/ 313415 h 6858000"/>
              <a:gd name="connsiteX811" fmla="*/ 4346041 w 7467600"/>
              <a:gd name="connsiteY811" fmla="*/ 456086 h 6858000"/>
              <a:gd name="connsiteX812" fmla="*/ 4870967 w 7467600"/>
              <a:gd name="connsiteY812" fmla="*/ 963061 h 6858000"/>
              <a:gd name="connsiteX813" fmla="*/ 4889647 w 7467600"/>
              <a:gd name="connsiteY813" fmla="*/ 957147 h 6858000"/>
              <a:gd name="connsiteX814" fmla="*/ 5422504 w 7467600"/>
              <a:gd name="connsiteY814" fmla="*/ 805191 h 6858000"/>
              <a:gd name="connsiteX815" fmla="*/ 6087656 w 7467600"/>
              <a:gd name="connsiteY815" fmla="*/ 826703 h 6858000"/>
              <a:gd name="connsiteX816" fmla="*/ 6058717 w 7467600"/>
              <a:gd name="connsiteY816" fmla="*/ 865992 h 6858000"/>
              <a:gd name="connsiteX817" fmla="*/ 4974153 w 7467600"/>
              <a:gd name="connsiteY817" fmla="*/ 1045456 h 6858000"/>
              <a:gd name="connsiteX818" fmla="*/ 5627835 w 7467600"/>
              <a:gd name="connsiteY818" fmla="*/ 1472077 h 6858000"/>
              <a:gd name="connsiteX819" fmla="*/ 5629817 w 7467600"/>
              <a:gd name="connsiteY819" fmla="*/ 1471412 h 6858000"/>
              <a:gd name="connsiteX820" fmla="*/ 5634124 w 7467600"/>
              <a:gd name="connsiteY820" fmla="*/ 1470572 h 6858000"/>
              <a:gd name="connsiteX821" fmla="*/ 5755832 w 7467600"/>
              <a:gd name="connsiteY821" fmla="*/ 1383886 h 6858000"/>
              <a:gd name="connsiteX822" fmla="*/ 6014186 w 7467600"/>
              <a:gd name="connsiteY822" fmla="*/ 1279799 h 6858000"/>
              <a:gd name="connsiteX823" fmla="*/ 6901619 w 7467600"/>
              <a:gd name="connsiteY823" fmla="*/ 1047874 h 6858000"/>
              <a:gd name="connsiteX824" fmla="*/ 6931566 w 7467600"/>
              <a:gd name="connsiteY824" fmla="*/ 1062034 h 6858000"/>
              <a:gd name="connsiteX825" fmla="*/ 5790982 w 7467600"/>
              <a:gd name="connsiteY825" fmla="*/ 1561380 h 6858000"/>
              <a:gd name="connsiteX826" fmla="*/ 6188971 w 7467600"/>
              <a:gd name="connsiteY826" fmla="*/ 1755168 h 6858000"/>
              <a:gd name="connsiteX827" fmla="*/ 6202446 w 7467600"/>
              <a:gd name="connsiteY827" fmla="*/ 1752268 h 6858000"/>
              <a:gd name="connsiteX828" fmla="*/ 7179560 w 7467600"/>
              <a:gd name="connsiteY828" fmla="*/ 1467551 h 6858000"/>
              <a:gd name="connsiteX829" fmla="*/ 7158730 w 7467600"/>
              <a:gd name="connsiteY829" fmla="*/ 1507835 h 6858000"/>
              <a:gd name="connsiteX830" fmla="*/ 6326959 w 7467600"/>
              <a:gd name="connsiteY830" fmla="*/ 1817686 h 6858000"/>
              <a:gd name="connsiteX831" fmla="*/ 6537433 w 7467600"/>
              <a:gd name="connsiteY831" fmla="*/ 1907790 h 6858000"/>
              <a:gd name="connsiteX832" fmla="*/ 6550221 w 7467600"/>
              <a:gd name="connsiteY832" fmla="*/ 1910729 h 6858000"/>
              <a:gd name="connsiteX833" fmla="*/ 6964438 w 7467600"/>
              <a:gd name="connsiteY833" fmla="*/ 2209505 h 6858000"/>
              <a:gd name="connsiteX834" fmla="*/ 7367862 w 7467600"/>
              <a:gd name="connsiteY834" fmla="*/ 2806833 h 6858000"/>
              <a:gd name="connsiteX835" fmla="*/ 7364329 w 7467600"/>
              <a:gd name="connsiteY835" fmla="*/ 2826907 h 6858000"/>
              <a:gd name="connsiteX836" fmla="*/ 7290545 w 7467600"/>
              <a:gd name="connsiteY836" fmla="*/ 2850663 h 6858000"/>
              <a:gd name="connsiteX837" fmla="*/ 6472036 w 7467600"/>
              <a:gd name="connsiteY837" fmla="*/ 1959003 h 6858000"/>
              <a:gd name="connsiteX838" fmla="*/ 5792897 w 7467600"/>
              <a:gd name="connsiteY838" fmla="*/ 1647747 h 6858000"/>
              <a:gd name="connsiteX839" fmla="*/ 5842751 w 7467600"/>
              <a:gd name="connsiteY839" fmla="*/ 1816112 h 6858000"/>
              <a:gd name="connsiteX840" fmla="*/ 5847424 w 7467600"/>
              <a:gd name="connsiteY840" fmla="*/ 1815776 h 6858000"/>
              <a:gd name="connsiteX841" fmla="*/ 6399821 w 7467600"/>
              <a:gd name="connsiteY841" fmla="*/ 2344799 h 6858000"/>
              <a:gd name="connsiteX842" fmla="*/ 6323232 w 7467600"/>
              <a:gd name="connsiteY842" fmla="*/ 2389634 h 6858000"/>
              <a:gd name="connsiteX843" fmla="*/ 5942958 w 7467600"/>
              <a:gd name="connsiteY843" fmla="*/ 2077708 h 6858000"/>
              <a:gd name="connsiteX844" fmla="*/ 5921559 w 7467600"/>
              <a:gd name="connsiteY844" fmla="*/ 2378596 h 6858000"/>
              <a:gd name="connsiteX845" fmla="*/ 5817651 w 7467600"/>
              <a:gd name="connsiteY845" fmla="*/ 3023919 h 6858000"/>
              <a:gd name="connsiteX846" fmla="*/ 5729634 w 7467600"/>
              <a:gd name="connsiteY846" fmla="*/ 3051849 h 6858000"/>
              <a:gd name="connsiteX847" fmla="*/ 5611018 w 7467600"/>
              <a:gd name="connsiteY847" fmla="*/ 2316769 h 6858000"/>
              <a:gd name="connsiteX848" fmla="*/ 5687608 w 7467600"/>
              <a:gd name="connsiteY848" fmla="*/ 2039972 h 6858000"/>
              <a:gd name="connsiteX849" fmla="*/ 5657554 w 7467600"/>
              <a:gd name="connsiteY849" fmla="*/ 1576445 h 6858000"/>
              <a:gd name="connsiteX850" fmla="*/ 5150475 w 7467600"/>
              <a:gd name="connsiteY850" fmla="*/ 1274012 h 6858000"/>
              <a:gd name="connsiteX851" fmla="*/ 5349142 w 7467600"/>
              <a:gd name="connsiteY851" fmla="*/ 2204405 h 6858000"/>
              <a:gd name="connsiteX852" fmla="*/ 5262214 w 7467600"/>
              <a:gd name="connsiteY852" fmla="*/ 2233836 h 6858000"/>
              <a:gd name="connsiteX853" fmla="*/ 4981539 w 7467600"/>
              <a:gd name="connsiteY853" fmla="*/ 1542201 h 6858000"/>
              <a:gd name="connsiteX854" fmla="*/ 4958461 w 7467600"/>
              <a:gd name="connsiteY854" fmla="*/ 1136957 h 6858000"/>
              <a:gd name="connsiteX855" fmla="*/ 4655015 w 7467600"/>
              <a:gd name="connsiteY855" fmla="*/ 891426 h 6858000"/>
              <a:gd name="connsiteX856" fmla="*/ 4348002 w 7467600"/>
              <a:gd name="connsiteY856" fmla="*/ 2205895 h 6858000"/>
              <a:gd name="connsiteX857" fmla="*/ 4262250 w 7467600"/>
              <a:gd name="connsiteY857" fmla="*/ 2219972 h 6858000"/>
              <a:gd name="connsiteX858" fmla="*/ 4550611 w 7467600"/>
              <a:gd name="connsiteY858" fmla="*/ 817540 h 6858000"/>
              <a:gd name="connsiteX859" fmla="*/ 4564418 w 7467600"/>
              <a:gd name="connsiteY859" fmla="*/ 808293 h 6858000"/>
              <a:gd name="connsiteX860" fmla="*/ 4266388 w 7467600"/>
              <a:gd name="connsiteY860" fmla="*/ 500083 h 6858000"/>
              <a:gd name="connsiteX861" fmla="*/ 4032842 w 7467600"/>
              <a:gd name="connsiteY861" fmla="*/ 211809 h 6858000"/>
              <a:gd name="connsiteX862" fmla="*/ 3882765 w 7467600"/>
              <a:gd name="connsiteY862" fmla="*/ 0 h 6858000"/>
              <a:gd name="connsiteX863" fmla="*/ 3721337 w 7467600"/>
              <a:gd name="connsiteY863" fmla="*/ 0 h 6858000"/>
              <a:gd name="connsiteX864" fmla="*/ 3797544 w 7467600"/>
              <a:gd name="connsiteY864" fmla="*/ 0 h 6858000"/>
              <a:gd name="connsiteX865" fmla="*/ 3775734 w 7467600"/>
              <a:gd name="connsiteY865" fmla="*/ 95131 h 6858000"/>
              <a:gd name="connsiteX866" fmla="*/ 3724807 w 7467600"/>
              <a:gd name="connsiteY866" fmla="*/ 272257 h 6858000"/>
              <a:gd name="connsiteX867" fmla="*/ 3726844 w 7467600"/>
              <a:gd name="connsiteY867" fmla="*/ 282988 h 6858000"/>
              <a:gd name="connsiteX868" fmla="*/ 3742664 w 7467600"/>
              <a:gd name="connsiteY868" fmla="*/ 279918 h 6858000"/>
              <a:gd name="connsiteX869" fmla="*/ 4103910 w 7467600"/>
              <a:gd name="connsiteY869" fmla="*/ 1161917 h 6858000"/>
              <a:gd name="connsiteX870" fmla="*/ 4020269 w 7467600"/>
              <a:gd name="connsiteY870" fmla="*/ 1200406 h 6858000"/>
              <a:gd name="connsiteX871" fmla="*/ 3674882 w 7467600"/>
              <a:gd name="connsiteY871" fmla="*/ 488524 h 6858000"/>
              <a:gd name="connsiteX872" fmla="*/ 3132682 w 7467600"/>
              <a:gd name="connsiteY872" fmla="*/ 1072284 h 6858000"/>
              <a:gd name="connsiteX873" fmla="*/ 2716346 w 7467600"/>
              <a:gd name="connsiteY873" fmla="*/ 1276376 h 6858000"/>
              <a:gd name="connsiteX874" fmla="*/ 2716772 w 7467600"/>
              <a:gd name="connsiteY874" fmla="*/ 1255462 h 6858000"/>
              <a:gd name="connsiteX875" fmla="*/ 3471096 w 7467600"/>
              <a:gd name="connsiteY875" fmla="*/ 437072 h 6858000"/>
              <a:gd name="connsiteX876" fmla="*/ 3639057 w 7467600"/>
              <a:gd name="connsiteY876" fmla="*/ 286334 h 6858000"/>
              <a:gd name="connsiteX877" fmla="*/ 3640309 w 7467600"/>
              <a:gd name="connsiteY877" fmla="*/ 284664 h 6858000"/>
              <a:gd name="connsiteX878" fmla="*/ 3646022 w 7467600"/>
              <a:gd name="connsiteY878" fmla="*/ 276711 h 6858000"/>
              <a:gd name="connsiteX879" fmla="*/ 3707943 w 7467600"/>
              <a:gd name="connsiteY879" fmla="*/ 65958 h 6858000"/>
              <a:gd name="connsiteX880" fmla="*/ 3721337 w 7467600"/>
              <a:gd name="connsiteY880" fmla="*/ 0 h 6858000"/>
              <a:gd name="connsiteX881" fmla="*/ 2867960 w 7467600"/>
              <a:gd name="connsiteY881" fmla="*/ 0 h 6858000"/>
              <a:gd name="connsiteX882" fmla="*/ 2926351 w 7467600"/>
              <a:gd name="connsiteY882" fmla="*/ 0 h 6858000"/>
              <a:gd name="connsiteX883" fmla="*/ 2902823 w 7467600"/>
              <a:gd name="connsiteY883" fmla="*/ 262929 h 6858000"/>
              <a:gd name="connsiteX884" fmla="*/ 2940663 w 7467600"/>
              <a:gd name="connsiteY884" fmla="*/ 140884 h 6858000"/>
              <a:gd name="connsiteX885" fmla="*/ 2947039 w 7467600"/>
              <a:gd name="connsiteY885" fmla="*/ 122524 h 6858000"/>
              <a:gd name="connsiteX886" fmla="*/ 2984316 w 7467600"/>
              <a:gd name="connsiteY886" fmla="*/ 0 h 6858000"/>
              <a:gd name="connsiteX887" fmla="*/ 3016114 w 7467600"/>
              <a:gd name="connsiteY887" fmla="*/ 0 h 6858000"/>
              <a:gd name="connsiteX888" fmla="*/ 2979949 w 7467600"/>
              <a:gd name="connsiteY888" fmla="*/ 119274 h 6858000"/>
              <a:gd name="connsiteX889" fmla="*/ 3023879 w 7467600"/>
              <a:gd name="connsiteY889" fmla="*/ 0 h 6858000"/>
              <a:gd name="connsiteX890" fmla="*/ 3105400 w 7467600"/>
              <a:gd name="connsiteY890" fmla="*/ 0 h 6858000"/>
              <a:gd name="connsiteX891" fmla="*/ 3094669 w 7467600"/>
              <a:gd name="connsiteY891" fmla="*/ 30308 h 6858000"/>
              <a:gd name="connsiteX892" fmla="*/ 2901945 w 7467600"/>
              <a:gd name="connsiteY892" fmla="*/ 466538 h 6858000"/>
              <a:gd name="connsiteX893" fmla="*/ 2815209 w 7467600"/>
              <a:gd name="connsiteY893" fmla="*/ 497361 h 6858000"/>
              <a:gd name="connsiteX894" fmla="*/ 2844845 w 7467600"/>
              <a:gd name="connsiteY894" fmla="*/ 127638 h 6858000"/>
              <a:gd name="connsiteX895" fmla="*/ 2867960 w 7467600"/>
              <a:gd name="connsiteY895" fmla="*/ 0 h 6858000"/>
              <a:gd name="connsiteX896" fmla="*/ 1057230 w 7467600"/>
              <a:gd name="connsiteY896" fmla="*/ 0 h 6858000"/>
              <a:gd name="connsiteX897" fmla="*/ 1111003 w 7467600"/>
              <a:gd name="connsiteY897" fmla="*/ 0 h 6858000"/>
              <a:gd name="connsiteX898" fmla="*/ 1125553 w 7467600"/>
              <a:gd name="connsiteY898" fmla="*/ 52588 h 6858000"/>
              <a:gd name="connsiteX899" fmla="*/ 1304276 w 7467600"/>
              <a:gd name="connsiteY899" fmla="*/ 476275 h 6858000"/>
              <a:gd name="connsiteX900" fmla="*/ 1492066 w 7467600"/>
              <a:gd name="connsiteY900" fmla="*/ 886333 h 6858000"/>
              <a:gd name="connsiteX901" fmla="*/ 1423698 w 7467600"/>
              <a:gd name="connsiteY901" fmla="*/ 710817 h 6858000"/>
              <a:gd name="connsiteX902" fmla="*/ 1357609 w 7467600"/>
              <a:gd name="connsiteY902" fmla="*/ 532892 h 6858000"/>
              <a:gd name="connsiteX903" fmla="*/ 1309550 w 7467600"/>
              <a:gd name="connsiteY903" fmla="*/ 374031 h 6858000"/>
              <a:gd name="connsiteX904" fmla="*/ 1193673 w 7467600"/>
              <a:gd name="connsiteY904" fmla="*/ 49533 h 6858000"/>
              <a:gd name="connsiteX905" fmla="*/ 1164391 w 7467600"/>
              <a:gd name="connsiteY905" fmla="*/ 0 h 6858000"/>
              <a:gd name="connsiteX906" fmla="*/ 1200666 w 7467600"/>
              <a:gd name="connsiteY906" fmla="*/ 0 h 6858000"/>
              <a:gd name="connsiteX907" fmla="*/ 1223408 w 7467600"/>
              <a:gd name="connsiteY907" fmla="*/ 38996 h 6858000"/>
              <a:gd name="connsiteX908" fmla="*/ 1339635 w 7467600"/>
              <a:gd name="connsiteY908" fmla="*/ 365517 h 6858000"/>
              <a:gd name="connsiteX909" fmla="*/ 1387469 w 7467600"/>
              <a:gd name="connsiteY909" fmla="*/ 523079 h 6858000"/>
              <a:gd name="connsiteX910" fmla="*/ 1452685 w 7467600"/>
              <a:gd name="connsiteY910" fmla="*/ 699806 h 6858000"/>
              <a:gd name="connsiteX911" fmla="*/ 1492092 w 7467600"/>
              <a:gd name="connsiteY911" fmla="*/ 800424 h 6858000"/>
              <a:gd name="connsiteX912" fmla="*/ 1455302 w 7467600"/>
              <a:gd name="connsiteY912" fmla="*/ 632913 h 6858000"/>
              <a:gd name="connsiteX913" fmla="*/ 1222336 w 7467600"/>
              <a:gd name="connsiteY913" fmla="*/ 9480 h 6858000"/>
              <a:gd name="connsiteX914" fmla="*/ 1214634 w 7467600"/>
              <a:gd name="connsiteY914" fmla="*/ 0 h 6858000"/>
              <a:gd name="connsiteX915" fmla="*/ 1289827 w 7467600"/>
              <a:gd name="connsiteY915" fmla="*/ 0 h 6858000"/>
              <a:gd name="connsiteX916" fmla="*/ 1321076 w 7467600"/>
              <a:gd name="connsiteY916" fmla="*/ 59722 h 6858000"/>
              <a:gd name="connsiteX917" fmla="*/ 1512579 w 7467600"/>
              <a:gd name="connsiteY917" fmla="*/ 626441 h 6858000"/>
              <a:gd name="connsiteX918" fmla="*/ 1506076 w 7467600"/>
              <a:gd name="connsiteY918" fmla="*/ 1089289 h 6858000"/>
              <a:gd name="connsiteX919" fmla="*/ 1486346 w 7467600"/>
              <a:gd name="connsiteY919" fmla="*/ 1079919 h 6858000"/>
              <a:gd name="connsiteX920" fmla="*/ 1070511 w 7467600"/>
              <a:gd name="connsiteY920" fmla="*/ 48609 h 6858000"/>
              <a:gd name="connsiteX921" fmla="*/ 1057230 w 7467600"/>
              <a:gd name="connsiteY921" fmla="*/ 0 h 6858000"/>
              <a:gd name="connsiteX922" fmla="*/ 43151 w 7467600"/>
              <a:gd name="connsiteY922" fmla="*/ 0 h 6858000"/>
              <a:gd name="connsiteX923" fmla="*/ 95283 w 7467600"/>
              <a:gd name="connsiteY923" fmla="*/ 0 h 6858000"/>
              <a:gd name="connsiteX924" fmla="*/ 300708 w 7467600"/>
              <a:gd name="connsiteY924" fmla="*/ 154571 h 6858000"/>
              <a:gd name="connsiteX925" fmla="*/ 530414 w 7467600"/>
              <a:gd name="connsiteY925" fmla="*/ 354673 h 6858000"/>
              <a:gd name="connsiteX926" fmla="*/ 333785 w 7467600"/>
              <a:gd name="connsiteY926" fmla="*/ 161564 h 6858000"/>
              <a:gd name="connsiteX927" fmla="*/ 147005 w 7467600"/>
              <a:gd name="connsiteY927" fmla="*/ 0 h 6858000"/>
              <a:gd name="connsiteX928" fmla="*/ 272509 w 7467600"/>
              <a:gd name="connsiteY928" fmla="*/ 0 h 6858000"/>
              <a:gd name="connsiteX929" fmla="*/ 326276 w 7467600"/>
              <a:gd name="connsiteY929" fmla="*/ 45847 h 6858000"/>
              <a:gd name="connsiteX930" fmla="*/ 823759 w 7467600"/>
              <a:gd name="connsiteY930" fmla="*/ 574145 h 6858000"/>
              <a:gd name="connsiteX931" fmla="*/ 811254 w 7467600"/>
              <a:gd name="connsiteY931" fmla="*/ 665546 h 6858000"/>
              <a:gd name="connsiteX932" fmla="*/ 154042 w 7467600"/>
              <a:gd name="connsiteY932" fmla="*/ 261522 h 6858000"/>
              <a:gd name="connsiteX933" fmla="*/ 13550 w 7467600"/>
              <a:gd name="connsiteY933" fmla="*/ 158423 h 6858000"/>
              <a:gd name="connsiteX934" fmla="*/ 0 w 7467600"/>
              <a:gd name="connsiteY934" fmla="*/ 146618 h 6858000"/>
              <a:gd name="connsiteX935" fmla="*/ 0 w 7467600"/>
              <a:gd name="connsiteY935" fmla="*/ 59161 h 6858000"/>
              <a:gd name="connsiteX936" fmla="*/ 45427 w 7467600"/>
              <a:gd name="connsiteY936" fmla="*/ 101078 h 6858000"/>
              <a:gd name="connsiteX937" fmla="*/ 630103 w 7467600"/>
              <a:gd name="connsiteY937" fmla="*/ 485885 h 6858000"/>
              <a:gd name="connsiteX938" fmla="*/ 532040 w 7467600"/>
              <a:gd name="connsiteY938" fmla="*/ 399359 h 6858000"/>
              <a:gd name="connsiteX939" fmla="*/ 517618 w 7467600"/>
              <a:gd name="connsiteY939" fmla="*/ 385726 h 6858000"/>
              <a:gd name="connsiteX940" fmla="*/ 285074 w 7467600"/>
              <a:gd name="connsiteY940" fmla="*/ 182755 h 6858000"/>
              <a:gd name="connsiteX941" fmla="*/ 43151 w 7467600"/>
              <a:gd name="connsiteY941"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289862 w 7467600"/>
              <a:gd name="connsiteY4" fmla="*/ 6659827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289862 w 7467600"/>
              <a:gd name="connsiteY8" fmla="*/ 6659827 h 6858000"/>
              <a:gd name="connsiteX9" fmla="*/ 1019354 w 7467600"/>
              <a:gd name="connsiteY9" fmla="*/ 6315006 h 6858000"/>
              <a:gd name="connsiteX10" fmla="*/ 441046 w 7467600"/>
              <a:gd name="connsiteY10" fmla="*/ 6691153 h 6858000"/>
              <a:gd name="connsiteX11" fmla="*/ 1019354 w 7467600"/>
              <a:gd name="connsiteY11" fmla="*/ 6315006 h 6858000"/>
              <a:gd name="connsiteX12" fmla="*/ 991680 w 7467600"/>
              <a:gd name="connsiteY12" fmla="*/ 6298413 h 6858000"/>
              <a:gd name="connsiteX13" fmla="*/ 409060 w 7467600"/>
              <a:gd name="connsiteY13" fmla="*/ 6671470 h 6858000"/>
              <a:gd name="connsiteX14" fmla="*/ 991680 w 7467600"/>
              <a:gd name="connsiteY14" fmla="*/ 6298413 h 6858000"/>
              <a:gd name="connsiteX15" fmla="*/ 103333 w 7467600"/>
              <a:gd name="connsiteY15" fmla="*/ 5699602 h 6858000"/>
              <a:gd name="connsiteX16" fmla="*/ 233938 w 7467600"/>
              <a:gd name="connsiteY16" fmla="*/ 5809416 h 6858000"/>
              <a:gd name="connsiteX17" fmla="*/ 883580 w 7467600"/>
              <a:gd name="connsiteY17" fmla="*/ 6180710 h 6858000"/>
              <a:gd name="connsiteX18" fmla="*/ 487337 w 7467600"/>
              <a:gd name="connsiteY18" fmla="*/ 5950182 h 6858000"/>
              <a:gd name="connsiteX19" fmla="*/ 354051 w 7467600"/>
              <a:gd name="connsiteY19" fmla="*/ 5854912 h 6858000"/>
              <a:gd name="connsiteX20" fmla="*/ 195436 w 7467600"/>
              <a:gd name="connsiteY20" fmla="*/ 5755068 h 6858000"/>
              <a:gd name="connsiteX21" fmla="*/ 103333 w 7467600"/>
              <a:gd name="connsiteY21" fmla="*/ 5699602 h 6858000"/>
              <a:gd name="connsiteX22" fmla="*/ 5539432 w 7467600"/>
              <a:gd name="connsiteY22" fmla="*/ 5642928 h 6858000"/>
              <a:gd name="connsiteX23" fmla="*/ 5555462 w 7467600"/>
              <a:gd name="connsiteY23" fmla="*/ 5694454 h 6858000"/>
              <a:gd name="connsiteX24" fmla="*/ 5828270 w 7467600"/>
              <a:gd name="connsiteY24" fmla="*/ 6320663 h 6858000"/>
              <a:gd name="connsiteX25" fmla="*/ 5947416 w 7467600"/>
              <a:gd name="connsiteY25" fmla="*/ 6574846 h 6858000"/>
              <a:gd name="connsiteX26" fmla="*/ 5539432 w 7467600"/>
              <a:gd name="connsiteY26" fmla="*/ 5642928 h 6858000"/>
              <a:gd name="connsiteX27" fmla="*/ 51253 w 7467600"/>
              <a:gd name="connsiteY27" fmla="*/ 5631825 h 6858000"/>
              <a:gd name="connsiteX28" fmla="*/ 211622 w 7467600"/>
              <a:gd name="connsiteY28" fmla="*/ 5728803 h 6858000"/>
              <a:gd name="connsiteX29" fmla="*/ 371652 w 7467600"/>
              <a:gd name="connsiteY29" fmla="*/ 5829062 h 6858000"/>
              <a:gd name="connsiteX30" fmla="*/ 505903 w 7467600"/>
              <a:gd name="connsiteY30" fmla="*/ 5925221 h 6858000"/>
              <a:gd name="connsiteX31" fmla="*/ 899240 w 7467600"/>
              <a:gd name="connsiteY31" fmla="*/ 6153068 h 6858000"/>
              <a:gd name="connsiteX32" fmla="*/ 988114 w 7467600"/>
              <a:gd name="connsiteY32" fmla="*/ 6174204 h 6858000"/>
              <a:gd name="connsiteX33" fmla="*/ 845971 w 7467600"/>
              <a:gd name="connsiteY33" fmla="*/ 6067177 h 6858000"/>
              <a:gd name="connsiteX34" fmla="*/ 448057 w 7467600"/>
              <a:gd name="connsiteY34" fmla="*/ 5841376 h 6858000"/>
              <a:gd name="connsiteX35" fmla="*/ 51253 w 7467600"/>
              <a:gd name="connsiteY35" fmla="*/ 5631825 h 6858000"/>
              <a:gd name="connsiteX36" fmla="*/ 2606687 w 7467600"/>
              <a:gd name="connsiteY36" fmla="*/ 5630718 h 6858000"/>
              <a:gd name="connsiteX37" fmla="*/ 2645658 w 7467600"/>
              <a:gd name="connsiteY37" fmla="*/ 6640259 h 6858000"/>
              <a:gd name="connsiteX38" fmla="*/ 2606687 w 7467600"/>
              <a:gd name="connsiteY38" fmla="*/ 5630718 h 6858000"/>
              <a:gd name="connsiteX39" fmla="*/ 3642057 w 7467600"/>
              <a:gd name="connsiteY39" fmla="*/ 5573487 h 6858000"/>
              <a:gd name="connsiteX40" fmla="*/ 3632981 w 7467600"/>
              <a:gd name="connsiteY40" fmla="*/ 5579437 h 6858000"/>
              <a:gd name="connsiteX41" fmla="*/ 3382436 w 7467600"/>
              <a:gd name="connsiteY41" fmla="*/ 5952726 h 6858000"/>
              <a:gd name="connsiteX42" fmla="*/ 3191929 w 7467600"/>
              <a:gd name="connsiteY42" fmla="*/ 6662669 h 6858000"/>
              <a:gd name="connsiteX43" fmla="*/ 3369898 w 7467600"/>
              <a:gd name="connsiteY43" fmla="*/ 6081771 h 6858000"/>
              <a:gd name="connsiteX44" fmla="*/ 3642057 w 7467600"/>
              <a:gd name="connsiteY44" fmla="*/ 5573487 h 6858000"/>
              <a:gd name="connsiteX45" fmla="*/ 2650666 w 7467600"/>
              <a:gd name="connsiteY45" fmla="*/ 5530686 h 6858000"/>
              <a:gd name="connsiteX46" fmla="*/ 2650249 w 7467600"/>
              <a:gd name="connsiteY46" fmla="*/ 5532101 h 6858000"/>
              <a:gd name="connsiteX47" fmla="*/ 2663808 w 7467600"/>
              <a:gd name="connsiteY47" fmla="*/ 6535215 h 6858000"/>
              <a:gd name="connsiteX48" fmla="*/ 2665418 w 7467600"/>
              <a:gd name="connsiteY48" fmla="*/ 6132756 h 6858000"/>
              <a:gd name="connsiteX49" fmla="*/ 2650666 w 7467600"/>
              <a:gd name="connsiteY49" fmla="*/ 5530686 h 6858000"/>
              <a:gd name="connsiteX50" fmla="*/ 2680277 w 7467600"/>
              <a:gd name="connsiteY50" fmla="*/ 5479204 h 6858000"/>
              <a:gd name="connsiteX51" fmla="*/ 2678972 w 7467600"/>
              <a:gd name="connsiteY51" fmla="*/ 5481582 h 6858000"/>
              <a:gd name="connsiteX52" fmla="*/ 2696666 w 7467600"/>
              <a:gd name="connsiteY52" fmla="*/ 6133836 h 6858000"/>
              <a:gd name="connsiteX53" fmla="*/ 2695769 w 7467600"/>
              <a:gd name="connsiteY53" fmla="*/ 6390955 h 6858000"/>
              <a:gd name="connsiteX54" fmla="*/ 2739893 w 7467600"/>
              <a:gd name="connsiteY54" fmla="*/ 6108357 h 6858000"/>
              <a:gd name="connsiteX55" fmla="*/ 2680277 w 7467600"/>
              <a:gd name="connsiteY55" fmla="*/ 5479204 h 6858000"/>
              <a:gd name="connsiteX56" fmla="*/ 1132195 w 7467600"/>
              <a:gd name="connsiteY56" fmla="*/ 5467980 h 6858000"/>
              <a:gd name="connsiteX57" fmla="*/ 1679056 w 7467600"/>
              <a:gd name="connsiteY57" fmla="*/ 5516907 h 6858000"/>
              <a:gd name="connsiteX58" fmla="*/ 2128648 w 7467600"/>
              <a:gd name="connsiteY58" fmla="*/ 5474249 h 6858000"/>
              <a:gd name="connsiteX59" fmla="*/ 1825619 w 7467600"/>
              <a:gd name="connsiteY59" fmla="*/ 5478447 h 6858000"/>
              <a:gd name="connsiteX60" fmla="*/ 1737798 w 7467600"/>
              <a:gd name="connsiteY60" fmla="*/ 5483353 h 6858000"/>
              <a:gd name="connsiteX61" fmla="*/ 1132195 w 7467600"/>
              <a:gd name="connsiteY61" fmla="*/ 5467980 h 6858000"/>
              <a:gd name="connsiteX62" fmla="*/ 1456157 w 7467600"/>
              <a:gd name="connsiteY62" fmla="*/ 5371404 h 6858000"/>
              <a:gd name="connsiteX63" fmla="*/ 1244432 w 7467600"/>
              <a:gd name="connsiteY63" fmla="*/ 5385601 h 6858000"/>
              <a:gd name="connsiteX64" fmla="*/ 973990 w 7467600"/>
              <a:gd name="connsiteY64" fmla="*/ 5424940 h 6858000"/>
              <a:gd name="connsiteX65" fmla="*/ 1103809 w 7467600"/>
              <a:gd name="connsiteY65" fmla="*/ 5433720 h 6858000"/>
              <a:gd name="connsiteX66" fmla="*/ 1123454 w 7467600"/>
              <a:gd name="connsiteY66" fmla="*/ 5435727 h 6858000"/>
              <a:gd name="connsiteX67" fmla="*/ 1737017 w 7467600"/>
              <a:gd name="connsiteY67" fmla="*/ 5452183 h 6858000"/>
              <a:gd name="connsiteX68" fmla="*/ 1824397 w 7467600"/>
              <a:gd name="connsiteY68" fmla="*/ 5447757 h 6858000"/>
              <a:gd name="connsiteX69" fmla="*/ 2070059 w 7467600"/>
              <a:gd name="connsiteY69" fmla="*/ 5441660 h 6858000"/>
              <a:gd name="connsiteX70" fmla="*/ 1456157 w 7467600"/>
              <a:gd name="connsiteY70" fmla="*/ 5371404 h 6858000"/>
              <a:gd name="connsiteX71" fmla="*/ 4988186 w 7467600"/>
              <a:gd name="connsiteY71" fmla="*/ 5216467 h 6858000"/>
              <a:gd name="connsiteX72" fmla="*/ 4777334 w 7467600"/>
              <a:gd name="connsiteY72" fmla="*/ 5406072 h 6858000"/>
              <a:gd name="connsiteX73" fmla="*/ 4718341 w 7467600"/>
              <a:gd name="connsiteY73" fmla="*/ 5468043 h 6858000"/>
              <a:gd name="connsiteX74" fmla="*/ 4604655 w 7467600"/>
              <a:gd name="connsiteY74" fmla="*/ 5583434 h 6858000"/>
              <a:gd name="connsiteX75" fmla="*/ 4565074 w 7467600"/>
              <a:gd name="connsiteY75" fmla="*/ 5618550 h 6858000"/>
              <a:gd name="connsiteX76" fmla="*/ 4988186 w 7467600"/>
              <a:gd name="connsiteY76" fmla="*/ 5216467 h 6858000"/>
              <a:gd name="connsiteX77" fmla="*/ 4978032 w 7467600"/>
              <a:gd name="connsiteY77" fmla="*/ 5183809 h 6858000"/>
              <a:gd name="connsiteX78" fmla="*/ 4463413 w 7467600"/>
              <a:gd name="connsiteY78" fmla="*/ 5615162 h 6858000"/>
              <a:gd name="connsiteX79" fmla="*/ 4358134 w 7467600"/>
              <a:gd name="connsiteY79" fmla="*/ 5742791 h 6858000"/>
              <a:gd name="connsiteX80" fmla="*/ 4376219 w 7467600"/>
              <a:gd name="connsiteY80" fmla="*/ 5729027 h 6858000"/>
              <a:gd name="connsiteX81" fmla="*/ 4582340 w 7467600"/>
              <a:gd name="connsiteY81" fmla="*/ 5561037 h 6858000"/>
              <a:gd name="connsiteX82" fmla="*/ 4694684 w 7467600"/>
              <a:gd name="connsiteY82" fmla="*/ 5447098 h 6858000"/>
              <a:gd name="connsiteX83" fmla="*/ 4754123 w 7467600"/>
              <a:gd name="connsiteY83" fmla="*/ 5384643 h 6858000"/>
              <a:gd name="connsiteX84" fmla="*/ 4978032 w 7467600"/>
              <a:gd name="connsiteY84" fmla="*/ 5183809 h 6858000"/>
              <a:gd name="connsiteX85" fmla="*/ 1903353 w 7467600"/>
              <a:gd name="connsiteY85" fmla="*/ 5044827 h 6858000"/>
              <a:gd name="connsiteX86" fmla="*/ 1936931 w 7467600"/>
              <a:gd name="connsiteY86" fmla="*/ 5093954 h 6858000"/>
              <a:gd name="connsiteX87" fmla="*/ 2195868 w 7467600"/>
              <a:gd name="connsiteY87" fmla="*/ 5396574 h 6858000"/>
              <a:gd name="connsiteX88" fmla="*/ 2088852 w 7467600"/>
              <a:gd name="connsiteY88" fmla="*/ 5166123 h 6858000"/>
              <a:gd name="connsiteX89" fmla="*/ 1958241 w 7467600"/>
              <a:gd name="connsiteY89" fmla="*/ 5067955 h 6858000"/>
              <a:gd name="connsiteX90" fmla="*/ 1903353 w 7467600"/>
              <a:gd name="connsiteY90" fmla="*/ 5044827 h 6858000"/>
              <a:gd name="connsiteX91" fmla="*/ 1979378 w 7467600"/>
              <a:gd name="connsiteY91" fmla="*/ 4769504 h 6858000"/>
              <a:gd name="connsiteX92" fmla="*/ 2882120 w 7467600"/>
              <a:gd name="connsiteY92" fmla="*/ 5064547 h 6858000"/>
              <a:gd name="connsiteX93" fmla="*/ 2793103 w 7467600"/>
              <a:gd name="connsiteY93" fmla="*/ 5039699 h 6858000"/>
              <a:gd name="connsiteX94" fmla="*/ 2770041 w 7467600"/>
              <a:gd name="connsiteY94" fmla="*/ 5033634 h 6858000"/>
              <a:gd name="connsiteX95" fmla="*/ 1979378 w 7467600"/>
              <a:gd name="connsiteY95" fmla="*/ 4769504 h 6858000"/>
              <a:gd name="connsiteX96" fmla="*/ 1927410 w 7467600"/>
              <a:gd name="connsiteY96" fmla="*/ 4716164 h 6858000"/>
              <a:gd name="connsiteX97" fmla="*/ 1959587 w 7467600"/>
              <a:gd name="connsiteY97" fmla="*/ 4728849 h 6858000"/>
              <a:gd name="connsiteX98" fmla="*/ 2777707 w 7467600"/>
              <a:gd name="connsiteY98" fmla="*/ 5003991 h 6858000"/>
              <a:gd name="connsiteX99" fmla="*/ 2800768 w 7467600"/>
              <a:gd name="connsiteY99" fmla="*/ 5010056 h 6858000"/>
              <a:gd name="connsiteX100" fmla="*/ 2879408 w 7467600"/>
              <a:gd name="connsiteY100" fmla="*/ 5031590 h 6858000"/>
              <a:gd name="connsiteX101" fmla="*/ 2862295 w 7467600"/>
              <a:gd name="connsiteY101" fmla="*/ 5022958 h 6858000"/>
              <a:gd name="connsiteX102" fmla="*/ 2813343 w 7467600"/>
              <a:gd name="connsiteY102" fmla="*/ 4998369 h 6858000"/>
              <a:gd name="connsiteX103" fmla="*/ 2646245 w 7467600"/>
              <a:gd name="connsiteY103" fmla="*/ 4930999 h 6858000"/>
              <a:gd name="connsiteX104" fmla="*/ 1999243 w 7467600"/>
              <a:gd name="connsiteY104" fmla="*/ 4730524 h 6858000"/>
              <a:gd name="connsiteX105" fmla="*/ 1979527 w 7467600"/>
              <a:gd name="connsiteY105" fmla="*/ 4726651 h 6858000"/>
              <a:gd name="connsiteX106" fmla="*/ 1927410 w 7467600"/>
              <a:gd name="connsiteY106" fmla="*/ 4716164 h 6858000"/>
              <a:gd name="connsiteX107" fmla="*/ 1997014 w 7467600"/>
              <a:gd name="connsiteY107" fmla="*/ 4698007 h 6858000"/>
              <a:gd name="connsiteX108" fmla="*/ 2005458 w 7467600"/>
              <a:gd name="connsiteY108" fmla="*/ 4699540 h 6858000"/>
              <a:gd name="connsiteX109" fmla="*/ 2657186 w 7467600"/>
              <a:gd name="connsiteY109" fmla="*/ 4901687 h 6858000"/>
              <a:gd name="connsiteX110" fmla="*/ 2826662 w 7467600"/>
              <a:gd name="connsiteY110" fmla="*/ 4970362 h 6858000"/>
              <a:gd name="connsiteX111" fmla="*/ 2876100 w 7467600"/>
              <a:gd name="connsiteY111" fmla="*/ 4995397 h 6858000"/>
              <a:gd name="connsiteX112" fmla="*/ 3042600 w 7467600"/>
              <a:gd name="connsiteY112" fmla="*/ 5059532 h 6858000"/>
              <a:gd name="connsiteX113" fmla="*/ 1997014 w 7467600"/>
              <a:gd name="connsiteY113" fmla="*/ 4698007 h 6858000"/>
              <a:gd name="connsiteX114" fmla="*/ 2305292 w 7467600"/>
              <a:gd name="connsiteY114" fmla="*/ 4219492 h 6858000"/>
              <a:gd name="connsiteX115" fmla="*/ 3360922 w 7467600"/>
              <a:gd name="connsiteY115" fmla="*/ 4529373 h 6858000"/>
              <a:gd name="connsiteX116" fmla="*/ 3492420 w 7467600"/>
              <a:gd name="connsiteY116" fmla="*/ 4510145 h 6858000"/>
              <a:gd name="connsiteX117" fmla="*/ 3364086 w 7467600"/>
              <a:gd name="connsiteY117" fmla="*/ 4480340 h 6858000"/>
              <a:gd name="connsiteX118" fmla="*/ 3225818 w 7467600"/>
              <a:gd name="connsiteY118" fmla="*/ 4411822 h 6858000"/>
              <a:gd name="connsiteX119" fmla="*/ 3129696 w 7467600"/>
              <a:gd name="connsiteY119" fmla="*/ 4360704 h 6858000"/>
              <a:gd name="connsiteX120" fmla="*/ 2814545 w 7467600"/>
              <a:gd name="connsiteY120" fmla="*/ 4282955 h 6858000"/>
              <a:gd name="connsiteX121" fmla="*/ 2305292 w 7467600"/>
              <a:gd name="connsiteY121" fmla="*/ 4219492 h 6858000"/>
              <a:gd name="connsiteX122" fmla="*/ 2626982 w 7467600"/>
              <a:gd name="connsiteY122" fmla="*/ 4206450 h 6858000"/>
              <a:gd name="connsiteX123" fmla="*/ 2490617 w 7467600"/>
              <a:gd name="connsiteY123" fmla="*/ 4206951 h 6858000"/>
              <a:gd name="connsiteX124" fmla="*/ 2819869 w 7467600"/>
              <a:gd name="connsiteY124" fmla="*/ 4252936 h 6858000"/>
              <a:gd name="connsiteX125" fmla="*/ 3143018 w 7467600"/>
              <a:gd name="connsiteY125" fmla="*/ 4332698 h 6858000"/>
              <a:gd name="connsiteX126" fmla="*/ 3241520 w 7467600"/>
              <a:gd name="connsiteY126" fmla="*/ 4385112 h 6858000"/>
              <a:gd name="connsiteX127" fmla="*/ 3374575 w 7467600"/>
              <a:gd name="connsiteY127" fmla="*/ 4451517 h 6858000"/>
              <a:gd name="connsiteX128" fmla="*/ 3505221 w 7467600"/>
              <a:gd name="connsiteY128" fmla="*/ 4480757 h 6858000"/>
              <a:gd name="connsiteX129" fmla="*/ 2626982 w 7467600"/>
              <a:gd name="connsiteY129" fmla="*/ 4206450 h 6858000"/>
              <a:gd name="connsiteX130" fmla="*/ 1310106 w 7467600"/>
              <a:gd name="connsiteY130" fmla="*/ 3943217 h 6858000"/>
              <a:gd name="connsiteX131" fmla="*/ 854994 w 7467600"/>
              <a:gd name="connsiteY131" fmla="*/ 4399136 h 6858000"/>
              <a:gd name="connsiteX132" fmla="*/ 742462 w 7467600"/>
              <a:gd name="connsiteY132" fmla="*/ 4594648 h 6858000"/>
              <a:gd name="connsiteX133" fmla="*/ 820602 w 7467600"/>
              <a:gd name="connsiteY133" fmla="*/ 4485915 h 6858000"/>
              <a:gd name="connsiteX134" fmla="*/ 878295 w 7467600"/>
              <a:gd name="connsiteY134" fmla="*/ 4403594 h 6858000"/>
              <a:gd name="connsiteX135" fmla="*/ 1240607 w 7467600"/>
              <a:gd name="connsiteY135" fmla="*/ 4010401 h 6858000"/>
              <a:gd name="connsiteX136" fmla="*/ 1310106 w 7467600"/>
              <a:gd name="connsiteY136" fmla="*/ 3943217 h 6858000"/>
              <a:gd name="connsiteX137" fmla="*/ 1423113 w 7467600"/>
              <a:gd name="connsiteY137" fmla="*/ 3874565 h 6858000"/>
              <a:gd name="connsiteX138" fmla="*/ 1260565 w 7467600"/>
              <a:gd name="connsiteY138" fmla="*/ 4031982 h 6858000"/>
              <a:gd name="connsiteX139" fmla="*/ 901900 w 7467600"/>
              <a:gd name="connsiteY139" fmla="*/ 4421236 h 6858000"/>
              <a:gd name="connsiteX140" fmla="*/ 845044 w 7467600"/>
              <a:gd name="connsiteY140" fmla="*/ 4502436 h 6858000"/>
              <a:gd name="connsiteX141" fmla="*/ 685926 w 7467600"/>
              <a:gd name="connsiteY141" fmla="*/ 4703069 h 6858000"/>
              <a:gd name="connsiteX142" fmla="*/ 684248 w 7467600"/>
              <a:gd name="connsiteY142" fmla="*/ 4706721 h 6858000"/>
              <a:gd name="connsiteX143" fmla="*/ 1423113 w 7467600"/>
              <a:gd name="connsiteY143" fmla="*/ 3874565 h 6858000"/>
              <a:gd name="connsiteX144" fmla="*/ 3316479 w 7467600"/>
              <a:gd name="connsiteY144" fmla="*/ 3872136 h 6858000"/>
              <a:gd name="connsiteX145" fmla="*/ 3546806 w 7467600"/>
              <a:gd name="connsiteY145" fmla="*/ 4356139 h 6858000"/>
              <a:gd name="connsiteX146" fmla="*/ 3364433 w 7467600"/>
              <a:gd name="connsiteY146" fmla="*/ 3953121 h 6858000"/>
              <a:gd name="connsiteX147" fmla="*/ 3316479 w 7467600"/>
              <a:gd name="connsiteY147" fmla="*/ 3872136 h 6858000"/>
              <a:gd name="connsiteX148" fmla="*/ 3291335 w 7467600"/>
              <a:gd name="connsiteY148" fmla="*/ 3767420 h 6858000"/>
              <a:gd name="connsiteX149" fmla="*/ 3390805 w 7467600"/>
              <a:gd name="connsiteY149" fmla="*/ 3937163 h 6858000"/>
              <a:gd name="connsiteX150" fmla="*/ 3579062 w 7467600"/>
              <a:gd name="connsiteY150" fmla="*/ 4359040 h 6858000"/>
              <a:gd name="connsiteX151" fmla="*/ 3467355 w 7467600"/>
              <a:gd name="connsiteY151" fmla="*/ 3988130 h 6858000"/>
              <a:gd name="connsiteX152" fmla="*/ 3310753 w 7467600"/>
              <a:gd name="connsiteY152" fmla="*/ 3787140 h 6858000"/>
              <a:gd name="connsiteX153" fmla="*/ 3291335 w 7467600"/>
              <a:gd name="connsiteY153" fmla="*/ 3767420 h 6858000"/>
              <a:gd name="connsiteX154" fmla="*/ 1635889 w 7467600"/>
              <a:gd name="connsiteY154" fmla="*/ 3709494 h 6858000"/>
              <a:gd name="connsiteX155" fmla="*/ 1634800 w 7467600"/>
              <a:gd name="connsiteY155" fmla="*/ 3731111 h 6858000"/>
              <a:gd name="connsiteX156" fmla="*/ 1635889 w 7467600"/>
              <a:gd name="connsiteY156" fmla="*/ 3709494 h 6858000"/>
              <a:gd name="connsiteX157" fmla="*/ 1510397 w 7467600"/>
              <a:gd name="connsiteY157" fmla="*/ 3684705 h 6858000"/>
              <a:gd name="connsiteX158" fmla="*/ 1146550 w 7467600"/>
              <a:gd name="connsiteY158" fmla="*/ 3802012 h 6858000"/>
              <a:gd name="connsiteX159" fmla="*/ 698834 w 7467600"/>
              <a:gd name="connsiteY159" fmla="*/ 3952272 h 6858000"/>
              <a:gd name="connsiteX160" fmla="*/ 34256 w 7467600"/>
              <a:gd name="connsiteY160" fmla="*/ 4347603 h 6858000"/>
              <a:gd name="connsiteX161" fmla="*/ 527241 w 7467600"/>
              <a:gd name="connsiteY161" fmla="*/ 4065078 h 6858000"/>
              <a:gd name="connsiteX162" fmla="*/ 1510397 w 7467600"/>
              <a:gd name="connsiteY162" fmla="*/ 3684705 h 6858000"/>
              <a:gd name="connsiteX163" fmla="*/ 1313114 w 7467600"/>
              <a:gd name="connsiteY163" fmla="*/ 3655216 h 6858000"/>
              <a:gd name="connsiteX164" fmla="*/ 1109304 w 7467600"/>
              <a:gd name="connsiteY164" fmla="*/ 3669030 h 6858000"/>
              <a:gd name="connsiteX165" fmla="*/ 8129 w 7467600"/>
              <a:gd name="connsiteY165" fmla="*/ 4330519 h 6858000"/>
              <a:gd name="connsiteX166" fmla="*/ 687572 w 7467600"/>
              <a:gd name="connsiteY166" fmla="*/ 3925629 h 6858000"/>
              <a:gd name="connsiteX167" fmla="*/ 1138365 w 7467600"/>
              <a:gd name="connsiteY167" fmla="*/ 3774515 h 6858000"/>
              <a:gd name="connsiteX168" fmla="*/ 1505579 w 7467600"/>
              <a:gd name="connsiteY168" fmla="*/ 3655526 h 6858000"/>
              <a:gd name="connsiteX169" fmla="*/ 1313114 w 7467600"/>
              <a:gd name="connsiteY169" fmla="*/ 3655216 h 6858000"/>
              <a:gd name="connsiteX170" fmla="*/ 3655073 w 7467600"/>
              <a:gd name="connsiteY170" fmla="*/ 3650884 h 6858000"/>
              <a:gd name="connsiteX171" fmla="*/ 3989938 w 7467600"/>
              <a:gd name="connsiteY171" fmla="*/ 3991685 h 6858000"/>
              <a:gd name="connsiteX172" fmla="*/ 4393907 w 7467600"/>
              <a:gd name="connsiteY172" fmla="*/ 4261258 h 6858000"/>
              <a:gd name="connsiteX173" fmla="*/ 4648051 w 7467600"/>
              <a:gd name="connsiteY173" fmla="*/ 4374051 h 6858000"/>
              <a:gd name="connsiteX174" fmla="*/ 4383389 w 7467600"/>
              <a:gd name="connsiteY174" fmla="*/ 4184369 h 6858000"/>
              <a:gd name="connsiteX175" fmla="*/ 4165508 w 7467600"/>
              <a:gd name="connsiteY175" fmla="*/ 4035196 h 6858000"/>
              <a:gd name="connsiteX176" fmla="*/ 4068162 w 7467600"/>
              <a:gd name="connsiteY176" fmla="*/ 3953394 h 6858000"/>
              <a:gd name="connsiteX177" fmla="*/ 3981416 w 7467600"/>
              <a:gd name="connsiteY177" fmla="*/ 3880482 h 6858000"/>
              <a:gd name="connsiteX178" fmla="*/ 3800147 w 7467600"/>
              <a:gd name="connsiteY178" fmla="*/ 3749872 h 6858000"/>
              <a:gd name="connsiteX179" fmla="*/ 3655073 w 7467600"/>
              <a:gd name="connsiteY179" fmla="*/ 3650884 h 6858000"/>
              <a:gd name="connsiteX180" fmla="*/ 3670252 w 7467600"/>
              <a:gd name="connsiteY180" fmla="*/ 3622798 h 6858000"/>
              <a:gd name="connsiteX181" fmla="*/ 3817258 w 7467600"/>
              <a:gd name="connsiteY181" fmla="*/ 3723577 h 6858000"/>
              <a:gd name="connsiteX182" fmla="*/ 4000461 w 7467600"/>
              <a:gd name="connsiteY182" fmla="*/ 3855966 h 6858000"/>
              <a:gd name="connsiteX183" fmla="*/ 4088180 w 7467600"/>
              <a:gd name="connsiteY183" fmla="*/ 3929774 h 6858000"/>
              <a:gd name="connsiteX184" fmla="*/ 4184555 w 7467600"/>
              <a:gd name="connsiteY184" fmla="*/ 4010683 h 6858000"/>
              <a:gd name="connsiteX185" fmla="*/ 4399563 w 7467600"/>
              <a:gd name="connsiteY185" fmla="*/ 4158106 h 6858000"/>
              <a:gd name="connsiteX186" fmla="*/ 4684469 w 7467600"/>
              <a:gd name="connsiteY186" fmla="*/ 4364680 h 6858000"/>
              <a:gd name="connsiteX187" fmla="*/ 4690271 w 7467600"/>
              <a:gd name="connsiteY187" fmla="*/ 4370034 h 6858000"/>
              <a:gd name="connsiteX188" fmla="*/ 4136093 w 7467600"/>
              <a:gd name="connsiteY188" fmla="*/ 3858466 h 6858000"/>
              <a:gd name="connsiteX189" fmla="*/ 3670252 w 7467600"/>
              <a:gd name="connsiteY189" fmla="*/ 3622798 h 6858000"/>
              <a:gd name="connsiteX190" fmla="*/ 4440129 w 7467600"/>
              <a:gd name="connsiteY190" fmla="*/ 3448571 h 6858000"/>
              <a:gd name="connsiteX191" fmla="*/ 4856525 w 7467600"/>
              <a:gd name="connsiteY191" fmla="*/ 3915351 h 6858000"/>
              <a:gd name="connsiteX192" fmla="*/ 5059055 w 7467600"/>
              <a:gd name="connsiteY192" fmla="*/ 4108918 h 6858000"/>
              <a:gd name="connsiteX193" fmla="*/ 5290070 w 7467600"/>
              <a:gd name="connsiteY193" fmla="*/ 4263619 h 6858000"/>
              <a:gd name="connsiteX194" fmla="*/ 4834991 w 7467600"/>
              <a:gd name="connsiteY194" fmla="*/ 3830985 h 6858000"/>
              <a:gd name="connsiteX195" fmla="*/ 4440129 w 7467600"/>
              <a:gd name="connsiteY195" fmla="*/ 3448571 h 6858000"/>
              <a:gd name="connsiteX196" fmla="*/ 4441737 w 7467600"/>
              <a:gd name="connsiteY196" fmla="*/ 3399734 h 6858000"/>
              <a:gd name="connsiteX197" fmla="*/ 4431236 w 7467600"/>
              <a:gd name="connsiteY197" fmla="*/ 3400954 h 6858000"/>
              <a:gd name="connsiteX198" fmla="*/ 4557150 w 7467600"/>
              <a:gd name="connsiteY198" fmla="*/ 3510023 h 6858000"/>
              <a:gd name="connsiteX199" fmla="*/ 4856936 w 7467600"/>
              <a:gd name="connsiteY199" fmla="*/ 3809146 h 6858000"/>
              <a:gd name="connsiteX200" fmla="*/ 5111996 w 7467600"/>
              <a:gd name="connsiteY200" fmla="*/ 4065759 h 6858000"/>
              <a:gd name="connsiteX201" fmla="*/ 5388878 w 7467600"/>
              <a:gd name="connsiteY201" fmla="*/ 4300185 h 6858000"/>
              <a:gd name="connsiteX202" fmla="*/ 5425556 w 7467600"/>
              <a:gd name="connsiteY202" fmla="*/ 4308967 h 6858000"/>
              <a:gd name="connsiteX203" fmla="*/ 4943646 w 7467600"/>
              <a:gd name="connsiteY203" fmla="*/ 3822916 h 6858000"/>
              <a:gd name="connsiteX204" fmla="*/ 4594837 w 7467600"/>
              <a:gd name="connsiteY204" fmla="*/ 3532274 h 6858000"/>
              <a:gd name="connsiteX205" fmla="*/ 4441737 w 7467600"/>
              <a:gd name="connsiteY205" fmla="*/ 3399734 h 6858000"/>
              <a:gd name="connsiteX206" fmla="*/ 5425834 w 7467600"/>
              <a:gd name="connsiteY206" fmla="*/ 3162785 h 6858000"/>
              <a:gd name="connsiteX207" fmla="*/ 5401644 w 7467600"/>
              <a:gd name="connsiteY207" fmla="*/ 3617847 h 6858000"/>
              <a:gd name="connsiteX208" fmla="*/ 5467256 w 7467600"/>
              <a:gd name="connsiteY208" fmla="*/ 4175494 h 6858000"/>
              <a:gd name="connsiteX209" fmla="*/ 5448069 w 7467600"/>
              <a:gd name="connsiteY209" fmla="*/ 3567554 h 6858000"/>
              <a:gd name="connsiteX210" fmla="*/ 5425834 w 7467600"/>
              <a:gd name="connsiteY210" fmla="*/ 3162785 h 6858000"/>
              <a:gd name="connsiteX211" fmla="*/ 1318687 w 7467600"/>
              <a:gd name="connsiteY211" fmla="*/ 3113840 h 6858000"/>
              <a:gd name="connsiteX212" fmla="*/ 1066793 w 7467600"/>
              <a:gd name="connsiteY212" fmla="*/ 3212171 h 6858000"/>
              <a:gd name="connsiteX213" fmla="*/ 993319 w 7467600"/>
              <a:gd name="connsiteY213" fmla="*/ 3247648 h 6858000"/>
              <a:gd name="connsiteX214" fmla="*/ 853081 w 7467600"/>
              <a:gd name="connsiteY214" fmla="*/ 3312410 h 6858000"/>
              <a:gd name="connsiteX215" fmla="*/ 805957 w 7467600"/>
              <a:gd name="connsiteY215" fmla="*/ 3330443 h 6858000"/>
              <a:gd name="connsiteX216" fmla="*/ 1318687 w 7467600"/>
              <a:gd name="connsiteY216" fmla="*/ 3113840 h 6858000"/>
              <a:gd name="connsiteX217" fmla="*/ 5453702 w 7467600"/>
              <a:gd name="connsiteY217" fmla="*/ 3090882 h 6858000"/>
              <a:gd name="connsiteX218" fmla="*/ 5480135 w 7467600"/>
              <a:gd name="connsiteY218" fmla="*/ 3565802 h 6858000"/>
              <a:gd name="connsiteX219" fmla="*/ 5499023 w 7467600"/>
              <a:gd name="connsiteY219" fmla="*/ 4166310 h 6858000"/>
              <a:gd name="connsiteX220" fmla="*/ 5547022 w 7467600"/>
              <a:gd name="connsiteY220" fmla="*/ 3607838 h 6858000"/>
              <a:gd name="connsiteX221" fmla="*/ 5515964 w 7467600"/>
              <a:gd name="connsiteY221" fmla="*/ 3378541 h 6858000"/>
              <a:gd name="connsiteX222" fmla="*/ 5453702 w 7467600"/>
              <a:gd name="connsiteY222" fmla="*/ 3090882 h 6858000"/>
              <a:gd name="connsiteX223" fmla="*/ 1238695 w 7467600"/>
              <a:gd name="connsiteY223" fmla="*/ 3076820 h 6858000"/>
              <a:gd name="connsiteX224" fmla="*/ 716371 w 7467600"/>
              <a:gd name="connsiteY224" fmla="*/ 3293249 h 6858000"/>
              <a:gd name="connsiteX225" fmla="*/ 579522 w 7467600"/>
              <a:gd name="connsiteY225" fmla="*/ 3371759 h 6858000"/>
              <a:gd name="connsiteX226" fmla="*/ 600288 w 7467600"/>
              <a:gd name="connsiteY226" fmla="*/ 3365555 h 6858000"/>
              <a:gd name="connsiteX227" fmla="*/ 840692 w 7467600"/>
              <a:gd name="connsiteY227" fmla="*/ 3284921 h 6858000"/>
              <a:gd name="connsiteX228" fmla="*/ 979248 w 7467600"/>
              <a:gd name="connsiteY228" fmla="*/ 3221003 h 6858000"/>
              <a:gd name="connsiteX229" fmla="*/ 1053282 w 7467600"/>
              <a:gd name="connsiteY229" fmla="*/ 3185247 h 6858000"/>
              <a:gd name="connsiteX230" fmla="*/ 1320603 w 7467600"/>
              <a:gd name="connsiteY230" fmla="*/ 3081281 h 6858000"/>
              <a:gd name="connsiteX231" fmla="*/ 1238695 w 7467600"/>
              <a:gd name="connsiteY231" fmla="*/ 3076820 h 6858000"/>
              <a:gd name="connsiteX232" fmla="*/ 5425627 w 7467600"/>
              <a:gd name="connsiteY232" fmla="*/ 2954192 h 6858000"/>
              <a:gd name="connsiteX233" fmla="*/ 5470770 w 7467600"/>
              <a:gd name="connsiteY233" fmla="*/ 3005435 h 6858000"/>
              <a:gd name="connsiteX234" fmla="*/ 5519779 w 7467600"/>
              <a:gd name="connsiteY234" fmla="*/ 4359223 h 6858000"/>
              <a:gd name="connsiteX235" fmla="*/ 5520293 w 7467600"/>
              <a:gd name="connsiteY235" fmla="*/ 4360602 h 6858000"/>
              <a:gd name="connsiteX236" fmla="*/ 5767221 w 7467600"/>
              <a:gd name="connsiteY236" fmla="*/ 4665564 h 6858000"/>
              <a:gd name="connsiteX237" fmla="*/ 6937169 w 7467600"/>
              <a:gd name="connsiteY237" fmla="*/ 4815941 h 6858000"/>
              <a:gd name="connsiteX238" fmla="*/ 6953922 w 7467600"/>
              <a:gd name="connsiteY238" fmla="*/ 4890068 h 6858000"/>
              <a:gd name="connsiteX239" fmla="*/ 6071359 w 7467600"/>
              <a:gd name="connsiteY239" fmla="*/ 4770770 h 6858000"/>
              <a:gd name="connsiteX240" fmla="*/ 6038839 w 7467600"/>
              <a:gd name="connsiteY240" fmla="*/ 4764474 h 6858000"/>
              <a:gd name="connsiteX241" fmla="*/ 6038706 w 7467600"/>
              <a:gd name="connsiteY241" fmla="*/ 4763847 h 6858000"/>
              <a:gd name="connsiteX242" fmla="*/ 6037784 w 7467600"/>
              <a:gd name="connsiteY242" fmla="*/ 4764270 h 6858000"/>
              <a:gd name="connsiteX243" fmla="*/ 6038839 w 7467600"/>
              <a:gd name="connsiteY243" fmla="*/ 4764474 h 6858000"/>
              <a:gd name="connsiteX244" fmla="*/ 6040338 w 7467600"/>
              <a:gd name="connsiteY244" fmla="*/ 4771418 h 6858000"/>
              <a:gd name="connsiteX245" fmla="*/ 6024488 w 7467600"/>
              <a:gd name="connsiteY245" fmla="*/ 4809903 h 6858000"/>
              <a:gd name="connsiteX246" fmla="*/ 5599771 w 7467600"/>
              <a:gd name="connsiteY246" fmla="*/ 5509652 h 6858000"/>
              <a:gd name="connsiteX247" fmla="*/ 5548843 w 7467600"/>
              <a:gd name="connsiteY247" fmla="*/ 5563845 h 6858000"/>
              <a:gd name="connsiteX248" fmla="*/ 5940952 w 7467600"/>
              <a:gd name="connsiteY248" fmla="*/ 6250028 h 6858000"/>
              <a:gd name="connsiteX249" fmla="*/ 6043441 w 7467600"/>
              <a:gd name="connsiteY249" fmla="*/ 6665847 h 6858000"/>
              <a:gd name="connsiteX250" fmla="*/ 6093432 w 7467600"/>
              <a:gd name="connsiteY250" fmla="*/ 6858000 h 6858000"/>
              <a:gd name="connsiteX251" fmla="*/ 6034344 w 7467600"/>
              <a:gd name="connsiteY251" fmla="*/ 6858000 h 6858000"/>
              <a:gd name="connsiteX252" fmla="*/ 6026679 w 7467600"/>
              <a:gd name="connsiteY252" fmla="*/ 6836959 h 6858000"/>
              <a:gd name="connsiteX253" fmla="*/ 5800441 w 7467600"/>
              <a:gd name="connsiteY253" fmla="*/ 6335286 h 6858000"/>
              <a:gd name="connsiteX254" fmla="*/ 5526562 w 7467600"/>
              <a:gd name="connsiteY254" fmla="*/ 5705388 h 6858000"/>
              <a:gd name="connsiteX255" fmla="*/ 5519640 w 7467600"/>
              <a:gd name="connsiteY255" fmla="*/ 5683774 h 6858000"/>
              <a:gd name="connsiteX256" fmla="*/ 5844559 w 7467600"/>
              <a:gd name="connsiteY256" fmla="*/ 6553349 h 6858000"/>
              <a:gd name="connsiteX257" fmla="*/ 5975994 w 7467600"/>
              <a:gd name="connsiteY257" fmla="*/ 6858000 h 6858000"/>
              <a:gd name="connsiteX258" fmla="*/ 5898547 w 7467600"/>
              <a:gd name="connsiteY258" fmla="*/ 6858000 h 6858000"/>
              <a:gd name="connsiteX259" fmla="*/ 5682041 w 7467600"/>
              <a:gd name="connsiteY259" fmla="*/ 6355860 h 6858000"/>
              <a:gd name="connsiteX260" fmla="*/ 5461758 w 7467600"/>
              <a:gd name="connsiteY260" fmla="*/ 5820220 h 6858000"/>
              <a:gd name="connsiteX261" fmla="*/ 5237282 w 7467600"/>
              <a:gd name="connsiteY261" fmla="*/ 6579086 h 6858000"/>
              <a:gd name="connsiteX262" fmla="*/ 5115009 w 7467600"/>
              <a:gd name="connsiteY262" fmla="*/ 6858000 h 6858000"/>
              <a:gd name="connsiteX263" fmla="*/ 5028074 w 7467600"/>
              <a:gd name="connsiteY263" fmla="*/ 6858000 h 6858000"/>
              <a:gd name="connsiteX264" fmla="*/ 5079508 w 7467600"/>
              <a:gd name="connsiteY264" fmla="*/ 6749074 h 6858000"/>
              <a:gd name="connsiteX265" fmla="*/ 5371846 w 7467600"/>
              <a:gd name="connsiteY265" fmla="*/ 5924413 h 6858000"/>
              <a:gd name="connsiteX266" fmla="*/ 5270512 w 7467600"/>
              <a:gd name="connsiteY266" fmla="*/ 6138975 h 6858000"/>
              <a:gd name="connsiteX267" fmla="*/ 5062409 w 7467600"/>
              <a:gd name="connsiteY267" fmla="*/ 6653544 h 6858000"/>
              <a:gd name="connsiteX268" fmla="*/ 5036628 w 7467600"/>
              <a:gd name="connsiteY268" fmla="*/ 6754247 h 6858000"/>
              <a:gd name="connsiteX269" fmla="*/ 5009112 w 7467600"/>
              <a:gd name="connsiteY269" fmla="*/ 6858000 h 6858000"/>
              <a:gd name="connsiteX270" fmla="*/ 4976679 w 7467600"/>
              <a:gd name="connsiteY270" fmla="*/ 6858000 h 6858000"/>
              <a:gd name="connsiteX271" fmla="*/ 5006537 w 7467600"/>
              <a:gd name="connsiteY271" fmla="*/ 6747068 h 6858000"/>
              <a:gd name="connsiteX272" fmla="*/ 5032723 w 7467600"/>
              <a:gd name="connsiteY272" fmla="*/ 6644957 h 6858000"/>
              <a:gd name="connsiteX273" fmla="*/ 5242949 w 7467600"/>
              <a:gd name="connsiteY273" fmla="*/ 6125175 h 6858000"/>
              <a:gd name="connsiteX274" fmla="*/ 5286321 w 7467600"/>
              <a:gd name="connsiteY274" fmla="*/ 6033555 h 6858000"/>
              <a:gd name="connsiteX275" fmla="*/ 5008210 w 7467600"/>
              <a:gd name="connsiteY275" fmla="*/ 6649194 h 6858000"/>
              <a:gd name="connsiteX276" fmla="*/ 4986321 w 7467600"/>
              <a:gd name="connsiteY276" fmla="*/ 6765687 h 6858000"/>
              <a:gd name="connsiteX277" fmla="*/ 4973474 w 7467600"/>
              <a:gd name="connsiteY277" fmla="*/ 6858000 h 6858000"/>
              <a:gd name="connsiteX278" fmla="*/ 4907178 w 7467600"/>
              <a:gd name="connsiteY278" fmla="*/ 6858000 h 6858000"/>
              <a:gd name="connsiteX279" fmla="*/ 4910810 w 7467600"/>
              <a:gd name="connsiteY279" fmla="*/ 6829660 h 6858000"/>
              <a:gd name="connsiteX280" fmla="*/ 4987461 w 7467600"/>
              <a:gd name="connsiteY280" fmla="*/ 6432994 h 6858000"/>
              <a:gd name="connsiteX281" fmla="*/ 5179262 w 7467600"/>
              <a:gd name="connsiteY281" fmla="*/ 6035044 h 6858000"/>
              <a:gd name="connsiteX282" fmla="*/ 4689678 w 7467600"/>
              <a:gd name="connsiteY282" fmla="*/ 6440241 h 6858000"/>
              <a:gd name="connsiteX283" fmla="*/ 4477543 w 7467600"/>
              <a:gd name="connsiteY283" fmla="*/ 6674836 h 6858000"/>
              <a:gd name="connsiteX284" fmla="*/ 4329957 w 7467600"/>
              <a:gd name="connsiteY284" fmla="*/ 6858000 h 6858000"/>
              <a:gd name="connsiteX285" fmla="*/ 4218595 w 7467600"/>
              <a:gd name="connsiteY285" fmla="*/ 6858000 h 6858000"/>
              <a:gd name="connsiteX286" fmla="*/ 4368888 w 7467600"/>
              <a:gd name="connsiteY286" fmla="*/ 6668412 h 6858000"/>
              <a:gd name="connsiteX287" fmla="*/ 4563091 w 7467600"/>
              <a:gd name="connsiteY287" fmla="*/ 6442508 h 6858000"/>
              <a:gd name="connsiteX288" fmla="*/ 5387324 w 7467600"/>
              <a:gd name="connsiteY288" fmla="*/ 5705830 h 6858000"/>
              <a:gd name="connsiteX289" fmla="*/ 5073620 w 7467600"/>
              <a:gd name="connsiteY289" fmla="*/ 5955437 h 6858000"/>
              <a:gd name="connsiteX290" fmla="*/ 4689789 w 7467600"/>
              <a:gd name="connsiteY290" fmla="*/ 6268382 h 6858000"/>
              <a:gd name="connsiteX291" fmla="*/ 4418722 w 7467600"/>
              <a:gd name="connsiteY291" fmla="*/ 6570886 h 6858000"/>
              <a:gd name="connsiteX292" fmla="*/ 4214944 w 7467600"/>
              <a:gd name="connsiteY292" fmla="*/ 6858000 h 6858000"/>
              <a:gd name="connsiteX293" fmla="*/ 4177898 w 7467600"/>
              <a:gd name="connsiteY293" fmla="*/ 6858000 h 6858000"/>
              <a:gd name="connsiteX294" fmla="*/ 4391597 w 7467600"/>
              <a:gd name="connsiteY294" fmla="*/ 6556370 h 6858000"/>
              <a:gd name="connsiteX295" fmla="*/ 4668889 w 7467600"/>
              <a:gd name="connsiteY295" fmla="*/ 6246399 h 6858000"/>
              <a:gd name="connsiteX296" fmla="*/ 5055427 w 7467600"/>
              <a:gd name="connsiteY296" fmla="*/ 5931476 h 6858000"/>
              <a:gd name="connsiteX297" fmla="*/ 5371814 w 7467600"/>
              <a:gd name="connsiteY297" fmla="*/ 5678975 h 6858000"/>
              <a:gd name="connsiteX298" fmla="*/ 4987918 w 7467600"/>
              <a:gd name="connsiteY298" fmla="*/ 5838701 h 6858000"/>
              <a:gd name="connsiteX299" fmla="*/ 4317146 w 7467600"/>
              <a:gd name="connsiteY299" fmla="*/ 6587716 h 6858000"/>
              <a:gd name="connsiteX300" fmla="*/ 4171627 w 7467600"/>
              <a:gd name="connsiteY300" fmla="*/ 6858000 h 6858000"/>
              <a:gd name="connsiteX301" fmla="*/ 4081585 w 7467600"/>
              <a:gd name="connsiteY301" fmla="*/ 6858000 h 6858000"/>
              <a:gd name="connsiteX302" fmla="*/ 4238603 w 7467600"/>
              <a:gd name="connsiteY302" fmla="*/ 6559341 h 6858000"/>
              <a:gd name="connsiteX303" fmla="*/ 4778333 w 7467600"/>
              <a:gd name="connsiteY303" fmla="*/ 5873626 h 6858000"/>
              <a:gd name="connsiteX304" fmla="*/ 5414185 w 7467600"/>
              <a:gd name="connsiteY304" fmla="*/ 5573882 h 6858000"/>
              <a:gd name="connsiteX305" fmla="*/ 5959648 w 7467600"/>
              <a:gd name="connsiteY305" fmla="*/ 4760797 h 6858000"/>
              <a:gd name="connsiteX306" fmla="*/ 5355019 w 7467600"/>
              <a:gd name="connsiteY306" fmla="*/ 4734672 h 6858000"/>
              <a:gd name="connsiteX307" fmla="*/ 5083565 w 7467600"/>
              <a:gd name="connsiteY307" fmla="*/ 5179121 h 6858000"/>
              <a:gd name="connsiteX308" fmla="*/ 4713577 w 7467600"/>
              <a:gd name="connsiteY308" fmla="*/ 5616803 h 6858000"/>
              <a:gd name="connsiteX309" fmla="*/ 3989559 w 7467600"/>
              <a:gd name="connsiteY309" fmla="*/ 6145945 h 6858000"/>
              <a:gd name="connsiteX310" fmla="*/ 3939824 w 7467600"/>
              <a:gd name="connsiteY310" fmla="*/ 6066900 h 6858000"/>
              <a:gd name="connsiteX311" fmla="*/ 4584537 w 7467600"/>
              <a:gd name="connsiteY311" fmla="*/ 5324826 h 6858000"/>
              <a:gd name="connsiteX312" fmla="*/ 5037105 w 7467600"/>
              <a:gd name="connsiteY312" fmla="*/ 5088765 h 6858000"/>
              <a:gd name="connsiteX313" fmla="*/ 5039930 w 7467600"/>
              <a:gd name="connsiteY313" fmla="*/ 5089585 h 6858000"/>
              <a:gd name="connsiteX314" fmla="*/ 5263764 w 7467600"/>
              <a:gd name="connsiteY314" fmla="*/ 4735525 h 6858000"/>
              <a:gd name="connsiteX315" fmla="*/ 4086300 w 7467600"/>
              <a:gd name="connsiteY315" fmla="*/ 4884599 h 6858000"/>
              <a:gd name="connsiteX316" fmla="*/ 4085485 w 7467600"/>
              <a:gd name="connsiteY316" fmla="*/ 4899070 h 6858000"/>
              <a:gd name="connsiteX317" fmla="*/ 3871915 w 7467600"/>
              <a:gd name="connsiteY317" fmla="*/ 5253645 h 6858000"/>
              <a:gd name="connsiteX318" fmla="*/ 3799374 w 7467600"/>
              <a:gd name="connsiteY318" fmla="*/ 5466127 h 6858000"/>
              <a:gd name="connsiteX319" fmla="*/ 3498850 w 7467600"/>
              <a:gd name="connsiteY319" fmla="*/ 6661888 h 6858000"/>
              <a:gd name="connsiteX320" fmla="*/ 3399216 w 7467600"/>
              <a:gd name="connsiteY320" fmla="*/ 6858000 h 6858000"/>
              <a:gd name="connsiteX321" fmla="*/ 3303688 w 7467600"/>
              <a:gd name="connsiteY321" fmla="*/ 6858000 h 6858000"/>
              <a:gd name="connsiteX322" fmla="*/ 3391774 w 7467600"/>
              <a:gd name="connsiteY322" fmla="*/ 6697181 h 6858000"/>
              <a:gd name="connsiteX323" fmla="*/ 3735540 w 7467600"/>
              <a:gd name="connsiteY323" fmla="*/ 5546923 h 6858000"/>
              <a:gd name="connsiteX324" fmla="*/ 3729438 w 7467600"/>
              <a:gd name="connsiteY324" fmla="*/ 5569058 h 6858000"/>
              <a:gd name="connsiteX325" fmla="*/ 3707782 w 7467600"/>
              <a:gd name="connsiteY325" fmla="*/ 5644908 h 6858000"/>
              <a:gd name="connsiteX326" fmla="*/ 3583827 w 7467600"/>
              <a:gd name="connsiteY326" fmla="*/ 6039215 h 6858000"/>
              <a:gd name="connsiteX327" fmla="*/ 3547861 w 7467600"/>
              <a:gd name="connsiteY327" fmla="*/ 6129609 h 6858000"/>
              <a:gd name="connsiteX328" fmla="*/ 3490905 w 7467600"/>
              <a:gd name="connsiteY328" fmla="*/ 6277660 h 6858000"/>
              <a:gd name="connsiteX329" fmla="*/ 3455859 w 7467600"/>
              <a:gd name="connsiteY329" fmla="*/ 6391301 h 6858000"/>
              <a:gd name="connsiteX330" fmla="*/ 3429112 w 7467600"/>
              <a:gd name="connsiteY330" fmla="*/ 6479469 h 6858000"/>
              <a:gd name="connsiteX331" fmla="*/ 3304862 w 7467600"/>
              <a:gd name="connsiteY331" fmla="*/ 6796476 h 6858000"/>
              <a:gd name="connsiteX332" fmla="*/ 3276071 w 7467600"/>
              <a:gd name="connsiteY332" fmla="*/ 6858000 h 6858000"/>
              <a:gd name="connsiteX333" fmla="*/ 3240805 w 7467600"/>
              <a:gd name="connsiteY333" fmla="*/ 6858000 h 6858000"/>
              <a:gd name="connsiteX334" fmla="*/ 3275917 w 7467600"/>
              <a:gd name="connsiteY334" fmla="*/ 6783192 h 6858000"/>
              <a:gd name="connsiteX335" fmla="*/ 3399358 w 7467600"/>
              <a:gd name="connsiteY335" fmla="*/ 6469011 h 6858000"/>
              <a:gd name="connsiteX336" fmla="*/ 3425650 w 7467600"/>
              <a:gd name="connsiteY336" fmla="*/ 6381333 h 6858000"/>
              <a:gd name="connsiteX337" fmla="*/ 3460661 w 7467600"/>
              <a:gd name="connsiteY337" fmla="*/ 6266763 h 6858000"/>
              <a:gd name="connsiteX338" fmla="*/ 3518021 w 7467600"/>
              <a:gd name="connsiteY338" fmla="*/ 6117298 h 6858000"/>
              <a:gd name="connsiteX339" fmla="*/ 3554035 w 7467600"/>
              <a:gd name="connsiteY339" fmla="*/ 6027832 h 6858000"/>
              <a:gd name="connsiteX340" fmla="*/ 3677174 w 7467600"/>
              <a:gd name="connsiteY340" fmla="*/ 5636351 h 6858000"/>
              <a:gd name="connsiteX341" fmla="*/ 3698819 w 7467600"/>
              <a:gd name="connsiteY341" fmla="*/ 5560503 h 6858000"/>
              <a:gd name="connsiteX342" fmla="*/ 3702094 w 7467600"/>
              <a:gd name="connsiteY342" fmla="*/ 5549194 h 6858000"/>
              <a:gd name="connsiteX343" fmla="*/ 3398355 w 7467600"/>
              <a:gd name="connsiteY343" fmla="*/ 6094603 h 6858000"/>
              <a:gd name="connsiteX344" fmla="*/ 3193941 w 7467600"/>
              <a:gd name="connsiteY344" fmla="*/ 6798775 h 6858000"/>
              <a:gd name="connsiteX345" fmla="*/ 3184140 w 7467600"/>
              <a:gd name="connsiteY345" fmla="*/ 6858000 h 6858000"/>
              <a:gd name="connsiteX346" fmla="*/ 3099978 w 7467600"/>
              <a:gd name="connsiteY346" fmla="*/ 6858000 h 6858000"/>
              <a:gd name="connsiteX347" fmla="*/ 3101556 w 7467600"/>
              <a:gd name="connsiteY347" fmla="*/ 6843337 h 6858000"/>
              <a:gd name="connsiteX348" fmla="*/ 3370162 w 7467600"/>
              <a:gd name="connsiteY348" fmla="*/ 5785550 h 6858000"/>
              <a:gd name="connsiteX349" fmla="*/ 3746477 w 7467600"/>
              <a:gd name="connsiteY349" fmla="*/ 5377889 h 6858000"/>
              <a:gd name="connsiteX350" fmla="*/ 3863399 w 7467600"/>
              <a:gd name="connsiteY350" fmla="*/ 5087257 h 6858000"/>
              <a:gd name="connsiteX351" fmla="*/ 3968712 w 7467600"/>
              <a:gd name="connsiteY351" fmla="*/ 4913989 h 6858000"/>
              <a:gd name="connsiteX352" fmla="*/ 2792390 w 7467600"/>
              <a:gd name="connsiteY352" fmla="*/ 5382974 h 6858000"/>
              <a:gd name="connsiteX353" fmla="*/ 2714982 w 7467600"/>
              <a:gd name="connsiteY353" fmla="*/ 5427051 h 6858000"/>
              <a:gd name="connsiteX354" fmla="*/ 2813361 w 7467600"/>
              <a:gd name="connsiteY354" fmla="*/ 6023912 h 6858000"/>
              <a:gd name="connsiteX355" fmla="*/ 2688430 w 7467600"/>
              <a:gd name="connsiteY355" fmla="*/ 6801564 h 6858000"/>
              <a:gd name="connsiteX356" fmla="*/ 2629626 w 7467600"/>
              <a:gd name="connsiteY356" fmla="*/ 6763394 h 6858000"/>
              <a:gd name="connsiteX357" fmla="*/ 2565328 w 7467600"/>
              <a:gd name="connsiteY357" fmla="*/ 5516399 h 6858000"/>
              <a:gd name="connsiteX358" fmla="*/ 1922999 w 7467600"/>
              <a:gd name="connsiteY358" fmla="*/ 5980343 h 6858000"/>
              <a:gd name="connsiteX359" fmla="*/ 1950261 w 7467600"/>
              <a:gd name="connsiteY359" fmla="*/ 6405858 h 6858000"/>
              <a:gd name="connsiteX360" fmla="*/ 2365554 w 7467600"/>
              <a:gd name="connsiteY360" fmla="*/ 6759107 h 6858000"/>
              <a:gd name="connsiteX361" fmla="*/ 2424142 w 7467600"/>
              <a:gd name="connsiteY361" fmla="*/ 6858000 h 6858000"/>
              <a:gd name="connsiteX362" fmla="*/ 2395994 w 7467600"/>
              <a:gd name="connsiteY362" fmla="*/ 6858000 h 6858000"/>
              <a:gd name="connsiteX363" fmla="*/ 2392863 w 7467600"/>
              <a:gd name="connsiteY363" fmla="*/ 6852964 h 6858000"/>
              <a:gd name="connsiteX364" fmla="*/ 2017589 w 7467600"/>
              <a:gd name="connsiteY364" fmla="*/ 6493982 h 6858000"/>
              <a:gd name="connsiteX365" fmla="*/ 2147336 w 7467600"/>
              <a:gd name="connsiteY365" fmla="*/ 6594052 h 6858000"/>
              <a:gd name="connsiteX366" fmla="*/ 2207047 w 7467600"/>
              <a:gd name="connsiteY366" fmla="*/ 6654540 h 6858000"/>
              <a:gd name="connsiteX367" fmla="*/ 2299106 w 7467600"/>
              <a:gd name="connsiteY367" fmla="*/ 6778931 h 6858000"/>
              <a:gd name="connsiteX368" fmla="*/ 2314430 w 7467600"/>
              <a:gd name="connsiteY368" fmla="*/ 6801144 h 6858000"/>
              <a:gd name="connsiteX369" fmla="*/ 2352406 w 7467600"/>
              <a:gd name="connsiteY369" fmla="*/ 6858000 h 6858000"/>
              <a:gd name="connsiteX370" fmla="*/ 2314492 w 7467600"/>
              <a:gd name="connsiteY370" fmla="*/ 6858000 h 6858000"/>
              <a:gd name="connsiteX371" fmla="*/ 2288095 w 7467600"/>
              <a:gd name="connsiteY371" fmla="*/ 6818030 h 6858000"/>
              <a:gd name="connsiteX372" fmla="*/ 2272768 w 7467600"/>
              <a:gd name="connsiteY372" fmla="*/ 6795822 h 6858000"/>
              <a:gd name="connsiteX373" fmla="*/ 2182715 w 7467600"/>
              <a:gd name="connsiteY373" fmla="*/ 6675071 h 6858000"/>
              <a:gd name="connsiteX374" fmla="*/ 2032061 w 7467600"/>
              <a:gd name="connsiteY374" fmla="*/ 6541380 h 6858000"/>
              <a:gd name="connsiteX375" fmla="*/ 2257220 w 7467600"/>
              <a:gd name="connsiteY375" fmla="*/ 6826257 h 6858000"/>
              <a:gd name="connsiteX376" fmla="*/ 2281324 w 7467600"/>
              <a:gd name="connsiteY376" fmla="*/ 6858000 h 6858000"/>
              <a:gd name="connsiteX377" fmla="*/ 2242860 w 7467600"/>
              <a:gd name="connsiteY377" fmla="*/ 6858000 h 6858000"/>
              <a:gd name="connsiteX378" fmla="*/ 2232818 w 7467600"/>
              <a:gd name="connsiteY378" fmla="*/ 6844926 h 6858000"/>
              <a:gd name="connsiteX379" fmla="*/ 1990172 w 7467600"/>
              <a:gd name="connsiteY379" fmla="*/ 6542121 h 6858000"/>
              <a:gd name="connsiteX380" fmla="*/ 2124090 w 7467600"/>
              <a:gd name="connsiteY380" fmla="*/ 6761017 h 6858000"/>
              <a:gd name="connsiteX381" fmla="*/ 2200380 w 7467600"/>
              <a:gd name="connsiteY381" fmla="*/ 6858000 h 6858000"/>
              <a:gd name="connsiteX382" fmla="*/ 2147507 w 7467600"/>
              <a:gd name="connsiteY382" fmla="*/ 6858000 h 6858000"/>
              <a:gd name="connsiteX383" fmla="*/ 2070668 w 7467600"/>
              <a:gd name="connsiteY383" fmla="*/ 6761520 h 6858000"/>
              <a:gd name="connsiteX384" fmla="*/ 1975142 w 7467600"/>
              <a:gd name="connsiteY384" fmla="*/ 6585570 h 6858000"/>
              <a:gd name="connsiteX385" fmla="*/ 2050035 w 7467600"/>
              <a:gd name="connsiteY385" fmla="*/ 6813345 h 6858000"/>
              <a:gd name="connsiteX386" fmla="*/ 2063025 w 7467600"/>
              <a:gd name="connsiteY386" fmla="*/ 6858000 h 6858000"/>
              <a:gd name="connsiteX387" fmla="*/ 2021675 w 7467600"/>
              <a:gd name="connsiteY387" fmla="*/ 6858000 h 6858000"/>
              <a:gd name="connsiteX388" fmla="*/ 2019308 w 7467600"/>
              <a:gd name="connsiteY388" fmla="*/ 6847118 h 6858000"/>
              <a:gd name="connsiteX389" fmla="*/ 1938835 w 7467600"/>
              <a:gd name="connsiteY389" fmla="*/ 6551160 h 6858000"/>
              <a:gd name="connsiteX390" fmla="*/ 1953230 w 7467600"/>
              <a:gd name="connsiteY390" fmla="*/ 6759699 h 6858000"/>
              <a:gd name="connsiteX391" fmla="*/ 1956763 w 7467600"/>
              <a:gd name="connsiteY391" fmla="*/ 6778191 h 6858000"/>
              <a:gd name="connsiteX392" fmla="*/ 1967925 w 7467600"/>
              <a:gd name="connsiteY392" fmla="*/ 6858000 h 6858000"/>
              <a:gd name="connsiteX393" fmla="*/ 1936622 w 7467600"/>
              <a:gd name="connsiteY393" fmla="*/ 6858000 h 6858000"/>
              <a:gd name="connsiteX394" fmla="*/ 1926261 w 7467600"/>
              <a:gd name="connsiteY394" fmla="*/ 6784064 h 6858000"/>
              <a:gd name="connsiteX395" fmla="*/ 1922724 w 7467600"/>
              <a:gd name="connsiteY395" fmla="*/ 6765577 h 6858000"/>
              <a:gd name="connsiteX396" fmla="*/ 1904650 w 7467600"/>
              <a:gd name="connsiteY396" fmla="*/ 6639616 h 6858000"/>
              <a:gd name="connsiteX397" fmla="*/ 1885273 w 7467600"/>
              <a:gd name="connsiteY397" fmla="*/ 6858000 h 6858000"/>
              <a:gd name="connsiteX398" fmla="*/ 1854363 w 7467600"/>
              <a:gd name="connsiteY398" fmla="*/ 6858000 h 6858000"/>
              <a:gd name="connsiteX399" fmla="*/ 1880391 w 7467600"/>
              <a:gd name="connsiteY399" fmla="*/ 6603796 h 6858000"/>
              <a:gd name="connsiteX400" fmla="*/ 1818273 w 7467600"/>
              <a:gd name="connsiteY400" fmla="*/ 6715729 h 6858000"/>
              <a:gd name="connsiteX401" fmla="*/ 1794691 w 7467600"/>
              <a:gd name="connsiteY401" fmla="*/ 6843239 h 6858000"/>
              <a:gd name="connsiteX402" fmla="*/ 1794914 w 7467600"/>
              <a:gd name="connsiteY402" fmla="*/ 6858000 h 6858000"/>
              <a:gd name="connsiteX403" fmla="*/ 1746128 w 7467600"/>
              <a:gd name="connsiteY403" fmla="*/ 6858000 h 6858000"/>
              <a:gd name="connsiteX404" fmla="*/ 1753934 w 7467600"/>
              <a:gd name="connsiteY404" fmla="*/ 6724796 h 6858000"/>
              <a:gd name="connsiteX405" fmla="*/ 1792053 w 7467600"/>
              <a:gd name="connsiteY405" fmla="*/ 6572396 h 6858000"/>
              <a:gd name="connsiteX406" fmla="*/ 1862248 w 7467600"/>
              <a:gd name="connsiteY406" fmla="*/ 6266397 h 6858000"/>
              <a:gd name="connsiteX407" fmla="*/ 1862250 w 7467600"/>
              <a:gd name="connsiteY407" fmla="*/ 6033531 h 6858000"/>
              <a:gd name="connsiteX408" fmla="*/ 1211999 w 7467600"/>
              <a:gd name="connsiteY408" fmla="*/ 6683610 h 6858000"/>
              <a:gd name="connsiteX409" fmla="*/ 1213266 w 7467600"/>
              <a:gd name="connsiteY409" fmla="*/ 6691947 h 6858000"/>
              <a:gd name="connsiteX410" fmla="*/ 1203370 w 7467600"/>
              <a:gd name="connsiteY410" fmla="*/ 6850676 h 6858000"/>
              <a:gd name="connsiteX411" fmla="*/ 1203671 w 7467600"/>
              <a:gd name="connsiteY411" fmla="*/ 6858000 h 6858000"/>
              <a:gd name="connsiteX412" fmla="*/ 1143180 w 7467600"/>
              <a:gd name="connsiteY412" fmla="*/ 6858000 h 6858000"/>
              <a:gd name="connsiteX413" fmla="*/ 1142176 w 7467600"/>
              <a:gd name="connsiteY413" fmla="*/ 6766045 h 6858000"/>
              <a:gd name="connsiteX414" fmla="*/ 1067484 w 7467600"/>
              <a:gd name="connsiteY414" fmla="*/ 6858000 h 6858000"/>
              <a:gd name="connsiteX415" fmla="*/ 953928 w 7467600"/>
              <a:gd name="connsiteY415" fmla="*/ 6858000 h 6858000"/>
              <a:gd name="connsiteX416" fmla="*/ 959715 w 7467600"/>
              <a:gd name="connsiteY416" fmla="*/ 6850185 h 6858000"/>
              <a:gd name="connsiteX417" fmla="*/ 1483788 w 7467600"/>
              <a:gd name="connsiteY417" fmla="*/ 6259174 h 6858000"/>
              <a:gd name="connsiteX418" fmla="*/ 1100671 w 7467600"/>
              <a:gd name="connsiteY418" fmla="*/ 6252137 h 6858000"/>
              <a:gd name="connsiteX419" fmla="*/ 1090144 w 7467600"/>
              <a:gd name="connsiteY419" fmla="*/ 6256748 h 6858000"/>
              <a:gd name="connsiteX420" fmla="*/ 1095872 w 7467600"/>
              <a:gd name="connsiteY420" fmla="*/ 6271892 h 6858000"/>
              <a:gd name="connsiteX421" fmla="*/ 262785 w 7467600"/>
              <a:gd name="connsiteY421" fmla="*/ 6845450 h 6858000"/>
              <a:gd name="connsiteX422" fmla="*/ 209968 w 7467600"/>
              <a:gd name="connsiteY422" fmla="*/ 6770713 h 6858000"/>
              <a:gd name="connsiteX423" fmla="*/ 873460 w 7467600"/>
              <a:gd name="connsiteY423" fmla="*/ 6253768 h 6858000"/>
              <a:gd name="connsiteX424" fmla="*/ 192686 w 7467600"/>
              <a:gd name="connsiteY424" fmla="*/ 5849257 h 6858000"/>
              <a:gd name="connsiteX425" fmla="*/ 4696 w 7467600"/>
              <a:gd name="connsiteY425" fmla="*/ 5697668 h 6858000"/>
              <a:gd name="connsiteX426" fmla="*/ 0 w 7467600"/>
              <a:gd name="connsiteY426" fmla="*/ 5689984 h 6858000"/>
              <a:gd name="connsiteX427" fmla="*/ 0 w 7467600"/>
              <a:gd name="connsiteY427" fmla="*/ 5513472 h 6858000"/>
              <a:gd name="connsiteX428" fmla="*/ 174101 w 7467600"/>
              <a:gd name="connsiteY428" fmla="*/ 5620277 h 6858000"/>
              <a:gd name="connsiteX429" fmla="*/ 891800 w 7467600"/>
              <a:gd name="connsiteY429" fmla="*/ 6036935 h 6858000"/>
              <a:gd name="connsiteX430" fmla="*/ 1072219 w 7467600"/>
              <a:gd name="connsiteY430" fmla="*/ 6169443 h 6858000"/>
              <a:gd name="connsiteX431" fmla="*/ 1074117 w 7467600"/>
              <a:gd name="connsiteY431" fmla="*/ 6170301 h 6858000"/>
              <a:gd name="connsiteX432" fmla="*/ 1083114 w 7467600"/>
              <a:gd name="connsiteY432" fmla="*/ 6174131 h 6858000"/>
              <a:gd name="connsiteX433" fmla="*/ 1543010 w 7467600"/>
              <a:gd name="connsiteY433" fmla="*/ 6191140 h 6858000"/>
              <a:gd name="connsiteX434" fmla="*/ 1551080 w 7467600"/>
              <a:gd name="connsiteY434" fmla="*/ 6195006 h 6858000"/>
              <a:gd name="connsiteX435" fmla="*/ 2345443 w 7467600"/>
              <a:gd name="connsiteY435" fmla="*/ 5549882 h 6858000"/>
              <a:gd name="connsiteX436" fmla="*/ 1721499 w 7467600"/>
              <a:gd name="connsiteY436" fmla="*/ 5599969 h 6858000"/>
              <a:gd name="connsiteX437" fmla="*/ 767716 w 7467600"/>
              <a:gd name="connsiteY437" fmla="*/ 5472768 h 6858000"/>
              <a:gd name="connsiteX438" fmla="*/ 722147 w 7467600"/>
              <a:gd name="connsiteY438" fmla="*/ 5393091 h 6858000"/>
              <a:gd name="connsiteX439" fmla="*/ 1485552 w 7467600"/>
              <a:gd name="connsiteY439" fmla="*/ 5313202 h 6858000"/>
              <a:gd name="connsiteX440" fmla="*/ 2143004 w 7467600"/>
              <a:gd name="connsiteY440" fmla="*/ 5402420 h 6858000"/>
              <a:gd name="connsiteX441" fmla="*/ 1933391 w 7467600"/>
              <a:gd name="connsiteY441" fmla="*/ 5156971 h 6858000"/>
              <a:gd name="connsiteX442" fmla="*/ 1827118 w 7467600"/>
              <a:gd name="connsiteY442" fmla="*/ 4968410 h 6858000"/>
              <a:gd name="connsiteX443" fmla="*/ 1837349 w 7467600"/>
              <a:gd name="connsiteY443" fmla="*/ 4956357 h 6858000"/>
              <a:gd name="connsiteX444" fmla="*/ 2162835 w 7467600"/>
              <a:gd name="connsiteY444" fmla="*/ 5187853 h 6858000"/>
              <a:gd name="connsiteX445" fmla="*/ 2257167 w 7467600"/>
              <a:gd name="connsiteY445" fmla="*/ 5462123 h 6858000"/>
              <a:gd name="connsiteX446" fmla="*/ 2261598 w 7467600"/>
              <a:gd name="connsiteY446" fmla="*/ 5467998 h 6858000"/>
              <a:gd name="connsiteX447" fmla="*/ 2437177 w 7467600"/>
              <a:gd name="connsiteY447" fmla="*/ 5479608 h 6858000"/>
              <a:gd name="connsiteX448" fmla="*/ 2445247 w 7467600"/>
              <a:gd name="connsiteY448" fmla="*/ 5483476 h 6858000"/>
              <a:gd name="connsiteX449" fmla="*/ 2743626 w 7467600"/>
              <a:gd name="connsiteY449" fmla="*/ 5304819 h 6858000"/>
              <a:gd name="connsiteX450" fmla="*/ 3048102 w 7467600"/>
              <a:gd name="connsiteY450" fmla="*/ 5150595 h 6858000"/>
              <a:gd name="connsiteX451" fmla="*/ 1799414 w 7467600"/>
              <a:gd name="connsiteY451" fmla="*/ 4694732 h 6858000"/>
              <a:gd name="connsiteX452" fmla="*/ 1771735 w 7467600"/>
              <a:gd name="connsiteY452" fmla="*/ 4619929 h 6858000"/>
              <a:gd name="connsiteX453" fmla="*/ 3104273 w 7467600"/>
              <a:gd name="connsiteY453" fmla="*/ 5076159 h 6858000"/>
              <a:gd name="connsiteX454" fmla="*/ 3113245 w 7467600"/>
              <a:gd name="connsiteY454" fmla="*/ 5090705 h 6858000"/>
              <a:gd name="connsiteX455" fmla="*/ 3126294 w 7467600"/>
              <a:gd name="connsiteY455" fmla="*/ 5114400 h 6858000"/>
              <a:gd name="connsiteX456" fmla="*/ 3937433 w 7467600"/>
              <a:gd name="connsiteY456" fmla="*/ 4830473 h 6858000"/>
              <a:gd name="connsiteX457" fmla="*/ 3590475 w 7467600"/>
              <a:gd name="connsiteY457" fmla="*/ 4597974 h 6858000"/>
              <a:gd name="connsiteX458" fmla="*/ 3100264 w 7467600"/>
              <a:gd name="connsiteY458" fmla="*/ 4579845 h 6858000"/>
              <a:gd name="connsiteX459" fmla="*/ 2183576 w 7467600"/>
              <a:gd name="connsiteY459" fmla="*/ 4227150 h 6858000"/>
              <a:gd name="connsiteX460" fmla="*/ 2151029 w 7467600"/>
              <a:gd name="connsiteY460" fmla="*/ 4146947 h 6858000"/>
              <a:gd name="connsiteX461" fmla="*/ 3563434 w 7467600"/>
              <a:gd name="connsiteY461" fmla="*/ 4469115 h 6858000"/>
              <a:gd name="connsiteX462" fmla="*/ 3177952 w 7467600"/>
              <a:gd name="connsiteY462" fmla="*/ 3657386 h 6858000"/>
              <a:gd name="connsiteX463" fmla="*/ 3189263 w 7467600"/>
              <a:gd name="connsiteY463" fmla="*/ 3625726 h 6858000"/>
              <a:gd name="connsiteX464" fmla="*/ 3560912 w 7467600"/>
              <a:gd name="connsiteY464" fmla="*/ 4079863 h 6858000"/>
              <a:gd name="connsiteX465" fmla="*/ 3626636 w 7467600"/>
              <a:gd name="connsiteY465" fmla="*/ 4512230 h 6858000"/>
              <a:gd name="connsiteX466" fmla="*/ 3653088 w 7467600"/>
              <a:gd name="connsiteY466" fmla="*/ 4521417 h 6858000"/>
              <a:gd name="connsiteX467" fmla="*/ 3988128 w 7467600"/>
              <a:gd name="connsiteY467" fmla="*/ 4817267 h 6858000"/>
              <a:gd name="connsiteX468" fmla="*/ 4830582 w 7467600"/>
              <a:gd name="connsiteY468" fmla="*/ 4676000 h 6858000"/>
              <a:gd name="connsiteX469" fmla="*/ 4830100 w 7467600"/>
              <a:gd name="connsiteY469" fmla="*/ 4675554 h 6858000"/>
              <a:gd name="connsiteX470" fmla="*/ 4036318 w 7467600"/>
              <a:gd name="connsiteY470" fmla="*/ 4147013 h 6858000"/>
              <a:gd name="connsiteX471" fmla="*/ 3432098 w 7467600"/>
              <a:gd name="connsiteY471" fmla="*/ 3537312 h 6858000"/>
              <a:gd name="connsiteX472" fmla="*/ 3446761 w 7467600"/>
              <a:gd name="connsiteY472" fmla="*/ 3461278 h 6858000"/>
              <a:gd name="connsiteX473" fmla="*/ 4419733 w 7467600"/>
              <a:gd name="connsiteY473" fmla="*/ 3963555 h 6858000"/>
              <a:gd name="connsiteX474" fmla="*/ 4781371 w 7467600"/>
              <a:gd name="connsiteY474" fmla="*/ 4458604 h 6858000"/>
              <a:gd name="connsiteX475" fmla="*/ 4780440 w 7467600"/>
              <a:gd name="connsiteY475" fmla="*/ 4470290 h 6858000"/>
              <a:gd name="connsiteX476" fmla="*/ 4898954 w 7467600"/>
              <a:gd name="connsiteY476" fmla="*/ 4662092 h 6858000"/>
              <a:gd name="connsiteX477" fmla="*/ 4900699 w 7467600"/>
              <a:gd name="connsiteY477" fmla="*/ 4670867 h 6858000"/>
              <a:gd name="connsiteX478" fmla="*/ 5714511 w 7467600"/>
              <a:gd name="connsiteY478" fmla="*/ 4663483 h 6858000"/>
              <a:gd name="connsiteX479" fmla="*/ 5464793 w 7467600"/>
              <a:gd name="connsiteY479" fmla="*/ 4393556 h 6858000"/>
              <a:gd name="connsiteX480" fmla="*/ 5461897 w 7467600"/>
              <a:gd name="connsiteY480" fmla="*/ 4390879 h 6858000"/>
              <a:gd name="connsiteX481" fmla="*/ 4294126 w 7467600"/>
              <a:gd name="connsiteY481" fmla="*/ 3303048 h 6858000"/>
              <a:gd name="connsiteX482" fmla="*/ 4305321 w 7467600"/>
              <a:gd name="connsiteY482" fmla="*/ 3256953 h 6858000"/>
              <a:gd name="connsiteX483" fmla="*/ 4949299 w 7467600"/>
              <a:gd name="connsiteY483" fmla="*/ 3766336 h 6858000"/>
              <a:gd name="connsiteX484" fmla="*/ 5291452 w 7467600"/>
              <a:gd name="connsiteY484" fmla="*/ 4076801 h 6858000"/>
              <a:gd name="connsiteX485" fmla="*/ 5434998 w 7467600"/>
              <a:gd name="connsiteY485" fmla="*/ 4254100 h 6858000"/>
              <a:gd name="connsiteX486" fmla="*/ 5351015 w 7467600"/>
              <a:gd name="connsiteY486" fmla="*/ 3760989 h 6858000"/>
              <a:gd name="connsiteX487" fmla="*/ 5413780 w 7467600"/>
              <a:gd name="connsiteY487" fmla="*/ 2966265 h 6858000"/>
              <a:gd name="connsiteX488" fmla="*/ 5425627 w 7467600"/>
              <a:gd name="connsiteY488" fmla="*/ 2954192 h 6858000"/>
              <a:gd name="connsiteX489" fmla="*/ 6604735 w 7467600"/>
              <a:gd name="connsiteY489" fmla="*/ 2041381 h 6858000"/>
              <a:gd name="connsiteX490" fmla="*/ 7204487 w 7467600"/>
              <a:gd name="connsiteY490" fmla="*/ 2742112 h 6858000"/>
              <a:gd name="connsiteX491" fmla="*/ 7131592 w 7467600"/>
              <a:gd name="connsiteY491" fmla="*/ 2672096 h 6858000"/>
              <a:gd name="connsiteX492" fmla="*/ 6996344 w 7467600"/>
              <a:gd name="connsiteY492" fmla="*/ 2518310 h 6858000"/>
              <a:gd name="connsiteX493" fmla="*/ 6735495 w 7467600"/>
              <a:gd name="connsiteY493" fmla="*/ 2196890 h 6858000"/>
              <a:gd name="connsiteX494" fmla="*/ 6721901 w 7467600"/>
              <a:gd name="connsiteY494" fmla="*/ 2179274 h 6858000"/>
              <a:gd name="connsiteX495" fmla="*/ 6604735 w 7467600"/>
              <a:gd name="connsiteY495" fmla="*/ 2041381 h 6858000"/>
              <a:gd name="connsiteX496" fmla="*/ 6591670 w 7467600"/>
              <a:gd name="connsiteY496" fmla="*/ 1988277 h 6858000"/>
              <a:gd name="connsiteX497" fmla="*/ 6747349 w 7467600"/>
              <a:gd name="connsiteY497" fmla="*/ 2160069 h 6858000"/>
              <a:gd name="connsiteX498" fmla="*/ 6760943 w 7467600"/>
              <a:gd name="connsiteY498" fmla="*/ 2177686 h 6858000"/>
              <a:gd name="connsiteX499" fmla="*/ 7021065 w 7467600"/>
              <a:gd name="connsiteY499" fmla="*/ 2498102 h 6858000"/>
              <a:gd name="connsiteX500" fmla="*/ 7155223 w 7467600"/>
              <a:gd name="connsiteY500" fmla="*/ 2650386 h 6858000"/>
              <a:gd name="connsiteX501" fmla="*/ 7203167 w 7467600"/>
              <a:gd name="connsiteY501" fmla="*/ 2697288 h 6858000"/>
              <a:gd name="connsiteX502" fmla="*/ 6937703 w 7467600"/>
              <a:gd name="connsiteY502" fmla="*/ 2321981 h 6858000"/>
              <a:gd name="connsiteX503" fmla="*/ 6591670 w 7467600"/>
              <a:gd name="connsiteY503" fmla="*/ 1988277 h 6858000"/>
              <a:gd name="connsiteX504" fmla="*/ 5798671 w 7467600"/>
              <a:gd name="connsiteY504" fmla="*/ 1981601 h 6858000"/>
              <a:gd name="connsiteX505" fmla="*/ 5754709 w 7467600"/>
              <a:gd name="connsiteY505" fmla="*/ 2071454 h 6858000"/>
              <a:gd name="connsiteX506" fmla="*/ 5763044 w 7467600"/>
              <a:gd name="connsiteY506" fmla="*/ 2842206 h 6858000"/>
              <a:gd name="connsiteX507" fmla="*/ 5764974 w 7467600"/>
              <a:gd name="connsiteY507" fmla="*/ 2799609 h 6858000"/>
              <a:gd name="connsiteX508" fmla="*/ 5767665 w 7467600"/>
              <a:gd name="connsiteY508" fmla="*/ 2666409 h 6858000"/>
              <a:gd name="connsiteX509" fmla="*/ 5763055 w 7467600"/>
              <a:gd name="connsiteY509" fmla="*/ 2579705 h 6858000"/>
              <a:gd name="connsiteX510" fmla="*/ 5758079 w 7467600"/>
              <a:gd name="connsiteY510" fmla="*/ 2492508 h 6858000"/>
              <a:gd name="connsiteX511" fmla="*/ 5779325 w 7467600"/>
              <a:gd name="connsiteY511" fmla="*/ 2197069 h 6858000"/>
              <a:gd name="connsiteX512" fmla="*/ 5798671 w 7467600"/>
              <a:gd name="connsiteY512" fmla="*/ 1981601 h 6858000"/>
              <a:gd name="connsiteX513" fmla="*/ 5829202 w 7467600"/>
              <a:gd name="connsiteY513" fmla="*/ 1971679 h 6858000"/>
              <a:gd name="connsiteX514" fmla="*/ 5809558 w 7467600"/>
              <a:gd name="connsiteY514" fmla="*/ 2198043 h 6858000"/>
              <a:gd name="connsiteX515" fmla="*/ 5788653 w 7467600"/>
              <a:gd name="connsiteY515" fmla="*/ 2489430 h 6858000"/>
              <a:gd name="connsiteX516" fmla="*/ 5793439 w 7467600"/>
              <a:gd name="connsiteY516" fmla="*/ 2575235 h 6858000"/>
              <a:gd name="connsiteX517" fmla="*/ 5796837 w 7467600"/>
              <a:gd name="connsiteY517" fmla="*/ 2637633 h 6858000"/>
              <a:gd name="connsiteX518" fmla="*/ 5818614 w 7467600"/>
              <a:gd name="connsiteY518" fmla="*/ 2473055 h 6858000"/>
              <a:gd name="connsiteX519" fmla="*/ 5829202 w 7467600"/>
              <a:gd name="connsiteY519" fmla="*/ 1971679 h 6858000"/>
              <a:gd name="connsiteX520" fmla="*/ 5911389 w 7467600"/>
              <a:gd name="connsiteY520" fmla="*/ 1898371 h 6858000"/>
              <a:gd name="connsiteX521" fmla="*/ 6237627 w 7467600"/>
              <a:gd name="connsiteY521" fmla="*/ 2231921 h 6858000"/>
              <a:gd name="connsiteX522" fmla="*/ 5911389 w 7467600"/>
              <a:gd name="connsiteY522" fmla="*/ 1898371 h 6858000"/>
              <a:gd name="connsiteX523" fmla="*/ 6944437 w 7467600"/>
              <a:gd name="connsiteY523" fmla="*/ 1575402 h 6858000"/>
              <a:gd name="connsiteX524" fmla="*/ 6304730 w 7467600"/>
              <a:gd name="connsiteY524" fmla="*/ 1766654 h 6858000"/>
              <a:gd name="connsiteX525" fmla="*/ 6944437 w 7467600"/>
              <a:gd name="connsiteY525" fmla="*/ 1575402 h 6858000"/>
              <a:gd name="connsiteX526" fmla="*/ 7019523 w 7467600"/>
              <a:gd name="connsiteY526" fmla="*/ 1519450 h 6858000"/>
              <a:gd name="connsiteX527" fmla="*/ 6298091 w 7467600"/>
              <a:gd name="connsiteY527" fmla="*/ 1737122 h 6858000"/>
              <a:gd name="connsiteX528" fmla="*/ 7019523 w 7467600"/>
              <a:gd name="connsiteY528" fmla="*/ 1519450 h 6858000"/>
              <a:gd name="connsiteX529" fmla="*/ 2399523 w 7467600"/>
              <a:gd name="connsiteY529" fmla="*/ 1428234 h 6858000"/>
              <a:gd name="connsiteX530" fmla="*/ 2224982 w 7467600"/>
              <a:gd name="connsiteY530" fmla="*/ 1826201 h 6858000"/>
              <a:gd name="connsiteX531" fmla="*/ 2096099 w 7467600"/>
              <a:gd name="connsiteY531" fmla="*/ 2345900 h 6858000"/>
              <a:gd name="connsiteX532" fmla="*/ 2283317 w 7467600"/>
              <a:gd name="connsiteY532" fmla="*/ 1796925 h 6858000"/>
              <a:gd name="connsiteX533" fmla="*/ 2399523 w 7467600"/>
              <a:gd name="connsiteY533" fmla="*/ 1428234 h 6858000"/>
              <a:gd name="connsiteX534" fmla="*/ 2448558 w 7467600"/>
              <a:gd name="connsiteY534" fmla="*/ 1373435 h 6858000"/>
              <a:gd name="connsiteX535" fmla="*/ 2312521 w 7467600"/>
              <a:gd name="connsiteY535" fmla="*/ 1806140 h 6858000"/>
              <a:gd name="connsiteX536" fmla="*/ 2127533 w 7467600"/>
              <a:gd name="connsiteY536" fmla="*/ 2348380 h 6858000"/>
              <a:gd name="connsiteX537" fmla="*/ 2358080 w 7467600"/>
              <a:gd name="connsiteY537" fmla="*/ 1866134 h 6858000"/>
              <a:gd name="connsiteX538" fmla="*/ 2407436 w 7467600"/>
              <a:gd name="connsiteY538" fmla="*/ 1651070 h 6858000"/>
              <a:gd name="connsiteX539" fmla="*/ 2448558 w 7467600"/>
              <a:gd name="connsiteY539" fmla="*/ 1373435 h 6858000"/>
              <a:gd name="connsiteX540" fmla="*/ 278707 w 7467600"/>
              <a:gd name="connsiteY540" fmla="*/ 1352270 h 6858000"/>
              <a:gd name="connsiteX541" fmla="*/ 321570 w 7467600"/>
              <a:gd name="connsiteY541" fmla="*/ 1861610 h 6858000"/>
              <a:gd name="connsiteX542" fmla="*/ 294281 w 7467600"/>
              <a:gd name="connsiteY542" fmla="*/ 1440658 h 6858000"/>
              <a:gd name="connsiteX543" fmla="*/ 278707 w 7467600"/>
              <a:gd name="connsiteY543" fmla="*/ 1352270 h 6858000"/>
              <a:gd name="connsiteX544" fmla="*/ 1423821 w 7467600"/>
              <a:gd name="connsiteY544" fmla="*/ 1351958 h 6858000"/>
              <a:gd name="connsiteX545" fmla="*/ 1638521 w 7467600"/>
              <a:gd name="connsiteY545" fmla="*/ 1908470 h 6858000"/>
              <a:gd name="connsiteX546" fmla="*/ 1754199 w 7467600"/>
              <a:gd name="connsiteY546" fmla="*/ 2149284 h 6858000"/>
              <a:gd name="connsiteX547" fmla="*/ 1908359 w 7467600"/>
              <a:gd name="connsiteY547" fmla="*/ 2364988 h 6858000"/>
              <a:gd name="connsiteX548" fmla="*/ 1647661 w 7467600"/>
              <a:gd name="connsiteY548" fmla="*/ 1825945 h 6858000"/>
              <a:gd name="connsiteX549" fmla="*/ 1423821 w 7467600"/>
              <a:gd name="connsiteY549" fmla="*/ 1351958 h 6858000"/>
              <a:gd name="connsiteX550" fmla="*/ 1431890 w 7467600"/>
              <a:gd name="connsiteY550" fmla="*/ 1306475 h 6858000"/>
              <a:gd name="connsiteX551" fmla="*/ 1507597 w 7467600"/>
              <a:gd name="connsiteY551" fmla="*/ 1446132 h 6858000"/>
              <a:gd name="connsiteX552" fmla="*/ 1674586 w 7467600"/>
              <a:gd name="connsiteY552" fmla="*/ 1813832 h 6858000"/>
              <a:gd name="connsiteX553" fmla="*/ 1815950 w 7467600"/>
              <a:gd name="connsiteY553" fmla="*/ 2128564 h 6858000"/>
              <a:gd name="connsiteX554" fmla="*/ 1984242 w 7467600"/>
              <a:gd name="connsiteY554" fmla="*/ 2430829 h 6858000"/>
              <a:gd name="connsiteX555" fmla="*/ 2014023 w 7467600"/>
              <a:gd name="connsiteY555" fmla="*/ 2450995 h 6858000"/>
              <a:gd name="connsiteX556" fmla="*/ 1747337 w 7467600"/>
              <a:gd name="connsiteY556" fmla="*/ 1855264 h 6858000"/>
              <a:gd name="connsiteX557" fmla="*/ 1533749 w 7467600"/>
              <a:gd name="connsiteY557" fmla="*/ 1478656 h 6858000"/>
              <a:gd name="connsiteX558" fmla="*/ 1431890 w 7467600"/>
              <a:gd name="connsiteY558" fmla="*/ 1306475 h 6858000"/>
              <a:gd name="connsiteX559" fmla="*/ 5052692 w 7467600"/>
              <a:gd name="connsiteY559" fmla="*/ 1292994 h 6858000"/>
              <a:gd name="connsiteX560" fmla="*/ 5200661 w 7467600"/>
              <a:gd name="connsiteY560" fmla="*/ 1635186 h 6858000"/>
              <a:gd name="connsiteX561" fmla="*/ 5297138 w 7467600"/>
              <a:gd name="connsiteY561" fmla="*/ 1906351 h 6858000"/>
              <a:gd name="connsiteX562" fmla="*/ 5052692 w 7467600"/>
              <a:gd name="connsiteY562" fmla="*/ 1292994 h 6858000"/>
              <a:gd name="connsiteX563" fmla="*/ 5009948 w 7467600"/>
              <a:gd name="connsiteY563" fmla="*/ 1273619 h 6858000"/>
              <a:gd name="connsiteX564" fmla="*/ 5121777 w 7467600"/>
              <a:gd name="connsiteY564" fmla="*/ 1654213 h 6858000"/>
              <a:gd name="connsiteX565" fmla="*/ 5293545 w 7467600"/>
              <a:gd name="connsiteY565" fmla="*/ 2072247 h 6858000"/>
              <a:gd name="connsiteX566" fmla="*/ 5294042 w 7467600"/>
              <a:gd name="connsiteY566" fmla="*/ 2065019 h 6858000"/>
              <a:gd name="connsiteX567" fmla="*/ 5171936 w 7467600"/>
              <a:gd name="connsiteY567" fmla="*/ 1647613 h 6858000"/>
              <a:gd name="connsiteX568" fmla="*/ 5009948 w 7467600"/>
              <a:gd name="connsiteY568" fmla="*/ 1273619 h 6858000"/>
              <a:gd name="connsiteX569" fmla="*/ 655236 w 7467600"/>
              <a:gd name="connsiteY569" fmla="*/ 1268632 h 6858000"/>
              <a:gd name="connsiteX570" fmla="*/ 839521 w 7467600"/>
              <a:gd name="connsiteY570" fmla="*/ 1685315 h 6858000"/>
              <a:gd name="connsiteX571" fmla="*/ 1109416 w 7467600"/>
              <a:gd name="connsiteY571" fmla="*/ 2061663 h 6858000"/>
              <a:gd name="connsiteX572" fmla="*/ 1298300 w 7467600"/>
              <a:gd name="connsiteY572" fmla="*/ 2247742 h 6858000"/>
              <a:gd name="connsiteX573" fmla="*/ 1125871 w 7467600"/>
              <a:gd name="connsiteY573" fmla="*/ 1989513 h 6858000"/>
              <a:gd name="connsiteX574" fmla="*/ 981574 w 7467600"/>
              <a:gd name="connsiteY574" fmla="*/ 1783157 h 6858000"/>
              <a:gd name="connsiteX575" fmla="*/ 922198 w 7467600"/>
              <a:gd name="connsiteY575" fmla="*/ 1677437 h 6858000"/>
              <a:gd name="connsiteX576" fmla="*/ 869293 w 7467600"/>
              <a:gd name="connsiteY576" fmla="*/ 1583214 h 6858000"/>
              <a:gd name="connsiteX577" fmla="*/ 751431 w 7467600"/>
              <a:gd name="connsiteY577" fmla="*/ 1405731 h 6858000"/>
              <a:gd name="connsiteX578" fmla="*/ 655236 w 7467600"/>
              <a:gd name="connsiteY578" fmla="*/ 1268632 h 6858000"/>
              <a:gd name="connsiteX579" fmla="*/ 6516292 w 7467600"/>
              <a:gd name="connsiteY579" fmla="*/ 1263064 h 6858000"/>
              <a:gd name="connsiteX580" fmla="*/ 5736320 w 7467600"/>
              <a:gd name="connsiteY580" fmla="*/ 1501803 h 6858000"/>
              <a:gd name="connsiteX581" fmla="*/ 6516292 w 7467600"/>
              <a:gd name="connsiteY581" fmla="*/ 1263064 h 6858000"/>
              <a:gd name="connsiteX582" fmla="*/ 291466 w 7467600"/>
              <a:gd name="connsiteY582" fmla="*/ 1250369 h 6858000"/>
              <a:gd name="connsiteX583" fmla="*/ 323180 w 7467600"/>
              <a:gd name="connsiteY583" fmla="*/ 1435283 h 6858000"/>
              <a:gd name="connsiteX584" fmla="*/ 349381 w 7467600"/>
              <a:gd name="connsiteY584" fmla="*/ 1875041 h 6858000"/>
              <a:gd name="connsiteX585" fmla="*/ 374363 w 7467600"/>
              <a:gd name="connsiteY585" fmla="*/ 1506494 h 6858000"/>
              <a:gd name="connsiteX586" fmla="*/ 302168 w 7467600"/>
              <a:gd name="connsiteY586" fmla="*/ 1274495 h 6858000"/>
              <a:gd name="connsiteX587" fmla="*/ 291466 w 7467600"/>
              <a:gd name="connsiteY587" fmla="*/ 1250369 h 6858000"/>
              <a:gd name="connsiteX588" fmla="*/ 678222 w 7467600"/>
              <a:gd name="connsiteY588" fmla="*/ 1248670 h 6858000"/>
              <a:gd name="connsiteX589" fmla="*/ 775536 w 7467600"/>
              <a:gd name="connsiteY589" fmla="*/ 1388015 h 6858000"/>
              <a:gd name="connsiteX590" fmla="*/ 894529 w 7467600"/>
              <a:gd name="connsiteY590" fmla="*/ 1567739 h 6858000"/>
              <a:gd name="connsiteX591" fmla="*/ 948000 w 7467600"/>
              <a:gd name="connsiteY591" fmla="*/ 1663088 h 6858000"/>
              <a:gd name="connsiteX592" fmla="*/ 1006812 w 7467600"/>
              <a:gd name="connsiteY592" fmla="*/ 1767683 h 6858000"/>
              <a:gd name="connsiteX593" fmla="*/ 1149133 w 7467600"/>
              <a:gd name="connsiteY593" fmla="*/ 1971513 h 6858000"/>
              <a:gd name="connsiteX594" fmla="*/ 1333952 w 7467600"/>
              <a:gd name="connsiteY594" fmla="*/ 2251620 h 6858000"/>
              <a:gd name="connsiteX595" fmla="*/ 1337329 w 7467600"/>
              <a:gd name="connsiteY595" fmla="*/ 2258350 h 6858000"/>
              <a:gd name="connsiteX596" fmla="*/ 1014726 w 7467600"/>
              <a:gd name="connsiteY596" fmla="*/ 1615556 h 6858000"/>
              <a:gd name="connsiteX597" fmla="*/ 678222 w 7467600"/>
              <a:gd name="connsiteY597" fmla="*/ 1248670 h 6858000"/>
              <a:gd name="connsiteX598" fmla="*/ 6691602 w 7467600"/>
              <a:gd name="connsiteY598" fmla="*/ 1140573 h 6858000"/>
              <a:gd name="connsiteX599" fmla="*/ 6571100 w 7467600"/>
              <a:gd name="connsiteY599" fmla="*/ 1183662 h 6858000"/>
              <a:gd name="connsiteX600" fmla="*/ 6241687 w 7467600"/>
              <a:gd name="connsiteY600" fmla="*/ 1257600 h 6858000"/>
              <a:gd name="connsiteX601" fmla="*/ 5693009 w 7467600"/>
              <a:gd name="connsiteY601" fmla="*/ 1478256 h 6858000"/>
              <a:gd name="connsiteX602" fmla="*/ 6548420 w 7467600"/>
              <a:gd name="connsiteY602" fmla="*/ 1214599 h 6858000"/>
              <a:gd name="connsiteX603" fmla="*/ 6605473 w 7467600"/>
              <a:gd name="connsiteY603" fmla="*/ 1184686 h 6858000"/>
              <a:gd name="connsiteX604" fmla="*/ 6691602 w 7467600"/>
              <a:gd name="connsiteY604" fmla="*/ 1140573 h 6858000"/>
              <a:gd name="connsiteX605" fmla="*/ 4002475 w 7467600"/>
              <a:gd name="connsiteY605" fmla="*/ 1037802 h 6858000"/>
              <a:gd name="connsiteX606" fmla="*/ 4000324 w 7467600"/>
              <a:gd name="connsiteY606" fmla="*/ 1039362 h 6858000"/>
              <a:gd name="connsiteX607" fmla="*/ 4002862 w 7467600"/>
              <a:gd name="connsiteY607" fmla="*/ 1042866 h 6858000"/>
              <a:gd name="connsiteX608" fmla="*/ 4002475 w 7467600"/>
              <a:gd name="connsiteY608" fmla="*/ 1037802 h 6858000"/>
              <a:gd name="connsiteX609" fmla="*/ 506322 w 7467600"/>
              <a:gd name="connsiteY609" fmla="*/ 1020997 h 6858000"/>
              <a:gd name="connsiteX610" fmla="*/ 533068 w 7467600"/>
              <a:gd name="connsiteY610" fmla="*/ 1029409 h 6858000"/>
              <a:gd name="connsiteX611" fmla="*/ 1232525 w 7467600"/>
              <a:gd name="connsiteY611" fmla="*/ 1804675 h 6858000"/>
              <a:gd name="connsiteX612" fmla="*/ 1388858 w 7467600"/>
              <a:gd name="connsiteY612" fmla="*/ 2368011 h 6858000"/>
              <a:gd name="connsiteX613" fmla="*/ 1384098 w 7467600"/>
              <a:gd name="connsiteY613" fmla="*/ 2378125 h 6858000"/>
              <a:gd name="connsiteX614" fmla="*/ 1425393 w 7467600"/>
              <a:gd name="connsiteY614" fmla="*/ 2589124 h 6858000"/>
              <a:gd name="connsiteX615" fmla="*/ 1424001 w 7467600"/>
              <a:gd name="connsiteY615" fmla="*/ 2597541 h 6858000"/>
              <a:gd name="connsiteX616" fmla="*/ 2152729 w 7467600"/>
              <a:gd name="connsiteY616" fmla="*/ 2864487 h 6858000"/>
              <a:gd name="connsiteX617" fmla="*/ 2020609 w 7467600"/>
              <a:gd name="connsiteY617" fmla="*/ 2539671 h 6858000"/>
              <a:gd name="connsiteX618" fmla="*/ 2018920 w 7467600"/>
              <a:gd name="connsiteY618" fmla="*/ 2536309 h 6858000"/>
              <a:gd name="connsiteX619" fmla="*/ 1342441 w 7467600"/>
              <a:gd name="connsiteY619" fmla="*/ 1173017 h 6858000"/>
              <a:gd name="connsiteX620" fmla="*/ 1367925 w 7467600"/>
              <a:gd name="connsiteY620" fmla="*/ 1135648 h 6858000"/>
              <a:gd name="connsiteX621" fmla="*/ 1771401 w 7467600"/>
              <a:gd name="connsiteY621" fmla="*/ 1806673 h 6858000"/>
              <a:gd name="connsiteX622" fmla="*/ 1972385 w 7467600"/>
              <a:gd name="connsiteY622" fmla="*/ 2198735 h 6858000"/>
              <a:gd name="connsiteX623" fmla="*/ 2040892 w 7467600"/>
              <a:gd name="connsiteY623" fmla="*/ 2405205 h 6858000"/>
              <a:gd name="connsiteX624" fmla="*/ 2131689 w 7467600"/>
              <a:gd name="connsiteY624" fmla="*/ 1936926 h 6858000"/>
              <a:gd name="connsiteX625" fmla="*/ 2454820 w 7467600"/>
              <a:gd name="connsiteY625" fmla="*/ 1248808 h 6858000"/>
              <a:gd name="connsiteX626" fmla="*/ 2492512 w 7467600"/>
              <a:gd name="connsiteY626" fmla="*/ 1302920 h 6858000"/>
              <a:gd name="connsiteX627" fmla="*/ 2081216 w 7467600"/>
              <a:gd name="connsiteY627" fmla="*/ 2527513 h 6858000"/>
              <a:gd name="connsiteX628" fmla="*/ 2081211 w 7467600"/>
              <a:gd name="connsiteY628" fmla="*/ 2528916 h 6858000"/>
              <a:gd name="connsiteX629" fmla="*/ 2199067 w 7467600"/>
              <a:gd name="connsiteY629" fmla="*/ 2884061 h 6858000"/>
              <a:gd name="connsiteX630" fmla="*/ 3192586 w 7467600"/>
              <a:gd name="connsiteY630" fmla="*/ 3411496 h 6858000"/>
              <a:gd name="connsiteX631" fmla="*/ 3182620 w 7467600"/>
              <a:gd name="connsiteY631" fmla="*/ 3483279 h 6858000"/>
              <a:gd name="connsiteX632" fmla="*/ 2435119 w 7467600"/>
              <a:gd name="connsiteY632" fmla="*/ 3080173 h 6858000"/>
              <a:gd name="connsiteX633" fmla="*/ 2410152 w 7467600"/>
              <a:gd name="connsiteY633" fmla="*/ 3063751 h 6858000"/>
              <a:gd name="connsiteX634" fmla="*/ 2408099 w 7467600"/>
              <a:gd name="connsiteY634" fmla="*/ 3064403 h 6858000"/>
              <a:gd name="connsiteX635" fmla="*/ 2407218 w 7467600"/>
              <a:gd name="connsiteY635" fmla="*/ 3070324 h 6858000"/>
              <a:gd name="connsiteX636" fmla="*/ 2380138 w 7467600"/>
              <a:gd name="connsiteY636" fmla="*/ 3099341 h 6858000"/>
              <a:gd name="connsiteX637" fmla="*/ 1765923 w 7467600"/>
              <a:gd name="connsiteY637" fmla="*/ 3581043 h 6858000"/>
              <a:gd name="connsiteX638" fmla="*/ 1702258 w 7467600"/>
              <a:gd name="connsiteY638" fmla="*/ 3612286 h 6858000"/>
              <a:gd name="connsiteX639" fmla="*/ 1538370 w 7467600"/>
              <a:gd name="connsiteY639" fmla="*/ 3811804 h 6858000"/>
              <a:gd name="connsiteX640" fmla="*/ 542867 w 7467600"/>
              <a:gd name="connsiteY640" fmla="*/ 4944092 h 6858000"/>
              <a:gd name="connsiteX641" fmla="*/ 515800 w 7467600"/>
              <a:gd name="connsiteY641" fmla="*/ 4862180 h 6858000"/>
              <a:gd name="connsiteX642" fmla="*/ 909145 w 7467600"/>
              <a:gd name="connsiteY642" fmla="*/ 4199225 h 6858000"/>
              <a:gd name="connsiteX643" fmla="*/ 1214067 w 7467600"/>
              <a:gd name="connsiteY643" fmla="*/ 3908561 h 6858000"/>
              <a:gd name="connsiteX644" fmla="*/ 640967 w 7467600"/>
              <a:gd name="connsiteY644" fmla="*/ 4105601 h 6858000"/>
              <a:gd name="connsiteX645" fmla="*/ 112563 w 7467600"/>
              <a:gd name="connsiteY645" fmla="*/ 4396952 h 6858000"/>
              <a:gd name="connsiteX646" fmla="*/ 0 w 7467600"/>
              <a:gd name="connsiteY646" fmla="*/ 4466006 h 6858000"/>
              <a:gd name="connsiteX647" fmla="*/ 0 w 7467600"/>
              <a:gd name="connsiteY647" fmla="*/ 4233763 h 6858000"/>
              <a:gd name="connsiteX648" fmla="*/ 36881 w 7467600"/>
              <a:gd name="connsiteY648" fmla="*/ 4200118 h 6858000"/>
              <a:gd name="connsiteX649" fmla="*/ 910534 w 7467600"/>
              <a:gd name="connsiteY649" fmla="*/ 3629753 h 6858000"/>
              <a:gd name="connsiteX650" fmla="*/ 1578717 w 7467600"/>
              <a:gd name="connsiteY650" fmla="*/ 3575982 h 6858000"/>
              <a:gd name="connsiteX651" fmla="*/ 2338780 w 7467600"/>
              <a:gd name="connsiteY651" fmla="*/ 3033725 h 6858000"/>
              <a:gd name="connsiteX652" fmla="*/ 1807991 w 7467600"/>
              <a:gd name="connsiteY652" fmla="*/ 2807184 h 6858000"/>
              <a:gd name="connsiteX653" fmla="*/ 1416358 w 7467600"/>
              <a:gd name="connsiteY653" fmla="*/ 3112571 h 6858000"/>
              <a:gd name="connsiteX654" fmla="*/ 939066 w 7467600"/>
              <a:gd name="connsiteY654" fmla="*/ 3378798 h 6858000"/>
              <a:gd name="connsiteX655" fmla="*/ 115099 w 7467600"/>
              <a:gd name="connsiteY655" fmla="*/ 3607650 h 6858000"/>
              <a:gd name="connsiteX656" fmla="*/ 97284 w 7467600"/>
              <a:gd name="connsiteY656" fmla="*/ 3520393 h 6858000"/>
              <a:gd name="connsiteX657" fmla="*/ 922050 w 7467600"/>
              <a:gd name="connsiteY657" fmla="*/ 3074867 h 6858000"/>
              <a:gd name="connsiteX658" fmla="*/ 1405265 w 7467600"/>
              <a:gd name="connsiteY658" fmla="*/ 3016319 h 6858000"/>
              <a:gd name="connsiteX659" fmla="*/ 1407512 w 7467600"/>
              <a:gd name="connsiteY659" fmla="*/ 3018001 h 6858000"/>
              <a:gd name="connsiteX660" fmla="*/ 1726266 w 7467600"/>
              <a:gd name="connsiteY660" fmla="*/ 2777274 h 6858000"/>
              <a:gd name="connsiteX661" fmla="*/ 625390 w 7467600"/>
              <a:gd name="connsiteY661" fmla="*/ 2514541 h 6858000"/>
              <a:gd name="connsiteX662" fmla="*/ 619799 w 7467600"/>
              <a:gd name="connsiteY662" fmla="*/ 2527180 h 6858000"/>
              <a:gd name="connsiteX663" fmla="*/ 310030 w 7467600"/>
              <a:gd name="connsiteY663" fmla="*/ 2771818 h 6858000"/>
              <a:gd name="connsiteX664" fmla="*/ 173877 w 7467600"/>
              <a:gd name="connsiteY664" fmla="*/ 2937056 h 6858000"/>
              <a:gd name="connsiteX665" fmla="*/ 77889 w 7467600"/>
              <a:gd name="connsiteY665" fmla="*/ 3138440 h 6858000"/>
              <a:gd name="connsiteX666" fmla="*/ 0 w 7467600"/>
              <a:gd name="connsiteY666" fmla="*/ 3271395 h 6858000"/>
              <a:gd name="connsiteX667" fmla="*/ 0 w 7467600"/>
              <a:gd name="connsiteY667" fmla="*/ 3153002 h 6858000"/>
              <a:gd name="connsiteX668" fmla="*/ 2386 w 7467600"/>
              <a:gd name="connsiteY668" fmla="*/ 3149203 h 6858000"/>
              <a:gd name="connsiteX669" fmla="*/ 89753 w 7467600"/>
              <a:gd name="connsiteY669" fmla="*/ 2987702 h 6858000"/>
              <a:gd name="connsiteX670" fmla="*/ 76869 w 7467600"/>
              <a:gd name="connsiteY670" fmla="*/ 3005404 h 6858000"/>
              <a:gd name="connsiteX671" fmla="*/ 32049 w 7467600"/>
              <a:gd name="connsiteY671" fmla="*/ 3065814 h 6858000"/>
              <a:gd name="connsiteX672" fmla="*/ 0 w 7467600"/>
              <a:gd name="connsiteY672" fmla="*/ 3108744 h 6858000"/>
              <a:gd name="connsiteX673" fmla="*/ 0 w 7467600"/>
              <a:gd name="connsiteY673" fmla="*/ 3058059 h 6858000"/>
              <a:gd name="connsiteX674" fmla="*/ 7610 w 7467600"/>
              <a:gd name="connsiteY674" fmla="*/ 3047889 h 6858000"/>
              <a:gd name="connsiteX675" fmla="*/ 52419 w 7467600"/>
              <a:gd name="connsiteY675" fmla="*/ 2987479 h 6858000"/>
              <a:gd name="connsiteX676" fmla="*/ 59142 w 7467600"/>
              <a:gd name="connsiteY676" fmla="*/ 2978488 h 6858000"/>
              <a:gd name="connsiteX677" fmla="*/ 0 w 7467600"/>
              <a:gd name="connsiteY677" fmla="*/ 3015334 h 6858000"/>
              <a:gd name="connsiteX678" fmla="*/ 0 w 7467600"/>
              <a:gd name="connsiteY678" fmla="*/ 2914286 h 6858000"/>
              <a:gd name="connsiteX679" fmla="*/ 36383 w 7467600"/>
              <a:gd name="connsiteY679" fmla="*/ 2901128 h 6858000"/>
              <a:gd name="connsiteX680" fmla="*/ 156329 w 7467600"/>
              <a:gd name="connsiteY680" fmla="*/ 2840533 h 6858000"/>
              <a:gd name="connsiteX681" fmla="*/ 358355 w 7467600"/>
              <a:gd name="connsiteY681" fmla="*/ 2620471 h 6858000"/>
              <a:gd name="connsiteX682" fmla="*/ 510577 w 7467600"/>
              <a:gd name="connsiteY682" fmla="*/ 2501244 h 6858000"/>
              <a:gd name="connsiteX683" fmla="*/ 211967 w 7467600"/>
              <a:gd name="connsiteY683" fmla="*/ 2479171 h 6858000"/>
              <a:gd name="connsiteX684" fmla="*/ 0 w 7467600"/>
              <a:gd name="connsiteY684" fmla="*/ 2476398 h 6858000"/>
              <a:gd name="connsiteX685" fmla="*/ 0 w 7467600"/>
              <a:gd name="connsiteY685" fmla="*/ 2389189 h 6858000"/>
              <a:gd name="connsiteX686" fmla="*/ 103062 w 7467600"/>
              <a:gd name="connsiteY686" fmla="*/ 2389518 h 6858000"/>
              <a:gd name="connsiteX687" fmla="*/ 510734 w 7467600"/>
              <a:gd name="connsiteY687" fmla="*/ 2416201 h 6858000"/>
              <a:gd name="connsiteX688" fmla="*/ 279257 w 7467600"/>
              <a:gd name="connsiteY688" fmla="*/ 2092102 h 6858000"/>
              <a:gd name="connsiteX689" fmla="*/ 65265 w 7467600"/>
              <a:gd name="connsiteY689" fmla="*/ 2006049 h 6858000"/>
              <a:gd name="connsiteX690" fmla="*/ 0 w 7467600"/>
              <a:gd name="connsiteY690" fmla="*/ 1982532 h 6858000"/>
              <a:gd name="connsiteX691" fmla="*/ 0 w 7467600"/>
              <a:gd name="connsiteY691" fmla="*/ 1912789 h 6858000"/>
              <a:gd name="connsiteX692" fmla="*/ 97460 w 7467600"/>
              <a:gd name="connsiteY692" fmla="*/ 1953725 h 6858000"/>
              <a:gd name="connsiteX693" fmla="*/ 221272 w 7467600"/>
              <a:gd name="connsiteY693" fmla="*/ 1980766 h 6858000"/>
              <a:gd name="connsiteX694" fmla="*/ 116765 w 7467600"/>
              <a:gd name="connsiteY694" fmla="*/ 1911033 h 6858000"/>
              <a:gd name="connsiteX695" fmla="*/ 16405 w 7467600"/>
              <a:gd name="connsiteY695" fmla="*/ 1803412 h 6858000"/>
              <a:gd name="connsiteX696" fmla="*/ 0 w 7467600"/>
              <a:gd name="connsiteY696" fmla="*/ 1784777 h 6858000"/>
              <a:gd name="connsiteX697" fmla="*/ 0 w 7467600"/>
              <a:gd name="connsiteY697" fmla="*/ 1740082 h 6858000"/>
              <a:gd name="connsiteX698" fmla="*/ 39394 w 7467600"/>
              <a:gd name="connsiteY698" fmla="*/ 1784856 h 6858000"/>
              <a:gd name="connsiteX699" fmla="*/ 135813 w 7467600"/>
              <a:gd name="connsiteY699" fmla="*/ 1888838 h 6858000"/>
              <a:gd name="connsiteX700" fmla="*/ 242575 w 7467600"/>
              <a:gd name="connsiteY700" fmla="*/ 1958841 h 6858000"/>
              <a:gd name="connsiteX701" fmla="*/ 82197 w 7467600"/>
              <a:gd name="connsiteY701" fmla="*/ 1754826 h 6858000"/>
              <a:gd name="connsiteX702" fmla="*/ 0 w 7467600"/>
              <a:gd name="connsiteY702" fmla="*/ 1679650 h 6858000"/>
              <a:gd name="connsiteX703" fmla="*/ 0 w 7467600"/>
              <a:gd name="connsiteY703" fmla="*/ 1602463 h 6858000"/>
              <a:gd name="connsiteX704" fmla="*/ 84689 w 7467600"/>
              <a:gd name="connsiteY704" fmla="*/ 1677442 h 6858000"/>
              <a:gd name="connsiteX705" fmla="*/ 298437 w 7467600"/>
              <a:gd name="connsiteY705" fmla="*/ 1968019 h 6858000"/>
              <a:gd name="connsiteX706" fmla="*/ 227269 w 7467600"/>
              <a:gd name="connsiteY706" fmla="*/ 1114064 h 6858000"/>
              <a:gd name="connsiteX707" fmla="*/ 248003 w 7467600"/>
              <a:gd name="connsiteY707" fmla="*/ 1089613 h 6858000"/>
              <a:gd name="connsiteX708" fmla="*/ 427020 w 7467600"/>
              <a:gd name="connsiteY708" fmla="*/ 1619803 h 6858000"/>
              <a:gd name="connsiteX709" fmla="*/ 340345 w 7467600"/>
              <a:gd name="connsiteY709" fmla="*/ 2027739 h 6858000"/>
              <a:gd name="connsiteX710" fmla="*/ 360865 w 7467600"/>
              <a:gd name="connsiteY710" fmla="*/ 2044827 h 6858000"/>
              <a:gd name="connsiteX711" fmla="*/ 560414 w 7467600"/>
              <a:gd name="connsiteY711" fmla="*/ 2421457 h 6858000"/>
              <a:gd name="connsiteX712" fmla="*/ 1359703 w 7467600"/>
              <a:gd name="connsiteY712" fmla="*/ 2578554 h 6858000"/>
              <a:gd name="connsiteX713" fmla="*/ 1359422 w 7467600"/>
              <a:gd name="connsiteY713" fmla="*/ 2577994 h 6858000"/>
              <a:gd name="connsiteX714" fmla="*/ 828701 w 7467600"/>
              <a:gd name="connsiteY714" fmla="*/ 1839520 h 6858000"/>
              <a:gd name="connsiteX715" fmla="*/ 494427 w 7467600"/>
              <a:gd name="connsiteY715" fmla="*/ 1092333 h 6858000"/>
              <a:gd name="connsiteX716" fmla="*/ 506322 w 7467600"/>
              <a:gd name="connsiteY716" fmla="*/ 1020997 h 6858000"/>
              <a:gd name="connsiteX717" fmla="*/ 4570198 w 7467600"/>
              <a:gd name="connsiteY717" fmla="*/ 978081 h 6858000"/>
              <a:gd name="connsiteX718" fmla="*/ 4523691 w 7467600"/>
              <a:gd name="connsiteY718" fmla="*/ 1127776 h 6858000"/>
              <a:gd name="connsiteX719" fmla="*/ 4509875 w 7467600"/>
              <a:gd name="connsiteY719" fmla="*/ 1167552 h 6858000"/>
              <a:gd name="connsiteX720" fmla="*/ 4478168 w 7467600"/>
              <a:gd name="connsiteY720" fmla="*/ 1260735 h 6858000"/>
              <a:gd name="connsiteX721" fmla="*/ 4409309 w 7467600"/>
              <a:gd name="connsiteY721" fmla="*/ 1666996 h 6858000"/>
              <a:gd name="connsiteX722" fmla="*/ 4370031 w 7467600"/>
              <a:gd name="connsiteY722" fmla="*/ 1955666 h 6858000"/>
              <a:gd name="connsiteX723" fmla="*/ 4570198 w 7467600"/>
              <a:gd name="connsiteY723" fmla="*/ 978081 h 6858000"/>
              <a:gd name="connsiteX724" fmla="*/ 4557898 w 7467600"/>
              <a:gd name="connsiteY724" fmla="*/ 900011 h 6858000"/>
              <a:gd name="connsiteX725" fmla="*/ 4344840 w 7467600"/>
              <a:gd name="connsiteY725" fmla="*/ 1922038 h 6858000"/>
              <a:gd name="connsiteX726" fmla="*/ 4378710 w 7467600"/>
              <a:gd name="connsiteY726" fmla="*/ 1665516 h 6858000"/>
              <a:gd name="connsiteX727" fmla="*/ 4448798 w 7467600"/>
              <a:gd name="connsiteY727" fmla="*/ 1253024 h 6858000"/>
              <a:gd name="connsiteX728" fmla="*/ 4480315 w 7467600"/>
              <a:gd name="connsiteY728" fmla="*/ 1158454 h 6858000"/>
              <a:gd name="connsiteX729" fmla="*/ 4494133 w 7467600"/>
              <a:gd name="connsiteY729" fmla="*/ 1118676 h 6858000"/>
              <a:gd name="connsiteX730" fmla="*/ 4557898 w 7467600"/>
              <a:gd name="connsiteY730" fmla="*/ 900011 h 6858000"/>
              <a:gd name="connsiteX731" fmla="*/ 5870151 w 7467600"/>
              <a:gd name="connsiteY731" fmla="*/ 898890 h 6858000"/>
              <a:gd name="connsiteX732" fmla="*/ 5861335 w 7467600"/>
              <a:gd name="connsiteY732" fmla="*/ 899177 h 6858000"/>
              <a:gd name="connsiteX733" fmla="*/ 5843702 w 7467600"/>
              <a:gd name="connsiteY733" fmla="*/ 899748 h 6858000"/>
              <a:gd name="connsiteX734" fmla="*/ 5651107 w 7467600"/>
              <a:gd name="connsiteY734" fmla="*/ 920306 h 6858000"/>
              <a:gd name="connsiteX735" fmla="*/ 5459407 w 7467600"/>
              <a:gd name="connsiteY735" fmla="*/ 940975 h 6858000"/>
              <a:gd name="connsiteX736" fmla="*/ 5374846 w 7467600"/>
              <a:gd name="connsiteY736" fmla="*/ 941988 h 6858000"/>
              <a:gd name="connsiteX737" fmla="*/ 5256105 w 7467600"/>
              <a:gd name="connsiteY737" fmla="*/ 945632 h 6858000"/>
              <a:gd name="connsiteX738" fmla="*/ 5107071 w 7467600"/>
              <a:gd name="connsiteY738" fmla="*/ 969720 h 6858000"/>
              <a:gd name="connsiteX739" fmla="*/ 4998681 w 7467600"/>
              <a:gd name="connsiteY739" fmla="*/ 988771 h 6858000"/>
              <a:gd name="connsiteX740" fmla="*/ 5870151 w 7467600"/>
              <a:gd name="connsiteY740" fmla="*/ 898890 h 6858000"/>
              <a:gd name="connsiteX741" fmla="*/ 5504425 w 7467600"/>
              <a:gd name="connsiteY741" fmla="*/ 848067 h 6858000"/>
              <a:gd name="connsiteX742" fmla="*/ 4968849 w 7467600"/>
              <a:gd name="connsiteY742" fmla="*/ 962318 h 6858000"/>
              <a:gd name="connsiteX743" fmla="*/ 5104039 w 7467600"/>
              <a:gd name="connsiteY743" fmla="*/ 940634 h 6858000"/>
              <a:gd name="connsiteX744" fmla="*/ 5256311 w 7467600"/>
              <a:gd name="connsiteY744" fmla="*/ 916490 h 6858000"/>
              <a:gd name="connsiteX745" fmla="*/ 5377381 w 7467600"/>
              <a:gd name="connsiteY745" fmla="*/ 912671 h 6858000"/>
              <a:gd name="connsiteX746" fmla="*/ 5460148 w 7467600"/>
              <a:gd name="connsiteY746" fmla="*/ 911442 h 6858000"/>
              <a:gd name="connsiteX747" fmla="*/ 5648971 w 7467600"/>
              <a:gd name="connsiteY747" fmla="*/ 891331 h 6858000"/>
              <a:gd name="connsiteX748" fmla="*/ 5844807 w 7467600"/>
              <a:gd name="connsiteY748" fmla="*/ 870718 h 6858000"/>
              <a:gd name="connsiteX749" fmla="*/ 5862975 w 7467600"/>
              <a:gd name="connsiteY749" fmla="*/ 869756 h 6858000"/>
              <a:gd name="connsiteX750" fmla="*/ 5920887 w 7467600"/>
              <a:gd name="connsiteY750" fmla="*/ 865929 h 6858000"/>
              <a:gd name="connsiteX751" fmla="*/ 5504425 w 7467600"/>
              <a:gd name="connsiteY751" fmla="*/ 848067 h 6858000"/>
              <a:gd name="connsiteX752" fmla="*/ 3607114 w 7467600"/>
              <a:gd name="connsiteY752" fmla="*/ 467441 h 6858000"/>
              <a:gd name="connsiteX753" fmla="*/ 3296242 w 7467600"/>
              <a:gd name="connsiteY753" fmla="*/ 807991 h 6858000"/>
              <a:gd name="connsiteX754" fmla="*/ 3174674 w 7467600"/>
              <a:gd name="connsiteY754" fmla="*/ 919759 h 6858000"/>
              <a:gd name="connsiteX755" fmla="*/ 3042978 w 7467600"/>
              <a:gd name="connsiteY755" fmla="*/ 1054894 h 6858000"/>
              <a:gd name="connsiteX756" fmla="*/ 2968914 w 7467600"/>
              <a:gd name="connsiteY756" fmla="*/ 1133756 h 6858000"/>
              <a:gd name="connsiteX757" fmla="*/ 3103823 w 7467600"/>
              <a:gd name="connsiteY757" fmla="*/ 1026814 h 6858000"/>
              <a:gd name="connsiteX758" fmla="*/ 3607114 w 7467600"/>
              <a:gd name="connsiteY758" fmla="*/ 467441 h 6858000"/>
              <a:gd name="connsiteX759" fmla="*/ 3744487 w 7467600"/>
              <a:gd name="connsiteY759" fmla="*/ 383136 h 6858000"/>
              <a:gd name="connsiteX760" fmla="*/ 3970213 w 7467600"/>
              <a:gd name="connsiteY760" fmla="*/ 995559 h 6858000"/>
              <a:gd name="connsiteX761" fmla="*/ 3744487 w 7467600"/>
              <a:gd name="connsiteY761" fmla="*/ 383136 h 6858000"/>
              <a:gd name="connsiteX762" fmla="*/ 3624562 w 7467600"/>
              <a:gd name="connsiteY762" fmla="*/ 367041 h 6858000"/>
              <a:gd name="connsiteX763" fmla="*/ 3489712 w 7467600"/>
              <a:gd name="connsiteY763" fmla="*/ 485386 h 6858000"/>
              <a:gd name="connsiteX764" fmla="*/ 3182994 w 7467600"/>
              <a:gd name="connsiteY764" fmla="*/ 828265 h 6858000"/>
              <a:gd name="connsiteX765" fmla="*/ 2892114 w 7467600"/>
              <a:gd name="connsiteY765" fmla="*/ 1172635 h 6858000"/>
              <a:gd name="connsiteX766" fmla="*/ 3021459 w 7467600"/>
              <a:gd name="connsiteY766" fmla="*/ 1035385 h 6858000"/>
              <a:gd name="connsiteX767" fmla="*/ 3153873 w 7467600"/>
              <a:gd name="connsiteY767" fmla="*/ 898971 h 6858000"/>
              <a:gd name="connsiteX768" fmla="*/ 3276511 w 7467600"/>
              <a:gd name="connsiteY768" fmla="*/ 786423 h 6858000"/>
              <a:gd name="connsiteX769" fmla="*/ 3584154 w 7467600"/>
              <a:gd name="connsiteY769" fmla="*/ 448218 h 6858000"/>
              <a:gd name="connsiteX770" fmla="*/ 3624562 w 7467600"/>
              <a:gd name="connsiteY770" fmla="*/ 367041 h 6858000"/>
              <a:gd name="connsiteX771" fmla="*/ 3766672 w 7467600"/>
              <a:gd name="connsiteY771" fmla="*/ 359429 h 6858000"/>
              <a:gd name="connsiteX772" fmla="*/ 3996338 w 7467600"/>
              <a:gd name="connsiteY772" fmla="*/ 968237 h 6858000"/>
              <a:gd name="connsiteX773" fmla="*/ 3766672 w 7467600"/>
              <a:gd name="connsiteY773" fmla="*/ 359429 h 6858000"/>
              <a:gd name="connsiteX774" fmla="*/ 5805386 w 7467600"/>
              <a:gd name="connsiteY774" fmla="*/ 239240 h 6858000"/>
              <a:gd name="connsiteX775" fmla="*/ 5736947 w 7467600"/>
              <a:gd name="connsiteY775" fmla="*/ 261367 h 6858000"/>
              <a:gd name="connsiteX776" fmla="*/ 5427012 w 7467600"/>
              <a:gd name="connsiteY776" fmla="*/ 311272 h 6858000"/>
              <a:gd name="connsiteX777" fmla="*/ 5147818 w 7467600"/>
              <a:gd name="connsiteY777" fmla="*/ 322112 h 6858000"/>
              <a:gd name="connsiteX778" fmla="*/ 5060854 w 7467600"/>
              <a:gd name="connsiteY778" fmla="*/ 311882 h 6858000"/>
              <a:gd name="connsiteX779" fmla="*/ 4945989 w 7467600"/>
              <a:gd name="connsiteY779" fmla="*/ 300516 h 6858000"/>
              <a:gd name="connsiteX780" fmla="*/ 5410479 w 7467600"/>
              <a:gd name="connsiteY780" fmla="*/ 348434 h 6858000"/>
              <a:gd name="connsiteX781" fmla="*/ 5805386 w 7467600"/>
              <a:gd name="connsiteY781" fmla="*/ 239240 h 6858000"/>
              <a:gd name="connsiteX782" fmla="*/ 5905192 w 7467600"/>
              <a:gd name="connsiteY782" fmla="*/ 163079 h 6858000"/>
              <a:gd name="connsiteX783" fmla="*/ 5865655 w 7467600"/>
              <a:gd name="connsiteY783" fmla="*/ 171901 h 6858000"/>
              <a:gd name="connsiteX784" fmla="*/ 5259740 w 7467600"/>
              <a:gd name="connsiteY784" fmla="*/ 257013 h 6858000"/>
              <a:gd name="connsiteX785" fmla="*/ 5208466 w 7467600"/>
              <a:gd name="connsiteY785" fmla="*/ 257550 h 6858000"/>
              <a:gd name="connsiteX786" fmla="*/ 4980204 w 7467600"/>
              <a:gd name="connsiteY786" fmla="*/ 271903 h 6858000"/>
              <a:gd name="connsiteX787" fmla="*/ 5068068 w 7467600"/>
              <a:gd name="connsiteY787" fmla="*/ 282244 h 6858000"/>
              <a:gd name="connsiteX788" fmla="*/ 5153231 w 7467600"/>
              <a:gd name="connsiteY788" fmla="*/ 292240 h 6858000"/>
              <a:gd name="connsiteX789" fmla="*/ 5426491 w 7467600"/>
              <a:gd name="connsiteY789" fmla="*/ 281128 h 6858000"/>
              <a:gd name="connsiteX790" fmla="*/ 5731212 w 7467600"/>
              <a:gd name="connsiteY790" fmla="*/ 231951 h 6858000"/>
              <a:gd name="connsiteX791" fmla="*/ 5905192 w 7467600"/>
              <a:gd name="connsiteY791" fmla="*/ 163079 h 6858000"/>
              <a:gd name="connsiteX792" fmla="*/ 5944437 w 7467600"/>
              <a:gd name="connsiteY792" fmla="*/ 113829 h 6858000"/>
              <a:gd name="connsiteX793" fmla="*/ 5825032 w 7467600"/>
              <a:gd name="connsiteY793" fmla="*/ 146405 h 6858000"/>
              <a:gd name="connsiteX794" fmla="*/ 4955599 w 7467600"/>
              <a:gd name="connsiteY794" fmla="*/ 247008 h 6858000"/>
              <a:gd name="connsiteX795" fmla="*/ 5210104 w 7467600"/>
              <a:gd name="connsiteY795" fmla="*/ 228123 h 6858000"/>
              <a:gd name="connsiteX796" fmla="*/ 5261015 w 7467600"/>
              <a:gd name="connsiteY796" fmla="*/ 227087 h 6858000"/>
              <a:gd name="connsiteX797" fmla="*/ 5861181 w 7467600"/>
              <a:gd name="connsiteY797" fmla="*/ 143093 h 6858000"/>
              <a:gd name="connsiteX798" fmla="*/ 5961252 w 7467600"/>
              <a:gd name="connsiteY798" fmla="*/ 114820 h 6858000"/>
              <a:gd name="connsiteX799" fmla="*/ 5944437 w 7467600"/>
              <a:gd name="connsiteY799" fmla="*/ 113829 h 6858000"/>
              <a:gd name="connsiteX800" fmla="*/ 3882765 w 7467600"/>
              <a:gd name="connsiteY800" fmla="*/ 0 h 6858000"/>
              <a:gd name="connsiteX801" fmla="*/ 3995099 w 7467600"/>
              <a:gd name="connsiteY801" fmla="*/ 0 h 6858000"/>
              <a:gd name="connsiteX802" fmla="*/ 4163818 w 7467600"/>
              <a:gd name="connsiteY802" fmla="*/ 234104 h 6858000"/>
              <a:gd name="connsiteX803" fmla="*/ 4172099 w 7467600"/>
              <a:gd name="connsiteY803" fmla="*/ 234207 h 6858000"/>
              <a:gd name="connsiteX804" fmla="*/ 4784282 w 7467600"/>
              <a:gd name="connsiteY804" fmla="*/ 276561 h 6858000"/>
              <a:gd name="connsiteX805" fmla="*/ 4801687 w 7467600"/>
              <a:gd name="connsiteY805" fmla="*/ 267764 h 6858000"/>
              <a:gd name="connsiteX806" fmla="*/ 6082788 w 7467600"/>
              <a:gd name="connsiteY806" fmla="*/ 64119 h 6858000"/>
              <a:gd name="connsiteX807" fmla="*/ 6099442 w 7467600"/>
              <a:gd name="connsiteY807" fmla="*/ 82568 h 6858000"/>
              <a:gd name="connsiteX808" fmla="*/ 4804137 w 7467600"/>
              <a:gd name="connsiteY808" fmla="*/ 320931 h 6858000"/>
              <a:gd name="connsiteX809" fmla="*/ 4227047 w 7467600"/>
              <a:gd name="connsiteY809" fmla="*/ 313415 h 6858000"/>
              <a:gd name="connsiteX810" fmla="*/ 4346041 w 7467600"/>
              <a:gd name="connsiteY810" fmla="*/ 456086 h 6858000"/>
              <a:gd name="connsiteX811" fmla="*/ 4870967 w 7467600"/>
              <a:gd name="connsiteY811" fmla="*/ 963061 h 6858000"/>
              <a:gd name="connsiteX812" fmla="*/ 4889647 w 7467600"/>
              <a:gd name="connsiteY812" fmla="*/ 957147 h 6858000"/>
              <a:gd name="connsiteX813" fmla="*/ 5422504 w 7467600"/>
              <a:gd name="connsiteY813" fmla="*/ 805191 h 6858000"/>
              <a:gd name="connsiteX814" fmla="*/ 6087656 w 7467600"/>
              <a:gd name="connsiteY814" fmla="*/ 826703 h 6858000"/>
              <a:gd name="connsiteX815" fmla="*/ 6058717 w 7467600"/>
              <a:gd name="connsiteY815" fmla="*/ 865992 h 6858000"/>
              <a:gd name="connsiteX816" fmla="*/ 4974153 w 7467600"/>
              <a:gd name="connsiteY816" fmla="*/ 1045456 h 6858000"/>
              <a:gd name="connsiteX817" fmla="*/ 5627835 w 7467600"/>
              <a:gd name="connsiteY817" fmla="*/ 1472077 h 6858000"/>
              <a:gd name="connsiteX818" fmla="*/ 5629817 w 7467600"/>
              <a:gd name="connsiteY818" fmla="*/ 1471412 h 6858000"/>
              <a:gd name="connsiteX819" fmla="*/ 5634124 w 7467600"/>
              <a:gd name="connsiteY819" fmla="*/ 1470572 h 6858000"/>
              <a:gd name="connsiteX820" fmla="*/ 5755832 w 7467600"/>
              <a:gd name="connsiteY820" fmla="*/ 1383886 h 6858000"/>
              <a:gd name="connsiteX821" fmla="*/ 6014186 w 7467600"/>
              <a:gd name="connsiteY821" fmla="*/ 1279799 h 6858000"/>
              <a:gd name="connsiteX822" fmla="*/ 6901619 w 7467600"/>
              <a:gd name="connsiteY822" fmla="*/ 1047874 h 6858000"/>
              <a:gd name="connsiteX823" fmla="*/ 6931566 w 7467600"/>
              <a:gd name="connsiteY823" fmla="*/ 1062034 h 6858000"/>
              <a:gd name="connsiteX824" fmla="*/ 5790982 w 7467600"/>
              <a:gd name="connsiteY824" fmla="*/ 1561380 h 6858000"/>
              <a:gd name="connsiteX825" fmla="*/ 6188971 w 7467600"/>
              <a:gd name="connsiteY825" fmla="*/ 1755168 h 6858000"/>
              <a:gd name="connsiteX826" fmla="*/ 6202446 w 7467600"/>
              <a:gd name="connsiteY826" fmla="*/ 1752268 h 6858000"/>
              <a:gd name="connsiteX827" fmla="*/ 7179560 w 7467600"/>
              <a:gd name="connsiteY827" fmla="*/ 1467551 h 6858000"/>
              <a:gd name="connsiteX828" fmla="*/ 7158730 w 7467600"/>
              <a:gd name="connsiteY828" fmla="*/ 1507835 h 6858000"/>
              <a:gd name="connsiteX829" fmla="*/ 6326959 w 7467600"/>
              <a:gd name="connsiteY829" fmla="*/ 1817686 h 6858000"/>
              <a:gd name="connsiteX830" fmla="*/ 6537433 w 7467600"/>
              <a:gd name="connsiteY830" fmla="*/ 1907790 h 6858000"/>
              <a:gd name="connsiteX831" fmla="*/ 6550221 w 7467600"/>
              <a:gd name="connsiteY831" fmla="*/ 1910729 h 6858000"/>
              <a:gd name="connsiteX832" fmla="*/ 6964438 w 7467600"/>
              <a:gd name="connsiteY832" fmla="*/ 2209505 h 6858000"/>
              <a:gd name="connsiteX833" fmla="*/ 7367862 w 7467600"/>
              <a:gd name="connsiteY833" fmla="*/ 2806833 h 6858000"/>
              <a:gd name="connsiteX834" fmla="*/ 7364329 w 7467600"/>
              <a:gd name="connsiteY834" fmla="*/ 2826907 h 6858000"/>
              <a:gd name="connsiteX835" fmla="*/ 7290545 w 7467600"/>
              <a:gd name="connsiteY835" fmla="*/ 2850663 h 6858000"/>
              <a:gd name="connsiteX836" fmla="*/ 6472036 w 7467600"/>
              <a:gd name="connsiteY836" fmla="*/ 1959003 h 6858000"/>
              <a:gd name="connsiteX837" fmla="*/ 5792897 w 7467600"/>
              <a:gd name="connsiteY837" fmla="*/ 1647747 h 6858000"/>
              <a:gd name="connsiteX838" fmla="*/ 5842751 w 7467600"/>
              <a:gd name="connsiteY838" fmla="*/ 1816112 h 6858000"/>
              <a:gd name="connsiteX839" fmla="*/ 5847424 w 7467600"/>
              <a:gd name="connsiteY839" fmla="*/ 1815776 h 6858000"/>
              <a:gd name="connsiteX840" fmla="*/ 6399821 w 7467600"/>
              <a:gd name="connsiteY840" fmla="*/ 2344799 h 6858000"/>
              <a:gd name="connsiteX841" fmla="*/ 6323232 w 7467600"/>
              <a:gd name="connsiteY841" fmla="*/ 2389634 h 6858000"/>
              <a:gd name="connsiteX842" fmla="*/ 5942958 w 7467600"/>
              <a:gd name="connsiteY842" fmla="*/ 2077708 h 6858000"/>
              <a:gd name="connsiteX843" fmla="*/ 5921559 w 7467600"/>
              <a:gd name="connsiteY843" fmla="*/ 2378596 h 6858000"/>
              <a:gd name="connsiteX844" fmla="*/ 5817651 w 7467600"/>
              <a:gd name="connsiteY844" fmla="*/ 3023919 h 6858000"/>
              <a:gd name="connsiteX845" fmla="*/ 5729634 w 7467600"/>
              <a:gd name="connsiteY845" fmla="*/ 3051849 h 6858000"/>
              <a:gd name="connsiteX846" fmla="*/ 5611018 w 7467600"/>
              <a:gd name="connsiteY846" fmla="*/ 2316769 h 6858000"/>
              <a:gd name="connsiteX847" fmla="*/ 5687608 w 7467600"/>
              <a:gd name="connsiteY847" fmla="*/ 2039972 h 6858000"/>
              <a:gd name="connsiteX848" fmla="*/ 5657554 w 7467600"/>
              <a:gd name="connsiteY848" fmla="*/ 1576445 h 6858000"/>
              <a:gd name="connsiteX849" fmla="*/ 5150475 w 7467600"/>
              <a:gd name="connsiteY849" fmla="*/ 1274012 h 6858000"/>
              <a:gd name="connsiteX850" fmla="*/ 5349142 w 7467600"/>
              <a:gd name="connsiteY850" fmla="*/ 2204405 h 6858000"/>
              <a:gd name="connsiteX851" fmla="*/ 5262214 w 7467600"/>
              <a:gd name="connsiteY851" fmla="*/ 2233836 h 6858000"/>
              <a:gd name="connsiteX852" fmla="*/ 4981539 w 7467600"/>
              <a:gd name="connsiteY852" fmla="*/ 1542201 h 6858000"/>
              <a:gd name="connsiteX853" fmla="*/ 4958461 w 7467600"/>
              <a:gd name="connsiteY853" fmla="*/ 1136957 h 6858000"/>
              <a:gd name="connsiteX854" fmla="*/ 4655015 w 7467600"/>
              <a:gd name="connsiteY854" fmla="*/ 891426 h 6858000"/>
              <a:gd name="connsiteX855" fmla="*/ 4348002 w 7467600"/>
              <a:gd name="connsiteY855" fmla="*/ 2205895 h 6858000"/>
              <a:gd name="connsiteX856" fmla="*/ 4262250 w 7467600"/>
              <a:gd name="connsiteY856" fmla="*/ 2219972 h 6858000"/>
              <a:gd name="connsiteX857" fmla="*/ 4550611 w 7467600"/>
              <a:gd name="connsiteY857" fmla="*/ 817540 h 6858000"/>
              <a:gd name="connsiteX858" fmla="*/ 4564418 w 7467600"/>
              <a:gd name="connsiteY858" fmla="*/ 808293 h 6858000"/>
              <a:gd name="connsiteX859" fmla="*/ 4266388 w 7467600"/>
              <a:gd name="connsiteY859" fmla="*/ 500083 h 6858000"/>
              <a:gd name="connsiteX860" fmla="*/ 4032842 w 7467600"/>
              <a:gd name="connsiteY860" fmla="*/ 211809 h 6858000"/>
              <a:gd name="connsiteX861" fmla="*/ 3882765 w 7467600"/>
              <a:gd name="connsiteY861" fmla="*/ 0 h 6858000"/>
              <a:gd name="connsiteX862" fmla="*/ 3721337 w 7467600"/>
              <a:gd name="connsiteY862" fmla="*/ 0 h 6858000"/>
              <a:gd name="connsiteX863" fmla="*/ 3797544 w 7467600"/>
              <a:gd name="connsiteY863" fmla="*/ 0 h 6858000"/>
              <a:gd name="connsiteX864" fmla="*/ 3775734 w 7467600"/>
              <a:gd name="connsiteY864" fmla="*/ 95131 h 6858000"/>
              <a:gd name="connsiteX865" fmla="*/ 3724807 w 7467600"/>
              <a:gd name="connsiteY865" fmla="*/ 272257 h 6858000"/>
              <a:gd name="connsiteX866" fmla="*/ 3726844 w 7467600"/>
              <a:gd name="connsiteY866" fmla="*/ 282988 h 6858000"/>
              <a:gd name="connsiteX867" fmla="*/ 3742664 w 7467600"/>
              <a:gd name="connsiteY867" fmla="*/ 279918 h 6858000"/>
              <a:gd name="connsiteX868" fmla="*/ 4103910 w 7467600"/>
              <a:gd name="connsiteY868" fmla="*/ 1161917 h 6858000"/>
              <a:gd name="connsiteX869" fmla="*/ 4020269 w 7467600"/>
              <a:gd name="connsiteY869" fmla="*/ 1200406 h 6858000"/>
              <a:gd name="connsiteX870" fmla="*/ 3674882 w 7467600"/>
              <a:gd name="connsiteY870" fmla="*/ 488524 h 6858000"/>
              <a:gd name="connsiteX871" fmla="*/ 3132682 w 7467600"/>
              <a:gd name="connsiteY871" fmla="*/ 1072284 h 6858000"/>
              <a:gd name="connsiteX872" fmla="*/ 2716346 w 7467600"/>
              <a:gd name="connsiteY872" fmla="*/ 1276376 h 6858000"/>
              <a:gd name="connsiteX873" fmla="*/ 2716772 w 7467600"/>
              <a:gd name="connsiteY873" fmla="*/ 1255462 h 6858000"/>
              <a:gd name="connsiteX874" fmla="*/ 3471096 w 7467600"/>
              <a:gd name="connsiteY874" fmla="*/ 437072 h 6858000"/>
              <a:gd name="connsiteX875" fmla="*/ 3639057 w 7467600"/>
              <a:gd name="connsiteY875" fmla="*/ 286334 h 6858000"/>
              <a:gd name="connsiteX876" fmla="*/ 3640309 w 7467600"/>
              <a:gd name="connsiteY876" fmla="*/ 284664 h 6858000"/>
              <a:gd name="connsiteX877" fmla="*/ 3646022 w 7467600"/>
              <a:gd name="connsiteY877" fmla="*/ 276711 h 6858000"/>
              <a:gd name="connsiteX878" fmla="*/ 3707943 w 7467600"/>
              <a:gd name="connsiteY878" fmla="*/ 65958 h 6858000"/>
              <a:gd name="connsiteX879" fmla="*/ 3721337 w 7467600"/>
              <a:gd name="connsiteY879" fmla="*/ 0 h 6858000"/>
              <a:gd name="connsiteX880" fmla="*/ 2867960 w 7467600"/>
              <a:gd name="connsiteY880" fmla="*/ 0 h 6858000"/>
              <a:gd name="connsiteX881" fmla="*/ 2926351 w 7467600"/>
              <a:gd name="connsiteY881" fmla="*/ 0 h 6858000"/>
              <a:gd name="connsiteX882" fmla="*/ 2902823 w 7467600"/>
              <a:gd name="connsiteY882" fmla="*/ 262929 h 6858000"/>
              <a:gd name="connsiteX883" fmla="*/ 2940663 w 7467600"/>
              <a:gd name="connsiteY883" fmla="*/ 140884 h 6858000"/>
              <a:gd name="connsiteX884" fmla="*/ 2947039 w 7467600"/>
              <a:gd name="connsiteY884" fmla="*/ 122524 h 6858000"/>
              <a:gd name="connsiteX885" fmla="*/ 2984316 w 7467600"/>
              <a:gd name="connsiteY885" fmla="*/ 0 h 6858000"/>
              <a:gd name="connsiteX886" fmla="*/ 3016114 w 7467600"/>
              <a:gd name="connsiteY886" fmla="*/ 0 h 6858000"/>
              <a:gd name="connsiteX887" fmla="*/ 2979949 w 7467600"/>
              <a:gd name="connsiteY887" fmla="*/ 119274 h 6858000"/>
              <a:gd name="connsiteX888" fmla="*/ 3023879 w 7467600"/>
              <a:gd name="connsiteY888" fmla="*/ 0 h 6858000"/>
              <a:gd name="connsiteX889" fmla="*/ 3105400 w 7467600"/>
              <a:gd name="connsiteY889" fmla="*/ 0 h 6858000"/>
              <a:gd name="connsiteX890" fmla="*/ 3094669 w 7467600"/>
              <a:gd name="connsiteY890" fmla="*/ 30308 h 6858000"/>
              <a:gd name="connsiteX891" fmla="*/ 2901945 w 7467600"/>
              <a:gd name="connsiteY891" fmla="*/ 466538 h 6858000"/>
              <a:gd name="connsiteX892" fmla="*/ 2815209 w 7467600"/>
              <a:gd name="connsiteY892" fmla="*/ 497361 h 6858000"/>
              <a:gd name="connsiteX893" fmla="*/ 2844845 w 7467600"/>
              <a:gd name="connsiteY893" fmla="*/ 127638 h 6858000"/>
              <a:gd name="connsiteX894" fmla="*/ 2867960 w 7467600"/>
              <a:gd name="connsiteY894" fmla="*/ 0 h 6858000"/>
              <a:gd name="connsiteX895" fmla="*/ 1057230 w 7467600"/>
              <a:gd name="connsiteY895" fmla="*/ 0 h 6858000"/>
              <a:gd name="connsiteX896" fmla="*/ 1111003 w 7467600"/>
              <a:gd name="connsiteY896" fmla="*/ 0 h 6858000"/>
              <a:gd name="connsiteX897" fmla="*/ 1125553 w 7467600"/>
              <a:gd name="connsiteY897" fmla="*/ 52588 h 6858000"/>
              <a:gd name="connsiteX898" fmla="*/ 1304276 w 7467600"/>
              <a:gd name="connsiteY898" fmla="*/ 476275 h 6858000"/>
              <a:gd name="connsiteX899" fmla="*/ 1492066 w 7467600"/>
              <a:gd name="connsiteY899" fmla="*/ 886333 h 6858000"/>
              <a:gd name="connsiteX900" fmla="*/ 1423698 w 7467600"/>
              <a:gd name="connsiteY900" fmla="*/ 710817 h 6858000"/>
              <a:gd name="connsiteX901" fmla="*/ 1357609 w 7467600"/>
              <a:gd name="connsiteY901" fmla="*/ 532892 h 6858000"/>
              <a:gd name="connsiteX902" fmla="*/ 1309550 w 7467600"/>
              <a:gd name="connsiteY902" fmla="*/ 374031 h 6858000"/>
              <a:gd name="connsiteX903" fmla="*/ 1193673 w 7467600"/>
              <a:gd name="connsiteY903" fmla="*/ 49533 h 6858000"/>
              <a:gd name="connsiteX904" fmla="*/ 1164391 w 7467600"/>
              <a:gd name="connsiteY904" fmla="*/ 0 h 6858000"/>
              <a:gd name="connsiteX905" fmla="*/ 1200666 w 7467600"/>
              <a:gd name="connsiteY905" fmla="*/ 0 h 6858000"/>
              <a:gd name="connsiteX906" fmla="*/ 1223408 w 7467600"/>
              <a:gd name="connsiteY906" fmla="*/ 38996 h 6858000"/>
              <a:gd name="connsiteX907" fmla="*/ 1339635 w 7467600"/>
              <a:gd name="connsiteY907" fmla="*/ 365517 h 6858000"/>
              <a:gd name="connsiteX908" fmla="*/ 1387469 w 7467600"/>
              <a:gd name="connsiteY908" fmla="*/ 523079 h 6858000"/>
              <a:gd name="connsiteX909" fmla="*/ 1452685 w 7467600"/>
              <a:gd name="connsiteY909" fmla="*/ 699806 h 6858000"/>
              <a:gd name="connsiteX910" fmla="*/ 1492092 w 7467600"/>
              <a:gd name="connsiteY910" fmla="*/ 800424 h 6858000"/>
              <a:gd name="connsiteX911" fmla="*/ 1455302 w 7467600"/>
              <a:gd name="connsiteY911" fmla="*/ 632913 h 6858000"/>
              <a:gd name="connsiteX912" fmla="*/ 1222336 w 7467600"/>
              <a:gd name="connsiteY912" fmla="*/ 9480 h 6858000"/>
              <a:gd name="connsiteX913" fmla="*/ 1214634 w 7467600"/>
              <a:gd name="connsiteY913" fmla="*/ 0 h 6858000"/>
              <a:gd name="connsiteX914" fmla="*/ 1289827 w 7467600"/>
              <a:gd name="connsiteY914" fmla="*/ 0 h 6858000"/>
              <a:gd name="connsiteX915" fmla="*/ 1321076 w 7467600"/>
              <a:gd name="connsiteY915" fmla="*/ 59722 h 6858000"/>
              <a:gd name="connsiteX916" fmla="*/ 1512579 w 7467600"/>
              <a:gd name="connsiteY916" fmla="*/ 626441 h 6858000"/>
              <a:gd name="connsiteX917" fmla="*/ 1506076 w 7467600"/>
              <a:gd name="connsiteY917" fmla="*/ 1089289 h 6858000"/>
              <a:gd name="connsiteX918" fmla="*/ 1486346 w 7467600"/>
              <a:gd name="connsiteY918" fmla="*/ 1079919 h 6858000"/>
              <a:gd name="connsiteX919" fmla="*/ 1070511 w 7467600"/>
              <a:gd name="connsiteY919" fmla="*/ 48609 h 6858000"/>
              <a:gd name="connsiteX920" fmla="*/ 1057230 w 7467600"/>
              <a:gd name="connsiteY920" fmla="*/ 0 h 6858000"/>
              <a:gd name="connsiteX921" fmla="*/ 43151 w 7467600"/>
              <a:gd name="connsiteY921" fmla="*/ 0 h 6858000"/>
              <a:gd name="connsiteX922" fmla="*/ 95283 w 7467600"/>
              <a:gd name="connsiteY922" fmla="*/ 0 h 6858000"/>
              <a:gd name="connsiteX923" fmla="*/ 300708 w 7467600"/>
              <a:gd name="connsiteY923" fmla="*/ 154571 h 6858000"/>
              <a:gd name="connsiteX924" fmla="*/ 530414 w 7467600"/>
              <a:gd name="connsiteY924" fmla="*/ 354673 h 6858000"/>
              <a:gd name="connsiteX925" fmla="*/ 333785 w 7467600"/>
              <a:gd name="connsiteY925" fmla="*/ 161564 h 6858000"/>
              <a:gd name="connsiteX926" fmla="*/ 147005 w 7467600"/>
              <a:gd name="connsiteY926" fmla="*/ 0 h 6858000"/>
              <a:gd name="connsiteX927" fmla="*/ 272509 w 7467600"/>
              <a:gd name="connsiteY927" fmla="*/ 0 h 6858000"/>
              <a:gd name="connsiteX928" fmla="*/ 326276 w 7467600"/>
              <a:gd name="connsiteY928" fmla="*/ 45847 h 6858000"/>
              <a:gd name="connsiteX929" fmla="*/ 823759 w 7467600"/>
              <a:gd name="connsiteY929" fmla="*/ 574145 h 6858000"/>
              <a:gd name="connsiteX930" fmla="*/ 811254 w 7467600"/>
              <a:gd name="connsiteY930" fmla="*/ 665546 h 6858000"/>
              <a:gd name="connsiteX931" fmla="*/ 154042 w 7467600"/>
              <a:gd name="connsiteY931" fmla="*/ 261522 h 6858000"/>
              <a:gd name="connsiteX932" fmla="*/ 13550 w 7467600"/>
              <a:gd name="connsiteY932" fmla="*/ 158423 h 6858000"/>
              <a:gd name="connsiteX933" fmla="*/ 0 w 7467600"/>
              <a:gd name="connsiteY933" fmla="*/ 146618 h 6858000"/>
              <a:gd name="connsiteX934" fmla="*/ 0 w 7467600"/>
              <a:gd name="connsiteY934" fmla="*/ 59161 h 6858000"/>
              <a:gd name="connsiteX935" fmla="*/ 45427 w 7467600"/>
              <a:gd name="connsiteY935" fmla="*/ 101078 h 6858000"/>
              <a:gd name="connsiteX936" fmla="*/ 630103 w 7467600"/>
              <a:gd name="connsiteY936" fmla="*/ 485885 h 6858000"/>
              <a:gd name="connsiteX937" fmla="*/ 532040 w 7467600"/>
              <a:gd name="connsiteY937" fmla="*/ 399359 h 6858000"/>
              <a:gd name="connsiteX938" fmla="*/ 517618 w 7467600"/>
              <a:gd name="connsiteY938" fmla="*/ 385726 h 6858000"/>
              <a:gd name="connsiteX939" fmla="*/ 285074 w 7467600"/>
              <a:gd name="connsiteY939" fmla="*/ 182755 h 6858000"/>
              <a:gd name="connsiteX940" fmla="*/ 43151 w 7467600"/>
              <a:gd name="connsiteY940"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467600 w 7467600"/>
              <a:gd name="connsiteY4" fmla="*/ 666857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1019354 w 7467600"/>
              <a:gd name="connsiteY8" fmla="*/ 6315006 h 6858000"/>
              <a:gd name="connsiteX9" fmla="*/ 441046 w 7467600"/>
              <a:gd name="connsiteY9" fmla="*/ 6691153 h 6858000"/>
              <a:gd name="connsiteX10" fmla="*/ 1019354 w 7467600"/>
              <a:gd name="connsiteY10" fmla="*/ 6315006 h 6858000"/>
              <a:gd name="connsiteX11" fmla="*/ 991680 w 7467600"/>
              <a:gd name="connsiteY11" fmla="*/ 6298413 h 6858000"/>
              <a:gd name="connsiteX12" fmla="*/ 409060 w 7467600"/>
              <a:gd name="connsiteY12" fmla="*/ 6671470 h 6858000"/>
              <a:gd name="connsiteX13" fmla="*/ 991680 w 7467600"/>
              <a:gd name="connsiteY13" fmla="*/ 6298413 h 6858000"/>
              <a:gd name="connsiteX14" fmla="*/ 103333 w 7467600"/>
              <a:gd name="connsiteY14" fmla="*/ 5699602 h 6858000"/>
              <a:gd name="connsiteX15" fmla="*/ 233938 w 7467600"/>
              <a:gd name="connsiteY15" fmla="*/ 5809416 h 6858000"/>
              <a:gd name="connsiteX16" fmla="*/ 883580 w 7467600"/>
              <a:gd name="connsiteY16" fmla="*/ 6180710 h 6858000"/>
              <a:gd name="connsiteX17" fmla="*/ 487337 w 7467600"/>
              <a:gd name="connsiteY17" fmla="*/ 5950182 h 6858000"/>
              <a:gd name="connsiteX18" fmla="*/ 354051 w 7467600"/>
              <a:gd name="connsiteY18" fmla="*/ 5854912 h 6858000"/>
              <a:gd name="connsiteX19" fmla="*/ 195436 w 7467600"/>
              <a:gd name="connsiteY19" fmla="*/ 5755068 h 6858000"/>
              <a:gd name="connsiteX20" fmla="*/ 103333 w 7467600"/>
              <a:gd name="connsiteY20" fmla="*/ 5699602 h 6858000"/>
              <a:gd name="connsiteX21" fmla="*/ 5539432 w 7467600"/>
              <a:gd name="connsiteY21" fmla="*/ 5642928 h 6858000"/>
              <a:gd name="connsiteX22" fmla="*/ 5555462 w 7467600"/>
              <a:gd name="connsiteY22" fmla="*/ 5694454 h 6858000"/>
              <a:gd name="connsiteX23" fmla="*/ 5828270 w 7467600"/>
              <a:gd name="connsiteY23" fmla="*/ 6320663 h 6858000"/>
              <a:gd name="connsiteX24" fmla="*/ 5947416 w 7467600"/>
              <a:gd name="connsiteY24" fmla="*/ 6574846 h 6858000"/>
              <a:gd name="connsiteX25" fmla="*/ 5539432 w 7467600"/>
              <a:gd name="connsiteY25" fmla="*/ 5642928 h 6858000"/>
              <a:gd name="connsiteX26" fmla="*/ 51253 w 7467600"/>
              <a:gd name="connsiteY26" fmla="*/ 5631825 h 6858000"/>
              <a:gd name="connsiteX27" fmla="*/ 211622 w 7467600"/>
              <a:gd name="connsiteY27" fmla="*/ 5728803 h 6858000"/>
              <a:gd name="connsiteX28" fmla="*/ 371652 w 7467600"/>
              <a:gd name="connsiteY28" fmla="*/ 5829062 h 6858000"/>
              <a:gd name="connsiteX29" fmla="*/ 505903 w 7467600"/>
              <a:gd name="connsiteY29" fmla="*/ 5925221 h 6858000"/>
              <a:gd name="connsiteX30" fmla="*/ 899240 w 7467600"/>
              <a:gd name="connsiteY30" fmla="*/ 6153068 h 6858000"/>
              <a:gd name="connsiteX31" fmla="*/ 988114 w 7467600"/>
              <a:gd name="connsiteY31" fmla="*/ 6174204 h 6858000"/>
              <a:gd name="connsiteX32" fmla="*/ 845971 w 7467600"/>
              <a:gd name="connsiteY32" fmla="*/ 6067177 h 6858000"/>
              <a:gd name="connsiteX33" fmla="*/ 448057 w 7467600"/>
              <a:gd name="connsiteY33" fmla="*/ 5841376 h 6858000"/>
              <a:gd name="connsiteX34" fmla="*/ 51253 w 7467600"/>
              <a:gd name="connsiteY34" fmla="*/ 5631825 h 6858000"/>
              <a:gd name="connsiteX35" fmla="*/ 2606687 w 7467600"/>
              <a:gd name="connsiteY35" fmla="*/ 5630718 h 6858000"/>
              <a:gd name="connsiteX36" fmla="*/ 2645658 w 7467600"/>
              <a:gd name="connsiteY36" fmla="*/ 6640259 h 6858000"/>
              <a:gd name="connsiteX37" fmla="*/ 2606687 w 7467600"/>
              <a:gd name="connsiteY37" fmla="*/ 5630718 h 6858000"/>
              <a:gd name="connsiteX38" fmla="*/ 3642057 w 7467600"/>
              <a:gd name="connsiteY38" fmla="*/ 5573487 h 6858000"/>
              <a:gd name="connsiteX39" fmla="*/ 3632981 w 7467600"/>
              <a:gd name="connsiteY39" fmla="*/ 5579437 h 6858000"/>
              <a:gd name="connsiteX40" fmla="*/ 3382436 w 7467600"/>
              <a:gd name="connsiteY40" fmla="*/ 5952726 h 6858000"/>
              <a:gd name="connsiteX41" fmla="*/ 3191929 w 7467600"/>
              <a:gd name="connsiteY41" fmla="*/ 6662669 h 6858000"/>
              <a:gd name="connsiteX42" fmla="*/ 3369898 w 7467600"/>
              <a:gd name="connsiteY42" fmla="*/ 6081771 h 6858000"/>
              <a:gd name="connsiteX43" fmla="*/ 3642057 w 7467600"/>
              <a:gd name="connsiteY43" fmla="*/ 5573487 h 6858000"/>
              <a:gd name="connsiteX44" fmla="*/ 2650666 w 7467600"/>
              <a:gd name="connsiteY44" fmla="*/ 5530686 h 6858000"/>
              <a:gd name="connsiteX45" fmla="*/ 2650249 w 7467600"/>
              <a:gd name="connsiteY45" fmla="*/ 5532101 h 6858000"/>
              <a:gd name="connsiteX46" fmla="*/ 2663808 w 7467600"/>
              <a:gd name="connsiteY46" fmla="*/ 6535215 h 6858000"/>
              <a:gd name="connsiteX47" fmla="*/ 2665418 w 7467600"/>
              <a:gd name="connsiteY47" fmla="*/ 6132756 h 6858000"/>
              <a:gd name="connsiteX48" fmla="*/ 2650666 w 7467600"/>
              <a:gd name="connsiteY48" fmla="*/ 5530686 h 6858000"/>
              <a:gd name="connsiteX49" fmla="*/ 2680277 w 7467600"/>
              <a:gd name="connsiteY49" fmla="*/ 5479204 h 6858000"/>
              <a:gd name="connsiteX50" fmla="*/ 2678972 w 7467600"/>
              <a:gd name="connsiteY50" fmla="*/ 5481582 h 6858000"/>
              <a:gd name="connsiteX51" fmla="*/ 2696666 w 7467600"/>
              <a:gd name="connsiteY51" fmla="*/ 6133836 h 6858000"/>
              <a:gd name="connsiteX52" fmla="*/ 2695769 w 7467600"/>
              <a:gd name="connsiteY52" fmla="*/ 6390955 h 6858000"/>
              <a:gd name="connsiteX53" fmla="*/ 2739893 w 7467600"/>
              <a:gd name="connsiteY53" fmla="*/ 6108357 h 6858000"/>
              <a:gd name="connsiteX54" fmla="*/ 2680277 w 7467600"/>
              <a:gd name="connsiteY54" fmla="*/ 5479204 h 6858000"/>
              <a:gd name="connsiteX55" fmla="*/ 1132195 w 7467600"/>
              <a:gd name="connsiteY55" fmla="*/ 5467980 h 6858000"/>
              <a:gd name="connsiteX56" fmla="*/ 1679056 w 7467600"/>
              <a:gd name="connsiteY56" fmla="*/ 5516907 h 6858000"/>
              <a:gd name="connsiteX57" fmla="*/ 2128648 w 7467600"/>
              <a:gd name="connsiteY57" fmla="*/ 5474249 h 6858000"/>
              <a:gd name="connsiteX58" fmla="*/ 1825619 w 7467600"/>
              <a:gd name="connsiteY58" fmla="*/ 5478447 h 6858000"/>
              <a:gd name="connsiteX59" fmla="*/ 1737798 w 7467600"/>
              <a:gd name="connsiteY59" fmla="*/ 5483353 h 6858000"/>
              <a:gd name="connsiteX60" fmla="*/ 1132195 w 7467600"/>
              <a:gd name="connsiteY60" fmla="*/ 5467980 h 6858000"/>
              <a:gd name="connsiteX61" fmla="*/ 1456157 w 7467600"/>
              <a:gd name="connsiteY61" fmla="*/ 5371404 h 6858000"/>
              <a:gd name="connsiteX62" fmla="*/ 1244432 w 7467600"/>
              <a:gd name="connsiteY62" fmla="*/ 5385601 h 6858000"/>
              <a:gd name="connsiteX63" fmla="*/ 973990 w 7467600"/>
              <a:gd name="connsiteY63" fmla="*/ 5424940 h 6858000"/>
              <a:gd name="connsiteX64" fmla="*/ 1103809 w 7467600"/>
              <a:gd name="connsiteY64" fmla="*/ 5433720 h 6858000"/>
              <a:gd name="connsiteX65" fmla="*/ 1123454 w 7467600"/>
              <a:gd name="connsiteY65" fmla="*/ 5435727 h 6858000"/>
              <a:gd name="connsiteX66" fmla="*/ 1737017 w 7467600"/>
              <a:gd name="connsiteY66" fmla="*/ 5452183 h 6858000"/>
              <a:gd name="connsiteX67" fmla="*/ 1824397 w 7467600"/>
              <a:gd name="connsiteY67" fmla="*/ 5447757 h 6858000"/>
              <a:gd name="connsiteX68" fmla="*/ 2070059 w 7467600"/>
              <a:gd name="connsiteY68" fmla="*/ 5441660 h 6858000"/>
              <a:gd name="connsiteX69" fmla="*/ 1456157 w 7467600"/>
              <a:gd name="connsiteY69" fmla="*/ 5371404 h 6858000"/>
              <a:gd name="connsiteX70" fmla="*/ 4988186 w 7467600"/>
              <a:gd name="connsiteY70" fmla="*/ 5216467 h 6858000"/>
              <a:gd name="connsiteX71" fmla="*/ 4777334 w 7467600"/>
              <a:gd name="connsiteY71" fmla="*/ 5406072 h 6858000"/>
              <a:gd name="connsiteX72" fmla="*/ 4718341 w 7467600"/>
              <a:gd name="connsiteY72" fmla="*/ 5468043 h 6858000"/>
              <a:gd name="connsiteX73" fmla="*/ 4604655 w 7467600"/>
              <a:gd name="connsiteY73" fmla="*/ 5583434 h 6858000"/>
              <a:gd name="connsiteX74" fmla="*/ 4565074 w 7467600"/>
              <a:gd name="connsiteY74" fmla="*/ 5618550 h 6858000"/>
              <a:gd name="connsiteX75" fmla="*/ 4988186 w 7467600"/>
              <a:gd name="connsiteY75" fmla="*/ 5216467 h 6858000"/>
              <a:gd name="connsiteX76" fmla="*/ 4978032 w 7467600"/>
              <a:gd name="connsiteY76" fmla="*/ 5183809 h 6858000"/>
              <a:gd name="connsiteX77" fmla="*/ 4463413 w 7467600"/>
              <a:gd name="connsiteY77" fmla="*/ 5615162 h 6858000"/>
              <a:gd name="connsiteX78" fmla="*/ 4358134 w 7467600"/>
              <a:gd name="connsiteY78" fmla="*/ 5742791 h 6858000"/>
              <a:gd name="connsiteX79" fmla="*/ 4376219 w 7467600"/>
              <a:gd name="connsiteY79" fmla="*/ 5729027 h 6858000"/>
              <a:gd name="connsiteX80" fmla="*/ 4582340 w 7467600"/>
              <a:gd name="connsiteY80" fmla="*/ 5561037 h 6858000"/>
              <a:gd name="connsiteX81" fmla="*/ 4694684 w 7467600"/>
              <a:gd name="connsiteY81" fmla="*/ 5447098 h 6858000"/>
              <a:gd name="connsiteX82" fmla="*/ 4754123 w 7467600"/>
              <a:gd name="connsiteY82" fmla="*/ 5384643 h 6858000"/>
              <a:gd name="connsiteX83" fmla="*/ 4978032 w 7467600"/>
              <a:gd name="connsiteY83" fmla="*/ 5183809 h 6858000"/>
              <a:gd name="connsiteX84" fmla="*/ 1903353 w 7467600"/>
              <a:gd name="connsiteY84" fmla="*/ 5044827 h 6858000"/>
              <a:gd name="connsiteX85" fmla="*/ 1936931 w 7467600"/>
              <a:gd name="connsiteY85" fmla="*/ 5093954 h 6858000"/>
              <a:gd name="connsiteX86" fmla="*/ 2195868 w 7467600"/>
              <a:gd name="connsiteY86" fmla="*/ 5396574 h 6858000"/>
              <a:gd name="connsiteX87" fmla="*/ 2088852 w 7467600"/>
              <a:gd name="connsiteY87" fmla="*/ 5166123 h 6858000"/>
              <a:gd name="connsiteX88" fmla="*/ 1958241 w 7467600"/>
              <a:gd name="connsiteY88" fmla="*/ 5067955 h 6858000"/>
              <a:gd name="connsiteX89" fmla="*/ 1903353 w 7467600"/>
              <a:gd name="connsiteY89" fmla="*/ 5044827 h 6858000"/>
              <a:gd name="connsiteX90" fmla="*/ 1979378 w 7467600"/>
              <a:gd name="connsiteY90" fmla="*/ 4769504 h 6858000"/>
              <a:gd name="connsiteX91" fmla="*/ 2882120 w 7467600"/>
              <a:gd name="connsiteY91" fmla="*/ 5064547 h 6858000"/>
              <a:gd name="connsiteX92" fmla="*/ 2793103 w 7467600"/>
              <a:gd name="connsiteY92" fmla="*/ 5039699 h 6858000"/>
              <a:gd name="connsiteX93" fmla="*/ 2770041 w 7467600"/>
              <a:gd name="connsiteY93" fmla="*/ 5033634 h 6858000"/>
              <a:gd name="connsiteX94" fmla="*/ 1979378 w 7467600"/>
              <a:gd name="connsiteY94" fmla="*/ 4769504 h 6858000"/>
              <a:gd name="connsiteX95" fmla="*/ 1927410 w 7467600"/>
              <a:gd name="connsiteY95" fmla="*/ 4716164 h 6858000"/>
              <a:gd name="connsiteX96" fmla="*/ 1959587 w 7467600"/>
              <a:gd name="connsiteY96" fmla="*/ 4728849 h 6858000"/>
              <a:gd name="connsiteX97" fmla="*/ 2777707 w 7467600"/>
              <a:gd name="connsiteY97" fmla="*/ 5003991 h 6858000"/>
              <a:gd name="connsiteX98" fmla="*/ 2800768 w 7467600"/>
              <a:gd name="connsiteY98" fmla="*/ 5010056 h 6858000"/>
              <a:gd name="connsiteX99" fmla="*/ 2879408 w 7467600"/>
              <a:gd name="connsiteY99" fmla="*/ 5031590 h 6858000"/>
              <a:gd name="connsiteX100" fmla="*/ 2862295 w 7467600"/>
              <a:gd name="connsiteY100" fmla="*/ 5022958 h 6858000"/>
              <a:gd name="connsiteX101" fmla="*/ 2813343 w 7467600"/>
              <a:gd name="connsiteY101" fmla="*/ 4998369 h 6858000"/>
              <a:gd name="connsiteX102" fmla="*/ 2646245 w 7467600"/>
              <a:gd name="connsiteY102" fmla="*/ 4930999 h 6858000"/>
              <a:gd name="connsiteX103" fmla="*/ 1999243 w 7467600"/>
              <a:gd name="connsiteY103" fmla="*/ 4730524 h 6858000"/>
              <a:gd name="connsiteX104" fmla="*/ 1979527 w 7467600"/>
              <a:gd name="connsiteY104" fmla="*/ 4726651 h 6858000"/>
              <a:gd name="connsiteX105" fmla="*/ 1927410 w 7467600"/>
              <a:gd name="connsiteY105" fmla="*/ 4716164 h 6858000"/>
              <a:gd name="connsiteX106" fmla="*/ 1997014 w 7467600"/>
              <a:gd name="connsiteY106" fmla="*/ 4698007 h 6858000"/>
              <a:gd name="connsiteX107" fmla="*/ 2005458 w 7467600"/>
              <a:gd name="connsiteY107" fmla="*/ 4699540 h 6858000"/>
              <a:gd name="connsiteX108" fmla="*/ 2657186 w 7467600"/>
              <a:gd name="connsiteY108" fmla="*/ 4901687 h 6858000"/>
              <a:gd name="connsiteX109" fmla="*/ 2826662 w 7467600"/>
              <a:gd name="connsiteY109" fmla="*/ 4970362 h 6858000"/>
              <a:gd name="connsiteX110" fmla="*/ 2876100 w 7467600"/>
              <a:gd name="connsiteY110" fmla="*/ 4995397 h 6858000"/>
              <a:gd name="connsiteX111" fmla="*/ 3042600 w 7467600"/>
              <a:gd name="connsiteY111" fmla="*/ 5059532 h 6858000"/>
              <a:gd name="connsiteX112" fmla="*/ 1997014 w 7467600"/>
              <a:gd name="connsiteY112" fmla="*/ 4698007 h 6858000"/>
              <a:gd name="connsiteX113" fmla="*/ 2305292 w 7467600"/>
              <a:gd name="connsiteY113" fmla="*/ 4219492 h 6858000"/>
              <a:gd name="connsiteX114" fmla="*/ 3360922 w 7467600"/>
              <a:gd name="connsiteY114" fmla="*/ 4529373 h 6858000"/>
              <a:gd name="connsiteX115" fmla="*/ 3492420 w 7467600"/>
              <a:gd name="connsiteY115" fmla="*/ 4510145 h 6858000"/>
              <a:gd name="connsiteX116" fmla="*/ 3364086 w 7467600"/>
              <a:gd name="connsiteY116" fmla="*/ 4480340 h 6858000"/>
              <a:gd name="connsiteX117" fmla="*/ 3225818 w 7467600"/>
              <a:gd name="connsiteY117" fmla="*/ 4411822 h 6858000"/>
              <a:gd name="connsiteX118" fmla="*/ 3129696 w 7467600"/>
              <a:gd name="connsiteY118" fmla="*/ 4360704 h 6858000"/>
              <a:gd name="connsiteX119" fmla="*/ 2814545 w 7467600"/>
              <a:gd name="connsiteY119" fmla="*/ 4282955 h 6858000"/>
              <a:gd name="connsiteX120" fmla="*/ 2305292 w 7467600"/>
              <a:gd name="connsiteY120" fmla="*/ 4219492 h 6858000"/>
              <a:gd name="connsiteX121" fmla="*/ 2626982 w 7467600"/>
              <a:gd name="connsiteY121" fmla="*/ 4206450 h 6858000"/>
              <a:gd name="connsiteX122" fmla="*/ 2490617 w 7467600"/>
              <a:gd name="connsiteY122" fmla="*/ 4206951 h 6858000"/>
              <a:gd name="connsiteX123" fmla="*/ 2819869 w 7467600"/>
              <a:gd name="connsiteY123" fmla="*/ 4252936 h 6858000"/>
              <a:gd name="connsiteX124" fmla="*/ 3143018 w 7467600"/>
              <a:gd name="connsiteY124" fmla="*/ 4332698 h 6858000"/>
              <a:gd name="connsiteX125" fmla="*/ 3241520 w 7467600"/>
              <a:gd name="connsiteY125" fmla="*/ 4385112 h 6858000"/>
              <a:gd name="connsiteX126" fmla="*/ 3374575 w 7467600"/>
              <a:gd name="connsiteY126" fmla="*/ 4451517 h 6858000"/>
              <a:gd name="connsiteX127" fmla="*/ 3505221 w 7467600"/>
              <a:gd name="connsiteY127" fmla="*/ 4480757 h 6858000"/>
              <a:gd name="connsiteX128" fmla="*/ 2626982 w 7467600"/>
              <a:gd name="connsiteY128" fmla="*/ 4206450 h 6858000"/>
              <a:gd name="connsiteX129" fmla="*/ 1310106 w 7467600"/>
              <a:gd name="connsiteY129" fmla="*/ 3943217 h 6858000"/>
              <a:gd name="connsiteX130" fmla="*/ 854994 w 7467600"/>
              <a:gd name="connsiteY130" fmla="*/ 4399136 h 6858000"/>
              <a:gd name="connsiteX131" fmla="*/ 742462 w 7467600"/>
              <a:gd name="connsiteY131" fmla="*/ 4594648 h 6858000"/>
              <a:gd name="connsiteX132" fmla="*/ 820602 w 7467600"/>
              <a:gd name="connsiteY132" fmla="*/ 4485915 h 6858000"/>
              <a:gd name="connsiteX133" fmla="*/ 878295 w 7467600"/>
              <a:gd name="connsiteY133" fmla="*/ 4403594 h 6858000"/>
              <a:gd name="connsiteX134" fmla="*/ 1240607 w 7467600"/>
              <a:gd name="connsiteY134" fmla="*/ 4010401 h 6858000"/>
              <a:gd name="connsiteX135" fmla="*/ 1310106 w 7467600"/>
              <a:gd name="connsiteY135" fmla="*/ 3943217 h 6858000"/>
              <a:gd name="connsiteX136" fmla="*/ 1423113 w 7467600"/>
              <a:gd name="connsiteY136" fmla="*/ 3874565 h 6858000"/>
              <a:gd name="connsiteX137" fmla="*/ 1260565 w 7467600"/>
              <a:gd name="connsiteY137" fmla="*/ 4031982 h 6858000"/>
              <a:gd name="connsiteX138" fmla="*/ 901900 w 7467600"/>
              <a:gd name="connsiteY138" fmla="*/ 4421236 h 6858000"/>
              <a:gd name="connsiteX139" fmla="*/ 845044 w 7467600"/>
              <a:gd name="connsiteY139" fmla="*/ 4502436 h 6858000"/>
              <a:gd name="connsiteX140" fmla="*/ 685926 w 7467600"/>
              <a:gd name="connsiteY140" fmla="*/ 4703069 h 6858000"/>
              <a:gd name="connsiteX141" fmla="*/ 684248 w 7467600"/>
              <a:gd name="connsiteY141" fmla="*/ 4706721 h 6858000"/>
              <a:gd name="connsiteX142" fmla="*/ 1423113 w 7467600"/>
              <a:gd name="connsiteY142" fmla="*/ 3874565 h 6858000"/>
              <a:gd name="connsiteX143" fmla="*/ 3316479 w 7467600"/>
              <a:gd name="connsiteY143" fmla="*/ 3872136 h 6858000"/>
              <a:gd name="connsiteX144" fmla="*/ 3546806 w 7467600"/>
              <a:gd name="connsiteY144" fmla="*/ 4356139 h 6858000"/>
              <a:gd name="connsiteX145" fmla="*/ 3364433 w 7467600"/>
              <a:gd name="connsiteY145" fmla="*/ 3953121 h 6858000"/>
              <a:gd name="connsiteX146" fmla="*/ 3316479 w 7467600"/>
              <a:gd name="connsiteY146" fmla="*/ 3872136 h 6858000"/>
              <a:gd name="connsiteX147" fmla="*/ 3291335 w 7467600"/>
              <a:gd name="connsiteY147" fmla="*/ 3767420 h 6858000"/>
              <a:gd name="connsiteX148" fmla="*/ 3390805 w 7467600"/>
              <a:gd name="connsiteY148" fmla="*/ 3937163 h 6858000"/>
              <a:gd name="connsiteX149" fmla="*/ 3579062 w 7467600"/>
              <a:gd name="connsiteY149" fmla="*/ 4359040 h 6858000"/>
              <a:gd name="connsiteX150" fmla="*/ 3467355 w 7467600"/>
              <a:gd name="connsiteY150" fmla="*/ 3988130 h 6858000"/>
              <a:gd name="connsiteX151" fmla="*/ 3310753 w 7467600"/>
              <a:gd name="connsiteY151" fmla="*/ 3787140 h 6858000"/>
              <a:gd name="connsiteX152" fmla="*/ 3291335 w 7467600"/>
              <a:gd name="connsiteY152" fmla="*/ 3767420 h 6858000"/>
              <a:gd name="connsiteX153" fmla="*/ 1635889 w 7467600"/>
              <a:gd name="connsiteY153" fmla="*/ 3709494 h 6858000"/>
              <a:gd name="connsiteX154" fmla="*/ 1634800 w 7467600"/>
              <a:gd name="connsiteY154" fmla="*/ 3731111 h 6858000"/>
              <a:gd name="connsiteX155" fmla="*/ 1635889 w 7467600"/>
              <a:gd name="connsiteY155" fmla="*/ 3709494 h 6858000"/>
              <a:gd name="connsiteX156" fmla="*/ 1510397 w 7467600"/>
              <a:gd name="connsiteY156" fmla="*/ 3684705 h 6858000"/>
              <a:gd name="connsiteX157" fmla="*/ 1146550 w 7467600"/>
              <a:gd name="connsiteY157" fmla="*/ 3802012 h 6858000"/>
              <a:gd name="connsiteX158" fmla="*/ 698834 w 7467600"/>
              <a:gd name="connsiteY158" fmla="*/ 3952272 h 6858000"/>
              <a:gd name="connsiteX159" fmla="*/ 34256 w 7467600"/>
              <a:gd name="connsiteY159" fmla="*/ 4347603 h 6858000"/>
              <a:gd name="connsiteX160" fmla="*/ 527241 w 7467600"/>
              <a:gd name="connsiteY160" fmla="*/ 4065078 h 6858000"/>
              <a:gd name="connsiteX161" fmla="*/ 1510397 w 7467600"/>
              <a:gd name="connsiteY161" fmla="*/ 3684705 h 6858000"/>
              <a:gd name="connsiteX162" fmla="*/ 1313114 w 7467600"/>
              <a:gd name="connsiteY162" fmla="*/ 3655216 h 6858000"/>
              <a:gd name="connsiteX163" fmla="*/ 1109304 w 7467600"/>
              <a:gd name="connsiteY163" fmla="*/ 3669030 h 6858000"/>
              <a:gd name="connsiteX164" fmla="*/ 8129 w 7467600"/>
              <a:gd name="connsiteY164" fmla="*/ 4330519 h 6858000"/>
              <a:gd name="connsiteX165" fmla="*/ 687572 w 7467600"/>
              <a:gd name="connsiteY165" fmla="*/ 3925629 h 6858000"/>
              <a:gd name="connsiteX166" fmla="*/ 1138365 w 7467600"/>
              <a:gd name="connsiteY166" fmla="*/ 3774515 h 6858000"/>
              <a:gd name="connsiteX167" fmla="*/ 1505579 w 7467600"/>
              <a:gd name="connsiteY167" fmla="*/ 3655526 h 6858000"/>
              <a:gd name="connsiteX168" fmla="*/ 1313114 w 7467600"/>
              <a:gd name="connsiteY168" fmla="*/ 3655216 h 6858000"/>
              <a:gd name="connsiteX169" fmla="*/ 3655073 w 7467600"/>
              <a:gd name="connsiteY169" fmla="*/ 3650884 h 6858000"/>
              <a:gd name="connsiteX170" fmla="*/ 3989938 w 7467600"/>
              <a:gd name="connsiteY170" fmla="*/ 3991685 h 6858000"/>
              <a:gd name="connsiteX171" fmla="*/ 4393907 w 7467600"/>
              <a:gd name="connsiteY171" fmla="*/ 4261258 h 6858000"/>
              <a:gd name="connsiteX172" fmla="*/ 4648051 w 7467600"/>
              <a:gd name="connsiteY172" fmla="*/ 4374051 h 6858000"/>
              <a:gd name="connsiteX173" fmla="*/ 4383389 w 7467600"/>
              <a:gd name="connsiteY173" fmla="*/ 4184369 h 6858000"/>
              <a:gd name="connsiteX174" fmla="*/ 4165508 w 7467600"/>
              <a:gd name="connsiteY174" fmla="*/ 4035196 h 6858000"/>
              <a:gd name="connsiteX175" fmla="*/ 4068162 w 7467600"/>
              <a:gd name="connsiteY175" fmla="*/ 3953394 h 6858000"/>
              <a:gd name="connsiteX176" fmla="*/ 3981416 w 7467600"/>
              <a:gd name="connsiteY176" fmla="*/ 3880482 h 6858000"/>
              <a:gd name="connsiteX177" fmla="*/ 3800147 w 7467600"/>
              <a:gd name="connsiteY177" fmla="*/ 3749872 h 6858000"/>
              <a:gd name="connsiteX178" fmla="*/ 3655073 w 7467600"/>
              <a:gd name="connsiteY178" fmla="*/ 3650884 h 6858000"/>
              <a:gd name="connsiteX179" fmla="*/ 3670252 w 7467600"/>
              <a:gd name="connsiteY179" fmla="*/ 3622798 h 6858000"/>
              <a:gd name="connsiteX180" fmla="*/ 3817258 w 7467600"/>
              <a:gd name="connsiteY180" fmla="*/ 3723577 h 6858000"/>
              <a:gd name="connsiteX181" fmla="*/ 4000461 w 7467600"/>
              <a:gd name="connsiteY181" fmla="*/ 3855966 h 6858000"/>
              <a:gd name="connsiteX182" fmla="*/ 4088180 w 7467600"/>
              <a:gd name="connsiteY182" fmla="*/ 3929774 h 6858000"/>
              <a:gd name="connsiteX183" fmla="*/ 4184555 w 7467600"/>
              <a:gd name="connsiteY183" fmla="*/ 4010683 h 6858000"/>
              <a:gd name="connsiteX184" fmla="*/ 4399563 w 7467600"/>
              <a:gd name="connsiteY184" fmla="*/ 4158106 h 6858000"/>
              <a:gd name="connsiteX185" fmla="*/ 4684469 w 7467600"/>
              <a:gd name="connsiteY185" fmla="*/ 4364680 h 6858000"/>
              <a:gd name="connsiteX186" fmla="*/ 4690271 w 7467600"/>
              <a:gd name="connsiteY186" fmla="*/ 4370034 h 6858000"/>
              <a:gd name="connsiteX187" fmla="*/ 4136093 w 7467600"/>
              <a:gd name="connsiteY187" fmla="*/ 3858466 h 6858000"/>
              <a:gd name="connsiteX188" fmla="*/ 3670252 w 7467600"/>
              <a:gd name="connsiteY188" fmla="*/ 3622798 h 6858000"/>
              <a:gd name="connsiteX189" fmla="*/ 4440129 w 7467600"/>
              <a:gd name="connsiteY189" fmla="*/ 3448571 h 6858000"/>
              <a:gd name="connsiteX190" fmla="*/ 4856525 w 7467600"/>
              <a:gd name="connsiteY190" fmla="*/ 3915351 h 6858000"/>
              <a:gd name="connsiteX191" fmla="*/ 5059055 w 7467600"/>
              <a:gd name="connsiteY191" fmla="*/ 4108918 h 6858000"/>
              <a:gd name="connsiteX192" fmla="*/ 5290070 w 7467600"/>
              <a:gd name="connsiteY192" fmla="*/ 4263619 h 6858000"/>
              <a:gd name="connsiteX193" fmla="*/ 4834991 w 7467600"/>
              <a:gd name="connsiteY193" fmla="*/ 3830985 h 6858000"/>
              <a:gd name="connsiteX194" fmla="*/ 4440129 w 7467600"/>
              <a:gd name="connsiteY194" fmla="*/ 3448571 h 6858000"/>
              <a:gd name="connsiteX195" fmla="*/ 4441737 w 7467600"/>
              <a:gd name="connsiteY195" fmla="*/ 3399734 h 6858000"/>
              <a:gd name="connsiteX196" fmla="*/ 4431236 w 7467600"/>
              <a:gd name="connsiteY196" fmla="*/ 3400954 h 6858000"/>
              <a:gd name="connsiteX197" fmla="*/ 4557150 w 7467600"/>
              <a:gd name="connsiteY197" fmla="*/ 3510023 h 6858000"/>
              <a:gd name="connsiteX198" fmla="*/ 4856936 w 7467600"/>
              <a:gd name="connsiteY198" fmla="*/ 3809146 h 6858000"/>
              <a:gd name="connsiteX199" fmla="*/ 5111996 w 7467600"/>
              <a:gd name="connsiteY199" fmla="*/ 4065759 h 6858000"/>
              <a:gd name="connsiteX200" fmla="*/ 5388878 w 7467600"/>
              <a:gd name="connsiteY200" fmla="*/ 4300185 h 6858000"/>
              <a:gd name="connsiteX201" fmla="*/ 5425556 w 7467600"/>
              <a:gd name="connsiteY201" fmla="*/ 4308967 h 6858000"/>
              <a:gd name="connsiteX202" fmla="*/ 4943646 w 7467600"/>
              <a:gd name="connsiteY202" fmla="*/ 3822916 h 6858000"/>
              <a:gd name="connsiteX203" fmla="*/ 4594837 w 7467600"/>
              <a:gd name="connsiteY203" fmla="*/ 3532274 h 6858000"/>
              <a:gd name="connsiteX204" fmla="*/ 4441737 w 7467600"/>
              <a:gd name="connsiteY204" fmla="*/ 3399734 h 6858000"/>
              <a:gd name="connsiteX205" fmla="*/ 5425834 w 7467600"/>
              <a:gd name="connsiteY205" fmla="*/ 3162785 h 6858000"/>
              <a:gd name="connsiteX206" fmla="*/ 5401644 w 7467600"/>
              <a:gd name="connsiteY206" fmla="*/ 3617847 h 6858000"/>
              <a:gd name="connsiteX207" fmla="*/ 5467256 w 7467600"/>
              <a:gd name="connsiteY207" fmla="*/ 4175494 h 6858000"/>
              <a:gd name="connsiteX208" fmla="*/ 5448069 w 7467600"/>
              <a:gd name="connsiteY208" fmla="*/ 3567554 h 6858000"/>
              <a:gd name="connsiteX209" fmla="*/ 5425834 w 7467600"/>
              <a:gd name="connsiteY209" fmla="*/ 3162785 h 6858000"/>
              <a:gd name="connsiteX210" fmla="*/ 1318687 w 7467600"/>
              <a:gd name="connsiteY210" fmla="*/ 3113840 h 6858000"/>
              <a:gd name="connsiteX211" fmla="*/ 1066793 w 7467600"/>
              <a:gd name="connsiteY211" fmla="*/ 3212171 h 6858000"/>
              <a:gd name="connsiteX212" fmla="*/ 993319 w 7467600"/>
              <a:gd name="connsiteY212" fmla="*/ 3247648 h 6858000"/>
              <a:gd name="connsiteX213" fmla="*/ 853081 w 7467600"/>
              <a:gd name="connsiteY213" fmla="*/ 3312410 h 6858000"/>
              <a:gd name="connsiteX214" fmla="*/ 805957 w 7467600"/>
              <a:gd name="connsiteY214" fmla="*/ 3330443 h 6858000"/>
              <a:gd name="connsiteX215" fmla="*/ 1318687 w 7467600"/>
              <a:gd name="connsiteY215" fmla="*/ 3113840 h 6858000"/>
              <a:gd name="connsiteX216" fmla="*/ 5453702 w 7467600"/>
              <a:gd name="connsiteY216" fmla="*/ 3090882 h 6858000"/>
              <a:gd name="connsiteX217" fmla="*/ 5480135 w 7467600"/>
              <a:gd name="connsiteY217" fmla="*/ 3565802 h 6858000"/>
              <a:gd name="connsiteX218" fmla="*/ 5499023 w 7467600"/>
              <a:gd name="connsiteY218" fmla="*/ 4166310 h 6858000"/>
              <a:gd name="connsiteX219" fmla="*/ 5547022 w 7467600"/>
              <a:gd name="connsiteY219" fmla="*/ 3607838 h 6858000"/>
              <a:gd name="connsiteX220" fmla="*/ 5515964 w 7467600"/>
              <a:gd name="connsiteY220" fmla="*/ 3378541 h 6858000"/>
              <a:gd name="connsiteX221" fmla="*/ 5453702 w 7467600"/>
              <a:gd name="connsiteY221" fmla="*/ 3090882 h 6858000"/>
              <a:gd name="connsiteX222" fmla="*/ 1238695 w 7467600"/>
              <a:gd name="connsiteY222" fmla="*/ 3076820 h 6858000"/>
              <a:gd name="connsiteX223" fmla="*/ 716371 w 7467600"/>
              <a:gd name="connsiteY223" fmla="*/ 3293249 h 6858000"/>
              <a:gd name="connsiteX224" fmla="*/ 579522 w 7467600"/>
              <a:gd name="connsiteY224" fmla="*/ 3371759 h 6858000"/>
              <a:gd name="connsiteX225" fmla="*/ 600288 w 7467600"/>
              <a:gd name="connsiteY225" fmla="*/ 3365555 h 6858000"/>
              <a:gd name="connsiteX226" fmla="*/ 840692 w 7467600"/>
              <a:gd name="connsiteY226" fmla="*/ 3284921 h 6858000"/>
              <a:gd name="connsiteX227" fmla="*/ 979248 w 7467600"/>
              <a:gd name="connsiteY227" fmla="*/ 3221003 h 6858000"/>
              <a:gd name="connsiteX228" fmla="*/ 1053282 w 7467600"/>
              <a:gd name="connsiteY228" fmla="*/ 3185247 h 6858000"/>
              <a:gd name="connsiteX229" fmla="*/ 1320603 w 7467600"/>
              <a:gd name="connsiteY229" fmla="*/ 3081281 h 6858000"/>
              <a:gd name="connsiteX230" fmla="*/ 1238695 w 7467600"/>
              <a:gd name="connsiteY230" fmla="*/ 3076820 h 6858000"/>
              <a:gd name="connsiteX231" fmla="*/ 5425627 w 7467600"/>
              <a:gd name="connsiteY231" fmla="*/ 2954192 h 6858000"/>
              <a:gd name="connsiteX232" fmla="*/ 5470770 w 7467600"/>
              <a:gd name="connsiteY232" fmla="*/ 3005435 h 6858000"/>
              <a:gd name="connsiteX233" fmla="*/ 5519779 w 7467600"/>
              <a:gd name="connsiteY233" fmla="*/ 4359223 h 6858000"/>
              <a:gd name="connsiteX234" fmla="*/ 5520293 w 7467600"/>
              <a:gd name="connsiteY234" fmla="*/ 4360602 h 6858000"/>
              <a:gd name="connsiteX235" fmla="*/ 5767221 w 7467600"/>
              <a:gd name="connsiteY235" fmla="*/ 4665564 h 6858000"/>
              <a:gd name="connsiteX236" fmla="*/ 6937169 w 7467600"/>
              <a:gd name="connsiteY236" fmla="*/ 4815941 h 6858000"/>
              <a:gd name="connsiteX237" fmla="*/ 6953922 w 7467600"/>
              <a:gd name="connsiteY237" fmla="*/ 4890068 h 6858000"/>
              <a:gd name="connsiteX238" fmla="*/ 6071359 w 7467600"/>
              <a:gd name="connsiteY238" fmla="*/ 4770770 h 6858000"/>
              <a:gd name="connsiteX239" fmla="*/ 6038839 w 7467600"/>
              <a:gd name="connsiteY239" fmla="*/ 4764474 h 6858000"/>
              <a:gd name="connsiteX240" fmla="*/ 6038706 w 7467600"/>
              <a:gd name="connsiteY240" fmla="*/ 4763847 h 6858000"/>
              <a:gd name="connsiteX241" fmla="*/ 6037784 w 7467600"/>
              <a:gd name="connsiteY241" fmla="*/ 4764270 h 6858000"/>
              <a:gd name="connsiteX242" fmla="*/ 6038839 w 7467600"/>
              <a:gd name="connsiteY242" fmla="*/ 4764474 h 6858000"/>
              <a:gd name="connsiteX243" fmla="*/ 6040338 w 7467600"/>
              <a:gd name="connsiteY243" fmla="*/ 4771418 h 6858000"/>
              <a:gd name="connsiteX244" fmla="*/ 6024488 w 7467600"/>
              <a:gd name="connsiteY244" fmla="*/ 4809903 h 6858000"/>
              <a:gd name="connsiteX245" fmla="*/ 5599771 w 7467600"/>
              <a:gd name="connsiteY245" fmla="*/ 5509652 h 6858000"/>
              <a:gd name="connsiteX246" fmla="*/ 5548843 w 7467600"/>
              <a:gd name="connsiteY246" fmla="*/ 5563845 h 6858000"/>
              <a:gd name="connsiteX247" fmla="*/ 5940952 w 7467600"/>
              <a:gd name="connsiteY247" fmla="*/ 6250028 h 6858000"/>
              <a:gd name="connsiteX248" fmla="*/ 6043441 w 7467600"/>
              <a:gd name="connsiteY248" fmla="*/ 6665847 h 6858000"/>
              <a:gd name="connsiteX249" fmla="*/ 6093432 w 7467600"/>
              <a:gd name="connsiteY249" fmla="*/ 6858000 h 6858000"/>
              <a:gd name="connsiteX250" fmla="*/ 6034344 w 7467600"/>
              <a:gd name="connsiteY250" fmla="*/ 6858000 h 6858000"/>
              <a:gd name="connsiteX251" fmla="*/ 6026679 w 7467600"/>
              <a:gd name="connsiteY251" fmla="*/ 6836959 h 6858000"/>
              <a:gd name="connsiteX252" fmla="*/ 5800441 w 7467600"/>
              <a:gd name="connsiteY252" fmla="*/ 6335286 h 6858000"/>
              <a:gd name="connsiteX253" fmla="*/ 5526562 w 7467600"/>
              <a:gd name="connsiteY253" fmla="*/ 5705388 h 6858000"/>
              <a:gd name="connsiteX254" fmla="*/ 5519640 w 7467600"/>
              <a:gd name="connsiteY254" fmla="*/ 5683774 h 6858000"/>
              <a:gd name="connsiteX255" fmla="*/ 5844559 w 7467600"/>
              <a:gd name="connsiteY255" fmla="*/ 6553349 h 6858000"/>
              <a:gd name="connsiteX256" fmla="*/ 5975994 w 7467600"/>
              <a:gd name="connsiteY256" fmla="*/ 6858000 h 6858000"/>
              <a:gd name="connsiteX257" fmla="*/ 5898547 w 7467600"/>
              <a:gd name="connsiteY257" fmla="*/ 6858000 h 6858000"/>
              <a:gd name="connsiteX258" fmla="*/ 5682041 w 7467600"/>
              <a:gd name="connsiteY258" fmla="*/ 6355860 h 6858000"/>
              <a:gd name="connsiteX259" fmla="*/ 5461758 w 7467600"/>
              <a:gd name="connsiteY259" fmla="*/ 5820220 h 6858000"/>
              <a:gd name="connsiteX260" fmla="*/ 5237282 w 7467600"/>
              <a:gd name="connsiteY260" fmla="*/ 6579086 h 6858000"/>
              <a:gd name="connsiteX261" fmla="*/ 5115009 w 7467600"/>
              <a:gd name="connsiteY261" fmla="*/ 6858000 h 6858000"/>
              <a:gd name="connsiteX262" fmla="*/ 5028074 w 7467600"/>
              <a:gd name="connsiteY262" fmla="*/ 6858000 h 6858000"/>
              <a:gd name="connsiteX263" fmla="*/ 5079508 w 7467600"/>
              <a:gd name="connsiteY263" fmla="*/ 6749074 h 6858000"/>
              <a:gd name="connsiteX264" fmla="*/ 5371846 w 7467600"/>
              <a:gd name="connsiteY264" fmla="*/ 5924413 h 6858000"/>
              <a:gd name="connsiteX265" fmla="*/ 5270512 w 7467600"/>
              <a:gd name="connsiteY265" fmla="*/ 6138975 h 6858000"/>
              <a:gd name="connsiteX266" fmla="*/ 5062409 w 7467600"/>
              <a:gd name="connsiteY266" fmla="*/ 6653544 h 6858000"/>
              <a:gd name="connsiteX267" fmla="*/ 5036628 w 7467600"/>
              <a:gd name="connsiteY267" fmla="*/ 6754247 h 6858000"/>
              <a:gd name="connsiteX268" fmla="*/ 5009112 w 7467600"/>
              <a:gd name="connsiteY268" fmla="*/ 6858000 h 6858000"/>
              <a:gd name="connsiteX269" fmla="*/ 4976679 w 7467600"/>
              <a:gd name="connsiteY269" fmla="*/ 6858000 h 6858000"/>
              <a:gd name="connsiteX270" fmla="*/ 5006537 w 7467600"/>
              <a:gd name="connsiteY270" fmla="*/ 6747068 h 6858000"/>
              <a:gd name="connsiteX271" fmla="*/ 5032723 w 7467600"/>
              <a:gd name="connsiteY271" fmla="*/ 6644957 h 6858000"/>
              <a:gd name="connsiteX272" fmla="*/ 5242949 w 7467600"/>
              <a:gd name="connsiteY272" fmla="*/ 6125175 h 6858000"/>
              <a:gd name="connsiteX273" fmla="*/ 5286321 w 7467600"/>
              <a:gd name="connsiteY273" fmla="*/ 6033555 h 6858000"/>
              <a:gd name="connsiteX274" fmla="*/ 5008210 w 7467600"/>
              <a:gd name="connsiteY274" fmla="*/ 6649194 h 6858000"/>
              <a:gd name="connsiteX275" fmla="*/ 4986321 w 7467600"/>
              <a:gd name="connsiteY275" fmla="*/ 6765687 h 6858000"/>
              <a:gd name="connsiteX276" fmla="*/ 4973474 w 7467600"/>
              <a:gd name="connsiteY276" fmla="*/ 6858000 h 6858000"/>
              <a:gd name="connsiteX277" fmla="*/ 4907178 w 7467600"/>
              <a:gd name="connsiteY277" fmla="*/ 6858000 h 6858000"/>
              <a:gd name="connsiteX278" fmla="*/ 4910810 w 7467600"/>
              <a:gd name="connsiteY278" fmla="*/ 6829660 h 6858000"/>
              <a:gd name="connsiteX279" fmla="*/ 4987461 w 7467600"/>
              <a:gd name="connsiteY279" fmla="*/ 6432994 h 6858000"/>
              <a:gd name="connsiteX280" fmla="*/ 5179262 w 7467600"/>
              <a:gd name="connsiteY280" fmla="*/ 6035044 h 6858000"/>
              <a:gd name="connsiteX281" fmla="*/ 4689678 w 7467600"/>
              <a:gd name="connsiteY281" fmla="*/ 6440241 h 6858000"/>
              <a:gd name="connsiteX282" fmla="*/ 4477543 w 7467600"/>
              <a:gd name="connsiteY282" fmla="*/ 6674836 h 6858000"/>
              <a:gd name="connsiteX283" fmla="*/ 4329957 w 7467600"/>
              <a:gd name="connsiteY283" fmla="*/ 6858000 h 6858000"/>
              <a:gd name="connsiteX284" fmla="*/ 4218595 w 7467600"/>
              <a:gd name="connsiteY284" fmla="*/ 6858000 h 6858000"/>
              <a:gd name="connsiteX285" fmla="*/ 4368888 w 7467600"/>
              <a:gd name="connsiteY285" fmla="*/ 6668412 h 6858000"/>
              <a:gd name="connsiteX286" fmla="*/ 4563091 w 7467600"/>
              <a:gd name="connsiteY286" fmla="*/ 6442508 h 6858000"/>
              <a:gd name="connsiteX287" fmla="*/ 5387324 w 7467600"/>
              <a:gd name="connsiteY287" fmla="*/ 5705830 h 6858000"/>
              <a:gd name="connsiteX288" fmla="*/ 5073620 w 7467600"/>
              <a:gd name="connsiteY288" fmla="*/ 5955437 h 6858000"/>
              <a:gd name="connsiteX289" fmla="*/ 4689789 w 7467600"/>
              <a:gd name="connsiteY289" fmla="*/ 6268382 h 6858000"/>
              <a:gd name="connsiteX290" fmla="*/ 4418722 w 7467600"/>
              <a:gd name="connsiteY290" fmla="*/ 6570886 h 6858000"/>
              <a:gd name="connsiteX291" fmla="*/ 4214944 w 7467600"/>
              <a:gd name="connsiteY291" fmla="*/ 6858000 h 6858000"/>
              <a:gd name="connsiteX292" fmla="*/ 4177898 w 7467600"/>
              <a:gd name="connsiteY292" fmla="*/ 6858000 h 6858000"/>
              <a:gd name="connsiteX293" fmla="*/ 4391597 w 7467600"/>
              <a:gd name="connsiteY293" fmla="*/ 6556370 h 6858000"/>
              <a:gd name="connsiteX294" fmla="*/ 4668889 w 7467600"/>
              <a:gd name="connsiteY294" fmla="*/ 6246399 h 6858000"/>
              <a:gd name="connsiteX295" fmla="*/ 5055427 w 7467600"/>
              <a:gd name="connsiteY295" fmla="*/ 5931476 h 6858000"/>
              <a:gd name="connsiteX296" fmla="*/ 5371814 w 7467600"/>
              <a:gd name="connsiteY296" fmla="*/ 5678975 h 6858000"/>
              <a:gd name="connsiteX297" fmla="*/ 4987918 w 7467600"/>
              <a:gd name="connsiteY297" fmla="*/ 5838701 h 6858000"/>
              <a:gd name="connsiteX298" fmla="*/ 4317146 w 7467600"/>
              <a:gd name="connsiteY298" fmla="*/ 6587716 h 6858000"/>
              <a:gd name="connsiteX299" fmla="*/ 4171627 w 7467600"/>
              <a:gd name="connsiteY299" fmla="*/ 6858000 h 6858000"/>
              <a:gd name="connsiteX300" fmla="*/ 4081585 w 7467600"/>
              <a:gd name="connsiteY300" fmla="*/ 6858000 h 6858000"/>
              <a:gd name="connsiteX301" fmla="*/ 4238603 w 7467600"/>
              <a:gd name="connsiteY301" fmla="*/ 6559341 h 6858000"/>
              <a:gd name="connsiteX302" fmla="*/ 4778333 w 7467600"/>
              <a:gd name="connsiteY302" fmla="*/ 5873626 h 6858000"/>
              <a:gd name="connsiteX303" fmla="*/ 5414185 w 7467600"/>
              <a:gd name="connsiteY303" fmla="*/ 5573882 h 6858000"/>
              <a:gd name="connsiteX304" fmla="*/ 5959648 w 7467600"/>
              <a:gd name="connsiteY304" fmla="*/ 4760797 h 6858000"/>
              <a:gd name="connsiteX305" fmla="*/ 5355019 w 7467600"/>
              <a:gd name="connsiteY305" fmla="*/ 4734672 h 6858000"/>
              <a:gd name="connsiteX306" fmla="*/ 5083565 w 7467600"/>
              <a:gd name="connsiteY306" fmla="*/ 5179121 h 6858000"/>
              <a:gd name="connsiteX307" fmla="*/ 4713577 w 7467600"/>
              <a:gd name="connsiteY307" fmla="*/ 5616803 h 6858000"/>
              <a:gd name="connsiteX308" fmla="*/ 3989559 w 7467600"/>
              <a:gd name="connsiteY308" fmla="*/ 6145945 h 6858000"/>
              <a:gd name="connsiteX309" fmla="*/ 3939824 w 7467600"/>
              <a:gd name="connsiteY309" fmla="*/ 6066900 h 6858000"/>
              <a:gd name="connsiteX310" fmla="*/ 4584537 w 7467600"/>
              <a:gd name="connsiteY310" fmla="*/ 5324826 h 6858000"/>
              <a:gd name="connsiteX311" fmla="*/ 5037105 w 7467600"/>
              <a:gd name="connsiteY311" fmla="*/ 5088765 h 6858000"/>
              <a:gd name="connsiteX312" fmla="*/ 5039930 w 7467600"/>
              <a:gd name="connsiteY312" fmla="*/ 5089585 h 6858000"/>
              <a:gd name="connsiteX313" fmla="*/ 5263764 w 7467600"/>
              <a:gd name="connsiteY313" fmla="*/ 4735525 h 6858000"/>
              <a:gd name="connsiteX314" fmla="*/ 4086300 w 7467600"/>
              <a:gd name="connsiteY314" fmla="*/ 4884599 h 6858000"/>
              <a:gd name="connsiteX315" fmla="*/ 4085485 w 7467600"/>
              <a:gd name="connsiteY315" fmla="*/ 4899070 h 6858000"/>
              <a:gd name="connsiteX316" fmla="*/ 3871915 w 7467600"/>
              <a:gd name="connsiteY316" fmla="*/ 5253645 h 6858000"/>
              <a:gd name="connsiteX317" fmla="*/ 3799374 w 7467600"/>
              <a:gd name="connsiteY317" fmla="*/ 5466127 h 6858000"/>
              <a:gd name="connsiteX318" fmla="*/ 3498850 w 7467600"/>
              <a:gd name="connsiteY318" fmla="*/ 6661888 h 6858000"/>
              <a:gd name="connsiteX319" fmla="*/ 3399216 w 7467600"/>
              <a:gd name="connsiteY319" fmla="*/ 6858000 h 6858000"/>
              <a:gd name="connsiteX320" fmla="*/ 3303688 w 7467600"/>
              <a:gd name="connsiteY320" fmla="*/ 6858000 h 6858000"/>
              <a:gd name="connsiteX321" fmla="*/ 3391774 w 7467600"/>
              <a:gd name="connsiteY321" fmla="*/ 6697181 h 6858000"/>
              <a:gd name="connsiteX322" fmla="*/ 3735540 w 7467600"/>
              <a:gd name="connsiteY322" fmla="*/ 5546923 h 6858000"/>
              <a:gd name="connsiteX323" fmla="*/ 3729438 w 7467600"/>
              <a:gd name="connsiteY323" fmla="*/ 5569058 h 6858000"/>
              <a:gd name="connsiteX324" fmla="*/ 3707782 w 7467600"/>
              <a:gd name="connsiteY324" fmla="*/ 5644908 h 6858000"/>
              <a:gd name="connsiteX325" fmla="*/ 3583827 w 7467600"/>
              <a:gd name="connsiteY325" fmla="*/ 6039215 h 6858000"/>
              <a:gd name="connsiteX326" fmla="*/ 3547861 w 7467600"/>
              <a:gd name="connsiteY326" fmla="*/ 6129609 h 6858000"/>
              <a:gd name="connsiteX327" fmla="*/ 3490905 w 7467600"/>
              <a:gd name="connsiteY327" fmla="*/ 6277660 h 6858000"/>
              <a:gd name="connsiteX328" fmla="*/ 3455859 w 7467600"/>
              <a:gd name="connsiteY328" fmla="*/ 6391301 h 6858000"/>
              <a:gd name="connsiteX329" fmla="*/ 3429112 w 7467600"/>
              <a:gd name="connsiteY329" fmla="*/ 6479469 h 6858000"/>
              <a:gd name="connsiteX330" fmla="*/ 3304862 w 7467600"/>
              <a:gd name="connsiteY330" fmla="*/ 6796476 h 6858000"/>
              <a:gd name="connsiteX331" fmla="*/ 3276071 w 7467600"/>
              <a:gd name="connsiteY331" fmla="*/ 6858000 h 6858000"/>
              <a:gd name="connsiteX332" fmla="*/ 3240805 w 7467600"/>
              <a:gd name="connsiteY332" fmla="*/ 6858000 h 6858000"/>
              <a:gd name="connsiteX333" fmla="*/ 3275917 w 7467600"/>
              <a:gd name="connsiteY333" fmla="*/ 6783192 h 6858000"/>
              <a:gd name="connsiteX334" fmla="*/ 3399358 w 7467600"/>
              <a:gd name="connsiteY334" fmla="*/ 6469011 h 6858000"/>
              <a:gd name="connsiteX335" fmla="*/ 3425650 w 7467600"/>
              <a:gd name="connsiteY335" fmla="*/ 6381333 h 6858000"/>
              <a:gd name="connsiteX336" fmla="*/ 3460661 w 7467600"/>
              <a:gd name="connsiteY336" fmla="*/ 6266763 h 6858000"/>
              <a:gd name="connsiteX337" fmla="*/ 3518021 w 7467600"/>
              <a:gd name="connsiteY337" fmla="*/ 6117298 h 6858000"/>
              <a:gd name="connsiteX338" fmla="*/ 3554035 w 7467600"/>
              <a:gd name="connsiteY338" fmla="*/ 6027832 h 6858000"/>
              <a:gd name="connsiteX339" fmla="*/ 3677174 w 7467600"/>
              <a:gd name="connsiteY339" fmla="*/ 5636351 h 6858000"/>
              <a:gd name="connsiteX340" fmla="*/ 3698819 w 7467600"/>
              <a:gd name="connsiteY340" fmla="*/ 5560503 h 6858000"/>
              <a:gd name="connsiteX341" fmla="*/ 3702094 w 7467600"/>
              <a:gd name="connsiteY341" fmla="*/ 5549194 h 6858000"/>
              <a:gd name="connsiteX342" fmla="*/ 3398355 w 7467600"/>
              <a:gd name="connsiteY342" fmla="*/ 6094603 h 6858000"/>
              <a:gd name="connsiteX343" fmla="*/ 3193941 w 7467600"/>
              <a:gd name="connsiteY343" fmla="*/ 6798775 h 6858000"/>
              <a:gd name="connsiteX344" fmla="*/ 3184140 w 7467600"/>
              <a:gd name="connsiteY344" fmla="*/ 6858000 h 6858000"/>
              <a:gd name="connsiteX345" fmla="*/ 3099978 w 7467600"/>
              <a:gd name="connsiteY345" fmla="*/ 6858000 h 6858000"/>
              <a:gd name="connsiteX346" fmla="*/ 3101556 w 7467600"/>
              <a:gd name="connsiteY346" fmla="*/ 6843337 h 6858000"/>
              <a:gd name="connsiteX347" fmla="*/ 3370162 w 7467600"/>
              <a:gd name="connsiteY347" fmla="*/ 5785550 h 6858000"/>
              <a:gd name="connsiteX348" fmla="*/ 3746477 w 7467600"/>
              <a:gd name="connsiteY348" fmla="*/ 5377889 h 6858000"/>
              <a:gd name="connsiteX349" fmla="*/ 3863399 w 7467600"/>
              <a:gd name="connsiteY349" fmla="*/ 5087257 h 6858000"/>
              <a:gd name="connsiteX350" fmla="*/ 3968712 w 7467600"/>
              <a:gd name="connsiteY350" fmla="*/ 4913989 h 6858000"/>
              <a:gd name="connsiteX351" fmla="*/ 2792390 w 7467600"/>
              <a:gd name="connsiteY351" fmla="*/ 5382974 h 6858000"/>
              <a:gd name="connsiteX352" fmla="*/ 2714982 w 7467600"/>
              <a:gd name="connsiteY352" fmla="*/ 5427051 h 6858000"/>
              <a:gd name="connsiteX353" fmla="*/ 2813361 w 7467600"/>
              <a:gd name="connsiteY353" fmla="*/ 6023912 h 6858000"/>
              <a:gd name="connsiteX354" fmla="*/ 2688430 w 7467600"/>
              <a:gd name="connsiteY354" fmla="*/ 6801564 h 6858000"/>
              <a:gd name="connsiteX355" fmla="*/ 2629626 w 7467600"/>
              <a:gd name="connsiteY355" fmla="*/ 6763394 h 6858000"/>
              <a:gd name="connsiteX356" fmla="*/ 2565328 w 7467600"/>
              <a:gd name="connsiteY356" fmla="*/ 5516399 h 6858000"/>
              <a:gd name="connsiteX357" fmla="*/ 1922999 w 7467600"/>
              <a:gd name="connsiteY357" fmla="*/ 5980343 h 6858000"/>
              <a:gd name="connsiteX358" fmla="*/ 1950261 w 7467600"/>
              <a:gd name="connsiteY358" fmla="*/ 6405858 h 6858000"/>
              <a:gd name="connsiteX359" fmla="*/ 2365554 w 7467600"/>
              <a:gd name="connsiteY359" fmla="*/ 6759107 h 6858000"/>
              <a:gd name="connsiteX360" fmla="*/ 2424142 w 7467600"/>
              <a:gd name="connsiteY360" fmla="*/ 6858000 h 6858000"/>
              <a:gd name="connsiteX361" fmla="*/ 2395994 w 7467600"/>
              <a:gd name="connsiteY361" fmla="*/ 6858000 h 6858000"/>
              <a:gd name="connsiteX362" fmla="*/ 2392863 w 7467600"/>
              <a:gd name="connsiteY362" fmla="*/ 6852964 h 6858000"/>
              <a:gd name="connsiteX363" fmla="*/ 2017589 w 7467600"/>
              <a:gd name="connsiteY363" fmla="*/ 6493982 h 6858000"/>
              <a:gd name="connsiteX364" fmla="*/ 2147336 w 7467600"/>
              <a:gd name="connsiteY364" fmla="*/ 6594052 h 6858000"/>
              <a:gd name="connsiteX365" fmla="*/ 2207047 w 7467600"/>
              <a:gd name="connsiteY365" fmla="*/ 6654540 h 6858000"/>
              <a:gd name="connsiteX366" fmla="*/ 2299106 w 7467600"/>
              <a:gd name="connsiteY366" fmla="*/ 6778931 h 6858000"/>
              <a:gd name="connsiteX367" fmla="*/ 2314430 w 7467600"/>
              <a:gd name="connsiteY367" fmla="*/ 6801144 h 6858000"/>
              <a:gd name="connsiteX368" fmla="*/ 2352406 w 7467600"/>
              <a:gd name="connsiteY368" fmla="*/ 6858000 h 6858000"/>
              <a:gd name="connsiteX369" fmla="*/ 2314492 w 7467600"/>
              <a:gd name="connsiteY369" fmla="*/ 6858000 h 6858000"/>
              <a:gd name="connsiteX370" fmla="*/ 2288095 w 7467600"/>
              <a:gd name="connsiteY370" fmla="*/ 6818030 h 6858000"/>
              <a:gd name="connsiteX371" fmla="*/ 2272768 w 7467600"/>
              <a:gd name="connsiteY371" fmla="*/ 6795822 h 6858000"/>
              <a:gd name="connsiteX372" fmla="*/ 2182715 w 7467600"/>
              <a:gd name="connsiteY372" fmla="*/ 6675071 h 6858000"/>
              <a:gd name="connsiteX373" fmla="*/ 2032061 w 7467600"/>
              <a:gd name="connsiteY373" fmla="*/ 6541380 h 6858000"/>
              <a:gd name="connsiteX374" fmla="*/ 2257220 w 7467600"/>
              <a:gd name="connsiteY374" fmla="*/ 6826257 h 6858000"/>
              <a:gd name="connsiteX375" fmla="*/ 2281324 w 7467600"/>
              <a:gd name="connsiteY375" fmla="*/ 6858000 h 6858000"/>
              <a:gd name="connsiteX376" fmla="*/ 2242860 w 7467600"/>
              <a:gd name="connsiteY376" fmla="*/ 6858000 h 6858000"/>
              <a:gd name="connsiteX377" fmla="*/ 2232818 w 7467600"/>
              <a:gd name="connsiteY377" fmla="*/ 6844926 h 6858000"/>
              <a:gd name="connsiteX378" fmla="*/ 1990172 w 7467600"/>
              <a:gd name="connsiteY378" fmla="*/ 6542121 h 6858000"/>
              <a:gd name="connsiteX379" fmla="*/ 2124090 w 7467600"/>
              <a:gd name="connsiteY379" fmla="*/ 6761017 h 6858000"/>
              <a:gd name="connsiteX380" fmla="*/ 2200380 w 7467600"/>
              <a:gd name="connsiteY380" fmla="*/ 6858000 h 6858000"/>
              <a:gd name="connsiteX381" fmla="*/ 2147507 w 7467600"/>
              <a:gd name="connsiteY381" fmla="*/ 6858000 h 6858000"/>
              <a:gd name="connsiteX382" fmla="*/ 2070668 w 7467600"/>
              <a:gd name="connsiteY382" fmla="*/ 6761520 h 6858000"/>
              <a:gd name="connsiteX383" fmla="*/ 1975142 w 7467600"/>
              <a:gd name="connsiteY383" fmla="*/ 6585570 h 6858000"/>
              <a:gd name="connsiteX384" fmla="*/ 2050035 w 7467600"/>
              <a:gd name="connsiteY384" fmla="*/ 6813345 h 6858000"/>
              <a:gd name="connsiteX385" fmla="*/ 2063025 w 7467600"/>
              <a:gd name="connsiteY385" fmla="*/ 6858000 h 6858000"/>
              <a:gd name="connsiteX386" fmla="*/ 2021675 w 7467600"/>
              <a:gd name="connsiteY386" fmla="*/ 6858000 h 6858000"/>
              <a:gd name="connsiteX387" fmla="*/ 2019308 w 7467600"/>
              <a:gd name="connsiteY387" fmla="*/ 6847118 h 6858000"/>
              <a:gd name="connsiteX388" fmla="*/ 1938835 w 7467600"/>
              <a:gd name="connsiteY388" fmla="*/ 6551160 h 6858000"/>
              <a:gd name="connsiteX389" fmla="*/ 1953230 w 7467600"/>
              <a:gd name="connsiteY389" fmla="*/ 6759699 h 6858000"/>
              <a:gd name="connsiteX390" fmla="*/ 1956763 w 7467600"/>
              <a:gd name="connsiteY390" fmla="*/ 6778191 h 6858000"/>
              <a:gd name="connsiteX391" fmla="*/ 1967925 w 7467600"/>
              <a:gd name="connsiteY391" fmla="*/ 6858000 h 6858000"/>
              <a:gd name="connsiteX392" fmla="*/ 1936622 w 7467600"/>
              <a:gd name="connsiteY392" fmla="*/ 6858000 h 6858000"/>
              <a:gd name="connsiteX393" fmla="*/ 1926261 w 7467600"/>
              <a:gd name="connsiteY393" fmla="*/ 6784064 h 6858000"/>
              <a:gd name="connsiteX394" fmla="*/ 1922724 w 7467600"/>
              <a:gd name="connsiteY394" fmla="*/ 6765577 h 6858000"/>
              <a:gd name="connsiteX395" fmla="*/ 1904650 w 7467600"/>
              <a:gd name="connsiteY395" fmla="*/ 6639616 h 6858000"/>
              <a:gd name="connsiteX396" fmla="*/ 1885273 w 7467600"/>
              <a:gd name="connsiteY396" fmla="*/ 6858000 h 6858000"/>
              <a:gd name="connsiteX397" fmla="*/ 1854363 w 7467600"/>
              <a:gd name="connsiteY397" fmla="*/ 6858000 h 6858000"/>
              <a:gd name="connsiteX398" fmla="*/ 1880391 w 7467600"/>
              <a:gd name="connsiteY398" fmla="*/ 6603796 h 6858000"/>
              <a:gd name="connsiteX399" fmla="*/ 1818273 w 7467600"/>
              <a:gd name="connsiteY399" fmla="*/ 6715729 h 6858000"/>
              <a:gd name="connsiteX400" fmla="*/ 1794691 w 7467600"/>
              <a:gd name="connsiteY400" fmla="*/ 6843239 h 6858000"/>
              <a:gd name="connsiteX401" fmla="*/ 1794914 w 7467600"/>
              <a:gd name="connsiteY401" fmla="*/ 6858000 h 6858000"/>
              <a:gd name="connsiteX402" fmla="*/ 1746128 w 7467600"/>
              <a:gd name="connsiteY402" fmla="*/ 6858000 h 6858000"/>
              <a:gd name="connsiteX403" fmla="*/ 1753934 w 7467600"/>
              <a:gd name="connsiteY403" fmla="*/ 6724796 h 6858000"/>
              <a:gd name="connsiteX404" fmla="*/ 1792053 w 7467600"/>
              <a:gd name="connsiteY404" fmla="*/ 6572396 h 6858000"/>
              <a:gd name="connsiteX405" fmla="*/ 1862248 w 7467600"/>
              <a:gd name="connsiteY405" fmla="*/ 6266397 h 6858000"/>
              <a:gd name="connsiteX406" fmla="*/ 1862250 w 7467600"/>
              <a:gd name="connsiteY406" fmla="*/ 6033531 h 6858000"/>
              <a:gd name="connsiteX407" fmla="*/ 1211999 w 7467600"/>
              <a:gd name="connsiteY407" fmla="*/ 6683610 h 6858000"/>
              <a:gd name="connsiteX408" fmla="*/ 1213266 w 7467600"/>
              <a:gd name="connsiteY408" fmla="*/ 6691947 h 6858000"/>
              <a:gd name="connsiteX409" fmla="*/ 1203370 w 7467600"/>
              <a:gd name="connsiteY409" fmla="*/ 6850676 h 6858000"/>
              <a:gd name="connsiteX410" fmla="*/ 1203671 w 7467600"/>
              <a:gd name="connsiteY410" fmla="*/ 6858000 h 6858000"/>
              <a:gd name="connsiteX411" fmla="*/ 1143180 w 7467600"/>
              <a:gd name="connsiteY411" fmla="*/ 6858000 h 6858000"/>
              <a:gd name="connsiteX412" fmla="*/ 1142176 w 7467600"/>
              <a:gd name="connsiteY412" fmla="*/ 6766045 h 6858000"/>
              <a:gd name="connsiteX413" fmla="*/ 1067484 w 7467600"/>
              <a:gd name="connsiteY413" fmla="*/ 6858000 h 6858000"/>
              <a:gd name="connsiteX414" fmla="*/ 953928 w 7467600"/>
              <a:gd name="connsiteY414" fmla="*/ 6858000 h 6858000"/>
              <a:gd name="connsiteX415" fmla="*/ 959715 w 7467600"/>
              <a:gd name="connsiteY415" fmla="*/ 6850185 h 6858000"/>
              <a:gd name="connsiteX416" fmla="*/ 1483788 w 7467600"/>
              <a:gd name="connsiteY416" fmla="*/ 6259174 h 6858000"/>
              <a:gd name="connsiteX417" fmla="*/ 1100671 w 7467600"/>
              <a:gd name="connsiteY417" fmla="*/ 6252137 h 6858000"/>
              <a:gd name="connsiteX418" fmla="*/ 1090144 w 7467600"/>
              <a:gd name="connsiteY418" fmla="*/ 6256748 h 6858000"/>
              <a:gd name="connsiteX419" fmla="*/ 1095872 w 7467600"/>
              <a:gd name="connsiteY419" fmla="*/ 6271892 h 6858000"/>
              <a:gd name="connsiteX420" fmla="*/ 262785 w 7467600"/>
              <a:gd name="connsiteY420" fmla="*/ 6845450 h 6858000"/>
              <a:gd name="connsiteX421" fmla="*/ 209968 w 7467600"/>
              <a:gd name="connsiteY421" fmla="*/ 6770713 h 6858000"/>
              <a:gd name="connsiteX422" fmla="*/ 873460 w 7467600"/>
              <a:gd name="connsiteY422" fmla="*/ 6253768 h 6858000"/>
              <a:gd name="connsiteX423" fmla="*/ 192686 w 7467600"/>
              <a:gd name="connsiteY423" fmla="*/ 5849257 h 6858000"/>
              <a:gd name="connsiteX424" fmla="*/ 4696 w 7467600"/>
              <a:gd name="connsiteY424" fmla="*/ 5697668 h 6858000"/>
              <a:gd name="connsiteX425" fmla="*/ 0 w 7467600"/>
              <a:gd name="connsiteY425" fmla="*/ 5689984 h 6858000"/>
              <a:gd name="connsiteX426" fmla="*/ 0 w 7467600"/>
              <a:gd name="connsiteY426" fmla="*/ 5513472 h 6858000"/>
              <a:gd name="connsiteX427" fmla="*/ 174101 w 7467600"/>
              <a:gd name="connsiteY427" fmla="*/ 5620277 h 6858000"/>
              <a:gd name="connsiteX428" fmla="*/ 891800 w 7467600"/>
              <a:gd name="connsiteY428" fmla="*/ 6036935 h 6858000"/>
              <a:gd name="connsiteX429" fmla="*/ 1072219 w 7467600"/>
              <a:gd name="connsiteY429" fmla="*/ 6169443 h 6858000"/>
              <a:gd name="connsiteX430" fmla="*/ 1074117 w 7467600"/>
              <a:gd name="connsiteY430" fmla="*/ 6170301 h 6858000"/>
              <a:gd name="connsiteX431" fmla="*/ 1083114 w 7467600"/>
              <a:gd name="connsiteY431" fmla="*/ 6174131 h 6858000"/>
              <a:gd name="connsiteX432" fmla="*/ 1543010 w 7467600"/>
              <a:gd name="connsiteY432" fmla="*/ 6191140 h 6858000"/>
              <a:gd name="connsiteX433" fmla="*/ 1551080 w 7467600"/>
              <a:gd name="connsiteY433" fmla="*/ 6195006 h 6858000"/>
              <a:gd name="connsiteX434" fmla="*/ 2345443 w 7467600"/>
              <a:gd name="connsiteY434" fmla="*/ 5549882 h 6858000"/>
              <a:gd name="connsiteX435" fmla="*/ 1721499 w 7467600"/>
              <a:gd name="connsiteY435" fmla="*/ 5599969 h 6858000"/>
              <a:gd name="connsiteX436" fmla="*/ 767716 w 7467600"/>
              <a:gd name="connsiteY436" fmla="*/ 5472768 h 6858000"/>
              <a:gd name="connsiteX437" fmla="*/ 722147 w 7467600"/>
              <a:gd name="connsiteY437" fmla="*/ 5393091 h 6858000"/>
              <a:gd name="connsiteX438" fmla="*/ 1485552 w 7467600"/>
              <a:gd name="connsiteY438" fmla="*/ 5313202 h 6858000"/>
              <a:gd name="connsiteX439" fmla="*/ 2143004 w 7467600"/>
              <a:gd name="connsiteY439" fmla="*/ 5402420 h 6858000"/>
              <a:gd name="connsiteX440" fmla="*/ 1933391 w 7467600"/>
              <a:gd name="connsiteY440" fmla="*/ 5156971 h 6858000"/>
              <a:gd name="connsiteX441" fmla="*/ 1827118 w 7467600"/>
              <a:gd name="connsiteY441" fmla="*/ 4968410 h 6858000"/>
              <a:gd name="connsiteX442" fmla="*/ 1837349 w 7467600"/>
              <a:gd name="connsiteY442" fmla="*/ 4956357 h 6858000"/>
              <a:gd name="connsiteX443" fmla="*/ 2162835 w 7467600"/>
              <a:gd name="connsiteY443" fmla="*/ 5187853 h 6858000"/>
              <a:gd name="connsiteX444" fmla="*/ 2257167 w 7467600"/>
              <a:gd name="connsiteY444" fmla="*/ 5462123 h 6858000"/>
              <a:gd name="connsiteX445" fmla="*/ 2261598 w 7467600"/>
              <a:gd name="connsiteY445" fmla="*/ 5467998 h 6858000"/>
              <a:gd name="connsiteX446" fmla="*/ 2437177 w 7467600"/>
              <a:gd name="connsiteY446" fmla="*/ 5479608 h 6858000"/>
              <a:gd name="connsiteX447" fmla="*/ 2445247 w 7467600"/>
              <a:gd name="connsiteY447" fmla="*/ 5483476 h 6858000"/>
              <a:gd name="connsiteX448" fmla="*/ 2743626 w 7467600"/>
              <a:gd name="connsiteY448" fmla="*/ 5304819 h 6858000"/>
              <a:gd name="connsiteX449" fmla="*/ 3048102 w 7467600"/>
              <a:gd name="connsiteY449" fmla="*/ 5150595 h 6858000"/>
              <a:gd name="connsiteX450" fmla="*/ 1799414 w 7467600"/>
              <a:gd name="connsiteY450" fmla="*/ 4694732 h 6858000"/>
              <a:gd name="connsiteX451" fmla="*/ 1771735 w 7467600"/>
              <a:gd name="connsiteY451" fmla="*/ 4619929 h 6858000"/>
              <a:gd name="connsiteX452" fmla="*/ 3104273 w 7467600"/>
              <a:gd name="connsiteY452" fmla="*/ 5076159 h 6858000"/>
              <a:gd name="connsiteX453" fmla="*/ 3113245 w 7467600"/>
              <a:gd name="connsiteY453" fmla="*/ 5090705 h 6858000"/>
              <a:gd name="connsiteX454" fmla="*/ 3126294 w 7467600"/>
              <a:gd name="connsiteY454" fmla="*/ 5114400 h 6858000"/>
              <a:gd name="connsiteX455" fmla="*/ 3937433 w 7467600"/>
              <a:gd name="connsiteY455" fmla="*/ 4830473 h 6858000"/>
              <a:gd name="connsiteX456" fmla="*/ 3590475 w 7467600"/>
              <a:gd name="connsiteY456" fmla="*/ 4597974 h 6858000"/>
              <a:gd name="connsiteX457" fmla="*/ 3100264 w 7467600"/>
              <a:gd name="connsiteY457" fmla="*/ 4579845 h 6858000"/>
              <a:gd name="connsiteX458" fmla="*/ 2183576 w 7467600"/>
              <a:gd name="connsiteY458" fmla="*/ 4227150 h 6858000"/>
              <a:gd name="connsiteX459" fmla="*/ 2151029 w 7467600"/>
              <a:gd name="connsiteY459" fmla="*/ 4146947 h 6858000"/>
              <a:gd name="connsiteX460" fmla="*/ 3563434 w 7467600"/>
              <a:gd name="connsiteY460" fmla="*/ 4469115 h 6858000"/>
              <a:gd name="connsiteX461" fmla="*/ 3177952 w 7467600"/>
              <a:gd name="connsiteY461" fmla="*/ 3657386 h 6858000"/>
              <a:gd name="connsiteX462" fmla="*/ 3189263 w 7467600"/>
              <a:gd name="connsiteY462" fmla="*/ 3625726 h 6858000"/>
              <a:gd name="connsiteX463" fmla="*/ 3560912 w 7467600"/>
              <a:gd name="connsiteY463" fmla="*/ 4079863 h 6858000"/>
              <a:gd name="connsiteX464" fmla="*/ 3626636 w 7467600"/>
              <a:gd name="connsiteY464" fmla="*/ 4512230 h 6858000"/>
              <a:gd name="connsiteX465" fmla="*/ 3653088 w 7467600"/>
              <a:gd name="connsiteY465" fmla="*/ 4521417 h 6858000"/>
              <a:gd name="connsiteX466" fmla="*/ 3988128 w 7467600"/>
              <a:gd name="connsiteY466" fmla="*/ 4817267 h 6858000"/>
              <a:gd name="connsiteX467" fmla="*/ 4830582 w 7467600"/>
              <a:gd name="connsiteY467" fmla="*/ 4676000 h 6858000"/>
              <a:gd name="connsiteX468" fmla="*/ 4830100 w 7467600"/>
              <a:gd name="connsiteY468" fmla="*/ 4675554 h 6858000"/>
              <a:gd name="connsiteX469" fmla="*/ 4036318 w 7467600"/>
              <a:gd name="connsiteY469" fmla="*/ 4147013 h 6858000"/>
              <a:gd name="connsiteX470" fmla="*/ 3432098 w 7467600"/>
              <a:gd name="connsiteY470" fmla="*/ 3537312 h 6858000"/>
              <a:gd name="connsiteX471" fmla="*/ 3446761 w 7467600"/>
              <a:gd name="connsiteY471" fmla="*/ 3461278 h 6858000"/>
              <a:gd name="connsiteX472" fmla="*/ 4419733 w 7467600"/>
              <a:gd name="connsiteY472" fmla="*/ 3963555 h 6858000"/>
              <a:gd name="connsiteX473" fmla="*/ 4781371 w 7467600"/>
              <a:gd name="connsiteY473" fmla="*/ 4458604 h 6858000"/>
              <a:gd name="connsiteX474" fmla="*/ 4780440 w 7467600"/>
              <a:gd name="connsiteY474" fmla="*/ 4470290 h 6858000"/>
              <a:gd name="connsiteX475" fmla="*/ 4898954 w 7467600"/>
              <a:gd name="connsiteY475" fmla="*/ 4662092 h 6858000"/>
              <a:gd name="connsiteX476" fmla="*/ 4900699 w 7467600"/>
              <a:gd name="connsiteY476" fmla="*/ 4670867 h 6858000"/>
              <a:gd name="connsiteX477" fmla="*/ 5714511 w 7467600"/>
              <a:gd name="connsiteY477" fmla="*/ 4663483 h 6858000"/>
              <a:gd name="connsiteX478" fmla="*/ 5464793 w 7467600"/>
              <a:gd name="connsiteY478" fmla="*/ 4393556 h 6858000"/>
              <a:gd name="connsiteX479" fmla="*/ 5461897 w 7467600"/>
              <a:gd name="connsiteY479" fmla="*/ 4390879 h 6858000"/>
              <a:gd name="connsiteX480" fmla="*/ 4294126 w 7467600"/>
              <a:gd name="connsiteY480" fmla="*/ 3303048 h 6858000"/>
              <a:gd name="connsiteX481" fmla="*/ 4305321 w 7467600"/>
              <a:gd name="connsiteY481" fmla="*/ 3256953 h 6858000"/>
              <a:gd name="connsiteX482" fmla="*/ 4949299 w 7467600"/>
              <a:gd name="connsiteY482" fmla="*/ 3766336 h 6858000"/>
              <a:gd name="connsiteX483" fmla="*/ 5291452 w 7467600"/>
              <a:gd name="connsiteY483" fmla="*/ 4076801 h 6858000"/>
              <a:gd name="connsiteX484" fmla="*/ 5434998 w 7467600"/>
              <a:gd name="connsiteY484" fmla="*/ 4254100 h 6858000"/>
              <a:gd name="connsiteX485" fmla="*/ 5351015 w 7467600"/>
              <a:gd name="connsiteY485" fmla="*/ 3760989 h 6858000"/>
              <a:gd name="connsiteX486" fmla="*/ 5413780 w 7467600"/>
              <a:gd name="connsiteY486" fmla="*/ 2966265 h 6858000"/>
              <a:gd name="connsiteX487" fmla="*/ 5425627 w 7467600"/>
              <a:gd name="connsiteY487" fmla="*/ 2954192 h 6858000"/>
              <a:gd name="connsiteX488" fmla="*/ 6604735 w 7467600"/>
              <a:gd name="connsiteY488" fmla="*/ 2041381 h 6858000"/>
              <a:gd name="connsiteX489" fmla="*/ 7204487 w 7467600"/>
              <a:gd name="connsiteY489" fmla="*/ 2742112 h 6858000"/>
              <a:gd name="connsiteX490" fmla="*/ 7131592 w 7467600"/>
              <a:gd name="connsiteY490" fmla="*/ 2672096 h 6858000"/>
              <a:gd name="connsiteX491" fmla="*/ 6996344 w 7467600"/>
              <a:gd name="connsiteY491" fmla="*/ 2518310 h 6858000"/>
              <a:gd name="connsiteX492" fmla="*/ 6735495 w 7467600"/>
              <a:gd name="connsiteY492" fmla="*/ 2196890 h 6858000"/>
              <a:gd name="connsiteX493" fmla="*/ 6721901 w 7467600"/>
              <a:gd name="connsiteY493" fmla="*/ 2179274 h 6858000"/>
              <a:gd name="connsiteX494" fmla="*/ 6604735 w 7467600"/>
              <a:gd name="connsiteY494" fmla="*/ 2041381 h 6858000"/>
              <a:gd name="connsiteX495" fmla="*/ 6591670 w 7467600"/>
              <a:gd name="connsiteY495" fmla="*/ 1988277 h 6858000"/>
              <a:gd name="connsiteX496" fmla="*/ 6747349 w 7467600"/>
              <a:gd name="connsiteY496" fmla="*/ 2160069 h 6858000"/>
              <a:gd name="connsiteX497" fmla="*/ 6760943 w 7467600"/>
              <a:gd name="connsiteY497" fmla="*/ 2177686 h 6858000"/>
              <a:gd name="connsiteX498" fmla="*/ 7021065 w 7467600"/>
              <a:gd name="connsiteY498" fmla="*/ 2498102 h 6858000"/>
              <a:gd name="connsiteX499" fmla="*/ 7155223 w 7467600"/>
              <a:gd name="connsiteY499" fmla="*/ 2650386 h 6858000"/>
              <a:gd name="connsiteX500" fmla="*/ 7203167 w 7467600"/>
              <a:gd name="connsiteY500" fmla="*/ 2697288 h 6858000"/>
              <a:gd name="connsiteX501" fmla="*/ 6937703 w 7467600"/>
              <a:gd name="connsiteY501" fmla="*/ 2321981 h 6858000"/>
              <a:gd name="connsiteX502" fmla="*/ 6591670 w 7467600"/>
              <a:gd name="connsiteY502" fmla="*/ 1988277 h 6858000"/>
              <a:gd name="connsiteX503" fmla="*/ 5798671 w 7467600"/>
              <a:gd name="connsiteY503" fmla="*/ 1981601 h 6858000"/>
              <a:gd name="connsiteX504" fmla="*/ 5754709 w 7467600"/>
              <a:gd name="connsiteY504" fmla="*/ 2071454 h 6858000"/>
              <a:gd name="connsiteX505" fmla="*/ 5763044 w 7467600"/>
              <a:gd name="connsiteY505" fmla="*/ 2842206 h 6858000"/>
              <a:gd name="connsiteX506" fmla="*/ 5764974 w 7467600"/>
              <a:gd name="connsiteY506" fmla="*/ 2799609 h 6858000"/>
              <a:gd name="connsiteX507" fmla="*/ 5767665 w 7467600"/>
              <a:gd name="connsiteY507" fmla="*/ 2666409 h 6858000"/>
              <a:gd name="connsiteX508" fmla="*/ 5763055 w 7467600"/>
              <a:gd name="connsiteY508" fmla="*/ 2579705 h 6858000"/>
              <a:gd name="connsiteX509" fmla="*/ 5758079 w 7467600"/>
              <a:gd name="connsiteY509" fmla="*/ 2492508 h 6858000"/>
              <a:gd name="connsiteX510" fmla="*/ 5779325 w 7467600"/>
              <a:gd name="connsiteY510" fmla="*/ 2197069 h 6858000"/>
              <a:gd name="connsiteX511" fmla="*/ 5798671 w 7467600"/>
              <a:gd name="connsiteY511" fmla="*/ 1981601 h 6858000"/>
              <a:gd name="connsiteX512" fmla="*/ 5829202 w 7467600"/>
              <a:gd name="connsiteY512" fmla="*/ 1971679 h 6858000"/>
              <a:gd name="connsiteX513" fmla="*/ 5809558 w 7467600"/>
              <a:gd name="connsiteY513" fmla="*/ 2198043 h 6858000"/>
              <a:gd name="connsiteX514" fmla="*/ 5788653 w 7467600"/>
              <a:gd name="connsiteY514" fmla="*/ 2489430 h 6858000"/>
              <a:gd name="connsiteX515" fmla="*/ 5793439 w 7467600"/>
              <a:gd name="connsiteY515" fmla="*/ 2575235 h 6858000"/>
              <a:gd name="connsiteX516" fmla="*/ 5796837 w 7467600"/>
              <a:gd name="connsiteY516" fmla="*/ 2637633 h 6858000"/>
              <a:gd name="connsiteX517" fmla="*/ 5818614 w 7467600"/>
              <a:gd name="connsiteY517" fmla="*/ 2473055 h 6858000"/>
              <a:gd name="connsiteX518" fmla="*/ 5829202 w 7467600"/>
              <a:gd name="connsiteY518" fmla="*/ 1971679 h 6858000"/>
              <a:gd name="connsiteX519" fmla="*/ 5911389 w 7467600"/>
              <a:gd name="connsiteY519" fmla="*/ 1898371 h 6858000"/>
              <a:gd name="connsiteX520" fmla="*/ 6237627 w 7467600"/>
              <a:gd name="connsiteY520" fmla="*/ 2231921 h 6858000"/>
              <a:gd name="connsiteX521" fmla="*/ 5911389 w 7467600"/>
              <a:gd name="connsiteY521" fmla="*/ 1898371 h 6858000"/>
              <a:gd name="connsiteX522" fmla="*/ 6944437 w 7467600"/>
              <a:gd name="connsiteY522" fmla="*/ 1575402 h 6858000"/>
              <a:gd name="connsiteX523" fmla="*/ 6304730 w 7467600"/>
              <a:gd name="connsiteY523" fmla="*/ 1766654 h 6858000"/>
              <a:gd name="connsiteX524" fmla="*/ 6944437 w 7467600"/>
              <a:gd name="connsiteY524" fmla="*/ 1575402 h 6858000"/>
              <a:gd name="connsiteX525" fmla="*/ 7019523 w 7467600"/>
              <a:gd name="connsiteY525" fmla="*/ 1519450 h 6858000"/>
              <a:gd name="connsiteX526" fmla="*/ 6298091 w 7467600"/>
              <a:gd name="connsiteY526" fmla="*/ 1737122 h 6858000"/>
              <a:gd name="connsiteX527" fmla="*/ 7019523 w 7467600"/>
              <a:gd name="connsiteY527" fmla="*/ 1519450 h 6858000"/>
              <a:gd name="connsiteX528" fmla="*/ 2399523 w 7467600"/>
              <a:gd name="connsiteY528" fmla="*/ 1428234 h 6858000"/>
              <a:gd name="connsiteX529" fmla="*/ 2224982 w 7467600"/>
              <a:gd name="connsiteY529" fmla="*/ 1826201 h 6858000"/>
              <a:gd name="connsiteX530" fmla="*/ 2096099 w 7467600"/>
              <a:gd name="connsiteY530" fmla="*/ 2345900 h 6858000"/>
              <a:gd name="connsiteX531" fmla="*/ 2283317 w 7467600"/>
              <a:gd name="connsiteY531" fmla="*/ 1796925 h 6858000"/>
              <a:gd name="connsiteX532" fmla="*/ 2399523 w 7467600"/>
              <a:gd name="connsiteY532" fmla="*/ 1428234 h 6858000"/>
              <a:gd name="connsiteX533" fmla="*/ 2448558 w 7467600"/>
              <a:gd name="connsiteY533" fmla="*/ 1373435 h 6858000"/>
              <a:gd name="connsiteX534" fmla="*/ 2312521 w 7467600"/>
              <a:gd name="connsiteY534" fmla="*/ 1806140 h 6858000"/>
              <a:gd name="connsiteX535" fmla="*/ 2127533 w 7467600"/>
              <a:gd name="connsiteY535" fmla="*/ 2348380 h 6858000"/>
              <a:gd name="connsiteX536" fmla="*/ 2358080 w 7467600"/>
              <a:gd name="connsiteY536" fmla="*/ 1866134 h 6858000"/>
              <a:gd name="connsiteX537" fmla="*/ 2407436 w 7467600"/>
              <a:gd name="connsiteY537" fmla="*/ 1651070 h 6858000"/>
              <a:gd name="connsiteX538" fmla="*/ 2448558 w 7467600"/>
              <a:gd name="connsiteY538" fmla="*/ 1373435 h 6858000"/>
              <a:gd name="connsiteX539" fmla="*/ 278707 w 7467600"/>
              <a:gd name="connsiteY539" fmla="*/ 1352270 h 6858000"/>
              <a:gd name="connsiteX540" fmla="*/ 321570 w 7467600"/>
              <a:gd name="connsiteY540" fmla="*/ 1861610 h 6858000"/>
              <a:gd name="connsiteX541" fmla="*/ 294281 w 7467600"/>
              <a:gd name="connsiteY541" fmla="*/ 1440658 h 6858000"/>
              <a:gd name="connsiteX542" fmla="*/ 278707 w 7467600"/>
              <a:gd name="connsiteY542" fmla="*/ 1352270 h 6858000"/>
              <a:gd name="connsiteX543" fmla="*/ 1423821 w 7467600"/>
              <a:gd name="connsiteY543" fmla="*/ 1351958 h 6858000"/>
              <a:gd name="connsiteX544" fmla="*/ 1638521 w 7467600"/>
              <a:gd name="connsiteY544" fmla="*/ 1908470 h 6858000"/>
              <a:gd name="connsiteX545" fmla="*/ 1754199 w 7467600"/>
              <a:gd name="connsiteY545" fmla="*/ 2149284 h 6858000"/>
              <a:gd name="connsiteX546" fmla="*/ 1908359 w 7467600"/>
              <a:gd name="connsiteY546" fmla="*/ 2364988 h 6858000"/>
              <a:gd name="connsiteX547" fmla="*/ 1647661 w 7467600"/>
              <a:gd name="connsiteY547" fmla="*/ 1825945 h 6858000"/>
              <a:gd name="connsiteX548" fmla="*/ 1423821 w 7467600"/>
              <a:gd name="connsiteY548" fmla="*/ 1351958 h 6858000"/>
              <a:gd name="connsiteX549" fmla="*/ 1431890 w 7467600"/>
              <a:gd name="connsiteY549" fmla="*/ 1306475 h 6858000"/>
              <a:gd name="connsiteX550" fmla="*/ 1507597 w 7467600"/>
              <a:gd name="connsiteY550" fmla="*/ 1446132 h 6858000"/>
              <a:gd name="connsiteX551" fmla="*/ 1674586 w 7467600"/>
              <a:gd name="connsiteY551" fmla="*/ 1813832 h 6858000"/>
              <a:gd name="connsiteX552" fmla="*/ 1815950 w 7467600"/>
              <a:gd name="connsiteY552" fmla="*/ 2128564 h 6858000"/>
              <a:gd name="connsiteX553" fmla="*/ 1984242 w 7467600"/>
              <a:gd name="connsiteY553" fmla="*/ 2430829 h 6858000"/>
              <a:gd name="connsiteX554" fmla="*/ 2014023 w 7467600"/>
              <a:gd name="connsiteY554" fmla="*/ 2450995 h 6858000"/>
              <a:gd name="connsiteX555" fmla="*/ 1747337 w 7467600"/>
              <a:gd name="connsiteY555" fmla="*/ 1855264 h 6858000"/>
              <a:gd name="connsiteX556" fmla="*/ 1533749 w 7467600"/>
              <a:gd name="connsiteY556" fmla="*/ 1478656 h 6858000"/>
              <a:gd name="connsiteX557" fmla="*/ 1431890 w 7467600"/>
              <a:gd name="connsiteY557" fmla="*/ 1306475 h 6858000"/>
              <a:gd name="connsiteX558" fmla="*/ 5052692 w 7467600"/>
              <a:gd name="connsiteY558" fmla="*/ 1292994 h 6858000"/>
              <a:gd name="connsiteX559" fmla="*/ 5200661 w 7467600"/>
              <a:gd name="connsiteY559" fmla="*/ 1635186 h 6858000"/>
              <a:gd name="connsiteX560" fmla="*/ 5297138 w 7467600"/>
              <a:gd name="connsiteY560" fmla="*/ 1906351 h 6858000"/>
              <a:gd name="connsiteX561" fmla="*/ 5052692 w 7467600"/>
              <a:gd name="connsiteY561" fmla="*/ 1292994 h 6858000"/>
              <a:gd name="connsiteX562" fmla="*/ 5009948 w 7467600"/>
              <a:gd name="connsiteY562" fmla="*/ 1273619 h 6858000"/>
              <a:gd name="connsiteX563" fmla="*/ 5121777 w 7467600"/>
              <a:gd name="connsiteY563" fmla="*/ 1654213 h 6858000"/>
              <a:gd name="connsiteX564" fmla="*/ 5293545 w 7467600"/>
              <a:gd name="connsiteY564" fmla="*/ 2072247 h 6858000"/>
              <a:gd name="connsiteX565" fmla="*/ 5294042 w 7467600"/>
              <a:gd name="connsiteY565" fmla="*/ 2065019 h 6858000"/>
              <a:gd name="connsiteX566" fmla="*/ 5171936 w 7467600"/>
              <a:gd name="connsiteY566" fmla="*/ 1647613 h 6858000"/>
              <a:gd name="connsiteX567" fmla="*/ 5009948 w 7467600"/>
              <a:gd name="connsiteY567" fmla="*/ 1273619 h 6858000"/>
              <a:gd name="connsiteX568" fmla="*/ 655236 w 7467600"/>
              <a:gd name="connsiteY568" fmla="*/ 1268632 h 6858000"/>
              <a:gd name="connsiteX569" fmla="*/ 839521 w 7467600"/>
              <a:gd name="connsiteY569" fmla="*/ 1685315 h 6858000"/>
              <a:gd name="connsiteX570" fmla="*/ 1109416 w 7467600"/>
              <a:gd name="connsiteY570" fmla="*/ 2061663 h 6858000"/>
              <a:gd name="connsiteX571" fmla="*/ 1298300 w 7467600"/>
              <a:gd name="connsiteY571" fmla="*/ 2247742 h 6858000"/>
              <a:gd name="connsiteX572" fmla="*/ 1125871 w 7467600"/>
              <a:gd name="connsiteY572" fmla="*/ 1989513 h 6858000"/>
              <a:gd name="connsiteX573" fmla="*/ 981574 w 7467600"/>
              <a:gd name="connsiteY573" fmla="*/ 1783157 h 6858000"/>
              <a:gd name="connsiteX574" fmla="*/ 922198 w 7467600"/>
              <a:gd name="connsiteY574" fmla="*/ 1677437 h 6858000"/>
              <a:gd name="connsiteX575" fmla="*/ 869293 w 7467600"/>
              <a:gd name="connsiteY575" fmla="*/ 1583214 h 6858000"/>
              <a:gd name="connsiteX576" fmla="*/ 751431 w 7467600"/>
              <a:gd name="connsiteY576" fmla="*/ 1405731 h 6858000"/>
              <a:gd name="connsiteX577" fmla="*/ 655236 w 7467600"/>
              <a:gd name="connsiteY577" fmla="*/ 1268632 h 6858000"/>
              <a:gd name="connsiteX578" fmla="*/ 6516292 w 7467600"/>
              <a:gd name="connsiteY578" fmla="*/ 1263064 h 6858000"/>
              <a:gd name="connsiteX579" fmla="*/ 5736320 w 7467600"/>
              <a:gd name="connsiteY579" fmla="*/ 1501803 h 6858000"/>
              <a:gd name="connsiteX580" fmla="*/ 6516292 w 7467600"/>
              <a:gd name="connsiteY580" fmla="*/ 1263064 h 6858000"/>
              <a:gd name="connsiteX581" fmla="*/ 291466 w 7467600"/>
              <a:gd name="connsiteY581" fmla="*/ 1250369 h 6858000"/>
              <a:gd name="connsiteX582" fmla="*/ 323180 w 7467600"/>
              <a:gd name="connsiteY582" fmla="*/ 1435283 h 6858000"/>
              <a:gd name="connsiteX583" fmla="*/ 349381 w 7467600"/>
              <a:gd name="connsiteY583" fmla="*/ 1875041 h 6858000"/>
              <a:gd name="connsiteX584" fmla="*/ 374363 w 7467600"/>
              <a:gd name="connsiteY584" fmla="*/ 1506494 h 6858000"/>
              <a:gd name="connsiteX585" fmla="*/ 302168 w 7467600"/>
              <a:gd name="connsiteY585" fmla="*/ 1274495 h 6858000"/>
              <a:gd name="connsiteX586" fmla="*/ 291466 w 7467600"/>
              <a:gd name="connsiteY586" fmla="*/ 1250369 h 6858000"/>
              <a:gd name="connsiteX587" fmla="*/ 678222 w 7467600"/>
              <a:gd name="connsiteY587" fmla="*/ 1248670 h 6858000"/>
              <a:gd name="connsiteX588" fmla="*/ 775536 w 7467600"/>
              <a:gd name="connsiteY588" fmla="*/ 1388015 h 6858000"/>
              <a:gd name="connsiteX589" fmla="*/ 894529 w 7467600"/>
              <a:gd name="connsiteY589" fmla="*/ 1567739 h 6858000"/>
              <a:gd name="connsiteX590" fmla="*/ 948000 w 7467600"/>
              <a:gd name="connsiteY590" fmla="*/ 1663088 h 6858000"/>
              <a:gd name="connsiteX591" fmla="*/ 1006812 w 7467600"/>
              <a:gd name="connsiteY591" fmla="*/ 1767683 h 6858000"/>
              <a:gd name="connsiteX592" fmla="*/ 1149133 w 7467600"/>
              <a:gd name="connsiteY592" fmla="*/ 1971513 h 6858000"/>
              <a:gd name="connsiteX593" fmla="*/ 1333952 w 7467600"/>
              <a:gd name="connsiteY593" fmla="*/ 2251620 h 6858000"/>
              <a:gd name="connsiteX594" fmla="*/ 1337329 w 7467600"/>
              <a:gd name="connsiteY594" fmla="*/ 2258350 h 6858000"/>
              <a:gd name="connsiteX595" fmla="*/ 1014726 w 7467600"/>
              <a:gd name="connsiteY595" fmla="*/ 1615556 h 6858000"/>
              <a:gd name="connsiteX596" fmla="*/ 678222 w 7467600"/>
              <a:gd name="connsiteY596" fmla="*/ 1248670 h 6858000"/>
              <a:gd name="connsiteX597" fmla="*/ 6691602 w 7467600"/>
              <a:gd name="connsiteY597" fmla="*/ 1140573 h 6858000"/>
              <a:gd name="connsiteX598" fmla="*/ 6571100 w 7467600"/>
              <a:gd name="connsiteY598" fmla="*/ 1183662 h 6858000"/>
              <a:gd name="connsiteX599" fmla="*/ 6241687 w 7467600"/>
              <a:gd name="connsiteY599" fmla="*/ 1257600 h 6858000"/>
              <a:gd name="connsiteX600" fmla="*/ 5693009 w 7467600"/>
              <a:gd name="connsiteY600" fmla="*/ 1478256 h 6858000"/>
              <a:gd name="connsiteX601" fmla="*/ 6548420 w 7467600"/>
              <a:gd name="connsiteY601" fmla="*/ 1214599 h 6858000"/>
              <a:gd name="connsiteX602" fmla="*/ 6605473 w 7467600"/>
              <a:gd name="connsiteY602" fmla="*/ 1184686 h 6858000"/>
              <a:gd name="connsiteX603" fmla="*/ 6691602 w 7467600"/>
              <a:gd name="connsiteY603" fmla="*/ 1140573 h 6858000"/>
              <a:gd name="connsiteX604" fmla="*/ 4002475 w 7467600"/>
              <a:gd name="connsiteY604" fmla="*/ 1037802 h 6858000"/>
              <a:gd name="connsiteX605" fmla="*/ 4000324 w 7467600"/>
              <a:gd name="connsiteY605" fmla="*/ 1039362 h 6858000"/>
              <a:gd name="connsiteX606" fmla="*/ 4002862 w 7467600"/>
              <a:gd name="connsiteY606" fmla="*/ 1042866 h 6858000"/>
              <a:gd name="connsiteX607" fmla="*/ 4002475 w 7467600"/>
              <a:gd name="connsiteY607" fmla="*/ 1037802 h 6858000"/>
              <a:gd name="connsiteX608" fmla="*/ 506322 w 7467600"/>
              <a:gd name="connsiteY608" fmla="*/ 1020997 h 6858000"/>
              <a:gd name="connsiteX609" fmla="*/ 533068 w 7467600"/>
              <a:gd name="connsiteY609" fmla="*/ 1029409 h 6858000"/>
              <a:gd name="connsiteX610" fmla="*/ 1232525 w 7467600"/>
              <a:gd name="connsiteY610" fmla="*/ 1804675 h 6858000"/>
              <a:gd name="connsiteX611" fmla="*/ 1388858 w 7467600"/>
              <a:gd name="connsiteY611" fmla="*/ 2368011 h 6858000"/>
              <a:gd name="connsiteX612" fmla="*/ 1384098 w 7467600"/>
              <a:gd name="connsiteY612" fmla="*/ 2378125 h 6858000"/>
              <a:gd name="connsiteX613" fmla="*/ 1425393 w 7467600"/>
              <a:gd name="connsiteY613" fmla="*/ 2589124 h 6858000"/>
              <a:gd name="connsiteX614" fmla="*/ 1424001 w 7467600"/>
              <a:gd name="connsiteY614" fmla="*/ 2597541 h 6858000"/>
              <a:gd name="connsiteX615" fmla="*/ 2152729 w 7467600"/>
              <a:gd name="connsiteY615" fmla="*/ 2864487 h 6858000"/>
              <a:gd name="connsiteX616" fmla="*/ 2020609 w 7467600"/>
              <a:gd name="connsiteY616" fmla="*/ 2539671 h 6858000"/>
              <a:gd name="connsiteX617" fmla="*/ 2018920 w 7467600"/>
              <a:gd name="connsiteY617" fmla="*/ 2536309 h 6858000"/>
              <a:gd name="connsiteX618" fmla="*/ 1342441 w 7467600"/>
              <a:gd name="connsiteY618" fmla="*/ 1173017 h 6858000"/>
              <a:gd name="connsiteX619" fmla="*/ 1367925 w 7467600"/>
              <a:gd name="connsiteY619" fmla="*/ 1135648 h 6858000"/>
              <a:gd name="connsiteX620" fmla="*/ 1771401 w 7467600"/>
              <a:gd name="connsiteY620" fmla="*/ 1806673 h 6858000"/>
              <a:gd name="connsiteX621" fmla="*/ 1972385 w 7467600"/>
              <a:gd name="connsiteY621" fmla="*/ 2198735 h 6858000"/>
              <a:gd name="connsiteX622" fmla="*/ 2040892 w 7467600"/>
              <a:gd name="connsiteY622" fmla="*/ 2405205 h 6858000"/>
              <a:gd name="connsiteX623" fmla="*/ 2131689 w 7467600"/>
              <a:gd name="connsiteY623" fmla="*/ 1936926 h 6858000"/>
              <a:gd name="connsiteX624" fmla="*/ 2454820 w 7467600"/>
              <a:gd name="connsiteY624" fmla="*/ 1248808 h 6858000"/>
              <a:gd name="connsiteX625" fmla="*/ 2492512 w 7467600"/>
              <a:gd name="connsiteY625" fmla="*/ 1302920 h 6858000"/>
              <a:gd name="connsiteX626" fmla="*/ 2081216 w 7467600"/>
              <a:gd name="connsiteY626" fmla="*/ 2527513 h 6858000"/>
              <a:gd name="connsiteX627" fmla="*/ 2081211 w 7467600"/>
              <a:gd name="connsiteY627" fmla="*/ 2528916 h 6858000"/>
              <a:gd name="connsiteX628" fmla="*/ 2199067 w 7467600"/>
              <a:gd name="connsiteY628" fmla="*/ 2884061 h 6858000"/>
              <a:gd name="connsiteX629" fmla="*/ 3192586 w 7467600"/>
              <a:gd name="connsiteY629" fmla="*/ 3411496 h 6858000"/>
              <a:gd name="connsiteX630" fmla="*/ 3182620 w 7467600"/>
              <a:gd name="connsiteY630" fmla="*/ 3483279 h 6858000"/>
              <a:gd name="connsiteX631" fmla="*/ 2435119 w 7467600"/>
              <a:gd name="connsiteY631" fmla="*/ 3080173 h 6858000"/>
              <a:gd name="connsiteX632" fmla="*/ 2410152 w 7467600"/>
              <a:gd name="connsiteY632" fmla="*/ 3063751 h 6858000"/>
              <a:gd name="connsiteX633" fmla="*/ 2408099 w 7467600"/>
              <a:gd name="connsiteY633" fmla="*/ 3064403 h 6858000"/>
              <a:gd name="connsiteX634" fmla="*/ 2407218 w 7467600"/>
              <a:gd name="connsiteY634" fmla="*/ 3070324 h 6858000"/>
              <a:gd name="connsiteX635" fmla="*/ 2380138 w 7467600"/>
              <a:gd name="connsiteY635" fmla="*/ 3099341 h 6858000"/>
              <a:gd name="connsiteX636" fmla="*/ 1765923 w 7467600"/>
              <a:gd name="connsiteY636" fmla="*/ 3581043 h 6858000"/>
              <a:gd name="connsiteX637" fmla="*/ 1702258 w 7467600"/>
              <a:gd name="connsiteY637" fmla="*/ 3612286 h 6858000"/>
              <a:gd name="connsiteX638" fmla="*/ 1538370 w 7467600"/>
              <a:gd name="connsiteY638" fmla="*/ 3811804 h 6858000"/>
              <a:gd name="connsiteX639" fmla="*/ 542867 w 7467600"/>
              <a:gd name="connsiteY639" fmla="*/ 4944092 h 6858000"/>
              <a:gd name="connsiteX640" fmla="*/ 515800 w 7467600"/>
              <a:gd name="connsiteY640" fmla="*/ 4862180 h 6858000"/>
              <a:gd name="connsiteX641" fmla="*/ 909145 w 7467600"/>
              <a:gd name="connsiteY641" fmla="*/ 4199225 h 6858000"/>
              <a:gd name="connsiteX642" fmla="*/ 1214067 w 7467600"/>
              <a:gd name="connsiteY642" fmla="*/ 3908561 h 6858000"/>
              <a:gd name="connsiteX643" fmla="*/ 640967 w 7467600"/>
              <a:gd name="connsiteY643" fmla="*/ 4105601 h 6858000"/>
              <a:gd name="connsiteX644" fmla="*/ 112563 w 7467600"/>
              <a:gd name="connsiteY644" fmla="*/ 4396952 h 6858000"/>
              <a:gd name="connsiteX645" fmla="*/ 0 w 7467600"/>
              <a:gd name="connsiteY645" fmla="*/ 4466006 h 6858000"/>
              <a:gd name="connsiteX646" fmla="*/ 0 w 7467600"/>
              <a:gd name="connsiteY646" fmla="*/ 4233763 h 6858000"/>
              <a:gd name="connsiteX647" fmla="*/ 36881 w 7467600"/>
              <a:gd name="connsiteY647" fmla="*/ 4200118 h 6858000"/>
              <a:gd name="connsiteX648" fmla="*/ 910534 w 7467600"/>
              <a:gd name="connsiteY648" fmla="*/ 3629753 h 6858000"/>
              <a:gd name="connsiteX649" fmla="*/ 1578717 w 7467600"/>
              <a:gd name="connsiteY649" fmla="*/ 3575982 h 6858000"/>
              <a:gd name="connsiteX650" fmla="*/ 2338780 w 7467600"/>
              <a:gd name="connsiteY650" fmla="*/ 3033725 h 6858000"/>
              <a:gd name="connsiteX651" fmla="*/ 1807991 w 7467600"/>
              <a:gd name="connsiteY651" fmla="*/ 2807184 h 6858000"/>
              <a:gd name="connsiteX652" fmla="*/ 1416358 w 7467600"/>
              <a:gd name="connsiteY652" fmla="*/ 3112571 h 6858000"/>
              <a:gd name="connsiteX653" fmla="*/ 939066 w 7467600"/>
              <a:gd name="connsiteY653" fmla="*/ 3378798 h 6858000"/>
              <a:gd name="connsiteX654" fmla="*/ 115099 w 7467600"/>
              <a:gd name="connsiteY654" fmla="*/ 3607650 h 6858000"/>
              <a:gd name="connsiteX655" fmla="*/ 97284 w 7467600"/>
              <a:gd name="connsiteY655" fmla="*/ 3520393 h 6858000"/>
              <a:gd name="connsiteX656" fmla="*/ 922050 w 7467600"/>
              <a:gd name="connsiteY656" fmla="*/ 3074867 h 6858000"/>
              <a:gd name="connsiteX657" fmla="*/ 1405265 w 7467600"/>
              <a:gd name="connsiteY657" fmla="*/ 3016319 h 6858000"/>
              <a:gd name="connsiteX658" fmla="*/ 1407512 w 7467600"/>
              <a:gd name="connsiteY658" fmla="*/ 3018001 h 6858000"/>
              <a:gd name="connsiteX659" fmla="*/ 1726266 w 7467600"/>
              <a:gd name="connsiteY659" fmla="*/ 2777274 h 6858000"/>
              <a:gd name="connsiteX660" fmla="*/ 625390 w 7467600"/>
              <a:gd name="connsiteY660" fmla="*/ 2514541 h 6858000"/>
              <a:gd name="connsiteX661" fmla="*/ 619799 w 7467600"/>
              <a:gd name="connsiteY661" fmla="*/ 2527180 h 6858000"/>
              <a:gd name="connsiteX662" fmla="*/ 310030 w 7467600"/>
              <a:gd name="connsiteY662" fmla="*/ 2771818 h 6858000"/>
              <a:gd name="connsiteX663" fmla="*/ 173877 w 7467600"/>
              <a:gd name="connsiteY663" fmla="*/ 2937056 h 6858000"/>
              <a:gd name="connsiteX664" fmla="*/ 77889 w 7467600"/>
              <a:gd name="connsiteY664" fmla="*/ 3138440 h 6858000"/>
              <a:gd name="connsiteX665" fmla="*/ 0 w 7467600"/>
              <a:gd name="connsiteY665" fmla="*/ 3271395 h 6858000"/>
              <a:gd name="connsiteX666" fmla="*/ 0 w 7467600"/>
              <a:gd name="connsiteY666" fmla="*/ 3153002 h 6858000"/>
              <a:gd name="connsiteX667" fmla="*/ 2386 w 7467600"/>
              <a:gd name="connsiteY667" fmla="*/ 3149203 h 6858000"/>
              <a:gd name="connsiteX668" fmla="*/ 89753 w 7467600"/>
              <a:gd name="connsiteY668" fmla="*/ 2987702 h 6858000"/>
              <a:gd name="connsiteX669" fmla="*/ 76869 w 7467600"/>
              <a:gd name="connsiteY669" fmla="*/ 3005404 h 6858000"/>
              <a:gd name="connsiteX670" fmla="*/ 32049 w 7467600"/>
              <a:gd name="connsiteY670" fmla="*/ 3065814 h 6858000"/>
              <a:gd name="connsiteX671" fmla="*/ 0 w 7467600"/>
              <a:gd name="connsiteY671" fmla="*/ 3108744 h 6858000"/>
              <a:gd name="connsiteX672" fmla="*/ 0 w 7467600"/>
              <a:gd name="connsiteY672" fmla="*/ 3058059 h 6858000"/>
              <a:gd name="connsiteX673" fmla="*/ 7610 w 7467600"/>
              <a:gd name="connsiteY673" fmla="*/ 3047889 h 6858000"/>
              <a:gd name="connsiteX674" fmla="*/ 52419 w 7467600"/>
              <a:gd name="connsiteY674" fmla="*/ 2987479 h 6858000"/>
              <a:gd name="connsiteX675" fmla="*/ 59142 w 7467600"/>
              <a:gd name="connsiteY675" fmla="*/ 2978488 h 6858000"/>
              <a:gd name="connsiteX676" fmla="*/ 0 w 7467600"/>
              <a:gd name="connsiteY676" fmla="*/ 3015334 h 6858000"/>
              <a:gd name="connsiteX677" fmla="*/ 0 w 7467600"/>
              <a:gd name="connsiteY677" fmla="*/ 2914286 h 6858000"/>
              <a:gd name="connsiteX678" fmla="*/ 36383 w 7467600"/>
              <a:gd name="connsiteY678" fmla="*/ 2901128 h 6858000"/>
              <a:gd name="connsiteX679" fmla="*/ 156329 w 7467600"/>
              <a:gd name="connsiteY679" fmla="*/ 2840533 h 6858000"/>
              <a:gd name="connsiteX680" fmla="*/ 358355 w 7467600"/>
              <a:gd name="connsiteY680" fmla="*/ 2620471 h 6858000"/>
              <a:gd name="connsiteX681" fmla="*/ 510577 w 7467600"/>
              <a:gd name="connsiteY681" fmla="*/ 2501244 h 6858000"/>
              <a:gd name="connsiteX682" fmla="*/ 211967 w 7467600"/>
              <a:gd name="connsiteY682" fmla="*/ 2479171 h 6858000"/>
              <a:gd name="connsiteX683" fmla="*/ 0 w 7467600"/>
              <a:gd name="connsiteY683" fmla="*/ 2476398 h 6858000"/>
              <a:gd name="connsiteX684" fmla="*/ 0 w 7467600"/>
              <a:gd name="connsiteY684" fmla="*/ 2389189 h 6858000"/>
              <a:gd name="connsiteX685" fmla="*/ 103062 w 7467600"/>
              <a:gd name="connsiteY685" fmla="*/ 2389518 h 6858000"/>
              <a:gd name="connsiteX686" fmla="*/ 510734 w 7467600"/>
              <a:gd name="connsiteY686" fmla="*/ 2416201 h 6858000"/>
              <a:gd name="connsiteX687" fmla="*/ 279257 w 7467600"/>
              <a:gd name="connsiteY687" fmla="*/ 2092102 h 6858000"/>
              <a:gd name="connsiteX688" fmla="*/ 65265 w 7467600"/>
              <a:gd name="connsiteY688" fmla="*/ 2006049 h 6858000"/>
              <a:gd name="connsiteX689" fmla="*/ 0 w 7467600"/>
              <a:gd name="connsiteY689" fmla="*/ 1982532 h 6858000"/>
              <a:gd name="connsiteX690" fmla="*/ 0 w 7467600"/>
              <a:gd name="connsiteY690" fmla="*/ 1912789 h 6858000"/>
              <a:gd name="connsiteX691" fmla="*/ 97460 w 7467600"/>
              <a:gd name="connsiteY691" fmla="*/ 1953725 h 6858000"/>
              <a:gd name="connsiteX692" fmla="*/ 221272 w 7467600"/>
              <a:gd name="connsiteY692" fmla="*/ 1980766 h 6858000"/>
              <a:gd name="connsiteX693" fmla="*/ 116765 w 7467600"/>
              <a:gd name="connsiteY693" fmla="*/ 1911033 h 6858000"/>
              <a:gd name="connsiteX694" fmla="*/ 16405 w 7467600"/>
              <a:gd name="connsiteY694" fmla="*/ 1803412 h 6858000"/>
              <a:gd name="connsiteX695" fmla="*/ 0 w 7467600"/>
              <a:gd name="connsiteY695" fmla="*/ 1784777 h 6858000"/>
              <a:gd name="connsiteX696" fmla="*/ 0 w 7467600"/>
              <a:gd name="connsiteY696" fmla="*/ 1740082 h 6858000"/>
              <a:gd name="connsiteX697" fmla="*/ 39394 w 7467600"/>
              <a:gd name="connsiteY697" fmla="*/ 1784856 h 6858000"/>
              <a:gd name="connsiteX698" fmla="*/ 135813 w 7467600"/>
              <a:gd name="connsiteY698" fmla="*/ 1888838 h 6858000"/>
              <a:gd name="connsiteX699" fmla="*/ 242575 w 7467600"/>
              <a:gd name="connsiteY699" fmla="*/ 1958841 h 6858000"/>
              <a:gd name="connsiteX700" fmla="*/ 82197 w 7467600"/>
              <a:gd name="connsiteY700" fmla="*/ 1754826 h 6858000"/>
              <a:gd name="connsiteX701" fmla="*/ 0 w 7467600"/>
              <a:gd name="connsiteY701" fmla="*/ 1679650 h 6858000"/>
              <a:gd name="connsiteX702" fmla="*/ 0 w 7467600"/>
              <a:gd name="connsiteY702" fmla="*/ 1602463 h 6858000"/>
              <a:gd name="connsiteX703" fmla="*/ 84689 w 7467600"/>
              <a:gd name="connsiteY703" fmla="*/ 1677442 h 6858000"/>
              <a:gd name="connsiteX704" fmla="*/ 298437 w 7467600"/>
              <a:gd name="connsiteY704" fmla="*/ 1968019 h 6858000"/>
              <a:gd name="connsiteX705" fmla="*/ 227269 w 7467600"/>
              <a:gd name="connsiteY705" fmla="*/ 1114064 h 6858000"/>
              <a:gd name="connsiteX706" fmla="*/ 248003 w 7467600"/>
              <a:gd name="connsiteY706" fmla="*/ 1089613 h 6858000"/>
              <a:gd name="connsiteX707" fmla="*/ 427020 w 7467600"/>
              <a:gd name="connsiteY707" fmla="*/ 1619803 h 6858000"/>
              <a:gd name="connsiteX708" fmla="*/ 340345 w 7467600"/>
              <a:gd name="connsiteY708" fmla="*/ 2027739 h 6858000"/>
              <a:gd name="connsiteX709" fmla="*/ 360865 w 7467600"/>
              <a:gd name="connsiteY709" fmla="*/ 2044827 h 6858000"/>
              <a:gd name="connsiteX710" fmla="*/ 560414 w 7467600"/>
              <a:gd name="connsiteY710" fmla="*/ 2421457 h 6858000"/>
              <a:gd name="connsiteX711" fmla="*/ 1359703 w 7467600"/>
              <a:gd name="connsiteY711" fmla="*/ 2578554 h 6858000"/>
              <a:gd name="connsiteX712" fmla="*/ 1359422 w 7467600"/>
              <a:gd name="connsiteY712" fmla="*/ 2577994 h 6858000"/>
              <a:gd name="connsiteX713" fmla="*/ 828701 w 7467600"/>
              <a:gd name="connsiteY713" fmla="*/ 1839520 h 6858000"/>
              <a:gd name="connsiteX714" fmla="*/ 494427 w 7467600"/>
              <a:gd name="connsiteY714" fmla="*/ 1092333 h 6858000"/>
              <a:gd name="connsiteX715" fmla="*/ 506322 w 7467600"/>
              <a:gd name="connsiteY715" fmla="*/ 1020997 h 6858000"/>
              <a:gd name="connsiteX716" fmla="*/ 4570198 w 7467600"/>
              <a:gd name="connsiteY716" fmla="*/ 978081 h 6858000"/>
              <a:gd name="connsiteX717" fmla="*/ 4523691 w 7467600"/>
              <a:gd name="connsiteY717" fmla="*/ 1127776 h 6858000"/>
              <a:gd name="connsiteX718" fmla="*/ 4509875 w 7467600"/>
              <a:gd name="connsiteY718" fmla="*/ 1167552 h 6858000"/>
              <a:gd name="connsiteX719" fmla="*/ 4478168 w 7467600"/>
              <a:gd name="connsiteY719" fmla="*/ 1260735 h 6858000"/>
              <a:gd name="connsiteX720" fmla="*/ 4409309 w 7467600"/>
              <a:gd name="connsiteY720" fmla="*/ 1666996 h 6858000"/>
              <a:gd name="connsiteX721" fmla="*/ 4370031 w 7467600"/>
              <a:gd name="connsiteY721" fmla="*/ 1955666 h 6858000"/>
              <a:gd name="connsiteX722" fmla="*/ 4570198 w 7467600"/>
              <a:gd name="connsiteY722" fmla="*/ 978081 h 6858000"/>
              <a:gd name="connsiteX723" fmla="*/ 4557898 w 7467600"/>
              <a:gd name="connsiteY723" fmla="*/ 900011 h 6858000"/>
              <a:gd name="connsiteX724" fmla="*/ 4344840 w 7467600"/>
              <a:gd name="connsiteY724" fmla="*/ 1922038 h 6858000"/>
              <a:gd name="connsiteX725" fmla="*/ 4378710 w 7467600"/>
              <a:gd name="connsiteY725" fmla="*/ 1665516 h 6858000"/>
              <a:gd name="connsiteX726" fmla="*/ 4448798 w 7467600"/>
              <a:gd name="connsiteY726" fmla="*/ 1253024 h 6858000"/>
              <a:gd name="connsiteX727" fmla="*/ 4480315 w 7467600"/>
              <a:gd name="connsiteY727" fmla="*/ 1158454 h 6858000"/>
              <a:gd name="connsiteX728" fmla="*/ 4494133 w 7467600"/>
              <a:gd name="connsiteY728" fmla="*/ 1118676 h 6858000"/>
              <a:gd name="connsiteX729" fmla="*/ 4557898 w 7467600"/>
              <a:gd name="connsiteY729" fmla="*/ 900011 h 6858000"/>
              <a:gd name="connsiteX730" fmla="*/ 5870151 w 7467600"/>
              <a:gd name="connsiteY730" fmla="*/ 898890 h 6858000"/>
              <a:gd name="connsiteX731" fmla="*/ 5861335 w 7467600"/>
              <a:gd name="connsiteY731" fmla="*/ 899177 h 6858000"/>
              <a:gd name="connsiteX732" fmla="*/ 5843702 w 7467600"/>
              <a:gd name="connsiteY732" fmla="*/ 899748 h 6858000"/>
              <a:gd name="connsiteX733" fmla="*/ 5651107 w 7467600"/>
              <a:gd name="connsiteY733" fmla="*/ 920306 h 6858000"/>
              <a:gd name="connsiteX734" fmla="*/ 5459407 w 7467600"/>
              <a:gd name="connsiteY734" fmla="*/ 940975 h 6858000"/>
              <a:gd name="connsiteX735" fmla="*/ 5374846 w 7467600"/>
              <a:gd name="connsiteY735" fmla="*/ 941988 h 6858000"/>
              <a:gd name="connsiteX736" fmla="*/ 5256105 w 7467600"/>
              <a:gd name="connsiteY736" fmla="*/ 945632 h 6858000"/>
              <a:gd name="connsiteX737" fmla="*/ 5107071 w 7467600"/>
              <a:gd name="connsiteY737" fmla="*/ 969720 h 6858000"/>
              <a:gd name="connsiteX738" fmla="*/ 4998681 w 7467600"/>
              <a:gd name="connsiteY738" fmla="*/ 988771 h 6858000"/>
              <a:gd name="connsiteX739" fmla="*/ 5870151 w 7467600"/>
              <a:gd name="connsiteY739" fmla="*/ 898890 h 6858000"/>
              <a:gd name="connsiteX740" fmla="*/ 5504425 w 7467600"/>
              <a:gd name="connsiteY740" fmla="*/ 848067 h 6858000"/>
              <a:gd name="connsiteX741" fmla="*/ 4968849 w 7467600"/>
              <a:gd name="connsiteY741" fmla="*/ 962318 h 6858000"/>
              <a:gd name="connsiteX742" fmla="*/ 5104039 w 7467600"/>
              <a:gd name="connsiteY742" fmla="*/ 940634 h 6858000"/>
              <a:gd name="connsiteX743" fmla="*/ 5256311 w 7467600"/>
              <a:gd name="connsiteY743" fmla="*/ 916490 h 6858000"/>
              <a:gd name="connsiteX744" fmla="*/ 5377381 w 7467600"/>
              <a:gd name="connsiteY744" fmla="*/ 912671 h 6858000"/>
              <a:gd name="connsiteX745" fmla="*/ 5460148 w 7467600"/>
              <a:gd name="connsiteY745" fmla="*/ 911442 h 6858000"/>
              <a:gd name="connsiteX746" fmla="*/ 5648971 w 7467600"/>
              <a:gd name="connsiteY746" fmla="*/ 891331 h 6858000"/>
              <a:gd name="connsiteX747" fmla="*/ 5844807 w 7467600"/>
              <a:gd name="connsiteY747" fmla="*/ 870718 h 6858000"/>
              <a:gd name="connsiteX748" fmla="*/ 5862975 w 7467600"/>
              <a:gd name="connsiteY748" fmla="*/ 869756 h 6858000"/>
              <a:gd name="connsiteX749" fmla="*/ 5920887 w 7467600"/>
              <a:gd name="connsiteY749" fmla="*/ 865929 h 6858000"/>
              <a:gd name="connsiteX750" fmla="*/ 5504425 w 7467600"/>
              <a:gd name="connsiteY750" fmla="*/ 848067 h 6858000"/>
              <a:gd name="connsiteX751" fmla="*/ 3607114 w 7467600"/>
              <a:gd name="connsiteY751" fmla="*/ 467441 h 6858000"/>
              <a:gd name="connsiteX752" fmla="*/ 3296242 w 7467600"/>
              <a:gd name="connsiteY752" fmla="*/ 807991 h 6858000"/>
              <a:gd name="connsiteX753" fmla="*/ 3174674 w 7467600"/>
              <a:gd name="connsiteY753" fmla="*/ 919759 h 6858000"/>
              <a:gd name="connsiteX754" fmla="*/ 3042978 w 7467600"/>
              <a:gd name="connsiteY754" fmla="*/ 1054894 h 6858000"/>
              <a:gd name="connsiteX755" fmla="*/ 2968914 w 7467600"/>
              <a:gd name="connsiteY755" fmla="*/ 1133756 h 6858000"/>
              <a:gd name="connsiteX756" fmla="*/ 3103823 w 7467600"/>
              <a:gd name="connsiteY756" fmla="*/ 1026814 h 6858000"/>
              <a:gd name="connsiteX757" fmla="*/ 3607114 w 7467600"/>
              <a:gd name="connsiteY757" fmla="*/ 467441 h 6858000"/>
              <a:gd name="connsiteX758" fmla="*/ 3744487 w 7467600"/>
              <a:gd name="connsiteY758" fmla="*/ 383136 h 6858000"/>
              <a:gd name="connsiteX759" fmla="*/ 3970213 w 7467600"/>
              <a:gd name="connsiteY759" fmla="*/ 995559 h 6858000"/>
              <a:gd name="connsiteX760" fmla="*/ 3744487 w 7467600"/>
              <a:gd name="connsiteY760" fmla="*/ 383136 h 6858000"/>
              <a:gd name="connsiteX761" fmla="*/ 3624562 w 7467600"/>
              <a:gd name="connsiteY761" fmla="*/ 367041 h 6858000"/>
              <a:gd name="connsiteX762" fmla="*/ 3489712 w 7467600"/>
              <a:gd name="connsiteY762" fmla="*/ 485386 h 6858000"/>
              <a:gd name="connsiteX763" fmla="*/ 3182994 w 7467600"/>
              <a:gd name="connsiteY763" fmla="*/ 828265 h 6858000"/>
              <a:gd name="connsiteX764" fmla="*/ 2892114 w 7467600"/>
              <a:gd name="connsiteY764" fmla="*/ 1172635 h 6858000"/>
              <a:gd name="connsiteX765" fmla="*/ 3021459 w 7467600"/>
              <a:gd name="connsiteY765" fmla="*/ 1035385 h 6858000"/>
              <a:gd name="connsiteX766" fmla="*/ 3153873 w 7467600"/>
              <a:gd name="connsiteY766" fmla="*/ 898971 h 6858000"/>
              <a:gd name="connsiteX767" fmla="*/ 3276511 w 7467600"/>
              <a:gd name="connsiteY767" fmla="*/ 786423 h 6858000"/>
              <a:gd name="connsiteX768" fmla="*/ 3584154 w 7467600"/>
              <a:gd name="connsiteY768" fmla="*/ 448218 h 6858000"/>
              <a:gd name="connsiteX769" fmla="*/ 3624562 w 7467600"/>
              <a:gd name="connsiteY769" fmla="*/ 367041 h 6858000"/>
              <a:gd name="connsiteX770" fmla="*/ 3766672 w 7467600"/>
              <a:gd name="connsiteY770" fmla="*/ 359429 h 6858000"/>
              <a:gd name="connsiteX771" fmla="*/ 3996338 w 7467600"/>
              <a:gd name="connsiteY771" fmla="*/ 968237 h 6858000"/>
              <a:gd name="connsiteX772" fmla="*/ 3766672 w 7467600"/>
              <a:gd name="connsiteY772" fmla="*/ 359429 h 6858000"/>
              <a:gd name="connsiteX773" fmla="*/ 5805386 w 7467600"/>
              <a:gd name="connsiteY773" fmla="*/ 239240 h 6858000"/>
              <a:gd name="connsiteX774" fmla="*/ 5736947 w 7467600"/>
              <a:gd name="connsiteY774" fmla="*/ 261367 h 6858000"/>
              <a:gd name="connsiteX775" fmla="*/ 5427012 w 7467600"/>
              <a:gd name="connsiteY775" fmla="*/ 311272 h 6858000"/>
              <a:gd name="connsiteX776" fmla="*/ 5147818 w 7467600"/>
              <a:gd name="connsiteY776" fmla="*/ 322112 h 6858000"/>
              <a:gd name="connsiteX777" fmla="*/ 5060854 w 7467600"/>
              <a:gd name="connsiteY777" fmla="*/ 311882 h 6858000"/>
              <a:gd name="connsiteX778" fmla="*/ 4945989 w 7467600"/>
              <a:gd name="connsiteY778" fmla="*/ 300516 h 6858000"/>
              <a:gd name="connsiteX779" fmla="*/ 5410479 w 7467600"/>
              <a:gd name="connsiteY779" fmla="*/ 348434 h 6858000"/>
              <a:gd name="connsiteX780" fmla="*/ 5805386 w 7467600"/>
              <a:gd name="connsiteY780" fmla="*/ 239240 h 6858000"/>
              <a:gd name="connsiteX781" fmla="*/ 5905192 w 7467600"/>
              <a:gd name="connsiteY781" fmla="*/ 163079 h 6858000"/>
              <a:gd name="connsiteX782" fmla="*/ 5865655 w 7467600"/>
              <a:gd name="connsiteY782" fmla="*/ 171901 h 6858000"/>
              <a:gd name="connsiteX783" fmla="*/ 5259740 w 7467600"/>
              <a:gd name="connsiteY783" fmla="*/ 257013 h 6858000"/>
              <a:gd name="connsiteX784" fmla="*/ 5208466 w 7467600"/>
              <a:gd name="connsiteY784" fmla="*/ 257550 h 6858000"/>
              <a:gd name="connsiteX785" fmla="*/ 4980204 w 7467600"/>
              <a:gd name="connsiteY785" fmla="*/ 271903 h 6858000"/>
              <a:gd name="connsiteX786" fmla="*/ 5068068 w 7467600"/>
              <a:gd name="connsiteY786" fmla="*/ 282244 h 6858000"/>
              <a:gd name="connsiteX787" fmla="*/ 5153231 w 7467600"/>
              <a:gd name="connsiteY787" fmla="*/ 292240 h 6858000"/>
              <a:gd name="connsiteX788" fmla="*/ 5426491 w 7467600"/>
              <a:gd name="connsiteY788" fmla="*/ 281128 h 6858000"/>
              <a:gd name="connsiteX789" fmla="*/ 5731212 w 7467600"/>
              <a:gd name="connsiteY789" fmla="*/ 231951 h 6858000"/>
              <a:gd name="connsiteX790" fmla="*/ 5905192 w 7467600"/>
              <a:gd name="connsiteY790" fmla="*/ 163079 h 6858000"/>
              <a:gd name="connsiteX791" fmla="*/ 5944437 w 7467600"/>
              <a:gd name="connsiteY791" fmla="*/ 113829 h 6858000"/>
              <a:gd name="connsiteX792" fmla="*/ 5825032 w 7467600"/>
              <a:gd name="connsiteY792" fmla="*/ 146405 h 6858000"/>
              <a:gd name="connsiteX793" fmla="*/ 4955599 w 7467600"/>
              <a:gd name="connsiteY793" fmla="*/ 247008 h 6858000"/>
              <a:gd name="connsiteX794" fmla="*/ 5210104 w 7467600"/>
              <a:gd name="connsiteY794" fmla="*/ 228123 h 6858000"/>
              <a:gd name="connsiteX795" fmla="*/ 5261015 w 7467600"/>
              <a:gd name="connsiteY795" fmla="*/ 227087 h 6858000"/>
              <a:gd name="connsiteX796" fmla="*/ 5861181 w 7467600"/>
              <a:gd name="connsiteY796" fmla="*/ 143093 h 6858000"/>
              <a:gd name="connsiteX797" fmla="*/ 5961252 w 7467600"/>
              <a:gd name="connsiteY797" fmla="*/ 114820 h 6858000"/>
              <a:gd name="connsiteX798" fmla="*/ 5944437 w 7467600"/>
              <a:gd name="connsiteY798" fmla="*/ 113829 h 6858000"/>
              <a:gd name="connsiteX799" fmla="*/ 3882765 w 7467600"/>
              <a:gd name="connsiteY799" fmla="*/ 0 h 6858000"/>
              <a:gd name="connsiteX800" fmla="*/ 3995099 w 7467600"/>
              <a:gd name="connsiteY800" fmla="*/ 0 h 6858000"/>
              <a:gd name="connsiteX801" fmla="*/ 4163818 w 7467600"/>
              <a:gd name="connsiteY801" fmla="*/ 234104 h 6858000"/>
              <a:gd name="connsiteX802" fmla="*/ 4172099 w 7467600"/>
              <a:gd name="connsiteY802" fmla="*/ 234207 h 6858000"/>
              <a:gd name="connsiteX803" fmla="*/ 4784282 w 7467600"/>
              <a:gd name="connsiteY803" fmla="*/ 276561 h 6858000"/>
              <a:gd name="connsiteX804" fmla="*/ 4801687 w 7467600"/>
              <a:gd name="connsiteY804" fmla="*/ 267764 h 6858000"/>
              <a:gd name="connsiteX805" fmla="*/ 6082788 w 7467600"/>
              <a:gd name="connsiteY805" fmla="*/ 64119 h 6858000"/>
              <a:gd name="connsiteX806" fmla="*/ 6099442 w 7467600"/>
              <a:gd name="connsiteY806" fmla="*/ 82568 h 6858000"/>
              <a:gd name="connsiteX807" fmla="*/ 4804137 w 7467600"/>
              <a:gd name="connsiteY807" fmla="*/ 320931 h 6858000"/>
              <a:gd name="connsiteX808" fmla="*/ 4227047 w 7467600"/>
              <a:gd name="connsiteY808" fmla="*/ 313415 h 6858000"/>
              <a:gd name="connsiteX809" fmla="*/ 4346041 w 7467600"/>
              <a:gd name="connsiteY809" fmla="*/ 456086 h 6858000"/>
              <a:gd name="connsiteX810" fmla="*/ 4870967 w 7467600"/>
              <a:gd name="connsiteY810" fmla="*/ 963061 h 6858000"/>
              <a:gd name="connsiteX811" fmla="*/ 4889647 w 7467600"/>
              <a:gd name="connsiteY811" fmla="*/ 957147 h 6858000"/>
              <a:gd name="connsiteX812" fmla="*/ 5422504 w 7467600"/>
              <a:gd name="connsiteY812" fmla="*/ 805191 h 6858000"/>
              <a:gd name="connsiteX813" fmla="*/ 6087656 w 7467600"/>
              <a:gd name="connsiteY813" fmla="*/ 826703 h 6858000"/>
              <a:gd name="connsiteX814" fmla="*/ 6058717 w 7467600"/>
              <a:gd name="connsiteY814" fmla="*/ 865992 h 6858000"/>
              <a:gd name="connsiteX815" fmla="*/ 4974153 w 7467600"/>
              <a:gd name="connsiteY815" fmla="*/ 1045456 h 6858000"/>
              <a:gd name="connsiteX816" fmla="*/ 5627835 w 7467600"/>
              <a:gd name="connsiteY816" fmla="*/ 1472077 h 6858000"/>
              <a:gd name="connsiteX817" fmla="*/ 5629817 w 7467600"/>
              <a:gd name="connsiteY817" fmla="*/ 1471412 h 6858000"/>
              <a:gd name="connsiteX818" fmla="*/ 5634124 w 7467600"/>
              <a:gd name="connsiteY818" fmla="*/ 1470572 h 6858000"/>
              <a:gd name="connsiteX819" fmla="*/ 5755832 w 7467600"/>
              <a:gd name="connsiteY819" fmla="*/ 1383886 h 6858000"/>
              <a:gd name="connsiteX820" fmla="*/ 6014186 w 7467600"/>
              <a:gd name="connsiteY820" fmla="*/ 1279799 h 6858000"/>
              <a:gd name="connsiteX821" fmla="*/ 6901619 w 7467600"/>
              <a:gd name="connsiteY821" fmla="*/ 1047874 h 6858000"/>
              <a:gd name="connsiteX822" fmla="*/ 6931566 w 7467600"/>
              <a:gd name="connsiteY822" fmla="*/ 1062034 h 6858000"/>
              <a:gd name="connsiteX823" fmla="*/ 5790982 w 7467600"/>
              <a:gd name="connsiteY823" fmla="*/ 1561380 h 6858000"/>
              <a:gd name="connsiteX824" fmla="*/ 6188971 w 7467600"/>
              <a:gd name="connsiteY824" fmla="*/ 1755168 h 6858000"/>
              <a:gd name="connsiteX825" fmla="*/ 6202446 w 7467600"/>
              <a:gd name="connsiteY825" fmla="*/ 1752268 h 6858000"/>
              <a:gd name="connsiteX826" fmla="*/ 7179560 w 7467600"/>
              <a:gd name="connsiteY826" fmla="*/ 1467551 h 6858000"/>
              <a:gd name="connsiteX827" fmla="*/ 7158730 w 7467600"/>
              <a:gd name="connsiteY827" fmla="*/ 1507835 h 6858000"/>
              <a:gd name="connsiteX828" fmla="*/ 6326959 w 7467600"/>
              <a:gd name="connsiteY828" fmla="*/ 1817686 h 6858000"/>
              <a:gd name="connsiteX829" fmla="*/ 6537433 w 7467600"/>
              <a:gd name="connsiteY829" fmla="*/ 1907790 h 6858000"/>
              <a:gd name="connsiteX830" fmla="*/ 6550221 w 7467600"/>
              <a:gd name="connsiteY830" fmla="*/ 1910729 h 6858000"/>
              <a:gd name="connsiteX831" fmla="*/ 6964438 w 7467600"/>
              <a:gd name="connsiteY831" fmla="*/ 2209505 h 6858000"/>
              <a:gd name="connsiteX832" fmla="*/ 7367862 w 7467600"/>
              <a:gd name="connsiteY832" fmla="*/ 2806833 h 6858000"/>
              <a:gd name="connsiteX833" fmla="*/ 7364329 w 7467600"/>
              <a:gd name="connsiteY833" fmla="*/ 2826907 h 6858000"/>
              <a:gd name="connsiteX834" fmla="*/ 7290545 w 7467600"/>
              <a:gd name="connsiteY834" fmla="*/ 2850663 h 6858000"/>
              <a:gd name="connsiteX835" fmla="*/ 6472036 w 7467600"/>
              <a:gd name="connsiteY835" fmla="*/ 1959003 h 6858000"/>
              <a:gd name="connsiteX836" fmla="*/ 5792897 w 7467600"/>
              <a:gd name="connsiteY836" fmla="*/ 1647747 h 6858000"/>
              <a:gd name="connsiteX837" fmla="*/ 5842751 w 7467600"/>
              <a:gd name="connsiteY837" fmla="*/ 1816112 h 6858000"/>
              <a:gd name="connsiteX838" fmla="*/ 5847424 w 7467600"/>
              <a:gd name="connsiteY838" fmla="*/ 1815776 h 6858000"/>
              <a:gd name="connsiteX839" fmla="*/ 6399821 w 7467600"/>
              <a:gd name="connsiteY839" fmla="*/ 2344799 h 6858000"/>
              <a:gd name="connsiteX840" fmla="*/ 6323232 w 7467600"/>
              <a:gd name="connsiteY840" fmla="*/ 2389634 h 6858000"/>
              <a:gd name="connsiteX841" fmla="*/ 5942958 w 7467600"/>
              <a:gd name="connsiteY841" fmla="*/ 2077708 h 6858000"/>
              <a:gd name="connsiteX842" fmla="*/ 5921559 w 7467600"/>
              <a:gd name="connsiteY842" fmla="*/ 2378596 h 6858000"/>
              <a:gd name="connsiteX843" fmla="*/ 5817651 w 7467600"/>
              <a:gd name="connsiteY843" fmla="*/ 3023919 h 6858000"/>
              <a:gd name="connsiteX844" fmla="*/ 5729634 w 7467600"/>
              <a:gd name="connsiteY844" fmla="*/ 3051849 h 6858000"/>
              <a:gd name="connsiteX845" fmla="*/ 5611018 w 7467600"/>
              <a:gd name="connsiteY845" fmla="*/ 2316769 h 6858000"/>
              <a:gd name="connsiteX846" fmla="*/ 5687608 w 7467600"/>
              <a:gd name="connsiteY846" fmla="*/ 2039972 h 6858000"/>
              <a:gd name="connsiteX847" fmla="*/ 5657554 w 7467600"/>
              <a:gd name="connsiteY847" fmla="*/ 1576445 h 6858000"/>
              <a:gd name="connsiteX848" fmla="*/ 5150475 w 7467600"/>
              <a:gd name="connsiteY848" fmla="*/ 1274012 h 6858000"/>
              <a:gd name="connsiteX849" fmla="*/ 5349142 w 7467600"/>
              <a:gd name="connsiteY849" fmla="*/ 2204405 h 6858000"/>
              <a:gd name="connsiteX850" fmla="*/ 5262214 w 7467600"/>
              <a:gd name="connsiteY850" fmla="*/ 2233836 h 6858000"/>
              <a:gd name="connsiteX851" fmla="*/ 4981539 w 7467600"/>
              <a:gd name="connsiteY851" fmla="*/ 1542201 h 6858000"/>
              <a:gd name="connsiteX852" fmla="*/ 4958461 w 7467600"/>
              <a:gd name="connsiteY852" fmla="*/ 1136957 h 6858000"/>
              <a:gd name="connsiteX853" fmla="*/ 4655015 w 7467600"/>
              <a:gd name="connsiteY853" fmla="*/ 891426 h 6858000"/>
              <a:gd name="connsiteX854" fmla="*/ 4348002 w 7467600"/>
              <a:gd name="connsiteY854" fmla="*/ 2205895 h 6858000"/>
              <a:gd name="connsiteX855" fmla="*/ 4262250 w 7467600"/>
              <a:gd name="connsiteY855" fmla="*/ 2219972 h 6858000"/>
              <a:gd name="connsiteX856" fmla="*/ 4550611 w 7467600"/>
              <a:gd name="connsiteY856" fmla="*/ 817540 h 6858000"/>
              <a:gd name="connsiteX857" fmla="*/ 4564418 w 7467600"/>
              <a:gd name="connsiteY857" fmla="*/ 808293 h 6858000"/>
              <a:gd name="connsiteX858" fmla="*/ 4266388 w 7467600"/>
              <a:gd name="connsiteY858" fmla="*/ 500083 h 6858000"/>
              <a:gd name="connsiteX859" fmla="*/ 4032842 w 7467600"/>
              <a:gd name="connsiteY859" fmla="*/ 211809 h 6858000"/>
              <a:gd name="connsiteX860" fmla="*/ 3882765 w 7467600"/>
              <a:gd name="connsiteY860" fmla="*/ 0 h 6858000"/>
              <a:gd name="connsiteX861" fmla="*/ 3721337 w 7467600"/>
              <a:gd name="connsiteY861" fmla="*/ 0 h 6858000"/>
              <a:gd name="connsiteX862" fmla="*/ 3797544 w 7467600"/>
              <a:gd name="connsiteY862" fmla="*/ 0 h 6858000"/>
              <a:gd name="connsiteX863" fmla="*/ 3775734 w 7467600"/>
              <a:gd name="connsiteY863" fmla="*/ 95131 h 6858000"/>
              <a:gd name="connsiteX864" fmla="*/ 3724807 w 7467600"/>
              <a:gd name="connsiteY864" fmla="*/ 272257 h 6858000"/>
              <a:gd name="connsiteX865" fmla="*/ 3726844 w 7467600"/>
              <a:gd name="connsiteY865" fmla="*/ 282988 h 6858000"/>
              <a:gd name="connsiteX866" fmla="*/ 3742664 w 7467600"/>
              <a:gd name="connsiteY866" fmla="*/ 279918 h 6858000"/>
              <a:gd name="connsiteX867" fmla="*/ 4103910 w 7467600"/>
              <a:gd name="connsiteY867" fmla="*/ 1161917 h 6858000"/>
              <a:gd name="connsiteX868" fmla="*/ 4020269 w 7467600"/>
              <a:gd name="connsiteY868" fmla="*/ 1200406 h 6858000"/>
              <a:gd name="connsiteX869" fmla="*/ 3674882 w 7467600"/>
              <a:gd name="connsiteY869" fmla="*/ 488524 h 6858000"/>
              <a:gd name="connsiteX870" fmla="*/ 3132682 w 7467600"/>
              <a:gd name="connsiteY870" fmla="*/ 1072284 h 6858000"/>
              <a:gd name="connsiteX871" fmla="*/ 2716346 w 7467600"/>
              <a:gd name="connsiteY871" fmla="*/ 1276376 h 6858000"/>
              <a:gd name="connsiteX872" fmla="*/ 2716772 w 7467600"/>
              <a:gd name="connsiteY872" fmla="*/ 1255462 h 6858000"/>
              <a:gd name="connsiteX873" fmla="*/ 3471096 w 7467600"/>
              <a:gd name="connsiteY873" fmla="*/ 437072 h 6858000"/>
              <a:gd name="connsiteX874" fmla="*/ 3639057 w 7467600"/>
              <a:gd name="connsiteY874" fmla="*/ 286334 h 6858000"/>
              <a:gd name="connsiteX875" fmla="*/ 3640309 w 7467600"/>
              <a:gd name="connsiteY875" fmla="*/ 284664 h 6858000"/>
              <a:gd name="connsiteX876" fmla="*/ 3646022 w 7467600"/>
              <a:gd name="connsiteY876" fmla="*/ 276711 h 6858000"/>
              <a:gd name="connsiteX877" fmla="*/ 3707943 w 7467600"/>
              <a:gd name="connsiteY877" fmla="*/ 65958 h 6858000"/>
              <a:gd name="connsiteX878" fmla="*/ 3721337 w 7467600"/>
              <a:gd name="connsiteY878" fmla="*/ 0 h 6858000"/>
              <a:gd name="connsiteX879" fmla="*/ 2867960 w 7467600"/>
              <a:gd name="connsiteY879" fmla="*/ 0 h 6858000"/>
              <a:gd name="connsiteX880" fmla="*/ 2926351 w 7467600"/>
              <a:gd name="connsiteY880" fmla="*/ 0 h 6858000"/>
              <a:gd name="connsiteX881" fmla="*/ 2902823 w 7467600"/>
              <a:gd name="connsiteY881" fmla="*/ 262929 h 6858000"/>
              <a:gd name="connsiteX882" fmla="*/ 2940663 w 7467600"/>
              <a:gd name="connsiteY882" fmla="*/ 140884 h 6858000"/>
              <a:gd name="connsiteX883" fmla="*/ 2947039 w 7467600"/>
              <a:gd name="connsiteY883" fmla="*/ 122524 h 6858000"/>
              <a:gd name="connsiteX884" fmla="*/ 2984316 w 7467600"/>
              <a:gd name="connsiteY884" fmla="*/ 0 h 6858000"/>
              <a:gd name="connsiteX885" fmla="*/ 3016114 w 7467600"/>
              <a:gd name="connsiteY885" fmla="*/ 0 h 6858000"/>
              <a:gd name="connsiteX886" fmla="*/ 2979949 w 7467600"/>
              <a:gd name="connsiteY886" fmla="*/ 119274 h 6858000"/>
              <a:gd name="connsiteX887" fmla="*/ 3023879 w 7467600"/>
              <a:gd name="connsiteY887" fmla="*/ 0 h 6858000"/>
              <a:gd name="connsiteX888" fmla="*/ 3105400 w 7467600"/>
              <a:gd name="connsiteY888" fmla="*/ 0 h 6858000"/>
              <a:gd name="connsiteX889" fmla="*/ 3094669 w 7467600"/>
              <a:gd name="connsiteY889" fmla="*/ 30308 h 6858000"/>
              <a:gd name="connsiteX890" fmla="*/ 2901945 w 7467600"/>
              <a:gd name="connsiteY890" fmla="*/ 466538 h 6858000"/>
              <a:gd name="connsiteX891" fmla="*/ 2815209 w 7467600"/>
              <a:gd name="connsiteY891" fmla="*/ 497361 h 6858000"/>
              <a:gd name="connsiteX892" fmla="*/ 2844845 w 7467600"/>
              <a:gd name="connsiteY892" fmla="*/ 127638 h 6858000"/>
              <a:gd name="connsiteX893" fmla="*/ 2867960 w 7467600"/>
              <a:gd name="connsiteY893" fmla="*/ 0 h 6858000"/>
              <a:gd name="connsiteX894" fmla="*/ 1057230 w 7467600"/>
              <a:gd name="connsiteY894" fmla="*/ 0 h 6858000"/>
              <a:gd name="connsiteX895" fmla="*/ 1111003 w 7467600"/>
              <a:gd name="connsiteY895" fmla="*/ 0 h 6858000"/>
              <a:gd name="connsiteX896" fmla="*/ 1125553 w 7467600"/>
              <a:gd name="connsiteY896" fmla="*/ 52588 h 6858000"/>
              <a:gd name="connsiteX897" fmla="*/ 1304276 w 7467600"/>
              <a:gd name="connsiteY897" fmla="*/ 476275 h 6858000"/>
              <a:gd name="connsiteX898" fmla="*/ 1492066 w 7467600"/>
              <a:gd name="connsiteY898" fmla="*/ 886333 h 6858000"/>
              <a:gd name="connsiteX899" fmla="*/ 1423698 w 7467600"/>
              <a:gd name="connsiteY899" fmla="*/ 710817 h 6858000"/>
              <a:gd name="connsiteX900" fmla="*/ 1357609 w 7467600"/>
              <a:gd name="connsiteY900" fmla="*/ 532892 h 6858000"/>
              <a:gd name="connsiteX901" fmla="*/ 1309550 w 7467600"/>
              <a:gd name="connsiteY901" fmla="*/ 374031 h 6858000"/>
              <a:gd name="connsiteX902" fmla="*/ 1193673 w 7467600"/>
              <a:gd name="connsiteY902" fmla="*/ 49533 h 6858000"/>
              <a:gd name="connsiteX903" fmla="*/ 1164391 w 7467600"/>
              <a:gd name="connsiteY903" fmla="*/ 0 h 6858000"/>
              <a:gd name="connsiteX904" fmla="*/ 1200666 w 7467600"/>
              <a:gd name="connsiteY904" fmla="*/ 0 h 6858000"/>
              <a:gd name="connsiteX905" fmla="*/ 1223408 w 7467600"/>
              <a:gd name="connsiteY905" fmla="*/ 38996 h 6858000"/>
              <a:gd name="connsiteX906" fmla="*/ 1339635 w 7467600"/>
              <a:gd name="connsiteY906" fmla="*/ 365517 h 6858000"/>
              <a:gd name="connsiteX907" fmla="*/ 1387469 w 7467600"/>
              <a:gd name="connsiteY907" fmla="*/ 523079 h 6858000"/>
              <a:gd name="connsiteX908" fmla="*/ 1452685 w 7467600"/>
              <a:gd name="connsiteY908" fmla="*/ 699806 h 6858000"/>
              <a:gd name="connsiteX909" fmla="*/ 1492092 w 7467600"/>
              <a:gd name="connsiteY909" fmla="*/ 800424 h 6858000"/>
              <a:gd name="connsiteX910" fmla="*/ 1455302 w 7467600"/>
              <a:gd name="connsiteY910" fmla="*/ 632913 h 6858000"/>
              <a:gd name="connsiteX911" fmla="*/ 1222336 w 7467600"/>
              <a:gd name="connsiteY911" fmla="*/ 9480 h 6858000"/>
              <a:gd name="connsiteX912" fmla="*/ 1214634 w 7467600"/>
              <a:gd name="connsiteY912" fmla="*/ 0 h 6858000"/>
              <a:gd name="connsiteX913" fmla="*/ 1289827 w 7467600"/>
              <a:gd name="connsiteY913" fmla="*/ 0 h 6858000"/>
              <a:gd name="connsiteX914" fmla="*/ 1321076 w 7467600"/>
              <a:gd name="connsiteY914" fmla="*/ 59722 h 6858000"/>
              <a:gd name="connsiteX915" fmla="*/ 1512579 w 7467600"/>
              <a:gd name="connsiteY915" fmla="*/ 626441 h 6858000"/>
              <a:gd name="connsiteX916" fmla="*/ 1506076 w 7467600"/>
              <a:gd name="connsiteY916" fmla="*/ 1089289 h 6858000"/>
              <a:gd name="connsiteX917" fmla="*/ 1486346 w 7467600"/>
              <a:gd name="connsiteY917" fmla="*/ 1079919 h 6858000"/>
              <a:gd name="connsiteX918" fmla="*/ 1070511 w 7467600"/>
              <a:gd name="connsiteY918" fmla="*/ 48609 h 6858000"/>
              <a:gd name="connsiteX919" fmla="*/ 1057230 w 7467600"/>
              <a:gd name="connsiteY919" fmla="*/ 0 h 6858000"/>
              <a:gd name="connsiteX920" fmla="*/ 43151 w 7467600"/>
              <a:gd name="connsiteY920" fmla="*/ 0 h 6858000"/>
              <a:gd name="connsiteX921" fmla="*/ 95283 w 7467600"/>
              <a:gd name="connsiteY921" fmla="*/ 0 h 6858000"/>
              <a:gd name="connsiteX922" fmla="*/ 300708 w 7467600"/>
              <a:gd name="connsiteY922" fmla="*/ 154571 h 6858000"/>
              <a:gd name="connsiteX923" fmla="*/ 530414 w 7467600"/>
              <a:gd name="connsiteY923" fmla="*/ 354673 h 6858000"/>
              <a:gd name="connsiteX924" fmla="*/ 333785 w 7467600"/>
              <a:gd name="connsiteY924" fmla="*/ 161564 h 6858000"/>
              <a:gd name="connsiteX925" fmla="*/ 147005 w 7467600"/>
              <a:gd name="connsiteY925" fmla="*/ 0 h 6858000"/>
              <a:gd name="connsiteX926" fmla="*/ 272509 w 7467600"/>
              <a:gd name="connsiteY926" fmla="*/ 0 h 6858000"/>
              <a:gd name="connsiteX927" fmla="*/ 326276 w 7467600"/>
              <a:gd name="connsiteY927" fmla="*/ 45847 h 6858000"/>
              <a:gd name="connsiteX928" fmla="*/ 823759 w 7467600"/>
              <a:gd name="connsiteY928" fmla="*/ 574145 h 6858000"/>
              <a:gd name="connsiteX929" fmla="*/ 811254 w 7467600"/>
              <a:gd name="connsiteY929" fmla="*/ 665546 h 6858000"/>
              <a:gd name="connsiteX930" fmla="*/ 154042 w 7467600"/>
              <a:gd name="connsiteY930" fmla="*/ 261522 h 6858000"/>
              <a:gd name="connsiteX931" fmla="*/ 13550 w 7467600"/>
              <a:gd name="connsiteY931" fmla="*/ 158423 h 6858000"/>
              <a:gd name="connsiteX932" fmla="*/ 0 w 7467600"/>
              <a:gd name="connsiteY932" fmla="*/ 146618 h 6858000"/>
              <a:gd name="connsiteX933" fmla="*/ 0 w 7467600"/>
              <a:gd name="connsiteY933" fmla="*/ 59161 h 6858000"/>
              <a:gd name="connsiteX934" fmla="*/ 45427 w 7467600"/>
              <a:gd name="connsiteY934" fmla="*/ 101078 h 6858000"/>
              <a:gd name="connsiteX935" fmla="*/ 630103 w 7467600"/>
              <a:gd name="connsiteY935" fmla="*/ 485885 h 6858000"/>
              <a:gd name="connsiteX936" fmla="*/ 532040 w 7467600"/>
              <a:gd name="connsiteY936" fmla="*/ 399359 h 6858000"/>
              <a:gd name="connsiteX937" fmla="*/ 517618 w 7467600"/>
              <a:gd name="connsiteY937" fmla="*/ 385726 h 6858000"/>
              <a:gd name="connsiteX938" fmla="*/ 285074 w 7467600"/>
              <a:gd name="connsiteY938" fmla="*/ 182755 h 6858000"/>
              <a:gd name="connsiteX939" fmla="*/ 43151 w 7467600"/>
              <a:gd name="connsiteY939"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467600 w 7467600"/>
              <a:gd name="connsiteY4" fmla="*/ 6628217 h 6858000"/>
              <a:gd name="connsiteX5" fmla="*/ 7440138 w 7467600"/>
              <a:gd name="connsiteY5" fmla="*/ 6622648 h 6858000"/>
              <a:gd name="connsiteX6" fmla="*/ 7467600 w 7467600"/>
              <a:gd name="connsiteY6" fmla="*/ 6628217 h 6858000"/>
              <a:gd name="connsiteX7" fmla="*/ 1019354 w 7467600"/>
              <a:gd name="connsiteY7" fmla="*/ 6315006 h 6858000"/>
              <a:gd name="connsiteX8" fmla="*/ 441046 w 7467600"/>
              <a:gd name="connsiteY8" fmla="*/ 6691153 h 6858000"/>
              <a:gd name="connsiteX9" fmla="*/ 1019354 w 7467600"/>
              <a:gd name="connsiteY9" fmla="*/ 6315006 h 6858000"/>
              <a:gd name="connsiteX10" fmla="*/ 991680 w 7467600"/>
              <a:gd name="connsiteY10" fmla="*/ 6298413 h 6858000"/>
              <a:gd name="connsiteX11" fmla="*/ 409060 w 7467600"/>
              <a:gd name="connsiteY11" fmla="*/ 6671470 h 6858000"/>
              <a:gd name="connsiteX12" fmla="*/ 991680 w 7467600"/>
              <a:gd name="connsiteY12" fmla="*/ 6298413 h 6858000"/>
              <a:gd name="connsiteX13" fmla="*/ 103333 w 7467600"/>
              <a:gd name="connsiteY13" fmla="*/ 5699602 h 6858000"/>
              <a:gd name="connsiteX14" fmla="*/ 233938 w 7467600"/>
              <a:gd name="connsiteY14" fmla="*/ 5809416 h 6858000"/>
              <a:gd name="connsiteX15" fmla="*/ 883580 w 7467600"/>
              <a:gd name="connsiteY15" fmla="*/ 6180710 h 6858000"/>
              <a:gd name="connsiteX16" fmla="*/ 487337 w 7467600"/>
              <a:gd name="connsiteY16" fmla="*/ 5950182 h 6858000"/>
              <a:gd name="connsiteX17" fmla="*/ 354051 w 7467600"/>
              <a:gd name="connsiteY17" fmla="*/ 5854912 h 6858000"/>
              <a:gd name="connsiteX18" fmla="*/ 195436 w 7467600"/>
              <a:gd name="connsiteY18" fmla="*/ 5755068 h 6858000"/>
              <a:gd name="connsiteX19" fmla="*/ 103333 w 7467600"/>
              <a:gd name="connsiteY19" fmla="*/ 5699602 h 6858000"/>
              <a:gd name="connsiteX20" fmla="*/ 5539432 w 7467600"/>
              <a:gd name="connsiteY20" fmla="*/ 5642928 h 6858000"/>
              <a:gd name="connsiteX21" fmla="*/ 5555462 w 7467600"/>
              <a:gd name="connsiteY21" fmla="*/ 5694454 h 6858000"/>
              <a:gd name="connsiteX22" fmla="*/ 5828270 w 7467600"/>
              <a:gd name="connsiteY22" fmla="*/ 6320663 h 6858000"/>
              <a:gd name="connsiteX23" fmla="*/ 5947416 w 7467600"/>
              <a:gd name="connsiteY23" fmla="*/ 6574846 h 6858000"/>
              <a:gd name="connsiteX24" fmla="*/ 5539432 w 7467600"/>
              <a:gd name="connsiteY24" fmla="*/ 5642928 h 6858000"/>
              <a:gd name="connsiteX25" fmla="*/ 51253 w 7467600"/>
              <a:gd name="connsiteY25" fmla="*/ 5631825 h 6858000"/>
              <a:gd name="connsiteX26" fmla="*/ 211622 w 7467600"/>
              <a:gd name="connsiteY26" fmla="*/ 5728803 h 6858000"/>
              <a:gd name="connsiteX27" fmla="*/ 371652 w 7467600"/>
              <a:gd name="connsiteY27" fmla="*/ 5829062 h 6858000"/>
              <a:gd name="connsiteX28" fmla="*/ 505903 w 7467600"/>
              <a:gd name="connsiteY28" fmla="*/ 5925221 h 6858000"/>
              <a:gd name="connsiteX29" fmla="*/ 899240 w 7467600"/>
              <a:gd name="connsiteY29" fmla="*/ 6153068 h 6858000"/>
              <a:gd name="connsiteX30" fmla="*/ 988114 w 7467600"/>
              <a:gd name="connsiteY30" fmla="*/ 6174204 h 6858000"/>
              <a:gd name="connsiteX31" fmla="*/ 845971 w 7467600"/>
              <a:gd name="connsiteY31" fmla="*/ 6067177 h 6858000"/>
              <a:gd name="connsiteX32" fmla="*/ 448057 w 7467600"/>
              <a:gd name="connsiteY32" fmla="*/ 5841376 h 6858000"/>
              <a:gd name="connsiteX33" fmla="*/ 51253 w 7467600"/>
              <a:gd name="connsiteY33" fmla="*/ 5631825 h 6858000"/>
              <a:gd name="connsiteX34" fmla="*/ 2606687 w 7467600"/>
              <a:gd name="connsiteY34" fmla="*/ 5630718 h 6858000"/>
              <a:gd name="connsiteX35" fmla="*/ 2645658 w 7467600"/>
              <a:gd name="connsiteY35" fmla="*/ 6640259 h 6858000"/>
              <a:gd name="connsiteX36" fmla="*/ 2606687 w 7467600"/>
              <a:gd name="connsiteY36" fmla="*/ 5630718 h 6858000"/>
              <a:gd name="connsiteX37" fmla="*/ 3642057 w 7467600"/>
              <a:gd name="connsiteY37" fmla="*/ 5573487 h 6858000"/>
              <a:gd name="connsiteX38" fmla="*/ 3632981 w 7467600"/>
              <a:gd name="connsiteY38" fmla="*/ 5579437 h 6858000"/>
              <a:gd name="connsiteX39" fmla="*/ 3382436 w 7467600"/>
              <a:gd name="connsiteY39" fmla="*/ 5952726 h 6858000"/>
              <a:gd name="connsiteX40" fmla="*/ 3191929 w 7467600"/>
              <a:gd name="connsiteY40" fmla="*/ 6662669 h 6858000"/>
              <a:gd name="connsiteX41" fmla="*/ 3369898 w 7467600"/>
              <a:gd name="connsiteY41" fmla="*/ 6081771 h 6858000"/>
              <a:gd name="connsiteX42" fmla="*/ 3642057 w 7467600"/>
              <a:gd name="connsiteY42" fmla="*/ 5573487 h 6858000"/>
              <a:gd name="connsiteX43" fmla="*/ 2650666 w 7467600"/>
              <a:gd name="connsiteY43" fmla="*/ 5530686 h 6858000"/>
              <a:gd name="connsiteX44" fmla="*/ 2650249 w 7467600"/>
              <a:gd name="connsiteY44" fmla="*/ 5532101 h 6858000"/>
              <a:gd name="connsiteX45" fmla="*/ 2663808 w 7467600"/>
              <a:gd name="connsiteY45" fmla="*/ 6535215 h 6858000"/>
              <a:gd name="connsiteX46" fmla="*/ 2665418 w 7467600"/>
              <a:gd name="connsiteY46" fmla="*/ 6132756 h 6858000"/>
              <a:gd name="connsiteX47" fmla="*/ 2650666 w 7467600"/>
              <a:gd name="connsiteY47" fmla="*/ 5530686 h 6858000"/>
              <a:gd name="connsiteX48" fmla="*/ 2680277 w 7467600"/>
              <a:gd name="connsiteY48" fmla="*/ 5479204 h 6858000"/>
              <a:gd name="connsiteX49" fmla="*/ 2678972 w 7467600"/>
              <a:gd name="connsiteY49" fmla="*/ 5481582 h 6858000"/>
              <a:gd name="connsiteX50" fmla="*/ 2696666 w 7467600"/>
              <a:gd name="connsiteY50" fmla="*/ 6133836 h 6858000"/>
              <a:gd name="connsiteX51" fmla="*/ 2695769 w 7467600"/>
              <a:gd name="connsiteY51" fmla="*/ 6390955 h 6858000"/>
              <a:gd name="connsiteX52" fmla="*/ 2739893 w 7467600"/>
              <a:gd name="connsiteY52" fmla="*/ 6108357 h 6858000"/>
              <a:gd name="connsiteX53" fmla="*/ 2680277 w 7467600"/>
              <a:gd name="connsiteY53" fmla="*/ 5479204 h 6858000"/>
              <a:gd name="connsiteX54" fmla="*/ 1132195 w 7467600"/>
              <a:gd name="connsiteY54" fmla="*/ 5467980 h 6858000"/>
              <a:gd name="connsiteX55" fmla="*/ 1679056 w 7467600"/>
              <a:gd name="connsiteY55" fmla="*/ 5516907 h 6858000"/>
              <a:gd name="connsiteX56" fmla="*/ 2128648 w 7467600"/>
              <a:gd name="connsiteY56" fmla="*/ 5474249 h 6858000"/>
              <a:gd name="connsiteX57" fmla="*/ 1825619 w 7467600"/>
              <a:gd name="connsiteY57" fmla="*/ 5478447 h 6858000"/>
              <a:gd name="connsiteX58" fmla="*/ 1737798 w 7467600"/>
              <a:gd name="connsiteY58" fmla="*/ 5483353 h 6858000"/>
              <a:gd name="connsiteX59" fmla="*/ 1132195 w 7467600"/>
              <a:gd name="connsiteY59" fmla="*/ 5467980 h 6858000"/>
              <a:gd name="connsiteX60" fmla="*/ 1456157 w 7467600"/>
              <a:gd name="connsiteY60" fmla="*/ 5371404 h 6858000"/>
              <a:gd name="connsiteX61" fmla="*/ 1244432 w 7467600"/>
              <a:gd name="connsiteY61" fmla="*/ 5385601 h 6858000"/>
              <a:gd name="connsiteX62" fmla="*/ 973990 w 7467600"/>
              <a:gd name="connsiteY62" fmla="*/ 5424940 h 6858000"/>
              <a:gd name="connsiteX63" fmla="*/ 1103809 w 7467600"/>
              <a:gd name="connsiteY63" fmla="*/ 5433720 h 6858000"/>
              <a:gd name="connsiteX64" fmla="*/ 1123454 w 7467600"/>
              <a:gd name="connsiteY64" fmla="*/ 5435727 h 6858000"/>
              <a:gd name="connsiteX65" fmla="*/ 1737017 w 7467600"/>
              <a:gd name="connsiteY65" fmla="*/ 5452183 h 6858000"/>
              <a:gd name="connsiteX66" fmla="*/ 1824397 w 7467600"/>
              <a:gd name="connsiteY66" fmla="*/ 5447757 h 6858000"/>
              <a:gd name="connsiteX67" fmla="*/ 2070059 w 7467600"/>
              <a:gd name="connsiteY67" fmla="*/ 5441660 h 6858000"/>
              <a:gd name="connsiteX68" fmla="*/ 1456157 w 7467600"/>
              <a:gd name="connsiteY68" fmla="*/ 5371404 h 6858000"/>
              <a:gd name="connsiteX69" fmla="*/ 4988186 w 7467600"/>
              <a:gd name="connsiteY69" fmla="*/ 5216467 h 6858000"/>
              <a:gd name="connsiteX70" fmla="*/ 4777334 w 7467600"/>
              <a:gd name="connsiteY70" fmla="*/ 5406072 h 6858000"/>
              <a:gd name="connsiteX71" fmla="*/ 4718341 w 7467600"/>
              <a:gd name="connsiteY71" fmla="*/ 5468043 h 6858000"/>
              <a:gd name="connsiteX72" fmla="*/ 4604655 w 7467600"/>
              <a:gd name="connsiteY72" fmla="*/ 5583434 h 6858000"/>
              <a:gd name="connsiteX73" fmla="*/ 4565074 w 7467600"/>
              <a:gd name="connsiteY73" fmla="*/ 5618550 h 6858000"/>
              <a:gd name="connsiteX74" fmla="*/ 4988186 w 7467600"/>
              <a:gd name="connsiteY74" fmla="*/ 5216467 h 6858000"/>
              <a:gd name="connsiteX75" fmla="*/ 4978032 w 7467600"/>
              <a:gd name="connsiteY75" fmla="*/ 5183809 h 6858000"/>
              <a:gd name="connsiteX76" fmla="*/ 4463413 w 7467600"/>
              <a:gd name="connsiteY76" fmla="*/ 5615162 h 6858000"/>
              <a:gd name="connsiteX77" fmla="*/ 4358134 w 7467600"/>
              <a:gd name="connsiteY77" fmla="*/ 5742791 h 6858000"/>
              <a:gd name="connsiteX78" fmla="*/ 4376219 w 7467600"/>
              <a:gd name="connsiteY78" fmla="*/ 5729027 h 6858000"/>
              <a:gd name="connsiteX79" fmla="*/ 4582340 w 7467600"/>
              <a:gd name="connsiteY79" fmla="*/ 5561037 h 6858000"/>
              <a:gd name="connsiteX80" fmla="*/ 4694684 w 7467600"/>
              <a:gd name="connsiteY80" fmla="*/ 5447098 h 6858000"/>
              <a:gd name="connsiteX81" fmla="*/ 4754123 w 7467600"/>
              <a:gd name="connsiteY81" fmla="*/ 5384643 h 6858000"/>
              <a:gd name="connsiteX82" fmla="*/ 4978032 w 7467600"/>
              <a:gd name="connsiteY82" fmla="*/ 5183809 h 6858000"/>
              <a:gd name="connsiteX83" fmla="*/ 1903353 w 7467600"/>
              <a:gd name="connsiteY83" fmla="*/ 5044827 h 6858000"/>
              <a:gd name="connsiteX84" fmla="*/ 1936931 w 7467600"/>
              <a:gd name="connsiteY84" fmla="*/ 5093954 h 6858000"/>
              <a:gd name="connsiteX85" fmla="*/ 2195868 w 7467600"/>
              <a:gd name="connsiteY85" fmla="*/ 5396574 h 6858000"/>
              <a:gd name="connsiteX86" fmla="*/ 2088852 w 7467600"/>
              <a:gd name="connsiteY86" fmla="*/ 5166123 h 6858000"/>
              <a:gd name="connsiteX87" fmla="*/ 1958241 w 7467600"/>
              <a:gd name="connsiteY87" fmla="*/ 5067955 h 6858000"/>
              <a:gd name="connsiteX88" fmla="*/ 1903353 w 7467600"/>
              <a:gd name="connsiteY88" fmla="*/ 5044827 h 6858000"/>
              <a:gd name="connsiteX89" fmla="*/ 1979378 w 7467600"/>
              <a:gd name="connsiteY89" fmla="*/ 4769504 h 6858000"/>
              <a:gd name="connsiteX90" fmla="*/ 2882120 w 7467600"/>
              <a:gd name="connsiteY90" fmla="*/ 5064547 h 6858000"/>
              <a:gd name="connsiteX91" fmla="*/ 2793103 w 7467600"/>
              <a:gd name="connsiteY91" fmla="*/ 5039699 h 6858000"/>
              <a:gd name="connsiteX92" fmla="*/ 2770041 w 7467600"/>
              <a:gd name="connsiteY92" fmla="*/ 5033634 h 6858000"/>
              <a:gd name="connsiteX93" fmla="*/ 1979378 w 7467600"/>
              <a:gd name="connsiteY93" fmla="*/ 4769504 h 6858000"/>
              <a:gd name="connsiteX94" fmla="*/ 1927410 w 7467600"/>
              <a:gd name="connsiteY94" fmla="*/ 4716164 h 6858000"/>
              <a:gd name="connsiteX95" fmla="*/ 1959587 w 7467600"/>
              <a:gd name="connsiteY95" fmla="*/ 4728849 h 6858000"/>
              <a:gd name="connsiteX96" fmla="*/ 2777707 w 7467600"/>
              <a:gd name="connsiteY96" fmla="*/ 5003991 h 6858000"/>
              <a:gd name="connsiteX97" fmla="*/ 2800768 w 7467600"/>
              <a:gd name="connsiteY97" fmla="*/ 5010056 h 6858000"/>
              <a:gd name="connsiteX98" fmla="*/ 2879408 w 7467600"/>
              <a:gd name="connsiteY98" fmla="*/ 5031590 h 6858000"/>
              <a:gd name="connsiteX99" fmla="*/ 2862295 w 7467600"/>
              <a:gd name="connsiteY99" fmla="*/ 5022958 h 6858000"/>
              <a:gd name="connsiteX100" fmla="*/ 2813343 w 7467600"/>
              <a:gd name="connsiteY100" fmla="*/ 4998369 h 6858000"/>
              <a:gd name="connsiteX101" fmla="*/ 2646245 w 7467600"/>
              <a:gd name="connsiteY101" fmla="*/ 4930999 h 6858000"/>
              <a:gd name="connsiteX102" fmla="*/ 1999243 w 7467600"/>
              <a:gd name="connsiteY102" fmla="*/ 4730524 h 6858000"/>
              <a:gd name="connsiteX103" fmla="*/ 1979527 w 7467600"/>
              <a:gd name="connsiteY103" fmla="*/ 4726651 h 6858000"/>
              <a:gd name="connsiteX104" fmla="*/ 1927410 w 7467600"/>
              <a:gd name="connsiteY104" fmla="*/ 4716164 h 6858000"/>
              <a:gd name="connsiteX105" fmla="*/ 1997014 w 7467600"/>
              <a:gd name="connsiteY105" fmla="*/ 4698007 h 6858000"/>
              <a:gd name="connsiteX106" fmla="*/ 2005458 w 7467600"/>
              <a:gd name="connsiteY106" fmla="*/ 4699540 h 6858000"/>
              <a:gd name="connsiteX107" fmla="*/ 2657186 w 7467600"/>
              <a:gd name="connsiteY107" fmla="*/ 4901687 h 6858000"/>
              <a:gd name="connsiteX108" fmla="*/ 2826662 w 7467600"/>
              <a:gd name="connsiteY108" fmla="*/ 4970362 h 6858000"/>
              <a:gd name="connsiteX109" fmla="*/ 2876100 w 7467600"/>
              <a:gd name="connsiteY109" fmla="*/ 4995397 h 6858000"/>
              <a:gd name="connsiteX110" fmla="*/ 3042600 w 7467600"/>
              <a:gd name="connsiteY110" fmla="*/ 5059532 h 6858000"/>
              <a:gd name="connsiteX111" fmla="*/ 1997014 w 7467600"/>
              <a:gd name="connsiteY111" fmla="*/ 4698007 h 6858000"/>
              <a:gd name="connsiteX112" fmla="*/ 2305292 w 7467600"/>
              <a:gd name="connsiteY112" fmla="*/ 4219492 h 6858000"/>
              <a:gd name="connsiteX113" fmla="*/ 3360922 w 7467600"/>
              <a:gd name="connsiteY113" fmla="*/ 4529373 h 6858000"/>
              <a:gd name="connsiteX114" fmla="*/ 3492420 w 7467600"/>
              <a:gd name="connsiteY114" fmla="*/ 4510145 h 6858000"/>
              <a:gd name="connsiteX115" fmla="*/ 3364086 w 7467600"/>
              <a:gd name="connsiteY115" fmla="*/ 4480340 h 6858000"/>
              <a:gd name="connsiteX116" fmla="*/ 3225818 w 7467600"/>
              <a:gd name="connsiteY116" fmla="*/ 4411822 h 6858000"/>
              <a:gd name="connsiteX117" fmla="*/ 3129696 w 7467600"/>
              <a:gd name="connsiteY117" fmla="*/ 4360704 h 6858000"/>
              <a:gd name="connsiteX118" fmla="*/ 2814545 w 7467600"/>
              <a:gd name="connsiteY118" fmla="*/ 4282955 h 6858000"/>
              <a:gd name="connsiteX119" fmla="*/ 2305292 w 7467600"/>
              <a:gd name="connsiteY119" fmla="*/ 4219492 h 6858000"/>
              <a:gd name="connsiteX120" fmla="*/ 2626982 w 7467600"/>
              <a:gd name="connsiteY120" fmla="*/ 4206450 h 6858000"/>
              <a:gd name="connsiteX121" fmla="*/ 2490617 w 7467600"/>
              <a:gd name="connsiteY121" fmla="*/ 4206951 h 6858000"/>
              <a:gd name="connsiteX122" fmla="*/ 2819869 w 7467600"/>
              <a:gd name="connsiteY122" fmla="*/ 4252936 h 6858000"/>
              <a:gd name="connsiteX123" fmla="*/ 3143018 w 7467600"/>
              <a:gd name="connsiteY123" fmla="*/ 4332698 h 6858000"/>
              <a:gd name="connsiteX124" fmla="*/ 3241520 w 7467600"/>
              <a:gd name="connsiteY124" fmla="*/ 4385112 h 6858000"/>
              <a:gd name="connsiteX125" fmla="*/ 3374575 w 7467600"/>
              <a:gd name="connsiteY125" fmla="*/ 4451517 h 6858000"/>
              <a:gd name="connsiteX126" fmla="*/ 3505221 w 7467600"/>
              <a:gd name="connsiteY126" fmla="*/ 4480757 h 6858000"/>
              <a:gd name="connsiteX127" fmla="*/ 2626982 w 7467600"/>
              <a:gd name="connsiteY127" fmla="*/ 4206450 h 6858000"/>
              <a:gd name="connsiteX128" fmla="*/ 1310106 w 7467600"/>
              <a:gd name="connsiteY128" fmla="*/ 3943217 h 6858000"/>
              <a:gd name="connsiteX129" fmla="*/ 854994 w 7467600"/>
              <a:gd name="connsiteY129" fmla="*/ 4399136 h 6858000"/>
              <a:gd name="connsiteX130" fmla="*/ 742462 w 7467600"/>
              <a:gd name="connsiteY130" fmla="*/ 4594648 h 6858000"/>
              <a:gd name="connsiteX131" fmla="*/ 820602 w 7467600"/>
              <a:gd name="connsiteY131" fmla="*/ 4485915 h 6858000"/>
              <a:gd name="connsiteX132" fmla="*/ 878295 w 7467600"/>
              <a:gd name="connsiteY132" fmla="*/ 4403594 h 6858000"/>
              <a:gd name="connsiteX133" fmla="*/ 1240607 w 7467600"/>
              <a:gd name="connsiteY133" fmla="*/ 4010401 h 6858000"/>
              <a:gd name="connsiteX134" fmla="*/ 1310106 w 7467600"/>
              <a:gd name="connsiteY134" fmla="*/ 3943217 h 6858000"/>
              <a:gd name="connsiteX135" fmla="*/ 1423113 w 7467600"/>
              <a:gd name="connsiteY135" fmla="*/ 3874565 h 6858000"/>
              <a:gd name="connsiteX136" fmla="*/ 1260565 w 7467600"/>
              <a:gd name="connsiteY136" fmla="*/ 4031982 h 6858000"/>
              <a:gd name="connsiteX137" fmla="*/ 901900 w 7467600"/>
              <a:gd name="connsiteY137" fmla="*/ 4421236 h 6858000"/>
              <a:gd name="connsiteX138" fmla="*/ 845044 w 7467600"/>
              <a:gd name="connsiteY138" fmla="*/ 4502436 h 6858000"/>
              <a:gd name="connsiteX139" fmla="*/ 685926 w 7467600"/>
              <a:gd name="connsiteY139" fmla="*/ 4703069 h 6858000"/>
              <a:gd name="connsiteX140" fmla="*/ 684248 w 7467600"/>
              <a:gd name="connsiteY140" fmla="*/ 4706721 h 6858000"/>
              <a:gd name="connsiteX141" fmla="*/ 1423113 w 7467600"/>
              <a:gd name="connsiteY141" fmla="*/ 3874565 h 6858000"/>
              <a:gd name="connsiteX142" fmla="*/ 3316479 w 7467600"/>
              <a:gd name="connsiteY142" fmla="*/ 3872136 h 6858000"/>
              <a:gd name="connsiteX143" fmla="*/ 3546806 w 7467600"/>
              <a:gd name="connsiteY143" fmla="*/ 4356139 h 6858000"/>
              <a:gd name="connsiteX144" fmla="*/ 3364433 w 7467600"/>
              <a:gd name="connsiteY144" fmla="*/ 3953121 h 6858000"/>
              <a:gd name="connsiteX145" fmla="*/ 3316479 w 7467600"/>
              <a:gd name="connsiteY145" fmla="*/ 3872136 h 6858000"/>
              <a:gd name="connsiteX146" fmla="*/ 3291335 w 7467600"/>
              <a:gd name="connsiteY146" fmla="*/ 3767420 h 6858000"/>
              <a:gd name="connsiteX147" fmla="*/ 3390805 w 7467600"/>
              <a:gd name="connsiteY147" fmla="*/ 3937163 h 6858000"/>
              <a:gd name="connsiteX148" fmla="*/ 3579062 w 7467600"/>
              <a:gd name="connsiteY148" fmla="*/ 4359040 h 6858000"/>
              <a:gd name="connsiteX149" fmla="*/ 3467355 w 7467600"/>
              <a:gd name="connsiteY149" fmla="*/ 3988130 h 6858000"/>
              <a:gd name="connsiteX150" fmla="*/ 3310753 w 7467600"/>
              <a:gd name="connsiteY150" fmla="*/ 3787140 h 6858000"/>
              <a:gd name="connsiteX151" fmla="*/ 3291335 w 7467600"/>
              <a:gd name="connsiteY151" fmla="*/ 3767420 h 6858000"/>
              <a:gd name="connsiteX152" fmla="*/ 1635889 w 7467600"/>
              <a:gd name="connsiteY152" fmla="*/ 3709494 h 6858000"/>
              <a:gd name="connsiteX153" fmla="*/ 1634800 w 7467600"/>
              <a:gd name="connsiteY153" fmla="*/ 3731111 h 6858000"/>
              <a:gd name="connsiteX154" fmla="*/ 1635889 w 7467600"/>
              <a:gd name="connsiteY154" fmla="*/ 3709494 h 6858000"/>
              <a:gd name="connsiteX155" fmla="*/ 1510397 w 7467600"/>
              <a:gd name="connsiteY155" fmla="*/ 3684705 h 6858000"/>
              <a:gd name="connsiteX156" fmla="*/ 1146550 w 7467600"/>
              <a:gd name="connsiteY156" fmla="*/ 3802012 h 6858000"/>
              <a:gd name="connsiteX157" fmla="*/ 698834 w 7467600"/>
              <a:gd name="connsiteY157" fmla="*/ 3952272 h 6858000"/>
              <a:gd name="connsiteX158" fmla="*/ 34256 w 7467600"/>
              <a:gd name="connsiteY158" fmla="*/ 4347603 h 6858000"/>
              <a:gd name="connsiteX159" fmla="*/ 527241 w 7467600"/>
              <a:gd name="connsiteY159" fmla="*/ 4065078 h 6858000"/>
              <a:gd name="connsiteX160" fmla="*/ 1510397 w 7467600"/>
              <a:gd name="connsiteY160" fmla="*/ 3684705 h 6858000"/>
              <a:gd name="connsiteX161" fmla="*/ 1313114 w 7467600"/>
              <a:gd name="connsiteY161" fmla="*/ 3655216 h 6858000"/>
              <a:gd name="connsiteX162" fmla="*/ 1109304 w 7467600"/>
              <a:gd name="connsiteY162" fmla="*/ 3669030 h 6858000"/>
              <a:gd name="connsiteX163" fmla="*/ 8129 w 7467600"/>
              <a:gd name="connsiteY163" fmla="*/ 4330519 h 6858000"/>
              <a:gd name="connsiteX164" fmla="*/ 687572 w 7467600"/>
              <a:gd name="connsiteY164" fmla="*/ 3925629 h 6858000"/>
              <a:gd name="connsiteX165" fmla="*/ 1138365 w 7467600"/>
              <a:gd name="connsiteY165" fmla="*/ 3774515 h 6858000"/>
              <a:gd name="connsiteX166" fmla="*/ 1505579 w 7467600"/>
              <a:gd name="connsiteY166" fmla="*/ 3655526 h 6858000"/>
              <a:gd name="connsiteX167" fmla="*/ 1313114 w 7467600"/>
              <a:gd name="connsiteY167" fmla="*/ 3655216 h 6858000"/>
              <a:gd name="connsiteX168" fmla="*/ 3655073 w 7467600"/>
              <a:gd name="connsiteY168" fmla="*/ 3650884 h 6858000"/>
              <a:gd name="connsiteX169" fmla="*/ 3989938 w 7467600"/>
              <a:gd name="connsiteY169" fmla="*/ 3991685 h 6858000"/>
              <a:gd name="connsiteX170" fmla="*/ 4393907 w 7467600"/>
              <a:gd name="connsiteY170" fmla="*/ 4261258 h 6858000"/>
              <a:gd name="connsiteX171" fmla="*/ 4648051 w 7467600"/>
              <a:gd name="connsiteY171" fmla="*/ 4374051 h 6858000"/>
              <a:gd name="connsiteX172" fmla="*/ 4383389 w 7467600"/>
              <a:gd name="connsiteY172" fmla="*/ 4184369 h 6858000"/>
              <a:gd name="connsiteX173" fmla="*/ 4165508 w 7467600"/>
              <a:gd name="connsiteY173" fmla="*/ 4035196 h 6858000"/>
              <a:gd name="connsiteX174" fmla="*/ 4068162 w 7467600"/>
              <a:gd name="connsiteY174" fmla="*/ 3953394 h 6858000"/>
              <a:gd name="connsiteX175" fmla="*/ 3981416 w 7467600"/>
              <a:gd name="connsiteY175" fmla="*/ 3880482 h 6858000"/>
              <a:gd name="connsiteX176" fmla="*/ 3800147 w 7467600"/>
              <a:gd name="connsiteY176" fmla="*/ 3749872 h 6858000"/>
              <a:gd name="connsiteX177" fmla="*/ 3655073 w 7467600"/>
              <a:gd name="connsiteY177" fmla="*/ 3650884 h 6858000"/>
              <a:gd name="connsiteX178" fmla="*/ 3670252 w 7467600"/>
              <a:gd name="connsiteY178" fmla="*/ 3622798 h 6858000"/>
              <a:gd name="connsiteX179" fmla="*/ 3817258 w 7467600"/>
              <a:gd name="connsiteY179" fmla="*/ 3723577 h 6858000"/>
              <a:gd name="connsiteX180" fmla="*/ 4000461 w 7467600"/>
              <a:gd name="connsiteY180" fmla="*/ 3855966 h 6858000"/>
              <a:gd name="connsiteX181" fmla="*/ 4088180 w 7467600"/>
              <a:gd name="connsiteY181" fmla="*/ 3929774 h 6858000"/>
              <a:gd name="connsiteX182" fmla="*/ 4184555 w 7467600"/>
              <a:gd name="connsiteY182" fmla="*/ 4010683 h 6858000"/>
              <a:gd name="connsiteX183" fmla="*/ 4399563 w 7467600"/>
              <a:gd name="connsiteY183" fmla="*/ 4158106 h 6858000"/>
              <a:gd name="connsiteX184" fmla="*/ 4684469 w 7467600"/>
              <a:gd name="connsiteY184" fmla="*/ 4364680 h 6858000"/>
              <a:gd name="connsiteX185" fmla="*/ 4690271 w 7467600"/>
              <a:gd name="connsiteY185" fmla="*/ 4370034 h 6858000"/>
              <a:gd name="connsiteX186" fmla="*/ 4136093 w 7467600"/>
              <a:gd name="connsiteY186" fmla="*/ 3858466 h 6858000"/>
              <a:gd name="connsiteX187" fmla="*/ 3670252 w 7467600"/>
              <a:gd name="connsiteY187" fmla="*/ 3622798 h 6858000"/>
              <a:gd name="connsiteX188" fmla="*/ 4440129 w 7467600"/>
              <a:gd name="connsiteY188" fmla="*/ 3448571 h 6858000"/>
              <a:gd name="connsiteX189" fmla="*/ 4856525 w 7467600"/>
              <a:gd name="connsiteY189" fmla="*/ 3915351 h 6858000"/>
              <a:gd name="connsiteX190" fmla="*/ 5059055 w 7467600"/>
              <a:gd name="connsiteY190" fmla="*/ 4108918 h 6858000"/>
              <a:gd name="connsiteX191" fmla="*/ 5290070 w 7467600"/>
              <a:gd name="connsiteY191" fmla="*/ 4263619 h 6858000"/>
              <a:gd name="connsiteX192" fmla="*/ 4834991 w 7467600"/>
              <a:gd name="connsiteY192" fmla="*/ 3830985 h 6858000"/>
              <a:gd name="connsiteX193" fmla="*/ 4440129 w 7467600"/>
              <a:gd name="connsiteY193" fmla="*/ 3448571 h 6858000"/>
              <a:gd name="connsiteX194" fmla="*/ 4441737 w 7467600"/>
              <a:gd name="connsiteY194" fmla="*/ 3399734 h 6858000"/>
              <a:gd name="connsiteX195" fmla="*/ 4431236 w 7467600"/>
              <a:gd name="connsiteY195" fmla="*/ 3400954 h 6858000"/>
              <a:gd name="connsiteX196" fmla="*/ 4557150 w 7467600"/>
              <a:gd name="connsiteY196" fmla="*/ 3510023 h 6858000"/>
              <a:gd name="connsiteX197" fmla="*/ 4856936 w 7467600"/>
              <a:gd name="connsiteY197" fmla="*/ 3809146 h 6858000"/>
              <a:gd name="connsiteX198" fmla="*/ 5111996 w 7467600"/>
              <a:gd name="connsiteY198" fmla="*/ 4065759 h 6858000"/>
              <a:gd name="connsiteX199" fmla="*/ 5388878 w 7467600"/>
              <a:gd name="connsiteY199" fmla="*/ 4300185 h 6858000"/>
              <a:gd name="connsiteX200" fmla="*/ 5425556 w 7467600"/>
              <a:gd name="connsiteY200" fmla="*/ 4308967 h 6858000"/>
              <a:gd name="connsiteX201" fmla="*/ 4943646 w 7467600"/>
              <a:gd name="connsiteY201" fmla="*/ 3822916 h 6858000"/>
              <a:gd name="connsiteX202" fmla="*/ 4594837 w 7467600"/>
              <a:gd name="connsiteY202" fmla="*/ 3532274 h 6858000"/>
              <a:gd name="connsiteX203" fmla="*/ 4441737 w 7467600"/>
              <a:gd name="connsiteY203" fmla="*/ 3399734 h 6858000"/>
              <a:gd name="connsiteX204" fmla="*/ 5425834 w 7467600"/>
              <a:gd name="connsiteY204" fmla="*/ 3162785 h 6858000"/>
              <a:gd name="connsiteX205" fmla="*/ 5401644 w 7467600"/>
              <a:gd name="connsiteY205" fmla="*/ 3617847 h 6858000"/>
              <a:gd name="connsiteX206" fmla="*/ 5467256 w 7467600"/>
              <a:gd name="connsiteY206" fmla="*/ 4175494 h 6858000"/>
              <a:gd name="connsiteX207" fmla="*/ 5448069 w 7467600"/>
              <a:gd name="connsiteY207" fmla="*/ 3567554 h 6858000"/>
              <a:gd name="connsiteX208" fmla="*/ 5425834 w 7467600"/>
              <a:gd name="connsiteY208" fmla="*/ 3162785 h 6858000"/>
              <a:gd name="connsiteX209" fmla="*/ 1318687 w 7467600"/>
              <a:gd name="connsiteY209" fmla="*/ 3113840 h 6858000"/>
              <a:gd name="connsiteX210" fmla="*/ 1066793 w 7467600"/>
              <a:gd name="connsiteY210" fmla="*/ 3212171 h 6858000"/>
              <a:gd name="connsiteX211" fmla="*/ 993319 w 7467600"/>
              <a:gd name="connsiteY211" fmla="*/ 3247648 h 6858000"/>
              <a:gd name="connsiteX212" fmla="*/ 853081 w 7467600"/>
              <a:gd name="connsiteY212" fmla="*/ 3312410 h 6858000"/>
              <a:gd name="connsiteX213" fmla="*/ 805957 w 7467600"/>
              <a:gd name="connsiteY213" fmla="*/ 3330443 h 6858000"/>
              <a:gd name="connsiteX214" fmla="*/ 1318687 w 7467600"/>
              <a:gd name="connsiteY214" fmla="*/ 3113840 h 6858000"/>
              <a:gd name="connsiteX215" fmla="*/ 5453702 w 7467600"/>
              <a:gd name="connsiteY215" fmla="*/ 3090882 h 6858000"/>
              <a:gd name="connsiteX216" fmla="*/ 5480135 w 7467600"/>
              <a:gd name="connsiteY216" fmla="*/ 3565802 h 6858000"/>
              <a:gd name="connsiteX217" fmla="*/ 5499023 w 7467600"/>
              <a:gd name="connsiteY217" fmla="*/ 4166310 h 6858000"/>
              <a:gd name="connsiteX218" fmla="*/ 5547022 w 7467600"/>
              <a:gd name="connsiteY218" fmla="*/ 3607838 h 6858000"/>
              <a:gd name="connsiteX219" fmla="*/ 5515964 w 7467600"/>
              <a:gd name="connsiteY219" fmla="*/ 3378541 h 6858000"/>
              <a:gd name="connsiteX220" fmla="*/ 5453702 w 7467600"/>
              <a:gd name="connsiteY220" fmla="*/ 3090882 h 6858000"/>
              <a:gd name="connsiteX221" fmla="*/ 1238695 w 7467600"/>
              <a:gd name="connsiteY221" fmla="*/ 3076820 h 6858000"/>
              <a:gd name="connsiteX222" fmla="*/ 716371 w 7467600"/>
              <a:gd name="connsiteY222" fmla="*/ 3293249 h 6858000"/>
              <a:gd name="connsiteX223" fmla="*/ 579522 w 7467600"/>
              <a:gd name="connsiteY223" fmla="*/ 3371759 h 6858000"/>
              <a:gd name="connsiteX224" fmla="*/ 600288 w 7467600"/>
              <a:gd name="connsiteY224" fmla="*/ 3365555 h 6858000"/>
              <a:gd name="connsiteX225" fmla="*/ 840692 w 7467600"/>
              <a:gd name="connsiteY225" fmla="*/ 3284921 h 6858000"/>
              <a:gd name="connsiteX226" fmla="*/ 979248 w 7467600"/>
              <a:gd name="connsiteY226" fmla="*/ 3221003 h 6858000"/>
              <a:gd name="connsiteX227" fmla="*/ 1053282 w 7467600"/>
              <a:gd name="connsiteY227" fmla="*/ 3185247 h 6858000"/>
              <a:gd name="connsiteX228" fmla="*/ 1320603 w 7467600"/>
              <a:gd name="connsiteY228" fmla="*/ 3081281 h 6858000"/>
              <a:gd name="connsiteX229" fmla="*/ 1238695 w 7467600"/>
              <a:gd name="connsiteY229" fmla="*/ 3076820 h 6858000"/>
              <a:gd name="connsiteX230" fmla="*/ 5425627 w 7467600"/>
              <a:gd name="connsiteY230" fmla="*/ 2954192 h 6858000"/>
              <a:gd name="connsiteX231" fmla="*/ 5470770 w 7467600"/>
              <a:gd name="connsiteY231" fmla="*/ 3005435 h 6858000"/>
              <a:gd name="connsiteX232" fmla="*/ 5519779 w 7467600"/>
              <a:gd name="connsiteY232" fmla="*/ 4359223 h 6858000"/>
              <a:gd name="connsiteX233" fmla="*/ 5520293 w 7467600"/>
              <a:gd name="connsiteY233" fmla="*/ 4360602 h 6858000"/>
              <a:gd name="connsiteX234" fmla="*/ 5767221 w 7467600"/>
              <a:gd name="connsiteY234" fmla="*/ 4665564 h 6858000"/>
              <a:gd name="connsiteX235" fmla="*/ 6937169 w 7467600"/>
              <a:gd name="connsiteY235" fmla="*/ 4815941 h 6858000"/>
              <a:gd name="connsiteX236" fmla="*/ 6953922 w 7467600"/>
              <a:gd name="connsiteY236" fmla="*/ 4890068 h 6858000"/>
              <a:gd name="connsiteX237" fmla="*/ 6071359 w 7467600"/>
              <a:gd name="connsiteY237" fmla="*/ 4770770 h 6858000"/>
              <a:gd name="connsiteX238" fmla="*/ 6038839 w 7467600"/>
              <a:gd name="connsiteY238" fmla="*/ 4764474 h 6858000"/>
              <a:gd name="connsiteX239" fmla="*/ 6038706 w 7467600"/>
              <a:gd name="connsiteY239" fmla="*/ 4763847 h 6858000"/>
              <a:gd name="connsiteX240" fmla="*/ 6037784 w 7467600"/>
              <a:gd name="connsiteY240" fmla="*/ 4764270 h 6858000"/>
              <a:gd name="connsiteX241" fmla="*/ 6038839 w 7467600"/>
              <a:gd name="connsiteY241" fmla="*/ 4764474 h 6858000"/>
              <a:gd name="connsiteX242" fmla="*/ 6040338 w 7467600"/>
              <a:gd name="connsiteY242" fmla="*/ 4771418 h 6858000"/>
              <a:gd name="connsiteX243" fmla="*/ 6024488 w 7467600"/>
              <a:gd name="connsiteY243" fmla="*/ 4809903 h 6858000"/>
              <a:gd name="connsiteX244" fmla="*/ 5599771 w 7467600"/>
              <a:gd name="connsiteY244" fmla="*/ 5509652 h 6858000"/>
              <a:gd name="connsiteX245" fmla="*/ 5548843 w 7467600"/>
              <a:gd name="connsiteY245" fmla="*/ 5563845 h 6858000"/>
              <a:gd name="connsiteX246" fmla="*/ 5940952 w 7467600"/>
              <a:gd name="connsiteY246" fmla="*/ 6250028 h 6858000"/>
              <a:gd name="connsiteX247" fmla="*/ 6043441 w 7467600"/>
              <a:gd name="connsiteY247" fmla="*/ 6665847 h 6858000"/>
              <a:gd name="connsiteX248" fmla="*/ 6093432 w 7467600"/>
              <a:gd name="connsiteY248" fmla="*/ 6858000 h 6858000"/>
              <a:gd name="connsiteX249" fmla="*/ 6034344 w 7467600"/>
              <a:gd name="connsiteY249" fmla="*/ 6858000 h 6858000"/>
              <a:gd name="connsiteX250" fmla="*/ 6026679 w 7467600"/>
              <a:gd name="connsiteY250" fmla="*/ 6836959 h 6858000"/>
              <a:gd name="connsiteX251" fmla="*/ 5800441 w 7467600"/>
              <a:gd name="connsiteY251" fmla="*/ 6335286 h 6858000"/>
              <a:gd name="connsiteX252" fmla="*/ 5526562 w 7467600"/>
              <a:gd name="connsiteY252" fmla="*/ 5705388 h 6858000"/>
              <a:gd name="connsiteX253" fmla="*/ 5519640 w 7467600"/>
              <a:gd name="connsiteY253" fmla="*/ 5683774 h 6858000"/>
              <a:gd name="connsiteX254" fmla="*/ 5844559 w 7467600"/>
              <a:gd name="connsiteY254" fmla="*/ 6553349 h 6858000"/>
              <a:gd name="connsiteX255" fmla="*/ 5975994 w 7467600"/>
              <a:gd name="connsiteY255" fmla="*/ 6858000 h 6858000"/>
              <a:gd name="connsiteX256" fmla="*/ 5898547 w 7467600"/>
              <a:gd name="connsiteY256" fmla="*/ 6858000 h 6858000"/>
              <a:gd name="connsiteX257" fmla="*/ 5682041 w 7467600"/>
              <a:gd name="connsiteY257" fmla="*/ 6355860 h 6858000"/>
              <a:gd name="connsiteX258" fmla="*/ 5461758 w 7467600"/>
              <a:gd name="connsiteY258" fmla="*/ 5820220 h 6858000"/>
              <a:gd name="connsiteX259" fmla="*/ 5237282 w 7467600"/>
              <a:gd name="connsiteY259" fmla="*/ 6579086 h 6858000"/>
              <a:gd name="connsiteX260" fmla="*/ 5115009 w 7467600"/>
              <a:gd name="connsiteY260" fmla="*/ 6858000 h 6858000"/>
              <a:gd name="connsiteX261" fmla="*/ 5028074 w 7467600"/>
              <a:gd name="connsiteY261" fmla="*/ 6858000 h 6858000"/>
              <a:gd name="connsiteX262" fmla="*/ 5079508 w 7467600"/>
              <a:gd name="connsiteY262" fmla="*/ 6749074 h 6858000"/>
              <a:gd name="connsiteX263" fmla="*/ 5371846 w 7467600"/>
              <a:gd name="connsiteY263" fmla="*/ 5924413 h 6858000"/>
              <a:gd name="connsiteX264" fmla="*/ 5270512 w 7467600"/>
              <a:gd name="connsiteY264" fmla="*/ 6138975 h 6858000"/>
              <a:gd name="connsiteX265" fmla="*/ 5062409 w 7467600"/>
              <a:gd name="connsiteY265" fmla="*/ 6653544 h 6858000"/>
              <a:gd name="connsiteX266" fmla="*/ 5036628 w 7467600"/>
              <a:gd name="connsiteY266" fmla="*/ 6754247 h 6858000"/>
              <a:gd name="connsiteX267" fmla="*/ 5009112 w 7467600"/>
              <a:gd name="connsiteY267" fmla="*/ 6858000 h 6858000"/>
              <a:gd name="connsiteX268" fmla="*/ 4976679 w 7467600"/>
              <a:gd name="connsiteY268" fmla="*/ 6858000 h 6858000"/>
              <a:gd name="connsiteX269" fmla="*/ 5006537 w 7467600"/>
              <a:gd name="connsiteY269" fmla="*/ 6747068 h 6858000"/>
              <a:gd name="connsiteX270" fmla="*/ 5032723 w 7467600"/>
              <a:gd name="connsiteY270" fmla="*/ 6644957 h 6858000"/>
              <a:gd name="connsiteX271" fmla="*/ 5242949 w 7467600"/>
              <a:gd name="connsiteY271" fmla="*/ 6125175 h 6858000"/>
              <a:gd name="connsiteX272" fmla="*/ 5286321 w 7467600"/>
              <a:gd name="connsiteY272" fmla="*/ 6033555 h 6858000"/>
              <a:gd name="connsiteX273" fmla="*/ 5008210 w 7467600"/>
              <a:gd name="connsiteY273" fmla="*/ 6649194 h 6858000"/>
              <a:gd name="connsiteX274" fmla="*/ 4986321 w 7467600"/>
              <a:gd name="connsiteY274" fmla="*/ 6765687 h 6858000"/>
              <a:gd name="connsiteX275" fmla="*/ 4973474 w 7467600"/>
              <a:gd name="connsiteY275" fmla="*/ 6858000 h 6858000"/>
              <a:gd name="connsiteX276" fmla="*/ 4907178 w 7467600"/>
              <a:gd name="connsiteY276" fmla="*/ 6858000 h 6858000"/>
              <a:gd name="connsiteX277" fmla="*/ 4910810 w 7467600"/>
              <a:gd name="connsiteY277" fmla="*/ 6829660 h 6858000"/>
              <a:gd name="connsiteX278" fmla="*/ 4987461 w 7467600"/>
              <a:gd name="connsiteY278" fmla="*/ 6432994 h 6858000"/>
              <a:gd name="connsiteX279" fmla="*/ 5179262 w 7467600"/>
              <a:gd name="connsiteY279" fmla="*/ 6035044 h 6858000"/>
              <a:gd name="connsiteX280" fmla="*/ 4689678 w 7467600"/>
              <a:gd name="connsiteY280" fmla="*/ 6440241 h 6858000"/>
              <a:gd name="connsiteX281" fmla="*/ 4477543 w 7467600"/>
              <a:gd name="connsiteY281" fmla="*/ 6674836 h 6858000"/>
              <a:gd name="connsiteX282" fmla="*/ 4329957 w 7467600"/>
              <a:gd name="connsiteY282" fmla="*/ 6858000 h 6858000"/>
              <a:gd name="connsiteX283" fmla="*/ 4218595 w 7467600"/>
              <a:gd name="connsiteY283" fmla="*/ 6858000 h 6858000"/>
              <a:gd name="connsiteX284" fmla="*/ 4368888 w 7467600"/>
              <a:gd name="connsiteY284" fmla="*/ 6668412 h 6858000"/>
              <a:gd name="connsiteX285" fmla="*/ 4563091 w 7467600"/>
              <a:gd name="connsiteY285" fmla="*/ 6442508 h 6858000"/>
              <a:gd name="connsiteX286" fmla="*/ 5387324 w 7467600"/>
              <a:gd name="connsiteY286" fmla="*/ 5705830 h 6858000"/>
              <a:gd name="connsiteX287" fmla="*/ 5073620 w 7467600"/>
              <a:gd name="connsiteY287" fmla="*/ 5955437 h 6858000"/>
              <a:gd name="connsiteX288" fmla="*/ 4689789 w 7467600"/>
              <a:gd name="connsiteY288" fmla="*/ 6268382 h 6858000"/>
              <a:gd name="connsiteX289" fmla="*/ 4418722 w 7467600"/>
              <a:gd name="connsiteY289" fmla="*/ 6570886 h 6858000"/>
              <a:gd name="connsiteX290" fmla="*/ 4214944 w 7467600"/>
              <a:gd name="connsiteY290" fmla="*/ 6858000 h 6858000"/>
              <a:gd name="connsiteX291" fmla="*/ 4177898 w 7467600"/>
              <a:gd name="connsiteY291" fmla="*/ 6858000 h 6858000"/>
              <a:gd name="connsiteX292" fmla="*/ 4391597 w 7467600"/>
              <a:gd name="connsiteY292" fmla="*/ 6556370 h 6858000"/>
              <a:gd name="connsiteX293" fmla="*/ 4668889 w 7467600"/>
              <a:gd name="connsiteY293" fmla="*/ 6246399 h 6858000"/>
              <a:gd name="connsiteX294" fmla="*/ 5055427 w 7467600"/>
              <a:gd name="connsiteY294" fmla="*/ 5931476 h 6858000"/>
              <a:gd name="connsiteX295" fmla="*/ 5371814 w 7467600"/>
              <a:gd name="connsiteY295" fmla="*/ 5678975 h 6858000"/>
              <a:gd name="connsiteX296" fmla="*/ 4987918 w 7467600"/>
              <a:gd name="connsiteY296" fmla="*/ 5838701 h 6858000"/>
              <a:gd name="connsiteX297" fmla="*/ 4317146 w 7467600"/>
              <a:gd name="connsiteY297" fmla="*/ 6587716 h 6858000"/>
              <a:gd name="connsiteX298" fmla="*/ 4171627 w 7467600"/>
              <a:gd name="connsiteY298" fmla="*/ 6858000 h 6858000"/>
              <a:gd name="connsiteX299" fmla="*/ 4081585 w 7467600"/>
              <a:gd name="connsiteY299" fmla="*/ 6858000 h 6858000"/>
              <a:gd name="connsiteX300" fmla="*/ 4238603 w 7467600"/>
              <a:gd name="connsiteY300" fmla="*/ 6559341 h 6858000"/>
              <a:gd name="connsiteX301" fmla="*/ 4778333 w 7467600"/>
              <a:gd name="connsiteY301" fmla="*/ 5873626 h 6858000"/>
              <a:gd name="connsiteX302" fmla="*/ 5414185 w 7467600"/>
              <a:gd name="connsiteY302" fmla="*/ 5573882 h 6858000"/>
              <a:gd name="connsiteX303" fmla="*/ 5959648 w 7467600"/>
              <a:gd name="connsiteY303" fmla="*/ 4760797 h 6858000"/>
              <a:gd name="connsiteX304" fmla="*/ 5355019 w 7467600"/>
              <a:gd name="connsiteY304" fmla="*/ 4734672 h 6858000"/>
              <a:gd name="connsiteX305" fmla="*/ 5083565 w 7467600"/>
              <a:gd name="connsiteY305" fmla="*/ 5179121 h 6858000"/>
              <a:gd name="connsiteX306" fmla="*/ 4713577 w 7467600"/>
              <a:gd name="connsiteY306" fmla="*/ 5616803 h 6858000"/>
              <a:gd name="connsiteX307" fmla="*/ 3989559 w 7467600"/>
              <a:gd name="connsiteY307" fmla="*/ 6145945 h 6858000"/>
              <a:gd name="connsiteX308" fmla="*/ 3939824 w 7467600"/>
              <a:gd name="connsiteY308" fmla="*/ 6066900 h 6858000"/>
              <a:gd name="connsiteX309" fmla="*/ 4584537 w 7467600"/>
              <a:gd name="connsiteY309" fmla="*/ 5324826 h 6858000"/>
              <a:gd name="connsiteX310" fmla="*/ 5037105 w 7467600"/>
              <a:gd name="connsiteY310" fmla="*/ 5088765 h 6858000"/>
              <a:gd name="connsiteX311" fmla="*/ 5039930 w 7467600"/>
              <a:gd name="connsiteY311" fmla="*/ 5089585 h 6858000"/>
              <a:gd name="connsiteX312" fmla="*/ 5263764 w 7467600"/>
              <a:gd name="connsiteY312" fmla="*/ 4735525 h 6858000"/>
              <a:gd name="connsiteX313" fmla="*/ 4086300 w 7467600"/>
              <a:gd name="connsiteY313" fmla="*/ 4884599 h 6858000"/>
              <a:gd name="connsiteX314" fmla="*/ 4085485 w 7467600"/>
              <a:gd name="connsiteY314" fmla="*/ 4899070 h 6858000"/>
              <a:gd name="connsiteX315" fmla="*/ 3871915 w 7467600"/>
              <a:gd name="connsiteY315" fmla="*/ 5253645 h 6858000"/>
              <a:gd name="connsiteX316" fmla="*/ 3799374 w 7467600"/>
              <a:gd name="connsiteY316" fmla="*/ 5466127 h 6858000"/>
              <a:gd name="connsiteX317" fmla="*/ 3498850 w 7467600"/>
              <a:gd name="connsiteY317" fmla="*/ 6661888 h 6858000"/>
              <a:gd name="connsiteX318" fmla="*/ 3399216 w 7467600"/>
              <a:gd name="connsiteY318" fmla="*/ 6858000 h 6858000"/>
              <a:gd name="connsiteX319" fmla="*/ 3303688 w 7467600"/>
              <a:gd name="connsiteY319" fmla="*/ 6858000 h 6858000"/>
              <a:gd name="connsiteX320" fmla="*/ 3391774 w 7467600"/>
              <a:gd name="connsiteY320" fmla="*/ 6697181 h 6858000"/>
              <a:gd name="connsiteX321" fmla="*/ 3735540 w 7467600"/>
              <a:gd name="connsiteY321" fmla="*/ 5546923 h 6858000"/>
              <a:gd name="connsiteX322" fmla="*/ 3729438 w 7467600"/>
              <a:gd name="connsiteY322" fmla="*/ 5569058 h 6858000"/>
              <a:gd name="connsiteX323" fmla="*/ 3707782 w 7467600"/>
              <a:gd name="connsiteY323" fmla="*/ 5644908 h 6858000"/>
              <a:gd name="connsiteX324" fmla="*/ 3583827 w 7467600"/>
              <a:gd name="connsiteY324" fmla="*/ 6039215 h 6858000"/>
              <a:gd name="connsiteX325" fmla="*/ 3547861 w 7467600"/>
              <a:gd name="connsiteY325" fmla="*/ 6129609 h 6858000"/>
              <a:gd name="connsiteX326" fmla="*/ 3490905 w 7467600"/>
              <a:gd name="connsiteY326" fmla="*/ 6277660 h 6858000"/>
              <a:gd name="connsiteX327" fmla="*/ 3455859 w 7467600"/>
              <a:gd name="connsiteY327" fmla="*/ 6391301 h 6858000"/>
              <a:gd name="connsiteX328" fmla="*/ 3429112 w 7467600"/>
              <a:gd name="connsiteY328" fmla="*/ 6479469 h 6858000"/>
              <a:gd name="connsiteX329" fmla="*/ 3304862 w 7467600"/>
              <a:gd name="connsiteY329" fmla="*/ 6796476 h 6858000"/>
              <a:gd name="connsiteX330" fmla="*/ 3276071 w 7467600"/>
              <a:gd name="connsiteY330" fmla="*/ 6858000 h 6858000"/>
              <a:gd name="connsiteX331" fmla="*/ 3240805 w 7467600"/>
              <a:gd name="connsiteY331" fmla="*/ 6858000 h 6858000"/>
              <a:gd name="connsiteX332" fmla="*/ 3275917 w 7467600"/>
              <a:gd name="connsiteY332" fmla="*/ 6783192 h 6858000"/>
              <a:gd name="connsiteX333" fmla="*/ 3399358 w 7467600"/>
              <a:gd name="connsiteY333" fmla="*/ 6469011 h 6858000"/>
              <a:gd name="connsiteX334" fmla="*/ 3425650 w 7467600"/>
              <a:gd name="connsiteY334" fmla="*/ 6381333 h 6858000"/>
              <a:gd name="connsiteX335" fmla="*/ 3460661 w 7467600"/>
              <a:gd name="connsiteY335" fmla="*/ 6266763 h 6858000"/>
              <a:gd name="connsiteX336" fmla="*/ 3518021 w 7467600"/>
              <a:gd name="connsiteY336" fmla="*/ 6117298 h 6858000"/>
              <a:gd name="connsiteX337" fmla="*/ 3554035 w 7467600"/>
              <a:gd name="connsiteY337" fmla="*/ 6027832 h 6858000"/>
              <a:gd name="connsiteX338" fmla="*/ 3677174 w 7467600"/>
              <a:gd name="connsiteY338" fmla="*/ 5636351 h 6858000"/>
              <a:gd name="connsiteX339" fmla="*/ 3698819 w 7467600"/>
              <a:gd name="connsiteY339" fmla="*/ 5560503 h 6858000"/>
              <a:gd name="connsiteX340" fmla="*/ 3702094 w 7467600"/>
              <a:gd name="connsiteY340" fmla="*/ 5549194 h 6858000"/>
              <a:gd name="connsiteX341" fmla="*/ 3398355 w 7467600"/>
              <a:gd name="connsiteY341" fmla="*/ 6094603 h 6858000"/>
              <a:gd name="connsiteX342" fmla="*/ 3193941 w 7467600"/>
              <a:gd name="connsiteY342" fmla="*/ 6798775 h 6858000"/>
              <a:gd name="connsiteX343" fmla="*/ 3184140 w 7467600"/>
              <a:gd name="connsiteY343" fmla="*/ 6858000 h 6858000"/>
              <a:gd name="connsiteX344" fmla="*/ 3099978 w 7467600"/>
              <a:gd name="connsiteY344" fmla="*/ 6858000 h 6858000"/>
              <a:gd name="connsiteX345" fmla="*/ 3101556 w 7467600"/>
              <a:gd name="connsiteY345" fmla="*/ 6843337 h 6858000"/>
              <a:gd name="connsiteX346" fmla="*/ 3370162 w 7467600"/>
              <a:gd name="connsiteY346" fmla="*/ 5785550 h 6858000"/>
              <a:gd name="connsiteX347" fmla="*/ 3746477 w 7467600"/>
              <a:gd name="connsiteY347" fmla="*/ 5377889 h 6858000"/>
              <a:gd name="connsiteX348" fmla="*/ 3863399 w 7467600"/>
              <a:gd name="connsiteY348" fmla="*/ 5087257 h 6858000"/>
              <a:gd name="connsiteX349" fmla="*/ 3968712 w 7467600"/>
              <a:gd name="connsiteY349" fmla="*/ 4913989 h 6858000"/>
              <a:gd name="connsiteX350" fmla="*/ 2792390 w 7467600"/>
              <a:gd name="connsiteY350" fmla="*/ 5382974 h 6858000"/>
              <a:gd name="connsiteX351" fmla="*/ 2714982 w 7467600"/>
              <a:gd name="connsiteY351" fmla="*/ 5427051 h 6858000"/>
              <a:gd name="connsiteX352" fmla="*/ 2813361 w 7467600"/>
              <a:gd name="connsiteY352" fmla="*/ 6023912 h 6858000"/>
              <a:gd name="connsiteX353" fmla="*/ 2688430 w 7467600"/>
              <a:gd name="connsiteY353" fmla="*/ 6801564 h 6858000"/>
              <a:gd name="connsiteX354" fmla="*/ 2629626 w 7467600"/>
              <a:gd name="connsiteY354" fmla="*/ 6763394 h 6858000"/>
              <a:gd name="connsiteX355" fmla="*/ 2565328 w 7467600"/>
              <a:gd name="connsiteY355" fmla="*/ 5516399 h 6858000"/>
              <a:gd name="connsiteX356" fmla="*/ 1922999 w 7467600"/>
              <a:gd name="connsiteY356" fmla="*/ 5980343 h 6858000"/>
              <a:gd name="connsiteX357" fmla="*/ 1950261 w 7467600"/>
              <a:gd name="connsiteY357" fmla="*/ 6405858 h 6858000"/>
              <a:gd name="connsiteX358" fmla="*/ 2365554 w 7467600"/>
              <a:gd name="connsiteY358" fmla="*/ 6759107 h 6858000"/>
              <a:gd name="connsiteX359" fmla="*/ 2424142 w 7467600"/>
              <a:gd name="connsiteY359" fmla="*/ 6858000 h 6858000"/>
              <a:gd name="connsiteX360" fmla="*/ 2395994 w 7467600"/>
              <a:gd name="connsiteY360" fmla="*/ 6858000 h 6858000"/>
              <a:gd name="connsiteX361" fmla="*/ 2392863 w 7467600"/>
              <a:gd name="connsiteY361" fmla="*/ 6852964 h 6858000"/>
              <a:gd name="connsiteX362" fmla="*/ 2017589 w 7467600"/>
              <a:gd name="connsiteY362" fmla="*/ 6493982 h 6858000"/>
              <a:gd name="connsiteX363" fmla="*/ 2147336 w 7467600"/>
              <a:gd name="connsiteY363" fmla="*/ 6594052 h 6858000"/>
              <a:gd name="connsiteX364" fmla="*/ 2207047 w 7467600"/>
              <a:gd name="connsiteY364" fmla="*/ 6654540 h 6858000"/>
              <a:gd name="connsiteX365" fmla="*/ 2299106 w 7467600"/>
              <a:gd name="connsiteY365" fmla="*/ 6778931 h 6858000"/>
              <a:gd name="connsiteX366" fmla="*/ 2314430 w 7467600"/>
              <a:gd name="connsiteY366" fmla="*/ 6801144 h 6858000"/>
              <a:gd name="connsiteX367" fmla="*/ 2352406 w 7467600"/>
              <a:gd name="connsiteY367" fmla="*/ 6858000 h 6858000"/>
              <a:gd name="connsiteX368" fmla="*/ 2314492 w 7467600"/>
              <a:gd name="connsiteY368" fmla="*/ 6858000 h 6858000"/>
              <a:gd name="connsiteX369" fmla="*/ 2288095 w 7467600"/>
              <a:gd name="connsiteY369" fmla="*/ 6818030 h 6858000"/>
              <a:gd name="connsiteX370" fmla="*/ 2272768 w 7467600"/>
              <a:gd name="connsiteY370" fmla="*/ 6795822 h 6858000"/>
              <a:gd name="connsiteX371" fmla="*/ 2182715 w 7467600"/>
              <a:gd name="connsiteY371" fmla="*/ 6675071 h 6858000"/>
              <a:gd name="connsiteX372" fmla="*/ 2032061 w 7467600"/>
              <a:gd name="connsiteY372" fmla="*/ 6541380 h 6858000"/>
              <a:gd name="connsiteX373" fmla="*/ 2257220 w 7467600"/>
              <a:gd name="connsiteY373" fmla="*/ 6826257 h 6858000"/>
              <a:gd name="connsiteX374" fmla="*/ 2281324 w 7467600"/>
              <a:gd name="connsiteY374" fmla="*/ 6858000 h 6858000"/>
              <a:gd name="connsiteX375" fmla="*/ 2242860 w 7467600"/>
              <a:gd name="connsiteY375" fmla="*/ 6858000 h 6858000"/>
              <a:gd name="connsiteX376" fmla="*/ 2232818 w 7467600"/>
              <a:gd name="connsiteY376" fmla="*/ 6844926 h 6858000"/>
              <a:gd name="connsiteX377" fmla="*/ 1990172 w 7467600"/>
              <a:gd name="connsiteY377" fmla="*/ 6542121 h 6858000"/>
              <a:gd name="connsiteX378" fmla="*/ 2124090 w 7467600"/>
              <a:gd name="connsiteY378" fmla="*/ 6761017 h 6858000"/>
              <a:gd name="connsiteX379" fmla="*/ 2200380 w 7467600"/>
              <a:gd name="connsiteY379" fmla="*/ 6858000 h 6858000"/>
              <a:gd name="connsiteX380" fmla="*/ 2147507 w 7467600"/>
              <a:gd name="connsiteY380" fmla="*/ 6858000 h 6858000"/>
              <a:gd name="connsiteX381" fmla="*/ 2070668 w 7467600"/>
              <a:gd name="connsiteY381" fmla="*/ 6761520 h 6858000"/>
              <a:gd name="connsiteX382" fmla="*/ 1975142 w 7467600"/>
              <a:gd name="connsiteY382" fmla="*/ 6585570 h 6858000"/>
              <a:gd name="connsiteX383" fmla="*/ 2050035 w 7467600"/>
              <a:gd name="connsiteY383" fmla="*/ 6813345 h 6858000"/>
              <a:gd name="connsiteX384" fmla="*/ 2063025 w 7467600"/>
              <a:gd name="connsiteY384" fmla="*/ 6858000 h 6858000"/>
              <a:gd name="connsiteX385" fmla="*/ 2021675 w 7467600"/>
              <a:gd name="connsiteY385" fmla="*/ 6858000 h 6858000"/>
              <a:gd name="connsiteX386" fmla="*/ 2019308 w 7467600"/>
              <a:gd name="connsiteY386" fmla="*/ 6847118 h 6858000"/>
              <a:gd name="connsiteX387" fmla="*/ 1938835 w 7467600"/>
              <a:gd name="connsiteY387" fmla="*/ 6551160 h 6858000"/>
              <a:gd name="connsiteX388" fmla="*/ 1953230 w 7467600"/>
              <a:gd name="connsiteY388" fmla="*/ 6759699 h 6858000"/>
              <a:gd name="connsiteX389" fmla="*/ 1956763 w 7467600"/>
              <a:gd name="connsiteY389" fmla="*/ 6778191 h 6858000"/>
              <a:gd name="connsiteX390" fmla="*/ 1967925 w 7467600"/>
              <a:gd name="connsiteY390" fmla="*/ 6858000 h 6858000"/>
              <a:gd name="connsiteX391" fmla="*/ 1936622 w 7467600"/>
              <a:gd name="connsiteY391" fmla="*/ 6858000 h 6858000"/>
              <a:gd name="connsiteX392" fmla="*/ 1926261 w 7467600"/>
              <a:gd name="connsiteY392" fmla="*/ 6784064 h 6858000"/>
              <a:gd name="connsiteX393" fmla="*/ 1922724 w 7467600"/>
              <a:gd name="connsiteY393" fmla="*/ 6765577 h 6858000"/>
              <a:gd name="connsiteX394" fmla="*/ 1904650 w 7467600"/>
              <a:gd name="connsiteY394" fmla="*/ 6639616 h 6858000"/>
              <a:gd name="connsiteX395" fmla="*/ 1885273 w 7467600"/>
              <a:gd name="connsiteY395" fmla="*/ 6858000 h 6858000"/>
              <a:gd name="connsiteX396" fmla="*/ 1854363 w 7467600"/>
              <a:gd name="connsiteY396" fmla="*/ 6858000 h 6858000"/>
              <a:gd name="connsiteX397" fmla="*/ 1880391 w 7467600"/>
              <a:gd name="connsiteY397" fmla="*/ 6603796 h 6858000"/>
              <a:gd name="connsiteX398" fmla="*/ 1818273 w 7467600"/>
              <a:gd name="connsiteY398" fmla="*/ 6715729 h 6858000"/>
              <a:gd name="connsiteX399" fmla="*/ 1794691 w 7467600"/>
              <a:gd name="connsiteY399" fmla="*/ 6843239 h 6858000"/>
              <a:gd name="connsiteX400" fmla="*/ 1794914 w 7467600"/>
              <a:gd name="connsiteY400" fmla="*/ 6858000 h 6858000"/>
              <a:gd name="connsiteX401" fmla="*/ 1746128 w 7467600"/>
              <a:gd name="connsiteY401" fmla="*/ 6858000 h 6858000"/>
              <a:gd name="connsiteX402" fmla="*/ 1753934 w 7467600"/>
              <a:gd name="connsiteY402" fmla="*/ 6724796 h 6858000"/>
              <a:gd name="connsiteX403" fmla="*/ 1792053 w 7467600"/>
              <a:gd name="connsiteY403" fmla="*/ 6572396 h 6858000"/>
              <a:gd name="connsiteX404" fmla="*/ 1862248 w 7467600"/>
              <a:gd name="connsiteY404" fmla="*/ 6266397 h 6858000"/>
              <a:gd name="connsiteX405" fmla="*/ 1862250 w 7467600"/>
              <a:gd name="connsiteY405" fmla="*/ 6033531 h 6858000"/>
              <a:gd name="connsiteX406" fmla="*/ 1211999 w 7467600"/>
              <a:gd name="connsiteY406" fmla="*/ 6683610 h 6858000"/>
              <a:gd name="connsiteX407" fmla="*/ 1213266 w 7467600"/>
              <a:gd name="connsiteY407" fmla="*/ 6691947 h 6858000"/>
              <a:gd name="connsiteX408" fmla="*/ 1203370 w 7467600"/>
              <a:gd name="connsiteY408" fmla="*/ 6850676 h 6858000"/>
              <a:gd name="connsiteX409" fmla="*/ 1203671 w 7467600"/>
              <a:gd name="connsiteY409" fmla="*/ 6858000 h 6858000"/>
              <a:gd name="connsiteX410" fmla="*/ 1143180 w 7467600"/>
              <a:gd name="connsiteY410" fmla="*/ 6858000 h 6858000"/>
              <a:gd name="connsiteX411" fmla="*/ 1142176 w 7467600"/>
              <a:gd name="connsiteY411" fmla="*/ 6766045 h 6858000"/>
              <a:gd name="connsiteX412" fmla="*/ 1067484 w 7467600"/>
              <a:gd name="connsiteY412" fmla="*/ 6858000 h 6858000"/>
              <a:gd name="connsiteX413" fmla="*/ 953928 w 7467600"/>
              <a:gd name="connsiteY413" fmla="*/ 6858000 h 6858000"/>
              <a:gd name="connsiteX414" fmla="*/ 959715 w 7467600"/>
              <a:gd name="connsiteY414" fmla="*/ 6850185 h 6858000"/>
              <a:gd name="connsiteX415" fmla="*/ 1483788 w 7467600"/>
              <a:gd name="connsiteY415" fmla="*/ 6259174 h 6858000"/>
              <a:gd name="connsiteX416" fmla="*/ 1100671 w 7467600"/>
              <a:gd name="connsiteY416" fmla="*/ 6252137 h 6858000"/>
              <a:gd name="connsiteX417" fmla="*/ 1090144 w 7467600"/>
              <a:gd name="connsiteY417" fmla="*/ 6256748 h 6858000"/>
              <a:gd name="connsiteX418" fmla="*/ 1095872 w 7467600"/>
              <a:gd name="connsiteY418" fmla="*/ 6271892 h 6858000"/>
              <a:gd name="connsiteX419" fmla="*/ 262785 w 7467600"/>
              <a:gd name="connsiteY419" fmla="*/ 6845450 h 6858000"/>
              <a:gd name="connsiteX420" fmla="*/ 209968 w 7467600"/>
              <a:gd name="connsiteY420" fmla="*/ 6770713 h 6858000"/>
              <a:gd name="connsiteX421" fmla="*/ 873460 w 7467600"/>
              <a:gd name="connsiteY421" fmla="*/ 6253768 h 6858000"/>
              <a:gd name="connsiteX422" fmla="*/ 192686 w 7467600"/>
              <a:gd name="connsiteY422" fmla="*/ 5849257 h 6858000"/>
              <a:gd name="connsiteX423" fmla="*/ 4696 w 7467600"/>
              <a:gd name="connsiteY423" fmla="*/ 5697668 h 6858000"/>
              <a:gd name="connsiteX424" fmla="*/ 0 w 7467600"/>
              <a:gd name="connsiteY424" fmla="*/ 5689984 h 6858000"/>
              <a:gd name="connsiteX425" fmla="*/ 0 w 7467600"/>
              <a:gd name="connsiteY425" fmla="*/ 5513472 h 6858000"/>
              <a:gd name="connsiteX426" fmla="*/ 174101 w 7467600"/>
              <a:gd name="connsiteY426" fmla="*/ 5620277 h 6858000"/>
              <a:gd name="connsiteX427" fmla="*/ 891800 w 7467600"/>
              <a:gd name="connsiteY427" fmla="*/ 6036935 h 6858000"/>
              <a:gd name="connsiteX428" fmla="*/ 1072219 w 7467600"/>
              <a:gd name="connsiteY428" fmla="*/ 6169443 h 6858000"/>
              <a:gd name="connsiteX429" fmla="*/ 1074117 w 7467600"/>
              <a:gd name="connsiteY429" fmla="*/ 6170301 h 6858000"/>
              <a:gd name="connsiteX430" fmla="*/ 1083114 w 7467600"/>
              <a:gd name="connsiteY430" fmla="*/ 6174131 h 6858000"/>
              <a:gd name="connsiteX431" fmla="*/ 1543010 w 7467600"/>
              <a:gd name="connsiteY431" fmla="*/ 6191140 h 6858000"/>
              <a:gd name="connsiteX432" fmla="*/ 1551080 w 7467600"/>
              <a:gd name="connsiteY432" fmla="*/ 6195006 h 6858000"/>
              <a:gd name="connsiteX433" fmla="*/ 2345443 w 7467600"/>
              <a:gd name="connsiteY433" fmla="*/ 5549882 h 6858000"/>
              <a:gd name="connsiteX434" fmla="*/ 1721499 w 7467600"/>
              <a:gd name="connsiteY434" fmla="*/ 5599969 h 6858000"/>
              <a:gd name="connsiteX435" fmla="*/ 767716 w 7467600"/>
              <a:gd name="connsiteY435" fmla="*/ 5472768 h 6858000"/>
              <a:gd name="connsiteX436" fmla="*/ 722147 w 7467600"/>
              <a:gd name="connsiteY436" fmla="*/ 5393091 h 6858000"/>
              <a:gd name="connsiteX437" fmla="*/ 1485552 w 7467600"/>
              <a:gd name="connsiteY437" fmla="*/ 5313202 h 6858000"/>
              <a:gd name="connsiteX438" fmla="*/ 2143004 w 7467600"/>
              <a:gd name="connsiteY438" fmla="*/ 5402420 h 6858000"/>
              <a:gd name="connsiteX439" fmla="*/ 1933391 w 7467600"/>
              <a:gd name="connsiteY439" fmla="*/ 5156971 h 6858000"/>
              <a:gd name="connsiteX440" fmla="*/ 1827118 w 7467600"/>
              <a:gd name="connsiteY440" fmla="*/ 4968410 h 6858000"/>
              <a:gd name="connsiteX441" fmla="*/ 1837349 w 7467600"/>
              <a:gd name="connsiteY441" fmla="*/ 4956357 h 6858000"/>
              <a:gd name="connsiteX442" fmla="*/ 2162835 w 7467600"/>
              <a:gd name="connsiteY442" fmla="*/ 5187853 h 6858000"/>
              <a:gd name="connsiteX443" fmla="*/ 2257167 w 7467600"/>
              <a:gd name="connsiteY443" fmla="*/ 5462123 h 6858000"/>
              <a:gd name="connsiteX444" fmla="*/ 2261598 w 7467600"/>
              <a:gd name="connsiteY444" fmla="*/ 5467998 h 6858000"/>
              <a:gd name="connsiteX445" fmla="*/ 2437177 w 7467600"/>
              <a:gd name="connsiteY445" fmla="*/ 5479608 h 6858000"/>
              <a:gd name="connsiteX446" fmla="*/ 2445247 w 7467600"/>
              <a:gd name="connsiteY446" fmla="*/ 5483476 h 6858000"/>
              <a:gd name="connsiteX447" fmla="*/ 2743626 w 7467600"/>
              <a:gd name="connsiteY447" fmla="*/ 5304819 h 6858000"/>
              <a:gd name="connsiteX448" fmla="*/ 3048102 w 7467600"/>
              <a:gd name="connsiteY448" fmla="*/ 5150595 h 6858000"/>
              <a:gd name="connsiteX449" fmla="*/ 1799414 w 7467600"/>
              <a:gd name="connsiteY449" fmla="*/ 4694732 h 6858000"/>
              <a:gd name="connsiteX450" fmla="*/ 1771735 w 7467600"/>
              <a:gd name="connsiteY450" fmla="*/ 4619929 h 6858000"/>
              <a:gd name="connsiteX451" fmla="*/ 3104273 w 7467600"/>
              <a:gd name="connsiteY451" fmla="*/ 5076159 h 6858000"/>
              <a:gd name="connsiteX452" fmla="*/ 3113245 w 7467600"/>
              <a:gd name="connsiteY452" fmla="*/ 5090705 h 6858000"/>
              <a:gd name="connsiteX453" fmla="*/ 3126294 w 7467600"/>
              <a:gd name="connsiteY453" fmla="*/ 5114400 h 6858000"/>
              <a:gd name="connsiteX454" fmla="*/ 3937433 w 7467600"/>
              <a:gd name="connsiteY454" fmla="*/ 4830473 h 6858000"/>
              <a:gd name="connsiteX455" fmla="*/ 3590475 w 7467600"/>
              <a:gd name="connsiteY455" fmla="*/ 4597974 h 6858000"/>
              <a:gd name="connsiteX456" fmla="*/ 3100264 w 7467600"/>
              <a:gd name="connsiteY456" fmla="*/ 4579845 h 6858000"/>
              <a:gd name="connsiteX457" fmla="*/ 2183576 w 7467600"/>
              <a:gd name="connsiteY457" fmla="*/ 4227150 h 6858000"/>
              <a:gd name="connsiteX458" fmla="*/ 2151029 w 7467600"/>
              <a:gd name="connsiteY458" fmla="*/ 4146947 h 6858000"/>
              <a:gd name="connsiteX459" fmla="*/ 3563434 w 7467600"/>
              <a:gd name="connsiteY459" fmla="*/ 4469115 h 6858000"/>
              <a:gd name="connsiteX460" fmla="*/ 3177952 w 7467600"/>
              <a:gd name="connsiteY460" fmla="*/ 3657386 h 6858000"/>
              <a:gd name="connsiteX461" fmla="*/ 3189263 w 7467600"/>
              <a:gd name="connsiteY461" fmla="*/ 3625726 h 6858000"/>
              <a:gd name="connsiteX462" fmla="*/ 3560912 w 7467600"/>
              <a:gd name="connsiteY462" fmla="*/ 4079863 h 6858000"/>
              <a:gd name="connsiteX463" fmla="*/ 3626636 w 7467600"/>
              <a:gd name="connsiteY463" fmla="*/ 4512230 h 6858000"/>
              <a:gd name="connsiteX464" fmla="*/ 3653088 w 7467600"/>
              <a:gd name="connsiteY464" fmla="*/ 4521417 h 6858000"/>
              <a:gd name="connsiteX465" fmla="*/ 3988128 w 7467600"/>
              <a:gd name="connsiteY465" fmla="*/ 4817267 h 6858000"/>
              <a:gd name="connsiteX466" fmla="*/ 4830582 w 7467600"/>
              <a:gd name="connsiteY466" fmla="*/ 4676000 h 6858000"/>
              <a:gd name="connsiteX467" fmla="*/ 4830100 w 7467600"/>
              <a:gd name="connsiteY467" fmla="*/ 4675554 h 6858000"/>
              <a:gd name="connsiteX468" fmla="*/ 4036318 w 7467600"/>
              <a:gd name="connsiteY468" fmla="*/ 4147013 h 6858000"/>
              <a:gd name="connsiteX469" fmla="*/ 3432098 w 7467600"/>
              <a:gd name="connsiteY469" fmla="*/ 3537312 h 6858000"/>
              <a:gd name="connsiteX470" fmla="*/ 3446761 w 7467600"/>
              <a:gd name="connsiteY470" fmla="*/ 3461278 h 6858000"/>
              <a:gd name="connsiteX471" fmla="*/ 4419733 w 7467600"/>
              <a:gd name="connsiteY471" fmla="*/ 3963555 h 6858000"/>
              <a:gd name="connsiteX472" fmla="*/ 4781371 w 7467600"/>
              <a:gd name="connsiteY472" fmla="*/ 4458604 h 6858000"/>
              <a:gd name="connsiteX473" fmla="*/ 4780440 w 7467600"/>
              <a:gd name="connsiteY473" fmla="*/ 4470290 h 6858000"/>
              <a:gd name="connsiteX474" fmla="*/ 4898954 w 7467600"/>
              <a:gd name="connsiteY474" fmla="*/ 4662092 h 6858000"/>
              <a:gd name="connsiteX475" fmla="*/ 4900699 w 7467600"/>
              <a:gd name="connsiteY475" fmla="*/ 4670867 h 6858000"/>
              <a:gd name="connsiteX476" fmla="*/ 5714511 w 7467600"/>
              <a:gd name="connsiteY476" fmla="*/ 4663483 h 6858000"/>
              <a:gd name="connsiteX477" fmla="*/ 5464793 w 7467600"/>
              <a:gd name="connsiteY477" fmla="*/ 4393556 h 6858000"/>
              <a:gd name="connsiteX478" fmla="*/ 5461897 w 7467600"/>
              <a:gd name="connsiteY478" fmla="*/ 4390879 h 6858000"/>
              <a:gd name="connsiteX479" fmla="*/ 4294126 w 7467600"/>
              <a:gd name="connsiteY479" fmla="*/ 3303048 h 6858000"/>
              <a:gd name="connsiteX480" fmla="*/ 4305321 w 7467600"/>
              <a:gd name="connsiteY480" fmla="*/ 3256953 h 6858000"/>
              <a:gd name="connsiteX481" fmla="*/ 4949299 w 7467600"/>
              <a:gd name="connsiteY481" fmla="*/ 3766336 h 6858000"/>
              <a:gd name="connsiteX482" fmla="*/ 5291452 w 7467600"/>
              <a:gd name="connsiteY482" fmla="*/ 4076801 h 6858000"/>
              <a:gd name="connsiteX483" fmla="*/ 5434998 w 7467600"/>
              <a:gd name="connsiteY483" fmla="*/ 4254100 h 6858000"/>
              <a:gd name="connsiteX484" fmla="*/ 5351015 w 7467600"/>
              <a:gd name="connsiteY484" fmla="*/ 3760989 h 6858000"/>
              <a:gd name="connsiteX485" fmla="*/ 5413780 w 7467600"/>
              <a:gd name="connsiteY485" fmla="*/ 2966265 h 6858000"/>
              <a:gd name="connsiteX486" fmla="*/ 5425627 w 7467600"/>
              <a:gd name="connsiteY486" fmla="*/ 2954192 h 6858000"/>
              <a:gd name="connsiteX487" fmla="*/ 6604735 w 7467600"/>
              <a:gd name="connsiteY487" fmla="*/ 2041381 h 6858000"/>
              <a:gd name="connsiteX488" fmla="*/ 7204487 w 7467600"/>
              <a:gd name="connsiteY488" fmla="*/ 2742112 h 6858000"/>
              <a:gd name="connsiteX489" fmla="*/ 7131592 w 7467600"/>
              <a:gd name="connsiteY489" fmla="*/ 2672096 h 6858000"/>
              <a:gd name="connsiteX490" fmla="*/ 6996344 w 7467600"/>
              <a:gd name="connsiteY490" fmla="*/ 2518310 h 6858000"/>
              <a:gd name="connsiteX491" fmla="*/ 6735495 w 7467600"/>
              <a:gd name="connsiteY491" fmla="*/ 2196890 h 6858000"/>
              <a:gd name="connsiteX492" fmla="*/ 6721901 w 7467600"/>
              <a:gd name="connsiteY492" fmla="*/ 2179274 h 6858000"/>
              <a:gd name="connsiteX493" fmla="*/ 6604735 w 7467600"/>
              <a:gd name="connsiteY493" fmla="*/ 2041381 h 6858000"/>
              <a:gd name="connsiteX494" fmla="*/ 6591670 w 7467600"/>
              <a:gd name="connsiteY494" fmla="*/ 1988277 h 6858000"/>
              <a:gd name="connsiteX495" fmla="*/ 6747349 w 7467600"/>
              <a:gd name="connsiteY495" fmla="*/ 2160069 h 6858000"/>
              <a:gd name="connsiteX496" fmla="*/ 6760943 w 7467600"/>
              <a:gd name="connsiteY496" fmla="*/ 2177686 h 6858000"/>
              <a:gd name="connsiteX497" fmla="*/ 7021065 w 7467600"/>
              <a:gd name="connsiteY497" fmla="*/ 2498102 h 6858000"/>
              <a:gd name="connsiteX498" fmla="*/ 7155223 w 7467600"/>
              <a:gd name="connsiteY498" fmla="*/ 2650386 h 6858000"/>
              <a:gd name="connsiteX499" fmla="*/ 7203167 w 7467600"/>
              <a:gd name="connsiteY499" fmla="*/ 2697288 h 6858000"/>
              <a:gd name="connsiteX500" fmla="*/ 6937703 w 7467600"/>
              <a:gd name="connsiteY500" fmla="*/ 2321981 h 6858000"/>
              <a:gd name="connsiteX501" fmla="*/ 6591670 w 7467600"/>
              <a:gd name="connsiteY501" fmla="*/ 1988277 h 6858000"/>
              <a:gd name="connsiteX502" fmla="*/ 5798671 w 7467600"/>
              <a:gd name="connsiteY502" fmla="*/ 1981601 h 6858000"/>
              <a:gd name="connsiteX503" fmla="*/ 5754709 w 7467600"/>
              <a:gd name="connsiteY503" fmla="*/ 2071454 h 6858000"/>
              <a:gd name="connsiteX504" fmla="*/ 5763044 w 7467600"/>
              <a:gd name="connsiteY504" fmla="*/ 2842206 h 6858000"/>
              <a:gd name="connsiteX505" fmla="*/ 5764974 w 7467600"/>
              <a:gd name="connsiteY505" fmla="*/ 2799609 h 6858000"/>
              <a:gd name="connsiteX506" fmla="*/ 5767665 w 7467600"/>
              <a:gd name="connsiteY506" fmla="*/ 2666409 h 6858000"/>
              <a:gd name="connsiteX507" fmla="*/ 5763055 w 7467600"/>
              <a:gd name="connsiteY507" fmla="*/ 2579705 h 6858000"/>
              <a:gd name="connsiteX508" fmla="*/ 5758079 w 7467600"/>
              <a:gd name="connsiteY508" fmla="*/ 2492508 h 6858000"/>
              <a:gd name="connsiteX509" fmla="*/ 5779325 w 7467600"/>
              <a:gd name="connsiteY509" fmla="*/ 2197069 h 6858000"/>
              <a:gd name="connsiteX510" fmla="*/ 5798671 w 7467600"/>
              <a:gd name="connsiteY510" fmla="*/ 1981601 h 6858000"/>
              <a:gd name="connsiteX511" fmla="*/ 5829202 w 7467600"/>
              <a:gd name="connsiteY511" fmla="*/ 1971679 h 6858000"/>
              <a:gd name="connsiteX512" fmla="*/ 5809558 w 7467600"/>
              <a:gd name="connsiteY512" fmla="*/ 2198043 h 6858000"/>
              <a:gd name="connsiteX513" fmla="*/ 5788653 w 7467600"/>
              <a:gd name="connsiteY513" fmla="*/ 2489430 h 6858000"/>
              <a:gd name="connsiteX514" fmla="*/ 5793439 w 7467600"/>
              <a:gd name="connsiteY514" fmla="*/ 2575235 h 6858000"/>
              <a:gd name="connsiteX515" fmla="*/ 5796837 w 7467600"/>
              <a:gd name="connsiteY515" fmla="*/ 2637633 h 6858000"/>
              <a:gd name="connsiteX516" fmla="*/ 5818614 w 7467600"/>
              <a:gd name="connsiteY516" fmla="*/ 2473055 h 6858000"/>
              <a:gd name="connsiteX517" fmla="*/ 5829202 w 7467600"/>
              <a:gd name="connsiteY517" fmla="*/ 1971679 h 6858000"/>
              <a:gd name="connsiteX518" fmla="*/ 5911389 w 7467600"/>
              <a:gd name="connsiteY518" fmla="*/ 1898371 h 6858000"/>
              <a:gd name="connsiteX519" fmla="*/ 6237627 w 7467600"/>
              <a:gd name="connsiteY519" fmla="*/ 2231921 h 6858000"/>
              <a:gd name="connsiteX520" fmla="*/ 5911389 w 7467600"/>
              <a:gd name="connsiteY520" fmla="*/ 1898371 h 6858000"/>
              <a:gd name="connsiteX521" fmla="*/ 6944437 w 7467600"/>
              <a:gd name="connsiteY521" fmla="*/ 1575402 h 6858000"/>
              <a:gd name="connsiteX522" fmla="*/ 6304730 w 7467600"/>
              <a:gd name="connsiteY522" fmla="*/ 1766654 h 6858000"/>
              <a:gd name="connsiteX523" fmla="*/ 6944437 w 7467600"/>
              <a:gd name="connsiteY523" fmla="*/ 1575402 h 6858000"/>
              <a:gd name="connsiteX524" fmla="*/ 7019523 w 7467600"/>
              <a:gd name="connsiteY524" fmla="*/ 1519450 h 6858000"/>
              <a:gd name="connsiteX525" fmla="*/ 6298091 w 7467600"/>
              <a:gd name="connsiteY525" fmla="*/ 1737122 h 6858000"/>
              <a:gd name="connsiteX526" fmla="*/ 7019523 w 7467600"/>
              <a:gd name="connsiteY526" fmla="*/ 1519450 h 6858000"/>
              <a:gd name="connsiteX527" fmla="*/ 2399523 w 7467600"/>
              <a:gd name="connsiteY527" fmla="*/ 1428234 h 6858000"/>
              <a:gd name="connsiteX528" fmla="*/ 2224982 w 7467600"/>
              <a:gd name="connsiteY528" fmla="*/ 1826201 h 6858000"/>
              <a:gd name="connsiteX529" fmla="*/ 2096099 w 7467600"/>
              <a:gd name="connsiteY529" fmla="*/ 2345900 h 6858000"/>
              <a:gd name="connsiteX530" fmla="*/ 2283317 w 7467600"/>
              <a:gd name="connsiteY530" fmla="*/ 1796925 h 6858000"/>
              <a:gd name="connsiteX531" fmla="*/ 2399523 w 7467600"/>
              <a:gd name="connsiteY531" fmla="*/ 1428234 h 6858000"/>
              <a:gd name="connsiteX532" fmla="*/ 2448558 w 7467600"/>
              <a:gd name="connsiteY532" fmla="*/ 1373435 h 6858000"/>
              <a:gd name="connsiteX533" fmla="*/ 2312521 w 7467600"/>
              <a:gd name="connsiteY533" fmla="*/ 1806140 h 6858000"/>
              <a:gd name="connsiteX534" fmla="*/ 2127533 w 7467600"/>
              <a:gd name="connsiteY534" fmla="*/ 2348380 h 6858000"/>
              <a:gd name="connsiteX535" fmla="*/ 2358080 w 7467600"/>
              <a:gd name="connsiteY535" fmla="*/ 1866134 h 6858000"/>
              <a:gd name="connsiteX536" fmla="*/ 2407436 w 7467600"/>
              <a:gd name="connsiteY536" fmla="*/ 1651070 h 6858000"/>
              <a:gd name="connsiteX537" fmla="*/ 2448558 w 7467600"/>
              <a:gd name="connsiteY537" fmla="*/ 1373435 h 6858000"/>
              <a:gd name="connsiteX538" fmla="*/ 278707 w 7467600"/>
              <a:gd name="connsiteY538" fmla="*/ 1352270 h 6858000"/>
              <a:gd name="connsiteX539" fmla="*/ 321570 w 7467600"/>
              <a:gd name="connsiteY539" fmla="*/ 1861610 h 6858000"/>
              <a:gd name="connsiteX540" fmla="*/ 294281 w 7467600"/>
              <a:gd name="connsiteY540" fmla="*/ 1440658 h 6858000"/>
              <a:gd name="connsiteX541" fmla="*/ 278707 w 7467600"/>
              <a:gd name="connsiteY541" fmla="*/ 1352270 h 6858000"/>
              <a:gd name="connsiteX542" fmla="*/ 1423821 w 7467600"/>
              <a:gd name="connsiteY542" fmla="*/ 1351958 h 6858000"/>
              <a:gd name="connsiteX543" fmla="*/ 1638521 w 7467600"/>
              <a:gd name="connsiteY543" fmla="*/ 1908470 h 6858000"/>
              <a:gd name="connsiteX544" fmla="*/ 1754199 w 7467600"/>
              <a:gd name="connsiteY544" fmla="*/ 2149284 h 6858000"/>
              <a:gd name="connsiteX545" fmla="*/ 1908359 w 7467600"/>
              <a:gd name="connsiteY545" fmla="*/ 2364988 h 6858000"/>
              <a:gd name="connsiteX546" fmla="*/ 1647661 w 7467600"/>
              <a:gd name="connsiteY546" fmla="*/ 1825945 h 6858000"/>
              <a:gd name="connsiteX547" fmla="*/ 1423821 w 7467600"/>
              <a:gd name="connsiteY547" fmla="*/ 1351958 h 6858000"/>
              <a:gd name="connsiteX548" fmla="*/ 1431890 w 7467600"/>
              <a:gd name="connsiteY548" fmla="*/ 1306475 h 6858000"/>
              <a:gd name="connsiteX549" fmla="*/ 1507597 w 7467600"/>
              <a:gd name="connsiteY549" fmla="*/ 1446132 h 6858000"/>
              <a:gd name="connsiteX550" fmla="*/ 1674586 w 7467600"/>
              <a:gd name="connsiteY550" fmla="*/ 1813832 h 6858000"/>
              <a:gd name="connsiteX551" fmla="*/ 1815950 w 7467600"/>
              <a:gd name="connsiteY551" fmla="*/ 2128564 h 6858000"/>
              <a:gd name="connsiteX552" fmla="*/ 1984242 w 7467600"/>
              <a:gd name="connsiteY552" fmla="*/ 2430829 h 6858000"/>
              <a:gd name="connsiteX553" fmla="*/ 2014023 w 7467600"/>
              <a:gd name="connsiteY553" fmla="*/ 2450995 h 6858000"/>
              <a:gd name="connsiteX554" fmla="*/ 1747337 w 7467600"/>
              <a:gd name="connsiteY554" fmla="*/ 1855264 h 6858000"/>
              <a:gd name="connsiteX555" fmla="*/ 1533749 w 7467600"/>
              <a:gd name="connsiteY555" fmla="*/ 1478656 h 6858000"/>
              <a:gd name="connsiteX556" fmla="*/ 1431890 w 7467600"/>
              <a:gd name="connsiteY556" fmla="*/ 1306475 h 6858000"/>
              <a:gd name="connsiteX557" fmla="*/ 5052692 w 7467600"/>
              <a:gd name="connsiteY557" fmla="*/ 1292994 h 6858000"/>
              <a:gd name="connsiteX558" fmla="*/ 5200661 w 7467600"/>
              <a:gd name="connsiteY558" fmla="*/ 1635186 h 6858000"/>
              <a:gd name="connsiteX559" fmla="*/ 5297138 w 7467600"/>
              <a:gd name="connsiteY559" fmla="*/ 1906351 h 6858000"/>
              <a:gd name="connsiteX560" fmla="*/ 5052692 w 7467600"/>
              <a:gd name="connsiteY560" fmla="*/ 1292994 h 6858000"/>
              <a:gd name="connsiteX561" fmla="*/ 5009948 w 7467600"/>
              <a:gd name="connsiteY561" fmla="*/ 1273619 h 6858000"/>
              <a:gd name="connsiteX562" fmla="*/ 5121777 w 7467600"/>
              <a:gd name="connsiteY562" fmla="*/ 1654213 h 6858000"/>
              <a:gd name="connsiteX563" fmla="*/ 5293545 w 7467600"/>
              <a:gd name="connsiteY563" fmla="*/ 2072247 h 6858000"/>
              <a:gd name="connsiteX564" fmla="*/ 5294042 w 7467600"/>
              <a:gd name="connsiteY564" fmla="*/ 2065019 h 6858000"/>
              <a:gd name="connsiteX565" fmla="*/ 5171936 w 7467600"/>
              <a:gd name="connsiteY565" fmla="*/ 1647613 h 6858000"/>
              <a:gd name="connsiteX566" fmla="*/ 5009948 w 7467600"/>
              <a:gd name="connsiteY566" fmla="*/ 1273619 h 6858000"/>
              <a:gd name="connsiteX567" fmla="*/ 655236 w 7467600"/>
              <a:gd name="connsiteY567" fmla="*/ 1268632 h 6858000"/>
              <a:gd name="connsiteX568" fmla="*/ 839521 w 7467600"/>
              <a:gd name="connsiteY568" fmla="*/ 1685315 h 6858000"/>
              <a:gd name="connsiteX569" fmla="*/ 1109416 w 7467600"/>
              <a:gd name="connsiteY569" fmla="*/ 2061663 h 6858000"/>
              <a:gd name="connsiteX570" fmla="*/ 1298300 w 7467600"/>
              <a:gd name="connsiteY570" fmla="*/ 2247742 h 6858000"/>
              <a:gd name="connsiteX571" fmla="*/ 1125871 w 7467600"/>
              <a:gd name="connsiteY571" fmla="*/ 1989513 h 6858000"/>
              <a:gd name="connsiteX572" fmla="*/ 981574 w 7467600"/>
              <a:gd name="connsiteY572" fmla="*/ 1783157 h 6858000"/>
              <a:gd name="connsiteX573" fmla="*/ 922198 w 7467600"/>
              <a:gd name="connsiteY573" fmla="*/ 1677437 h 6858000"/>
              <a:gd name="connsiteX574" fmla="*/ 869293 w 7467600"/>
              <a:gd name="connsiteY574" fmla="*/ 1583214 h 6858000"/>
              <a:gd name="connsiteX575" fmla="*/ 751431 w 7467600"/>
              <a:gd name="connsiteY575" fmla="*/ 1405731 h 6858000"/>
              <a:gd name="connsiteX576" fmla="*/ 655236 w 7467600"/>
              <a:gd name="connsiteY576" fmla="*/ 1268632 h 6858000"/>
              <a:gd name="connsiteX577" fmla="*/ 6516292 w 7467600"/>
              <a:gd name="connsiteY577" fmla="*/ 1263064 h 6858000"/>
              <a:gd name="connsiteX578" fmla="*/ 5736320 w 7467600"/>
              <a:gd name="connsiteY578" fmla="*/ 1501803 h 6858000"/>
              <a:gd name="connsiteX579" fmla="*/ 6516292 w 7467600"/>
              <a:gd name="connsiteY579" fmla="*/ 1263064 h 6858000"/>
              <a:gd name="connsiteX580" fmla="*/ 291466 w 7467600"/>
              <a:gd name="connsiteY580" fmla="*/ 1250369 h 6858000"/>
              <a:gd name="connsiteX581" fmla="*/ 323180 w 7467600"/>
              <a:gd name="connsiteY581" fmla="*/ 1435283 h 6858000"/>
              <a:gd name="connsiteX582" fmla="*/ 349381 w 7467600"/>
              <a:gd name="connsiteY582" fmla="*/ 1875041 h 6858000"/>
              <a:gd name="connsiteX583" fmla="*/ 374363 w 7467600"/>
              <a:gd name="connsiteY583" fmla="*/ 1506494 h 6858000"/>
              <a:gd name="connsiteX584" fmla="*/ 302168 w 7467600"/>
              <a:gd name="connsiteY584" fmla="*/ 1274495 h 6858000"/>
              <a:gd name="connsiteX585" fmla="*/ 291466 w 7467600"/>
              <a:gd name="connsiteY585" fmla="*/ 1250369 h 6858000"/>
              <a:gd name="connsiteX586" fmla="*/ 678222 w 7467600"/>
              <a:gd name="connsiteY586" fmla="*/ 1248670 h 6858000"/>
              <a:gd name="connsiteX587" fmla="*/ 775536 w 7467600"/>
              <a:gd name="connsiteY587" fmla="*/ 1388015 h 6858000"/>
              <a:gd name="connsiteX588" fmla="*/ 894529 w 7467600"/>
              <a:gd name="connsiteY588" fmla="*/ 1567739 h 6858000"/>
              <a:gd name="connsiteX589" fmla="*/ 948000 w 7467600"/>
              <a:gd name="connsiteY589" fmla="*/ 1663088 h 6858000"/>
              <a:gd name="connsiteX590" fmla="*/ 1006812 w 7467600"/>
              <a:gd name="connsiteY590" fmla="*/ 1767683 h 6858000"/>
              <a:gd name="connsiteX591" fmla="*/ 1149133 w 7467600"/>
              <a:gd name="connsiteY591" fmla="*/ 1971513 h 6858000"/>
              <a:gd name="connsiteX592" fmla="*/ 1333952 w 7467600"/>
              <a:gd name="connsiteY592" fmla="*/ 2251620 h 6858000"/>
              <a:gd name="connsiteX593" fmla="*/ 1337329 w 7467600"/>
              <a:gd name="connsiteY593" fmla="*/ 2258350 h 6858000"/>
              <a:gd name="connsiteX594" fmla="*/ 1014726 w 7467600"/>
              <a:gd name="connsiteY594" fmla="*/ 1615556 h 6858000"/>
              <a:gd name="connsiteX595" fmla="*/ 678222 w 7467600"/>
              <a:gd name="connsiteY595" fmla="*/ 1248670 h 6858000"/>
              <a:gd name="connsiteX596" fmla="*/ 6691602 w 7467600"/>
              <a:gd name="connsiteY596" fmla="*/ 1140573 h 6858000"/>
              <a:gd name="connsiteX597" fmla="*/ 6571100 w 7467600"/>
              <a:gd name="connsiteY597" fmla="*/ 1183662 h 6858000"/>
              <a:gd name="connsiteX598" fmla="*/ 6241687 w 7467600"/>
              <a:gd name="connsiteY598" fmla="*/ 1257600 h 6858000"/>
              <a:gd name="connsiteX599" fmla="*/ 5693009 w 7467600"/>
              <a:gd name="connsiteY599" fmla="*/ 1478256 h 6858000"/>
              <a:gd name="connsiteX600" fmla="*/ 6548420 w 7467600"/>
              <a:gd name="connsiteY600" fmla="*/ 1214599 h 6858000"/>
              <a:gd name="connsiteX601" fmla="*/ 6605473 w 7467600"/>
              <a:gd name="connsiteY601" fmla="*/ 1184686 h 6858000"/>
              <a:gd name="connsiteX602" fmla="*/ 6691602 w 7467600"/>
              <a:gd name="connsiteY602" fmla="*/ 1140573 h 6858000"/>
              <a:gd name="connsiteX603" fmla="*/ 4002475 w 7467600"/>
              <a:gd name="connsiteY603" fmla="*/ 1037802 h 6858000"/>
              <a:gd name="connsiteX604" fmla="*/ 4000324 w 7467600"/>
              <a:gd name="connsiteY604" fmla="*/ 1039362 h 6858000"/>
              <a:gd name="connsiteX605" fmla="*/ 4002862 w 7467600"/>
              <a:gd name="connsiteY605" fmla="*/ 1042866 h 6858000"/>
              <a:gd name="connsiteX606" fmla="*/ 4002475 w 7467600"/>
              <a:gd name="connsiteY606" fmla="*/ 1037802 h 6858000"/>
              <a:gd name="connsiteX607" fmla="*/ 506322 w 7467600"/>
              <a:gd name="connsiteY607" fmla="*/ 1020997 h 6858000"/>
              <a:gd name="connsiteX608" fmla="*/ 533068 w 7467600"/>
              <a:gd name="connsiteY608" fmla="*/ 1029409 h 6858000"/>
              <a:gd name="connsiteX609" fmla="*/ 1232525 w 7467600"/>
              <a:gd name="connsiteY609" fmla="*/ 1804675 h 6858000"/>
              <a:gd name="connsiteX610" fmla="*/ 1388858 w 7467600"/>
              <a:gd name="connsiteY610" fmla="*/ 2368011 h 6858000"/>
              <a:gd name="connsiteX611" fmla="*/ 1384098 w 7467600"/>
              <a:gd name="connsiteY611" fmla="*/ 2378125 h 6858000"/>
              <a:gd name="connsiteX612" fmla="*/ 1425393 w 7467600"/>
              <a:gd name="connsiteY612" fmla="*/ 2589124 h 6858000"/>
              <a:gd name="connsiteX613" fmla="*/ 1424001 w 7467600"/>
              <a:gd name="connsiteY613" fmla="*/ 2597541 h 6858000"/>
              <a:gd name="connsiteX614" fmla="*/ 2152729 w 7467600"/>
              <a:gd name="connsiteY614" fmla="*/ 2864487 h 6858000"/>
              <a:gd name="connsiteX615" fmla="*/ 2020609 w 7467600"/>
              <a:gd name="connsiteY615" fmla="*/ 2539671 h 6858000"/>
              <a:gd name="connsiteX616" fmla="*/ 2018920 w 7467600"/>
              <a:gd name="connsiteY616" fmla="*/ 2536309 h 6858000"/>
              <a:gd name="connsiteX617" fmla="*/ 1342441 w 7467600"/>
              <a:gd name="connsiteY617" fmla="*/ 1173017 h 6858000"/>
              <a:gd name="connsiteX618" fmla="*/ 1367925 w 7467600"/>
              <a:gd name="connsiteY618" fmla="*/ 1135648 h 6858000"/>
              <a:gd name="connsiteX619" fmla="*/ 1771401 w 7467600"/>
              <a:gd name="connsiteY619" fmla="*/ 1806673 h 6858000"/>
              <a:gd name="connsiteX620" fmla="*/ 1972385 w 7467600"/>
              <a:gd name="connsiteY620" fmla="*/ 2198735 h 6858000"/>
              <a:gd name="connsiteX621" fmla="*/ 2040892 w 7467600"/>
              <a:gd name="connsiteY621" fmla="*/ 2405205 h 6858000"/>
              <a:gd name="connsiteX622" fmla="*/ 2131689 w 7467600"/>
              <a:gd name="connsiteY622" fmla="*/ 1936926 h 6858000"/>
              <a:gd name="connsiteX623" fmla="*/ 2454820 w 7467600"/>
              <a:gd name="connsiteY623" fmla="*/ 1248808 h 6858000"/>
              <a:gd name="connsiteX624" fmla="*/ 2492512 w 7467600"/>
              <a:gd name="connsiteY624" fmla="*/ 1302920 h 6858000"/>
              <a:gd name="connsiteX625" fmla="*/ 2081216 w 7467600"/>
              <a:gd name="connsiteY625" fmla="*/ 2527513 h 6858000"/>
              <a:gd name="connsiteX626" fmla="*/ 2081211 w 7467600"/>
              <a:gd name="connsiteY626" fmla="*/ 2528916 h 6858000"/>
              <a:gd name="connsiteX627" fmla="*/ 2199067 w 7467600"/>
              <a:gd name="connsiteY627" fmla="*/ 2884061 h 6858000"/>
              <a:gd name="connsiteX628" fmla="*/ 3192586 w 7467600"/>
              <a:gd name="connsiteY628" fmla="*/ 3411496 h 6858000"/>
              <a:gd name="connsiteX629" fmla="*/ 3182620 w 7467600"/>
              <a:gd name="connsiteY629" fmla="*/ 3483279 h 6858000"/>
              <a:gd name="connsiteX630" fmla="*/ 2435119 w 7467600"/>
              <a:gd name="connsiteY630" fmla="*/ 3080173 h 6858000"/>
              <a:gd name="connsiteX631" fmla="*/ 2410152 w 7467600"/>
              <a:gd name="connsiteY631" fmla="*/ 3063751 h 6858000"/>
              <a:gd name="connsiteX632" fmla="*/ 2408099 w 7467600"/>
              <a:gd name="connsiteY632" fmla="*/ 3064403 h 6858000"/>
              <a:gd name="connsiteX633" fmla="*/ 2407218 w 7467600"/>
              <a:gd name="connsiteY633" fmla="*/ 3070324 h 6858000"/>
              <a:gd name="connsiteX634" fmla="*/ 2380138 w 7467600"/>
              <a:gd name="connsiteY634" fmla="*/ 3099341 h 6858000"/>
              <a:gd name="connsiteX635" fmla="*/ 1765923 w 7467600"/>
              <a:gd name="connsiteY635" fmla="*/ 3581043 h 6858000"/>
              <a:gd name="connsiteX636" fmla="*/ 1702258 w 7467600"/>
              <a:gd name="connsiteY636" fmla="*/ 3612286 h 6858000"/>
              <a:gd name="connsiteX637" fmla="*/ 1538370 w 7467600"/>
              <a:gd name="connsiteY637" fmla="*/ 3811804 h 6858000"/>
              <a:gd name="connsiteX638" fmla="*/ 542867 w 7467600"/>
              <a:gd name="connsiteY638" fmla="*/ 4944092 h 6858000"/>
              <a:gd name="connsiteX639" fmla="*/ 515800 w 7467600"/>
              <a:gd name="connsiteY639" fmla="*/ 4862180 h 6858000"/>
              <a:gd name="connsiteX640" fmla="*/ 909145 w 7467600"/>
              <a:gd name="connsiteY640" fmla="*/ 4199225 h 6858000"/>
              <a:gd name="connsiteX641" fmla="*/ 1214067 w 7467600"/>
              <a:gd name="connsiteY641" fmla="*/ 3908561 h 6858000"/>
              <a:gd name="connsiteX642" fmla="*/ 640967 w 7467600"/>
              <a:gd name="connsiteY642" fmla="*/ 4105601 h 6858000"/>
              <a:gd name="connsiteX643" fmla="*/ 112563 w 7467600"/>
              <a:gd name="connsiteY643" fmla="*/ 4396952 h 6858000"/>
              <a:gd name="connsiteX644" fmla="*/ 0 w 7467600"/>
              <a:gd name="connsiteY644" fmla="*/ 4466006 h 6858000"/>
              <a:gd name="connsiteX645" fmla="*/ 0 w 7467600"/>
              <a:gd name="connsiteY645" fmla="*/ 4233763 h 6858000"/>
              <a:gd name="connsiteX646" fmla="*/ 36881 w 7467600"/>
              <a:gd name="connsiteY646" fmla="*/ 4200118 h 6858000"/>
              <a:gd name="connsiteX647" fmla="*/ 910534 w 7467600"/>
              <a:gd name="connsiteY647" fmla="*/ 3629753 h 6858000"/>
              <a:gd name="connsiteX648" fmla="*/ 1578717 w 7467600"/>
              <a:gd name="connsiteY648" fmla="*/ 3575982 h 6858000"/>
              <a:gd name="connsiteX649" fmla="*/ 2338780 w 7467600"/>
              <a:gd name="connsiteY649" fmla="*/ 3033725 h 6858000"/>
              <a:gd name="connsiteX650" fmla="*/ 1807991 w 7467600"/>
              <a:gd name="connsiteY650" fmla="*/ 2807184 h 6858000"/>
              <a:gd name="connsiteX651" fmla="*/ 1416358 w 7467600"/>
              <a:gd name="connsiteY651" fmla="*/ 3112571 h 6858000"/>
              <a:gd name="connsiteX652" fmla="*/ 939066 w 7467600"/>
              <a:gd name="connsiteY652" fmla="*/ 3378798 h 6858000"/>
              <a:gd name="connsiteX653" fmla="*/ 115099 w 7467600"/>
              <a:gd name="connsiteY653" fmla="*/ 3607650 h 6858000"/>
              <a:gd name="connsiteX654" fmla="*/ 97284 w 7467600"/>
              <a:gd name="connsiteY654" fmla="*/ 3520393 h 6858000"/>
              <a:gd name="connsiteX655" fmla="*/ 922050 w 7467600"/>
              <a:gd name="connsiteY655" fmla="*/ 3074867 h 6858000"/>
              <a:gd name="connsiteX656" fmla="*/ 1405265 w 7467600"/>
              <a:gd name="connsiteY656" fmla="*/ 3016319 h 6858000"/>
              <a:gd name="connsiteX657" fmla="*/ 1407512 w 7467600"/>
              <a:gd name="connsiteY657" fmla="*/ 3018001 h 6858000"/>
              <a:gd name="connsiteX658" fmla="*/ 1726266 w 7467600"/>
              <a:gd name="connsiteY658" fmla="*/ 2777274 h 6858000"/>
              <a:gd name="connsiteX659" fmla="*/ 625390 w 7467600"/>
              <a:gd name="connsiteY659" fmla="*/ 2514541 h 6858000"/>
              <a:gd name="connsiteX660" fmla="*/ 619799 w 7467600"/>
              <a:gd name="connsiteY660" fmla="*/ 2527180 h 6858000"/>
              <a:gd name="connsiteX661" fmla="*/ 310030 w 7467600"/>
              <a:gd name="connsiteY661" fmla="*/ 2771818 h 6858000"/>
              <a:gd name="connsiteX662" fmla="*/ 173877 w 7467600"/>
              <a:gd name="connsiteY662" fmla="*/ 2937056 h 6858000"/>
              <a:gd name="connsiteX663" fmla="*/ 77889 w 7467600"/>
              <a:gd name="connsiteY663" fmla="*/ 3138440 h 6858000"/>
              <a:gd name="connsiteX664" fmla="*/ 0 w 7467600"/>
              <a:gd name="connsiteY664" fmla="*/ 3271395 h 6858000"/>
              <a:gd name="connsiteX665" fmla="*/ 0 w 7467600"/>
              <a:gd name="connsiteY665" fmla="*/ 3153002 h 6858000"/>
              <a:gd name="connsiteX666" fmla="*/ 2386 w 7467600"/>
              <a:gd name="connsiteY666" fmla="*/ 3149203 h 6858000"/>
              <a:gd name="connsiteX667" fmla="*/ 89753 w 7467600"/>
              <a:gd name="connsiteY667" fmla="*/ 2987702 h 6858000"/>
              <a:gd name="connsiteX668" fmla="*/ 76869 w 7467600"/>
              <a:gd name="connsiteY668" fmla="*/ 3005404 h 6858000"/>
              <a:gd name="connsiteX669" fmla="*/ 32049 w 7467600"/>
              <a:gd name="connsiteY669" fmla="*/ 3065814 h 6858000"/>
              <a:gd name="connsiteX670" fmla="*/ 0 w 7467600"/>
              <a:gd name="connsiteY670" fmla="*/ 3108744 h 6858000"/>
              <a:gd name="connsiteX671" fmla="*/ 0 w 7467600"/>
              <a:gd name="connsiteY671" fmla="*/ 3058059 h 6858000"/>
              <a:gd name="connsiteX672" fmla="*/ 7610 w 7467600"/>
              <a:gd name="connsiteY672" fmla="*/ 3047889 h 6858000"/>
              <a:gd name="connsiteX673" fmla="*/ 52419 w 7467600"/>
              <a:gd name="connsiteY673" fmla="*/ 2987479 h 6858000"/>
              <a:gd name="connsiteX674" fmla="*/ 59142 w 7467600"/>
              <a:gd name="connsiteY674" fmla="*/ 2978488 h 6858000"/>
              <a:gd name="connsiteX675" fmla="*/ 0 w 7467600"/>
              <a:gd name="connsiteY675" fmla="*/ 3015334 h 6858000"/>
              <a:gd name="connsiteX676" fmla="*/ 0 w 7467600"/>
              <a:gd name="connsiteY676" fmla="*/ 2914286 h 6858000"/>
              <a:gd name="connsiteX677" fmla="*/ 36383 w 7467600"/>
              <a:gd name="connsiteY677" fmla="*/ 2901128 h 6858000"/>
              <a:gd name="connsiteX678" fmla="*/ 156329 w 7467600"/>
              <a:gd name="connsiteY678" fmla="*/ 2840533 h 6858000"/>
              <a:gd name="connsiteX679" fmla="*/ 358355 w 7467600"/>
              <a:gd name="connsiteY679" fmla="*/ 2620471 h 6858000"/>
              <a:gd name="connsiteX680" fmla="*/ 510577 w 7467600"/>
              <a:gd name="connsiteY680" fmla="*/ 2501244 h 6858000"/>
              <a:gd name="connsiteX681" fmla="*/ 211967 w 7467600"/>
              <a:gd name="connsiteY681" fmla="*/ 2479171 h 6858000"/>
              <a:gd name="connsiteX682" fmla="*/ 0 w 7467600"/>
              <a:gd name="connsiteY682" fmla="*/ 2476398 h 6858000"/>
              <a:gd name="connsiteX683" fmla="*/ 0 w 7467600"/>
              <a:gd name="connsiteY683" fmla="*/ 2389189 h 6858000"/>
              <a:gd name="connsiteX684" fmla="*/ 103062 w 7467600"/>
              <a:gd name="connsiteY684" fmla="*/ 2389518 h 6858000"/>
              <a:gd name="connsiteX685" fmla="*/ 510734 w 7467600"/>
              <a:gd name="connsiteY685" fmla="*/ 2416201 h 6858000"/>
              <a:gd name="connsiteX686" fmla="*/ 279257 w 7467600"/>
              <a:gd name="connsiteY686" fmla="*/ 2092102 h 6858000"/>
              <a:gd name="connsiteX687" fmla="*/ 65265 w 7467600"/>
              <a:gd name="connsiteY687" fmla="*/ 2006049 h 6858000"/>
              <a:gd name="connsiteX688" fmla="*/ 0 w 7467600"/>
              <a:gd name="connsiteY688" fmla="*/ 1982532 h 6858000"/>
              <a:gd name="connsiteX689" fmla="*/ 0 w 7467600"/>
              <a:gd name="connsiteY689" fmla="*/ 1912789 h 6858000"/>
              <a:gd name="connsiteX690" fmla="*/ 97460 w 7467600"/>
              <a:gd name="connsiteY690" fmla="*/ 1953725 h 6858000"/>
              <a:gd name="connsiteX691" fmla="*/ 221272 w 7467600"/>
              <a:gd name="connsiteY691" fmla="*/ 1980766 h 6858000"/>
              <a:gd name="connsiteX692" fmla="*/ 116765 w 7467600"/>
              <a:gd name="connsiteY692" fmla="*/ 1911033 h 6858000"/>
              <a:gd name="connsiteX693" fmla="*/ 16405 w 7467600"/>
              <a:gd name="connsiteY693" fmla="*/ 1803412 h 6858000"/>
              <a:gd name="connsiteX694" fmla="*/ 0 w 7467600"/>
              <a:gd name="connsiteY694" fmla="*/ 1784777 h 6858000"/>
              <a:gd name="connsiteX695" fmla="*/ 0 w 7467600"/>
              <a:gd name="connsiteY695" fmla="*/ 1740082 h 6858000"/>
              <a:gd name="connsiteX696" fmla="*/ 39394 w 7467600"/>
              <a:gd name="connsiteY696" fmla="*/ 1784856 h 6858000"/>
              <a:gd name="connsiteX697" fmla="*/ 135813 w 7467600"/>
              <a:gd name="connsiteY697" fmla="*/ 1888838 h 6858000"/>
              <a:gd name="connsiteX698" fmla="*/ 242575 w 7467600"/>
              <a:gd name="connsiteY698" fmla="*/ 1958841 h 6858000"/>
              <a:gd name="connsiteX699" fmla="*/ 82197 w 7467600"/>
              <a:gd name="connsiteY699" fmla="*/ 1754826 h 6858000"/>
              <a:gd name="connsiteX700" fmla="*/ 0 w 7467600"/>
              <a:gd name="connsiteY700" fmla="*/ 1679650 h 6858000"/>
              <a:gd name="connsiteX701" fmla="*/ 0 w 7467600"/>
              <a:gd name="connsiteY701" fmla="*/ 1602463 h 6858000"/>
              <a:gd name="connsiteX702" fmla="*/ 84689 w 7467600"/>
              <a:gd name="connsiteY702" fmla="*/ 1677442 h 6858000"/>
              <a:gd name="connsiteX703" fmla="*/ 298437 w 7467600"/>
              <a:gd name="connsiteY703" fmla="*/ 1968019 h 6858000"/>
              <a:gd name="connsiteX704" fmla="*/ 227269 w 7467600"/>
              <a:gd name="connsiteY704" fmla="*/ 1114064 h 6858000"/>
              <a:gd name="connsiteX705" fmla="*/ 248003 w 7467600"/>
              <a:gd name="connsiteY705" fmla="*/ 1089613 h 6858000"/>
              <a:gd name="connsiteX706" fmla="*/ 427020 w 7467600"/>
              <a:gd name="connsiteY706" fmla="*/ 1619803 h 6858000"/>
              <a:gd name="connsiteX707" fmla="*/ 340345 w 7467600"/>
              <a:gd name="connsiteY707" fmla="*/ 2027739 h 6858000"/>
              <a:gd name="connsiteX708" fmla="*/ 360865 w 7467600"/>
              <a:gd name="connsiteY708" fmla="*/ 2044827 h 6858000"/>
              <a:gd name="connsiteX709" fmla="*/ 560414 w 7467600"/>
              <a:gd name="connsiteY709" fmla="*/ 2421457 h 6858000"/>
              <a:gd name="connsiteX710" fmla="*/ 1359703 w 7467600"/>
              <a:gd name="connsiteY710" fmla="*/ 2578554 h 6858000"/>
              <a:gd name="connsiteX711" fmla="*/ 1359422 w 7467600"/>
              <a:gd name="connsiteY711" fmla="*/ 2577994 h 6858000"/>
              <a:gd name="connsiteX712" fmla="*/ 828701 w 7467600"/>
              <a:gd name="connsiteY712" fmla="*/ 1839520 h 6858000"/>
              <a:gd name="connsiteX713" fmla="*/ 494427 w 7467600"/>
              <a:gd name="connsiteY713" fmla="*/ 1092333 h 6858000"/>
              <a:gd name="connsiteX714" fmla="*/ 506322 w 7467600"/>
              <a:gd name="connsiteY714" fmla="*/ 1020997 h 6858000"/>
              <a:gd name="connsiteX715" fmla="*/ 4570198 w 7467600"/>
              <a:gd name="connsiteY715" fmla="*/ 978081 h 6858000"/>
              <a:gd name="connsiteX716" fmla="*/ 4523691 w 7467600"/>
              <a:gd name="connsiteY716" fmla="*/ 1127776 h 6858000"/>
              <a:gd name="connsiteX717" fmla="*/ 4509875 w 7467600"/>
              <a:gd name="connsiteY717" fmla="*/ 1167552 h 6858000"/>
              <a:gd name="connsiteX718" fmla="*/ 4478168 w 7467600"/>
              <a:gd name="connsiteY718" fmla="*/ 1260735 h 6858000"/>
              <a:gd name="connsiteX719" fmla="*/ 4409309 w 7467600"/>
              <a:gd name="connsiteY719" fmla="*/ 1666996 h 6858000"/>
              <a:gd name="connsiteX720" fmla="*/ 4370031 w 7467600"/>
              <a:gd name="connsiteY720" fmla="*/ 1955666 h 6858000"/>
              <a:gd name="connsiteX721" fmla="*/ 4570198 w 7467600"/>
              <a:gd name="connsiteY721" fmla="*/ 978081 h 6858000"/>
              <a:gd name="connsiteX722" fmla="*/ 4557898 w 7467600"/>
              <a:gd name="connsiteY722" fmla="*/ 900011 h 6858000"/>
              <a:gd name="connsiteX723" fmla="*/ 4344840 w 7467600"/>
              <a:gd name="connsiteY723" fmla="*/ 1922038 h 6858000"/>
              <a:gd name="connsiteX724" fmla="*/ 4378710 w 7467600"/>
              <a:gd name="connsiteY724" fmla="*/ 1665516 h 6858000"/>
              <a:gd name="connsiteX725" fmla="*/ 4448798 w 7467600"/>
              <a:gd name="connsiteY725" fmla="*/ 1253024 h 6858000"/>
              <a:gd name="connsiteX726" fmla="*/ 4480315 w 7467600"/>
              <a:gd name="connsiteY726" fmla="*/ 1158454 h 6858000"/>
              <a:gd name="connsiteX727" fmla="*/ 4494133 w 7467600"/>
              <a:gd name="connsiteY727" fmla="*/ 1118676 h 6858000"/>
              <a:gd name="connsiteX728" fmla="*/ 4557898 w 7467600"/>
              <a:gd name="connsiteY728" fmla="*/ 900011 h 6858000"/>
              <a:gd name="connsiteX729" fmla="*/ 5870151 w 7467600"/>
              <a:gd name="connsiteY729" fmla="*/ 898890 h 6858000"/>
              <a:gd name="connsiteX730" fmla="*/ 5861335 w 7467600"/>
              <a:gd name="connsiteY730" fmla="*/ 899177 h 6858000"/>
              <a:gd name="connsiteX731" fmla="*/ 5843702 w 7467600"/>
              <a:gd name="connsiteY731" fmla="*/ 899748 h 6858000"/>
              <a:gd name="connsiteX732" fmla="*/ 5651107 w 7467600"/>
              <a:gd name="connsiteY732" fmla="*/ 920306 h 6858000"/>
              <a:gd name="connsiteX733" fmla="*/ 5459407 w 7467600"/>
              <a:gd name="connsiteY733" fmla="*/ 940975 h 6858000"/>
              <a:gd name="connsiteX734" fmla="*/ 5374846 w 7467600"/>
              <a:gd name="connsiteY734" fmla="*/ 941988 h 6858000"/>
              <a:gd name="connsiteX735" fmla="*/ 5256105 w 7467600"/>
              <a:gd name="connsiteY735" fmla="*/ 945632 h 6858000"/>
              <a:gd name="connsiteX736" fmla="*/ 5107071 w 7467600"/>
              <a:gd name="connsiteY736" fmla="*/ 969720 h 6858000"/>
              <a:gd name="connsiteX737" fmla="*/ 4998681 w 7467600"/>
              <a:gd name="connsiteY737" fmla="*/ 988771 h 6858000"/>
              <a:gd name="connsiteX738" fmla="*/ 5870151 w 7467600"/>
              <a:gd name="connsiteY738" fmla="*/ 898890 h 6858000"/>
              <a:gd name="connsiteX739" fmla="*/ 5504425 w 7467600"/>
              <a:gd name="connsiteY739" fmla="*/ 848067 h 6858000"/>
              <a:gd name="connsiteX740" fmla="*/ 4968849 w 7467600"/>
              <a:gd name="connsiteY740" fmla="*/ 962318 h 6858000"/>
              <a:gd name="connsiteX741" fmla="*/ 5104039 w 7467600"/>
              <a:gd name="connsiteY741" fmla="*/ 940634 h 6858000"/>
              <a:gd name="connsiteX742" fmla="*/ 5256311 w 7467600"/>
              <a:gd name="connsiteY742" fmla="*/ 916490 h 6858000"/>
              <a:gd name="connsiteX743" fmla="*/ 5377381 w 7467600"/>
              <a:gd name="connsiteY743" fmla="*/ 912671 h 6858000"/>
              <a:gd name="connsiteX744" fmla="*/ 5460148 w 7467600"/>
              <a:gd name="connsiteY744" fmla="*/ 911442 h 6858000"/>
              <a:gd name="connsiteX745" fmla="*/ 5648971 w 7467600"/>
              <a:gd name="connsiteY745" fmla="*/ 891331 h 6858000"/>
              <a:gd name="connsiteX746" fmla="*/ 5844807 w 7467600"/>
              <a:gd name="connsiteY746" fmla="*/ 870718 h 6858000"/>
              <a:gd name="connsiteX747" fmla="*/ 5862975 w 7467600"/>
              <a:gd name="connsiteY747" fmla="*/ 869756 h 6858000"/>
              <a:gd name="connsiteX748" fmla="*/ 5920887 w 7467600"/>
              <a:gd name="connsiteY748" fmla="*/ 865929 h 6858000"/>
              <a:gd name="connsiteX749" fmla="*/ 5504425 w 7467600"/>
              <a:gd name="connsiteY749" fmla="*/ 848067 h 6858000"/>
              <a:gd name="connsiteX750" fmla="*/ 3607114 w 7467600"/>
              <a:gd name="connsiteY750" fmla="*/ 467441 h 6858000"/>
              <a:gd name="connsiteX751" fmla="*/ 3296242 w 7467600"/>
              <a:gd name="connsiteY751" fmla="*/ 807991 h 6858000"/>
              <a:gd name="connsiteX752" fmla="*/ 3174674 w 7467600"/>
              <a:gd name="connsiteY752" fmla="*/ 919759 h 6858000"/>
              <a:gd name="connsiteX753" fmla="*/ 3042978 w 7467600"/>
              <a:gd name="connsiteY753" fmla="*/ 1054894 h 6858000"/>
              <a:gd name="connsiteX754" fmla="*/ 2968914 w 7467600"/>
              <a:gd name="connsiteY754" fmla="*/ 1133756 h 6858000"/>
              <a:gd name="connsiteX755" fmla="*/ 3103823 w 7467600"/>
              <a:gd name="connsiteY755" fmla="*/ 1026814 h 6858000"/>
              <a:gd name="connsiteX756" fmla="*/ 3607114 w 7467600"/>
              <a:gd name="connsiteY756" fmla="*/ 467441 h 6858000"/>
              <a:gd name="connsiteX757" fmla="*/ 3744487 w 7467600"/>
              <a:gd name="connsiteY757" fmla="*/ 383136 h 6858000"/>
              <a:gd name="connsiteX758" fmla="*/ 3970213 w 7467600"/>
              <a:gd name="connsiteY758" fmla="*/ 995559 h 6858000"/>
              <a:gd name="connsiteX759" fmla="*/ 3744487 w 7467600"/>
              <a:gd name="connsiteY759" fmla="*/ 383136 h 6858000"/>
              <a:gd name="connsiteX760" fmla="*/ 3624562 w 7467600"/>
              <a:gd name="connsiteY760" fmla="*/ 367041 h 6858000"/>
              <a:gd name="connsiteX761" fmla="*/ 3489712 w 7467600"/>
              <a:gd name="connsiteY761" fmla="*/ 485386 h 6858000"/>
              <a:gd name="connsiteX762" fmla="*/ 3182994 w 7467600"/>
              <a:gd name="connsiteY762" fmla="*/ 828265 h 6858000"/>
              <a:gd name="connsiteX763" fmla="*/ 2892114 w 7467600"/>
              <a:gd name="connsiteY763" fmla="*/ 1172635 h 6858000"/>
              <a:gd name="connsiteX764" fmla="*/ 3021459 w 7467600"/>
              <a:gd name="connsiteY764" fmla="*/ 1035385 h 6858000"/>
              <a:gd name="connsiteX765" fmla="*/ 3153873 w 7467600"/>
              <a:gd name="connsiteY765" fmla="*/ 898971 h 6858000"/>
              <a:gd name="connsiteX766" fmla="*/ 3276511 w 7467600"/>
              <a:gd name="connsiteY766" fmla="*/ 786423 h 6858000"/>
              <a:gd name="connsiteX767" fmla="*/ 3584154 w 7467600"/>
              <a:gd name="connsiteY767" fmla="*/ 448218 h 6858000"/>
              <a:gd name="connsiteX768" fmla="*/ 3624562 w 7467600"/>
              <a:gd name="connsiteY768" fmla="*/ 367041 h 6858000"/>
              <a:gd name="connsiteX769" fmla="*/ 3766672 w 7467600"/>
              <a:gd name="connsiteY769" fmla="*/ 359429 h 6858000"/>
              <a:gd name="connsiteX770" fmla="*/ 3996338 w 7467600"/>
              <a:gd name="connsiteY770" fmla="*/ 968237 h 6858000"/>
              <a:gd name="connsiteX771" fmla="*/ 3766672 w 7467600"/>
              <a:gd name="connsiteY771" fmla="*/ 359429 h 6858000"/>
              <a:gd name="connsiteX772" fmla="*/ 5805386 w 7467600"/>
              <a:gd name="connsiteY772" fmla="*/ 239240 h 6858000"/>
              <a:gd name="connsiteX773" fmla="*/ 5736947 w 7467600"/>
              <a:gd name="connsiteY773" fmla="*/ 261367 h 6858000"/>
              <a:gd name="connsiteX774" fmla="*/ 5427012 w 7467600"/>
              <a:gd name="connsiteY774" fmla="*/ 311272 h 6858000"/>
              <a:gd name="connsiteX775" fmla="*/ 5147818 w 7467600"/>
              <a:gd name="connsiteY775" fmla="*/ 322112 h 6858000"/>
              <a:gd name="connsiteX776" fmla="*/ 5060854 w 7467600"/>
              <a:gd name="connsiteY776" fmla="*/ 311882 h 6858000"/>
              <a:gd name="connsiteX777" fmla="*/ 4945989 w 7467600"/>
              <a:gd name="connsiteY777" fmla="*/ 300516 h 6858000"/>
              <a:gd name="connsiteX778" fmla="*/ 5410479 w 7467600"/>
              <a:gd name="connsiteY778" fmla="*/ 348434 h 6858000"/>
              <a:gd name="connsiteX779" fmla="*/ 5805386 w 7467600"/>
              <a:gd name="connsiteY779" fmla="*/ 239240 h 6858000"/>
              <a:gd name="connsiteX780" fmla="*/ 5905192 w 7467600"/>
              <a:gd name="connsiteY780" fmla="*/ 163079 h 6858000"/>
              <a:gd name="connsiteX781" fmla="*/ 5865655 w 7467600"/>
              <a:gd name="connsiteY781" fmla="*/ 171901 h 6858000"/>
              <a:gd name="connsiteX782" fmla="*/ 5259740 w 7467600"/>
              <a:gd name="connsiteY782" fmla="*/ 257013 h 6858000"/>
              <a:gd name="connsiteX783" fmla="*/ 5208466 w 7467600"/>
              <a:gd name="connsiteY783" fmla="*/ 257550 h 6858000"/>
              <a:gd name="connsiteX784" fmla="*/ 4980204 w 7467600"/>
              <a:gd name="connsiteY784" fmla="*/ 271903 h 6858000"/>
              <a:gd name="connsiteX785" fmla="*/ 5068068 w 7467600"/>
              <a:gd name="connsiteY785" fmla="*/ 282244 h 6858000"/>
              <a:gd name="connsiteX786" fmla="*/ 5153231 w 7467600"/>
              <a:gd name="connsiteY786" fmla="*/ 292240 h 6858000"/>
              <a:gd name="connsiteX787" fmla="*/ 5426491 w 7467600"/>
              <a:gd name="connsiteY787" fmla="*/ 281128 h 6858000"/>
              <a:gd name="connsiteX788" fmla="*/ 5731212 w 7467600"/>
              <a:gd name="connsiteY788" fmla="*/ 231951 h 6858000"/>
              <a:gd name="connsiteX789" fmla="*/ 5905192 w 7467600"/>
              <a:gd name="connsiteY789" fmla="*/ 163079 h 6858000"/>
              <a:gd name="connsiteX790" fmla="*/ 5944437 w 7467600"/>
              <a:gd name="connsiteY790" fmla="*/ 113829 h 6858000"/>
              <a:gd name="connsiteX791" fmla="*/ 5825032 w 7467600"/>
              <a:gd name="connsiteY791" fmla="*/ 146405 h 6858000"/>
              <a:gd name="connsiteX792" fmla="*/ 4955599 w 7467600"/>
              <a:gd name="connsiteY792" fmla="*/ 247008 h 6858000"/>
              <a:gd name="connsiteX793" fmla="*/ 5210104 w 7467600"/>
              <a:gd name="connsiteY793" fmla="*/ 228123 h 6858000"/>
              <a:gd name="connsiteX794" fmla="*/ 5261015 w 7467600"/>
              <a:gd name="connsiteY794" fmla="*/ 227087 h 6858000"/>
              <a:gd name="connsiteX795" fmla="*/ 5861181 w 7467600"/>
              <a:gd name="connsiteY795" fmla="*/ 143093 h 6858000"/>
              <a:gd name="connsiteX796" fmla="*/ 5961252 w 7467600"/>
              <a:gd name="connsiteY796" fmla="*/ 114820 h 6858000"/>
              <a:gd name="connsiteX797" fmla="*/ 5944437 w 7467600"/>
              <a:gd name="connsiteY797" fmla="*/ 113829 h 6858000"/>
              <a:gd name="connsiteX798" fmla="*/ 3882765 w 7467600"/>
              <a:gd name="connsiteY798" fmla="*/ 0 h 6858000"/>
              <a:gd name="connsiteX799" fmla="*/ 3995099 w 7467600"/>
              <a:gd name="connsiteY799" fmla="*/ 0 h 6858000"/>
              <a:gd name="connsiteX800" fmla="*/ 4163818 w 7467600"/>
              <a:gd name="connsiteY800" fmla="*/ 234104 h 6858000"/>
              <a:gd name="connsiteX801" fmla="*/ 4172099 w 7467600"/>
              <a:gd name="connsiteY801" fmla="*/ 234207 h 6858000"/>
              <a:gd name="connsiteX802" fmla="*/ 4784282 w 7467600"/>
              <a:gd name="connsiteY802" fmla="*/ 276561 h 6858000"/>
              <a:gd name="connsiteX803" fmla="*/ 4801687 w 7467600"/>
              <a:gd name="connsiteY803" fmla="*/ 267764 h 6858000"/>
              <a:gd name="connsiteX804" fmla="*/ 6082788 w 7467600"/>
              <a:gd name="connsiteY804" fmla="*/ 64119 h 6858000"/>
              <a:gd name="connsiteX805" fmla="*/ 6099442 w 7467600"/>
              <a:gd name="connsiteY805" fmla="*/ 82568 h 6858000"/>
              <a:gd name="connsiteX806" fmla="*/ 4804137 w 7467600"/>
              <a:gd name="connsiteY806" fmla="*/ 320931 h 6858000"/>
              <a:gd name="connsiteX807" fmla="*/ 4227047 w 7467600"/>
              <a:gd name="connsiteY807" fmla="*/ 313415 h 6858000"/>
              <a:gd name="connsiteX808" fmla="*/ 4346041 w 7467600"/>
              <a:gd name="connsiteY808" fmla="*/ 456086 h 6858000"/>
              <a:gd name="connsiteX809" fmla="*/ 4870967 w 7467600"/>
              <a:gd name="connsiteY809" fmla="*/ 963061 h 6858000"/>
              <a:gd name="connsiteX810" fmla="*/ 4889647 w 7467600"/>
              <a:gd name="connsiteY810" fmla="*/ 957147 h 6858000"/>
              <a:gd name="connsiteX811" fmla="*/ 5422504 w 7467600"/>
              <a:gd name="connsiteY811" fmla="*/ 805191 h 6858000"/>
              <a:gd name="connsiteX812" fmla="*/ 6087656 w 7467600"/>
              <a:gd name="connsiteY812" fmla="*/ 826703 h 6858000"/>
              <a:gd name="connsiteX813" fmla="*/ 6058717 w 7467600"/>
              <a:gd name="connsiteY813" fmla="*/ 865992 h 6858000"/>
              <a:gd name="connsiteX814" fmla="*/ 4974153 w 7467600"/>
              <a:gd name="connsiteY814" fmla="*/ 1045456 h 6858000"/>
              <a:gd name="connsiteX815" fmla="*/ 5627835 w 7467600"/>
              <a:gd name="connsiteY815" fmla="*/ 1472077 h 6858000"/>
              <a:gd name="connsiteX816" fmla="*/ 5629817 w 7467600"/>
              <a:gd name="connsiteY816" fmla="*/ 1471412 h 6858000"/>
              <a:gd name="connsiteX817" fmla="*/ 5634124 w 7467600"/>
              <a:gd name="connsiteY817" fmla="*/ 1470572 h 6858000"/>
              <a:gd name="connsiteX818" fmla="*/ 5755832 w 7467600"/>
              <a:gd name="connsiteY818" fmla="*/ 1383886 h 6858000"/>
              <a:gd name="connsiteX819" fmla="*/ 6014186 w 7467600"/>
              <a:gd name="connsiteY819" fmla="*/ 1279799 h 6858000"/>
              <a:gd name="connsiteX820" fmla="*/ 6901619 w 7467600"/>
              <a:gd name="connsiteY820" fmla="*/ 1047874 h 6858000"/>
              <a:gd name="connsiteX821" fmla="*/ 6931566 w 7467600"/>
              <a:gd name="connsiteY821" fmla="*/ 1062034 h 6858000"/>
              <a:gd name="connsiteX822" fmla="*/ 5790982 w 7467600"/>
              <a:gd name="connsiteY822" fmla="*/ 1561380 h 6858000"/>
              <a:gd name="connsiteX823" fmla="*/ 6188971 w 7467600"/>
              <a:gd name="connsiteY823" fmla="*/ 1755168 h 6858000"/>
              <a:gd name="connsiteX824" fmla="*/ 6202446 w 7467600"/>
              <a:gd name="connsiteY824" fmla="*/ 1752268 h 6858000"/>
              <a:gd name="connsiteX825" fmla="*/ 7179560 w 7467600"/>
              <a:gd name="connsiteY825" fmla="*/ 1467551 h 6858000"/>
              <a:gd name="connsiteX826" fmla="*/ 7158730 w 7467600"/>
              <a:gd name="connsiteY826" fmla="*/ 1507835 h 6858000"/>
              <a:gd name="connsiteX827" fmla="*/ 6326959 w 7467600"/>
              <a:gd name="connsiteY827" fmla="*/ 1817686 h 6858000"/>
              <a:gd name="connsiteX828" fmla="*/ 6537433 w 7467600"/>
              <a:gd name="connsiteY828" fmla="*/ 1907790 h 6858000"/>
              <a:gd name="connsiteX829" fmla="*/ 6550221 w 7467600"/>
              <a:gd name="connsiteY829" fmla="*/ 1910729 h 6858000"/>
              <a:gd name="connsiteX830" fmla="*/ 6964438 w 7467600"/>
              <a:gd name="connsiteY830" fmla="*/ 2209505 h 6858000"/>
              <a:gd name="connsiteX831" fmla="*/ 7367862 w 7467600"/>
              <a:gd name="connsiteY831" fmla="*/ 2806833 h 6858000"/>
              <a:gd name="connsiteX832" fmla="*/ 7364329 w 7467600"/>
              <a:gd name="connsiteY832" fmla="*/ 2826907 h 6858000"/>
              <a:gd name="connsiteX833" fmla="*/ 7290545 w 7467600"/>
              <a:gd name="connsiteY833" fmla="*/ 2850663 h 6858000"/>
              <a:gd name="connsiteX834" fmla="*/ 6472036 w 7467600"/>
              <a:gd name="connsiteY834" fmla="*/ 1959003 h 6858000"/>
              <a:gd name="connsiteX835" fmla="*/ 5792897 w 7467600"/>
              <a:gd name="connsiteY835" fmla="*/ 1647747 h 6858000"/>
              <a:gd name="connsiteX836" fmla="*/ 5842751 w 7467600"/>
              <a:gd name="connsiteY836" fmla="*/ 1816112 h 6858000"/>
              <a:gd name="connsiteX837" fmla="*/ 5847424 w 7467600"/>
              <a:gd name="connsiteY837" fmla="*/ 1815776 h 6858000"/>
              <a:gd name="connsiteX838" fmla="*/ 6399821 w 7467600"/>
              <a:gd name="connsiteY838" fmla="*/ 2344799 h 6858000"/>
              <a:gd name="connsiteX839" fmla="*/ 6323232 w 7467600"/>
              <a:gd name="connsiteY839" fmla="*/ 2389634 h 6858000"/>
              <a:gd name="connsiteX840" fmla="*/ 5942958 w 7467600"/>
              <a:gd name="connsiteY840" fmla="*/ 2077708 h 6858000"/>
              <a:gd name="connsiteX841" fmla="*/ 5921559 w 7467600"/>
              <a:gd name="connsiteY841" fmla="*/ 2378596 h 6858000"/>
              <a:gd name="connsiteX842" fmla="*/ 5817651 w 7467600"/>
              <a:gd name="connsiteY842" fmla="*/ 3023919 h 6858000"/>
              <a:gd name="connsiteX843" fmla="*/ 5729634 w 7467600"/>
              <a:gd name="connsiteY843" fmla="*/ 3051849 h 6858000"/>
              <a:gd name="connsiteX844" fmla="*/ 5611018 w 7467600"/>
              <a:gd name="connsiteY844" fmla="*/ 2316769 h 6858000"/>
              <a:gd name="connsiteX845" fmla="*/ 5687608 w 7467600"/>
              <a:gd name="connsiteY845" fmla="*/ 2039972 h 6858000"/>
              <a:gd name="connsiteX846" fmla="*/ 5657554 w 7467600"/>
              <a:gd name="connsiteY846" fmla="*/ 1576445 h 6858000"/>
              <a:gd name="connsiteX847" fmla="*/ 5150475 w 7467600"/>
              <a:gd name="connsiteY847" fmla="*/ 1274012 h 6858000"/>
              <a:gd name="connsiteX848" fmla="*/ 5349142 w 7467600"/>
              <a:gd name="connsiteY848" fmla="*/ 2204405 h 6858000"/>
              <a:gd name="connsiteX849" fmla="*/ 5262214 w 7467600"/>
              <a:gd name="connsiteY849" fmla="*/ 2233836 h 6858000"/>
              <a:gd name="connsiteX850" fmla="*/ 4981539 w 7467600"/>
              <a:gd name="connsiteY850" fmla="*/ 1542201 h 6858000"/>
              <a:gd name="connsiteX851" fmla="*/ 4958461 w 7467600"/>
              <a:gd name="connsiteY851" fmla="*/ 1136957 h 6858000"/>
              <a:gd name="connsiteX852" fmla="*/ 4655015 w 7467600"/>
              <a:gd name="connsiteY852" fmla="*/ 891426 h 6858000"/>
              <a:gd name="connsiteX853" fmla="*/ 4348002 w 7467600"/>
              <a:gd name="connsiteY853" fmla="*/ 2205895 h 6858000"/>
              <a:gd name="connsiteX854" fmla="*/ 4262250 w 7467600"/>
              <a:gd name="connsiteY854" fmla="*/ 2219972 h 6858000"/>
              <a:gd name="connsiteX855" fmla="*/ 4550611 w 7467600"/>
              <a:gd name="connsiteY855" fmla="*/ 817540 h 6858000"/>
              <a:gd name="connsiteX856" fmla="*/ 4564418 w 7467600"/>
              <a:gd name="connsiteY856" fmla="*/ 808293 h 6858000"/>
              <a:gd name="connsiteX857" fmla="*/ 4266388 w 7467600"/>
              <a:gd name="connsiteY857" fmla="*/ 500083 h 6858000"/>
              <a:gd name="connsiteX858" fmla="*/ 4032842 w 7467600"/>
              <a:gd name="connsiteY858" fmla="*/ 211809 h 6858000"/>
              <a:gd name="connsiteX859" fmla="*/ 3882765 w 7467600"/>
              <a:gd name="connsiteY859" fmla="*/ 0 h 6858000"/>
              <a:gd name="connsiteX860" fmla="*/ 3721337 w 7467600"/>
              <a:gd name="connsiteY860" fmla="*/ 0 h 6858000"/>
              <a:gd name="connsiteX861" fmla="*/ 3797544 w 7467600"/>
              <a:gd name="connsiteY861" fmla="*/ 0 h 6858000"/>
              <a:gd name="connsiteX862" fmla="*/ 3775734 w 7467600"/>
              <a:gd name="connsiteY862" fmla="*/ 95131 h 6858000"/>
              <a:gd name="connsiteX863" fmla="*/ 3724807 w 7467600"/>
              <a:gd name="connsiteY863" fmla="*/ 272257 h 6858000"/>
              <a:gd name="connsiteX864" fmla="*/ 3726844 w 7467600"/>
              <a:gd name="connsiteY864" fmla="*/ 282988 h 6858000"/>
              <a:gd name="connsiteX865" fmla="*/ 3742664 w 7467600"/>
              <a:gd name="connsiteY865" fmla="*/ 279918 h 6858000"/>
              <a:gd name="connsiteX866" fmla="*/ 4103910 w 7467600"/>
              <a:gd name="connsiteY866" fmla="*/ 1161917 h 6858000"/>
              <a:gd name="connsiteX867" fmla="*/ 4020269 w 7467600"/>
              <a:gd name="connsiteY867" fmla="*/ 1200406 h 6858000"/>
              <a:gd name="connsiteX868" fmla="*/ 3674882 w 7467600"/>
              <a:gd name="connsiteY868" fmla="*/ 488524 h 6858000"/>
              <a:gd name="connsiteX869" fmla="*/ 3132682 w 7467600"/>
              <a:gd name="connsiteY869" fmla="*/ 1072284 h 6858000"/>
              <a:gd name="connsiteX870" fmla="*/ 2716346 w 7467600"/>
              <a:gd name="connsiteY870" fmla="*/ 1276376 h 6858000"/>
              <a:gd name="connsiteX871" fmla="*/ 2716772 w 7467600"/>
              <a:gd name="connsiteY871" fmla="*/ 1255462 h 6858000"/>
              <a:gd name="connsiteX872" fmla="*/ 3471096 w 7467600"/>
              <a:gd name="connsiteY872" fmla="*/ 437072 h 6858000"/>
              <a:gd name="connsiteX873" fmla="*/ 3639057 w 7467600"/>
              <a:gd name="connsiteY873" fmla="*/ 286334 h 6858000"/>
              <a:gd name="connsiteX874" fmla="*/ 3640309 w 7467600"/>
              <a:gd name="connsiteY874" fmla="*/ 284664 h 6858000"/>
              <a:gd name="connsiteX875" fmla="*/ 3646022 w 7467600"/>
              <a:gd name="connsiteY875" fmla="*/ 276711 h 6858000"/>
              <a:gd name="connsiteX876" fmla="*/ 3707943 w 7467600"/>
              <a:gd name="connsiteY876" fmla="*/ 65958 h 6858000"/>
              <a:gd name="connsiteX877" fmla="*/ 3721337 w 7467600"/>
              <a:gd name="connsiteY877" fmla="*/ 0 h 6858000"/>
              <a:gd name="connsiteX878" fmla="*/ 2867960 w 7467600"/>
              <a:gd name="connsiteY878" fmla="*/ 0 h 6858000"/>
              <a:gd name="connsiteX879" fmla="*/ 2926351 w 7467600"/>
              <a:gd name="connsiteY879" fmla="*/ 0 h 6858000"/>
              <a:gd name="connsiteX880" fmla="*/ 2902823 w 7467600"/>
              <a:gd name="connsiteY880" fmla="*/ 262929 h 6858000"/>
              <a:gd name="connsiteX881" fmla="*/ 2940663 w 7467600"/>
              <a:gd name="connsiteY881" fmla="*/ 140884 h 6858000"/>
              <a:gd name="connsiteX882" fmla="*/ 2947039 w 7467600"/>
              <a:gd name="connsiteY882" fmla="*/ 122524 h 6858000"/>
              <a:gd name="connsiteX883" fmla="*/ 2984316 w 7467600"/>
              <a:gd name="connsiteY883" fmla="*/ 0 h 6858000"/>
              <a:gd name="connsiteX884" fmla="*/ 3016114 w 7467600"/>
              <a:gd name="connsiteY884" fmla="*/ 0 h 6858000"/>
              <a:gd name="connsiteX885" fmla="*/ 2979949 w 7467600"/>
              <a:gd name="connsiteY885" fmla="*/ 119274 h 6858000"/>
              <a:gd name="connsiteX886" fmla="*/ 3023879 w 7467600"/>
              <a:gd name="connsiteY886" fmla="*/ 0 h 6858000"/>
              <a:gd name="connsiteX887" fmla="*/ 3105400 w 7467600"/>
              <a:gd name="connsiteY887" fmla="*/ 0 h 6858000"/>
              <a:gd name="connsiteX888" fmla="*/ 3094669 w 7467600"/>
              <a:gd name="connsiteY888" fmla="*/ 30308 h 6858000"/>
              <a:gd name="connsiteX889" fmla="*/ 2901945 w 7467600"/>
              <a:gd name="connsiteY889" fmla="*/ 466538 h 6858000"/>
              <a:gd name="connsiteX890" fmla="*/ 2815209 w 7467600"/>
              <a:gd name="connsiteY890" fmla="*/ 497361 h 6858000"/>
              <a:gd name="connsiteX891" fmla="*/ 2844845 w 7467600"/>
              <a:gd name="connsiteY891" fmla="*/ 127638 h 6858000"/>
              <a:gd name="connsiteX892" fmla="*/ 2867960 w 7467600"/>
              <a:gd name="connsiteY892" fmla="*/ 0 h 6858000"/>
              <a:gd name="connsiteX893" fmla="*/ 1057230 w 7467600"/>
              <a:gd name="connsiteY893" fmla="*/ 0 h 6858000"/>
              <a:gd name="connsiteX894" fmla="*/ 1111003 w 7467600"/>
              <a:gd name="connsiteY894" fmla="*/ 0 h 6858000"/>
              <a:gd name="connsiteX895" fmla="*/ 1125553 w 7467600"/>
              <a:gd name="connsiteY895" fmla="*/ 52588 h 6858000"/>
              <a:gd name="connsiteX896" fmla="*/ 1304276 w 7467600"/>
              <a:gd name="connsiteY896" fmla="*/ 476275 h 6858000"/>
              <a:gd name="connsiteX897" fmla="*/ 1492066 w 7467600"/>
              <a:gd name="connsiteY897" fmla="*/ 886333 h 6858000"/>
              <a:gd name="connsiteX898" fmla="*/ 1423698 w 7467600"/>
              <a:gd name="connsiteY898" fmla="*/ 710817 h 6858000"/>
              <a:gd name="connsiteX899" fmla="*/ 1357609 w 7467600"/>
              <a:gd name="connsiteY899" fmla="*/ 532892 h 6858000"/>
              <a:gd name="connsiteX900" fmla="*/ 1309550 w 7467600"/>
              <a:gd name="connsiteY900" fmla="*/ 374031 h 6858000"/>
              <a:gd name="connsiteX901" fmla="*/ 1193673 w 7467600"/>
              <a:gd name="connsiteY901" fmla="*/ 49533 h 6858000"/>
              <a:gd name="connsiteX902" fmla="*/ 1164391 w 7467600"/>
              <a:gd name="connsiteY902" fmla="*/ 0 h 6858000"/>
              <a:gd name="connsiteX903" fmla="*/ 1200666 w 7467600"/>
              <a:gd name="connsiteY903" fmla="*/ 0 h 6858000"/>
              <a:gd name="connsiteX904" fmla="*/ 1223408 w 7467600"/>
              <a:gd name="connsiteY904" fmla="*/ 38996 h 6858000"/>
              <a:gd name="connsiteX905" fmla="*/ 1339635 w 7467600"/>
              <a:gd name="connsiteY905" fmla="*/ 365517 h 6858000"/>
              <a:gd name="connsiteX906" fmla="*/ 1387469 w 7467600"/>
              <a:gd name="connsiteY906" fmla="*/ 523079 h 6858000"/>
              <a:gd name="connsiteX907" fmla="*/ 1452685 w 7467600"/>
              <a:gd name="connsiteY907" fmla="*/ 699806 h 6858000"/>
              <a:gd name="connsiteX908" fmla="*/ 1492092 w 7467600"/>
              <a:gd name="connsiteY908" fmla="*/ 800424 h 6858000"/>
              <a:gd name="connsiteX909" fmla="*/ 1455302 w 7467600"/>
              <a:gd name="connsiteY909" fmla="*/ 632913 h 6858000"/>
              <a:gd name="connsiteX910" fmla="*/ 1222336 w 7467600"/>
              <a:gd name="connsiteY910" fmla="*/ 9480 h 6858000"/>
              <a:gd name="connsiteX911" fmla="*/ 1214634 w 7467600"/>
              <a:gd name="connsiteY911" fmla="*/ 0 h 6858000"/>
              <a:gd name="connsiteX912" fmla="*/ 1289827 w 7467600"/>
              <a:gd name="connsiteY912" fmla="*/ 0 h 6858000"/>
              <a:gd name="connsiteX913" fmla="*/ 1321076 w 7467600"/>
              <a:gd name="connsiteY913" fmla="*/ 59722 h 6858000"/>
              <a:gd name="connsiteX914" fmla="*/ 1512579 w 7467600"/>
              <a:gd name="connsiteY914" fmla="*/ 626441 h 6858000"/>
              <a:gd name="connsiteX915" fmla="*/ 1506076 w 7467600"/>
              <a:gd name="connsiteY915" fmla="*/ 1089289 h 6858000"/>
              <a:gd name="connsiteX916" fmla="*/ 1486346 w 7467600"/>
              <a:gd name="connsiteY916" fmla="*/ 1079919 h 6858000"/>
              <a:gd name="connsiteX917" fmla="*/ 1070511 w 7467600"/>
              <a:gd name="connsiteY917" fmla="*/ 48609 h 6858000"/>
              <a:gd name="connsiteX918" fmla="*/ 1057230 w 7467600"/>
              <a:gd name="connsiteY918" fmla="*/ 0 h 6858000"/>
              <a:gd name="connsiteX919" fmla="*/ 43151 w 7467600"/>
              <a:gd name="connsiteY919" fmla="*/ 0 h 6858000"/>
              <a:gd name="connsiteX920" fmla="*/ 95283 w 7467600"/>
              <a:gd name="connsiteY920" fmla="*/ 0 h 6858000"/>
              <a:gd name="connsiteX921" fmla="*/ 300708 w 7467600"/>
              <a:gd name="connsiteY921" fmla="*/ 154571 h 6858000"/>
              <a:gd name="connsiteX922" fmla="*/ 530414 w 7467600"/>
              <a:gd name="connsiteY922" fmla="*/ 354673 h 6858000"/>
              <a:gd name="connsiteX923" fmla="*/ 333785 w 7467600"/>
              <a:gd name="connsiteY923" fmla="*/ 161564 h 6858000"/>
              <a:gd name="connsiteX924" fmla="*/ 147005 w 7467600"/>
              <a:gd name="connsiteY924" fmla="*/ 0 h 6858000"/>
              <a:gd name="connsiteX925" fmla="*/ 272509 w 7467600"/>
              <a:gd name="connsiteY925" fmla="*/ 0 h 6858000"/>
              <a:gd name="connsiteX926" fmla="*/ 326276 w 7467600"/>
              <a:gd name="connsiteY926" fmla="*/ 45847 h 6858000"/>
              <a:gd name="connsiteX927" fmla="*/ 823759 w 7467600"/>
              <a:gd name="connsiteY927" fmla="*/ 574145 h 6858000"/>
              <a:gd name="connsiteX928" fmla="*/ 811254 w 7467600"/>
              <a:gd name="connsiteY928" fmla="*/ 665546 h 6858000"/>
              <a:gd name="connsiteX929" fmla="*/ 154042 w 7467600"/>
              <a:gd name="connsiteY929" fmla="*/ 261522 h 6858000"/>
              <a:gd name="connsiteX930" fmla="*/ 13550 w 7467600"/>
              <a:gd name="connsiteY930" fmla="*/ 158423 h 6858000"/>
              <a:gd name="connsiteX931" fmla="*/ 0 w 7467600"/>
              <a:gd name="connsiteY931" fmla="*/ 146618 h 6858000"/>
              <a:gd name="connsiteX932" fmla="*/ 0 w 7467600"/>
              <a:gd name="connsiteY932" fmla="*/ 59161 h 6858000"/>
              <a:gd name="connsiteX933" fmla="*/ 45427 w 7467600"/>
              <a:gd name="connsiteY933" fmla="*/ 101078 h 6858000"/>
              <a:gd name="connsiteX934" fmla="*/ 630103 w 7467600"/>
              <a:gd name="connsiteY934" fmla="*/ 485885 h 6858000"/>
              <a:gd name="connsiteX935" fmla="*/ 532040 w 7467600"/>
              <a:gd name="connsiteY935" fmla="*/ 399359 h 6858000"/>
              <a:gd name="connsiteX936" fmla="*/ 517618 w 7467600"/>
              <a:gd name="connsiteY936" fmla="*/ 385726 h 6858000"/>
              <a:gd name="connsiteX937" fmla="*/ 285074 w 7467600"/>
              <a:gd name="connsiteY937" fmla="*/ 182755 h 6858000"/>
              <a:gd name="connsiteX938" fmla="*/ 43151 w 7467600"/>
              <a:gd name="connsiteY938" fmla="*/ 0 h 6858000"/>
              <a:gd name="connsiteX0" fmla="*/ 369702 w 7369701"/>
              <a:gd name="connsiteY0" fmla="*/ 6712169 h 6858000"/>
              <a:gd name="connsiteX1" fmla="*/ 366575 w 7369701"/>
              <a:gd name="connsiteY1" fmla="*/ 6715556 h 6858000"/>
              <a:gd name="connsiteX2" fmla="*/ 371637 w 7369701"/>
              <a:gd name="connsiteY2" fmla="*/ 6713954 h 6858000"/>
              <a:gd name="connsiteX3" fmla="*/ 369702 w 7369701"/>
              <a:gd name="connsiteY3" fmla="*/ 6712169 h 6858000"/>
              <a:gd name="connsiteX4" fmla="*/ 1019354 w 7369701"/>
              <a:gd name="connsiteY4" fmla="*/ 6315006 h 6858000"/>
              <a:gd name="connsiteX5" fmla="*/ 441046 w 7369701"/>
              <a:gd name="connsiteY5" fmla="*/ 6691153 h 6858000"/>
              <a:gd name="connsiteX6" fmla="*/ 1019354 w 7369701"/>
              <a:gd name="connsiteY6" fmla="*/ 6315006 h 6858000"/>
              <a:gd name="connsiteX7" fmla="*/ 991680 w 7369701"/>
              <a:gd name="connsiteY7" fmla="*/ 6298413 h 6858000"/>
              <a:gd name="connsiteX8" fmla="*/ 409060 w 7369701"/>
              <a:gd name="connsiteY8" fmla="*/ 6671470 h 6858000"/>
              <a:gd name="connsiteX9" fmla="*/ 991680 w 7369701"/>
              <a:gd name="connsiteY9" fmla="*/ 6298413 h 6858000"/>
              <a:gd name="connsiteX10" fmla="*/ 103333 w 7369701"/>
              <a:gd name="connsiteY10" fmla="*/ 5699602 h 6858000"/>
              <a:gd name="connsiteX11" fmla="*/ 233938 w 7369701"/>
              <a:gd name="connsiteY11" fmla="*/ 5809416 h 6858000"/>
              <a:gd name="connsiteX12" fmla="*/ 883580 w 7369701"/>
              <a:gd name="connsiteY12" fmla="*/ 6180710 h 6858000"/>
              <a:gd name="connsiteX13" fmla="*/ 487337 w 7369701"/>
              <a:gd name="connsiteY13" fmla="*/ 5950182 h 6858000"/>
              <a:gd name="connsiteX14" fmla="*/ 354051 w 7369701"/>
              <a:gd name="connsiteY14" fmla="*/ 5854912 h 6858000"/>
              <a:gd name="connsiteX15" fmla="*/ 195436 w 7369701"/>
              <a:gd name="connsiteY15" fmla="*/ 5755068 h 6858000"/>
              <a:gd name="connsiteX16" fmla="*/ 103333 w 7369701"/>
              <a:gd name="connsiteY16" fmla="*/ 5699602 h 6858000"/>
              <a:gd name="connsiteX17" fmla="*/ 5539432 w 7369701"/>
              <a:gd name="connsiteY17" fmla="*/ 5642928 h 6858000"/>
              <a:gd name="connsiteX18" fmla="*/ 5555462 w 7369701"/>
              <a:gd name="connsiteY18" fmla="*/ 5694454 h 6858000"/>
              <a:gd name="connsiteX19" fmla="*/ 5828270 w 7369701"/>
              <a:gd name="connsiteY19" fmla="*/ 6320663 h 6858000"/>
              <a:gd name="connsiteX20" fmla="*/ 5947416 w 7369701"/>
              <a:gd name="connsiteY20" fmla="*/ 6574846 h 6858000"/>
              <a:gd name="connsiteX21" fmla="*/ 5539432 w 7369701"/>
              <a:gd name="connsiteY21" fmla="*/ 5642928 h 6858000"/>
              <a:gd name="connsiteX22" fmla="*/ 51253 w 7369701"/>
              <a:gd name="connsiteY22" fmla="*/ 5631825 h 6858000"/>
              <a:gd name="connsiteX23" fmla="*/ 211622 w 7369701"/>
              <a:gd name="connsiteY23" fmla="*/ 5728803 h 6858000"/>
              <a:gd name="connsiteX24" fmla="*/ 371652 w 7369701"/>
              <a:gd name="connsiteY24" fmla="*/ 5829062 h 6858000"/>
              <a:gd name="connsiteX25" fmla="*/ 505903 w 7369701"/>
              <a:gd name="connsiteY25" fmla="*/ 5925221 h 6858000"/>
              <a:gd name="connsiteX26" fmla="*/ 899240 w 7369701"/>
              <a:gd name="connsiteY26" fmla="*/ 6153068 h 6858000"/>
              <a:gd name="connsiteX27" fmla="*/ 988114 w 7369701"/>
              <a:gd name="connsiteY27" fmla="*/ 6174204 h 6858000"/>
              <a:gd name="connsiteX28" fmla="*/ 845971 w 7369701"/>
              <a:gd name="connsiteY28" fmla="*/ 6067177 h 6858000"/>
              <a:gd name="connsiteX29" fmla="*/ 448057 w 7369701"/>
              <a:gd name="connsiteY29" fmla="*/ 5841376 h 6858000"/>
              <a:gd name="connsiteX30" fmla="*/ 51253 w 7369701"/>
              <a:gd name="connsiteY30" fmla="*/ 5631825 h 6858000"/>
              <a:gd name="connsiteX31" fmla="*/ 2606687 w 7369701"/>
              <a:gd name="connsiteY31" fmla="*/ 5630718 h 6858000"/>
              <a:gd name="connsiteX32" fmla="*/ 2645658 w 7369701"/>
              <a:gd name="connsiteY32" fmla="*/ 6640259 h 6858000"/>
              <a:gd name="connsiteX33" fmla="*/ 2606687 w 7369701"/>
              <a:gd name="connsiteY33" fmla="*/ 5630718 h 6858000"/>
              <a:gd name="connsiteX34" fmla="*/ 3642057 w 7369701"/>
              <a:gd name="connsiteY34" fmla="*/ 5573487 h 6858000"/>
              <a:gd name="connsiteX35" fmla="*/ 3632981 w 7369701"/>
              <a:gd name="connsiteY35" fmla="*/ 5579437 h 6858000"/>
              <a:gd name="connsiteX36" fmla="*/ 3382436 w 7369701"/>
              <a:gd name="connsiteY36" fmla="*/ 5952726 h 6858000"/>
              <a:gd name="connsiteX37" fmla="*/ 3191929 w 7369701"/>
              <a:gd name="connsiteY37" fmla="*/ 6662669 h 6858000"/>
              <a:gd name="connsiteX38" fmla="*/ 3369898 w 7369701"/>
              <a:gd name="connsiteY38" fmla="*/ 6081771 h 6858000"/>
              <a:gd name="connsiteX39" fmla="*/ 3642057 w 7369701"/>
              <a:gd name="connsiteY39" fmla="*/ 5573487 h 6858000"/>
              <a:gd name="connsiteX40" fmla="*/ 2650666 w 7369701"/>
              <a:gd name="connsiteY40" fmla="*/ 5530686 h 6858000"/>
              <a:gd name="connsiteX41" fmla="*/ 2650249 w 7369701"/>
              <a:gd name="connsiteY41" fmla="*/ 5532101 h 6858000"/>
              <a:gd name="connsiteX42" fmla="*/ 2663808 w 7369701"/>
              <a:gd name="connsiteY42" fmla="*/ 6535215 h 6858000"/>
              <a:gd name="connsiteX43" fmla="*/ 2665418 w 7369701"/>
              <a:gd name="connsiteY43" fmla="*/ 6132756 h 6858000"/>
              <a:gd name="connsiteX44" fmla="*/ 2650666 w 7369701"/>
              <a:gd name="connsiteY44" fmla="*/ 5530686 h 6858000"/>
              <a:gd name="connsiteX45" fmla="*/ 2680277 w 7369701"/>
              <a:gd name="connsiteY45" fmla="*/ 5479204 h 6858000"/>
              <a:gd name="connsiteX46" fmla="*/ 2678972 w 7369701"/>
              <a:gd name="connsiteY46" fmla="*/ 5481582 h 6858000"/>
              <a:gd name="connsiteX47" fmla="*/ 2696666 w 7369701"/>
              <a:gd name="connsiteY47" fmla="*/ 6133836 h 6858000"/>
              <a:gd name="connsiteX48" fmla="*/ 2695769 w 7369701"/>
              <a:gd name="connsiteY48" fmla="*/ 6390955 h 6858000"/>
              <a:gd name="connsiteX49" fmla="*/ 2739893 w 7369701"/>
              <a:gd name="connsiteY49" fmla="*/ 6108357 h 6858000"/>
              <a:gd name="connsiteX50" fmla="*/ 2680277 w 7369701"/>
              <a:gd name="connsiteY50" fmla="*/ 5479204 h 6858000"/>
              <a:gd name="connsiteX51" fmla="*/ 1132195 w 7369701"/>
              <a:gd name="connsiteY51" fmla="*/ 5467980 h 6858000"/>
              <a:gd name="connsiteX52" fmla="*/ 1679056 w 7369701"/>
              <a:gd name="connsiteY52" fmla="*/ 5516907 h 6858000"/>
              <a:gd name="connsiteX53" fmla="*/ 2128648 w 7369701"/>
              <a:gd name="connsiteY53" fmla="*/ 5474249 h 6858000"/>
              <a:gd name="connsiteX54" fmla="*/ 1825619 w 7369701"/>
              <a:gd name="connsiteY54" fmla="*/ 5478447 h 6858000"/>
              <a:gd name="connsiteX55" fmla="*/ 1737798 w 7369701"/>
              <a:gd name="connsiteY55" fmla="*/ 5483353 h 6858000"/>
              <a:gd name="connsiteX56" fmla="*/ 1132195 w 7369701"/>
              <a:gd name="connsiteY56" fmla="*/ 5467980 h 6858000"/>
              <a:gd name="connsiteX57" fmla="*/ 1456157 w 7369701"/>
              <a:gd name="connsiteY57" fmla="*/ 5371404 h 6858000"/>
              <a:gd name="connsiteX58" fmla="*/ 1244432 w 7369701"/>
              <a:gd name="connsiteY58" fmla="*/ 5385601 h 6858000"/>
              <a:gd name="connsiteX59" fmla="*/ 973990 w 7369701"/>
              <a:gd name="connsiteY59" fmla="*/ 5424940 h 6858000"/>
              <a:gd name="connsiteX60" fmla="*/ 1103809 w 7369701"/>
              <a:gd name="connsiteY60" fmla="*/ 5433720 h 6858000"/>
              <a:gd name="connsiteX61" fmla="*/ 1123454 w 7369701"/>
              <a:gd name="connsiteY61" fmla="*/ 5435727 h 6858000"/>
              <a:gd name="connsiteX62" fmla="*/ 1737017 w 7369701"/>
              <a:gd name="connsiteY62" fmla="*/ 5452183 h 6858000"/>
              <a:gd name="connsiteX63" fmla="*/ 1824397 w 7369701"/>
              <a:gd name="connsiteY63" fmla="*/ 5447757 h 6858000"/>
              <a:gd name="connsiteX64" fmla="*/ 2070059 w 7369701"/>
              <a:gd name="connsiteY64" fmla="*/ 5441660 h 6858000"/>
              <a:gd name="connsiteX65" fmla="*/ 1456157 w 7369701"/>
              <a:gd name="connsiteY65" fmla="*/ 5371404 h 6858000"/>
              <a:gd name="connsiteX66" fmla="*/ 4988186 w 7369701"/>
              <a:gd name="connsiteY66" fmla="*/ 5216467 h 6858000"/>
              <a:gd name="connsiteX67" fmla="*/ 4777334 w 7369701"/>
              <a:gd name="connsiteY67" fmla="*/ 5406072 h 6858000"/>
              <a:gd name="connsiteX68" fmla="*/ 4718341 w 7369701"/>
              <a:gd name="connsiteY68" fmla="*/ 5468043 h 6858000"/>
              <a:gd name="connsiteX69" fmla="*/ 4604655 w 7369701"/>
              <a:gd name="connsiteY69" fmla="*/ 5583434 h 6858000"/>
              <a:gd name="connsiteX70" fmla="*/ 4565074 w 7369701"/>
              <a:gd name="connsiteY70" fmla="*/ 5618550 h 6858000"/>
              <a:gd name="connsiteX71" fmla="*/ 4988186 w 7369701"/>
              <a:gd name="connsiteY71" fmla="*/ 5216467 h 6858000"/>
              <a:gd name="connsiteX72" fmla="*/ 4978032 w 7369701"/>
              <a:gd name="connsiteY72" fmla="*/ 5183809 h 6858000"/>
              <a:gd name="connsiteX73" fmla="*/ 4463413 w 7369701"/>
              <a:gd name="connsiteY73" fmla="*/ 5615162 h 6858000"/>
              <a:gd name="connsiteX74" fmla="*/ 4358134 w 7369701"/>
              <a:gd name="connsiteY74" fmla="*/ 5742791 h 6858000"/>
              <a:gd name="connsiteX75" fmla="*/ 4376219 w 7369701"/>
              <a:gd name="connsiteY75" fmla="*/ 5729027 h 6858000"/>
              <a:gd name="connsiteX76" fmla="*/ 4582340 w 7369701"/>
              <a:gd name="connsiteY76" fmla="*/ 5561037 h 6858000"/>
              <a:gd name="connsiteX77" fmla="*/ 4694684 w 7369701"/>
              <a:gd name="connsiteY77" fmla="*/ 5447098 h 6858000"/>
              <a:gd name="connsiteX78" fmla="*/ 4754123 w 7369701"/>
              <a:gd name="connsiteY78" fmla="*/ 5384643 h 6858000"/>
              <a:gd name="connsiteX79" fmla="*/ 4978032 w 7369701"/>
              <a:gd name="connsiteY79" fmla="*/ 5183809 h 6858000"/>
              <a:gd name="connsiteX80" fmla="*/ 1903353 w 7369701"/>
              <a:gd name="connsiteY80" fmla="*/ 5044827 h 6858000"/>
              <a:gd name="connsiteX81" fmla="*/ 1936931 w 7369701"/>
              <a:gd name="connsiteY81" fmla="*/ 5093954 h 6858000"/>
              <a:gd name="connsiteX82" fmla="*/ 2195868 w 7369701"/>
              <a:gd name="connsiteY82" fmla="*/ 5396574 h 6858000"/>
              <a:gd name="connsiteX83" fmla="*/ 2088852 w 7369701"/>
              <a:gd name="connsiteY83" fmla="*/ 5166123 h 6858000"/>
              <a:gd name="connsiteX84" fmla="*/ 1958241 w 7369701"/>
              <a:gd name="connsiteY84" fmla="*/ 5067955 h 6858000"/>
              <a:gd name="connsiteX85" fmla="*/ 1903353 w 7369701"/>
              <a:gd name="connsiteY85" fmla="*/ 5044827 h 6858000"/>
              <a:gd name="connsiteX86" fmla="*/ 1979378 w 7369701"/>
              <a:gd name="connsiteY86" fmla="*/ 4769504 h 6858000"/>
              <a:gd name="connsiteX87" fmla="*/ 2882120 w 7369701"/>
              <a:gd name="connsiteY87" fmla="*/ 5064547 h 6858000"/>
              <a:gd name="connsiteX88" fmla="*/ 2793103 w 7369701"/>
              <a:gd name="connsiteY88" fmla="*/ 5039699 h 6858000"/>
              <a:gd name="connsiteX89" fmla="*/ 2770041 w 7369701"/>
              <a:gd name="connsiteY89" fmla="*/ 5033634 h 6858000"/>
              <a:gd name="connsiteX90" fmla="*/ 1979378 w 7369701"/>
              <a:gd name="connsiteY90" fmla="*/ 4769504 h 6858000"/>
              <a:gd name="connsiteX91" fmla="*/ 1927410 w 7369701"/>
              <a:gd name="connsiteY91" fmla="*/ 4716164 h 6858000"/>
              <a:gd name="connsiteX92" fmla="*/ 1959587 w 7369701"/>
              <a:gd name="connsiteY92" fmla="*/ 4728849 h 6858000"/>
              <a:gd name="connsiteX93" fmla="*/ 2777707 w 7369701"/>
              <a:gd name="connsiteY93" fmla="*/ 5003991 h 6858000"/>
              <a:gd name="connsiteX94" fmla="*/ 2800768 w 7369701"/>
              <a:gd name="connsiteY94" fmla="*/ 5010056 h 6858000"/>
              <a:gd name="connsiteX95" fmla="*/ 2879408 w 7369701"/>
              <a:gd name="connsiteY95" fmla="*/ 5031590 h 6858000"/>
              <a:gd name="connsiteX96" fmla="*/ 2862295 w 7369701"/>
              <a:gd name="connsiteY96" fmla="*/ 5022958 h 6858000"/>
              <a:gd name="connsiteX97" fmla="*/ 2813343 w 7369701"/>
              <a:gd name="connsiteY97" fmla="*/ 4998369 h 6858000"/>
              <a:gd name="connsiteX98" fmla="*/ 2646245 w 7369701"/>
              <a:gd name="connsiteY98" fmla="*/ 4930999 h 6858000"/>
              <a:gd name="connsiteX99" fmla="*/ 1999243 w 7369701"/>
              <a:gd name="connsiteY99" fmla="*/ 4730524 h 6858000"/>
              <a:gd name="connsiteX100" fmla="*/ 1979527 w 7369701"/>
              <a:gd name="connsiteY100" fmla="*/ 4726651 h 6858000"/>
              <a:gd name="connsiteX101" fmla="*/ 1927410 w 7369701"/>
              <a:gd name="connsiteY101" fmla="*/ 4716164 h 6858000"/>
              <a:gd name="connsiteX102" fmla="*/ 1997014 w 7369701"/>
              <a:gd name="connsiteY102" fmla="*/ 4698007 h 6858000"/>
              <a:gd name="connsiteX103" fmla="*/ 2005458 w 7369701"/>
              <a:gd name="connsiteY103" fmla="*/ 4699540 h 6858000"/>
              <a:gd name="connsiteX104" fmla="*/ 2657186 w 7369701"/>
              <a:gd name="connsiteY104" fmla="*/ 4901687 h 6858000"/>
              <a:gd name="connsiteX105" fmla="*/ 2826662 w 7369701"/>
              <a:gd name="connsiteY105" fmla="*/ 4970362 h 6858000"/>
              <a:gd name="connsiteX106" fmla="*/ 2876100 w 7369701"/>
              <a:gd name="connsiteY106" fmla="*/ 4995397 h 6858000"/>
              <a:gd name="connsiteX107" fmla="*/ 3042600 w 7369701"/>
              <a:gd name="connsiteY107" fmla="*/ 5059532 h 6858000"/>
              <a:gd name="connsiteX108" fmla="*/ 1997014 w 7369701"/>
              <a:gd name="connsiteY108" fmla="*/ 4698007 h 6858000"/>
              <a:gd name="connsiteX109" fmla="*/ 2305292 w 7369701"/>
              <a:gd name="connsiteY109" fmla="*/ 4219492 h 6858000"/>
              <a:gd name="connsiteX110" fmla="*/ 3360922 w 7369701"/>
              <a:gd name="connsiteY110" fmla="*/ 4529373 h 6858000"/>
              <a:gd name="connsiteX111" fmla="*/ 3492420 w 7369701"/>
              <a:gd name="connsiteY111" fmla="*/ 4510145 h 6858000"/>
              <a:gd name="connsiteX112" fmla="*/ 3364086 w 7369701"/>
              <a:gd name="connsiteY112" fmla="*/ 4480340 h 6858000"/>
              <a:gd name="connsiteX113" fmla="*/ 3225818 w 7369701"/>
              <a:gd name="connsiteY113" fmla="*/ 4411822 h 6858000"/>
              <a:gd name="connsiteX114" fmla="*/ 3129696 w 7369701"/>
              <a:gd name="connsiteY114" fmla="*/ 4360704 h 6858000"/>
              <a:gd name="connsiteX115" fmla="*/ 2814545 w 7369701"/>
              <a:gd name="connsiteY115" fmla="*/ 4282955 h 6858000"/>
              <a:gd name="connsiteX116" fmla="*/ 2305292 w 7369701"/>
              <a:gd name="connsiteY116" fmla="*/ 4219492 h 6858000"/>
              <a:gd name="connsiteX117" fmla="*/ 2626982 w 7369701"/>
              <a:gd name="connsiteY117" fmla="*/ 4206450 h 6858000"/>
              <a:gd name="connsiteX118" fmla="*/ 2490617 w 7369701"/>
              <a:gd name="connsiteY118" fmla="*/ 4206951 h 6858000"/>
              <a:gd name="connsiteX119" fmla="*/ 2819869 w 7369701"/>
              <a:gd name="connsiteY119" fmla="*/ 4252936 h 6858000"/>
              <a:gd name="connsiteX120" fmla="*/ 3143018 w 7369701"/>
              <a:gd name="connsiteY120" fmla="*/ 4332698 h 6858000"/>
              <a:gd name="connsiteX121" fmla="*/ 3241520 w 7369701"/>
              <a:gd name="connsiteY121" fmla="*/ 4385112 h 6858000"/>
              <a:gd name="connsiteX122" fmla="*/ 3374575 w 7369701"/>
              <a:gd name="connsiteY122" fmla="*/ 4451517 h 6858000"/>
              <a:gd name="connsiteX123" fmla="*/ 3505221 w 7369701"/>
              <a:gd name="connsiteY123" fmla="*/ 4480757 h 6858000"/>
              <a:gd name="connsiteX124" fmla="*/ 2626982 w 7369701"/>
              <a:gd name="connsiteY124" fmla="*/ 4206450 h 6858000"/>
              <a:gd name="connsiteX125" fmla="*/ 1310106 w 7369701"/>
              <a:gd name="connsiteY125" fmla="*/ 3943217 h 6858000"/>
              <a:gd name="connsiteX126" fmla="*/ 854994 w 7369701"/>
              <a:gd name="connsiteY126" fmla="*/ 4399136 h 6858000"/>
              <a:gd name="connsiteX127" fmla="*/ 742462 w 7369701"/>
              <a:gd name="connsiteY127" fmla="*/ 4594648 h 6858000"/>
              <a:gd name="connsiteX128" fmla="*/ 820602 w 7369701"/>
              <a:gd name="connsiteY128" fmla="*/ 4485915 h 6858000"/>
              <a:gd name="connsiteX129" fmla="*/ 878295 w 7369701"/>
              <a:gd name="connsiteY129" fmla="*/ 4403594 h 6858000"/>
              <a:gd name="connsiteX130" fmla="*/ 1240607 w 7369701"/>
              <a:gd name="connsiteY130" fmla="*/ 4010401 h 6858000"/>
              <a:gd name="connsiteX131" fmla="*/ 1310106 w 7369701"/>
              <a:gd name="connsiteY131" fmla="*/ 3943217 h 6858000"/>
              <a:gd name="connsiteX132" fmla="*/ 1423113 w 7369701"/>
              <a:gd name="connsiteY132" fmla="*/ 3874565 h 6858000"/>
              <a:gd name="connsiteX133" fmla="*/ 1260565 w 7369701"/>
              <a:gd name="connsiteY133" fmla="*/ 4031982 h 6858000"/>
              <a:gd name="connsiteX134" fmla="*/ 901900 w 7369701"/>
              <a:gd name="connsiteY134" fmla="*/ 4421236 h 6858000"/>
              <a:gd name="connsiteX135" fmla="*/ 845044 w 7369701"/>
              <a:gd name="connsiteY135" fmla="*/ 4502436 h 6858000"/>
              <a:gd name="connsiteX136" fmla="*/ 685926 w 7369701"/>
              <a:gd name="connsiteY136" fmla="*/ 4703069 h 6858000"/>
              <a:gd name="connsiteX137" fmla="*/ 684248 w 7369701"/>
              <a:gd name="connsiteY137" fmla="*/ 4706721 h 6858000"/>
              <a:gd name="connsiteX138" fmla="*/ 1423113 w 7369701"/>
              <a:gd name="connsiteY138" fmla="*/ 3874565 h 6858000"/>
              <a:gd name="connsiteX139" fmla="*/ 3316479 w 7369701"/>
              <a:gd name="connsiteY139" fmla="*/ 3872136 h 6858000"/>
              <a:gd name="connsiteX140" fmla="*/ 3546806 w 7369701"/>
              <a:gd name="connsiteY140" fmla="*/ 4356139 h 6858000"/>
              <a:gd name="connsiteX141" fmla="*/ 3364433 w 7369701"/>
              <a:gd name="connsiteY141" fmla="*/ 3953121 h 6858000"/>
              <a:gd name="connsiteX142" fmla="*/ 3316479 w 7369701"/>
              <a:gd name="connsiteY142" fmla="*/ 3872136 h 6858000"/>
              <a:gd name="connsiteX143" fmla="*/ 3291335 w 7369701"/>
              <a:gd name="connsiteY143" fmla="*/ 3767420 h 6858000"/>
              <a:gd name="connsiteX144" fmla="*/ 3390805 w 7369701"/>
              <a:gd name="connsiteY144" fmla="*/ 3937163 h 6858000"/>
              <a:gd name="connsiteX145" fmla="*/ 3579062 w 7369701"/>
              <a:gd name="connsiteY145" fmla="*/ 4359040 h 6858000"/>
              <a:gd name="connsiteX146" fmla="*/ 3467355 w 7369701"/>
              <a:gd name="connsiteY146" fmla="*/ 3988130 h 6858000"/>
              <a:gd name="connsiteX147" fmla="*/ 3310753 w 7369701"/>
              <a:gd name="connsiteY147" fmla="*/ 3787140 h 6858000"/>
              <a:gd name="connsiteX148" fmla="*/ 3291335 w 7369701"/>
              <a:gd name="connsiteY148" fmla="*/ 3767420 h 6858000"/>
              <a:gd name="connsiteX149" fmla="*/ 1635889 w 7369701"/>
              <a:gd name="connsiteY149" fmla="*/ 3709494 h 6858000"/>
              <a:gd name="connsiteX150" fmla="*/ 1634800 w 7369701"/>
              <a:gd name="connsiteY150" fmla="*/ 3731111 h 6858000"/>
              <a:gd name="connsiteX151" fmla="*/ 1635889 w 7369701"/>
              <a:gd name="connsiteY151" fmla="*/ 3709494 h 6858000"/>
              <a:gd name="connsiteX152" fmla="*/ 1510397 w 7369701"/>
              <a:gd name="connsiteY152" fmla="*/ 3684705 h 6858000"/>
              <a:gd name="connsiteX153" fmla="*/ 1146550 w 7369701"/>
              <a:gd name="connsiteY153" fmla="*/ 3802012 h 6858000"/>
              <a:gd name="connsiteX154" fmla="*/ 698834 w 7369701"/>
              <a:gd name="connsiteY154" fmla="*/ 3952272 h 6858000"/>
              <a:gd name="connsiteX155" fmla="*/ 34256 w 7369701"/>
              <a:gd name="connsiteY155" fmla="*/ 4347603 h 6858000"/>
              <a:gd name="connsiteX156" fmla="*/ 527241 w 7369701"/>
              <a:gd name="connsiteY156" fmla="*/ 4065078 h 6858000"/>
              <a:gd name="connsiteX157" fmla="*/ 1510397 w 7369701"/>
              <a:gd name="connsiteY157" fmla="*/ 3684705 h 6858000"/>
              <a:gd name="connsiteX158" fmla="*/ 1313114 w 7369701"/>
              <a:gd name="connsiteY158" fmla="*/ 3655216 h 6858000"/>
              <a:gd name="connsiteX159" fmla="*/ 1109304 w 7369701"/>
              <a:gd name="connsiteY159" fmla="*/ 3669030 h 6858000"/>
              <a:gd name="connsiteX160" fmla="*/ 8129 w 7369701"/>
              <a:gd name="connsiteY160" fmla="*/ 4330519 h 6858000"/>
              <a:gd name="connsiteX161" fmla="*/ 687572 w 7369701"/>
              <a:gd name="connsiteY161" fmla="*/ 3925629 h 6858000"/>
              <a:gd name="connsiteX162" fmla="*/ 1138365 w 7369701"/>
              <a:gd name="connsiteY162" fmla="*/ 3774515 h 6858000"/>
              <a:gd name="connsiteX163" fmla="*/ 1505579 w 7369701"/>
              <a:gd name="connsiteY163" fmla="*/ 3655526 h 6858000"/>
              <a:gd name="connsiteX164" fmla="*/ 1313114 w 7369701"/>
              <a:gd name="connsiteY164" fmla="*/ 3655216 h 6858000"/>
              <a:gd name="connsiteX165" fmla="*/ 3655073 w 7369701"/>
              <a:gd name="connsiteY165" fmla="*/ 3650884 h 6858000"/>
              <a:gd name="connsiteX166" fmla="*/ 3989938 w 7369701"/>
              <a:gd name="connsiteY166" fmla="*/ 3991685 h 6858000"/>
              <a:gd name="connsiteX167" fmla="*/ 4393907 w 7369701"/>
              <a:gd name="connsiteY167" fmla="*/ 4261258 h 6858000"/>
              <a:gd name="connsiteX168" fmla="*/ 4648051 w 7369701"/>
              <a:gd name="connsiteY168" fmla="*/ 4374051 h 6858000"/>
              <a:gd name="connsiteX169" fmla="*/ 4383389 w 7369701"/>
              <a:gd name="connsiteY169" fmla="*/ 4184369 h 6858000"/>
              <a:gd name="connsiteX170" fmla="*/ 4165508 w 7369701"/>
              <a:gd name="connsiteY170" fmla="*/ 4035196 h 6858000"/>
              <a:gd name="connsiteX171" fmla="*/ 4068162 w 7369701"/>
              <a:gd name="connsiteY171" fmla="*/ 3953394 h 6858000"/>
              <a:gd name="connsiteX172" fmla="*/ 3981416 w 7369701"/>
              <a:gd name="connsiteY172" fmla="*/ 3880482 h 6858000"/>
              <a:gd name="connsiteX173" fmla="*/ 3800147 w 7369701"/>
              <a:gd name="connsiteY173" fmla="*/ 3749872 h 6858000"/>
              <a:gd name="connsiteX174" fmla="*/ 3655073 w 7369701"/>
              <a:gd name="connsiteY174" fmla="*/ 3650884 h 6858000"/>
              <a:gd name="connsiteX175" fmla="*/ 3670252 w 7369701"/>
              <a:gd name="connsiteY175" fmla="*/ 3622798 h 6858000"/>
              <a:gd name="connsiteX176" fmla="*/ 3817258 w 7369701"/>
              <a:gd name="connsiteY176" fmla="*/ 3723577 h 6858000"/>
              <a:gd name="connsiteX177" fmla="*/ 4000461 w 7369701"/>
              <a:gd name="connsiteY177" fmla="*/ 3855966 h 6858000"/>
              <a:gd name="connsiteX178" fmla="*/ 4088180 w 7369701"/>
              <a:gd name="connsiteY178" fmla="*/ 3929774 h 6858000"/>
              <a:gd name="connsiteX179" fmla="*/ 4184555 w 7369701"/>
              <a:gd name="connsiteY179" fmla="*/ 4010683 h 6858000"/>
              <a:gd name="connsiteX180" fmla="*/ 4399563 w 7369701"/>
              <a:gd name="connsiteY180" fmla="*/ 4158106 h 6858000"/>
              <a:gd name="connsiteX181" fmla="*/ 4684469 w 7369701"/>
              <a:gd name="connsiteY181" fmla="*/ 4364680 h 6858000"/>
              <a:gd name="connsiteX182" fmla="*/ 4690271 w 7369701"/>
              <a:gd name="connsiteY182" fmla="*/ 4370034 h 6858000"/>
              <a:gd name="connsiteX183" fmla="*/ 4136093 w 7369701"/>
              <a:gd name="connsiteY183" fmla="*/ 3858466 h 6858000"/>
              <a:gd name="connsiteX184" fmla="*/ 3670252 w 7369701"/>
              <a:gd name="connsiteY184" fmla="*/ 3622798 h 6858000"/>
              <a:gd name="connsiteX185" fmla="*/ 4440129 w 7369701"/>
              <a:gd name="connsiteY185" fmla="*/ 3448571 h 6858000"/>
              <a:gd name="connsiteX186" fmla="*/ 4856525 w 7369701"/>
              <a:gd name="connsiteY186" fmla="*/ 3915351 h 6858000"/>
              <a:gd name="connsiteX187" fmla="*/ 5059055 w 7369701"/>
              <a:gd name="connsiteY187" fmla="*/ 4108918 h 6858000"/>
              <a:gd name="connsiteX188" fmla="*/ 5290070 w 7369701"/>
              <a:gd name="connsiteY188" fmla="*/ 4263619 h 6858000"/>
              <a:gd name="connsiteX189" fmla="*/ 4834991 w 7369701"/>
              <a:gd name="connsiteY189" fmla="*/ 3830985 h 6858000"/>
              <a:gd name="connsiteX190" fmla="*/ 4440129 w 7369701"/>
              <a:gd name="connsiteY190" fmla="*/ 3448571 h 6858000"/>
              <a:gd name="connsiteX191" fmla="*/ 4441737 w 7369701"/>
              <a:gd name="connsiteY191" fmla="*/ 3399734 h 6858000"/>
              <a:gd name="connsiteX192" fmla="*/ 4431236 w 7369701"/>
              <a:gd name="connsiteY192" fmla="*/ 3400954 h 6858000"/>
              <a:gd name="connsiteX193" fmla="*/ 4557150 w 7369701"/>
              <a:gd name="connsiteY193" fmla="*/ 3510023 h 6858000"/>
              <a:gd name="connsiteX194" fmla="*/ 4856936 w 7369701"/>
              <a:gd name="connsiteY194" fmla="*/ 3809146 h 6858000"/>
              <a:gd name="connsiteX195" fmla="*/ 5111996 w 7369701"/>
              <a:gd name="connsiteY195" fmla="*/ 4065759 h 6858000"/>
              <a:gd name="connsiteX196" fmla="*/ 5388878 w 7369701"/>
              <a:gd name="connsiteY196" fmla="*/ 4300185 h 6858000"/>
              <a:gd name="connsiteX197" fmla="*/ 5425556 w 7369701"/>
              <a:gd name="connsiteY197" fmla="*/ 4308967 h 6858000"/>
              <a:gd name="connsiteX198" fmla="*/ 4943646 w 7369701"/>
              <a:gd name="connsiteY198" fmla="*/ 3822916 h 6858000"/>
              <a:gd name="connsiteX199" fmla="*/ 4594837 w 7369701"/>
              <a:gd name="connsiteY199" fmla="*/ 3532274 h 6858000"/>
              <a:gd name="connsiteX200" fmla="*/ 4441737 w 7369701"/>
              <a:gd name="connsiteY200" fmla="*/ 3399734 h 6858000"/>
              <a:gd name="connsiteX201" fmla="*/ 5425834 w 7369701"/>
              <a:gd name="connsiteY201" fmla="*/ 3162785 h 6858000"/>
              <a:gd name="connsiteX202" fmla="*/ 5401644 w 7369701"/>
              <a:gd name="connsiteY202" fmla="*/ 3617847 h 6858000"/>
              <a:gd name="connsiteX203" fmla="*/ 5467256 w 7369701"/>
              <a:gd name="connsiteY203" fmla="*/ 4175494 h 6858000"/>
              <a:gd name="connsiteX204" fmla="*/ 5448069 w 7369701"/>
              <a:gd name="connsiteY204" fmla="*/ 3567554 h 6858000"/>
              <a:gd name="connsiteX205" fmla="*/ 5425834 w 7369701"/>
              <a:gd name="connsiteY205" fmla="*/ 3162785 h 6858000"/>
              <a:gd name="connsiteX206" fmla="*/ 1318687 w 7369701"/>
              <a:gd name="connsiteY206" fmla="*/ 3113840 h 6858000"/>
              <a:gd name="connsiteX207" fmla="*/ 1066793 w 7369701"/>
              <a:gd name="connsiteY207" fmla="*/ 3212171 h 6858000"/>
              <a:gd name="connsiteX208" fmla="*/ 993319 w 7369701"/>
              <a:gd name="connsiteY208" fmla="*/ 3247648 h 6858000"/>
              <a:gd name="connsiteX209" fmla="*/ 853081 w 7369701"/>
              <a:gd name="connsiteY209" fmla="*/ 3312410 h 6858000"/>
              <a:gd name="connsiteX210" fmla="*/ 805957 w 7369701"/>
              <a:gd name="connsiteY210" fmla="*/ 3330443 h 6858000"/>
              <a:gd name="connsiteX211" fmla="*/ 1318687 w 7369701"/>
              <a:gd name="connsiteY211" fmla="*/ 3113840 h 6858000"/>
              <a:gd name="connsiteX212" fmla="*/ 5453702 w 7369701"/>
              <a:gd name="connsiteY212" fmla="*/ 3090882 h 6858000"/>
              <a:gd name="connsiteX213" fmla="*/ 5480135 w 7369701"/>
              <a:gd name="connsiteY213" fmla="*/ 3565802 h 6858000"/>
              <a:gd name="connsiteX214" fmla="*/ 5499023 w 7369701"/>
              <a:gd name="connsiteY214" fmla="*/ 4166310 h 6858000"/>
              <a:gd name="connsiteX215" fmla="*/ 5547022 w 7369701"/>
              <a:gd name="connsiteY215" fmla="*/ 3607838 h 6858000"/>
              <a:gd name="connsiteX216" fmla="*/ 5515964 w 7369701"/>
              <a:gd name="connsiteY216" fmla="*/ 3378541 h 6858000"/>
              <a:gd name="connsiteX217" fmla="*/ 5453702 w 7369701"/>
              <a:gd name="connsiteY217" fmla="*/ 3090882 h 6858000"/>
              <a:gd name="connsiteX218" fmla="*/ 1238695 w 7369701"/>
              <a:gd name="connsiteY218" fmla="*/ 3076820 h 6858000"/>
              <a:gd name="connsiteX219" fmla="*/ 716371 w 7369701"/>
              <a:gd name="connsiteY219" fmla="*/ 3293249 h 6858000"/>
              <a:gd name="connsiteX220" fmla="*/ 579522 w 7369701"/>
              <a:gd name="connsiteY220" fmla="*/ 3371759 h 6858000"/>
              <a:gd name="connsiteX221" fmla="*/ 600288 w 7369701"/>
              <a:gd name="connsiteY221" fmla="*/ 3365555 h 6858000"/>
              <a:gd name="connsiteX222" fmla="*/ 840692 w 7369701"/>
              <a:gd name="connsiteY222" fmla="*/ 3284921 h 6858000"/>
              <a:gd name="connsiteX223" fmla="*/ 979248 w 7369701"/>
              <a:gd name="connsiteY223" fmla="*/ 3221003 h 6858000"/>
              <a:gd name="connsiteX224" fmla="*/ 1053282 w 7369701"/>
              <a:gd name="connsiteY224" fmla="*/ 3185247 h 6858000"/>
              <a:gd name="connsiteX225" fmla="*/ 1320603 w 7369701"/>
              <a:gd name="connsiteY225" fmla="*/ 3081281 h 6858000"/>
              <a:gd name="connsiteX226" fmla="*/ 1238695 w 7369701"/>
              <a:gd name="connsiteY226" fmla="*/ 3076820 h 6858000"/>
              <a:gd name="connsiteX227" fmla="*/ 5425627 w 7369701"/>
              <a:gd name="connsiteY227" fmla="*/ 2954192 h 6858000"/>
              <a:gd name="connsiteX228" fmla="*/ 5470770 w 7369701"/>
              <a:gd name="connsiteY228" fmla="*/ 3005435 h 6858000"/>
              <a:gd name="connsiteX229" fmla="*/ 5519779 w 7369701"/>
              <a:gd name="connsiteY229" fmla="*/ 4359223 h 6858000"/>
              <a:gd name="connsiteX230" fmla="*/ 5520293 w 7369701"/>
              <a:gd name="connsiteY230" fmla="*/ 4360602 h 6858000"/>
              <a:gd name="connsiteX231" fmla="*/ 5767221 w 7369701"/>
              <a:gd name="connsiteY231" fmla="*/ 4665564 h 6858000"/>
              <a:gd name="connsiteX232" fmla="*/ 6937169 w 7369701"/>
              <a:gd name="connsiteY232" fmla="*/ 4815941 h 6858000"/>
              <a:gd name="connsiteX233" fmla="*/ 6953922 w 7369701"/>
              <a:gd name="connsiteY233" fmla="*/ 4890068 h 6858000"/>
              <a:gd name="connsiteX234" fmla="*/ 6071359 w 7369701"/>
              <a:gd name="connsiteY234" fmla="*/ 4770770 h 6858000"/>
              <a:gd name="connsiteX235" fmla="*/ 6038839 w 7369701"/>
              <a:gd name="connsiteY235" fmla="*/ 4764474 h 6858000"/>
              <a:gd name="connsiteX236" fmla="*/ 6038706 w 7369701"/>
              <a:gd name="connsiteY236" fmla="*/ 4763847 h 6858000"/>
              <a:gd name="connsiteX237" fmla="*/ 6037784 w 7369701"/>
              <a:gd name="connsiteY237" fmla="*/ 4764270 h 6858000"/>
              <a:gd name="connsiteX238" fmla="*/ 6038839 w 7369701"/>
              <a:gd name="connsiteY238" fmla="*/ 4764474 h 6858000"/>
              <a:gd name="connsiteX239" fmla="*/ 6040338 w 7369701"/>
              <a:gd name="connsiteY239" fmla="*/ 4771418 h 6858000"/>
              <a:gd name="connsiteX240" fmla="*/ 6024488 w 7369701"/>
              <a:gd name="connsiteY240" fmla="*/ 4809903 h 6858000"/>
              <a:gd name="connsiteX241" fmla="*/ 5599771 w 7369701"/>
              <a:gd name="connsiteY241" fmla="*/ 5509652 h 6858000"/>
              <a:gd name="connsiteX242" fmla="*/ 5548843 w 7369701"/>
              <a:gd name="connsiteY242" fmla="*/ 5563845 h 6858000"/>
              <a:gd name="connsiteX243" fmla="*/ 5940952 w 7369701"/>
              <a:gd name="connsiteY243" fmla="*/ 6250028 h 6858000"/>
              <a:gd name="connsiteX244" fmla="*/ 6043441 w 7369701"/>
              <a:gd name="connsiteY244" fmla="*/ 6665847 h 6858000"/>
              <a:gd name="connsiteX245" fmla="*/ 6093432 w 7369701"/>
              <a:gd name="connsiteY245" fmla="*/ 6858000 h 6858000"/>
              <a:gd name="connsiteX246" fmla="*/ 6034344 w 7369701"/>
              <a:gd name="connsiteY246" fmla="*/ 6858000 h 6858000"/>
              <a:gd name="connsiteX247" fmla="*/ 6026679 w 7369701"/>
              <a:gd name="connsiteY247" fmla="*/ 6836959 h 6858000"/>
              <a:gd name="connsiteX248" fmla="*/ 5800441 w 7369701"/>
              <a:gd name="connsiteY248" fmla="*/ 6335286 h 6858000"/>
              <a:gd name="connsiteX249" fmla="*/ 5526562 w 7369701"/>
              <a:gd name="connsiteY249" fmla="*/ 5705388 h 6858000"/>
              <a:gd name="connsiteX250" fmla="*/ 5519640 w 7369701"/>
              <a:gd name="connsiteY250" fmla="*/ 5683774 h 6858000"/>
              <a:gd name="connsiteX251" fmla="*/ 5844559 w 7369701"/>
              <a:gd name="connsiteY251" fmla="*/ 6553349 h 6858000"/>
              <a:gd name="connsiteX252" fmla="*/ 5975994 w 7369701"/>
              <a:gd name="connsiteY252" fmla="*/ 6858000 h 6858000"/>
              <a:gd name="connsiteX253" fmla="*/ 5898547 w 7369701"/>
              <a:gd name="connsiteY253" fmla="*/ 6858000 h 6858000"/>
              <a:gd name="connsiteX254" fmla="*/ 5682041 w 7369701"/>
              <a:gd name="connsiteY254" fmla="*/ 6355860 h 6858000"/>
              <a:gd name="connsiteX255" fmla="*/ 5461758 w 7369701"/>
              <a:gd name="connsiteY255" fmla="*/ 5820220 h 6858000"/>
              <a:gd name="connsiteX256" fmla="*/ 5237282 w 7369701"/>
              <a:gd name="connsiteY256" fmla="*/ 6579086 h 6858000"/>
              <a:gd name="connsiteX257" fmla="*/ 5115009 w 7369701"/>
              <a:gd name="connsiteY257" fmla="*/ 6858000 h 6858000"/>
              <a:gd name="connsiteX258" fmla="*/ 5028074 w 7369701"/>
              <a:gd name="connsiteY258" fmla="*/ 6858000 h 6858000"/>
              <a:gd name="connsiteX259" fmla="*/ 5079508 w 7369701"/>
              <a:gd name="connsiteY259" fmla="*/ 6749074 h 6858000"/>
              <a:gd name="connsiteX260" fmla="*/ 5371846 w 7369701"/>
              <a:gd name="connsiteY260" fmla="*/ 5924413 h 6858000"/>
              <a:gd name="connsiteX261" fmla="*/ 5270512 w 7369701"/>
              <a:gd name="connsiteY261" fmla="*/ 6138975 h 6858000"/>
              <a:gd name="connsiteX262" fmla="*/ 5062409 w 7369701"/>
              <a:gd name="connsiteY262" fmla="*/ 6653544 h 6858000"/>
              <a:gd name="connsiteX263" fmla="*/ 5036628 w 7369701"/>
              <a:gd name="connsiteY263" fmla="*/ 6754247 h 6858000"/>
              <a:gd name="connsiteX264" fmla="*/ 5009112 w 7369701"/>
              <a:gd name="connsiteY264" fmla="*/ 6858000 h 6858000"/>
              <a:gd name="connsiteX265" fmla="*/ 4976679 w 7369701"/>
              <a:gd name="connsiteY265" fmla="*/ 6858000 h 6858000"/>
              <a:gd name="connsiteX266" fmla="*/ 5006537 w 7369701"/>
              <a:gd name="connsiteY266" fmla="*/ 6747068 h 6858000"/>
              <a:gd name="connsiteX267" fmla="*/ 5032723 w 7369701"/>
              <a:gd name="connsiteY267" fmla="*/ 6644957 h 6858000"/>
              <a:gd name="connsiteX268" fmla="*/ 5242949 w 7369701"/>
              <a:gd name="connsiteY268" fmla="*/ 6125175 h 6858000"/>
              <a:gd name="connsiteX269" fmla="*/ 5286321 w 7369701"/>
              <a:gd name="connsiteY269" fmla="*/ 6033555 h 6858000"/>
              <a:gd name="connsiteX270" fmla="*/ 5008210 w 7369701"/>
              <a:gd name="connsiteY270" fmla="*/ 6649194 h 6858000"/>
              <a:gd name="connsiteX271" fmla="*/ 4986321 w 7369701"/>
              <a:gd name="connsiteY271" fmla="*/ 6765687 h 6858000"/>
              <a:gd name="connsiteX272" fmla="*/ 4973474 w 7369701"/>
              <a:gd name="connsiteY272" fmla="*/ 6858000 h 6858000"/>
              <a:gd name="connsiteX273" fmla="*/ 4907178 w 7369701"/>
              <a:gd name="connsiteY273" fmla="*/ 6858000 h 6858000"/>
              <a:gd name="connsiteX274" fmla="*/ 4910810 w 7369701"/>
              <a:gd name="connsiteY274" fmla="*/ 6829660 h 6858000"/>
              <a:gd name="connsiteX275" fmla="*/ 4987461 w 7369701"/>
              <a:gd name="connsiteY275" fmla="*/ 6432994 h 6858000"/>
              <a:gd name="connsiteX276" fmla="*/ 5179262 w 7369701"/>
              <a:gd name="connsiteY276" fmla="*/ 6035044 h 6858000"/>
              <a:gd name="connsiteX277" fmla="*/ 4689678 w 7369701"/>
              <a:gd name="connsiteY277" fmla="*/ 6440241 h 6858000"/>
              <a:gd name="connsiteX278" fmla="*/ 4477543 w 7369701"/>
              <a:gd name="connsiteY278" fmla="*/ 6674836 h 6858000"/>
              <a:gd name="connsiteX279" fmla="*/ 4329957 w 7369701"/>
              <a:gd name="connsiteY279" fmla="*/ 6858000 h 6858000"/>
              <a:gd name="connsiteX280" fmla="*/ 4218595 w 7369701"/>
              <a:gd name="connsiteY280" fmla="*/ 6858000 h 6858000"/>
              <a:gd name="connsiteX281" fmla="*/ 4368888 w 7369701"/>
              <a:gd name="connsiteY281" fmla="*/ 6668412 h 6858000"/>
              <a:gd name="connsiteX282" fmla="*/ 4563091 w 7369701"/>
              <a:gd name="connsiteY282" fmla="*/ 6442508 h 6858000"/>
              <a:gd name="connsiteX283" fmla="*/ 5387324 w 7369701"/>
              <a:gd name="connsiteY283" fmla="*/ 5705830 h 6858000"/>
              <a:gd name="connsiteX284" fmla="*/ 5073620 w 7369701"/>
              <a:gd name="connsiteY284" fmla="*/ 5955437 h 6858000"/>
              <a:gd name="connsiteX285" fmla="*/ 4689789 w 7369701"/>
              <a:gd name="connsiteY285" fmla="*/ 6268382 h 6858000"/>
              <a:gd name="connsiteX286" fmla="*/ 4418722 w 7369701"/>
              <a:gd name="connsiteY286" fmla="*/ 6570886 h 6858000"/>
              <a:gd name="connsiteX287" fmla="*/ 4214944 w 7369701"/>
              <a:gd name="connsiteY287" fmla="*/ 6858000 h 6858000"/>
              <a:gd name="connsiteX288" fmla="*/ 4177898 w 7369701"/>
              <a:gd name="connsiteY288" fmla="*/ 6858000 h 6858000"/>
              <a:gd name="connsiteX289" fmla="*/ 4391597 w 7369701"/>
              <a:gd name="connsiteY289" fmla="*/ 6556370 h 6858000"/>
              <a:gd name="connsiteX290" fmla="*/ 4668889 w 7369701"/>
              <a:gd name="connsiteY290" fmla="*/ 6246399 h 6858000"/>
              <a:gd name="connsiteX291" fmla="*/ 5055427 w 7369701"/>
              <a:gd name="connsiteY291" fmla="*/ 5931476 h 6858000"/>
              <a:gd name="connsiteX292" fmla="*/ 5371814 w 7369701"/>
              <a:gd name="connsiteY292" fmla="*/ 5678975 h 6858000"/>
              <a:gd name="connsiteX293" fmla="*/ 4987918 w 7369701"/>
              <a:gd name="connsiteY293" fmla="*/ 5838701 h 6858000"/>
              <a:gd name="connsiteX294" fmla="*/ 4317146 w 7369701"/>
              <a:gd name="connsiteY294" fmla="*/ 6587716 h 6858000"/>
              <a:gd name="connsiteX295" fmla="*/ 4171627 w 7369701"/>
              <a:gd name="connsiteY295" fmla="*/ 6858000 h 6858000"/>
              <a:gd name="connsiteX296" fmla="*/ 4081585 w 7369701"/>
              <a:gd name="connsiteY296" fmla="*/ 6858000 h 6858000"/>
              <a:gd name="connsiteX297" fmla="*/ 4238603 w 7369701"/>
              <a:gd name="connsiteY297" fmla="*/ 6559341 h 6858000"/>
              <a:gd name="connsiteX298" fmla="*/ 4778333 w 7369701"/>
              <a:gd name="connsiteY298" fmla="*/ 5873626 h 6858000"/>
              <a:gd name="connsiteX299" fmla="*/ 5414185 w 7369701"/>
              <a:gd name="connsiteY299" fmla="*/ 5573882 h 6858000"/>
              <a:gd name="connsiteX300" fmla="*/ 5959648 w 7369701"/>
              <a:gd name="connsiteY300" fmla="*/ 4760797 h 6858000"/>
              <a:gd name="connsiteX301" fmla="*/ 5355019 w 7369701"/>
              <a:gd name="connsiteY301" fmla="*/ 4734672 h 6858000"/>
              <a:gd name="connsiteX302" fmla="*/ 5083565 w 7369701"/>
              <a:gd name="connsiteY302" fmla="*/ 5179121 h 6858000"/>
              <a:gd name="connsiteX303" fmla="*/ 4713577 w 7369701"/>
              <a:gd name="connsiteY303" fmla="*/ 5616803 h 6858000"/>
              <a:gd name="connsiteX304" fmla="*/ 3989559 w 7369701"/>
              <a:gd name="connsiteY304" fmla="*/ 6145945 h 6858000"/>
              <a:gd name="connsiteX305" fmla="*/ 3939824 w 7369701"/>
              <a:gd name="connsiteY305" fmla="*/ 6066900 h 6858000"/>
              <a:gd name="connsiteX306" fmla="*/ 4584537 w 7369701"/>
              <a:gd name="connsiteY306" fmla="*/ 5324826 h 6858000"/>
              <a:gd name="connsiteX307" fmla="*/ 5037105 w 7369701"/>
              <a:gd name="connsiteY307" fmla="*/ 5088765 h 6858000"/>
              <a:gd name="connsiteX308" fmla="*/ 5039930 w 7369701"/>
              <a:gd name="connsiteY308" fmla="*/ 5089585 h 6858000"/>
              <a:gd name="connsiteX309" fmla="*/ 5263764 w 7369701"/>
              <a:gd name="connsiteY309" fmla="*/ 4735525 h 6858000"/>
              <a:gd name="connsiteX310" fmla="*/ 4086300 w 7369701"/>
              <a:gd name="connsiteY310" fmla="*/ 4884599 h 6858000"/>
              <a:gd name="connsiteX311" fmla="*/ 4085485 w 7369701"/>
              <a:gd name="connsiteY311" fmla="*/ 4899070 h 6858000"/>
              <a:gd name="connsiteX312" fmla="*/ 3871915 w 7369701"/>
              <a:gd name="connsiteY312" fmla="*/ 5253645 h 6858000"/>
              <a:gd name="connsiteX313" fmla="*/ 3799374 w 7369701"/>
              <a:gd name="connsiteY313" fmla="*/ 5466127 h 6858000"/>
              <a:gd name="connsiteX314" fmla="*/ 3498850 w 7369701"/>
              <a:gd name="connsiteY314" fmla="*/ 6661888 h 6858000"/>
              <a:gd name="connsiteX315" fmla="*/ 3399216 w 7369701"/>
              <a:gd name="connsiteY315" fmla="*/ 6858000 h 6858000"/>
              <a:gd name="connsiteX316" fmla="*/ 3303688 w 7369701"/>
              <a:gd name="connsiteY316" fmla="*/ 6858000 h 6858000"/>
              <a:gd name="connsiteX317" fmla="*/ 3391774 w 7369701"/>
              <a:gd name="connsiteY317" fmla="*/ 6697181 h 6858000"/>
              <a:gd name="connsiteX318" fmla="*/ 3735540 w 7369701"/>
              <a:gd name="connsiteY318" fmla="*/ 5546923 h 6858000"/>
              <a:gd name="connsiteX319" fmla="*/ 3729438 w 7369701"/>
              <a:gd name="connsiteY319" fmla="*/ 5569058 h 6858000"/>
              <a:gd name="connsiteX320" fmla="*/ 3707782 w 7369701"/>
              <a:gd name="connsiteY320" fmla="*/ 5644908 h 6858000"/>
              <a:gd name="connsiteX321" fmla="*/ 3583827 w 7369701"/>
              <a:gd name="connsiteY321" fmla="*/ 6039215 h 6858000"/>
              <a:gd name="connsiteX322" fmla="*/ 3547861 w 7369701"/>
              <a:gd name="connsiteY322" fmla="*/ 6129609 h 6858000"/>
              <a:gd name="connsiteX323" fmla="*/ 3490905 w 7369701"/>
              <a:gd name="connsiteY323" fmla="*/ 6277660 h 6858000"/>
              <a:gd name="connsiteX324" fmla="*/ 3455859 w 7369701"/>
              <a:gd name="connsiteY324" fmla="*/ 6391301 h 6858000"/>
              <a:gd name="connsiteX325" fmla="*/ 3429112 w 7369701"/>
              <a:gd name="connsiteY325" fmla="*/ 6479469 h 6858000"/>
              <a:gd name="connsiteX326" fmla="*/ 3304862 w 7369701"/>
              <a:gd name="connsiteY326" fmla="*/ 6796476 h 6858000"/>
              <a:gd name="connsiteX327" fmla="*/ 3276071 w 7369701"/>
              <a:gd name="connsiteY327" fmla="*/ 6858000 h 6858000"/>
              <a:gd name="connsiteX328" fmla="*/ 3240805 w 7369701"/>
              <a:gd name="connsiteY328" fmla="*/ 6858000 h 6858000"/>
              <a:gd name="connsiteX329" fmla="*/ 3275917 w 7369701"/>
              <a:gd name="connsiteY329" fmla="*/ 6783192 h 6858000"/>
              <a:gd name="connsiteX330" fmla="*/ 3399358 w 7369701"/>
              <a:gd name="connsiteY330" fmla="*/ 6469011 h 6858000"/>
              <a:gd name="connsiteX331" fmla="*/ 3425650 w 7369701"/>
              <a:gd name="connsiteY331" fmla="*/ 6381333 h 6858000"/>
              <a:gd name="connsiteX332" fmla="*/ 3460661 w 7369701"/>
              <a:gd name="connsiteY332" fmla="*/ 6266763 h 6858000"/>
              <a:gd name="connsiteX333" fmla="*/ 3518021 w 7369701"/>
              <a:gd name="connsiteY333" fmla="*/ 6117298 h 6858000"/>
              <a:gd name="connsiteX334" fmla="*/ 3554035 w 7369701"/>
              <a:gd name="connsiteY334" fmla="*/ 6027832 h 6858000"/>
              <a:gd name="connsiteX335" fmla="*/ 3677174 w 7369701"/>
              <a:gd name="connsiteY335" fmla="*/ 5636351 h 6858000"/>
              <a:gd name="connsiteX336" fmla="*/ 3698819 w 7369701"/>
              <a:gd name="connsiteY336" fmla="*/ 5560503 h 6858000"/>
              <a:gd name="connsiteX337" fmla="*/ 3702094 w 7369701"/>
              <a:gd name="connsiteY337" fmla="*/ 5549194 h 6858000"/>
              <a:gd name="connsiteX338" fmla="*/ 3398355 w 7369701"/>
              <a:gd name="connsiteY338" fmla="*/ 6094603 h 6858000"/>
              <a:gd name="connsiteX339" fmla="*/ 3193941 w 7369701"/>
              <a:gd name="connsiteY339" fmla="*/ 6798775 h 6858000"/>
              <a:gd name="connsiteX340" fmla="*/ 3184140 w 7369701"/>
              <a:gd name="connsiteY340" fmla="*/ 6858000 h 6858000"/>
              <a:gd name="connsiteX341" fmla="*/ 3099978 w 7369701"/>
              <a:gd name="connsiteY341" fmla="*/ 6858000 h 6858000"/>
              <a:gd name="connsiteX342" fmla="*/ 3101556 w 7369701"/>
              <a:gd name="connsiteY342" fmla="*/ 6843337 h 6858000"/>
              <a:gd name="connsiteX343" fmla="*/ 3370162 w 7369701"/>
              <a:gd name="connsiteY343" fmla="*/ 5785550 h 6858000"/>
              <a:gd name="connsiteX344" fmla="*/ 3746477 w 7369701"/>
              <a:gd name="connsiteY344" fmla="*/ 5377889 h 6858000"/>
              <a:gd name="connsiteX345" fmla="*/ 3863399 w 7369701"/>
              <a:gd name="connsiteY345" fmla="*/ 5087257 h 6858000"/>
              <a:gd name="connsiteX346" fmla="*/ 3968712 w 7369701"/>
              <a:gd name="connsiteY346" fmla="*/ 4913989 h 6858000"/>
              <a:gd name="connsiteX347" fmla="*/ 2792390 w 7369701"/>
              <a:gd name="connsiteY347" fmla="*/ 5382974 h 6858000"/>
              <a:gd name="connsiteX348" fmla="*/ 2714982 w 7369701"/>
              <a:gd name="connsiteY348" fmla="*/ 5427051 h 6858000"/>
              <a:gd name="connsiteX349" fmla="*/ 2813361 w 7369701"/>
              <a:gd name="connsiteY349" fmla="*/ 6023912 h 6858000"/>
              <a:gd name="connsiteX350" fmla="*/ 2688430 w 7369701"/>
              <a:gd name="connsiteY350" fmla="*/ 6801564 h 6858000"/>
              <a:gd name="connsiteX351" fmla="*/ 2629626 w 7369701"/>
              <a:gd name="connsiteY351" fmla="*/ 6763394 h 6858000"/>
              <a:gd name="connsiteX352" fmla="*/ 2565328 w 7369701"/>
              <a:gd name="connsiteY352" fmla="*/ 5516399 h 6858000"/>
              <a:gd name="connsiteX353" fmla="*/ 1922999 w 7369701"/>
              <a:gd name="connsiteY353" fmla="*/ 5980343 h 6858000"/>
              <a:gd name="connsiteX354" fmla="*/ 1950261 w 7369701"/>
              <a:gd name="connsiteY354" fmla="*/ 6405858 h 6858000"/>
              <a:gd name="connsiteX355" fmla="*/ 2365554 w 7369701"/>
              <a:gd name="connsiteY355" fmla="*/ 6759107 h 6858000"/>
              <a:gd name="connsiteX356" fmla="*/ 2424142 w 7369701"/>
              <a:gd name="connsiteY356" fmla="*/ 6858000 h 6858000"/>
              <a:gd name="connsiteX357" fmla="*/ 2395994 w 7369701"/>
              <a:gd name="connsiteY357" fmla="*/ 6858000 h 6858000"/>
              <a:gd name="connsiteX358" fmla="*/ 2392863 w 7369701"/>
              <a:gd name="connsiteY358" fmla="*/ 6852964 h 6858000"/>
              <a:gd name="connsiteX359" fmla="*/ 2017589 w 7369701"/>
              <a:gd name="connsiteY359" fmla="*/ 6493982 h 6858000"/>
              <a:gd name="connsiteX360" fmla="*/ 2147336 w 7369701"/>
              <a:gd name="connsiteY360" fmla="*/ 6594052 h 6858000"/>
              <a:gd name="connsiteX361" fmla="*/ 2207047 w 7369701"/>
              <a:gd name="connsiteY361" fmla="*/ 6654540 h 6858000"/>
              <a:gd name="connsiteX362" fmla="*/ 2299106 w 7369701"/>
              <a:gd name="connsiteY362" fmla="*/ 6778931 h 6858000"/>
              <a:gd name="connsiteX363" fmla="*/ 2314430 w 7369701"/>
              <a:gd name="connsiteY363" fmla="*/ 6801144 h 6858000"/>
              <a:gd name="connsiteX364" fmla="*/ 2352406 w 7369701"/>
              <a:gd name="connsiteY364" fmla="*/ 6858000 h 6858000"/>
              <a:gd name="connsiteX365" fmla="*/ 2314492 w 7369701"/>
              <a:gd name="connsiteY365" fmla="*/ 6858000 h 6858000"/>
              <a:gd name="connsiteX366" fmla="*/ 2288095 w 7369701"/>
              <a:gd name="connsiteY366" fmla="*/ 6818030 h 6858000"/>
              <a:gd name="connsiteX367" fmla="*/ 2272768 w 7369701"/>
              <a:gd name="connsiteY367" fmla="*/ 6795822 h 6858000"/>
              <a:gd name="connsiteX368" fmla="*/ 2182715 w 7369701"/>
              <a:gd name="connsiteY368" fmla="*/ 6675071 h 6858000"/>
              <a:gd name="connsiteX369" fmla="*/ 2032061 w 7369701"/>
              <a:gd name="connsiteY369" fmla="*/ 6541380 h 6858000"/>
              <a:gd name="connsiteX370" fmla="*/ 2257220 w 7369701"/>
              <a:gd name="connsiteY370" fmla="*/ 6826257 h 6858000"/>
              <a:gd name="connsiteX371" fmla="*/ 2281324 w 7369701"/>
              <a:gd name="connsiteY371" fmla="*/ 6858000 h 6858000"/>
              <a:gd name="connsiteX372" fmla="*/ 2242860 w 7369701"/>
              <a:gd name="connsiteY372" fmla="*/ 6858000 h 6858000"/>
              <a:gd name="connsiteX373" fmla="*/ 2232818 w 7369701"/>
              <a:gd name="connsiteY373" fmla="*/ 6844926 h 6858000"/>
              <a:gd name="connsiteX374" fmla="*/ 1990172 w 7369701"/>
              <a:gd name="connsiteY374" fmla="*/ 6542121 h 6858000"/>
              <a:gd name="connsiteX375" fmla="*/ 2124090 w 7369701"/>
              <a:gd name="connsiteY375" fmla="*/ 6761017 h 6858000"/>
              <a:gd name="connsiteX376" fmla="*/ 2200380 w 7369701"/>
              <a:gd name="connsiteY376" fmla="*/ 6858000 h 6858000"/>
              <a:gd name="connsiteX377" fmla="*/ 2147507 w 7369701"/>
              <a:gd name="connsiteY377" fmla="*/ 6858000 h 6858000"/>
              <a:gd name="connsiteX378" fmla="*/ 2070668 w 7369701"/>
              <a:gd name="connsiteY378" fmla="*/ 6761520 h 6858000"/>
              <a:gd name="connsiteX379" fmla="*/ 1975142 w 7369701"/>
              <a:gd name="connsiteY379" fmla="*/ 6585570 h 6858000"/>
              <a:gd name="connsiteX380" fmla="*/ 2050035 w 7369701"/>
              <a:gd name="connsiteY380" fmla="*/ 6813345 h 6858000"/>
              <a:gd name="connsiteX381" fmla="*/ 2063025 w 7369701"/>
              <a:gd name="connsiteY381" fmla="*/ 6858000 h 6858000"/>
              <a:gd name="connsiteX382" fmla="*/ 2021675 w 7369701"/>
              <a:gd name="connsiteY382" fmla="*/ 6858000 h 6858000"/>
              <a:gd name="connsiteX383" fmla="*/ 2019308 w 7369701"/>
              <a:gd name="connsiteY383" fmla="*/ 6847118 h 6858000"/>
              <a:gd name="connsiteX384" fmla="*/ 1938835 w 7369701"/>
              <a:gd name="connsiteY384" fmla="*/ 6551160 h 6858000"/>
              <a:gd name="connsiteX385" fmla="*/ 1953230 w 7369701"/>
              <a:gd name="connsiteY385" fmla="*/ 6759699 h 6858000"/>
              <a:gd name="connsiteX386" fmla="*/ 1956763 w 7369701"/>
              <a:gd name="connsiteY386" fmla="*/ 6778191 h 6858000"/>
              <a:gd name="connsiteX387" fmla="*/ 1967925 w 7369701"/>
              <a:gd name="connsiteY387" fmla="*/ 6858000 h 6858000"/>
              <a:gd name="connsiteX388" fmla="*/ 1936622 w 7369701"/>
              <a:gd name="connsiteY388" fmla="*/ 6858000 h 6858000"/>
              <a:gd name="connsiteX389" fmla="*/ 1926261 w 7369701"/>
              <a:gd name="connsiteY389" fmla="*/ 6784064 h 6858000"/>
              <a:gd name="connsiteX390" fmla="*/ 1922724 w 7369701"/>
              <a:gd name="connsiteY390" fmla="*/ 6765577 h 6858000"/>
              <a:gd name="connsiteX391" fmla="*/ 1904650 w 7369701"/>
              <a:gd name="connsiteY391" fmla="*/ 6639616 h 6858000"/>
              <a:gd name="connsiteX392" fmla="*/ 1885273 w 7369701"/>
              <a:gd name="connsiteY392" fmla="*/ 6858000 h 6858000"/>
              <a:gd name="connsiteX393" fmla="*/ 1854363 w 7369701"/>
              <a:gd name="connsiteY393" fmla="*/ 6858000 h 6858000"/>
              <a:gd name="connsiteX394" fmla="*/ 1880391 w 7369701"/>
              <a:gd name="connsiteY394" fmla="*/ 6603796 h 6858000"/>
              <a:gd name="connsiteX395" fmla="*/ 1818273 w 7369701"/>
              <a:gd name="connsiteY395" fmla="*/ 6715729 h 6858000"/>
              <a:gd name="connsiteX396" fmla="*/ 1794691 w 7369701"/>
              <a:gd name="connsiteY396" fmla="*/ 6843239 h 6858000"/>
              <a:gd name="connsiteX397" fmla="*/ 1794914 w 7369701"/>
              <a:gd name="connsiteY397" fmla="*/ 6858000 h 6858000"/>
              <a:gd name="connsiteX398" fmla="*/ 1746128 w 7369701"/>
              <a:gd name="connsiteY398" fmla="*/ 6858000 h 6858000"/>
              <a:gd name="connsiteX399" fmla="*/ 1753934 w 7369701"/>
              <a:gd name="connsiteY399" fmla="*/ 6724796 h 6858000"/>
              <a:gd name="connsiteX400" fmla="*/ 1792053 w 7369701"/>
              <a:gd name="connsiteY400" fmla="*/ 6572396 h 6858000"/>
              <a:gd name="connsiteX401" fmla="*/ 1862248 w 7369701"/>
              <a:gd name="connsiteY401" fmla="*/ 6266397 h 6858000"/>
              <a:gd name="connsiteX402" fmla="*/ 1862250 w 7369701"/>
              <a:gd name="connsiteY402" fmla="*/ 6033531 h 6858000"/>
              <a:gd name="connsiteX403" fmla="*/ 1211999 w 7369701"/>
              <a:gd name="connsiteY403" fmla="*/ 6683610 h 6858000"/>
              <a:gd name="connsiteX404" fmla="*/ 1213266 w 7369701"/>
              <a:gd name="connsiteY404" fmla="*/ 6691947 h 6858000"/>
              <a:gd name="connsiteX405" fmla="*/ 1203370 w 7369701"/>
              <a:gd name="connsiteY405" fmla="*/ 6850676 h 6858000"/>
              <a:gd name="connsiteX406" fmla="*/ 1203671 w 7369701"/>
              <a:gd name="connsiteY406" fmla="*/ 6858000 h 6858000"/>
              <a:gd name="connsiteX407" fmla="*/ 1143180 w 7369701"/>
              <a:gd name="connsiteY407" fmla="*/ 6858000 h 6858000"/>
              <a:gd name="connsiteX408" fmla="*/ 1142176 w 7369701"/>
              <a:gd name="connsiteY408" fmla="*/ 6766045 h 6858000"/>
              <a:gd name="connsiteX409" fmla="*/ 1067484 w 7369701"/>
              <a:gd name="connsiteY409" fmla="*/ 6858000 h 6858000"/>
              <a:gd name="connsiteX410" fmla="*/ 953928 w 7369701"/>
              <a:gd name="connsiteY410" fmla="*/ 6858000 h 6858000"/>
              <a:gd name="connsiteX411" fmla="*/ 959715 w 7369701"/>
              <a:gd name="connsiteY411" fmla="*/ 6850185 h 6858000"/>
              <a:gd name="connsiteX412" fmla="*/ 1483788 w 7369701"/>
              <a:gd name="connsiteY412" fmla="*/ 6259174 h 6858000"/>
              <a:gd name="connsiteX413" fmla="*/ 1100671 w 7369701"/>
              <a:gd name="connsiteY413" fmla="*/ 6252137 h 6858000"/>
              <a:gd name="connsiteX414" fmla="*/ 1090144 w 7369701"/>
              <a:gd name="connsiteY414" fmla="*/ 6256748 h 6858000"/>
              <a:gd name="connsiteX415" fmla="*/ 1095872 w 7369701"/>
              <a:gd name="connsiteY415" fmla="*/ 6271892 h 6858000"/>
              <a:gd name="connsiteX416" fmla="*/ 262785 w 7369701"/>
              <a:gd name="connsiteY416" fmla="*/ 6845450 h 6858000"/>
              <a:gd name="connsiteX417" fmla="*/ 209968 w 7369701"/>
              <a:gd name="connsiteY417" fmla="*/ 6770713 h 6858000"/>
              <a:gd name="connsiteX418" fmla="*/ 873460 w 7369701"/>
              <a:gd name="connsiteY418" fmla="*/ 6253768 h 6858000"/>
              <a:gd name="connsiteX419" fmla="*/ 192686 w 7369701"/>
              <a:gd name="connsiteY419" fmla="*/ 5849257 h 6858000"/>
              <a:gd name="connsiteX420" fmla="*/ 4696 w 7369701"/>
              <a:gd name="connsiteY420" fmla="*/ 5697668 h 6858000"/>
              <a:gd name="connsiteX421" fmla="*/ 0 w 7369701"/>
              <a:gd name="connsiteY421" fmla="*/ 5689984 h 6858000"/>
              <a:gd name="connsiteX422" fmla="*/ 0 w 7369701"/>
              <a:gd name="connsiteY422" fmla="*/ 5513472 h 6858000"/>
              <a:gd name="connsiteX423" fmla="*/ 174101 w 7369701"/>
              <a:gd name="connsiteY423" fmla="*/ 5620277 h 6858000"/>
              <a:gd name="connsiteX424" fmla="*/ 891800 w 7369701"/>
              <a:gd name="connsiteY424" fmla="*/ 6036935 h 6858000"/>
              <a:gd name="connsiteX425" fmla="*/ 1072219 w 7369701"/>
              <a:gd name="connsiteY425" fmla="*/ 6169443 h 6858000"/>
              <a:gd name="connsiteX426" fmla="*/ 1074117 w 7369701"/>
              <a:gd name="connsiteY426" fmla="*/ 6170301 h 6858000"/>
              <a:gd name="connsiteX427" fmla="*/ 1083114 w 7369701"/>
              <a:gd name="connsiteY427" fmla="*/ 6174131 h 6858000"/>
              <a:gd name="connsiteX428" fmla="*/ 1543010 w 7369701"/>
              <a:gd name="connsiteY428" fmla="*/ 6191140 h 6858000"/>
              <a:gd name="connsiteX429" fmla="*/ 1551080 w 7369701"/>
              <a:gd name="connsiteY429" fmla="*/ 6195006 h 6858000"/>
              <a:gd name="connsiteX430" fmla="*/ 2345443 w 7369701"/>
              <a:gd name="connsiteY430" fmla="*/ 5549882 h 6858000"/>
              <a:gd name="connsiteX431" fmla="*/ 1721499 w 7369701"/>
              <a:gd name="connsiteY431" fmla="*/ 5599969 h 6858000"/>
              <a:gd name="connsiteX432" fmla="*/ 767716 w 7369701"/>
              <a:gd name="connsiteY432" fmla="*/ 5472768 h 6858000"/>
              <a:gd name="connsiteX433" fmla="*/ 722147 w 7369701"/>
              <a:gd name="connsiteY433" fmla="*/ 5393091 h 6858000"/>
              <a:gd name="connsiteX434" fmla="*/ 1485552 w 7369701"/>
              <a:gd name="connsiteY434" fmla="*/ 5313202 h 6858000"/>
              <a:gd name="connsiteX435" fmla="*/ 2143004 w 7369701"/>
              <a:gd name="connsiteY435" fmla="*/ 5402420 h 6858000"/>
              <a:gd name="connsiteX436" fmla="*/ 1933391 w 7369701"/>
              <a:gd name="connsiteY436" fmla="*/ 5156971 h 6858000"/>
              <a:gd name="connsiteX437" fmla="*/ 1827118 w 7369701"/>
              <a:gd name="connsiteY437" fmla="*/ 4968410 h 6858000"/>
              <a:gd name="connsiteX438" fmla="*/ 1837349 w 7369701"/>
              <a:gd name="connsiteY438" fmla="*/ 4956357 h 6858000"/>
              <a:gd name="connsiteX439" fmla="*/ 2162835 w 7369701"/>
              <a:gd name="connsiteY439" fmla="*/ 5187853 h 6858000"/>
              <a:gd name="connsiteX440" fmla="*/ 2257167 w 7369701"/>
              <a:gd name="connsiteY440" fmla="*/ 5462123 h 6858000"/>
              <a:gd name="connsiteX441" fmla="*/ 2261598 w 7369701"/>
              <a:gd name="connsiteY441" fmla="*/ 5467998 h 6858000"/>
              <a:gd name="connsiteX442" fmla="*/ 2437177 w 7369701"/>
              <a:gd name="connsiteY442" fmla="*/ 5479608 h 6858000"/>
              <a:gd name="connsiteX443" fmla="*/ 2445247 w 7369701"/>
              <a:gd name="connsiteY443" fmla="*/ 5483476 h 6858000"/>
              <a:gd name="connsiteX444" fmla="*/ 2743626 w 7369701"/>
              <a:gd name="connsiteY444" fmla="*/ 5304819 h 6858000"/>
              <a:gd name="connsiteX445" fmla="*/ 3048102 w 7369701"/>
              <a:gd name="connsiteY445" fmla="*/ 5150595 h 6858000"/>
              <a:gd name="connsiteX446" fmla="*/ 1799414 w 7369701"/>
              <a:gd name="connsiteY446" fmla="*/ 4694732 h 6858000"/>
              <a:gd name="connsiteX447" fmla="*/ 1771735 w 7369701"/>
              <a:gd name="connsiteY447" fmla="*/ 4619929 h 6858000"/>
              <a:gd name="connsiteX448" fmla="*/ 3104273 w 7369701"/>
              <a:gd name="connsiteY448" fmla="*/ 5076159 h 6858000"/>
              <a:gd name="connsiteX449" fmla="*/ 3113245 w 7369701"/>
              <a:gd name="connsiteY449" fmla="*/ 5090705 h 6858000"/>
              <a:gd name="connsiteX450" fmla="*/ 3126294 w 7369701"/>
              <a:gd name="connsiteY450" fmla="*/ 5114400 h 6858000"/>
              <a:gd name="connsiteX451" fmla="*/ 3937433 w 7369701"/>
              <a:gd name="connsiteY451" fmla="*/ 4830473 h 6858000"/>
              <a:gd name="connsiteX452" fmla="*/ 3590475 w 7369701"/>
              <a:gd name="connsiteY452" fmla="*/ 4597974 h 6858000"/>
              <a:gd name="connsiteX453" fmla="*/ 3100264 w 7369701"/>
              <a:gd name="connsiteY453" fmla="*/ 4579845 h 6858000"/>
              <a:gd name="connsiteX454" fmla="*/ 2183576 w 7369701"/>
              <a:gd name="connsiteY454" fmla="*/ 4227150 h 6858000"/>
              <a:gd name="connsiteX455" fmla="*/ 2151029 w 7369701"/>
              <a:gd name="connsiteY455" fmla="*/ 4146947 h 6858000"/>
              <a:gd name="connsiteX456" fmla="*/ 3563434 w 7369701"/>
              <a:gd name="connsiteY456" fmla="*/ 4469115 h 6858000"/>
              <a:gd name="connsiteX457" fmla="*/ 3177952 w 7369701"/>
              <a:gd name="connsiteY457" fmla="*/ 3657386 h 6858000"/>
              <a:gd name="connsiteX458" fmla="*/ 3189263 w 7369701"/>
              <a:gd name="connsiteY458" fmla="*/ 3625726 h 6858000"/>
              <a:gd name="connsiteX459" fmla="*/ 3560912 w 7369701"/>
              <a:gd name="connsiteY459" fmla="*/ 4079863 h 6858000"/>
              <a:gd name="connsiteX460" fmla="*/ 3626636 w 7369701"/>
              <a:gd name="connsiteY460" fmla="*/ 4512230 h 6858000"/>
              <a:gd name="connsiteX461" fmla="*/ 3653088 w 7369701"/>
              <a:gd name="connsiteY461" fmla="*/ 4521417 h 6858000"/>
              <a:gd name="connsiteX462" fmla="*/ 3988128 w 7369701"/>
              <a:gd name="connsiteY462" fmla="*/ 4817267 h 6858000"/>
              <a:gd name="connsiteX463" fmla="*/ 4830582 w 7369701"/>
              <a:gd name="connsiteY463" fmla="*/ 4676000 h 6858000"/>
              <a:gd name="connsiteX464" fmla="*/ 4830100 w 7369701"/>
              <a:gd name="connsiteY464" fmla="*/ 4675554 h 6858000"/>
              <a:gd name="connsiteX465" fmla="*/ 4036318 w 7369701"/>
              <a:gd name="connsiteY465" fmla="*/ 4147013 h 6858000"/>
              <a:gd name="connsiteX466" fmla="*/ 3432098 w 7369701"/>
              <a:gd name="connsiteY466" fmla="*/ 3537312 h 6858000"/>
              <a:gd name="connsiteX467" fmla="*/ 3446761 w 7369701"/>
              <a:gd name="connsiteY467" fmla="*/ 3461278 h 6858000"/>
              <a:gd name="connsiteX468" fmla="*/ 4419733 w 7369701"/>
              <a:gd name="connsiteY468" fmla="*/ 3963555 h 6858000"/>
              <a:gd name="connsiteX469" fmla="*/ 4781371 w 7369701"/>
              <a:gd name="connsiteY469" fmla="*/ 4458604 h 6858000"/>
              <a:gd name="connsiteX470" fmla="*/ 4780440 w 7369701"/>
              <a:gd name="connsiteY470" fmla="*/ 4470290 h 6858000"/>
              <a:gd name="connsiteX471" fmla="*/ 4898954 w 7369701"/>
              <a:gd name="connsiteY471" fmla="*/ 4662092 h 6858000"/>
              <a:gd name="connsiteX472" fmla="*/ 4900699 w 7369701"/>
              <a:gd name="connsiteY472" fmla="*/ 4670867 h 6858000"/>
              <a:gd name="connsiteX473" fmla="*/ 5714511 w 7369701"/>
              <a:gd name="connsiteY473" fmla="*/ 4663483 h 6858000"/>
              <a:gd name="connsiteX474" fmla="*/ 5464793 w 7369701"/>
              <a:gd name="connsiteY474" fmla="*/ 4393556 h 6858000"/>
              <a:gd name="connsiteX475" fmla="*/ 5461897 w 7369701"/>
              <a:gd name="connsiteY475" fmla="*/ 4390879 h 6858000"/>
              <a:gd name="connsiteX476" fmla="*/ 4294126 w 7369701"/>
              <a:gd name="connsiteY476" fmla="*/ 3303048 h 6858000"/>
              <a:gd name="connsiteX477" fmla="*/ 4305321 w 7369701"/>
              <a:gd name="connsiteY477" fmla="*/ 3256953 h 6858000"/>
              <a:gd name="connsiteX478" fmla="*/ 4949299 w 7369701"/>
              <a:gd name="connsiteY478" fmla="*/ 3766336 h 6858000"/>
              <a:gd name="connsiteX479" fmla="*/ 5291452 w 7369701"/>
              <a:gd name="connsiteY479" fmla="*/ 4076801 h 6858000"/>
              <a:gd name="connsiteX480" fmla="*/ 5434998 w 7369701"/>
              <a:gd name="connsiteY480" fmla="*/ 4254100 h 6858000"/>
              <a:gd name="connsiteX481" fmla="*/ 5351015 w 7369701"/>
              <a:gd name="connsiteY481" fmla="*/ 3760989 h 6858000"/>
              <a:gd name="connsiteX482" fmla="*/ 5413780 w 7369701"/>
              <a:gd name="connsiteY482" fmla="*/ 2966265 h 6858000"/>
              <a:gd name="connsiteX483" fmla="*/ 5425627 w 7369701"/>
              <a:gd name="connsiteY483" fmla="*/ 2954192 h 6858000"/>
              <a:gd name="connsiteX484" fmla="*/ 6604735 w 7369701"/>
              <a:gd name="connsiteY484" fmla="*/ 2041381 h 6858000"/>
              <a:gd name="connsiteX485" fmla="*/ 7204487 w 7369701"/>
              <a:gd name="connsiteY485" fmla="*/ 2742112 h 6858000"/>
              <a:gd name="connsiteX486" fmla="*/ 7131592 w 7369701"/>
              <a:gd name="connsiteY486" fmla="*/ 2672096 h 6858000"/>
              <a:gd name="connsiteX487" fmla="*/ 6996344 w 7369701"/>
              <a:gd name="connsiteY487" fmla="*/ 2518310 h 6858000"/>
              <a:gd name="connsiteX488" fmla="*/ 6735495 w 7369701"/>
              <a:gd name="connsiteY488" fmla="*/ 2196890 h 6858000"/>
              <a:gd name="connsiteX489" fmla="*/ 6721901 w 7369701"/>
              <a:gd name="connsiteY489" fmla="*/ 2179274 h 6858000"/>
              <a:gd name="connsiteX490" fmla="*/ 6604735 w 7369701"/>
              <a:gd name="connsiteY490" fmla="*/ 2041381 h 6858000"/>
              <a:gd name="connsiteX491" fmla="*/ 6591670 w 7369701"/>
              <a:gd name="connsiteY491" fmla="*/ 1988277 h 6858000"/>
              <a:gd name="connsiteX492" fmla="*/ 6747349 w 7369701"/>
              <a:gd name="connsiteY492" fmla="*/ 2160069 h 6858000"/>
              <a:gd name="connsiteX493" fmla="*/ 6760943 w 7369701"/>
              <a:gd name="connsiteY493" fmla="*/ 2177686 h 6858000"/>
              <a:gd name="connsiteX494" fmla="*/ 7021065 w 7369701"/>
              <a:gd name="connsiteY494" fmla="*/ 2498102 h 6858000"/>
              <a:gd name="connsiteX495" fmla="*/ 7155223 w 7369701"/>
              <a:gd name="connsiteY495" fmla="*/ 2650386 h 6858000"/>
              <a:gd name="connsiteX496" fmla="*/ 7203167 w 7369701"/>
              <a:gd name="connsiteY496" fmla="*/ 2697288 h 6858000"/>
              <a:gd name="connsiteX497" fmla="*/ 6937703 w 7369701"/>
              <a:gd name="connsiteY497" fmla="*/ 2321981 h 6858000"/>
              <a:gd name="connsiteX498" fmla="*/ 6591670 w 7369701"/>
              <a:gd name="connsiteY498" fmla="*/ 1988277 h 6858000"/>
              <a:gd name="connsiteX499" fmla="*/ 5798671 w 7369701"/>
              <a:gd name="connsiteY499" fmla="*/ 1981601 h 6858000"/>
              <a:gd name="connsiteX500" fmla="*/ 5754709 w 7369701"/>
              <a:gd name="connsiteY500" fmla="*/ 2071454 h 6858000"/>
              <a:gd name="connsiteX501" fmla="*/ 5763044 w 7369701"/>
              <a:gd name="connsiteY501" fmla="*/ 2842206 h 6858000"/>
              <a:gd name="connsiteX502" fmla="*/ 5764974 w 7369701"/>
              <a:gd name="connsiteY502" fmla="*/ 2799609 h 6858000"/>
              <a:gd name="connsiteX503" fmla="*/ 5767665 w 7369701"/>
              <a:gd name="connsiteY503" fmla="*/ 2666409 h 6858000"/>
              <a:gd name="connsiteX504" fmla="*/ 5763055 w 7369701"/>
              <a:gd name="connsiteY504" fmla="*/ 2579705 h 6858000"/>
              <a:gd name="connsiteX505" fmla="*/ 5758079 w 7369701"/>
              <a:gd name="connsiteY505" fmla="*/ 2492508 h 6858000"/>
              <a:gd name="connsiteX506" fmla="*/ 5779325 w 7369701"/>
              <a:gd name="connsiteY506" fmla="*/ 2197069 h 6858000"/>
              <a:gd name="connsiteX507" fmla="*/ 5798671 w 7369701"/>
              <a:gd name="connsiteY507" fmla="*/ 1981601 h 6858000"/>
              <a:gd name="connsiteX508" fmla="*/ 5829202 w 7369701"/>
              <a:gd name="connsiteY508" fmla="*/ 1971679 h 6858000"/>
              <a:gd name="connsiteX509" fmla="*/ 5809558 w 7369701"/>
              <a:gd name="connsiteY509" fmla="*/ 2198043 h 6858000"/>
              <a:gd name="connsiteX510" fmla="*/ 5788653 w 7369701"/>
              <a:gd name="connsiteY510" fmla="*/ 2489430 h 6858000"/>
              <a:gd name="connsiteX511" fmla="*/ 5793439 w 7369701"/>
              <a:gd name="connsiteY511" fmla="*/ 2575235 h 6858000"/>
              <a:gd name="connsiteX512" fmla="*/ 5796837 w 7369701"/>
              <a:gd name="connsiteY512" fmla="*/ 2637633 h 6858000"/>
              <a:gd name="connsiteX513" fmla="*/ 5818614 w 7369701"/>
              <a:gd name="connsiteY513" fmla="*/ 2473055 h 6858000"/>
              <a:gd name="connsiteX514" fmla="*/ 5829202 w 7369701"/>
              <a:gd name="connsiteY514" fmla="*/ 1971679 h 6858000"/>
              <a:gd name="connsiteX515" fmla="*/ 5911389 w 7369701"/>
              <a:gd name="connsiteY515" fmla="*/ 1898371 h 6858000"/>
              <a:gd name="connsiteX516" fmla="*/ 6237627 w 7369701"/>
              <a:gd name="connsiteY516" fmla="*/ 2231921 h 6858000"/>
              <a:gd name="connsiteX517" fmla="*/ 5911389 w 7369701"/>
              <a:gd name="connsiteY517" fmla="*/ 1898371 h 6858000"/>
              <a:gd name="connsiteX518" fmla="*/ 6944437 w 7369701"/>
              <a:gd name="connsiteY518" fmla="*/ 1575402 h 6858000"/>
              <a:gd name="connsiteX519" fmla="*/ 6304730 w 7369701"/>
              <a:gd name="connsiteY519" fmla="*/ 1766654 h 6858000"/>
              <a:gd name="connsiteX520" fmla="*/ 6944437 w 7369701"/>
              <a:gd name="connsiteY520" fmla="*/ 1575402 h 6858000"/>
              <a:gd name="connsiteX521" fmla="*/ 7019523 w 7369701"/>
              <a:gd name="connsiteY521" fmla="*/ 1519450 h 6858000"/>
              <a:gd name="connsiteX522" fmla="*/ 6298091 w 7369701"/>
              <a:gd name="connsiteY522" fmla="*/ 1737122 h 6858000"/>
              <a:gd name="connsiteX523" fmla="*/ 7019523 w 7369701"/>
              <a:gd name="connsiteY523" fmla="*/ 1519450 h 6858000"/>
              <a:gd name="connsiteX524" fmla="*/ 2399523 w 7369701"/>
              <a:gd name="connsiteY524" fmla="*/ 1428234 h 6858000"/>
              <a:gd name="connsiteX525" fmla="*/ 2224982 w 7369701"/>
              <a:gd name="connsiteY525" fmla="*/ 1826201 h 6858000"/>
              <a:gd name="connsiteX526" fmla="*/ 2096099 w 7369701"/>
              <a:gd name="connsiteY526" fmla="*/ 2345900 h 6858000"/>
              <a:gd name="connsiteX527" fmla="*/ 2283317 w 7369701"/>
              <a:gd name="connsiteY527" fmla="*/ 1796925 h 6858000"/>
              <a:gd name="connsiteX528" fmla="*/ 2399523 w 7369701"/>
              <a:gd name="connsiteY528" fmla="*/ 1428234 h 6858000"/>
              <a:gd name="connsiteX529" fmla="*/ 2448558 w 7369701"/>
              <a:gd name="connsiteY529" fmla="*/ 1373435 h 6858000"/>
              <a:gd name="connsiteX530" fmla="*/ 2312521 w 7369701"/>
              <a:gd name="connsiteY530" fmla="*/ 1806140 h 6858000"/>
              <a:gd name="connsiteX531" fmla="*/ 2127533 w 7369701"/>
              <a:gd name="connsiteY531" fmla="*/ 2348380 h 6858000"/>
              <a:gd name="connsiteX532" fmla="*/ 2358080 w 7369701"/>
              <a:gd name="connsiteY532" fmla="*/ 1866134 h 6858000"/>
              <a:gd name="connsiteX533" fmla="*/ 2407436 w 7369701"/>
              <a:gd name="connsiteY533" fmla="*/ 1651070 h 6858000"/>
              <a:gd name="connsiteX534" fmla="*/ 2448558 w 7369701"/>
              <a:gd name="connsiteY534" fmla="*/ 1373435 h 6858000"/>
              <a:gd name="connsiteX535" fmla="*/ 278707 w 7369701"/>
              <a:gd name="connsiteY535" fmla="*/ 1352270 h 6858000"/>
              <a:gd name="connsiteX536" fmla="*/ 321570 w 7369701"/>
              <a:gd name="connsiteY536" fmla="*/ 1861610 h 6858000"/>
              <a:gd name="connsiteX537" fmla="*/ 294281 w 7369701"/>
              <a:gd name="connsiteY537" fmla="*/ 1440658 h 6858000"/>
              <a:gd name="connsiteX538" fmla="*/ 278707 w 7369701"/>
              <a:gd name="connsiteY538" fmla="*/ 1352270 h 6858000"/>
              <a:gd name="connsiteX539" fmla="*/ 1423821 w 7369701"/>
              <a:gd name="connsiteY539" fmla="*/ 1351958 h 6858000"/>
              <a:gd name="connsiteX540" fmla="*/ 1638521 w 7369701"/>
              <a:gd name="connsiteY540" fmla="*/ 1908470 h 6858000"/>
              <a:gd name="connsiteX541" fmla="*/ 1754199 w 7369701"/>
              <a:gd name="connsiteY541" fmla="*/ 2149284 h 6858000"/>
              <a:gd name="connsiteX542" fmla="*/ 1908359 w 7369701"/>
              <a:gd name="connsiteY542" fmla="*/ 2364988 h 6858000"/>
              <a:gd name="connsiteX543" fmla="*/ 1647661 w 7369701"/>
              <a:gd name="connsiteY543" fmla="*/ 1825945 h 6858000"/>
              <a:gd name="connsiteX544" fmla="*/ 1423821 w 7369701"/>
              <a:gd name="connsiteY544" fmla="*/ 1351958 h 6858000"/>
              <a:gd name="connsiteX545" fmla="*/ 1431890 w 7369701"/>
              <a:gd name="connsiteY545" fmla="*/ 1306475 h 6858000"/>
              <a:gd name="connsiteX546" fmla="*/ 1507597 w 7369701"/>
              <a:gd name="connsiteY546" fmla="*/ 1446132 h 6858000"/>
              <a:gd name="connsiteX547" fmla="*/ 1674586 w 7369701"/>
              <a:gd name="connsiteY547" fmla="*/ 1813832 h 6858000"/>
              <a:gd name="connsiteX548" fmla="*/ 1815950 w 7369701"/>
              <a:gd name="connsiteY548" fmla="*/ 2128564 h 6858000"/>
              <a:gd name="connsiteX549" fmla="*/ 1984242 w 7369701"/>
              <a:gd name="connsiteY549" fmla="*/ 2430829 h 6858000"/>
              <a:gd name="connsiteX550" fmla="*/ 2014023 w 7369701"/>
              <a:gd name="connsiteY550" fmla="*/ 2450995 h 6858000"/>
              <a:gd name="connsiteX551" fmla="*/ 1747337 w 7369701"/>
              <a:gd name="connsiteY551" fmla="*/ 1855264 h 6858000"/>
              <a:gd name="connsiteX552" fmla="*/ 1533749 w 7369701"/>
              <a:gd name="connsiteY552" fmla="*/ 1478656 h 6858000"/>
              <a:gd name="connsiteX553" fmla="*/ 1431890 w 7369701"/>
              <a:gd name="connsiteY553" fmla="*/ 1306475 h 6858000"/>
              <a:gd name="connsiteX554" fmla="*/ 5052692 w 7369701"/>
              <a:gd name="connsiteY554" fmla="*/ 1292994 h 6858000"/>
              <a:gd name="connsiteX555" fmla="*/ 5200661 w 7369701"/>
              <a:gd name="connsiteY555" fmla="*/ 1635186 h 6858000"/>
              <a:gd name="connsiteX556" fmla="*/ 5297138 w 7369701"/>
              <a:gd name="connsiteY556" fmla="*/ 1906351 h 6858000"/>
              <a:gd name="connsiteX557" fmla="*/ 5052692 w 7369701"/>
              <a:gd name="connsiteY557" fmla="*/ 1292994 h 6858000"/>
              <a:gd name="connsiteX558" fmla="*/ 5009948 w 7369701"/>
              <a:gd name="connsiteY558" fmla="*/ 1273619 h 6858000"/>
              <a:gd name="connsiteX559" fmla="*/ 5121777 w 7369701"/>
              <a:gd name="connsiteY559" fmla="*/ 1654213 h 6858000"/>
              <a:gd name="connsiteX560" fmla="*/ 5293545 w 7369701"/>
              <a:gd name="connsiteY560" fmla="*/ 2072247 h 6858000"/>
              <a:gd name="connsiteX561" fmla="*/ 5294042 w 7369701"/>
              <a:gd name="connsiteY561" fmla="*/ 2065019 h 6858000"/>
              <a:gd name="connsiteX562" fmla="*/ 5171936 w 7369701"/>
              <a:gd name="connsiteY562" fmla="*/ 1647613 h 6858000"/>
              <a:gd name="connsiteX563" fmla="*/ 5009948 w 7369701"/>
              <a:gd name="connsiteY563" fmla="*/ 1273619 h 6858000"/>
              <a:gd name="connsiteX564" fmla="*/ 655236 w 7369701"/>
              <a:gd name="connsiteY564" fmla="*/ 1268632 h 6858000"/>
              <a:gd name="connsiteX565" fmla="*/ 839521 w 7369701"/>
              <a:gd name="connsiteY565" fmla="*/ 1685315 h 6858000"/>
              <a:gd name="connsiteX566" fmla="*/ 1109416 w 7369701"/>
              <a:gd name="connsiteY566" fmla="*/ 2061663 h 6858000"/>
              <a:gd name="connsiteX567" fmla="*/ 1298300 w 7369701"/>
              <a:gd name="connsiteY567" fmla="*/ 2247742 h 6858000"/>
              <a:gd name="connsiteX568" fmla="*/ 1125871 w 7369701"/>
              <a:gd name="connsiteY568" fmla="*/ 1989513 h 6858000"/>
              <a:gd name="connsiteX569" fmla="*/ 981574 w 7369701"/>
              <a:gd name="connsiteY569" fmla="*/ 1783157 h 6858000"/>
              <a:gd name="connsiteX570" fmla="*/ 922198 w 7369701"/>
              <a:gd name="connsiteY570" fmla="*/ 1677437 h 6858000"/>
              <a:gd name="connsiteX571" fmla="*/ 869293 w 7369701"/>
              <a:gd name="connsiteY571" fmla="*/ 1583214 h 6858000"/>
              <a:gd name="connsiteX572" fmla="*/ 751431 w 7369701"/>
              <a:gd name="connsiteY572" fmla="*/ 1405731 h 6858000"/>
              <a:gd name="connsiteX573" fmla="*/ 655236 w 7369701"/>
              <a:gd name="connsiteY573" fmla="*/ 1268632 h 6858000"/>
              <a:gd name="connsiteX574" fmla="*/ 6516292 w 7369701"/>
              <a:gd name="connsiteY574" fmla="*/ 1263064 h 6858000"/>
              <a:gd name="connsiteX575" fmla="*/ 5736320 w 7369701"/>
              <a:gd name="connsiteY575" fmla="*/ 1501803 h 6858000"/>
              <a:gd name="connsiteX576" fmla="*/ 6516292 w 7369701"/>
              <a:gd name="connsiteY576" fmla="*/ 1263064 h 6858000"/>
              <a:gd name="connsiteX577" fmla="*/ 291466 w 7369701"/>
              <a:gd name="connsiteY577" fmla="*/ 1250369 h 6858000"/>
              <a:gd name="connsiteX578" fmla="*/ 323180 w 7369701"/>
              <a:gd name="connsiteY578" fmla="*/ 1435283 h 6858000"/>
              <a:gd name="connsiteX579" fmla="*/ 349381 w 7369701"/>
              <a:gd name="connsiteY579" fmla="*/ 1875041 h 6858000"/>
              <a:gd name="connsiteX580" fmla="*/ 374363 w 7369701"/>
              <a:gd name="connsiteY580" fmla="*/ 1506494 h 6858000"/>
              <a:gd name="connsiteX581" fmla="*/ 302168 w 7369701"/>
              <a:gd name="connsiteY581" fmla="*/ 1274495 h 6858000"/>
              <a:gd name="connsiteX582" fmla="*/ 291466 w 7369701"/>
              <a:gd name="connsiteY582" fmla="*/ 1250369 h 6858000"/>
              <a:gd name="connsiteX583" fmla="*/ 678222 w 7369701"/>
              <a:gd name="connsiteY583" fmla="*/ 1248670 h 6858000"/>
              <a:gd name="connsiteX584" fmla="*/ 775536 w 7369701"/>
              <a:gd name="connsiteY584" fmla="*/ 1388015 h 6858000"/>
              <a:gd name="connsiteX585" fmla="*/ 894529 w 7369701"/>
              <a:gd name="connsiteY585" fmla="*/ 1567739 h 6858000"/>
              <a:gd name="connsiteX586" fmla="*/ 948000 w 7369701"/>
              <a:gd name="connsiteY586" fmla="*/ 1663088 h 6858000"/>
              <a:gd name="connsiteX587" fmla="*/ 1006812 w 7369701"/>
              <a:gd name="connsiteY587" fmla="*/ 1767683 h 6858000"/>
              <a:gd name="connsiteX588" fmla="*/ 1149133 w 7369701"/>
              <a:gd name="connsiteY588" fmla="*/ 1971513 h 6858000"/>
              <a:gd name="connsiteX589" fmla="*/ 1333952 w 7369701"/>
              <a:gd name="connsiteY589" fmla="*/ 2251620 h 6858000"/>
              <a:gd name="connsiteX590" fmla="*/ 1337329 w 7369701"/>
              <a:gd name="connsiteY590" fmla="*/ 2258350 h 6858000"/>
              <a:gd name="connsiteX591" fmla="*/ 1014726 w 7369701"/>
              <a:gd name="connsiteY591" fmla="*/ 1615556 h 6858000"/>
              <a:gd name="connsiteX592" fmla="*/ 678222 w 7369701"/>
              <a:gd name="connsiteY592" fmla="*/ 1248670 h 6858000"/>
              <a:gd name="connsiteX593" fmla="*/ 6691602 w 7369701"/>
              <a:gd name="connsiteY593" fmla="*/ 1140573 h 6858000"/>
              <a:gd name="connsiteX594" fmla="*/ 6571100 w 7369701"/>
              <a:gd name="connsiteY594" fmla="*/ 1183662 h 6858000"/>
              <a:gd name="connsiteX595" fmla="*/ 6241687 w 7369701"/>
              <a:gd name="connsiteY595" fmla="*/ 1257600 h 6858000"/>
              <a:gd name="connsiteX596" fmla="*/ 5693009 w 7369701"/>
              <a:gd name="connsiteY596" fmla="*/ 1478256 h 6858000"/>
              <a:gd name="connsiteX597" fmla="*/ 6548420 w 7369701"/>
              <a:gd name="connsiteY597" fmla="*/ 1214599 h 6858000"/>
              <a:gd name="connsiteX598" fmla="*/ 6605473 w 7369701"/>
              <a:gd name="connsiteY598" fmla="*/ 1184686 h 6858000"/>
              <a:gd name="connsiteX599" fmla="*/ 6691602 w 7369701"/>
              <a:gd name="connsiteY599" fmla="*/ 1140573 h 6858000"/>
              <a:gd name="connsiteX600" fmla="*/ 4002475 w 7369701"/>
              <a:gd name="connsiteY600" fmla="*/ 1037802 h 6858000"/>
              <a:gd name="connsiteX601" fmla="*/ 4000324 w 7369701"/>
              <a:gd name="connsiteY601" fmla="*/ 1039362 h 6858000"/>
              <a:gd name="connsiteX602" fmla="*/ 4002862 w 7369701"/>
              <a:gd name="connsiteY602" fmla="*/ 1042866 h 6858000"/>
              <a:gd name="connsiteX603" fmla="*/ 4002475 w 7369701"/>
              <a:gd name="connsiteY603" fmla="*/ 1037802 h 6858000"/>
              <a:gd name="connsiteX604" fmla="*/ 506322 w 7369701"/>
              <a:gd name="connsiteY604" fmla="*/ 1020997 h 6858000"/>
              <a:gd name="connsiteX605" fmla="*/ 533068 w 7369701"/>
              <a:gd name="connsiteY605" fmla="*/ 1029409 h 6858000"/>
              <a:gd name="connsiteX606" fmla="*/ 1232525 w 7369701"/>
              <a:gd name="connsiteY606" fmla="*/ 1804675 h 6858000"/>
              <a:gd name="connsiteX607" fmla="*/ 1388858 w 7369701"/>
              <a:gd name="connsiteY607" fmla="*/ 2368011 h 6858000"/>
              <a:gd name="connsiteX608" fmla="*/ 1384098 w 7369701"/>
              <a:gd name="connsiteY608" fmla="*/ 2378125 h 6858000"/>
              <a:gd name="connsiteX609" fmla="*/ 1425393 w 7369701"/>
              <a:gd name="connsiteY609" fmla="*/ 2589124 h 6858000"/>
              <a:gd name="connsiteX610" fmla="*/ 1424001 w 7369701"/>
              <a:gd name="connsiteY610" fmla="*/ 2597541 h 6858000"/>
              <a:gd name="connsiteX611" fmla="*/ 2152729 w 7369701"/>
              <a:gd name="connsiteY611" fmla="*/ 2864487 h 6858000"/>
              <a:gd name="connsiteX612" fmla="*/ 2020609 w 7369701"/>
              <a:gd name="connsiteY612" fmla="*/ 2539671 h 6858000"/>
              <a:gd name="connsiteX613" fmla="*/ 2018920 w 7369701"/>
              <a:gd name="connsiteY613" fmla="*/ 2536309 h 6858000"/>
              <a:gd name="connsiteX614" fmla="*/ 1342441 w 7369701"/>
              <a:gd name="connsiteY614" fmla="*/ 1173017 h 6858000"/>
              <a:gd name="connsiteX615" fmla="*/ 1367925 w 7369701"/>
              <a:gd name="connsiteY615" fmla="*/ 1135648 h 6858000"/>
              <a:gd name="connsiteX616" fmla="*/ 1771401 w 7369701"/>
              <a:gd name="connsiteY616" fmla="*/ 1806673 h 6858000"/>
              <a:gd name="connsiteX617" fmla="*/ 1972385 w 7369701"/>
              <a:gd name="connsiteY617" fmla="*/ 2198735 h 6858000"/>
              <a:gd name="connsiteX618" fmla="*/ 2040892 w 7369701"/>
              <a:gd name="connsiteY618" fmla="*/ 2405205 h 6858000"/>
              <a:gd name="connsiteX619" fmla="*/ 2131689 w 7369701"/>
              <a:gd name="connsiteY619" fmla="*/ 1936926 h 6858000"/>
              <a:gd name="connsiteX620" fmla="*/ 2454820 w 7369701"/>
              <a:gd name="connsiteY620" fmla="*/ 1248808 h 6858000"/>
              <a:gd name="connsiteX621" fmla="*/ 2492512 w 7369701"/>
              <a:gd name="connsiteY621" fmla="*/ 1302920 h 6858000"/>
              <a:gd name="connsiteX622" fmla="*/ 2081216 w 7369701"/>
              <a:gd name="connsiteY622" fmla="*/ 2527513 h 6858000"/>
              <a:gd name="connsiteX623" fmla="*/ 2081211 w 7369701"/>
              <a:gd name="connsiteY623" fmla="*/ 2528916 h 6858000"/>
              <a:gd name="connsiteX624" fmla="*/ 2199067 w 7369701"/>
              <a:gd name="connsiteY624" fmla="*/ 2884061 h 6858000"/>
              <a:gd name="connsiteX625" fmla="*/ 3192586 w 7369701"/>
              <a:gd name="connsiteY625" fmla="*/ 3411496 h 6858000"/>
              <a:gd name="connsiteX626" fmla="*/ 3182620 w 7369701"/>
              <a:gd name="connsiteY626" fmla="*/ 3483279 h 6858000"/>
              <a:gd name="connsiteX627" fmla="*/ 2435119 w 7369701"/>
              <a:gd name="connsiteY627" fmla="*/ 3080173 h 6858000"/>
              <a:gd name="connsiteX628" fmla="*/ 2410152 w 7369701"/>
              <a:gd name="connsiteY628" fmla="*/ 3063751 h 6858000"/>
              <a:gd name="connsiteX629" fmla="*/ 2408099 w 7369701"/>
              <a:gd name="connsiteY629" fmla="*/ 3064403 h 6858000"/>
              <a:gd name="connsiteX630" fmla="*/ 2407218 w 7369701"/>
              <a:gd name="connsiteY630" fmla="*/ 3070324 h 6858000"/>
              <a:gd name="connsiteX631" fmla="*/ 2380138 w 7369701"/>
              <a:gd name="connsiteY631" fmla="*/ 3099341 h 6858000"/>
              <a:gd name="connsiteX632" fmla="*/ 1765923 w 7369701"/>
              <a:gd name="connsiteY632" fmla="*/ 3581043 h 6858000"/>
              <a:gd name="connsiteX633" fmla="*/ 1702258 w 7369701"/>
              <a:gd name="connsiteY633" fmla="*/ 3612286 h 6858000"/>
              <a:gd name="connsiteX634" fmla="*/ 1538370 w 7369701"/>
              <a:gd name="connsiteY634" fmla="*/ 3811804 h 6858000"/>
              <a:gd name="connsiteX635" fmla="*/ 542867 w 7369701"/>
              <a:gd name="connsiteY635" fmla="*/ 4944092 h 6858000"/>
              <a:gd name="connsiteX636" fmla="*/ 515800 w 7369701"/>
              <a:gd name="connsiteY636" fmla="*/ 4862180 h 6858000"/>
              <a:gd name="connsiteX637" fmla="*/ 909145 w 7369701"/>
              <a:gd name="connsiteY637" fmla="*/ 4199225 h 6858000"/>
              <a:gd name="connsiteX638" fmla="*/ 1214067 w 7369701"/>
              <a:gd name="connsiteY638" fmla="*/ 3908561 h 6858000"/>
              <a:gd name="connsiteX639" fmla="*/ 640967 w 7369701"/>
              <a:gd name="connsiteY639" fmla="*/ 4105601 h 6858000"/>
              <a:gd name="connsiteX640" fmla="*/ 112563 w 7369701"/>
              <a:gd name="connsiteY640" fmla="*/ 4396952 h 6858000"/>
              <a:gd name="connsiteX641" fmla="*/ 0 w 7369701"/>
              <a:gd name="connsiteY641" fmla="*/ 4466006 h 6858000"/>
              <a:gd name="connsiteX642" fmla="*/ 0 w 7369701"/>
              <a:gd name="connsiteY642" fmla="*/ 4233763 h 6858000"/>
              <a:gd name="connsiteX643" fmla="*/ 36881 w 7369701"/>
              <a:gd name="connsiteY643" fmla="*/ 4200118 h 6858000"/>
              <a:gd name="connsiteX644" fmla="*/ 910534 w 7369701"/>
              <a:gd name="connsiteY644" fmla="*/ 3629753 h 6858000"/>
              <a:gd name="connsiteX645" fmla="*/ 1578717 w 7369701"/>
              <a:gd name="connsiteY645" fmla="*/ 3575982 h 6858000"/>
              <a:gd name="connsiteX646" fmla="*/ 2338780 w 7369701"/>
              <a:gd name="connsiteY646" fmla="*/ 3033725 h 6858000"/>
              <a:gd name="connsiteX647" fmla="*/ 1807991 w 7369701"/>
              <a:gd name="connsiteY647" fmla="*/ 2807184 h 6858000"/>
              <a:gd name="connsiteX648" fmla="*/ 1416358 w 7369701"/>
              <a:gd name="connsiteY648" fmla="*/ 3112571 h 6858000"/>
              <a:gd name="connsiteX649" fmla="*/ 939066 w 7369701"/>
              <a:gd name="connsiteY649" fmla="*/ 3378798 h 6858000"/>
              <a:gd name="connsiteX650" fmla="*/ 115099 w 7369701"/>
              <a:gd name="connsiteY650" fmla="*/ 3607650 h 6858000"/>
              <a:gd name="connsiteX651" fmla="*/ 97284 w 7369701"/>
              <a:gd name="connsiteY651" fmla="*/ 3520393 h 6858000"/>
              <a:gd name="connsiteX652" fmla="*/ 922050 w 7369701"/>
              <a:gd name="connsiteY652" fmla="*/ 3074867 h 6858000"/>
              <a:gd name="connsiteX653" fmla="*/ 1405265 w 7369701"/>
              <a:gd name="connsiteY653" fmla="*/ 3016319 h 6858000"/>
              <a:gd name="connsiteX654" fmla="*/ 1407512 w 7369701"/>
              <a:gd name="connsiteY654" fmla="*/ 3018001 h 6858000"/>
              <a:gd name="connsiteX655" fmla="*/ 1726266 w 7369701"/>
              <a:gd name="connsiteY655" fmla="*/ 2777274 h 6858000"/>
              <a:gd name="connsiteX656" fmla="*/ 625390 w 7369701"/>
              <a:gd name="connsiteY656" fmla="*/ 2514541 h 6858000"/>
              <a:gd name="connsiteX657" fmla="*/ 619799 w 7369701"/>
              <a:gd name="connsiteY657" fmla="*/ 2527180 h 6858000"/>
              <a:gd name="connsiteX658" fmla="*/ 310030 w 7369701"/>
              <a:gd name="connsiteY658" fmla="*/ 2771818 h 6858000"/>
              <a:gd name="connsiteX659" fmla="*/ 173877 w 7369701"/>
              <a:gd name="connsiteY659" fmla="*/ 2937056 h 6858000"/>
              <a:gd name="connsiteX660" fmla="*/ 77889 w 7369701"/>
              <a:gd name="connsiteY660" fmla="*/ 3138440 h 6858000"/>
              <a:gd name="connsiteX661" fmla="*/ 0 w 7369701"/>
              <a:gd name="connsiteY661" fmla="*/ 3271395 h 6858000"/>
              <a:gd name="connsiteX662" fmla="*/ 0 w 7369701"/>
              <a:gd name="connsiteY662" fmla="*/ 3153002 h 6858000"/>
              <a:gd name="connsiteX663" fmla="*/ 2386 w 7369701"/>
              <a:gd name="connsiteY663" fmla="*/ 3149203 h 6858000"/>
              <a:gd name="connsiteX664" fmla="*/ 89753 w 7369701"/>
              <a:gd name="connsiteY664" fmla="*/ 2987702 h 6858000"/>
              <a:gd name="connsiteX665" fmla="*/ 76869 w 7369701"/>
              <a:gd name="connsiteY665" fmla="*/ 3005404 h 6858000"/>
              <a:gd name="connsiteX666" fmla="*/ 32049 w 7369701"/>
              <a:gd name="connsiteY666" fmla="*/ 3065814 h 6858000"/>
              <a:gd name="connsiteX667" fmla="*/ 0 w 7369701"/>
              <a:gd name="connsiteY667" fmla="*/ 3108744 h 6858000"/>
              <a:gd name="connsiteX668" fmla="*/ 0 w 7369701"/>
              <a:gd name="connsiteY668" fmla="*/ 3058059 h 6858000"/>
              <a:gd name="connsiteX669" fmla="*/ 7610 w 7369701"/>
              <a:gd name="connsiteY669" fmla="*/ 3047889 h 6858000"/>
              <a:gd name="connsiteX670" fmla="*/ 52419 w 7369701"/>
              <a:gd name="connsiteY670" fmla="*/ 2987479 h 6858000"/>
              <a:gd name="connsiteX671" fmla="*/ 59142 w 7369701"/>
              <a:gd name="connsiteY671" fmla="*/ 2978488 h 6858000"/>
              <a:gd name="connsiteX672" fmla="*/ 0 w 7369701"/>
              <a:gd name="connsiteY672" fmla="*/ 3015334 h 6858000"/>
              <a:gd name="connsiteX673" fmla="*/ 0 w 7369701"/>
              <a:gd name="connsiteY673" fmla="*/ 2914286 h 6858000"/>
              <a:gd name="connsiteX674" fmla="*/ 36383 w 7369701"/>
              <a:gd name="connsiteY674" fmla="*/ 2901128 h 6858000"/>
              <a:gd name="connsiteX675" fmla="*/ 156329 w 7369701"/>
              <a:gd name="connsiteY675" fmla="*/ 2840533 h 6858000"/>
              <a:gd name="connsiteX676" fmla="*/ 358355 w 7369701"/>
              <a:gd name="connsiteY676" fmla="*/ 2620471 h 6858000"/>
              <a:gd name="connsiteX677" fmla="*/ 510577 w 7369701"/>
              <a:gd name="connsiteY677" fmla="*/ 2501244 h 6858000"/>
              <a:gd name="connsiteX678" fmla="*/ 211967 w 7369701"/>
              <a:gd name="connsiteY678" fmla="*/ 2479171 h 6858000"/>
              <a:gd name="connsiteX679" fmla="*/ 0 w 7369701"/>
              <a:gd name="connsiteY679" fmla="*/ 2476398 h 6858000"/>
              <a:gd name="connsiteX680" fmla="*/ 0 w 7369701"/>
              <a:gd name="connsiteY680" fmla="*/ 2389189 h 6858000"/>
              <a:gd name="connsiteX681" fmla="*/ 103062 w 7369701"/>
              <a:gd name="connsiteY681" fmla="*/ 2389518 h 6858000"/>
              <a:gd name="connsiteX682" fmla="*/ 510734 w 7369701"/>
              <a:gd name="connsiteY682" fmla="*/ 2416201 h 6858000"/>
              <a:gd name="connsiteX683" fmla="*/ 279257 w 7369701"/>
              <a:gd name="connsiteY683" fmla="*/ 2092102 h 6858000"/>
              <a:gd name="connsiteX684" fmla="*/ 65265 w 7369701"/>
              <a:gd name="connsiteY684" fmla="*/ 2006049 h 6858000"/>
              <a:gd name="connsiteX685" fmla="*/ 0 w 7369701"/>
              <a:gd name="connsiteY685" fmla="*/ 1982532 h 6858000"/>
              <a:gd name="connsiteX686" fmla="*/ 0 w 7369701"/>
              <a:gd name="connsiteY686" fmla="*/ 1912789 h 6858000"/>
              <a:gd name="connsiteX687" fmla="*/ 97460 w 7369701"/>
              <a:gd name="connsiteY687" fmla="*/ 1953725 h 6858000"/>
              <a:gd name="connsiteX688" fmla="*/ 221272 w 7369701"/>
              <a:gd name="connsiteY688" fmla="*/ 1980766 h 6858000"/>
              <a:gd name="connsiteX689" fmla="*/ 116765 w 7369701"/>
              <a:gd name="connsiteY689" fmla="*/ 1911033 h 6858000"/>
              <a:gd name="connsiteX690" fmla="*/ 16405 w 7369701"/>
              <a:gd name="connsiteY690" fmla="*/ 1803412 h 6858000"/>
              <a:gd name="connsiteX691" fmla="*/ 0 w 7369701"/>
              <a:gd name="connsiteY691" fmla="*/ 1784777 h 6858000"/>
              <a:gd name="connsiteX692" fmla="*/ 0 w 7369701"/>
              <a:gd name="connsiteY692" fmla="*/ 1740082 h 6858000"/>
              <a:gd name="connsiteX693" fmla="*/ 39394 w 7369701"/>
              <a:gd name="connsiteY693" fmla="*/ 1784856 h 6858000"/>
              <a:gd name="connsiteX694" fmla="*/ 135813 w 7369701"/>
              <a:gd name="connsiteY694" fmla="*/ 1888838 h 6858000"/>
              <a:gd name="connsiteX695" fmla="*/ 242575 w 7369701"/>
              <a:gd name="connsiteY695" fmla="*/ 1958841 h 6858000"/>
              <a:gd name="connsiteX696" fmla="*/ 82197 w 7369701"/>
              <a:gd name="connsiteY696" fmla="*/ 1754826 h 6858000"/>
              <a:gd name="connsiteX697" fmla="*/ 0 w 7369701"/>
              <a:gd name="connsiteY697" fmla="*/ 1679650 h 6858000"/>
              <a:gd name="connsiteX698" fmla="*/ 0 w 7369701"/>
              <a:gd name="connsiteY698" fmla="*/ 1602463 h 6858000"/>
              <a:gd name="connsiteX699" fmla="*/ 84689 w 7369701"/>
              <a:gd name="connsiteY699" fmla="*/ 1677442 h 6858000"/>
              <a:gd name="connsiteX700" fmla="*/ 298437 w 7369701"/>
              <a:gd name="connsiteY700" fmla="*/ 1968019 h 6858000"/>
              <a:gd name="connsiteX701" fmla="*/ 227269 w 7369701"/>
              <a:gd name="connsiteY701" fmla="*/ 1114064 h 6858000"/>
              <a:gd name="connsiteX702" fmla="*/ 248003 w 7369701"/>
              <a:gd name="connsiteY702" fmla="*/ 1089613 h 6858000"/>
              <a:gd name="connsiteX703" fmla="*/ 427020 w 7369701"/>
              <a:gd name="connsiteY703" fmla="*/ 1619803 h 6858000"/>
              <a:gd name="connsiteX704" fmla="*/ 340345 w 7369701"/>
              <a:gd name="connsiteY704" fmla="*/ 2027739 h 6858000"/>
              <a:gd name="connsiteX705" fmla="*/ 360865 w 7369701"/>
              <a:gd name="connsiteY705" fmla="*/ 2044827 h 6858000"/>
              <a:gd name="connsiteX706" fmla="*/ 560414 w 7369701"/>
              <a:gd name="connsiteY706" fmla="*/ 2421457 h 6858000"/>
              <a:gd name="connsiteX707" fmla="*/ 1359703 w 7369701"/>
              <a:gd name="connsiteY707" fmla="*/ 2578554 h 6858000"/>
              <a:gd name="connsiteX708" fmla="*/ 1359422 w 7369701"/>
              <a:gd name="connsiteY708" fmla="*/ 2577994 h 6858000"/>
              <a:gd name="connsiteX709" fmla="*/ 828701 w 7369701"/>
              <a:gd name="connsiteY709" fmla="*/ 1839520 h 6858000"/>
              <a:gd name="connsiteX710" fmla="*/ 494427 w 7369701"/>
              <a:gd name="connsiteY710" fmla="*/ 1092333 h 6858000"/>
              <a:gd name="connsiteX711" fmla="*/ 506322 w 7369701"/>
              <a:gd name="connsiteY711" fmla="*/ 1020997 h 6858000"/>
              <a:gd name="connsiteX712" fmla="*/ 4570198 w 7369701"/>
              <a:gd name="connsiteY712" fmla="*/ 978081 h 6858000"/>
              <a:gd name="connsiteX713" fmla="*/ 4523691 w 7369701"/>
              <a:gd name="connsiteY713" fmla="*/ 1127776 h 6858000"/>
              <a:gd name="connsiteX714" fmla="*/ 4509875 w 7369701"/>
              <a:gd name="connsiteY714" fmla="*/ 1167552 h 6858000"/>
              <a:gd name="connsiteX715" fmla="*/ 4478168 w 7369701"/>
              <a:gd name="connsiteY715" fmla="*/ 1260735 h 6858000"/>
              <a:gd name="connsiteX716" fmla="*/ 4409309 w 7369701"/>
              <a:gd name="connsiteY716" fmla="*/ 1666996 h 6858000"/>
              <a:gd name="connsiteX717" fmla="*/ 4370031 w 7369701"/>
              <a:gd name="connsiteY717" fmla="*/ 1955666 h 6858000"/>
              <a:gd name="connsiteX718" fmla="*/ 4570198 w 7369701"/>
              <a:gd name="connsiteY718" fmla="*/ 978081 h 6858000"/>
              <a:gd name="connsiteX719" fmla="*/ 4557898 w 7369701"/>
              <a:gd name="connsiteY719" fmla="*/ 900011 h 6858000"/>
              <a:gd name="connsiteX720" fmla="*/ 4344840 w 7369701"/>
              <a:gd name="connsiteY720" fmla="*/ 1922038 h 6858000"/>
              <a:gd name="connsiteX721" fmla="*/ 4378710 w 7369701"/>
              <a:gd name="connsiteY721" fmla="*/ 1665516 h 6858000"/>
              <a:gd name="connsiteX722" fmla="*/ 4448798 w 7369701"/>
              <a:gd name="connsiteY722" fmla="*/ 1253024 h 6858000"/>
              <a:gd name="connsiteX723" fmla="*/ 4480315 w 7369701"/>
              <a:gd name="connsiteY723" fmla="*/ 1158454 h 6858000"/>
              <a:gd name="connsiteX724" fmla="*/ 4494133 w 7369701"/>
              <a:gd name="connsiteY724" fmla="*/ 1118676 h 6858000"/>
              <a:gd name="connsiteX725" fmla="*/ 4557898 w 7369701"/>
              <a:gd name="connsiteY725" fmla="*/ 900011 h 6858000"/>
              <a:gd name="connsiteX726" fmla="*/ 5870151 w 7369701"/>
              <a:gd name="connsiteY726" fmla="*/ 898890 h 6858000"/>
              <a:gd name="connsiteX727" fmla="*/ 5861335 w 7369701"/>
              <a:gd name="connsiteY727" fmla="*/ 899177 h 6858000"/>
              <a:gd name="connsiteX728" fmla="*/ 5843702 w 7369701"/>
              <a:gd name="connsiteY728" fmla="*/ 899748 h 6858000"/>
              <a:gd name="connsiteX729" fmla="*/ 5651107 w 7369701"/>
              <a:gd name="connsiteY729" fmla="*/ 920306 h 6858000"/>
              <a:gd name="connsiteX730" fmla="*/ 5459407 w 7369701"/>
              <a:gd name="connsiteY730" fmla="*/ 940975 h 6858000"/>
              <a:gd name="connsiteX731" fmla="*/ 5374846 w 7369701"/>
              <a:gd name="connsiteY731" fmla="*/ 941988 h 6858000"/>
              <a:gd name="connsiteX732" fmla="*/ 5256105 w 7369701"/>
              <a:gd name="connsiteY732" fmla="*/ 945632 h 6858000"/>
              <a:gd name="connsiteX733" fmla="*/ 5107071 w 7369701"/>
              <a:gd name="connsiteY733" fmla="*/ 969720 h 6858000"/>
              <a:gd name="connsiteX734" fmla="*/ 4998681 w 7369701"/>
              <a:gd name="connsiteY734" fmla="*/ 988771 h 6858000"/>
              <a:gd name="connsiteX735" fmla="*/ 5870151 w 7369701"/>
              <a:gd name="connsiteY735" fmla="*/ 898890 h 6858000"/>
              <a:gd name="connsiteX736" fmla="*/ 5504425 w 7369701"/>
              <a:gd name="connsiteY736" fmla="*/ 848067 h 6858000"/>
              <a:gd name="connsiteX737" fmla="*/ 4968849 w 7369701"/>
              <a:gd name="connsiteY737" fmla="*/ 962318 h 6858000"/>
              <a:gd name="connsiteX738" fmla="*/ 5104039 w 7369701"/>
              <a:gd name="connsiteY738" fmla="*/ 940634 h 6858000"/>
              <a:gd name="connsiteX739" fmla="*/ 5256311 w 7369701"/>
              <a:gd name="connsiteY739" fmla="*/ 916490 h 6858000"/>
              <a:gd name="connsiteX740" fmla="*/ 5377381 w 7369701"/>
              <a:gd name="connsiteY740" fmla="*/ 912671 h 6858000"/>
              <a:gd name="connsiteX741" fmla="*/ 5460148 w 7369701"/>
              <a:gd name="connsiteY741" fmla="*/ 911442 h 6858000"/>
              <a:gd name="connsiteX742" fmla="*/ 5648971 w 7369701"/>
              <a:gd name="connsiteY742" fmla="*/ 891331 h 6858000"/>
              <a:gd name="connsiteX743" fmla="*/ 5844807 w 7369701"/>
              <a:gd name="connsiteY743" fmla="*/ 870718 h 6858000"/>
              <a:gd name="connsiteX744" fmla="*/ 5862975 w 7369701"/>
              <a:gd name="connsiteY744" fmla="*/ 869756 h 6858000"/>
              <a:gd name="connsiteX745" fmla="*/ 5920887 w 7369701"/>
              <a:gd name="connsiteY745" fmla="*/ 865929 h 6858000"/>
              <a:gd name="connsiteX746" fmla="*/ 5504425 w 7369701"/>
              <a:gd name="connsiteY746" fmla="*/ 848067 h 6858000"/>
              <a:gd name="connsiteX747" fmla="*/ 3607114 w 7369701"/>
              <a:gd name="connsiteY747" fmla="*/ 467441 h 6858000"/>
              <a:gd name="connsiteX748" fmla="*/ 3296242 w 7369701"/>
              <a:gd name="connsiteY748" fmla="*/ 807991 h 6858000"/>
              <a:gd name="connsiteX749" fmla="*/ 3174674 w 7369701"/>
              <a:gd name="connsiteY749" fmla="*/ 919759 h 6858000"/>
              <a:gd name="connsiteX750" fmla="*/ 3042978 w 7369701"/>
              <a:gd name="connsiteY750" fmla="*/ 1054894 h 6858000"/>
              <a:gd name="connsiteX751" fmla="*/ 2968914 w 7369701"/>
              <a:gd name="connsiteY751" fmla="*/ 1133756 h 6858000"/>
              <a:gd name="connsiteX752" fmla="*/ 3103823 w 7369701"/>
              <a:gd name="connsiteY752" fmla="*/ 1026814 h 6858000"/>
              <a:gd name="connsiteX753" fmla="*/ 3607114 w 7369701"/>
              <a:gd name="connsiteY753" fmla="*/ 467441 h 6858000"/>
              <a:gd name="connsiteX754" fmla="*/ 3744487 w 7369701"/>
              <a:gd name="connsiteY754" fmla="*/ 383136 h 6858000"/>
              <a:gd name="connsiteX755" fmla="*/ 3970213 w 7369701"/>
              <a:gd name="connsiteY755" fmla="*/ 995559 h 6858000"/>
              <a:gd name="connsiteX756" fmla="*/ 3744487 w 7369701"/>
              <a:gd name="connsiteY756" fmla="*/ 383136 h 6858000"/>
              <a:gd name="connsiteX757" fmla="*/ 3624562 w 7369701"/>
              <a:gd name="connsiteY757" fmla="*/ 367041 h 6858000"/>
              <a:gd name="connsiteX758" fmla="*/ 3489712 w 7369701"/>
              <a:gd name="connsiteY758" fmla="*/ 485386 h 6858000"/>
              <a:gd name="connsiteX759" fmla="*/ 3182994 w 7369701"/>
              <a:gd name="connsiteY759" fmla="*/ 828265 h 6858000"/>
              <a:gd name="connsiteX760" fmla="*/ 2892114 w 7369701"/>
              <a:gd name="connsiteY760" fmla="*/ 1172635 h 6858000"/>
              <a:gd name="connsiteX761" fmla="*/ 3021459 w 7369701"/>
              <a:gd name="connsiteY761" fmla="*/ 1035385 h 6858000"/>
              <a:gd name="connsiteX762" fmla="*/ 3153873 w 7369701"/>
              <a:gd name="connsiteY762" fmla="*/ 898971 h 6858000"/>
              <a:gd name="connsiteX763" fmla="*/ 3276511 w 7369701"/>
              <a:gd name="connsiteY763" fmla="*/ 786423 h 6858000"/>
              <a:gd name="connsiteX764" fmla="*/ 3584154 w 7369701"/>
              <a:gd name="connsiteY764" fmla="*/ 448218 h 6858000"/>
              <a:gd name="connsiteX765" fmla="*/ 3624562 w 7369701"/>
              <a:gd name="connsiteY765" fmla="*/ 367041 h 6858000"/>
              <a:gd name="connsiteX766" fmla="*/ 3766672 w 7369701"/>
              <a:gd name="connsiteY766" fmla="*/ 359429 h 6858000"/>
              <a:gd name="connsiteX767" fmla="*/ 3996338 w 7369701"/>
              <a:gd name="connsiteY767" fmla="*/ 968237 h 6858000"/>
              <a:gd name="connsiteX768" fmla="*/ 3766672 w 7369701"/>
              <a:gd name="connsiteY768" fmla="*/ 359429 h 6858000"/>
              <a:gd name="connsiteX769" fmla="*/ 5805386 w 7369701"/>
              <a:gd name="connsiteY769" fmla="*/ 239240 h 6858000"/>
              <a:gd name="connsiteX770" fmla="*/ 5736947 w 7369701"/>
              <a:gd name="connsiteY770" fmla="*/ 261367 h 6858000"/>
              <a:gd name="connsiteX771" fmla="*/ 5427012 w 7369701"/>
              <a:gd name="connsiteY771" fmla="*/ 311272 h 6858000"/>
              <a:gd name="connsiteX772" fmla="*/ 5147818 w 7369701"/>
              <a:gd name="connsiteY772" fmla="*/ 322112 h 6858000"/>
              <a:gd name="connsiteX773" fmla="*/ 5060854 w 7369701"/>
              <a:gd name="connsiteY773" fmla="*/ 311882 h 6858000"/>
              <a:gd name="connsiteX774" fmla="*/ 4945989 w 7369701"/>
              <a:gd name="connsiteY774" fmla="*/ 300516 h 6858000"/>
              <a:gd name="connsiteX775" fmla="*/ 5410479 w 7369701"/>
              <a:gd name="connsiteY775" fmla="*/ 348434 h 6858000"/>
              <a:gd name="connsiteX776" fmla="*/ 5805386 w 7369701"/>
              <a:gd name="connsiteY776" fmla="*/ 239240 h 6858000"/>
              <a:gd name="connsiteX777" fmla="*/ 5905192 w 7369701"/>
              <a:gd name="connsiteY777" fmla="*/ 163079 h 6858000"/>
              <a:gd name="connsiteX778" fmla="*/ 5865655 w 7369701"/>
              <a:gd name="connsiteY778" fmla="*/ 171901 h 6858000"/>
              <a:gd name="connsiteX779" fmla="*/ 5259740 w 7369701"/>
              <a:gd name="connsiteY779" fmla="*/ 257013 h 6858000"/>
              <a:gd name="connsiteX780" fmla="*/ 5208466 w 7369701"/>
              <a:gd name="connsiteY780" fmla="*/ 257550 h 6858000"/>
              <a:gd name="connsiteX781" fmla="*/ 4980204 w 7369701"/>
              <a:gd name="connsiteY781" fmla="*/ 271903 h 6858000"/>
              <a:gd name="connsiteX782" fmla="*/ 5068068 w 7369701"/>
              <a:gd name="connsiteY782" fmla="*/ 282244 h 6858000"/>
              <a:gd name="connsiteX783" fmla="*/ 5153231 w 7369701"/>
              <a:gd name="connsiteY783" fmla="*/ 292240 h 6858000"/>
              <a:gd name="connsiteX784" fmla="*/ 5426491 w 7369701"/>
              <a:gd name="connsiteY784" fmla="*/ 281128 h 6858000"/>
              <a:gd name="connsiteX785" fmla="*/ 5731212 w 7369701"/>
              <a:gd name="connsiteY785" fmla="*/ 231951 h 6858000"/>
              <a:gd name="connsiteX786" fmla="*/ 5905192 w 7369701"/>
              <a:gd name="connsiteY786" fmla="*/ 163079 h 6858000"/>
              <a:gd name="connsiteX787" fmla="*/ 5944437 w 7369701"/>
              <a:gd name="connsiteY787" fmla="*/ 113829 h 6858000"/>
              <a:gd name="connsiteX788" fmla="*/ 5825032 w 7369701"/>
              <a:gd name="connsiteY788" fmla="*/ 146405 h 6858000"/>
              <a:gd name="connsiteX789" fmla="*/ 4955599 w 7369701"/>
              <a:gd name="connsiteY789" fmla="*/ 247008 h 6858000"/>
              <a:gd name="connsiteX790" fmla="*/ 5210104 w 7369701"/>
              <a:gd name="connsiteY790" fmla="*/ 228123 h 6858000"/>
              <a:gd name="connsiteX791" fmla="*/ 5261015 w 7369701"/>
              <a:gd name="connsiteY791" fmla="*/ 227087 h 6858000"/>
              <a:gd name="connsiteX792" fmla="*/ 5861181 w 7369701"/>
              <a:gd name="connsiteY792" fmla="*/ 143093 h 6858000"/>
              <a:gd name="connsiteX793" fmla="*/ 5961252 w 7369701"/>
              <a:gd name="connsiteY793" fmla="*/ 114820 h 6858000"/>
              <a:gd name="connsiteX794" fmla="*/ 5944437 w 7369701"/>
              <a:gd name="connsiteY794" fmla="*/ 113829 h 6858000"/>
              <a:gd name="connsiteX795" fmla="*/ 3882765 w 7369701"/>
              <a:gd name="connsiteY795" fmla="*/ 0 h 6858000"/>
              <a:gd name="connsiteX796" fmla="*/ 3995099 w 7369701"/>
              <a:gd name="connsiteY796" fmla="*/ 0 h 6858000"/>
              <a:gd name="connsiteX797" fmla="*/ 4163818 w 7369701"/>
              <a:gd name="connsiteY797" fmla="*/ 234104 h 6858000"/>
              <a:gd name="connsiteX798" fmla="*/ 4172099 w 7369701"/>
              <a:gd name="connsiteY798" fmla="*/ 234207 h 6858000"/>
              <a:gd name="connsiteX799" fmla="*/ 4784282 w 7369701"/>
              <a:gd name="connsiteY799" fmla="*/ 276561 h 6858000"/>
              <a:gd name="connsiteX800" fmla="*/ 4801687 w 7369701"/>
              <a:gd name="connsiteY800" fmla="*/ 267764 h 6858000"/>
              <a:gd name="connsiteX801" fmla="*/ 6082788 w 7369701"/>
              <a:gd name="connsiteY801" fmla="*/ 64119 h 6858000"/>
              <a:gd name="connsiteX802" fmla="*/ 6099442 w 7369701"/>
              <a:gd name="connsiteY802" fmla="*/ 82568 h 6858000"/>
              <a:gd name="connsiteX803" fmla="*/ 4804137 w 7369701"/>
              <a:gd name="connsiteY803" fmla="*/ 320931 h 6858000"/>
              <a:gd name="connsiteX804" fmla="*/ 4227047 w 7369701"/>
              <a:gd name="connsiteY804" fmla="*/ 313415 h 6858000"/>
              <a:gd name="connsiteX805" fmla="*/ 4346041 w 7369701"/>
              <a:gd name="connsiteY805" fmla="*/ 456086 h 6858000"/>
              <a:gd name="connsiteX806" fmla="*/ 4870967 w 7369701"/>
              <a:gd name="connsiteY806" fmla="*/ 963061 h 6858000"/>
              <a:gd name="connsiteX807" fmla="*/ 4889647 w 7369701"/>
              <a:gd name="connsiteY807" fmla="*/ 957147 h 6858000"/>
              <a:gd name="connsiteX808" fmla="*/ 5422504 w 7369701"/>
              <a:gd name="connsiteY808" fmla="*/ 805191 h 6858000"/>
              <a:gd name="connsiteX809" fmla="*/ 6087656 w 7369701"/>
              <a:gd name="connsiteY809" fmla="*/ 826703 h 6858000"/>
              <a:gd name="connsiteX810" fmla="*/ 6058717 w 7369701"/>
              <a:gd name="connsiteY810" fmla="*/ 865992 h 6858000"/>
              <a:gd name="connsiteX811" fmla="*/ 4974153 w 7369701"/>
              <a:gd name="connsiteY811" fmla="*/ 1045456 h 6858000"/>
              <a:gd name="connsiteX812" fmla="*/ 5627835 w 7369701"/>
              <a:gd name="connsiteY812" fmla="*/ 1472077 h 6858000"/>
              <a:gd name="connsiteX813" fmla="*/ 5629817 w 7369701"/>
              <a:gd name="connsiteY813" fmla="*/ 1471412 h 6858000"/>
              <a:gd name="connsiteX814" fmla="*/ 5634124 w 7369701"/>
              <a:gd name="connsiteY814" fmla="*/ 1470572 h 6858000"/>
              <a:gd name="connsiteX815" fmla="*/ 5755832 w 7369701"/>
              <a:gd name="connsiteY815" fmla="*/ 1383886 h 6858000"/>
              <a:gd name="connsiteX816" fmla="*/ 6014186 w 7369701"/>
              <a:gd name="connsiteY816" fmla="*/ 1279799 h 6858000"/>
              <a:gd name="connsiteX817" fmla="*/ 6901619 w 7369701"/>
              <a:gd name="connsiteY817" fmla="*/ 1047874 h 6858000"/>
              <a:gd name="connsiteX818" fmla="*/ 6931566 w 7369701"/>
              <a:gd name="connsiteY818" fmla="*/ 1062034 h 6858000"/>
              <a:gd name="connsiteX819" fmla="*/ 5790982 w 7369701"/>
              <a:gd name="connsiteY819" fmla="*/ 1561380 h 6858000"/>
              <a:gd name="connsiteX820" fmla="*/ 6188971 w 7369701"/>
              <a:gd name="connsiteY820" fmla="*/ 1755168 h 6858000"/>
              <a:gd name="connsiteX821" fmla="*/ 6202446 w 7369701"/>
              <a:gd name="connsiteY821" fmla="*/ 1752268 h 6858000"/>
              <a:gd name="connsiteX822" fmla="*/ 7179560 w 7369701"/>
              <a:gd name="connsiteY822" fmla="*/ 1467551 h 6858000"/>
              <a:gd name="connsiteX823" fmla="*/ 7158730 w 7369701"/>
              <a:gd name="connsiteY823" fmla="*/ 1507835 h 6858000"/>
              <a:gd name="connsiteX824" fmla="*/ 6326959 w 7369701"/>
              <a:gd name="connsiteY824" fmla="*/ 1817686 h 6858000"/>
              <a:gd name="connsiteX825" fmla="*/ 6537433 w 7369701"/>
              <a:gd name="connsiteY825" fmla="*/ 1907790 h 6858000"/>
              <a:gd name="connsiteX826" fmla="*/ 6550221 w 7369701"/>
              <a:gd name="connsiteY826" fmla="*/ 1910729 h 6858000"/>
              <a:gd name="connsiteX827" fmla="*/ 6964438 w 7369701"/>
              <a:gd name="connsiteY827" fmla="*/ 2209505 h 6858000"/>
              <a:gd name="connsiteX828" fmla="*/ 7367862 w 7369701"/>
              <a:gd name="connsiteY828" fmla="*/ 2806833 h 6858000"/>
              <a:gd name="connsiteX829" fmla="*/ 7364329 w 7369701"/>
              <a:gd name="connsiteY829" fmla="*/ 2826907 h 6858000"/>
              <a:gd name="connsiteX830" fmla="*/ 7290545 w 7369701"/>
              <a:gd name="connsiteY830" fmla="*/ 2850663 h 6858000"/>
              <a:gd name="connsiteX831" fmla="*/ 6472036 w 7369701"/>
              <a:gd name="connsiteY831" fmla="*/ 1959003 h 6858000"/>
              <a:gd name="connsiteX832" fmla="*/ 5792897 w 7369701"/>
              <a:gd name="connsiteY832" fmla="*/ 1647747 h 6858000"/>
              <a:gd name="connsiteX833" fmla="*/ 5842751 w 7369701"/>
              <a:gd name="connsiteY833" fmla="*/ 1816112 h 6858000"/>
              <a:gd name="connsiteX834" fmla="*/ 5847424 w 7369701"/>
              <a:gd name="connsiteY834" fmla="*/ 1815776 h 6858000"/>
              <a:gd name="connsiteX835" fmla="*/ 6399821 w 7369701"/>
              <a:gd name="connsiteY835" fmla="*/ 2344799 h 6858000"/>
              <a:gd name="connsiteX836" fmla="*/ 6323232 w 7369701"/>
              <a:gd name="connsiteY836" fmla="*/ 2389634 h 6858000"/>
              <a:gd name="connsiteX837" fmla="*/ 5942958 w 7369701"/>
              <a:gd name="connsiteY837" fmla="*/ 2077708 h 6858000"/>
              <a:gd name="connsiteX838" fmla="*/ 5921559 w 7369701"/>
              <a:gd name="connsiteY838" fmla="*/ 2378596 h 6858000"/>
              <a:gd name="connsiteX839" fmla="*/ 5817651 w 7369701"/>
              <a:gd name="connsiteY839" fmla="*/ 3023919 h 6858000"/>
              <a:gd name="connsiteX840" fmla="*/ 5729634 w 7369701"/>
              <a:gd name="connsiteY840" fmla="*/ 3051849 h 6858000"/>
              <a:gd name="connsiteX841" fmla="*/ 5611018 w 7369701"/>
              <a:gd name="connsiteY841" fmla="*/ 2316769 h 6858000"/>
              <a:gd name="connsiteX842" fmla="*/ 5687608 w 7369701"/>
              <a:gd name="connsiteY842" fmla="*/ 2039972 h 6858000"/>
              <a:gd name="connsiteX843" fmla="*/ 5657554 w 7369701"/>
              <a:gd name="connsiteY843" fmla="*/ 1576445 h 6858000"/>
              <a:gd name="connsiteX844" fmla="*/ 5150475 w 7369701"/>
              <a:gd name="connsiteY844" fmla="*/ 1274012 h 6858000"/>
              <a:gd name="connsiteX845" fmla="*/ 5349142 w 7369701"/>
              <a:gd name="connsiteY845" fmla="*/ 2204405 h 6858000"/>
              <a:gd name="connsiteX846" fmla="*/ 5262214 w 7369701"/>
              <a:gd name="connsiteY846" fmla="*/ 2233836 h 6858000"/>
              <a:gd name="connsiteX847" fmla="*/ 4981539 w 7369701"/>
              <a:gd name="connsiteY847" fmla="*/ 1542201 h 6858000"/>
              <a:gd name="connsiteX848" fmla="*/ 4958461 w 7369701"/>
              <a:gd name="connsiteY848" fmla="*/ 1136957 h 6858000"/>
              <a:gd name="connsiteX849" fmla="*/ 4655015 w 7369701"/>
              <a:gd name="connsiteY849" fmla="*/ 891426 h 6858000"/>
              <a:gd name="connsiteX850" fmla="*/ 4348002 w 7369701"/>
              <a:gd name="connsiteY850" fmla="*/ 2205895 h 6858000"/>
              <a:gd name="connsiteX851" fmla="*/ 4262250 w 7369701"/>
              <a:gd name="connsiteY851" fmla="*/ 2219972 h 6858000"/>
              <a:gd name="connsiteX852" fmla="*/ 4550611 w 7369701"/>
              <a:gd name="connsiteY852" fmla="*/ 817540 h 6858000"/>
              <a:gd name="connsiteX853" fmla="*/ 4564418 w 7369701"/>
              <a:gd name="connsiteY853" fmla="*/ 808293 h 6858000"/>
              <a:gd name="connsiteX854" fmla="*/ 4266388 w 7369701"/>
              <a:gd name="connsiteY854" fmla="*/ 500083 h 6858000"/>
              <a:gd name="connsiteX855" fmla="*/ 4032842 w 7369701"/>
              <a:gd name="connsiteY855" fmla="*/ 211809 h 6858000"/>
              <a:gd name="connsiteX856" fmla="*/ 3882765 w 7369701"/>
              <a:gd name="connsiteY856" fmla="*/ 0 h 6858000"/>
              <a:gd name="connsiteX857" fmla="*/ 3721337 w 7369701"/>
              <a:gd name="connsiteY857" fmla="*/ 0 h 6858000"/>
              <a:gd name="connsiteX858" fmla="*/ 3797544 w 7369701"/>
              <a:gd name="connsiteY858" fmla="*/ 0 h 6858000"/>
              <a:gd name="connsiteX859" fmla="*/ 3775734 w 7369701"/>
              <a:gd name="connsiteY859" fmla="*/ 95131 h 6858000"/>
              <a:gd name="connsiteX860" fmla="*/ 3724807 w 7369701"/>
              <a:gd name="connsiteY860" fmla="*/ 272257 h 6858000"/>
              <a:gd name="connsiteX861" fmla="*/ 3726844 w 7369701"/>
              <a:gd name="connsiteY861" fmla="*/ 282988 h 6858000"/>
              <a:gd name="connsiteX862" fmla="*/ 3742664 w 7369701"/>
              <a:gd name="connsiteY862" fmla="*/ 279918 h 6858000"/>
              <a:gd name="connsiteX863" fmla="*/ 4103910 w 7369701"/>
              <a:gd name="connsiteY863" fmla="*/ 1161917 h 6858000"/>
              <a:gd name="connsiteX864" fmla="*/ 4020269 w 7369701"/>
              <a:gd name="connsiteY864" fmla="*/ 1200406 h 6858000"/>
              <a:gd name="connsiteX865" fmla="*/ 3674882 w 7369701"/>
              <a:gd name="connsiteY865" fmla="*/ 488524 h 6858000"/>
              <a:gd name="connsiteX866" fmla="*/ 3132682 w 7369701"/>
              <a:gd name="connsiteY866" fmla="*/ 1072284 h 6858000"/>
              <a:gd name="connsiteX867" fmla="*/ 2716346 w 7369701"/>
              <a:gd name="connsiteY867" fmla="*/ 1276376 h 6858000"/>
              <a:gd name="connsiteX868" fmla="*/ 2716772 w 7369701"/>
              <a:gd name="connsiteY868" fmla="*/ 1255462 h 6858000"/>
              <a:gd name="connsiteX869" fmla="*/ 3471096 w 7369701"/>
              <a:gd name="connsiteY869" fmla="*/ 437072 h 6858000"/>
              <a:gd name="connsiteX870" fmla="*/ 3639057 w 7369701"/>
              <a:gd name="connsiteY870" fmla="*/ 286334 h 6858000"/>
              <a:gd name="connsiteX871" fmla="*/ 3640309 w 7369701"/>
              <a:gd name="connsiteY871" fmla="*/ 284664 h 6858000"/>
              <a:gd name="connsiteX872" fmla="*/ 3646022 w 7369701"/>
              <a:gd name="connsiteY872" fmla="*/ 276711 h 6858000"/>
              <a:gd name="connsiteX873" fmla="*/ 3707943 w 7369701"/>
              <a:gd name="connsiteY873" fmla="*/ 65958 h 6858000"/>
              <a:gd name="connsiteX874" fmla="*/ 3721337 w 7369701"/>
              <a:gd name="connsiteY874" fmla="*/ 0 h 6858000"/>
              <a:gd name="connsiteX875" fmla="*/ 2867960 w 7369701"/>
              <a:gd name="connsiteY875" fmla="*/ 0 h 6858000"/>
              <a:gd name="connsiteX876" fmla="*/ 2926351 w 7369701"/>
              <a:gd name="connsiteY876" fmla="*/ 0 h 6858000"/>
              <a:gd name="connsiteX877" fmla="*/ 2902823 w 7369701"/>
              <a:gd name="connsiteY877" fmla="*/ 262929 h 6858000"/>
              <a:gd name="connsiteX878" fmla="*/ 2940663 w 7369701"/>
              <a:gd name="connsiteY878" fmla="*/ 140884 h 6858000"/>
              <a:gd name="connsiteX879" fmla="*/ 2947039 w 7369701"/>
              <a:gd name="connsiteY879" fmla="*/ 122524 h 6858000"/>
              <a:gd name="connsiteX880" fmla="*/ 2984316 w 7369701"/>
              <a:gd name="connsiteY880" fmla="*/ 0 h 6858000"/>
              <a:gd name="connsiteX881" fmla="*/ 3016114 w 7369701"/>
              <a:gd name="connsiteY881" fmla="*/ 0 h 6858000"/>
              <a:gd name="connsiteX882" fmla="*/ 2979949 w 7369701"/>
              <a:gd name="connsiteY882" fmla="*/ 119274 h 6858000"/>
              <a:gd name="connsiteX883" fmla="*/ 3023879 w 7369701"/>
              <a:gd name="connsiteY883" fmla="*/ 0 h 6858000"/>
              <a:gd name="connsiteX884" fmla="*/ 3105400 w 7369701"/>
              <a:gd name="connsiteY884" fmla="*/ 0 h 6858000"/>
              <a:gd name="connsiteX885" fmla="*/ 3094669 w 7369701"/>
              <a:gd name="connsiteY885" fmla="*/ 30308 h 6858000"/>
              <a:gd name="connsiteX886" fmla="*/ 2901945 w 7369701"/>
              <a:gd name="connsiteY886" fmla="*/ 466538 h 6858000"/>
              <a:gd name="connsiteX887" fmla="*/ 2815209 w 7369701"/>
              <a:gd name="connsiteY887" fmla="*/ 497361 h 6858000"/>
              <a:gd name="connsiteX888" fmla="*/ 2844845 w 7369701"/>
              <a:gd name="connsiteY888" fmla="*/ 127638 h 6858000"/>
              <a:gd name="connsiteX889" fmla="*/ 2867960 w 7369701"/>
              <a:gd name="connsiteY889" fmla="*/ 0 h 6858000"/>
              <a:gd name="connsiteX890" fmla="*/ 1057230 w 7369701"/>
              <a:gd name="connsiteY890" fmla="*/ 0 h 6858000"/>
              <a:gd name="connsiteX891" fmla="*/ 1111003 w 7369701"/>
              <a:gd name="connsiteY891" fmla="*/ 0 h 6858000"/>
              <a:gd name="connsiteX892" fmla="*/ 1125553 w 7369701"/>
              <a:gd name="connsiteY892" fmla="*/ 52588 h 6858000"/>
              <a:gd name="connsiteX893" fmla="*/ 1304276 w 7369701"/>
              <a:gd name="connsiteY893" fmla="*/ 476275 h 6858000"/>
              <a:gd name="connsiteX894" fmla="*/ 1492066 w 7369701"/>
              <a:gd name="connsiteY894" fmla="*/ 886333 h 6858000"/>
              <a:gd name="connsiteX895" fmla="*/ 1423698 w 7369701"/>
              <a:gd name="connsiteY895" fmla="*/ 710817 h 6858000"/>
              <a:gd name="connsiteX896" fmla="*/ 1357609 w 7369701"/>
              <a:gd name="connsiteY896" fmla="*/ 532892 h 6858000"/>
              <a:gd name="connsiteX897" fmla="*/ 1309550 w 7369701"/>
              <a:gd name="connsiteY897" fmla="*/ 374031 h 6858000"/>
              <a:gd name="connsiteX898" fmla="*/ 1193673 w 7369701"/>
              <a:gd name="connsiteY898" fmla="*/ 49533 h 6858000"/>
              <a:gd name="connsiteX899" fmla="*/ 1164391 w 7369701"/>
              <a:gd name="connsiteY899" fmla="*/ 0 h 6858000"/>
              <a:gd name="connsiteX900" fmla="*/ 1200666 w 7369701"/>
              <a:gd name="connsiteY900" fmla="*/ 0 h 6858000"/>
              <a:gd name="connsiteX901" fmla="*/ 1223408 w 7369701"/>
              <a:gd name="connsiteY901" fmla="*/ 38996 h 6858000"/>
              <a:gd name="connsiteX902" fmla="*/ 1339635 w 7369701"/>
              <a:gd name="connsiteY902" fmla="*/ 365517 h 6858000"/>
              <a:gd name="connsiteX903" fmla="*/ 1387469 w 7369701"/>
              <a:gd name="connsiteY903" fmla="*/ 523079 h 6858000"/>
              <a:gd name="connsiteX904" fmla="*/ 1452685 w 7369701"/>
              <a:gd name="connsiteY904" fmla="*/ 699806 h 6858000"/>
              <a:gd name="connsiteX905" fmla="*/ 1492092 w 7369701"/>
              <a:gd name="connsiteY905" fmla="*/ 800424 h 6858000"/>
              <a:gd name="connsiteX906" fmla="*/ 1455302 w 7369701"/>
              <a:gd name="connsiteY906" fmla="*/ 632913 h 6858000"/>
              <a:gd name="connsiteX907" fmla="*/ 1222336 w 7369701"/>
              <a:gd name="connsiteY907" fmla="*/ 9480 h 6858000"/>
              <a:gd name="connsiteX908" fmla="*/ 1214634 w 7369701"/>
              <a:gd name="connsiteY908" fmla="*/ 0 h 6858000"/>
              <a:gd name="connsiteX909" fmla="*/ 1289827 w 7369701"/>
              <a:gd name="connsiteY909" fmla="*/ 0 h 6858000"/>
              <a:gd name="connsiteX910" fmla="*/ 1321076 w 7369701"/>
              <a:gd name="connsiteY910" fmla="*/ 59722 h 6858000"/>
              <a:gd name="connsiteX911" fmla="*/ 1512579 w 7369701"/>
              <a:gd name="connsiteY911" fmla="*/ 626441 h 6858000"/>
              <a:gd name="connsiteX912" fmla="*/ 1506076 w 7369701"/>
              <a:gd name="connsiteY912" fmla="*/ 1089289 h 6858000"/>
              <a:gd name="connsiteX913" fmla="*/ 1486346 w 7369701"/>
              <a:gd name="connsiteY913" fmla="*/ 1079919 h 6858000"/>
              <a:gd name="connsiteX914" fmla="*/ 1070511 w 7369701"/>
              <a:gd name="connsiteY914" fmla="*/ 48609 h 6858000"/>
              <a:gd name="connsiteX915" fmla="*/ 1057230 w 7369701"/>
              <a:gd name="connsiteY915" fmla="*/ 0 h 6858000"/>
              <a:gd name="connsiteX916" fmla="*/ 43151 w 7369701"/>
              <a:gd name="connsiteY916" fmla="*/ 0 h 6858000"/>
              <a:gd name="connsiteX917" fmla="*/ 95283 w 7369701"/>
              <a:gd name="connsiteY917" fmla="*/ 0 h 6858000"/>
              <a:gd name="connsiteX918" fmla="*/ 300708 w 7369701"/>
              <a:gd name="connsiteY918" fmla="*/ 154571 h 6858000"/>
              <a:gd name="connsiteX919" fmla="*/ 530414 w 7369701"/>
              <a:gd name="connsiteY919" fmla="*/ 354673 h 6858000"/>
              <a:gd name="connsiteX920" fmla="*/ 333785 w 7369701"/>
              <a:gd name="connsiteY920" fmla="*/ 161564 h 6858000"/>
              <a:gd name="connsiteX921" fmla="*/ 147005 w 7369701"/>
              <a:gd name="connsiteY921" fmla="*/ 0 h 6858000"/>
              <a:gd name="connsiteX922" fmla="*/ 272509 w 7369701"/>
              <a:gd name="connsiteY922" fmla="*/ 0 h 6858000"/>
              <a:gd name="connsiteX923" fmla="*/ 326276 w 7369701"/>
              <a:gd name="connsiteY923" fmla="*/ 45847 h 6858000"/>
              <a:gd name="connsiteX924" fmla="*/ 823759 w 7369701"/>
              <a:gd name="connsiteY924" fmla="*/ 574145 h 6858000"/>
              <a:gd name="connsiteX925" fmla="*/ 811254 w 7369701"/>
              <a:gd name="connsiteY925" fmla="*/ 665546 h 6858000"/>
              <a:gd name="connsiteX926" fmla="*/ 154042 w 7369701"/>
              <a:gd name="connsiteY926" fmla="*/ 261522 h 6858000"/>
              <a:gd name="connsiteX927" fmla="*/ 13550 w 7369701"/>
              <a:gd name="connsiteY927" fmla="*/ 158423 h 6858000"/>
              <a:gd name="connsiteX928" fmla="*/ 0 w 7369701"/>
              <a:gd name="connsiteY928" fmla="*/ 146618 h 6858000"/>
              <a:gd name="connsiteX929" fmla="*/ 0 w 7369701"/>
              <a:gd name="connsiteY929" fmla="*/ 59161 h 6858000"/>
              <a:gd name="connsiteX930" fmla="*/ 45427 w 7369701"/>
              <a:gd name="connsiteY930" fmla="*/ 101078 h 6858000"/>
              <a:gd name="connsiteX931" fmla="*/ 630103 w 7369701"/>
              <a:gd name="connsiteY931" fmla="*/ 485885 h 6858000"/>
              <a:gd name="connsiteX932" fmla="*/ 532040 w 7369701"/>
              <a:gd name="connsiteY932" fmla="*/ 399359 h 6858000"/>
              <a:gd name="connsiteX933" fmla="*/ 517618 w 7369701"/>
              <a:gd name="connsiteY933" fmla="*/ 385726 h 6858000"/>
              <a:gd name="connsiteX934" fmla="*/ 285074 w 7369701"/>
              <a:gd name="connsiteY934" fmla="*/ 182755 h 6858000"/>
              <a:gd name="connsiteX935" fmla="*/ 43151 w 7369701"/>
              <a:gd name="connsiteY93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Lst>
            <a:rect l="l" t="t" r="r" b="b"/>
            <a:pathLst>
              <a:path w="7369701" h="6858000">
                <a:moveTo>
                  <a:pt x="369702" y="6712169"/>
                </a:moveTo>
                <a:lnTo>
                  <a:pt x="366575" y="6715556"/>
                </a:lnTo>
                <a:cubicBezTo>
                  <a:pt x="367954" y="6715031"/>
                  <a:pt x="369326" y="6714512"/>
                  <a:pt x="371637" y="6713954"/>
                </a:cubicBezTo>
                <a:lnTo>
                  <a:pt x="369702" y="6712169"/>
                </a:lnTo>
                <a:close/>
                <a:moveTo>
                  <a:pt x="1019354" y="6315006"/>
                </a:moveTo>
                <a:cubicBezTo>
                  <a:pt x="847231" y="6483030"/>
                  <a:pt x="636234" y="6599053"/>
                  <a:pt x="441046" y="6691153"/>
                </a:cubicBezTo>
                <a:cubicBezTo>
                  <a:pt x="668934" y="6613112"/>
                  <a:pt x="947819" y="6494377"/>
                  <a:pt x="1019354" y="6315006"/>
                </a:cubicBezTo>
                <a:close/>
                <a:moveTo>
                  <a:pt x="991680" y="6298413"/>
                </a:moveTo>
                <a:cubicBezTo>
                  <a:pt x="775775" y="6396465"/>
                  <a:pt x="575302" y="6507871"/>
                  <a:pt x="409060" y="6671470"/>
                </a:cubicBezTo>
                <a:cubicBezTo>
                  <a:pt x="603834" y="6580783"/>
                  <a:pt x="817655" y="6465584"/>
                  <a:pt x="991680" y="6298413"/>
                </a:cubicBezTo>
                <a:close/>
                <a:moveTo>
                  <a:pt x="103333" y="5699602"/>
                </a:moveTo>
                <a:cubicBezTo>
                  <a:pt x="133282" y="5726353"/>
                  <a:pt x="175725" y="5762843"/>
                  <a:pt x="233938" y="5809416"/>
                </a:cubicBezTo>
                <a:cubicBezTo>
                  <a:pt x="390802" y="5935412"/>
                  <a:pt x="652575" y="6145703"/>
                  <a:pt x="883580" y="6180710"/>
                </a:cubicBezTo>
                <a:cubicBezTo>
                  <a:pt x="736829" y="6133021"/>
                  <a:pt x="610173" y="6040280"/>
                  <a:pt x="487337" y="5950182"/>
                </a:cubicBezTo>
                <a:cubicBezTo>
                  <a:pt x="443670" y="5917932"/>
                  <a:pt x="398584" y="5885270"/>
                  <a:pt x="354051" y="5854912"/>
                </a:cubicBezTo>
                <a:cubicBezTo>
                  <a:pt x="302352" y="5819720"/>
                  <a:pt x="247963" y="5787429"/>
                  <a:pt x="195436" y="5755068"/>
                </a:cubicBezTo>
                <a:lnTo>
                  <a:pt x="103333" y="5699602"/>
                </a:lnTo>
                <a:close/>
                <a:moveTo>
                  <a:pt x="5539432" y="5642928"/>
                </a:moveTo>
                <a:cubicBezTo>
                  <a:pt x="5544304" y="5659969"/>
                  <a:pt x="5549664" y="5677449"/>
                  <a:pt x="5555462" y="5694454"/>
                </a:cubicBezTo>
                <a:cubicBezTo>
                  <a:pt x="5631122" y="5909386"/>
                  <a:pt x="5731219" y="6118228"/>
                  <a:pt x="5828270" y="6320663"/>
                </a:cubicBezTo>
                <a:cubicBezTo>
                  <a:pt x="5868407" y="6404290"/>
                  <a:pt x="5908582" y="6488842"/>
                  <a:pt x="5947416" y="6574846"/>
                </a:cubicBezTo>
                <a:cubicBezTo>
                  <a:pt x="5894674" y="6327329"/>
                  <a:pt x="5793018" y="5718484"/>
                  <a:pt x="5539432" y="5642928"/>
                </a:cubicBezTo>
                <a:close/>
                <a:moveTo>
                  <a:pt x="51253" y="5631825"/>
                </a:moveTo>
                <a:lnTo>
                  <a:pt x="211622" y="5728803"/>
                </a:lnTo>
                <a:cubicBezTo>
                  <a:pt x="264592" y="5760684"/>
                  <a:pt x="319013" y="5793908"/>
                  <a:pt x="371652" y="5829062"/>
                </a:cubicBezTo>
                <a:cubicBezTo>
                  <a:pt x="417589" y="5859824"/>
                  <a:pt x="462230" y="5892964"/>
                  <a:pt x="505903" y="5925221"/>
                </a:cubicBezTo>
                <a:cubicBezTo>
                  <a:pt x="628246" y="6014875"/>
                  <a:pt x="754907" y="6107611"/>
                  <a:pt x="899240" y="6153068"/>
                </a:cubicBezTo>
                <a:cubicBezTo>
                  <a:pt x="928476" y="6162153"/>
                  <a:pt x="958088" y="6168887"/>
                  <a:pt x="988114" y="6174204"/>
                </a:cubicBezTo>
                <a:cubicBezTo>
                  <a:pt x="943280" y="6136411"/>
                  <a:pt x="896194" y="6100100"/>
                  <a:pt x="845971" y="6067177"/>
                </a:cubicBezTo>
                <a:cubicBezTo>
                  <a:pt x="720131" y="5983257"/>
                  <a:pt x="580034" y="5915740"/>
                  <a:pt x="448057" y="5841376"/>
                </a:cubicBezTo>
                <a:cubicBezTo>
                  <a:pt x="341781" y="5780886"/>
                  <a:pt x="90319" y="5630263"/>
                  <a:pt x="51253" y="5631825"/>
                </a:cubicBezTo>
                <a:close/>
                <a:moveTo>
                  <a:pt x="2606687" y="5630718"/>
                </a:moveTo>
                <a:cubicBezTo>
                  <a:pt x="2484040" y="5952782"/>
                  <a:pt x="2550772" y="6305470"/>
                  <a:pt x="2645658" y="6640259"/>
                </a:cubicBezTo>
                <a:cubicBezTo>
                  <a:pt x="2605413" y="6320984"/>
                  <a:pt x="2566733" y="5970903"/>
                  <a:pt x="2606687" y="5630718"/>
                </a:cubicBezTo>
                <a:close/>
                <a:moveTo>
                  <a:pt x="3642057" y="5573487"/>
                </a:moveTo>
                <a:cubicBezTo>
                  <a:pt x="3639338" y="5575453"/>
                  <a:pt x="3635693" y="5577466"/>
                  <a:pt x="3632981" y="5579437"/>
                </a:cubicBezTo>
                <a:cubicBezTo>
                  <a:pt x="3509182" y="5674738"/>
                  <a:pt x="3441993" y="5811556"/>
                  <a:pt x="3382436" y="5952726"/>
                </a:cubicBezTo>
                <a:cubicBezTo>
                  <a:pt x="3286719" y="6179641"/>
                  <a:pt x="3231101" y="6419386"/>
                  <a:pt x="3191929" y="6662669"/>
                </a:cubicBezTo>
                <a:cubicBezTo>
                  <a:pt x="3237125" y="6465250"/>
                  <a:pt x="3296425" y="6271000"/>
                  <a:pt x="3369898" y="6081771"/>
                </a:cubicBezTo>
                <a:cubicBezTo>
                  <a:pt x="3454377" y="5865084"/>
                  <a:pt x="3540614" y="5703753"/>
                  <a:pt x="3642057" y="5573487"/>
                </a:cubicBezTo>
                <a:close/>
                <a:moveTo>
                  <a:pt x="2650666" y="5530686"/>
                </a:moveTo>
                <a:cubicBezTo>
                  <a:pt x="2650695" y="5531619"/>
                  <a:pt x="2650695" y="5531619"/>
                  <a:pt x="2650249" y="5532101"/>
                </a:cubicBezTo>
                <a:cubicBezTo>
                  <a:pt x="2594633" y="5864991"/>
                  <a:pt x="2624834" y="6212617"/>
                  <a:pt x="2663808" y="6535215"/>
                </a:cubicBezTo>
                <a:cubicBezTo>
                  <a:pt x="2664345" y="6401062"/>
                  <a:pt x="2664881" y="6266909"/>
                  <a:pt x="2665418" y="6132756"/>
                </a:cubicBezTo>
                <a:cubicBezTo>
                  <a:pt x="2666315" y="5945493"/>
                  <a:pt x="2661038" y="5743579"/>
                  <a:pt x="2650666" y="5530686"/>
                </a:cubicBezTo>
                <a:close/>
                <a:moveTo>
                  <a:pt x="2680277" y="5479204"/>
                </a:moveTo>
                <a:cubicBezTo>
                  <a:pt x="2679826" y="5479692"/>
                  <a:pt x="2679381" y="5480173"/>
                  <a:pt x="2678972" y="5481582"/>
                </a:cubicBezTo>
                <a:cubicBezTo>
                  <a:pt x="2691463" y="5712555"/>
                  <a:pt x="2697451" y="5932139"/>
                  <a:pt x="2696666" y="6133836"/>
                </a:cubicBezTo>
                <a:lnTo>
                  <a:pt x="2695769" y="6390955"/>
                </a:lnTo>
                <a:cubicBezTo>
                  <a:pt x="2712509" y="6297144"/>
                  <a:pt x="2727840" y="6202916"/>
                  <a:pt x="2739893" y="6108357"/>
                </a:cubicBezTo>
                <a:cubicBezTo>
                  <a:pt x="2767348" y="5886500"/>
                  <a:pt x="2737035" y="5687445"/>
                  <a:pt x="2680277" y="5479204"/>
                </a:cubicBezTo>
                <a:close/>
                <a:moveTo>
                  <a:pt x="1132195" y="5467980"/>
                </a:moveTo>
                <a:cubicBezTo>
                  <a:pt x="1313054" y="5495211"/>
                  <a:pt x="1494925" y="5512628"/>
                  <a:pt x="1679056" y="5516907"/>
                </a:cubicBezTo>
                <a:cubicBezTo>
                  <a:pt x="1838007" y="5520331"/>
                  <a:pt x="1983050" y="5490313"/>
                  <a:pt x="2128648" y="5474249"/>
                </a:cubicBezTo>
                <a:cubicBezTo>
                  <a:pt x="2028248" y="5467548"/>
                  <a:pt x="1925543" y="5473055"/>
                  <a:pt x="1825619" y="5478447"/>
                </a:cubicBezTo>
                <a:lnTo>
                  <a:pt x="1737798" y="5483353"/>
                </a:lnTo>
                <a:cubicBezTo>
                  <a:pt x="1536509" y="5492800"/>
                  <a:pt x="1332771" y="5487439"/>
                  <a:pt x="1132195" y="5467980"/>
                </a:cubicBezTo>
                <a:close/>
                <a:moveTo>
                  <a:pt x="1456157" y="5371404"/>
                </a:moveTo>
                <a:cubicBezTo>
                  <a:pt x="1385125" y="5373535"/>
                  <a:pt x="1314200" y="5378444"/>
                  <a:pt x="1244432" y="5385601"/>
                </a:cubicBezTo>
                <a:cubicBezTo>
                  <a:pt x="1151404" y="5395142"/>
                  <a:pt x="1060429" y="5408677"/>
                  <a:pt x="973990" y="5424940"/>
                </a:cubicBezTo>
                <a:cubicBezTo>
                  <a:pt x="1017323" y="5425535"/>
                  <a:pt x="1061253" y="5429367"/>
                  <a:pt x="1103809" y="5433720"/>
                </a:cubicBezTo>
                <a:lnTo>
                  <a:pt x="1123454" y="5435727"/>
                </a:lnTo>
                <a:cubicBezTo>
                  <a:pt x="1326373" y="5455563"/>
                  <a:pt x="1533386" y="5461253"/>
                  <a:pt x="1737017" y="5452183"/>
                </a:cubicBezTo>
                <a:lnTo>
                  <a:pt x="1824397" y="5447757"/>
                </a:lnTo>
                <a:cubicBezTo>
                  <a:pt x="1905266" y="5443590"/>
                  <a:pt x="1987993" y="5439352"/>
                  <a:pt x="2070059" y="5441660"/>
                </a:cubicBezTo>
                <a:cubicBezTo>
                  <a:pt x="1883310" y="5383634"/>
                  <a:pt x="1669251" y="5365013"/>
                  <a:pt x="1456157" y="5371404"/>
                </a:cubicBezTo>
                <a:close/>
                <a:moveTo>
                  <a:pt x="4988186" y="5216467"/>
                </a:moveTo>
                <a:cubicBezTo>
                  <a:pt x="4914642" y="5275764"/>
                  <a:pt x="4843105" y="5338703"/>
                  <a:pt x="4777334" y="5406072"/>
                </a:cubicBezTo>
                <a:cubicBezTo>
                  <a:pt x="4757662" y="5426414"/>
                  <a:pt x="4737537" y="5447249"/>
                  <a:pt x="4718341" y="5468043"/>
                </a:cubicBezTo>
                <a:cubicBezTo>
                  <a:pt x="4681696" y="5506771"/>
                  <a:pt x="4644162" y="5546455"/>
                  <a:pt x="4604655" y="5583434"/>
                </a:cubicBezTo>
                <a:cubicBezTo>
                  <a:pt x="4591636" y="5595592"/>
                  <a:pt x="4578581" y="5606832"/>
                  <a:pt x="4565074" y="5618550"/>
                </a:cubicBezTo>
                <a:cubicBezTo>
                  <a:pt x="4712605" y="5511121"/>
                  <a:pt x="4908425" y="5376611"/>
                  <a:pt x="4988186" y="5216467"/>
                </a:cubicBezTo>
                <a:close/>
                <a:moveTo>
                  <a:pt x="4978032" y="5183809"/>
                </a:moveTo>
                <a:cubicBezTo>
                  <a:pt x="4748175" y="5235846"/>
                  <a:pt x="4611576" y="5430393"/>
                  <a:pt x="4463413" y="5615162"/>
                </a:cubicBezTo>
                <a:cubicBezTo>
                  <a:pt x="4428815" y="5658459"/>
                  <a:pt x="4393697" y="5700384"/>
                  <a:pt x="4358134" y="5742791"/>
                </a:cubicBezTo>
                <a:lnTo>
                  <a:pt x="4376219" y="5729027"/>
                </a:lnTo>
                <a:cubicBezTo>
                  <a:pt x="4445817" y="5675939"/>
                  <a:pt x="4517680" y="5621374"/>
                  <a:pt x="4582340" y="5561037"/>
                </a:cubicBezTo>
                <a:cubicBezTo>
                  <a:pt x="4621394" y="5524545"/>
                  <a:pt x="4658482" y="5485345"/>
                  <a:pt x="4694684" y="5447098"/>
                </a:cubicBezTo>
                <a:cubicBezTo>
                  <a:pt x="4714806" y="5426264"/>
                  <a:pt x="4733997" y="5405475"/>
                  <a:pt x="4754123" y="5384643"/>
                </a:cubicBezTo>
                <a:cubicBezTo>
                  <a:pt x="4823909" y="5312925"/>
                  <a:pt x="4899949" y="5246074"/>
                  <a:pt x="4978032" y="5183809"/>
                </a:cubicBezTo>
                <a:close/>
                <a:moveTo>
                  <a:pt x="1903353" y="5044827"/>
                </a:moveTo>
                <a:cubicBezTo>
                  <a:pt x="1900901" y="5049058"/>
                  <a:pt x="1913196" y="5065331"/>
                  <a:pt x="1936931" y="5093954"/>
                </a:cubicBezTo>
                <a:cubicBezTo>
                  <a:pt x="2021149" y="5196773"/>
                  <a:pt x="2108079" y="5297623"/>
                  <a:pt x="2195868" y="5396574"/>
                </a:cubicBezTo>
                <a:cubicBezTo>
                  <a:pt x="2196092" y="5309013"/>
                  <a:pt x="2155695" y="5230515"/>
                  <a:pt x="2088852" y="5166123"/>
                </a:cubicBezTo>
                <a:cubicBezTo>
                  <a:pt x="2054441" y="5132572"/>
                  <a:pt x="2001584" y="5091839"/>
                  <a:pt x="1958241" y="5067955"/>
                </a:cubicBezTo>
                <a:cubicBezTo>
                  <a:pt x="1922998" y="5048408"/>
                  <a:pt x="1905803" y="5040595"/>
                  <a:pt x="1903353" y="5044827"/>
                </a:cubicBezTo>
                <a:close/>
                <a:moveTo>
                  <a:pt x="1979378" y="4769504"/>
                </a:moveTo>
                <a:cubicBezTo>
                  <a:pt x="2251008" y="4946802"/>
                  <a:pt x="2557265" y="5046794"/>
                  <a:pt x="2882120" y="5064547"/>
                </a:cubicBezTo>
                <a:cubicBezTo>
                  <a:pt x="2852884" y="5055476"/>
                  <a:pt x="2822307" y="5047842"/>
                  <a:pt x="2793103" y="5039699"/>
                </a:cubicBezTo>
                <a:lnTo>
                  <a:pt x="2770041" y="5033634"/>
                </a:lnTo>
                <a:cubicBezTo>
                  <a:pt x="2500352" y="4962917"/>
                  <a:pt x="2236095" y="4864963"/>
                  <a:pt x="1979378" y="4769504"/>
                </a:cubicBezTo>
                <a:close/>
                <a:moveTo>
                  <a:pt x="1927410" y="4716164"/>
                </a:moveTo>
                <a:cubicBezTo>
                  <a:pt x="1938311" y="4720848"/>
                  <a:pt x="1949172" y="4724604"/>
                  <a:pt x="1959587" y="4728849"/>
                </a:cubicBezTo>
                <a:cubicBezTo>
                  <a:pt x="2224818" y="4827692"/>
                  <a:pt x="2499050" y="4930367"/>
                  <a:pt x="2777707" y="5003991"/>
                </a:cubicBezTo>
                <a:lnTo>
                  <a:pt x="2800768" y="5010056"/>
                </a:lnTo>
                <a:lnTo>
                  <a:pt x="2879408" y="5031590"/>
                </a:lnTo>
                <a:cubicBezTo>
                  <a:pt x="2873718" y="5029024"/>
                  <a:pt x="2868475" y="5025973"/>
                  <a:pt x="2862295" y="5022958"/>
                </a:cubicBezTo>
                <a:cubicBezTo>
                  <a:pt x="2846112" y="5014292"/>
                  <a:pt x="2829972" y="5006555"/>
                  <a:pt x="2813343" y="4998369"/>
                </a:cubicBezTo>
                <a:cubicBezTo>
                  <a:pt x="2759214" y="4972589"/>
                  <a:pt x="2702010" y="4951123"/>
                  <a:pt x="2646245" y="4930999"/>
                </a:cubicBezTo>
                <a:cubicBezTo>
                  <a:pt x="2437298" y="4853662"/>
                  <a:pt x="2221285" y="4774272"/>
                  <a:pt x="1999243" y="4730524"/>
                </a:cubicBezTo>
                <a:lnTo>
                  <a:pt x="1979527" y="4726651"/>
                </a:lnTo>
                <a:lnTo>
                  <a:pt x="1927410" y="4716164"/>
                </a:lnTo>
                <a:close/>
                <a:moveTo>
                  <a:pt x="1997014" y="4698007"/>
                </a:moveTo>
                <a:lnTo>
                  <a:pt x="2005458" y="4699540"/>
                </a:lnTo>
                <a:cubicBezTo>
                  <a:pt x="2229844" y="4743659"/>
                  <a:pt x="2447268" y="4823456"/>
                  <a:pt x="2657186" y="4901687"/>
                </a:cubicBezTo>
                <a:cubicBezTo>
                  <a:pt x="2713431" y="4922259"/>
                  <a:pt x="2771565" y="4943688"/>
                  <a:pt x="2826662" y="4970362"/>
                </a:cubicBezTo>
                <a:cubicBezTo>
                  <a:pt x="2843286" y="4978544"/>
                  <a:pt x="2859914" y="4986729"/>
                  <a:pt x="2876100" y="4995397"/>
                </a:cubicBezTo>
                <a:cubicBezTo>
                  <a:pt x="2929811" y="5022592"/>
                  <a:pt x="2984941" y="5050189"/>
                  <a:pt x="3042600" y="5059532"/>
                </a:cubicBezTo>
                <a:cubicBezTo>
                  <a:pt x="2779645" y="4772909"/>
                  <a:pt x="2376891" y="4705645"/>
                  <a:pt x="1997014" y="4698007"/>
                </a:cubicBezTo>
                <a:close/>
                <a:moveTo>
                  <a:pt x="2305292" y="4219492"/>
                </a:moveTo>
                <a:cubicBezTo>
                  <a:pt x="2631112" y="4377847"/>
                  <a:pt x="3011879" y="4535878"/>
                  <a:pt x="3360922" y="4529373"/>
                </a:cubicBezTo>
                <a:cubicBezTo>
                  <a:pt x="3408391" y="4528405"/>
                  <a:pt x="3451278" y="4517839"/>
                  <a:pt x="3492420" y="4510145"/>
                </a:cubicBezTo>
                <a:cubicBezTo>
                  <a:pt x="3448862" y="4503966"/>
                  <a:pt x="3405674" y="4495449"/>
                  <a:pt x="3364086" y="4480340"/>
                </a:cubicBezTo>
                <a:cubicBezTo>
                  <a:pt x="3314946" y="4462747"/>
                  <a:pt x="3269673" y="4437082"/>
                  <a:pt x="3225818" y="4411822"/>
                </a:cubicBezTo>
                <a:cubicBezTo>
                  <a:pt x="3194830" y="4393966"/>
                  <a:pt x="3162431" y="4375699"/>
                  <a:pt x="3129696" y="4360704"/>
                </a:cubicBezTo>
                <a:cubicBezTo>
                  <a:pt x="3030558" y="4315774"/>
                  <a:pt x="2920899" y="4298731"/>
                  <a:pt x="2814545" y="4282955"/>
                </a:cubicBezTo>
                <a:cubicBezTo>
                  <a:pt x="2648192" y="4257474"/>
                  <a:pt x="2475773" y="4231762"/>
                  <a:pt x="2305292" y="4219492"/>
                </a:cubicBezTo>
                <a:close/>
                <a:moveTo>
                  <a:pt x="2626982" y="4206450"/>
                </a:moveTo>
                <a:cubicBezTo>
                  <a:pt x="2581807" y="4205467"/>
                  <a:pt x="2536327" y="4205706"/>
                  <a:pt x="2490617" y="4206951"/>
                </a:cubicBezTo>
                <a:cubicBezTo>
                  <a:pt x="2601507" y="4219748"/>
                  <a:pt x="2711611" y="4236309"/>
                  <a:pt x="2819869" y="4252936"/>
                </a:cubicBezTo>
                <a:cubicBezTo>
                  <a:pt x="2928115" y="4269564"/>
                  <a:pt x="3040565" y="4286495"/>
                  <a:pt x="3143018" y="4332698"/>
                </a:cubicBezTo>
                <a:cubicBezTo>
                  <a:pt x="3177162" y="4348099"/>
                  <a:pt x="3210046" y="4366808"/>
                  <a:pt x="3241520" y="4385112"/>
                </a:cubicBezTo>
                <a:cubicBezTo>
                  <a:pt x="3284409" y="4409477"/>
                  <a:pt x="3328265" y="4434739"/>
                  <a:pt x="3374575" y="4451517"/>
                </a:cubicBezTo>
                <a:cubicBezTo>
                  <a:pt x="3416609" y="4466134"/>
                  <a:pt x="3460730" y="4474620"/>
                  <a:pt x="3505221" y="4480757"/>
                </a:cubicBezTo>
                <a:cubicBezTo>
                  <a:pt x="3244537" y="4280088"/>
                  <a:pt x="2943211" y="4213332"/>
                  <a:pt x="2626982" y="4206450"/>
                </a:cubicBezTo>
                <a:close/>
                <a:moveTo>
                  <a:pt x="1310106" y="3943217"/>
                </a:moveTo>
                <a:cubicBezTo>
                  <a:pt x="1129544" y="4063332"/>
                  <a:pt x="976804" y="4212308"/>
                  <a:pt x="854994" y="4399136"/>
                </a:cubicBezTo>
                <a:cubicBezTo>
                  <a:pt x="813550" y="4462067"/>
                  <a:pt x="777442" y="4528637"/>
                  <a:pt x="742462" y="4594648"/>
                </a:cubicBezTo>
                <a:cubicBezTo>
                  <a:pt x="769633" y="4559245"/>
                  <a:pt x="795392" y="4522436"/>
                  <a:pt x="820602" y="4485915"/>
                </a:cubicBezTo>
                <a:cubicBezTo>
                  <a:pt x="839644" y="4458097"/>
                  <a:pt x="858127" y="4430568"/>
                  <a:pt x="878295" y="4403594"/>
                </a:cubicBezTo>
                <a:cubicBezTo>
                  <a:pt x="984168" y="4259170"/>
                  <a:pt x="1114491" y="4132679"/>
                  <a:pt x="1240607" y="4010401"/>
                </a:cubicBezTo>
                <a:lnTo>
                  <a:pt x="1310106" y="3943217"/>
                </a:lnTo>
                <a:close/>
                <a:moveTo>
                  <a:pt x="1423113" y="3874565"/>
                </a:moveTo>
                <a:lnTo>
                  <a:pt x="1260565" y="4031982"/>
                </a:lnTo>
                <a:cubicBezTo>
                  <a:pt x="1135292" y="4153135"/>
                  <a:pt x="1006090" y="4279065"/>
                  <a:pt x="901900" y="4421236"/>
                </a:cubicBezTo>
                <a:cubicBezTo>
                  <a:pt x="882292" y="4447928"/>
                  <a:pt x="863806" y="4475465"/>
                  <a:pt x="845044" y="4502436"/>
                </a:cubicBezTo>
                <a:cubicBezTo>
                  <a:pt x="797719" y="4571828"/>
                  <a:pt x="747866" y="4643196"/>
                  <a:pt x="685926" y="4703069"/>
                </a:cubicBezTo>
                <a:cubicBezTo>
                  <a:pt x="685087" y="4704192"/>
                  <a:pt x="684806" y="4705038"/>
                  <a:pt x="684248" y="4706721"/>
                </a:cubicBezTo>
                <a:cubicBezTo>
                  <a:pt x="955830" y="4450343"/>
                  <a:pt x="1215323" y="4185291"/>
                  <a:pt x="1423113" y="3874565"/>
                </a:cubicBezTo>
                <a:close/>
                <a:moveTo>
                  <a:pt x="3316479" y="3872136"/>
                </a:moveTo>
                <a:lnTo>
                  <a:pt x="3546806" y="4356139"/>
                </a:lnTo>
                <a:cubicBezTo>
                  <a:pt x="3510992" y="4217388"/>
                  <a:pt x="3440535" y="4086075"/>
                  <a:pt x="3364433" y="3953121"/>
                </a:cubicBezTo>
                <a:lnTo>
                  <a:pt x="3316479" y="3872136"/>
                </a:lnTo>
                <a:close/>
                <a:moveTo>
                  <a:pt x="3291335" y="3767420"/>
                </a:moveTo>
                <a:cubicBezTo>
                  <a:pt x="3324815" y="3824296"/>
                  <a:pt x="3358740" y="3880691"/>
                  <a:pt x="3390805" y="3937163"/>
                </a:cubicBezTo>
                <a:cubicBezTo>
                  <a:pt x="3469925" y="4075583"/>
                  <a:pt x="3543427" y="4213298"/>
                  <a:pt x="3579062" y="4359040"/>
                </a:cubicBezTo>
                <a:cubicBezTo>
                  <a:pt x="3585500" y="4228842"/>
                  <a:pt x="3547302" y="4112076"/>
                  <a:pt x="3467355" y="3988130"/>
                </a:cubicBezTo>
                <a:cubicBezTo>
                  <a:pt x="3420192" y="3915029"/>
                  <a:pt x="3371016" y="3849934"/>
                  <a:pt x="3310753" y="3787140"/>
                </a:cubicBezTo>
                <a:cubicBezTo>
                  <a:pt x="3303466" y="3779509"/>
                  <a:pt x="3297626" y="3773227"/>
                  <a:pt x="3291335" y="3767420"/>
                </a:cubicBezTo>
                <a:close/>
                <a:moveTo>
                  <a:pt x="1635889" y="3709494"/>
                </a:moveTo>
                <a:lnTo>
                  <a:pt x="1634800" y="3731111"/>
                </a:lnTo>
                <a:cubicBezTo>
                  <a:pt x="1634800" y="3731111"/>
                  <a:pt x="1635342" y="3716795"/>
                  <a:pt x="1635889" y="3709494"/>
                </a:cubicBezTo>
                <a:close/>
                <a:moveTo>
                  <a:pt x="1510397" y="3684705"/>
                </a:moveTo>
                <a:cubicBezTo>
                  <a:pt x="1390337" y="3729510"/>
                  <a:pt x="1267181" y="3766747"/>
                  <a:pt x="1146550" y="3802012"/>
                </a:cubicBezTo>
                <a:cubicBezTo>
                  <a:pt x="997862" y="3845736"/>
                  <a:pt x="843568" y="3890871"/>
                  <a:pt x="698834" y="3952272"/>
                </a:cubicBezTo>
                <a:cubicBezTo>
                  <a:pt x="460140" y="4053106"/>
                  <a:pt x="242842" y="4196577"/>
                  <a:pt x="34256" y="4347603"/>
                </a:cubicBezTo>
                <a:cubicBezTo>
                  <a:pt x="196048" y="4248849"/>
                  <a:pt x="358125" y="4150653"/>
                  <a:pt x="527241" y="4065078"/>
                </a:cubicBezTo>
                <a:cubicBezTo>
                  <a:pt x="838255" y="3908281"/>
                  <a:pt x="1212318" y="3863093"/>
                  <a:pt x="1510397" y="3684705"/>
                </a:cubicBezTo>
                <a:close/>
                <a:moveTo>
                  <a:pt x="1313114" y="3655216"/>
                </a:moveTo>
                <a:cubicBezTo>
                  <a:pt x="1247578" y="3654578"/>
                  <a:pt x="1180153" y="3656293"/>
                  <a:pt x="1109304" y="3669030"/>
                </a:cubicBezTo>
                <a:cubicBezTo>
                  <a:pt x="689821" y="3744031"/>
                  <a:pt x="334655" y="4032530"/>
                  <a:pt x="8129" y="4330519"/>
                </a:cubicBezTo>
                <a:cubicBezTo>
                  <a:pt x="220923" y="4176682"/>
                  <a:pt x="442983" y="4028720"/>
                  <a:pt x="687572" y="3925629"/>
                </a:cubicBezTo>
                <a:cubicBezTo>
                  <a:pt x="833705" y="3864223"/>
                  <a:pt x="989118" y="3818520"/>
                  <a:pt x="1138365" y="3774515"/>
                </a:cubicBezTo>
                <a:cubicBezTo>
                  <a:pt x="1260121" y="3738686"/>
                  <a:pt x="1384681" y="3701451"/>
                  <a:pt x="1505579" y="3655526"/>
                </a:cubicBezTo>
                <a:cubicBezTo>
                  <a:pt x="1442294" y="3658846"/>
                  <a:pt x="1378650" y="3655854"/>
                  <a:pt x="1313114" y="3655216"/>
                </a:cubicBezTo>
                <a:close/>
                <a:moveTo>
                  <a:pt x="3655073" y="3650884"/>
                </a:moveTo>
                <a:cubicBezTo>
                  <a:pt x="3768399" y="3765347"/>
                  <a:pt x="3873410" y="3884450"/>
                  <a:pt x="3989938" y="3991685"/>
                </a:cubicBezTo>
                <a:cubicBezTo>
                  <a:pt x="4106468" y="4098916"/>
                  <a:pt x="4234512" y="4194281"/>
                  <a:pt x="4393907" y="4261258"/>
                </a:cubicBezTo>
                <a:cubicBezTo>
                  <a:pt x="4484865" y="4299540"/>
                  <a:pt x="4571866" y="4332385"/>
                  <a:pt x="4648051" y="4374051"/>
                </a:cubicBezTo>
                <a:cubicBezTo>
                  <a:pt x="4566919" y="4301848"/>
                  <a:pt x="4474187" y="4242216"/>
                  <a:pt x="4383389" y="4184369"/>
                </a:cubicBezTo>
                <a:cubicBezTo>
                  <a:pt x="4310251" y="4137460"/>
                  <a:pt x="4234739" y="4089250"/>
                  <a:pt x="4165508" y="4035196"/>
                </a:cubicBezTo>
                <a:cubicBezTo>
                  <a:pt x="4131846" y="4008598"/>
                  <a:pt x="4099524" y="3980549"/>
                  <a:pt x="4068162" y="3953394"/>
                </a:cubicBezTo>
                <a:cubicBezTo>
                  <a:pt x="4039704" y="3928919"/>
                  <a:pt x="4010763" y="3903992"/>
                  <a:pt x="3981416" y="3880482"/>
                </a:cubicBezTo>
                <a:cubicBezTo>
                  <a:pt x="3923199" y="3833909"/>
                  <a:pt x="3860482" y="3791236"/>
                  <a:pt x="3800147" y="3749872"/>
                </a:cubicBezTo>
                <a:lnTo>
                  <a:pt x="3655073" y="3650884"/>
                </a:lnTo>
                <a:close/>
                <a:moveTo>
                  <a:pt x="3670252" y="3622798"/>
                </a:moveTo>
                <a:lnTo>
                  <a:pt x="3817258" y="3723577"/>
                </a:lnTo>
                <a:cubicBezTo>
                  <a:pt x="3878082" y="3765387"/>
                  <a:pt x="3941278" y="3808498"/>
                  <a:pt x="4000461" y="3855966"/>
                </a:cubicBezTo>
                <a:cubicBezTo>
                  <a:pt x="4030299" y="3879926"/>
                  <a:pt x="4059233" y="3904849"/>
                  <a:pt x="4088180" y="3929774"/>
                </a:cubicBezTo>
                <a:cubicBezTo>
                  <a:pt x="4119532" y="3956928"/>
                  <a:pt x="4151864" y="3984979"/>
                  <a:pt x="4184555" y="4010683"/>
                </a:cubicBezTo>
                <a:cubicBezTo>
                  <a:pt x="4252374" y="4064322"/>
                  <a:pt x="4327401" y="4112085"/>
                  <a:pt x="4399563" y="4158106"/>
                </a:cubicBezTo>
                <a:cubicBezTo>
                  <a:pt x="4497546" y="4220788"/>
                  <a:pt x="4597907" y="4284772"/>
                  <a:pt x="4684469" y="4364680"/>
                </a:cubicBezTo>
                <a:lnTo>
                  <a:pt x="4690271" y="4370034"/>
                </a:lnTo>
                <a:cubicBezTo>
                  <a:pt x="4617960" y="4134006"/>
                  <a:pt x="4326618" y="3976128"/>
                  <a:pt x="4136093" y="3858466"/>
                </a:cubicBezTo>
                <a:cubicBezTo>
                  <a:pt x="3985171" y="3764831"/>
                  <a:pt x="3831168" y="3687155"/>
                  <a:pt x="3670252" y="3622798"/>
                </a:cubicBezTo>
                <a:close/>
                <a:moveTo>
                  <a:pt x="4440129" y="3448571"/>
                </a:moveTo>
                <a:cubicBezTo>
                  <a:pt x="4500684" y="3600308"/>
                  <a:pt x="4765312" y="3823987"/>
                  <a:pt x="4856525" y="3915351"/>
                </a:cubicBezTo>
                <a:cubicBezTo>
                  <a:pt x="4921046" y="3979838"/>
                  <a:pt x="4987678" y="4047617"/>
                  <a:pt x="5059055" y="4108918"/>
                </a:cubicBezTo>
                <a:cubicBezTo>
                  <a:pt x="5130436" y="4170218"/>
                  <a:pt x="5206561" y="4225043"/>
                  <a:pt x="5290070" y="4263619"/>
                </a:cubicBezTo>
                <a:cubicBezTo>
                  <a:pt x="5126032" y="4132785"/>
                  <a:pt x="4978794" y="3979858"/>
                  <a:pt x="4834991" y="3830985"/>
                </a:cubicBezTo>
                <a:cubicBezTo>
                  <a:pt x="4709629" y="3700933"/>
                  <a:pt x="4579958" y="3567796"/>
                  <a:pt x="4440129" y="3448571"/>
                </a:cubicBezTo>
                <a:close/>
                <a:moveTo>
                  <a:pt x="4441737" y="3399734"/>
                </a:moveTo>
                <a:cubicBezTo>
                  <a:pt x="4437014" y="3398227"/>
                  <a:pt x="4433408" y="3398482"/>
                  <a:pt x="4431236" y="3400954"/>
                </a:cubicBezTo>
                <a:cubicBezTo>
                  <a:pt x="4474088" y="3436036"/>
                  <a:pt x="4516531" y="3472527"/>
                  <a:pt x="4557150" y="3510023"/>
                </a:cubicBezTo>
                <a:cubicBezTo>
                  <a:pt x="4661606" y="3606446"/>
                  <a:pt x="4760255" y="3709152"/>
                  <a:pt x="4856936" y="3809146"/>
                </a:cubicBezTo>
                <a:cubicBezTo>
                  <a:pt x="4939779" y="3895025"/>
                  <a:pt x="5024071" y="3982240"/>
                  <a:pt x="5111996" y="4065759"/>
                </a:cubicBezTo>
                <a:cubicBezTo>
                  <a:pt x="5199925" y="4149276"/>
                  <a:pt x="5291490" y="4229096"/>
                  <a:pt x="5388878" y="4300185"/>
                </a:cubicBezTo>
                <a:cubicBezTo>
                  <a:pt x="5401114" y="4303421"/>
                  <a:pt x="5413353" y="4306662"/>
                  <a:pt x="5425556" y="4308967"/>
                </a:cubicBezTo>
                <a:cubicBezTo>
                  <a:pt x="5290970" y="4122931"/>
                  <a:pt x="5119226" y="3974244"/>
                  <a:pt x="4943646" y="3822916"/>
                </a:cubicBezTo>
                <a:cubicBezTo>
                  <a:pt x="4828850" y="3724110"/>
                  <a:pt x="4714058" y="3625311"/>
                  <a:pt x="4594837" y="3532274"/>
                </a:cubicBezTo>
                <a:cubicBezTo>
                  <a:pt x="4562450" y="3507077"/>
                  <a:pt x="4474786" y="3410282"/>
                  <a:pt x="4441737" y="3399734"/>
                </a:cubicBezTo>
                <a:close/>
                <a:moveTo>
                  <a:pt x="5425834" y="3162785"/>
                </a:moveTo>
                <a:cubicBezTo>
                  <a:pt x="5393133" y="3300089"/>
                  <a:pt x="5401723" y="3491623"/>
                  <a:pt x="5401644" y="3617847"/>
                </a:cubicBezTo>
                <a:cubicBezTo>
                  <a:pt x="5401790" y="3807859"/>
                  <a:pt x="5425483" y="3992734"/>
                  <a:pt x="5467256" y="4175494"/>
                </a:cubicBezTo>
                <a:cubicBezTo>
                  <a:pt x="5469824" y="3971868"/>
                  <a:pt x="5459296" y="3766904"/>
                  <a:pt x="5448069" y="3567554"/>
                </a:cubicBezTo>
                <a:lnTo>
                  <a:pt x="5425834" y="3162785"/>
                </a:lnTo>
                <a:close/>
                <a:moveTo>
                  <a:pt x="1318687" y="3113840"/>
                </a:moveTo>
                <a:cubicBezTo>
                  <a:pt x="1233126" y="3142037"/>
                  <a:pt x="1148133" y="3174161"/>
                  <a:pt x="1066793" y="3212171"/>
                </a:cubicBezTo>
                <a:lnTo>
                  <a:pt x="993319" y="3247648"/>
                </a:lnTo>
                <a:cubicBezTo>
                  <a:pt x="947600" y="3269890"/>
                  <a:pt x="900765" y="3292688"/>
                  <a:pt x="853081" y="3312410"/>
                </a:cubicBezTo>
                <a:cubicBezTo>
                  <a:pt x="837376" y="3318884"/>
                  <a:pt x="821948" y="3324526"/>
                  <a:pt x="805957" y="3330443"/>
                </a:cubicBezTo>
                <a:cubicBezTo>
                  <a:pt x="973723" y="3284161"/>
                  <a:pt x="1193682" y="3229943"/>
                  <a:pt x="1318687" y="3113840"/>
                </a:cubicBezTo>
                <a:close/>
                <a:moveTo>
                  <a:pt x="5453702" y="3090882"/>
                </a:moveTo>
                <a:lnTo>
                  <a:pt x="5480135" y="3565802"/>
                </a:lnTo>
                <a:cubicBezTo>
                  <a:pt x="5490809" y="3762845"/>
                  <a:pt x="5501220" y="3965024"/>
                  <a:pt x="5499023" y="4166310"/>
                </a:cubicBezTo>
                <a:cubicBezTo>
                  <a:pt x="5546233" y="3984186"/>
                  <a:pt x="5562118" y="3799116"/>
                  <a:pt x="5547022" y="3607838"/>
                </a:cubicBezTo>
                <a:cubicBezTo>
                  <a:pt x="5541143" y="3530760"/>
                  <a:pt x="5529684" y="3453908"/>
                  <a:pt x="5515964" y="3378541"/>
                </a:cubicBezTo>
                <a:cubicBezTo>
                  <a:pt x="5505773" y="3321668"/>
                  <a:pt x="5475310" y="3095607"/>
                  <a:pt x="5453702" y="3090882"/>
                </a:cubicBezTo>
                <a:close/>
                <a:moveTo>
                  <a:pt x="1238695" y="3076820"/>
                </a:moveTo>
                <a:cubicBezTo>
                  <a:pt x="1051055" y="3082190"/>
                  <a:pt x="886407" y="3192548"/>
                  <a:pt x="716371" y="3293249"/>
                </a:cubicBezTo>
                <a:cubicBezTo>
                  <a:pt x="670943" y="3320259"/>
                  <a:pt x="625512" y="3345868"/>
                  <a:pt x="579522" y="3371759"/>
                </a:cubicBezTo>
                <a:lnTo>
                  <a:pt x="600288" y="3365555"/>
                </a:lnTo>
                <a:cubicBezTo>
                  <a:pt x="680240" y="3341573"/>
                  <a:pt x="762713" y="3317034"/>
                  <a:pt x="840692" y="3284921"/>
                </a:cubicBezTo>
                <a:cubicBezTo>
                  <a:pt x="887813" y="3265484"/>
                  <a:pt x="934087" y="3242968"/>
                  <a:pt x="979248" y="3221003"/>
                </a:cubicBezTo>
                <a:lnTo>
                  <a:pt x="1053282" y="3185247"/>
                </a:lnTo>
                <a:cubicBezTo>
                  <a:pt x="1139666" y="3144704"/>
                  <a:pt x="1229994" y="3110602"/>
                  <a:pt x="1320603" y="3081281"/>
                </a:cubicBezTo>
                <a:cubicBezTo>
                  <a:pt x="1292776" y="3077429"/>
                  <a:pt x="1265502" y="3076054"/>
                  <a:pt x="1238695" y="3076820"/>
                </a:cubicBezTo>
                <a:close/>
                <a:moveTo>
                  <a:pt x="5425627" y="2954192"/>
                </a:moveTo>
                <a:cubicBezTo>
                  <a:pt x="5441934" y="2956815"/>
                  <a:pt x="5467954" y="2996115"/>
                  <a:pt x="5470770" y="3005435"/>
                </a:cubicBezTo>
                <a:cubicBezTo>
                  <a:pt x="5608772" y="3451680"/>
                  <a:pt x="5674122" y="3909676"/>
                  <a:pt x="5519779" y="4359223"/>
                </a:cubicBezTo>
                <a:cubicBezTo>
                  <a:pt x="5520262" y="4359669"/>
                  <a:pt x="5520293" y="4360602"/>
                  <a:pt x="5520293" y="4360602"/>
                </a:cubicBezTo>
                <a:cubicBezTo>
                  <a:pt x="5627244" y="4437825"/>
                  <a:pt x="5699666" y="4548575"/>
                  <a:pt x="5767221" y="4665564"/>
                </a:cubicBezTo>
                <a:cubicBezTo>
                  <a:pt x="6275281" y="4699277"/>
                  <a:pt x="6739386" y="4778523"/>
                  <a:pt x="6937169" y="4815941"/>
                </a:cubicBezTo>
                <a:cubicBezTo>
                  <a:pt x="7134952" y="4853359"/>
                  <a:pt x="7020263" y="4903218"/>
                  <a:pt x="6953922" y="4890068"/>
                </a:cubicBezTo>
                <a:cubicBezTo>
                  <a:pt x="6799988" y="4859556"/>
                  <a:pt x="6485790" y="4815676"/>
                  <a:pt x="6071359" y="4770770"/>
                </a:cubicBezTo>
                <a:lnTo>
                  <a:pt x="6038839" y="4764474"/>
                </a:lnTo>
                <a:cubicBezTo>
                  <a:pt x="6038795" y="4764265"/>
                  <a:pt x="6038750" y="4764056"/>
                  <a:pt x="6038706" y="4763847"/>
                </a:cubicBezTo>
                <a:lnTo>
                  <a:pt x="6037784" y="4764270"/>
                </a:lnTo>
                <a:lnTo>
                  <a:pt x="6038839" y="4764474"/>
                </a:lnTo>
                <a:lnTo>
                  <a:pt x="6040338" y="4771418"/>
                </a:lnTo>
                <a:cubicBezTo>
                  <a:pt x="6039088" y="4781803"/>
                  <a:pt x="6034314" y="4794510"/>
                  <a:pt x="6024488" y="4809903"/>
                </a:cubicBezTo>
                <a:cubicBezTo>
                  <a:pt x="5910095" y="5058984"/>
                  <a:pt x="5773348" y="5296385"/>
                  <a:pt x="5599771" y="5509652"/>
                </a:cubicBezTo>
                <a:cubicBezTo>
                  <a:pt x="5583815" y="5529842"/>
                  <a:pt x="5566811" y="5547293"/>
                  <a:pt x="5548843" y="5563845"/>
                </a:cubicBezTo>
                <a:cubicBezTo>
                  <a:pt x="5773782" y="5645205"/>
                  <a:pt x="5890323" y="6067151"/>
                  <a:pt x="5940952" y="6250028"/>
                </a:cubicBezTo>
                <a:cubicBezTo>
                  <a:pt x="5979301" y="6387982"/>
                  <a:pt x="6009900" y="6527294"/>
                  <a:pt x="6043441" y="6665847"/>
                </a:cubicBezTo>
                <a:lnTo>
                  <a:pt x="6093432" y="6858000"/>
                </a:lnTo>
                <a:lnTo>
                  <a:pt x="6034344" y="6858000"/>
                </a:lnTo>
                <a:lnTo>
                  <a:pt x="6026679" y="6836959"/>
                </a:lnTo>
                <a:cubicBezTo>
                  <a:pt x="5958957" y="6665497"/>
                  <a:pt x="5878558" y="6498078"/>
                  <a:pt x="5800441" y="6335286"/>
                </a:cubicBezTo>
                <a:cubicBezTo>
                  <a:pt x="5703359" y="6131918"/>
                  <a:pt x="5602295" y="5922187"/>
                  <a:pt x="5526562" y="5705388"/>
                </a:cubicBezTo>
                <a:cubicBezTo>
                  <a:pt x="5523956" y="5698505"/>
                  <a:pt x="5521803" y="5691139"/>
                  <a:pt x="5519640" y="5683774"/>
                </a:cubicBezTo>
                <a:cubicBezTo>
                  <a:pt x="5523207" y="5970988"/>
                  <a:pt x="5738292" y="6306566"/>
                  <a:pt x="5844559" y="6553349"/>
                </a:cubicBezTo>
                <a:lnTo>
                  <a:pt x="5975994" y="6858000"/>
                </a:lnTo>
                <a:lnTo>
                  <a:pt x="5898547" y="6858000"/>
                </a:lnTo>
                <a:lnTo>
                  <a:pt x="5682041" y="6355860"/>
                </a:lnTo>
                <a:cubicBezTo>
                  <a:pt x="5609136" y="6186449"/>
                  <a:pt x="5505535" y="6006625"/>
                  <a:pt x="5461758" y="5820220"/>
                </a:cubicBezTo>
                <a:cubicBezTo>
                  <a:pt x="5415457" y="6083349"/>
                  <a:pt x="5335494" y="6334433"/>
                  <a:pt x="5237282" y="6579086"/>
                </a:cubicBezTo>
                <a:lnTo>
                  <a:pt x="5115009" y="6858000"/>
                </a:lnTo>
                <a:lnTo>
                  <a:pt x="5028074" y="6858000"/>
                </a:lnTo>
                <a:lnTo>
                  <a:pt x="5079508" y="6749074"/>
                </a:lnTo>
                <a:cubicBezTo>
                  <a:pt x="5200211" y="6482556"/>
                  <a:pt x="5305048" y="6210716"/>
                  <a:pt x="5371846" y="5924413"/>
                </a:cubicBezTo>
                <a:lnTo>
                  <a:pt x="5270512" y="6138975"/>
                </a:lnTo>
                <a:cubicBezTo>
                  <a:pt x="5192357" y="6304175"/>
                  <a:pt x="5112108" y="6475512"/>
                  <a:pt x="5062409" y="6653544"/>
                </a:cubicBezTo>
                <a:cubicBezTo>
                  <a:pt x="5053035" y="6686987"/>
                  <a:pt x="5045072" y="6720843"/>
                  <a:pt x="5036628" y="6754247"/>
                </a:cubicBezTo>
                <a:lnTo>
                  <a:pt x="5009112" y="6858000"/>
                </a:lnTo>
                <a:lnTo>
                  <a:pt x="4976679" y="6858000"/>
                </a:lnTo>
                <a:lnTo>
                  <a:pt x="5006537" y="6747068"/>
                </a:lnTo>
                <a:cubicBezTo>
                  <a:pt x="5014940" y="6712729"/>
                  <a:pt x="5022903" y="6678883"/>
                  <a:pt x="5032723" y="6644957"/>
                </a:cubicBezTo>
                <a:cubicBezTo>
                  <a:pt x="5083245" y="6464091"/>
                  <a:pt x="5164383" y="6291790"/>
                  <a:pt x="5242949" y="6125175"/>
                </a:cubicBezTo>
                <a:lnTo>
                  <a:pt x="5286321" y="6033555"/>
                </a:lnTo>
                <a:cubicBezTo>
                  <a:pt x="5153522" y="6218172"/>
                  <a:pt x="5058694" y="6420826"/>
                  <a:pt x="5008210" y="6649194"/>
                </a:cubicBezTo>
                <a:cubicBezTo>
                  <a:pt x="4999505" y="6687732"/>
                  <a:pt x="4992445" y="6726670"/>
                  <a:pt x="4986321" y="6765687"/>
                </a:cubicBezTo>
                <a:lnTo>
                  <a:pt x="4973474" y="6858000"/>
                </a:lnTo>
                <a:lnTo>
                  <a:pt x="4907178" y="6858000"/>
                </a:lnTo>
                <a:lnTo>
                  <a:pt x="4910810" y="6829660"/>
                </a:lnTo>
                <a:cubicBezTo>
                  <a:pt x="4927183" y="6695980"/>
                  <a:pt x="4945608" y="6562743"/>
                  <a:pt x="4987461" y="6432994"/>
                </a:cubicBezTo>
                <a:cubicBezTo>
                  <a:pt x="5033887" y="6289556"/>
                  <a:pt x="5098947" y="6157948"/>
                  <a:pt x="5179262" y="6035044"/>
                </a:cubicBezTo>
                <a:cubicBezTo>
                  <a:pt x="5016033" y="6169178"/>
                  <a:pt x="4838252" y="6288995"/>
                  <a:pt x="4689678" y="6440241"/>
                </a:cubicBezTo>
                <a:cubicBezTo>
                  <a:pt x="4615724" y="6515503"/>
                  <a:pt x="4545518" y="6594166"/>
                  <a:pt x="4477543" y="6674836"/>
                </a:cubicBezTo>
                <a:lnTo>
                  <a:pt x="4329957" y="6858000"/>
                </a:lnTo>
                <a:lnTo>
                  <a:pt x="4218595" y="6858000"/>
                </a:lnTo>
                <a:lnTo>
                  <a:pt x="4368888" y="6668412"/>
                </a:lnTo>
                <a:cubicBezTo>
                  <a:pt x="4431654" y="6591444"/>
                  <a:pt x="4495926" y="6515754"/>
                  <a:pt x="4563091" y="6442508"/>
                </a:cubicBezTo>
                <a:cubicBezTo>
                  <a:pt x="4810353" y="6173676"/>
                  <a:pt x="5160740" y="5991069"/>
                  <a:pt x="5387324" y="5705830"/>
                </a:cubicBezTo>
                <a:cubicBezTo>
                  <a:pt x="5286064" y="5794177"/>
                  <a:pt x="5178968" y="5876241"/>
                  <a:pt x="5073620" y="5955437"/>
                </a:cubicBezTo>
                <a:cubicBezTo>
                  <a:pt x="4943865" y="6053305"/>
                  <a:pt x="4809130" y="6154627"/>
                  <a:pt x="4689789" y="6268382"/>
                </a:cubicBezTo>
                <a:cubicBezTo>
                  <a:pt x="4591303" y="6361972"/>
                  <a:pt x="4502007" y="6464046"/>
                  <a:pt x="4418722" y="6570886"/>
                </a:cubicBezTo>
                <a:lnTo>
                  <a:pt x="4214944" y="6858000"/>
                </a:lnTo>
                <a:lnTo>
                  <a:pt x="4177898" y="6858000"/>
                </a:lnTo>
                <a:lnTo>
                  <a:pt x="4391597" y="6556370"/>
                </a:lnTo>
                <a:cubicBezTo>
                  <a:pt x="4476641" y="6446900"/>
                  <a:pt x="4567929" y="6342186"/>
                  <a:pt x="4668889" y="6246399"/>
                </a:cubicBezTo>
                <a:cubicBezTo>
                  <a:pt x="4789603" y="6132122"/>
                  <a:pt x="4925227" y="6029827"/>
                  <a:pt x="5055427" y="5931476"/>
                </a:cubicBezTo>
                <a:cubicBezTo>
                  <a:pt x="5161670" y="5851314"/>
                  <a:pt x="5270142" y="5768732"/>
                  <a:pt x="5371814" y="5678975"/>
                </a:cubicBezTo>
                <a:cubicBezTo>
                  <a:pt x="5250056" y="5732278"/>
                  <a:pt x="5117554" y="5761328"/>
                  <a:pt x="4987918" y="5838701"/>
                </a:cubicBezTo>
                <a:cubicBezTo>
                  <a:pt x="4699961" y="6010191"/>
                  <a:pt x="4491898" y="6286162"/>
                  <a:pt x="4317146" y="6587716"/>
                </a:cubicBezTo>
                <a:lnTo>
                  <a:pt x="4171627" y="6858000"/>
                </a:lnTo>
                <a:lnTo>
                  <a:pt x="4081585" y="6858000"/>
                </a:lnTo>
                <a:lnTo>
                  <a:pt x="4238603" y="6559341"/>
                </a:lnTo>
                <a:cubicBezTo>
                  <a:pt x="4385995" y="6299856"/>
                  <a:pt x="4555804" y="6056475"/>
                  <a:pt x="4778333" y="5873626"/>
                </a:cubicBezTo>
                <a:cubicBezTo>
                  <a:pt x="4974935" y="5712072"/>
                  <a:pt x="5214460" y="5703893"/>
                  <a:pt x="5414185" y="5573882"/>
                </a:cubicBezTo>
                <a:cubicBezTo>
                  <a:pt x="5665168" y="5409695"/>
                  <a:pt x="5834734" y="5037780"/>
                  <a:pt x="5959648" y="4760797"/>
                </a:cubicBezTo>
                <a:cubicBezTo>
                  <a:pt x="5758178" y="4742307"/>
                  <a:pt x="5556149" y="4733150"/>
                  <a:pt x="5355019" y="4734672"/>
                </a:cubicBezTo>
                <a:cubicBezTo>
                  <a:pt x="5292258" y="4900655"/>
                  <a:pt x="5203125" y="5047664"/>
                  <a:pt x="5083565" y="5179121"/>
                </a:cubicBezTo>
                <a:cubicBezTo>
                  <a:pt x="5049677" y="5379813"/>
                  <a:pt x="4862890" y="5495797"/>
                  <a:pt x="4713577" y="5616803"/>
                </a:cubicBezTo>
                <a:cubicBezTo>
                  <a:pt x="4481263" y="5805403"/>
                  <a:pt x="4239092" y="5980417"/>
                  <a:pt x="3989559" y="6145945"/>
                </a:cubicBezTo>
                <a:cubicBezTo>
                  <a:pt x="3958721" y="6166743"/>
                  <a:pt x="3915645" y="6091150"/>
                  <a:pt x="3939824" y="6066900"/>
                </a:cubicBezTo>
                <a:cubicBezTo>
                  <a:pt x="4170724" y="5831323"/>
                  <a:pt x="4361787" y="5566131"/>
                  <a:pt x="4584537" y="5324826"/>
                </a:cubicBezTo>
                <a:cubicBezTo>
                  <a:pt x="4710868" y="5187971"/>
                  <a:pt x="4848359" y="5097244"/>
                  <a:pt x="5037105" y="5088765"/>
                </a:cubicBezTo>
                <a:cubicBezTo>
                  <a:pt x="5038033" y="5088728"/>
                  <a:pt x="5039001" y="5089622"/>
                  <a:pt x="5039930" y="5089585"/>
                </a:cubicBezTo>
                <a:cubicBezTo>
                  <a:pt x="5133008" y="4982937"/>
                  <a:pt x="5207480" y="4865387"/>
                  <a:pt x="5263764" y="4735525"/>
                </a:cubicBezTo>
                <a:cubicBezTo>
                  <a:pt x="4867298" y="4743930"/>
                  <a:pt x="4472427" y="4792315"/>
                  <a:pt x="4086300" y="4884599"/>
                </a:cubicBezTo>
                <a:cubicBezTo>
                  <a:pt x="4087456" y="4890142"/>
                  <a:pt x="4087673" y="4895720"/>
                  <a:pt x="4085485" y="4899070"/>
                </a:cubicBezTo>
                <a:cubicBezTo>
                  <a:pt x="4003302" y="5010406"/>
                  <a:pt x="3928312" y="5126573"/>
                  <a:pt x="3871915" y="5253645"/>
                </a:cubicBezTo>
                <a:cubicBezTo>
                  <a:pt x="3845467" y="5314321"/>
                  <a:pt x="3832705" y="5402857"/>
                  <a:pt x="3799374" y="5466127"/>
                </a:cubicBezTo>
                <a:cubicBezTo>
                  <a:pt x="3785138" y="5845399"/>
                  <a:pt x="3675506" y="6277604"/>
                  <a:pt x="3498850" y="6661888"/>
                </a:cubicBezTo>
                <a:lnTo>
                  <a:pt x="3399216" y="6858000"/>
                </a:lnTo>
                <a:lnTo>
                  <a:pt x="3303688" y="6858000"/>
                </a:lnTo>
                <a:lnTo>
                  <a:pt x="3391774" y="6697181"/>
                </a:lnTo>
                <a:cubicBezTo>
                  <a:pt x="3573729" y="6337659"/>
                  <a:pt x="3697480" y="5922895"/>
                  <a:pt x="3735540" y="5546923"/>
                </a:cubicBezTo>
                <a:cubicBezTo>
                  <a:pt x="3733489" y="5553993"/>
                  <a:pt x="3731483" y="5561993"/>
                  <a:pt x="3729438" y="5569058"/>
                </a:cubicBezTo>
                <a:cubicBezTo>
                  <a:pt x="3722922" y="5592607"/>
                  <a:pt x="3715485" y="5616189"/>
                  <a:pt x="3707782" y="5644908"/>
                </a:cubicBezTo>
                <a:cubicBezTo>
                  <a:pt x="3671550" y="5775366"/>
                  <a:pt x="3633159" y="5910098"/>
                  <a:pt x="3583827" y="6039215"/>
                </a:cubicBezTo>
                <a:cubicBezTo>
                  <a:pt x="3571998" y="6069498"/>
                  <a:pt x="3559686" y="6099330"/>
                  <a:pt x="3547861" y="6129609"/>
                </a:cubicBezTo>
                <a:cubicBezTo>
                  <a:pt x="3528366" y="6177894"/>
                  <a:pt x="3507534" y="6227631"/>
                  <a:pt x="3490905" y="6277660"/>
                </a:cubicBezTo>
                <a:cubicBezTo>
                  <a:pt x="3477958" y="6314973"/>
                  <a:pt x="3466463" y="6353624"/>
                  <a:pt x="3455859" y="6391301"/>
                </a:cubicBezTo>
                <a:cubicBezTo>
                  <a:pt x="3447266" y="6420993"/>
                  <a:pt x="3438672" y="6450673"/>
                  <a:pt x="3429112" y="6479469"/>
                </a:cubicBezTo>
                <a:cubicBezTo>
                  <a:pt x="3394330" y="6587977"/>
                  <a:pt x="3348719" y="6693654"/>
                  <a:pt x="3304862" y="6796476"/>
                </a:cubicBezTo>
                <a:lnTo>
                  <a:pt x="3276071" y="6858000"/>
                </a:lnTo>
                <a:lnTo>
                  <a:pt x="3240805" y="6858000"/>
                </a:lnTo>
                <a:lnTo>
                  <a:pt x="3275917" y="6783192"/>
                </a:lnTo>
                <a:cubicBezTo>
                  <a:pt x="3319817" y="6681303"/>
                  <a:pt x="3364982" y="6576108"/>
                  <a:pt x="3399358" y="6469011"/>
                </a:cubicBezTo>
                <a:cubicBezTo>
                  <a:pt x="3408430" y="6439778"/>
                  <a:pt x="3417061" y="6411021"/>
                  <a:pt x="3425650" y="6381333"/>
                </a:cubicBezTo>
                <a:cubicBezTo>
                  <a:pt x="3436256" y="6343653"/>
                  <a:pt x="3448199" y="6304520"/>
                  <a:pt x="3460661" y="6266763"/>
                </a:cubicBezTo>
                <a:cubicBezTo>
                  <a:pt x="3477731" y="6216246"/>
                  <a:pt x="3498530" y="6165579"/>
                  <a:pt x="3518021" y="6117298"/>
                </a:cubicBezTo>
                <a:cubicBezTo>
                  <a:pt x="3530339" y="6087462"/>
                  <a:pt x="3542206" y="6058115"/>
                  <a:pt x="3554035" y="6027832"/>
                </a:cubicBezTo>
                <a:cubicBezTo>
                  <a:pt x="3602956" y="5900128"/>
                  <a:pt x="3640454" y="5766362"/>
                  <a:pt x="3677174" y="5636351"/>
                </a:cubicBezTo>
                <a:cubicBezTo>
                  <a:pt x="3685353" y="5608086"/>
                  <a:pt x="3692308" y="5584047"/>
                  <a:pt x="3698819" y="5560503"/>
                </a:cubicBezTo>
                <a:cubicBezTo>
                  <a:pt x="3699603" y="5556742"/>
                  <a:pt x="3701314" y="5552952"/>
                  <a:pt x="3702094" y="5549194"/>
                </a:cubicBezTo>
                <a:cubicBezTo>
                  <a:pt x="3586407" y="5684227"/>
                  <a:pt x="3491727" y="5855671"/>
                  <a:pt x="3398355" y="6094603"/>
                </a:cubicBezTo>
                <a:cubicBezTo>
                  <a:pt x="3309322" y="6322763"/>
                  <a:pt x="3241029" y="6558474"/>
                  <a:pt x="3193941" y="6798775"/>
                </a:cubicBezTo>
                <a:lnTo>
                  <a:pt x="3184140" y="6858000"/>
                </a:lnTo>
                <a:lnTo>
                  <a:pt x="3099978" y="6858000"/>
                </a:lnTo>
                <a:lnTo>
                  <a:pt x="3101556" y="6843337"/>
                </a:lnTo>
                <a:cubicBezTo>
                  <a:pt x="3144932" y="6479621"/>
                  <a:pt x="3209988" y="6112612"/>
                  <a:pt x="3370162" y="5785550"/>
                </a:cubicBezTo>
                <a:cubicBezTo>
                  <a:pt x="3467073" y="5588398"/>
                  <a:pt x="3627623" y="5538666"/>
                  <a:pt x="3746477" y="5377889"/>
                </a:cubicBezTo>
                <a:cubicBezTo>
                  <a:pt x="3800786" y="5303532"/>
                  <a:pt x="3818424" y="5173820"/>
                  <a:pt x="3863399" y="5087257"/>
                </a:cubicBezTo>
                <a:cubicBezTo>
                  <a:pt x="3894981" y="5026843"/>
                  <a:pt x="3930436" y="4970007"/>
                  <a:pt x="3968712" y="4913989"/>
                </a:cubicBezTo>
                <a:cubicBezTo>
                  <a:pt x="3564505" y="5020029"/>
                  <a:pt x="3170154" y="5174588"/>
                  <a:pt x="2792390" y="5382974"/>
                </a:cubicBezTo>
                <a:lnTo>
                  <a:pt x="2714982" y="5427051"/>
                </a:lnTo>
                <a:cubicBezTo>
                  <a:pt x="2773600" y="5623577"/>
                  <a:pt x="2823261" y="5817201"/>
                  <a:pt x="2813361" y="6023912"/>
                </a:cubicBezTo>
                <a:cubicBezTo>
                  <a:pt x="2800935" y="6283826"/>
                  <a:pt x="2738768" y="6546188"/>
                  <a:pt x="2688430" y="6801564"/>
                </a:cubicBezTo>
                <a:cubicBezTo>
                  <a:pt x="2680286" y="6842403"/>
                  <a:pt x="2633415" y="6776749"/>
                  <a:pt x="2629626" y="6763394"/>
                </a:cubicBezTo>
                <a:cubicBezTo>
                  <a:pt x="2507208" y="6357509"/>
                  <a:pt x="2389664" y="5910450"/>
                  <a:pt x="2565328" y="5516399"/>
                </a:cubicBezTo>
                <a:cubicBezTo>
                  <a:pt x="2340344" y="5655334"/>
                  <a:pt x="2126262" y="5810607"/>
                  <a:pt x="1922999" y="5980343"/>
                </a:cubicBezTo>
                <a:cubicBezTo>
                  <a:pt x="1913735" y="6121357"/>
                  <a:pt x="1951823" y="6270268"/>
                  <a:pt x="1950261" y="6405858"/>
                </a:cubicBezTo>
                <a:cubicBezTo>
                  <a:pt x="2095468" y="6403315"/>
                  <a:pt x="2243415" y="6568324"/>
                  <a:pt x="2365554" y="6759107"/>
                </a:cubicBezTo>
                <a:lnTo>
                  <a:pt x="2424142" y="6858000"/>
                </a:lnTo>
                <a:lnTo>
                  <a:pt x="2395994" y="6858000"/>
                </a:lnTo>
                <a:lnTo>
                  <a:pt x="2392863" y="6852964"/>
                </a:lnTo>
                <a:cubicBezTo>
                  <a:pt x="2286592" y="6697030"/>
                  <a:pt x="2128210" y="6530604"/>
                  <a:pt x="2017589" y="6493982"/>
                </a:cubicBezTo>
                <a:cubicBezTo>
                  <a:pt x="2065428" y="6525607"/>
                  <a:pt x="2108651" y="6558340"/>
                  <a:pt x="2147336" y="6594052"/>
                </a:cubicBezTo>
                <a:cubicBezTo>
                  <a:pt x="2168131" y="6613249"/>
                  <a:pt x="2188032" y="6633414"/>
                  <a:pt x="2207047" y="6654540"/>
                </a:cubicBezTo>
                <a:cubicBezTo>
                  <a:pt x="2240670" y="6691852"/>
                  <a:pt x="2268864" y="6733110"/>
                  <a:pt x="2299106" y="6778931"/>
                </a:cubicBezTo>
                <a:lnTo>
                  <a:pt x="2314430" y="6801144"/>
                </a:lnTo>
                <a:lnTo>
                  <a:pt x="2352406" y="6858000"/>
                </a:lnTo>
                <a:lnTo>
                  <a:pt x="2314492" y="6858000"/>
                </a:lnTo>
                <a:lnTo>
                  <a:pt x="2288095" y="6818030"/>
                </a:lnTo>
                <a:lnTo>
                  <a:pt x="2272768" y="6795822"/>
                </a:lnTo>
                <a:cubicBezTo>
                  <a:pt x="2242565" y="6750921"/>
                  <a:pt x="2214890" y="6711042"/>
                  <a:pt x="2182715" y="6675071"/>
                </a:cubicBezTo>
                <a:cubicBezTo>
                  <a:pt x="2139301" y="6626043"/>
                  <a:pt x="2090046" y="6582375"/>
                  <a:pt x="2032061" y="6541380"/>
                </a:cubicBezTo>
                <a:cubicBezTo>
                  <a:pt x="2113005" y="6632219"/>
                  <a:pt x="2185837" y="6729905"/>
                  <a:pt x="2257220" y="6826257"/>
                </a:cubicBezTo>
                <a:lnTo>
                  <a:pt x="2281324" y="6858000"/>
                </a:lnTo>
                <a:lnTo>
                  <a:pt x="2242860" y="6858000"/>
                </a:lnTo>
                <a:lnTo>
                  <a:pt x="2232818" y="6844926"/>
                </a:lnTo>
                <a:cubicBezTo>
                  <a:pt x="2156524" y="6742256"/>
                  <a:pt x="2077809" y="6637351"/>
                  <a:pt x="1990172" y="6542121"/>
                </a:cubicBezTo>
                <a:cubicBezTo>
                  <a:pt x="2025229" y="6615236"/>
                  <a:pt x="2072239" y="6690202"/>
                  <a:pt x="2124090" y="6761017"/>
                </a:cubicBezTo>
                <a:lnTo>
                  <a:pt x="2200380" y="6858000"/>
                </a:lnTo>
                <a:lnTo>
                  <a:pt x="2147507" y="6858000"/>
                </a:lnTo>
                <a:lnTo>
                  <a:pt x="2070668" y="6761520"/>
                </a:lnTo>
                <a:cubicBezTo>
                  <a:pt x="2050397" y="6732060"/>
                  <a:pt x="1955949" y="6524860"/>
                  <a:pt x="1975142" y="6585570"/>
                </a:cubicBezTo>
                <a:cubicBezTo>
                  <a:pt x="1998651" y="6661010"/>
                  <a:pt x="2025657" y="6736543"/>
                  <a:pt x="2050035" y="6813345"/>
                </a:cubicBezTo>
                <a:lnTo>
                  <a:pt x="2063025" y="6858000"/>
                </a:lnTo>
                <a:lnTo>
                  <a:pt x="2021675" y="6858000"/>
                </a:lnTo>
                <a:lnTo>
                  <a:pt x="2019308" y="6847118"/>
                </a:lnTo>
                <a:cubicBezTo>
                  <a:pt x="1994223" y="6748278"/>
                  <a:pt x="1963999" y="6650518"/>
                  <a:pt x="1938835" y="6551160"/>
                </a:cubicBezTo>
                <a:cubicBezTo>
                  <a:pt x="1929908" y="6619047"/>
                  <a:pt x="1941143" y="6690322"/>
                  <a:pt x="1953230" y="6759699"/>
                </a:cubicBezTo>
                <a:lnTo>
                  <a:pt x="1956763" y="6778191"/>
                </a:lnTo>
                <a:lnTo>
                  <a:pt x="1967925" y="6858000"/>
                </a:lnTo>
                <a:lnTo>
                  <a:pt x="1936622" y="6858000"/>
                </a:lnTo>
                <a:lnTo>
                  <a:pt x="1926261" y="6784064"/>
                </a:lnTo>
                <a:lnTo>
                  <a:pt x="1922724" y="6765577"/>
                </a:lnTo>
                <a:cubicBezTo>
                  <a:pt x="1915473" y="6723948"/>
                  <a:pt x="1907737" y="6681875"/>
                  <a:pt x="1904650" y="6639616"/>
                </a:cubicBezTo>
                <a:lnTo>
                  <a:pt x="1885273" y="6858000"/>
                </a:lnTo>
                <a:lnTo>
                  <a:pt x="1854363" y="6858000"/>
                </a:lnTo>
                <a:lnTo>
                  <a:pt x="1880391" y="6603796"/>
                </a:lnTo>
                <a:cubicBezTo>
                  <a:pt x="1857032" y="6636864"/>
                  <a:pt x="1833268" y="6671346"/>
                  <a:pt x="1818273" y="6715729"/>
                </a:cubicBezTo>
                <a:cubicBezTo>
                  <a:pt x="1804852" y="6755735"/>
                  <a:pt x="1797634" y="6798725"/>
                  <a:pt x="1794691" y="6843239"/>
                </a:cubicBezTo>
                <a:cubicBezTo>
                  <a:pt x="1794765" y="6848159"/>
                  <a:pt x="1794840" y="6853080"/>
                  <a:pt x="1794914" y="6858000"/>
                </a:cubicBezTo>
                <a:lnTo>
                  <a:pt x="1746128" y="6858000"/>
                </a:lnTo>
                <a:lnTo>
                  <a:pt x="1753934" y="6724796"/>
                </a:lnTo>
                <a:cubicBezTo>
                  <a:pt x="1761216" y="6674140"/>
                  <a:pt x="1773366" y="6623443"/>
                  <a:pt x="1792053" y="6572396"/>
                </a:cubicBezTo>
                <a:cubicBezTo>
                  <a:pt x="1831929" y="6463223"/>
                  <a:pt x="1865036" y="6394363"/>
                  <a:pt x="1862248" y="6266397"/>
                </a:cubicBezTo>
                <a:cubicBezTo>
                  <a:pt x="1860953" y="6187277"/>
                  <a:pt x="1859762" y="6110946"/>
                  <a:pt x="1862250" y="6033531"/>
                </a:cubicBezTo>
                <a:cubicBezTo>
                  <a:pt x="1629459" y="6233327"/>
                  <a:pt x="1412286" y="6451119"/>
                  <a:pt x="1211999" y="6683610"/>
                </a:cubicBezTo>
                <a:cubicBezTo>
                  <a:pt x="1212594" y="6686848"/>
                  <a:pt x="1213637" y="6689601"/>
                  <a:pt x="1213266" y="6691947"/>
                </a:cubicBezTo>
                <a:cubicBezTo>
                  <a:pt x="1207239" y="6745048"/>
                  <a:pt x="1203941" y="6797982"/>
                  <a:pt x="1203370" y="6850676"/>
                </a:cubicBezTo>
                <a:cubicBezTo>
                  <a:pt x="1203470" y="6853117"/>
                  <a:pt x="1203571" y="6855559"/>
                  <a:pt x="1203671" y="6858000"/>
                </a:cubicBezTo>
                <a:lnTo>
                  <a:pt x="1143180" y="6858000"/>
                </a:lnTo>
                <a:cubicBezTo>
                  <a:pt x="1142845" y="6827348"/>
                  <a:pt x="1142511" y="6796697"/>
                  <a:pt x="1142176" y="6766045"/>
                </a:cubicBezTo>
                <a:lnTo>
                  <a:pt x="1067484" y="6858000"/>
                </a:lnTo>
                <a:lnTo>
                  <a:pt x="953928" y="6858000"/>
                </a:lnTo>
                <a:lnTo>
                  <a:pt x="959715" y="6850185"/>
                </a:lnTo>
                <a:cubicBezTo>
                  <a:pt x="1122351" y="6642955"/>
                  <a:pt x="1297493" y="6445464"/>
                  <a:pt x="1483788" y="6259174"/>
                </a:cubicBezTo>
                <a:cubicBezTo>
                  <a:pt x="1354519" y="6252700"/>
                  <a:pt x="1219786" y="6272526"/>
                  <a:pt x="1100671" y="6252137"/>
                </a:cubicBezTo>
                <a:cubicBezTo>
                  <a:pt x="1097473" y="6253667"/>
                  <a:pt x="1093344" y="6255226"/>
                  <a:pt x="1090144" y="6256748"/>
                </a:cubicBezTo>
                <a:cubicBezTo>
                  <a:pt x="1093160" y="6262221"/>
                  <a:pt x="1095726" y="6268172"/>
                  <a:pt x="1095872" y="6271892"/>
                </a:cubicBezTo>
                <a:cubicBezTo>
                  <a:pt x="1117034" y="6614754"/>
                  <a:pt x="501310" y="6765589"/>
                  <a:pt x="262785" y="6845450"/>
                </a:cubicBezTo>
                <a:cubicBezTo>
                  <a:pt x="240730" y="6852851"/>
                  <a:pt x="197167" y="6788461"/>
                  <a:pt x="209968" y="6770713"/>
                </a:cubicBezTo>
                <a:cubicBezTo>
                  <a:pt x="383281" y="6527661"/>
                  <a:pt x="615742" y="6377713"/>
                  <a:pt x="873460" y="6253768"/>
                </a:cubicBezTo>
                <a:cubicBezTo>
                  <a:pt x="626943" y="6191900"/>
                  <a:pt x="365733" y="5960633"/>
                  <a:pt x="192686" y="5849257"/>
                </a:cubicBezTo>
                <a:cubicBezTo>
                  <a:pt x="116185" y="5799690"/>
                  <a:pt x="52073" y="5754165"/>
                  <a:pt x="4696" y="5697668"/>
                </a:cubicBezTo>
                <a:lnTo>
                  <a:pt x="0" y="5689984"/>
                </a:lnTo>
                <a:lnTo>
                  <a:pt x="0" y="5513472"/>
                </a:lnTo>
                <a:lnTo>
                  <a:pt x="174101" y="5620277"/>
                </a:lnTo>
                <a:cubicBezTo>
                  <a:pt x="413334" y="5759164"/>
                  <a:pt x="660435" y="5885160"/>
                  <a:pt x="891800" y="6036935"/>
                </a:cubicBezTo>
                <a:cubicBezTo>
                  <a:pt x="944884" y="6071606"/>
                  <a:pt x="1012106" y="6145300"/>
                  <a:pt x="1072219" y="6169443"/>
                </a:cubicBezTo>
                <a:cubicBezTo>
                  <a:pt x="1072700" y="6169886"/>
                  <a:pt x="1073629" y="6169850"/>
                  <a:pt x="1074117" y="6170301"/>
                </a:cubicBezTo>
                <a:cubicBezTo>
                  <a:pt x="1077423" y="6171567"/>
                  <a:pt x="1080285" y="6173315"/>
                  <a:pt x="1083114" y="6174131"/>
                </a:cubicBezTo>
                <a:cubicBezTo>
                  <a:pt x="1205686" y="6211148"/>
                  <a:pt x="1403553" y="6162717"/>
                  <a:pt x="1543010" y="6191140"/>
                </a:cubicBezTo>
                <a:cubicBezTo>
                  <a:pt x="1545352" y="6191516"/>
                  <a:pt x="1548218" y="6193258"/>
                  <a:pt x="1551080" y="6195006"/>
                </a:cubicBezTo>
                <a:cubicBezTo>
                  <a:pt x="1796784" y="5956970"/>
                  <a:pt x="2061981" y="5740521"/>
                  <a:pt x="2345443" y="5549882"/>
                </a:cubicBezTo>
                <a:cubicBezTo>
                  <a:pt x="2141371" y="5547786"/>
                  <a:pt x="1930334" y="5604666"/>
                  <a:pt x="1721499" y="5599969"/>
                </a:cubicBezTo>
                <a:cubicBezTo>
                  <a:pt x="1398951" y="5593309"/>
                  <a:pt x="1081337" y="5547329"/>
                  <a:pt x="767716" y="5472768"/>
                </a:cubicBezTo>
                <a:cubicBezTo>
                  <a:pt x="753133" y="5469162"/>
                  <a:pt x="700946" y="5398599"/>
                  <a:pt x="722147" y="5393091"/>
                </a:cubicBezTo>
                <a:cubicBezTo>
                  <a:pt x="968781" y="5329673"/>
                  <a:pt x="1232259" y="5326588"/>
                  <a:pt x="1485552" y="5313202"/>
                </a:cubicBezTo>
                <a:cubicBezTo>
                  <a:pt x="1722589" y="5300930"/>
                  <a:pt x="1934026" y="5312502"/>
                  <a:pt x="2143004" y="5402420"/>
                </a:cubicBezTo>
                <a:cubicBezTo>
                  <a:pt x="2072259" y="5321879"/>
                  <a:pt x="2001915" y="5239927"/>
                  <a:pt x="1933391" y="5156971"/>
                </a:cubicBezTo>
                <a:cubicBezTo>
                  <a:pt x="1884964" y="5098829"/>
                  <a:pt x="1830279" y="5047453"/>
                  <a:pt x="1827118" y="4968410"/>
                </a:cubicBezTo>
                <a:cubicBezTo>
                  <a:pt x="1826899" y="4962830"/>
                  <a:pt x="1831287" y="4956131"/>
                  <a:pt x="1837349" y="4956357"/>
                </a:cubicBezTo>
                <a:cubicBezTo>
                  <a:pt x="1954786" y="4958180"/>
                  <a:pt x="2095955" y="5099243"/>
                  <a:pt x="2162835" y="5187853"/>
                </a:cubicBezTo>
                <a:cubicBezTo>
                  <a:pt x="2223806" y="5268314"/>
                  <a:pt x="2261117" y="5362764"/>
                  <a:pt x="2257167" y="5462123"/>
                </a:cubicBezTo>
                <a:cubicBezTo>
                  <a:pt x="2258619" y="5463463"/>
                  <a:pt x="2260110" y="5465731"/>
                  <a:pt x="2261598" y="5467998"/>
                </a:cubicBezTo>
                <a:cubicBezTo>
                  <a:pt x="2319293" y="5466627"/>
                  <a:pt x="2377620" y="5469418"/>
                  <a:pt x="2437177" y="5479608"/>
                </a:cubicBezTo>
                <a:cubicBezTo>
                  <a:pt x="2440002" y="5480429"/>
                  <a:pt x="2442387" y="5481726"/>
                  <a:pt x="2445247" y="5483476"/>
                </a:cubicBezTo>
                <a:cubicBezTo>
                  <a:pt x="2542410" y="5420910"/>
                  <a:pt x="2642483" y="5361023"/>
                  <a:pt x="2743626" y="5304819"/>
                </a:cubicBezTo>
                <a:cubicBezTo>
                  <a:pt x="2843877" y="5249576"/>
                  <a:pt x="2945694" y="5198471"/>
                  <a:pt x="3048102" y="5150595"/>
                </a:cubicBezTo>
                <a:cubicBezTo>
                  <a:pt x="2585795" y="5154639"/>
                  <a:pt x="2153807" y="4996795"/>
                  <a:pt x="1799414" y="4694732"/>
                </a:cubicBezTo>
                <a:cubicBezTo>
                  <a:pt x="1791709" y="4688523"/>
                  <a:pt x="1742423" y="4620635"/>
                  <a:pt x="1771735" y="4619929"/>
                </a:cubicBezTo>
                <a:cubicBezTo>
                  <a:pt x="2256142" y="4609405"/>
                  <a:pt x="2784409" y="4670721"/>
                  <a:pt x="3104273" y="5076159"/>
                </a:cubicBezTo>
                <a:cubicBezTo>
                  <a:pt x="3108183" y="5080663"/>
                  <a:pt x="3110711" y="5085686"/>
                  <a:pt x="3113245" y="5090705"/>
                </a:cubicBezTo>
                <a:cubicBezTo>
                  <a:pt x="3118189" y="5097958"/>
                  <a:pt x="3122727" y="5106622"/>
                  <a:pt x="3126294" y="5114400"/>
                </a:cubicBezTo>
                <a:cubicBezTo>
                  <a:pt x="3390302" y="4996262"/>
                  <a:pt x="3661785" y="4902036"/>
                  <a:pt x="3937433" y="4830473"/>
                </a:cubicBezTo>
                <a:cubicBezTo>
                  <a:pt x="3836176" y="4732523"/>
                  <a:pt x="3721785" y="4620668"/>
                  <a:pt x="3590475" y="4597974"/>
                </a:cubicBezTo>
                <a:cubicBezTo>
                  <a:pt x="3435249" y="4571111"/>
                  <a:pt x="3264279" y="4616605"/>
                  <a:pt x="3100264" y="4579845"/>
                </a:cubicBezTo>
                <a:cubicBezTo>
                  <a:pt x="2787310" y="4510393"/>
                  <a:pt x="2468738" y="4370372"/>
                  <a:pt x="2183576" y="4227150"/>
                </a:cubicBezTo>
                <a:cubicBezTo>
                  <a:pt x="2170260" y="4220226"/>
                  <a:pt x="2115765" y="4150220"/>
                  <a:pt x="2151029" y="4146947"/>
                </a:cubicBezTo>
                <a:cubicBezTo>
                  <a:pt x="2677991" y="4094203"/>
                  <a:pt x="3159089" y="4117356"/>
                  <a:pt x="3563434" y="4469115"/>
                </a:cubicBezTo>
                <a:lnTo>
                  <a:pt x="3177952" y="3657386"/>
                </a:lnTo>
                <a:cubicBezTo>
                  <a:pt x="3171337" y="3643210"/>
                  <a:pt x="3161442" y="3605414"/>
                  <a:pt x="3189263" y="3625726"/>
                </a:cubicBezTo>
                <a:cubicBezTo>
                  <a:pt x="3348177" y="3744655"/>
                  <a:pt x="3463235" y="3908187"/>
                  <a:pt x="3560912" y="4079863"/>
                </a:cubicBezTo>
                <a:cubicBezTo>
                  <a:pt x="3646545" y="4229668"/>
                  <a:pt x="3658964" y="4353983"/>
                  <a:pt x="3626636" y="4512230"/>
                </a:cubicBezTo>
                <a:cubicBezTo>
                  <a:pt x="3635603" y="4515129"/>
                  <a:pt x="3644081" y="4517586"/>
                  <a:pt x="3653088" y="4521417"/>
                </a:cubicBezTo>
                <a:cubicBezTo>
                  <a:pt x="3765052" y="4572828"/>
                  <a:pt x="3892199" y="4724230"/>
                  <a:pt x="3988128" y="4817267"/>
                </a:cubicBezTo>
                <a:cubicBezTo>
                  <a:pt x="4265269" y="4747971"/>
                  <a:pt x="4547054" y="4701774"/>
                  <a:pt x="4830582" y="4676000"/>
                </a:cubicBezTo>
                <a:lnTo>
                  <a:pt x="4830100" y="4675554"/>
                </a:lnTo>
                <a:cubicBezTo>
                  <a:pt x="4727027" y="4369030"/>
                  <a:pt x="4271973" y="4333199"/>
                  <a:pt x="4036318" y="4147013"/>
                </a:cubicBezTo>
                <a:cubicBezTo>
                  <a:pt x="3810777" y="3969273"/>
                  <a:pt x="3654591" y="3720297"/>
                  <a:pt x="3432098" y="3537312"/>
                </a:cubicBezTo>
                <a:cubicBezTo>
                  <a:pt x="3405134" y="3515099"/>
                  <a:pt x="3391592" y="3444385"/>
                  <a:pt x="3446761" y="3461278"/>
                </a:cubicBezTo>
                <a:cubicBezTo>
                  <a:pt x="3801752" y="3568638"/>
                  <a:pt x="4119982" y="3746863"/>
                  <a:pt x="4419733" y="3963555"/>
                </a:cubicBezTo>
                <a:cubicBezTo>
                  <a:pt x="4597168" y="4091520"/>
                  <a:pt x="4760991" y="4228417"/>
                  <a:pt x="4781371" y="4458604"/>
                </a:cubicBezTo>
                <a:cubicBezTo>
                  <a:pt x="4781562" y="4463257"/>
                  <a:pt x="4780772" y="4467014"/>
                  <a:pt x="4780440" y="4470290"/>
                </a:cubicBezTo>
                <a:cubicBezTo>
                  <a:pt x="4830364" y="4519056"/>
                  <a:pt x="4870983" y="4579844"/>
                  <a:pt x="4898954" y="4662092"/>
                </a:cubicBezTo>
                <a:cubicBezTo>
                  <a:pt x="4900480" y="4665288"/>
                  <a:pt x="4900107" y="4667630"/>
                  <a:pt x="4900699" y="4670867"/>
                </a:cubicBezTo>
                <a:cubicBezTo>
                  <a:pt x="5170915" y="4649815"/>
                  <a:pt x="5442360" y="4647817"/>
                  <a:pt x="5714511" y="4663483"/>
                </a:cubicBezTo>
                <a:cubicBezTo>
                  <a:pt x="5651495" y="4555157"/>
                  <a:pt x="5582088" y="4449879"/>
                  <a:pt x="5464793" y="4393556"/>
                </a:cubicBezTo>
                <a:cubicBezTo>
                  <a:pt x="5463384" y="4393148"/>
                  <a:pt x="5462860" y="4391770"/>
                  <a:pt x="5461897" y="4390879"/>
                </a:cubicBezTo>
                <a:cubicBezTo>
                  <a:pt x="4970387" y="4293633"/>
                  <a:pt x="4556299" y="3674930"/>
                  <a:pt x="4294126" y="3303048"/>
                </a:cubicBezTo>
                <a:cubicBezTo>
                  <a:pt x="4284225" y="3288537"/>
                  <a:pt x="4271318" y="3233630"/>
                  <a:pt x="4305321" y="3256953"/>
                </a:cubicBezTo>
                <a:cubicBezTo>
                  <a:pt x="4530520" y="3414680"/>
                  <a:pt x="4740956" y="3587440"/>
                  <a:pt x="4949299" y="3766336"/>
                </a:cubicBezTo>
                <a:cubicBezTo>
                  <a:pt x="5065543" y="3866477"/>
                  <a:pt x="5184542" y="3965579"/>
                  <a:pt x="5291452" y="4076801"/>
                </a:cubicBezTo>
                <a:cubicBezTo>
                  <a:pt x="5309900" y="4095629"/>
                  <a:pt x="5393714" y="4211504"/>
                  <a:pt x="5434998" y="4254100"/>
                </a:cubicBezTo>
                <a:cubicBezTo>
                  <a:pt x="5369347" y="4172892"/>
                  <a:pt x="5356822" y="3836202"/>
                  <a:pt x="5351015" y="3760989"/>
                </a:cubicBezTo>
                <a:cubicBezTo>
                  <a:pt x="5330486" y="3492147"/>
                  <a:pt x="5355823" y="3228927"/>
                  <a:pt x="5413780" y="2966265"/>
                </a:cubicBezTo>
                <a:cubicBezTo>
                  <a:pt x="5415835" y="2956520"/>
                  <a:pt x="5420191" y="2953318"/>
                  <a:pt x="5425627" y="2954192"/>
                </a:cubicBezTo>
                <a:close/>
                <a:moveTo>
                  <a:pt x="6604735" y="2041381"/>
                </a:moveTo>
                <a:cubicBezTo>
                  <a:pt x="6726311" y="2327927"/>
                  <a:pt x="6916754" y="2606522"/>
                  <a:pt x="7204487" y="2742112"/>
                </a:cubicBezTo>
                <a:cubicBezTo>
                  <a:pt x="7179895" y="2719491"/>
                  <a:pt x="7154936" y="2696378"/>
                  <a:pt x="7131592" y="2672096"/>
                </a:cubicBezTo>
                <a:cubicBezTo>
                  <a:pt x="7084181" y="2622518"/>
                  <a:pt x="7039271" y="2569608"/>
                  <a:pt x="6996344" y="2518310"/>
                </a:cubicBezTo>
                <a:cubicBezTo>
                  <a:pt x="6908871" y="2414600"/>
                  <a:pt x="6818501" y="2306884"/>
                  <a:pt x="6735495" y="2196890"/>
                </a:cubicBezTo>
                <a:lnTo>
                  <a:pt x="6721901" y="2179274"/>
                </a:lnTo>
                <a:cubicBezTo>
                  <a:pt x="6685654" y="2131523"/>
                  <a:pt x="6648317" y="2082278"/>
                  <a:pt x="6604735" y="2041381"/>
                </a:cubicBezTo>
                <a:close/>
                <a:moveTo>
                  <a:pt x="6591670" y="1988277"/>
                </a:moveTo>
                <a:cubicBezTo>
                  <a:pt x="6653650" y="2036451"/>
                  <a:pt x="6701310" y="2098809"/>
                  <a:pt x="6747349" y="2160069"/>
                </a:cubicBezTo>
                <a:lnTo>
                  <a:pt x="6760943" y="2177686"/>
                </a:lnTo>
                <a:cubicBezTo>
                  <a:pt x="6844486" y="2287290"/>
                  <a:pt x="6934499" y="2394502"/>
                  <a:pt x="7021065" y="2498102"/>
                </a:cubicBezTo>
                <a:cubicBezTo>
                  <a:pt x="7063629" y="2548900"/>
                  <a:pt x="7108178" y="2601313"/>
                  <a:pt x="7155223" y="2650386"/>
                </a:cubicBezTo>
                <a:cubicBezTo>
                  <a:pt x="7170968" y="2666443"/>
                  <a:pt x="7186885" y="2681619"/>
                  <a:pt x="7203167" y="2697288"/>
                </a:cubicBezTo>
                <a:cubicBezTo>
                  <a:pt x="7124362" y="2565928"/>
                  <a:pt x="7030837" y="2441422"/>
                  <a:pt x="6937703" y="2321981"/>
                </a:cubicBezTo>
                <a:cubicBezTo>
                  <a:pt x="6842752" y="2200032"/>
                  <a:pt x="6742965" y="2048781"/>
                  <a:pt x="6591670" y="1988277"/>
                </a:cubicBezTo>
                <a:close/>
                <a:moveTo>
                  <a:pt x="5798671" y="1981601"/>
                </a:moveTo>
                <a:cubicBezTo>
                  <a:pt x="5784234" y="2008086"/>
                  <a:pt x="5768551" y="2036236"/>
                  <a:pt x="5754709" y="2071454"/>
                </a:cubicBezTo>
                <a:cubicBezTo>
                  <a:pt x="5651219" y="2330361"/>
                  <a:pt x="5694208" y="2592217"/>
                  <a:pt x="5763044" y="2842206"/>
                </a:cubicBezTo>
                <a:cubicBezTo>
                  <a:pt x="5763687" y="2828007"/>
                  <a:pt x="5764331" y="2813808"/>
                  <a:pt x="5764974" y="2799609"/>
                </a:cubicBezTo>
                <a:cubicBezTo>
                  <a:pt x="5766710" y="2755616"/>
                  <a:pt x="5768626" y="2710738"/>
                  <a:pt x="5767665" y="2666409"/>
                </a:cubicBezTo>
                <a:cubicBezTo>
                  <a:pt x="5766964" y="2637156"/>
                  <a:pt x="5764828" y="2608182"/>
                  <a:pt x="5763055" y="2579705"/>
                </a:cubicBezTo>
                <a:cubicBezTo>
                  <a:pt x="5760913" y="2550734"/>
                  <a:pt x="5758780" y="2521760"/>
                  <a:pt x="5758079" y="2492508"/>
                </a:cubicBezTo>
                <a:cubicBezTo>
                  <a:pt x="5755745" y="2394242"/>
                  <a:pt x="5767619" y="2294070"/>
                  <a:pt x="5779325" y="2197069"/>
                </a:cubicBezTo>
                <a:cubicBezTo>
                  <a:pt x="5787753" y="2126095"/>
                  <a:pt x="5796001" y="2053736"/>
                  <a:pt x="5798671" y="1981601"/>
                </a:cubicBezTo>
                <a:close/>
                <a:moveTo>
                  <a:pt x="5829202" y="1971679"/>
                </a:moveTo>
                <a:cubicBezTo>
                  <a:pt x="5826736" y="2047481"/>
                  <a:pt x="5818154" y="2123904"/>
                  <a:pt x="5809558" y="2198043"/>
                </a:cubicBezTo>
                <a:cubicBezTo>
                  <a:pt x="5798026" y="2294159"/>
                  <a:pt x="5785973" y="2392938"/>
                  <a:pt x="5788653" y="2489430"/>
                </a:cubicBezTo>
                <a:cubicBezTo>
                  <a:pt x="5789524" y="2517790"/>
                  <a:pt x="5791665" y="2546759"/>
                  <a:pt x="5793439" y="2575235"/>
                </a:cubicBezTo>
                <a:cubicBezTo>
                  <a:pt x="5794815" y="2596366"/>
                  <a:pt x="5795822" y="2617001"/>
                  <a:pt x="5796837" y="2637633"/>
                </a:cubicBezTo>
                <a:cubicBezTo>
                  <a:pt x="5803017" y="2582794"/>
                  <a:pt x="5810098" y="2528066"/>
                  <a:pt x="5818614" y="2473055"/>
                </a:cubicBezTo>
                <a:cubicBezTo>
                  <a:pt x="5845917" y="2299125"/>
                  <a:pt x="5877599" y="2135758"/>
                  <a:pt x="5829202" y="1971679"/>
                </a:cubicBezTo>
                <a:close/>
                <a:moveTo>
                  <a:pt x="5911389" y="1898371"/>
                </a:moveTo>
                <a:cubicBezTo>
                  <a:pt x="6006914" y="2026768"/>
                  <a:pt x="6112955" y="2136857"/>
                  <a:pt x="6237627" y="2231921"/>
                </a:cubicBezTo>
                <a:cubicBezTo>
                  <a:pt x="6161282" y="2090381"/>
                  <a:pt x="6060308" y="1952200"/>
                  <a:pt x="5911389" y="1898371"/>
                </a:cubicBezTo>
                <a:close/>
                <a:moveTo>
                  <a:pt x="6944437" y="1575402"/>
                </a:moveTo>
                <a:cubicBezTo>
                  <a:pt x="6732842" y="1643305"/>
                  <a:pt x="6518352" y="1707201"/>
                  <a:pt x="6304730" y="1766654"/>
                </a:cubicBezTo>
                <a:cubicBezTo>
                  <a:pt x="6527947" y="1784949"/>
                  <a:pt x="6737901" y="1680839"/>
                  <a:pt x="6944437" y="1575402"/>
                </a:cubicBezTo>
                <a:close/>
                <a:moveTo>
                  <a:pt x="7019523" y="1519450"/>
                </a:moveTo>
                <a:cubicBezTo>
                  <a:pt x="6766096" y="1537552"/>
                  <a:pt x="6524653" y="1609537"/>
                  <a:pt x="6298091" y="1737122"/>
                </a:cubicBezTo>
                <a:cubicBezTo>
                  <a:pt x="6539381" y="1670594"/>
                  <a:pt x="6780997" y="1597715"/>
                  <a:pt x="7019523" y="1519450"/>
                </a:cubicBezTo>
                <a:close/>
                <a:moveTo>
                  <a:pt x="2399523" y="1428234"/>
                </a:moveTo>
                <a:cubicBezTo>
                  <a:pt x="2324192" y="1539775"/>
                  <a:pt x="2267478" y="1713586"/>
                  <a:pt x="2224982" y="1826201"/>
                </a:cubicBezTo>
                <a:cubicBezTo>
                  <a:pt x="2161246" y="1995817"/>
                  <a:pt x="2120250" y="2168765"/>
                  <a:pt x="2096099" y="2345900"/>
                </a:cubicBezTo>
                <a:cubicBezTo>
                  <a:pt x="2166834" y="2165047"/>
                  <a:pt x="2226331" y="1978598"/>
                  <a:pt x="2283317" y="1796925"/>
                </a:cubicBezTo>
                <a:lnTo>
                  <a:pt x="2399523" y="1428234"/>
                </a:lnTo>
                <a:close/>
                <a:moveTo>
                  <a:pt x="2448558" y="1373435"/>
                </a:moveTo>
                <a:lnTo>
                  <a:pt x="2312521" y="1806140"/>
                </a:lnTo>
                <a:cubicBezTo>
                  <a:pt x="2255817" y="1985569"/>
                  <a:pt x="2197150" y="2169492"/>
                  <a:pt x="2127533" y="2348380"/>
                </a:cubicBezTo>
                <a:cubicBezTo>
                  <a:pt x="2230881" y="2201722"/>
                  <a:pt x="2307261" y="2041905"/>
                  <a:pt x="2358080" y="1866134"/>
                </a:cubicBezTo>
                <a:cubicBezTo>
                  <a:pt x="2378743" y="1795373"/>
                  <a:pt x="2394349" y="1722940"/>
                  <a:pt x="2407436" y="1651070"/>
                </a:cubicBezTo>
                <a:cubicBezTo>
                  <a:pt x="2417458" y="1596892"/>
                  <a:pt x="2466254" y="1384915"/>
                  <a:pt x="2448558" y="1373435"/>
                </a:cubicBezTo>
                <a:close/>
                <a:moveTo>
                  <a:pt x="278707" y="1352270"/>
                </a:moveTo>
                <a:lnTo>
                  <a:pt x="321570" y="1861610"/>
                </a:lnTo>
                <a:cubicBezTo>
                  <a:pt x="336248" y="1725752"/>
                  <a:pt x="317508" y="1584885"/>
                  <a:pt x="294281" y="1440658"/>
                </a:cubicBezTo>
                <a:lnTo>
                  <a:pt x="278707" y="1352270"/>
                </a:lnTo>
                <a:close/>
                <a:moveTo>
                  <a:pt x="1423821" y="1351958"/>
                </a:moveTo>
                <a:cubicBezTo>
                  <a:pt x="1426859" y="1507722"/>
                  <a:pt x="1587831" y="1796280"/>
                  <a:pt x="1638521" y="1908470"/>
                </a:cubicBezTo>
                <a:cubicBezTo>
                  <a:pt x="1674424" y="1987707"/>
                  <a:pt x="1711105" y="2070587"/>
                  <a:pt x="1754199" y="2149284"/>
                </a:cubicBezTo>
                <a:cubicBezTo>
                  <a:pt x="1797295" y="2227981"/>
                  <a:pt x="1846801" y="2302493"/>
                  <a:pt x="1908359" y="2364988"/>
                </a:cubicBezTo>
                <a:cubicBezTo>
                  <a:pt x="1805946" y="2193096"/>
                  <a:pt x="1725953" y="2007134"/>
                  <a:pt x="1647661" y="1825945"/>
                </a:cubicBezTo>
                <a:cubicBezTo>
                  <a:pt x="1579500" y="1667751"/>
                  <a:pt x="1508533" y="1505355"/>
                  <a:pt x="1423821" y="1351958"/>
                </a:cubicBezTo>
                <a:close/>
                <a:moveTo>
                  <a:pt x="1431890" y="1306475"/>
                </a:moveTo>
                <a:cubicBezTo>
                  <a:pt x="1458339" y="1352187"/>
                  <a:pt x="1483952" y="1399016"/>
                  <a:pt x="1507597" y="1446132"/>
                </a:cubicBezTo>
                <a:cubicBezTo>
                  <a:pt x="1568403" y="1567288"/>
                  <a:pt x="1621917" y="1692101"/>
                  <a:pt x="1674586" y="1813832"/>
                </a:cubicBezTo>
                <a:cubicBezTo>
                  <a:pt x="1719648" y="1918315"/>
                  <a:pt x="1765554" y="2024477"/>
                  <a:pt x="1815950" y="2128564"/>
                </a:cubicBezTo>
                <a:cubicBezTo>
                  <a:pt x="1866346" y="2232648"/>
                  <a:pt x="1921228" y="2334658"/>
                  <a:pt x="1984242" y="2430829"/>
                </a:cubicBezTo>
                <a:cubicBezTo>
                  <a:pt x="1994073" y="2437830"/>
                  <a:pt x="2003908" y="2444836"/>
                  <a:pt x="2014023" y="2450995"/>
                </a:cubicBezTo>
                <a:cubicBezTo>
                  <a:pt x="1956448" y="2239741"/>
                  <a:pt x="1853160" y="2049325"/>
                  <a:pt x="1747337" y="1855264"/>
                </a:cubicBezTo>
                <a:cubicBezTo>
                  <a:pt x="1678102" y="1728504"/>
                  <a:pt x="1608870" y="1601753"/>
                  <a:pt x="1533749" y="1478656"/>
                </a:cubicBezTo>
                <a:cubicBezTo>
                  <a:pt x="1510398" y="1440515"/>
                  <a:pt x="1454048" y="1294657"/>
                  <a:pt x="1431890" y="1306475"/>
                </a:cubicBezTo>
                <a:close/>
                <a:moveTo>
                  <a:pt x="5052692" y="1292994"/>
                </a:moveTo>
                <a:cubicBezTo>
                  <a:pt x="5103155" y="1406739"/>
                  <a:pt x="5153078" y="1520878"/>
                  <a:pt x="5200661" y="1635186"/>
                </a:cubicBezTo>
                <a:cubicBezTo>
                  <a:pt x="5238218" y="1725483"/>
                  <a:pt x="5273610" y="1815047"/>
                  <a:pt x="5297138" y="1906351"/>
                </a:cubicBezTo>
                <a:cubicBezTo>
                  <a:pt x="5281533" y="1683399"/>
                  <a:pt x="5177210" y="1491946"/>
                  <a:pt x="5052692" y="1292994"/>
                </a:cubicBezTo>
                <a:close/>
                <a:moveTo>
                  <a:pt x="5009948" y="1273619"/>
                </a:moveTo>
                <a:cubicBezTo>
                  <a:pt x="5013363" y="1406203"/>
                  <a:pt x="5078144" y="1538571"/>
                  <a:pt x="5121777" y="1654213"/>
                </a:cubicBezTo>
                <a:cubicBezTo>
                  <a:pt x="5175625" y="1795269"/>
                  <a:pt x="5233597" y="1934093"/>
                  <a:pt x="5293545" y="2072247"/>
                </a:cubicBezTo>
                <a:cubicBezTo>
                  <a:pt x="5293533" y="2069971"/>
                  <a:pt x="5294060" y="2067298"/>
                  <a:pt x="5294042" y="2065019"/>
                </a:cubicBezTo>
                <a:cubicBezTo>
                  <a:pt x="5282123" y="1924099"/>
                  <a:pt x="5230273" y="1786942"/>
                  <a:pt x="5171936" y="1647613"/>
                </a:cubicBezTo>
                <a:cubicBezTo>
                  <a:pt x="5119977" y="1522743"/>
                  <a:pt x="5065315" y="1397539"/>
                  <a:pt x="5009948" y="1273619"/>
                </a:cubicBezTo>
                <a:close/>
                <a:moveTo>
                  <a:pt x="655236" y="1268632"/>
                </a:moveTo>
                <a:cubicBezTo>
                  <a:pt x="717895" y="1408869"/>
                  <a:pt x="771574" y="1550454"/>
                  <a:pt x="839521" y="1685315"/>
                </a:cubicBezTo>
                <a:cubicBezTo>
                  <a:pt x="907470" y="1820177"/>
                  <a:pt x="989683" y="1948318"/>
                  <a:pt x="1109416" y="2061663"/>
                </a:cubicBezTo>
                <a:cubicBezTo>
                  <a:pt x="1177718" y="2126399"/>
                  <a:pt x="1244319" y="2184954"/>
                  <a:pt x="1298300" y="2247742"/>
                </a:cubicBezTo>
                <a:cubicBezTo>
                  <a:pt x="1250168" y="2156040"/>
                  <a:pt x="1187457" y="2071655"/>
                  <a:pt x="1125871" y="1989513"/>
                </a:cubicBezTo>
                <a:cubicBezTo>
                  <a:pt x="1076370" y="1923070"/>
                  <a:pt x="1025189" y="1854667"/>
                  <a:pt x="981574" y="1783157"/>
                </a:cubicBezTo>
                <a:cubicBezTo>
                  <a:pt x="960475" y="1748106"/>
                  <a:pt x="941058" y="1712211"/>
                  <a:pt x="922198" y="1677437"/>
                </a:cubicBezTo>
                <a:cubicBezTo>
                  <a:pt x="905028" y="1646031"/>
                  <a:pt x="887579" y="1614059"/>
                  <a:pt x="869293" y="1583214"/>
                </a:cubicBezTo>
                <a:cubicBezTo>
                  <a:pt x="832994" y="1522086"/>
                  <a:pt x="791368" y="1462924"/>
                  <a:pt x="751431" y="1405731"/>
                </a:cubicBezTo>
                <a:lnTo>
                  <a:pt x="655236" y="1268632"/>
                </a:lnTo>
                <a:close/>
                <a:moveTo>
                  <a:pt x="6516292" y="1263064"/>
                </a:moveTo>
                <a:cubicBezTo>
                  <a:pt x="6288018" y="1373581"/>
                  <a:pt x="6031500" y="1451909"/>
                  <a:pt x="5736320" y="1501803"/>
                </a:cubicBezTo>
                <a:cubicBezTo>
                  <a:pt x="6001708" y="1565837"/>
                  <a:pt x="6267694" y="1408906"/>
                  <a:pt x="6516292" y="1263064"/>
                </a:cubicBezTo>
                <a:close/>
                <a:moveTo>
                  <a:pt x="291466" y="1250369"/>
                </a:moveTo>
                <a:cubicBezTo>
                  <a:pt x="302228" y="1312380"/>
                  <a:pt x="313548" y="1374109"/>
                  <a:pt x="323180" y="1435283"/>
                </a:cubicBezTo>
                <a:cubicBezTo>
                  <a:pt x="347262" y="1585402"/>
                  <a:pt x="366566" y="1733005"/>
                  <a:pt x="349381" y="1875041"/>
                </a:cubicBezTo>
                <a:cubicBezTo>
                  <a:pt x="398887" y="1761016"/>
                  <a:pt x="404047" y="1643975"/>
                  <a:pt x="374363" y="1506494"/>
                </a:cubicBezTo>
                <a:cubicBezTo>
                  <a:pt x="356845" y="1425406"/>
                  <a:pt x="334841" y="1350786"/>
                  <a:pt x="302168" y="1274495"/>
                </a:cubicBezTo>
                <a:cubicBezTo>
                  <a:pt x="298229" y="1265236"/>
                  <a:pt x="295129" y="1257666"/>
                  <a:pt x="291466" y="1250369"/>
                </a:cubicBezTo>
                <a:close/>
                <a:moveTo>
                  <a:pt x="678222" y="1248670"/>
                </a:moveTo>
                <a:lnTo>
                  <a:pt x="775536" y="1388015"/>
                </a:lnTo>
                <a:cubicBezTo>
                  <a:pt x="815764" y="1445771"/>
                  <a:pt x="857669" y="1505484"/>
                  <a:pt x="894529" y="1567739"/>
                </a:cubicBezTo>
                <a:cubicBezTo>
                  <a:pt x="913103" y="1599148"/>
                  <a:pt x="930546" y="1631115"/>
                  <a:pt x="948000" y="1663088"/>
                </a:cubicBezTo>
                <a:cubicBezTo>
                  <a:pt x="966853" y="1697859"/>
                  <a:pt x="986277" y="1733757"/>
                  <a:pt x="1006812" y="1767683"/>
                </a:cubicBezTo>
                <a:cubicBezTo>
                  <a:pt x="1049303" y="1838347"/>
                  <a:pt x="1100205" y="1906189"/>
                  <a:pt x="1149133" y="1971513"/>
                </a:cubicBezTo>
                <a:cubicBezTo>
                  <a:pt x="1215506" y="2060384"/>
                  <a:pt x="1283561" y="2151216"/>
                  <a:pt x="1333952" y="2251620"/>
                </a:cubicBezTo>
                <a:lnTo>
                  <a:pt x="1337329" y="2258350"/>
                </a:lnTo>
                <a:cubicBezTo>
                  <a:pt x="1352131" y="2023413"/>
                  <a:pt x="1145204" y="1784597"/>
                  <a:pt x="1014726" y="1615556"/>
                </a:cubicBezTo>
                <a:cubicBezTo>
                  <a:pt x="911517" y="1481269"/>
                  <a:pt x="800192" y="1360189"/>
                  <a:pt x="678222" y="1248670"/>
                </a:cubicBezTo>
                <a:close/>
                <a:moveTo>
                  <a:pt x="6691602" y="1140573"/>
                </a:moveTo>
                <a:cubicBezTo>
                  <a:pt x="6646175" y="1158238"/>
                  <a:pt x="6598950" y="1175684"/>
                  <a:pt x="6571100" y="1183662"/>
                </a:cubicBezTo>
                <a:cubicBezTo>
                  <a:pt x="6462406" y="1213607"/>
                  <a:pt x="6352215" y="1234713"/>
                  <a:pt x="6241687" y="1257600"/>
                </a:cubicBezTo>
                <a:cubicBezTo>
                  <a:pt x="6040746" y="1299467"/>
                  <a:pt x="5893317" y="1420819"/>
                  <a:pt x="5693009" y="1478256"/>
                </a:cubicBezTo>
                <a:cubicBezTo>
                  <a:pt x="6021285" y="1426507"/>
                  <a:pt x="6301876" y="1340642"/>
                  <a:pt x="6548420" y="1214599"/>
                </a:cubicBezTo>
                <a:lnTo>
                  <a:pt x="6605473" y="1184686"/>
                </a:lnTo>
                <a:cubicBezTo>
                  <a:pt x="6633823" y="1169483"/>
                  <a:pt x="6662531" y="1154778"/>
                  <a:pt x="6691602" y="1140573"/>
                </a:cubicBezTo>
                <a:close/>
                <a:moveTo>
                  <a:pt x="4002475" y="1037802"/>
                </a:moveTo>
                <a:lnTo>
                  <a:pt x="4000324" y="1039362"/>
                </a:lnTo>
                <a:lnTo>
                  <a:pt x="4002862" y="1042866"/>
                </a:lnTo>
                <a:cubicBezTo>
                  <a:pt x="4002672" y="1041472"/>
                  <a:pt x="4002487" y="1040086"/>
                  <a:pt x="4002475" y="1037802"/>
                </a:cubicBezTo>
                <a:close/>
                <a:moveTo>
                  <a:pt x="506322" y="1020997"/>
                </a:moveTo>
                <a:cubicBezTo>
                  <a:pt x="513282" y="1018930"/>
                  <a:pt x="522180" y="1021005"/>
                  <a:pt x="533068" y="1029409"/>
                </a:cubicBezTo>
                <a:cubicBezTo>
                  <a:pt x="813777" y="1244537"/>
                  <a:pt x="1037861" y="1510547"/>
                  <a:pt x="1232525" y="1804675"/>
                </a:cubicBezTo>
                <a:cubicBezTo>
                  <a:pt x="1347857" y="1978510"/>
                  <a:pt x="1448039" y="2155739"/>
                  <a:pt x="1388858" y="2368011"/>
                </a:cubicBezTo>
                <a:cubicBezTo>
                  <a:pt x="1387462" y="2372226"/>
                  <a:pt x="1385496" y="2375314"/>
                  <a:pt x="1384098" y="2378125"/>
                </a:cubicBezTo>
                <a:cubicBezTo>
                  <a:pt x="1412260" y="2438425"/>
                  <a:pt x="1428077" y="2506324"/>
                  <a:pt x="1425393" y="2589124"/>
                </a:cubicBezTo>
                <a:cubicBezTo>
                  <a:pt x="1425681" y="2592488"/>
                  <a:pt x="1424559" y="2594453"/>
                  <a:pt x="1424001" y="2597541"/>
                </a:cubicBezTo>
                <a:cubicBezTo>
                  <a:pt x="1672217" y="2669579"/>
                  <a:pt x="1915127" y="2759032"/>
                  <a:pt x="2152729" y="2864487"/>
                </a:cubicBezTo>
                <a:cubicBezTo>
                  <a:pt x="2132903" y="2746636"/>
                  <a:pt x="2106350" y="2629357"/>
                  <a:pt x="2020609" y="2539671"/>
                </a:cubicBezTo>
                <a:cubicBezTo>
                  <a:pt x="2019486" y="2538832"/>
                  <a:pt x="2019482" y="2537426"/>
                  <a:pt x="2018920" y="2536309"/>
                </a:cubicBezTo>
                <a:cubicBezTo>
                  <a:pt x="1612986" y="2284320"/>
                  <a:pt x="1451410" y="1593008"/>
                  <a:pt x="1342441" y="1173017"/>
                </a:cubicBezTo>
                <a:cubicBezTo>
                  <a:pt x="1338482" y="1156742"/>
                  <a:pt x="1345418" y="1103405"/>
                  <a:pt x="1367925" y="1135648"/>
                </a:cubicBezTo>
                <a:cubicBezTo>
                  <a:pt x="1515878" y="1352095"/>
                  <a:pt x="1645605" y="1576999"/>
                  <a:pt x="1771401" y="1806673"/>
                </a:cubicBezTo>
                <a:cubicBezTo>
                  <a:pt x="1841477" y="1935111"/>
                  <a:pt x="1914363" y="2063547"/>
                  <a:pt x="1972385" y="2198735"/>
                </a:cubicBezTo>
                <a:cubicBezTo>
                  <a:pt x="1982518" y="2221738"/>
                  <a:pt x="2018367" y="2353316"/>
                  <a:pt x="2040892" y="2405205"/>
                </a:cubicBezTo>
                <a:cubicBezTo>
                  <a:pt x="2009600" y="2310668"/>
                  <a:pt x="2111587" y="2005996"/>
                  <a:pt x="2131689" y="1936926"/>
                </a:cubicBezTo>
                <a:cubicBezTo>
                  <a:pt x="2203731" y="1690111"/>
                  <a:pt x="2314813" y="1463729"/>
                  <a:pt x="2454820" y="1248808"/>
                </a:cubicBezTo>
                <a:cubicBezTo>
                  <a:pt x="2475264" y="1216788"/>
                  <a:pt x="2493340" y="1290570"/>
                  <a:pt x="2492512" y="1302920"/>
                </a:cubicBezTo>
                <a:cubicBezTo>
                  <a:pt x="2465675" y="1747535"/>
                  <a:pt x="2370053" y="2178216"/>
                  <a:pt x="2081216" y="2527513"/>
                </a:cubicBezTo>
                <a:cubicBezTo>
                  <a:pt x="2081497" y="2528073"/>
                  <a:pt x="2081211" y="2528916"/>
                  <a:pt x="2081211" y="2528916"/>
                </a:cubicBezTo>
                <a:cubicBezTo>
                  <a:pt x="2150699" y="2633778"/>
                  <a:pt x="2178105" y="2756954"/>
                  <a:pt x="2199067" y="2884061"/>
                </a:cubicBezTo>
                <a:cubicBezTo>
                  <a:pt x="2641128" y="3084915"/>
                  <a:pt x="3028660" y="3311628"/>
                  <a:pt x="3192586" y="3411496"/>
                </a:cubicBezTo>
                <a:cubicBezTo>
                  <a:pt x="3356510" y="3511368"/>
                  <a:pt x="3237401" y="3517312"/>
                  <a:pt x="3182620" y="3483279"/>
                </a:cubicBezTo>
                <a:cubicBezTo>
                  <a:pt x="3055506" y="3404310"/>
                  <a:pt x="2789863" y="3259545"/>
                  <a:pt x="2435119" y="3080173"/>
                </a:cubicBezTo>
                <a:lnTo>
                  <a:pt x="2410152" y="3063751"/>
                </a:lnTo>
                <a:lnTo>
                  <a:pt x="2408099" y="3064403"/>
                </a:lnTo>
                <a:lnTo>
                  <a:pt x="2407218" y="3070324"/>
                </a:lnTo>
                <a:cubicBezTo>
                  <a:pt x="2402612" y="3079171"/>
                  <a:pt x="2394080" y="3088906"/>
                  <a:pt x="2380138" y="3099341"/>
                </a:cubicBezTo>
                <a:cubicBezTo>
                  <a:pt x="2194333" y="3283170"/>
                  <a:pt x="1992503" y="3449064"/>
                  <a:pt x="1765923" y="3581043"/>
                </a:cubicBezTo>
                <a:cubicBezTo>
                  <a:pt x="1744896" y="3593696"/>
                  <a:pt x="1723857" y="3603555"/>
                  <a:pt x="1702258" y="3612286"/>
                </a:cubicBezTo>
                <a:cubicBezTo>
                  <a:pt x="1664333" y="3650747"/>
                  <a:pt x="1731601" y="3589836"/>
                  <a:pt x="1538370" y="3811804"/>
                </a:cubicBezTo>
                <a:cubicBezTo>
                  <a:pt x="1278852" y="4250311"/>
                  <a:pt x="915356" y="4600566"/>
                  <a:pt x="542867" y="4944092"/>
                </a:cubicBezTo>
                <a:cubicBezTo>
                  <a:pt x="521291" y="4964055"/>
                  <a:pt x="503482" y="4879596"/>
                  <a:pt x="515800" y="4862180"/>
                </a:cubicBezTo>
                <a:cubicBezTo>
                  <a:pt x="664236" y="4650055"/>
                  <a:pt x="747224" y="4402666"/>
                  <a:pt x="909145" y="4199225"/>
                </a:cubicBezTo>
                <a:cubicBezTo>
                  <a:pt x="998789" y="4086824"/>
                  <a:pt x="1101084" y="3991246"/>
                  <a:pt x="1214067" y="3908561"/>
                </a:cubicBezTo>
                <a:cubicBezTo>
                  <a:pt x="1023317" y="3973399"/>
                  <a:pt x="824392" y="4020568"/>
                  <a:pt x="640967" y="4105601"/>
                </a:cubicBezTo>
                <a:cubicBezTo>
                  <a:pt x="458381" y="4190213"/>
                  <a:pt x="284593" y="4292005"/>
                  <a:pt x="112563" y="4396952"/>
                </a:cubicBezTo>
                <a:lnTo>
                  <a:pt x="0" y="4466006"/>
                </a:lnTo>
                <a:lnTo>
                  <a:pt x="0" y="4233763"/>
                </a:lnTo>
                <a:lnTo>
                  <a:pt x="36881" y="4200118"/>
                </a:lnTo>
                <a:cubicBezTo>
                  <a:pt x="302143" y="3962792"/>
                  <a:pt x="585478" y="3740226"/>
                  <a:pt x="910534" y="3629753"/>
                </a:cubicBezTo>
                <a:cubicBezTo>
                  <a:pt x="1140280" y="3551663"/>
                  <a:pt x="1356783" y="3624873"/>
                  <a:pt x="1578717" y="3575982"/>
                </a:cubicBezTo>
                <a:cubicBezTo>
                  <a:pt x="1857881" y="3513822"/>
                  <a:pt x="2134207" y="3238918"/>
                  <a:pt x="2338780" y="3033725"/>
                </a:cubicBezTo>
                <a:cubicBezTo>
                  <a:pt x="2165203" y="2949506"/>
                  <a:pt x="1987990" y="2873430"/>
                  <a:pt x="1807991" y="2807184"/>
                </a:cubicBezTo>
                <a:cubicBezTo>
                  <a:pt x="1696192" y="2934214"/>
                  <a:pt x="1567238" y="3035444"/>
                  <a:pt x="1416358" y="3112571"/>
                </a:cubicBezTo>
                <a:cubicBezTo>
                  <a:pt x="1318658" y="3280278"/>
                  <a:pt x="1112986" y="3321000"/>
                  <a:pt x="939066" y="3378798"/>
                </a:cubicBezTo>
                <a:cubicBezTo>
                  <a:pt x="668357" y="3469020"/>
                  <a:pt x="393418" y="3543804"/>
                  <a:pt x="115099" y="3607650"/>
                </a:cubicBezTo>
                <a:cubicBezTo>
                  <a:pt x="80589" y="3615844"/>
                  <a:pt x="67554" y="3533906"/>
                  <a:pt x="97284" y="3520393"/>
                </a:cubicBezTo>
                <a:cubicBezTo>
                  <a:pt x="382521" y="3387774"/>
                  <a:pt x="642160" y="3215335"/>
                  <a:pt x="922050" y="3074867"/>
                </a:cubicBezTo>
                <a:cubicBezTo>
                  <a:pt x="1080787" y="2995199"/>
                  <a:pt x="1233979" y="2960447"/>
                  <a:pt x="1405265" y="3016319"/>
                </a:cubicBezTo>
                <a:cubicBezTo>
                  <a:pt x="1406106" y="3016600"/>
                  <a:pt x="1406671" y="3017724"/>
                  <a:pt x="1407512" y="3018001"/>
                </a:cubicBezTo>
                <a:cubicBezTo>
                  <a:pt x="1526420" y="2954115"/>
                  <a:pt x="1632390" y="2874245"/>
                  <a:pt x="1726266" y="2777274"/>
                </a:cubicBezTo>
                <a:cubicBezTo>
                  <a:pt x="1369635" y="2651515"/>
                  <a:pt x="1000990" y="2561972"/>
                  <a:pt x="625390" y="2514541"/>
                </a:cubicBezTo>
                <a:cubicBezTo>
                  <a:pt x="624559" y="2519877"/>
                  <a:pt x="622878" y="2524928"/>
                  <a:pt x="619799" y="2527180"/>
                </a:cubicBezTo>
                <a:cubicBezTo>
                  <a:pt x="509037" y="2598914"/>
                  <a:pt x="403069" y="2677377"/>
                  <a:pt x="310030" y="2771818"/>
                </a:cubicBezTo>
                <a:cubicBezTo>
                  <a:pt x="266034" y="2817076"/>
                  <a:pt x="224887" y="2891795"/>
                  <a:pt x="173877" y="2937056"/>
                </a:cubicBezTo>
                <a:cubicBezTo>
                  <a:pt x="145840" y="3003792"/>
                  <a:pt x="113686" y="3071134"/>
                  <a:pt x="77889" y="3138440"/>
                </a:cubicBezTo>
                <a:lnTo>
                  <a:pt x="0" y="3271395"/>
                </a:lnTo>
                <a:lnTo>
                  <a:pt x="0" y="3153002"/>
                </a:lnTo>
                <a:lnTo>
                  <a:pt x="2386" y="3149203"/>
                </a:lnTo>
                <a:cubicBezTo>
                  <a:pt x="33821" y="3095439"/>
                  <a:pt x="63030" y="3041490"/>
                  <a:pt x="89753" y="2987702"/>
                </a:cubicBezTo>
                <a:cubicBezTo>
                  <a:pt x="85546" y="2993322"/>
                  <a:pt x="81066" y="2999788"/>
                  <a:pt x="76869" y="3005404"/>
                </a:cubicBezTo>
                <a:cubicBezTo>
                  <a:pt x="63139" y="3024231"/>
                  <a:pt x="48575" y="3042776"/>
                  <a:pt x="32049" y="3065814"/>
                </a:cubicBezTo>
                <a:lnTo>
                  <a:pt x="0" y="3108744"/>
                </a:lnTo>
                <a:lnTo>
                  <a:pt x="0" y="3058059"/>
                </a:lnTo>
                <a:lnTo>
                  <a:pt x="7610" y="3047889"/>
                </a:lnTo>
                <a:cubicBezTo>
                  <a:pt x="24410" y="3025415"/>
                  <a:pt x="38695" y="3006301"/>
                  <a:pt x="52419" y="2987479"/>
                </a:cubicBezTo>
                <a:cubicBezTo>
                  <a:pt x="54382" y="2984385"/>
                  <a:pt x="57184" y="2981579"/>
                  <a:pt x="59142" y="2978488"/>
                </a:cubicBezTo>
                <a:lnTo>
                  <a:pt x="0" y="3015334"/>
                </a:lnTo>
                <a:lnTo>
                  <a:pt x="0" y="2914286"/>
                </a:lnTo>
                <a:lnTo>
                  <a:pt x="36383" y="2901128"/>
                </a:lnTo>
                <a:cubicBezTo>
                  <a:pt x="76283" y="2885228"/>
                  <a:pt x="116303" y="2866415"/>
                  <a:pt x="156329" y="2840533"/>
                </a:cubicBezTo>
                <a:cubicBezTo>
                  <a:pt x="229785" y="2792431"/>
                  <a:pt x="289125" y="2682604"/>
                  <a:pt x="358355" y="2620471"/>
                </a:cubicBezTo>
                <a:cubicBezTo>
                  <a:pt x="406846" y="2577174"/>
                  <a:pt x="457591" y="2538372"/>
                  <a:pt x="510577" y="2501244"/>
                </a:cubicBezTo>
                <a:cubicBezTo>
                  <a:pt x="411488" y="2490937"/>
                  <a:pt x="311929" y="2483543"/>
                  <a:pt x="211967" y="2479171"/>
                </a:cubicBezTo>
                <a:lnTo>
                  <a:pt x="0" y="2476398"/>
                </a:lnTo>
                <a:lnTo>
                  <a:pt x="0" y="2389189"/>
                </a:lnTo>
                <a:lnTo>
                  <a:pt x="103062" y="2389518"/>
                </a:lnTo>
                <a:cubicBezTo>
                  <a:pt x="239716" y="2392822"/>
                  <a:pt x="375712" y="2401808"/>
                  <a:pt x="510734" y="2416201"/>
                </a:cubicBezTo>
                <a:cubicBezTo>
                  <a:pt x="453295" y="2294758"/>
                  <a:pt x="388809" y="2156489"/>
                  <a:pt x="279257" y="2092102"/>
                </a:cubicBezTo>
                <a:cubicBezTo>
                  <a:pt x="214509" y="2054029"/>
                  <a:pt x="140169" y="2030776"/>
                  <a:pt x="65265" y="2006049"/>
                </a:cubicBezTo>
                <a:lnTo>
                  <a:pt x="0" y="1982532"/>
                </a:lnTo>
                <a:lnTo>
                  <a:pt x="0" y="1912789"/>
                </a:lnTo>
                <a:lnTo>
                  <a:pt x="97460" y="1953725"/>
                </a:lnTo>
                <a:cubicBezTo>
                  <a:pt x="140146" y="1968817"/>
                  <a:pt x="181972" y="1973804"/>
                  <a:pt x="221272" y="1980766"/>
                </a:cubicBezTo>
                <a:cubicBezTo>
                  <a:pt x="184478" y="1960612"/>
                  <a:pt x="148800" y="1938494"/>
                  <a:pt x="116765" y="1911033"/>
                </a:cubicBezTo>
                <a:cubicBezTo>
                  <a:pt x="78825" y="1878815"/>
                  <a:pt x="47051" y="1840696"/>
                  <a:pt x="16405" y="1803412"/>
                </a:cubicBezTo>
                <a:lnTo>
                  <a:pt x="0" y="1784777"/>
                </a:lnTo>
                <a:lnTo>
                  <a:pt x="0" y="1740082"/>
                </a:lnTo>
                <a:lnTo>
                  <a:pt x="39394" y="1784856"/>
                </a:lnTo>
                <a:cubicBezTo>
                  <a:pt x="69479" y="1821014"/>
                  <a:pt x="100126" y="1858299"/>
                  <a:pt x="135813" y="1888838"/>
                </a:cubicBezTo>
                <a:cubicBezTo>
                  <a:pt x="168411" y="1916009"/>
                  <a:pt x="204933" y="1938411"/>
                  <a:pt x="242575" y="1958841"/>
                </a:cubicBezTo>
                <a:cubicBezTo>
                  <a:pt x="195379" y="1882642"/>
                  <a:pt x="141547" y="1815083"/>
                  <a:pt x="82197" y="1754826"/>
                </a:cubicBezTo>
                <a:lnTo>
                  <a:pt x="0" y="1679650"/>
                </a:lnTo>
                <a:lnTo>
                  <a:pt x="0" y="1602463"/>
                </a:lnTo>
                <a:lnTo>
                  <a:pt x="84689" y="1677442"/>
                </a:lnTo>
                <a:cubicBezTo>
                  <a:pt x="165950" y="1759826"/>
                  <a:pt x="237786" y="1855565"/>
                  <a:pt x="298437" y="1968019"/>
                </a:cubicBezTo>
                <a:lnTo>
                  <a:pt x="227269" y="1114064"/>
                </a:lnTo>
                <a:cubicBezTo>
                  <a:pt x="226129" y="1099191"/>
                  <a:pt x="230003" y="1062136"/>
                  <a:pt x="248003" y="1089613"/>
                </a:cubicBezTo>
                <a:cubicBezTo>
                  <a:pt x="349844" y="1249160"/>
                  <a:pt x="397556" y="1433768"/>
                  <a:pt x="427020" y="1619803"/>
                </a:cubicBezTo>
                <a:cubicBezTo>
                  <a:pt x="453086" y="1782272"/>
                  <a:pt x="422387" y="1897385"/>
                  <a:pt x="340345" y="2027739"/>
                </a:cubicBezTo>
                <a:cubicBezTo>
                  <a:pt x="347373" y="2033339"/>
                  <a:pt x="354114" y="2038383"/>
                  <a:pt x="360865" y="2044827"/>
                </a:cubicBezTo>
                <a:cubicBezTo>
                  <a:pt x="443500" y="2128340"/>
                  <a:pt x="506078" y="2306190"/>
                  <a:pt x="560414" y="2421457"/>
                </a:cubicBezTo>
                <a:cubicBezTo>
                  <a:pt x="831022" y="2452769"/>
                  <a:pt x="1098019" y="2506255"/>
                  <a:pt x="1359703" y="2578554"/>
                </a:cubicBezTo>
                <a:lnTo>
                  <a:pt x="1359422" y="2577994"/>
                </a:lnTo>
                <a:cubicBezTo>
                  <a:pt x="1370467" y="2269807"/>
                  <a:pt x="976420" y="2084880"/>
                  <a:pt x="828701" y="1839520"/>
                </a:cubicBezTo>
                <a:cubicBezTo>
                  <a:pt x="687172" y="1605098"/>
                  <a:pt x="631475" y="1330413"/>
                  <a:pt x="494427" y="1092333"/>
                </a:cubicBezTo>
                <a:cubicBezTo>
                  <a:pt x="481980" y="1070671"/>
                  <a:pt x="485440" y="1027197"/>
                  <a:pt x="506322" y="1020997"/>
                </a:cubicBezTo>
                <a:close/>
                <a:moveTo>
                  <a:pt x="4570198" y="978081"/>
                </a:moveTo>
                <a:cubicBezTo>
                  <a:pt x="4555714" y="1028259"/>
                  <a:pt x="4540870" y="1077934"/>
                  <a:pt x="4523691" y="1127776"/>
                </a:cubicBezTo>
                <a:lnTo>
                  <a:pt x="4509875" y="1167552"/>
                </a:lnTo>
                <a:cubicBezTo>
                  <a:pt x="4498703" y="1198545"/>
                  <a:pt x="4488074" y="1229138"/>
                  <a:pt x="4478168" y="1260735"/>
                </a:cubicBezTo>
                <a:cubicBezTo>
                  <a:pt x="4437866" y="1392962"/>
                  <a:pt x="4423333" y="1532451"/>
                  <a:pt x="4409309" y="1666996"/>
                </a:cubicBezTo>
                <a:cubicBezTo>
                  <a:pt x="4399387" y="1761934"/>
                  <a:pt x="4389478" y="1859162"/>
                  <a:pt x="4370031" y="1955666"/>
                </a:cubicBezTo>
                <a:cubicBezTo>
                  <a:pt x="4495511" y="1636562"/>
                  <a:pt x="4590903" y="1311031"/>
                  <a:pt x="4570198" y="978081"/>
                </a:cubicBezTo>
                <a:close/>
                <a:moveTo>
                  <a:pt x="4557898" y="900011"/>
                </a:moveTo>
                <a:cubicBezTo>
                  <a:pt x="4330292" y="1199280"/>
                  <a:pt x="4335713" y="1567725"/>
                  <a:pt x="4344840" y="1922038"/>
                </a:cubicBezTo>
                <a:cubicBezTo>
                  <a:pt x="4360210" y="1836882"/>
                  <a:pt x="4369815" y="1750562"/>
                  <a:pt x="4378710" y="1665516"/>
                </a:cubicBezTo>
                <a:cubicBezTo>
                  <a:pt x="4393083" y="1529197"/>
                  <a:pt x="4407432" y="1388309"/>
                  <a:pt x="4448798" y="1253024"/>
                </a:cubicBezTo>
                <a:cubicBezTo>
                  <a:pt x="4458700" y="1221425"/>
                  <a:pt x="4469507" y="1189944"/>
                  <a:pt x="4480315" y="1158454"/>
                </a:cubicBezTo>
                <a:lnTo>
                  <a:pt x="4494133" y="1118676"/>
                </a:lnTo>
                <a:cubicBezTo>
                  <a:pt x="4518925" y="1046526"/>
                  <a:pt x="4539765" y="973431"/>
                  <a:pt x="4557898" y="900011"/>
                </a:cubicBezTo>
                <a:close/>
                <a:moveTo>
                  <a:pt x="5870151" y="898890"/>
                </a:moveTo>
                <a:cubicBezTo>
                  <a:pt x="5866911" y="898948"/>
                  <a:pt x="5864574" y="899121"/>
                  <a:pt x="5861335" y="899177"/>
                </a:cubicBezTo>
                <a:lnTo>
                  <a:pt x="5843702" y="899748"/>
                </a:lnTo>
                <a:cubicBezTo>
                  <a:pt x="5780018" y="902412"/>
                  <a:pt x="5714210" y="911192"/>
                  <a:pt x="5651107" y="920306"/>
                </a:cubicBezTo>
                <a:cubicBezTo>
                  <a:pt x="5588537" y="929031"/>
                  <a:pt x="5523624" y="937920"/>
                  <a:pt x="5459407" y="940975"/>
                </a:cubicBezTo>
                <a:cubicBezTo>
                  <a:pt x="5431523" y="942110"/>
                  <a:pt x="5402918" y="942237"/>
                  <a:pt x="5374846" y="941988"/>
                </a:cubicBezTo>
                <a:cubicBezTo>
                  <a:pt x="5336157" y="941792"/>
                  <a:pt x="5295497" y="942268"/>
                  <a:pt x="5256105" y="945632"/>
                </a:cubicBezTo>
                <a:cubicBezTo>
                  <a:pt x="5206829" y="950064"/>
                  <a:pt x="5155964" y="960232"/>
                  <a:pt x="5107071" y="969720"/>
                </a:cubicBezTo>
                <a:cubicBezTo>
                  <a:pt x="5071129" y="976700"/>
                  <a:pt x="5035177" y="983681"/>
                  <a:pt x="4998681" y="988771"/>
                </a:cubicBezTo>
                <a:cubicBezTo>
                  <a:pt x="5256175" y="1057755"/>
                  <a:pt x="5597864" y="989418"/>
                  <a:pt x="5870151" y="898890"/>
                </a:cubicBezTo>
                <a:close/>
                <a:moveTo>
                  <a:pt x="5504425" y="848067"/>
                </a:moveTo>
                <a:cubicBezTo>
                  <a:pt x="5313518" y="848319"/>
                  <a:pt x="5144450" y="894555"/>
                  <a:pt x="4968849" y="962318"/>
                </a:cubicBezTo>
                <a:cubicBezTo>
                  <a:pt x="5013986" y="957830"/>
                  <a:pt x="5059460" y="949291"/>
                  <a:pt x="5104039" y="940634"/>
                </a:cubicBezTo>
                <a:cubicBezTo>
                  <a:pt x="5153465" y="930752"/>
                  <a:pt x="5205230" y="920703"/>
                  <a:pt x="5256311" y="916490"/>
                </a:cubicBezTo>
                <a:cubicBezTo>
                  <a:pt x="5297138" y="912849"/>
                  <a:pt x="5338158" y="912871"/>
                  <a:pt x="5377381" y="912671"/>
                </a:cubicBezTo>
                <a:lnTo>
                  <a:pt x="5460148" y="911442"/>
                </a:lnTo>
                <a:cubicBezTo>
                  <a:pt x="5522934" y="908669"/>
                  <a:pt x="5586937" y="899666"/>
                  <a:pt x="5648971" y="891331"/>
                </a:cubicBezTo>
                <a:cubicBezTo>
                  <a:pt x="5712974" y="882328"/>
                  <a:pt x="5779324" y="873155"/>
                  <a:pt x="5844807" y="870718"/>
                </a:cubicBezTo>
                <a:lnTo>
                  <a:pt x="5862975" y="869756"/>
                </a:lnTo>
                <a:cubicBezTo>
                  <a:pt x="5882405" y="869405"/>
                  <a:pt x="5902011" y="868171"/>
                  <a:pt x="5920887" y="865929"/>
                </a:cubicBezTo>
                <a:cubicBezTo>
                  <a:pt x="5782825" y="855356"/>
                  <a:pt x="5643867" y="846954"/>
                  <a:pt x="5504425" y="848067"/>
                </a:cubicBezTo>
                <a:close/>
                <a:moveTo>
                  <a:pt x="3607114" y="467441"/>
                </a:moveTo>
                <a:cubicBezTo>
                  <a:pt x="3528124" y="599478"/>
                  <a:pt x="3410482" y="705343"/>
                  <a:pt x="3296242" y="807991"/>
                </a:cubicBezTo>
                <a:cubicBezTo>
                  <a:pt x="3255418" y="844446"/>
                  <a:pt x="3213877" y="882186"/>
                  <a:pt x="3174674" y="919759"/>
                </a:cubicBezTo>
                <a:cubicBezTo>
                  <a:pt x="3129209" y="963390"/>
                  <a:pt x="3085915" y="1010032"/>
                  <a:pt x="3042978" y="1054894"/>
                </a:cubicBezTo>
                <a:lnTo>
                  <a:pt x="2968914" y="1133756"/>
                </a:lnTo>
                <a:cubicBezTo>
                  <a:pt x="3001355" y="1109480"/>
                  <a:pt x="3045966" y="1074853"/>
                  <a:pt x="3103823" y="1026814"/>
                </a:cubicBezTo>
                <a:cubicBezTo>
                  <a:pt x="3260201" y="897449"/>
                  <a:pt x="3521192" y="681569"/>
                  <a:pt x="3607114" y="467441"/>
                </a:cubicBezTo>
                <a:close/>
                <a:moveTo>
                  <a:pt x="3744487" y="383136"/>
                </a:moveTo>
                <a:cubicBezTo>
                  <a:pt x="3789590" y="603780"/>
                  <a:pt x="3850997" y="811848"/>
                  <a:pt x="3970213" y="995559"/>
                </a:cubicBezTo>
                <a:cubicBezTo>
                  <a:pt x="3927384" y="796159"/>
                  <a:pt x="3865366" y="574806"/>
                  <a:pt x="3744487" y="383136"/>
                </a:cubicBezTo>
                <a:close/>
                <a:moveTo>
                  <a:pt x="3624562" y="367041"/>
                </a:moveTo>
                <a:cubicBezTo>
                  <a:pt x="3578160" y="403736"/>
                  <a:pt x="3532667" y="442805"/>
                  <a:pt x="3489712" y="485386"/>
                </a:cubicBezTo>
                <a:cubicBezTo>
                  <a:pt x="3380716" y="591858"/>
                  <a:pt x="3284219" y="714458"/>
                  <a:pt x="3182994" y="828265"/>
                </a:cubicBezTo>
                <a:cubicBezTo>
                  <a:pt x="3100902" y="919812"/>
                  <a:pt x="2899469" y="1135252"/>
                  <a:pt x="2892114" y="1172635"/>
                </a:cubicBezTo>
                <a:lnTo>
                  <a:pt x="3021459" y="1035385"/>
                </a:lnTo>
                <a:cubicBezTo>
                  <a:pt x="3064036" y="990026"/>
                  <a:pt x="3108229" y="943501"/>
                  <a:pt x="3153873" y="898971"/>
                </a:cubicBezTo>
                <a:cubicBezTo>
                  <a:pt x="3193783" y="860125"/>
                  <a:pt x="3235680" y="822883"/>
                  <a:pt x="3276511" y="786423"/>
                </a:cubicBezTo>
                <a:cubicBezTo>
                  <a:pt x="3390214" y="684175"/>
                  <a:pt x="3507852" y="578306"/>
                  <a:pt x="3584154" y="448218"/>
                </a:cubicBezTo>
                <a:cubicBezTo>
                  <a:pt x="3599491" y="421848"/>
                  <a:pt x="3612660" y="394752"/>
                  <a:pt x="3624562" y="367041"/>
                </a:cubicBezTo>
                <a:close/>
                <a:moveTo>
                  <a:pt x="3766672" y="359429"/>
                </a:moveTo>
                <a:cubicBezTo>
                  <a:pt x="3888797" y="549425"/>
                  <a:pt x="3952247" y="768223"/>
                  <a:pt x="3996338" y="968237"/>
                </a:cubicBezTo>
                <a:cubicBezTo>
                  <a:pt x="3973140" y="739339"/>
                  <a:pt x="3922473" y="455576"/>
                  <a:pt x="3766672" y="359429"/>
                </a:cubicBezTo>
                <a:close/>
                <a:moveTo>
                  <a:pt x="5805386" y="239240"/>
                </a:moveTo>
                <a:cubicBezTo>
                  <a:pt x="5783116" y="246988"/>
                  <a:pt x="5760847" y="254734"/>
                  <a:pt x="5736947" y="261367"/>
                </a:cubicBezTo>
                <a:cubicBezTo>
                  <a:pt x="5638133" y="287976"/>
                  <a:pt x="5538513" y="299897"/>
                  <a:pt x="5427012" y="311272"/>
                </a:cubicBezTo>
                <a:cubicBezTo>
                  <a:pt x="5345554" y="319953"/>
                  <a:pt x="5243942" y="330268"/>
                  <a:pt x="5147818" y="322112"/>
                </a:cubicBezTo>
                <a:cubicBezTo>
                  <a:pt x="5118835" y="319462"/>
                  <a:pt x="5090027" y="315925"/>
                  <a:pt x="5060854" y="311882"/>
                </a:cubicBezTo>
                <a:cubicBezTo>
                  <a:pt x="5021780" y="306636"/>
                  <a:pt x="4983964" y="301993"/>
                  <a:pt x="4945989" y="300516"/>
                </a:cubicBezTo>
                <a:cubicBezTo>
                  <a:pt x="5093776" y="343728"/>
                  <a:pt x="5255799" y="359063"/>
                  <a:pt x="5410479" y="348434"/>
                </a:cubicBezTo>
                <a:cubicBezTo>
                  <a:pt x="5535307" y="339607"/>
                  <a:pt x="5683741" y="304513"/>
                  <a:pt x="5805386" y="239240"/>
                </a:cubicBezTo>
                <a:close/>
                <a:moveTo>
                  <a:pt x="5905192" y="163079"/>
                </a:moveTo>
                <a:cubicBezTo>
                  <a:pt x="5892074" y="166484"/>
                  <a:pt x="5879136" y="168997"/>
                  <a:pt x="5865655" y="171901"/>
                </a:cubicBezTo>
                <a:cubicBezTo>
                  <a:pt x="5671371" y="212758"/>
                  <a:pt x="5464843" y="252569"/>
                  <a:pt x="5259740" y="257013"/>
                </a:cubicBezTo>
                <a:lnTo>
                  <a:pt x="5208466" y="257550"/>
                </a:lnTo>
                <a:cubicBezTo>
                  <a:pt x="5132177" y="258666"/>
                  <a:pt x="5054091" y="259560"/>
                  <a:pt x="4980204" y="271903"/>
                </a:cubicBezTo>
                <a:cubicBezTo>
                  <a:pt x="5009725" y="274165"/>
                  <a:pt x="5038894" y="278201"/>
                  <a:pt x="5068068" y="282244"/>
                </a:cubicBezTo>
                <a:cubicBezTo>
                  <a:pt x="5096338" y="286164"/>
                  <a:pt x="5124608" y="290090"/>
                  <a:pt x="5153231" y="292240"/>
                </a:cubicBezTo>
                <a:cubicBezTo>
                  <a:pt x="5246661" y="300067"/>
                  <a:pt x="5346469" y="289533"/>
                  <a:pt x="5426491" y="281128"/>
                </a:cubicBezTo>
                <a:cubicBezTo>
                  <a:pt x="5536189" y="269536"/>
                  <a:pt x="5634727" y="258390"/>
                  <a:pt x="5731212" y="231951"/>
                </a:cubicBezTo>
                <a:cubicBezTo>
                  <a:pt x="5794995" y="214721"/>
                  <a:pt x="5853525" y="191373"/>
                  <a:pt x="5905192" y="163079"/>
                </a:cubicBezTo>
                <a:close/>
                <a:moveTo>
                  <a:pt x="5944437" y="113829"/>
                </a:moveTo>
                <a:cubicBezTo>
                  <a:pt x="5917256" y="119186"/>
                  <a:pt x="5863594" y="140199"/>
                  <a:pt x="5825032" y="146405"/>
                </a:cubicBezTo>
                <a:cubicBezTo>
                  <a:pt x="5539893" y="189777"/>
                  <a:pt x="5237140" y="170377"/>
                  <a:pt x="4955599" y="247008"/>
                </a:cubicBezTo>
                <a:cubicBezTo>
                  <a:pt x="5038637" y="230314"/>
                  <a:pt x="5125543" y="229138"/>
                  <a:pt x="5210104" y="228123"/>
                </a:cubicBezTo>
                <a:lnTo>
                  <a:pt x="5261015" y="227087"/>
                </a:lnTo>
                <a:cubicBezTo>
                  <a:pt x="5463242" y="223204"/>
                  <a:pt x="5667966" y="183171"/>
                  <a:pt x="5861181" y="143093"/>
                </a:cubicBezTo>
                <a:cubicBezTo>
                  <a:pt x="5895331" y="135893"/>
                  <a:pt x="5928215" y="128080"/>
                  <a:pt x="5961252" y="114820"/>
                </a:cubicBezTo>
                <a:cubicBezTo>
                  <a:pt x="5959615" y="111998"/>
                  <a:pt x="5953497" y="112044"/>
                  <a:pt x="5944437" y="113829"/>
                </a:cubicBezTo>
                <a:close/>
                <a:moveTo>
                  <a:pt x="3882765" y="0"/>
                </a:moveTo>
                <a:lnTo>
                  <a:pt x="3995099" y="0"/>
                </a:lnTo>
                <a:lnTo>
                  <a:pt x="4163818" y="234104"/>
                </a:lnTo>
                <a:cubicBezTo>
                  <a:pt x="4167056" y="234046"/>
                  <a:pt x="4169933" y="233486"/>
                  <a:pt x="4172099" y="234207"/>
                </a:cubicBezTo>
                <a:cubicBezTo>
                  <a:pt x="4370329" y="290447"/>
                  <a:pt x="4575890" y="304753"/>
                  <a:pt x="4784282" y="276561"/>
                </a:cubicBezTo>
                <a:cubicBezTo>
                  <a:pt x="4788943" y="273941"/>
                  <a:pt x="4794689" y="270546"/>
                  <a:pt x="4801687" y="267764"/>
                </a:cubicBezTo>
                <a:cubicBezTo>
                  <a:pt x="5207052" y="98325"/>
                  <a:pt x="5661672" y="149587"/>
                  <a:pt x="6082788" y="64119"/>
                </a:cubicBezTo>
                <a:cubicBezTo>
                  <a:pt x="6097705" y="60940"/>
                  <a:pt x="6122565" y="65809"/>
                  <a:pt x="6099442" y="82568"/>
                </a:cubicBezTo>
                <a:cubicBezTo>
                  <a:pt x="5702970" y="366122"/>
                  <a:pt x="5250177" y="483706"/>
                  <a:pt x="4804137" y="320931"/>
                </a:cubicBezTo>
                <a:cubicBezTo>
                  <a:pt x="4608728" y="353445"/>
                  <a:pt x="4415104" y="351091"/>
                  <a:pt x="4227047" y="313415"/>
                </a:cubicBezTo>
                <a:cubicBezTo>
                  <a:pt x="4265992" y="361495"/>
                  <a:pt x="4305481" y="409180"/>
                  <a:pt x="4346041" y="456086"/>
                </a:cubicBezTo>
                <a:cubicBezTo>
                  <a:pt x="4508645" y="644218"/>
                  <a:pt x="4684629" y="811207"/>
                  <a:pt x="4870967" y="963061"/>
                </a:cubicBezTo>
                <a:cubicBezTo>
                  <a:pt x="4877428" y="960662"/>
                  <a:pt x="4883360" y="958653"/>
                  <a:pt x="4889647" y="957147"/>
                </a:cubicBezTo>
                <a:cubicBezTo>
                  <a:pt x="5063790" y="885104"/>
                  <a:pt x="5235998" y="820573"/>
                  <a:pt x="5422504" y="805191"/>
                </a:cubicBezTo>
                <a:cubicBezTo>
                  <a:pt x="5643719" y="786779"/>
                  <a:pt x="5869113" y="808075"/>
                  <a:pt x="6087656" y="826703"/>
                </a:cubicBezTo>
                <a:cubicBezTo>
                  <a:pt x="6118977" y="829180"/>
                  <a:pt x="6064821" y="863092"/>
                  <a:pt x="6058717" y="865992"/>
                </a:cubicBezTo>
                <a:cubicBezTo>
                  <a:pt x="5757093" y="988464"/>
                  <a:pt x="5312094" y="1115658"/>
                  <a:pt x="4974153" y="1045456"/>
                </a:cubicBezTo>
                <a:cubicBezTo>
                  <a:pt x="5180499" y="1203411"/>
                  <a:pt x="5398986" y="1344171"/>
                  <a:pt x="5627835" y="1472077"/>
                </a:cubicBezTo>
                <a:cubicBezTo>
                  <a:pt x="5628372" y="1471688"/>
                  <a:pt x="5629279" y="1471800"/>
                  <a:pt x="5629817" y="1471412"/>
                </a:cubicBezTo>
                <a:cubicBezTo>
                  <a:pt x="5631249" y="1471132"/>
                  <a:pt x="5633225" y="1470462"/>
                  <a:pt x="5634124" y="1470572"/>
                </a:cubicBezTo>
                <a:cubicBezTo>
                  <a:pt x="5647257" y="1469448"/>
                  <a:pt x="5751167" y="1386498"/>
                  <a:pt x="5755832" y="1383886"/>
                </a:cubicBezTo>
                <a:cubicBezTo>
                  <a:pt x="5837996" y="1338827"/>
                  <a:pt x="5925989" y="1306339"/>
                  <a:pt x="6014186" y="1279799"/>
                </a:cubicBezTo>
                <a:cubicBezTo>
                  <a:pt x="6310230" y="1190367"/>
                  <a:pt x="6608567" y="1157268"/>
                  <a:pt x="6901619" y="1047874"/>
                </a:cubicBezTo>
                <a:cubicBezTo>
                  <a:pt x="6921553" y="1040293"/>
                  <a:pt x="6976591" y="1037028"/>
                  <a:pt x="6931566" y="1062034"/>
                </a:cubicBezTo>
                <a:cubicBezTo>
                  <a:pt x="6610108" y="1243134"/>
                  <a:pt x="6183662" y="1573592"/>
                  <a:pt x="5790982" y="1561380"/>
                </a:cubicBezTo>
                <a:cubicBezTo>
                  <a:pt x="5920545" y="1629240"/>
                  <a:pt x="6053507" y="1693876"/>
                  <a:pt x="6188971" y="1755168"/>
                </a:cubicBezTo>
                <a:cubicBezTo>
                  <a:pt x="6193458" y="1753446"/>
                  <a:pt x="6198307" y="1752214"/>
                  <a:pt x="6202446" y="1752268"/>
                </a:cubicBezTo>
                <a:cubicBezTo>
                  <a:pt x="6504288" y="1570118"/>
                  <a:pt x="6833930" y="1471594"/>
                  <a:pt x="7179560" y="1467551"/>
                </a:cubicBezTo>
                <a:cubicBezTo>
                  <a:pt x="7221126" y="1467186"/>
                  <a:pt x="7172003" y="1501258"/>
                  <a:pt x="7158730" y="1507835"/>
                </a:cubicBezTo>
                <a:cubicBezTo>
                  <a:pt x="6888412" y="1630502"/>
                  <a:pt x="6618589" y="1809287"/>
                  <a:pt x="6326959" y="1817686"/>
                </a:cubicBezTo>
                <a:lnTo>
                  <a:pt x="6537433" y="1907790"/>
                </a:lnTo>
                <a:cubicBezTo>
                  <a:pt x="6542473" y="1907949"/>
                  <a:pt x="6546435" y="1908891"/>
                  <a:pt x="6550221" y="1910729"/>
                </a:cubicBezTo>
                <a:cubicBezTo>
                  <a:pt x="6742694" y="1932993"/>
                  <a:pt x="6849771" y="2068278"/>
                  <a:pt x="6964438" y="2209505"/>
                </a:cubicBezTo>
                <a:cubicBezTo>
                  <a:pt x="7113162" y="2393201"/>
                  <a:pt x="7266286" y="2592015"/>
                  <a:pt x="7367862" y="2806833"/>
                </a:cubicBezTo>
                <a:cubicBezTo>
                  <a:pt x="7371456" y="2814338"/>
                  <a:pt x="7369522" y="2821080"/>
                  <a:pt x="7364329" y="2826907"/>
                </a:cubicBezTo>
                <a:cubicBezTo>
                  <a:pt x="7348741" y="2844389"/>
                  <a:pt x="7303788" y="2853651"/>
                  <a:pt x="7290545" y="2850663"/>
                </a:cubicBezTo>
                <a:cubicBezTo>
                  <a:pt x="6859896" y="2738539"/>
                  <a:pt x="6609607" y="2342306"/>
                  <a:pt x="6472036" y="1959003"/>
                </a:cubicBezTo>
                <a:cubicBezTo>
                  <a:pt x="6239391" y="1862081"/>
                  <a:pt x="6011946" y="1759868"/>
                  <a:pt x="5792897" y="1647747"/>
                </a:cubicBezTo>
                <a:cubicBezTo>
                  <a:pt x="5817125" y="1702679"/>
                  <a:pt x="5838127" y="1759942"/>
                  <a:pt x="5842751" y="1816112"/>
                </a:cubicBezTo>
                <a:cubicBezTo>
                  <a:pt x="5844184" y="1815832"/>
                  <a:pt x="5846161" y="1815162"/>
                  <a:pt x="5847424" y="1815776"/>
                </a:cubicBezTo>
                <a:cubicBezTo>
                  <a:pt x="6140442" y="1830791"/>
                  <a:pt x="6291873" y="2115536"/>
                  <a:pt x="6399821" y="2344799"/>
                </a:cubicBezTo>
                <a:cubicBezTo>
                  <a:pt x="6413837" y="2374329"/>
                  <a:pt x="6342916" y="2402075"/>
                  <a:pt x="6323232" y="2389634"/>
                </a:cubicBezTo>
                <a:cubicBezTo>
                  <a:pt x="6177906" y="2301146"/>
                  <a:pt x="6052833" y="2198747"/>
                  <a:pt x="5942958" y="2077708"/>
                </a:cubicBezTo>
                <a:cubicBezTo>
                  <a:pt x="5949243" y="2174636"/>
                  <a:pt x="5937179" y="2273417"/>
                  <a:pt x="5921559" y="2378596"/>
                </a:cubicBezTo>
                <a:cubicBezTo>
                  <a:pt x="5888539" y="2593290"/>
                  <a:pt x="5878937" y="2813146"/>
                  <a:pt x="5817651" y="3023919"/>
                </a:cubicBezTo>
                <a:cubicBezTo>
                  <a:pt x="5810408" y="3049005"/>
                  <a:pt x="5741174" y="3089270"/>
                  <a:pt x="5729634" y="3051849"/>
                </a:cubicBezTo>
                <a:cubicBezTo>
                  <a:pt x="5657096" y="2815984"/>
                  <a:pt x="5581632" y="2571559"/>
                  <a:pt x="5611018" y="2316769"/>
                </a:cubicBezTo>
                <a:cubicBezTo>
                  <a:pt x="5622715" y="2217484"/>
                  <a:pt x="5656813" y="2135538"/>
                  <a:pt x="5687608" y="2039972"/>
                </a:cubicBezTo>
                <a:cubicBezTo>
                  <a:pt x="5744741" y="1859679"/>
                  <a:pt x="5733310" y="1742061"/>
                  <a:pt x="5657554" y="1576445"/>
                </a:cubicBezTo>
                <a:cubicBezTo>
                  <a:pt x="5483232" y="1483028"/>
                  <a:pt x="5313009" y="1382833"/>
                  <a:pt x="5150475" y="1274012"/>
                </a:cubicBezTo>
                <a:cubicBezTo>
                  <a:pt x="5326569" y="1559959"/>
                  <a:pt x="5457991" y="1838600"/>
                  <a:pt x="5349142" y="2204405"/>
                </a:cubicBezTo>
                <a:cubicBezTo>
                  <a:pt x="5342604" y="2225928"/>
                  <a:pt x="5273881" y="2261245"/>
                  <a:pt x="5262214" y="2233836"/>
                </a:cubicBezTo>
                <a:cubicBezTo>
                  <a:pt x="5160759" y="2006724"/>
                  <a:pt x="5064863" y="1777114"/>
                  <a:pt x="4981539" y="1542201"/>
                </a:cubicBezTo>
                <a:cubicBezTo>
                  <a:pt x="4932755" y="1405876"/>
                  <a:pt x="4893729" y="1278486"/>
                  <a:pt x="4958461" y="1136957"/>
                </a:cubicBezTo>
                <a:cubicBezTo>
                  <a:pt x="4854219" y="1059900"/>
                  <a:pt x="4753195" y="978221"/>
                  <a:pt x="4655015" y="891426"/>
                </a:cubicBezTo>
                <a:cubicBezTo>
                  <a:pt x="4700834" y="1342763"/>
                  <a:pt x="4530476" y="1779853"/>
                  <a:pt x="4348002" y="2205895"/>
                </a:cubicBezTo>
                <a:cubicBezTo>
                  <a:pt x="4337873" y="2229260"/>
                  <a:pt x="4261560" y="2258626"/>
                  <a:pt x="4262250" y="2219972"/>
                </a:cubicBezTo>
                <a:cubicBezTo>
                  <a:pt x="4268663" y="1744520"/>
                  <a:pt x="4175629" y="1214471"/>
                  <a:pt x="4550611" y="817540"/>
                </a:cubicBezTo>
                <a:cubicBezTo>
                  <a:pt x="4554014" y="814312"/>
                  <a:pt x="4558850" y="810804"/>
                  <a:pt x="4564418" y="808293"/>
                </a:cubicBezTo>
                <a:cubicBezTo>
                  <a:pt x="4461330" y="711325"/>
                  <a:pt x="4361455" y="609738"/>
                  <a:pt x="4266388" y="500083"/>
                </a:cubicBezTo>
                <a:cubicBezTo>
                  <a:pt x="4185451" y="406519"/>
                  <a:pt x="4107556" y="310364"/>
                  <a:pt x="4032842" y="211809"/>
                </a:cubicBezTo>
                <a:lnTo>
                  <a:pt x="3882765" y="0"/>
                </a:lnTo>
                <a:close/>
                <a:moveTo>
                  <a:pt x="3721337" y="0"/>
                </a:moveTo>
                <a:lnTo>
                  <a:pt x="3797544" y="0"/>
                </a:lnTo>
                <a:lnTo>
                  <a:pt x="3775734" y="95131"/>
                </a:lnTo>
                <a:cubicBezTo>
                  <a:pt x="3762598" y="156923"/>
                  <a:pt x="3748081" y="217234"/>
                  <a:pt x="3724807" y="272257"/>
                </a:cubicBezTo>
                <a:cubicBezTo>
                  <a:pt x="3725550" y="275539"/>
                  <a:pt x="3726109" y="279707"/>
                  <a:pt x="3726844" y="282988"/>
                </a:cubicBezTo>
                <a:cubicBezTo>
                  <a:pt x="3732776" y="280979"/>
                  <a:pt x="3739065" y="279475"/>
                  <a:pt x="3742664" y="279918"/>
                </a:cubicBezTo>
                <a:cubicBezTo>
                  <a:pt x="4076263" y="313585"/>
                  <a:pt x="4081377" y="922622"/>
                  <a:pt x="4103910" y="1161917"/>
                </a:cubicBezTo>
                <a:cubicBezTo>
                  <a:pt x="4106010" y="1184045"/>
                  <a:pt x="4034389" y="1215360"/>
                  <a:pt x="4020269" y="1200406"/>
                </a:cubicBezTo>
                <a:cubicBezTo>
                  <a:pt x="3826459" y="997506"/>
                  <a:pt x="3735339" y="752983"/>
                  <a:pt x="3674882" y="488524"/>
                </a:cubicBezTo>
                <a:cubicBezTo>
                  <a:pt x="3559684" y="713184"/>
                  <a:pt x="3278706" y="925237"/>
                  <a:pt x="3132682" y="1072284"/>
                </a:cubicBezTo>
                <a:cubicBezTo>
                  <a:pt x="3002939" y="1202191"/>
                  <a:pt x="2899935" y="1287527"/>
                  <a:pt x="2716346" y="1276376"/>
                </a:cubicBezTo>
                <a:cubicBezTo>
                  <a:pt x="2700863" y="1275390"/>
                  <a:pt x="2710506" y="1261536"/>
                  <a:pt x="2716772" y="1255462"/>
                </a:cubicBezTo>
                <a:cubicBezTo>
                  <a:pt x="2980750" y="993927"/>
                  <a:pt x="3207119" y="698608"/>
                  <a:pt x="3471096" y="437072"/>
                </a:cubicBezTo>
                <a:cubicBezTo>
                  <a:pt x="3516376" y="392044"/>
                  <a:pt x="3602281" y="339698"/>
                  <a:pt x="3639057" y="286334"/>
                </a:cubicBezTo>
                <a:cubicBezTo>
                  <a:pt x="3639591" y="285947"/>
                  <a:pt x="3639767" y="285058"/>
                  <a:pt x="3640309" y="284664"/>
                </a:cubicBezTo>
                <a:cubicBezTo>
                  <a:pt x="3642272" y="281720"/>
                  <a:pt x="3644597" y="279273"/>
                  <a:pt x="3646022" y="276711"/>
                </a:cubicBezTo>
                <a:cubicBezTo>
                  <a:pt x="3677659" y="221350"/>
                  <a:pt x="3693078" y="144742"/>
                  <a:pt x="3707943" y="65958"/>
                </a:cubicBezTo>
                <a:lnTo>
                  <a:pt x="3721337" y="0"/>
                </a:lnTo>
                <a:close/>
                <a:moveTo>
                  <a:pt x="2867960" y="0"/>
                </a:moveTo>
                <a:lnTo>
                  <a:pt x="2926351" y="0"/>
                </a:lnTo>
                <a:lnTo>
                  <a:pt x="2902823" y="262929"/>
                </a:lnTo>
                <a:cubicBezTo>
                  <a:pt x="2913215" y="221824"/>
                  <a:pt x="2926844" y="180662"/>
                  <a:pt x="2940663" y="140884"/>
                </a:cubicBezTo>
                <a:lnTo>
                  <a:pt x="2947039" y="122524"/>
                </a:lnTo>
                <a:lnTo>
                  <a:pt x="2984316" y="0"/>
                </a:lnTo>
                <a:lnTo>
                  <a:pt x="3016114" y="0"/>
                </a:lnTo>
                <a:lnTo>
                  <a:pt x="2979949" y="119274"/>
                </a:lnTo>
                <a:lnTo>
                  <a:pt x="3023879" y="0"/>
                </a:lnTo>
                <a:lnTo>
                  <a:pt x="3105400" y="0"/>
                </a:lnTo>
                <a:lnTo>
                  <a:pt x="3094669" y="30308"/>
                </a:lnTo>
                <a:cubicBezTo>
                  <a:pt x="3037894" y="178003"/>
                  <a:pt x="2973232" y="323305"/>
                  <a:pt x="2901945" y="466538"/>
                </a:cubicBezTo>
                <a:cubicBezTo>
                  <a:pt x="2895180" y="479835"/>
                  <a:pt x="2815686" y="518381"/>
                  <a:pt x="2815209" y="497361"/>
                </a:cubicBezTo>
                <a:cubicBezTo>
                  <a:pt x="2812746" y="375148"/>
                  <a:pt x="2825702" y="251298"/>
                  <a:pt x="2844845" y="127638"/>
                </a:cubicBezTo>
                <a:lnTo>
                  <a:pt x="2867960" y="0"/>
                </a:lnTo>
                <a:close/>
                <a:moveTo>
                  <a:pt x="1057230" y="0"/>
                </a:moveTo>
                <a:lnTo>
                  <a:pt x="1111003" y="0"/>
                </a:lnTo>
                <a:lnTo>
                  <a:pt x="1125553" y="52588"/>
                </a:lnTo>
                <a:cubicBezTo>
                  <a:pt x="1174409" y="196547"/>
                  <a:pt x="1244674" y="336170"/>
                  <a:pt x="1304276" y="476275"/>
                </a:cubicBezTo>
                <a:cubicBezTo>
                  <a:pt x="1351896" y="589579"/>
                  <a:pt x="1459984" y="863646"/>
                  <a:pt x="1492066" y="886333"/>
                </a:cubicBezTo>
                <a:lnTo>
                  <a:pt x="1423698" y="710817"/>
                </a:lnTo>
                <a:cubicBezTo>
                  <a:pt x="1401022" y="652964"/>
                  <a:pt x="1378015" y="593152"/>
                  <a:pt x="1357609" y="532892"/>
                </a:cubicBezTo>
                <a:cubicBezTo>
                  <a:pt x="1339853" y="480241"/>
                  <a:pt x="1324587" y="426487"/>
                  <a:pt x="1309550" y="374031"/>
                </a:cubicBezTo>
                <a:cubicBezTo>
                  <a:pt x="1277632" y="264242"/>
                  <a:pt x="1244842" y="151584"/>
                  <a:pt x="1193673" y="49533"/>
                </a:cubicBezTo>
                <a:lnTo>
                  <a:pt x="1164391" y="0"/>
                </a:lnTo>
                <a:lnTo>
                  <a:pt x="1200666" y="0"/>
                </a:lnTo>
                <a:lnTo>
                  <a:pt x="1223408" y="38996"/>
                </a:lnTo>
                <a:cubicBezTo>
                  <a:pt x="1274817" y="142454"/>
                  <a:pt x="1307626" y="255236"/>
                  <a:pt x="1339635" y="365517"/>
                </a:cubicBezTo>
                <a:cubicBezTo>
                  <a:pt x="1354670" y="417965"/>
                  <a:pt x="1370587" y="471608"/>
                  <a:pt x="1387469" y="523079"/>
                </a:cubicBezTo>
                <a:cubicBezTo>
                  <a:pt x="1407105" y="582792"/>
                  <a:pt x="1430659" y="641842"/>
                  <a:pt x="1452685" y="699806"/>
                </a:cubicBezTo>
                <a:lnTo>
                  <a:pt x="1492092" y="800424"/>
                </a:lnTo>
                <a:cubicBezTo>
                  <a:pt x="1484618" y="760762"/>
                  <a:pt x="1473155" y="705686"/>
                  <a:pt x="1455302" y="632913"/>
                </a:cubicBezTo>
                <a:cubicBezTo>
                  <a:pt x="1413478" y="460985"/>
                  <a:pt x="1347194" y="188426"/>
                  <a:pt x="1222336" y="9480"/>
                </a:cubicBezTo>
                <a:lnTo>
                  <a:pt x="1214634" y="0"/>
                </a:lnTo>
                <a:lnTo>
                  <a:pt x="1289827" y="0"/>
                </a:lnTo>
                <a:lnTo>
                  <a:pt x="1321076" y="59722"/>
                </a:lnTo>
                <a:cubicBezTo>
                  <a:pt x="1409905" y="250193"/>
                  <a:pt x="1460341" y="480374"/>
                  <a:pt x="1512579" y="626441"/>
                </a:cubicBezTo>
                <a:cubicBezTo>
                  <a:pt x="1573756" y="799163"/>
                  <a:pt x="1605359" y="928641"/>
                  <a:pt x="1506076" y="1089289"/>
                </a:cubicBezTo>
                <a:cubicBezTo>
                  <a:pt x="1497659" y="1102817"/>
                  <a:pt x="1489109" y="1088176"/>
                  <a:pt x="1486346" y="1079919"/>
                </a:cubicBezTo>
                <a:cubicBezTo>
                  <a:pt x="1364522" y="729689"/>
                  <a:pt x="1192335" y="398839"/>
                  <a:pt x="1070511" y="48609"/>
                </a:cubicBezTo>
                <a:lnTo>
                  <a:pt x="1057230" y="0"/>
                </a:lnTo>
                <a:close/>
                <a:moveTo>
                  <a:pt x="43151" y="0"/>
                </a:moveTo>
                <a:lnTo>
                  <a:pt x="95283" y="0"/>
                </a:lnTo>
                <a:lnTo>
                  <a:pt x="300708" y="154571"/>
                </a:lnTo>
                <a:cubicBezTo>
                  <a:pt x="379729" y="218614"/>
                  <a:pt x="456466" y="285481"/>
                  <a:pt x="530414" y="354673"/>
                </a:cubicBezTo>
                <a:cubicBezTo>
                  <a:pt x="466701" y="288424"/>
                  <a:pt x="401285" y="223977"/>
                  <a:pt x="333785" y="161564"/>
                </a:cubicBezTo>
                <a:lnTo>
                  <a:pt x="147005" y="0"/>
                </a:lnTo>
                <a:lnTo>
                  <a:pt x="272509" y="0"/>
                </a:lnTo>
                <a:lnTo>
                  <a:pt x="326276" y="45847"/>
                </a:lnTo>
                <a:cubicBezTo>
                  <a:pt x="505803" y="208268"/>
                  <a:pt x="670600" y="385490"/>
                  <a:pt x="823759" y="574145"/>
                </a:cubicBezTo>
                <a:cubicBezTo>
                  <a:pt x="833168" y="585952"/>
                  <a:pt x="831522" y="674146"/>
                  <a:pt x="811254" y="665546"/>
                </a:cubicBezTo>
                <a:cubicBezTo>
                  <a:pt x="575890" y="564984"/>
                  <a:pt x="364063" y="406029"/>
                  <a:pt x="154042" y="261522"/>
                </a:cubicBezTo>
                <a:cubicBezTo>
                  <a:pt x="104946" y="227663"/>
                  <a:pt x="58037" y="193597"/>
                  <a:pt x="13550" y="158423"/>
                </a:cubicBezTo>
                <a:lnTo>
                  <a:pt x="0" y="146618"/>
                </a:lnTo>
                <a:lnTo>
                  <a:pt x="0" y="59161"/>
                </a:lnTo>
                <a:lnTo>
                  <a:pt x="45427" y="101078"/>
                </a:lnTo>
                <a:cubicBezTo>
                  <a:pt x="223783" y="254949"/>
                  <a:pt x="433006" y="385896"/>
                  <a:pt x="630103" y="485885"/>
                </a:cubicBezTo>
                <a:cubicBezTo>
                  <a:pt x="595938" y="458865"/>
                  <a:pt x="563284" y="428899"/>
                  <a:pt x="532040" y="399359"/>
                </a:cubicBezTo>
                <a:lnTo>
                  <a:pt x="517618" y="385726"/>
                </a:lnTo>
                <a:cubicBezTo>
                  <a:pt x="442853" y="315667"/>
                  <a:pt x="365106" y="247799"/>
                  <a:pt x="285074" y="182755"/>
                </a:cubicBezTo>
                <a:lnTo>
                  <a:pt x="43151" y="0"/>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useBgFill="1">
        <p:nvSpPr>
          <p:cNvPr id="17" name="Rectangle 16">
            <a:extLst>
              <a:ext uri="{FF2B5EF4-FFF2-40B4-BE49-F238E27FC236}">
                <a16:creationId xmlns:a16="http://schemas.microsoft.com/office/drawing/2014/main" id="{ED888B23-07FA-482A-96DF-47E31AF1A6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7200" y="990600"/>
            <a:ext cx="11277600" cy="4876800"/>
          </a:xfrm>
          <a:prstGeom prst="rect">
            <a:avLst/>
          </a:prstGeom>
          <a:ln w="12700" cap="flat" cmpd="sng" algn="ctr">
            <a:noFill/>
            <a:prstDash val="solid"/>
            <a:miter lim="800000"/>
          </a:ln>
          <a:effectLst>
            <a:outerShdw blurRad="317500" algn="ctr" rotWithShape="0">
              <a:schemeClr val="tx1">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 name="Title 1">
            <a:extLst>
              <a:ext uri="{FF2B5EF4-FFF2-40B4-BE49-F238E27FC236}">
                <a16:creationId xmlns:a16="http://schemas.microsoft.com/office/drawing/2014/main" id="{DB936FA1-AA38-0042-EA13-1915CAB9F5A6}"/>
              </a:ext>
            </a:extLst>
          </p:cNvPr>
          <p:cNvSpPr>
            <a:spLocks noGrp="1"/>
          </p:cNvSpPr>
          <p:nvPr>
            <p:ph type="title"/>
          </p:nvPr>
        </p:nvSpPr>
        <p:spPr>
          <a:xfrm>
            <a:off x="1143000" y="1676400"/>
            <a:ext cx="3810000" cy="3505200"/>
          </a:xfrm>
        </p:spPr>
        <p:txBody>
          <a:bodyPr anchor="t">
            <a:normAutofit/>
          </a:bodyPr>
          <a:lstStyle/>
          <a:p>
            <a:pPr algn="ctr"/>
            <a:r>
              <a:rPr lang="en-US" sz="7200">
                <a:solidFill>
                  <a:schemeClr val="accent1"/>
                </a:solidFill>
              </a:rPr>
              <a:t>Overview of the Project</a:t>
            </a:r>
            <a:endParaRPr lang="en-US" sz="6600">
              <a:solidFill>
                <a:schemeClr val="accent1"/>
              </a:solidFill>
            </a:endParaRPr>
          </a:p>
        </p:txBody>
      </p:sp>
      <p:sp>
        <p:nvSpPr>
          <p:cNvPr id="3" name="Content Placeholder 2">
            <a:extLst>
              <a:ext uri="{FF2B5EF4-FFF2-40B4-BE49-F238E27FC236}">
                <a16:creationId xmlns:a16="http://schemas.microsoft.com/office/drawing/2014/main" id="{4D66895E-0307-C175-EAC0-AED04E9C81DF}"/>
              </a:ext>
            </a:extLst>
          </p:cNvPr>
          <p:cNvSpPr>
            <a:spLocks noGrp="1"/>
          </p:cNvSpPr>
          <p:nvPr>
            <p:ph idx="1"/>
          </p:nvPr>
        </p:nvSpPr>
        <p:spPr>
          <a:xfrm>
            <a:off x="5181604" y="1676400"/>
            <a:ext cx="5638796" cy="3505200"/>
          </a:xfrm>
        </p:spPr>
        <p:txBody>
          <a:bodyPr vert="horz" lIns="91440" tIns="45720" rIns="91440" bIns="45720" rtlCol="0" anchor="t">
            <a:normAutofit/>
          </a:bodyPr>
          <a:lstStyle/>
          <a:p>
            <a:r>
              <a:rPr lang="en-US"/>
              <a:t>Goals: To prevent the customers who are likely to churn using different techniques and methods.</a:t>
            </a:r>
            <a:endParaRPr lang="en-US">
              <a:cs typeface="Calibri"/>
            </a:endParaRPr>
          </a:p>
          <a:p>
            <a:r>
              <a:rPr lang="en-US"/>
              <a:t>Objectives: To Predict and study the reason of customer Churning.</a:t>
            </a:r>
          </a:p>
          <a:p>
            <a:r>
              <a:rPr lang="en-US"/>
              <a:t>Techniques Used: We have used random forest, decision tree and logistic regression</a:t>
            </a:r>
            <a:endParaRPr lang="en-US" sz="2400">
              <a:solidFill>
                <a:schemeClr val="tx1">
                  <a:alpha val="55000"/>
                </a:schemeClr>
              </a:solidFill>
            </a:endParaRPr>
          </a:p>
        </p:txBody>
      </p:sp>
    </p:spTree>
    <p:extLst>
      <p:ext uri="{BB962C8B-B14F-4D97-AF65-F5344CB8AC3E}">
        <p14:creationId xmlns:p14="http://schemas.microsoft.com/office/powerpoint/2010/main" val="29304000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05DCD0-7AA2-BDC5-8B28-905106455B7D}"/>
              </a:ext>
            </a:extLst>
          </p:cNvPr>
          <p:cNvSpPr>
            <a:spLocks noGrp="1"/>
          </p:cNvSpPr>
          <p:nvPr>
            <p:ph type="title"/>
          </p:nvPr>
        </p:nvSpPr>
        <p:spPr>
          <a:xfrm>
            <a:off x="1074313" y="86083"/>
            <a:ext cx="10515600" cy="1325563"/>
          </a:xfrm>
        </p:spPr>
        <p:txBody>
          <a:bodyPr>
            <a:normAutofit/>
          </a:bodyPr>
          <a:lstStyle/>
          <a:p>
            <a:pPr algn="ctr"/>
            <a:r>
              <a:rPr lang="en-US">
                <a:solidFill>
                  <a:schemeClr val="accent1"/>
                </a:solidFill>
              </a:rPr>
              <a:t>Logistic Regression Model</a:t>
            </a:r>
            <a:endParaRPr lang="en-US"/>
          </a:p>
        </p:txBody>
      </p:sp>
      <p:pic>
        <p:nvPicPr>
          <p:cNvPr id="4" name="Content Placeholder 4">
            <a:extLst>
              <a:ext uri="{FF2B5EF4-FFF2-40B4-BE49-F238E27FC236}">
                <a16:creationId xmlns:a16="http://schemas.microsoft.com/office/drawing/2014/main" id="{8C2618E9-0A60-8CE0-D207-DBF1894D5CFC}"/>
              </a:ext>
            </a:extLst>
          </p:cNvPr>
          <p:cNvPicPr>
            <a:picLocks noGrp="1" noChangeAspect="1"/>
          </p:cNvPicPr>
          <p:nvPr>
            <p:ph idx="1"/>
          </p:nvPr>
        </p:nvPicPr>
        <p:blipFill>
          <a:blip r:embed="rId2"/>
          <a:stretch>
            <a:fillRect/>
          </a:stretch>
        </p:blipFill>
        <p:spPr>
          <a:xfrm>
            <a:off x="2654602" y="1084872"/>
            <a:ext cx="7207856" cy="5514009"/>
          </a:xfrm>
          <a:prstGeom prst="rect">
            <a:avLst/>
          </a:prstGeom>
        </p:spPr>
      </p:pic>
    </p:spTree>
    <p:extLst>
      <p:ext uri="{BB962C8B-B14F-4D97-AF65-F5344CB8AC3E}">
        <p14:creationId xmlns:p14="http://schemas.microsoft.com/office/powerpoint/2010/main" val="13456824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Shape 16">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Isosceles Triangle 18">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Text&#10;&#10;Description automatically generated with medium confidence">
            <a:extLst>
              <a:ext uri="{FF2B5EF4-FFF2-40B4-BE49-F238E27FC236}">
                <a16:creationId xmlns:a16="http://schemas.microsoft.com/office/drawing/2014/main" id="{7BF9966F-A494-BF36-9CA5-11D4D038C8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99392" y="997636"/>
            <a:ext cx="8842961" cy="5571065"/>
          </a:xfrm>
          <a:prstGeom prst="rect">
            <a:avLst/>
          </a:prstGeom>
          <a:ln>
            <a:noFill/>
          </a:ln>
        </p:spPr>
      </p:pic>
      <p:sp>
        <p:nvSpPr>
          <p:cNvPr id="21" name="Isosceles Triangle 20">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a:extLst>
              <a:ext uri="{FF2B5EF4-FFF2-40B4-BE49-F238E27FC236}">
                <a16:creationId xmlns:a16="http://schemas.microsoft.com/office/drawing/2014/main" id="{7C4586A1-BCBD-F787-20AD-5802F78903F2}"/>
              </a:ext>
            </a:extLst>
          </p:cNvPr>
          <p:cNvSpPr txBox="1">
            <a:spLocks/>
          </p:cNvSpPr>
          <p:nvPr/>
        </p:nvSpPr>
        <p:spPr>
          <a:xfrm>
            <a:off x="312314" y="-85635"/>
            <a:ext cx="1141712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solidFill>
                  <a:srgbClr val="0070C0"/>
                </a:solidFill>
                <a:ea typeface="+mj-lt"/>
                <a:cs typeface="+mj-lt"/>
              </a:rPr>
              <a:t>Logistic Regression Analysis using cutoff value 0.4</a:t>
            </a:r>
          </a:p>
        </p:txBody>
      </p:sp>
    </p:spTree>
    <p:extLst>
      <p:ext uri="{BB962C8B-B14F-4D97-AF65-F5344CB8AC3E}">
        <p14:creationId xmlns:p14="http://schemas.microsoft.com/office/powerpoint/2010/main" val="22559949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Shape 16">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Isosceles Triangle 18">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C7D9B610-055B-80A8-ABF2-D7D7A46C9AD6}"/>
              </a:ext>
            </a:extLst>
          </p:cNvPr>
          <p:cNvPicPr>
            <a:picLocks noChangeAspect="1"/>
          </p:cNvPicPr>
          <p:nvPr/>
        </p:nvPicPr>
        <p:blipFill>
          <a:blip r:embed="rId2"/>
          <a:stretch>
            <a:fillRect/>
          </a:stretch>
        </p:blipFill>
        <p:spPr>
          <a:xfrm>
            <a:off x="1709335" y="1105381"/>
            <a:ext cx="8773329" cy="5571065"/>
          </a:xfrm>
          <a:prstGeom prst="rect">
            <a:avLst/>
          </a:prstGeom>
          <a:ln>
            <a:noFill/>
          </a:ln>
        </p:spPr>
      </p:pic>
      <p:sp>
        <p:nvSpPr>
          <p:cNvPr id="21" name="Isosceles Triangle 20">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0C911915-0554-8A16-C1A0-563EB09FC408}"/>
              </a:ext>
            </a:extLst>
          </p:cNvPr>
          <p:cNvSpPr txBox="1">
            <a:spLocks/>
          </p:cNvSpPr>
          <p:nvPr/>
        </p:nvSpPr>
        <p:spPr>
          <a:xfrm>
            <a:off x="333778" y="-150030"/>
            <a:ext cx="11492247" cy="133629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solidFill>
                  <a:srgbClr val="0070C0"/>
                </a:solidFill>
              </a:rPr>
              <a:t>Logistic Regression Analysis using cutoff value 0.3</a:t>
            </a:r>
          </a:p>
        </p:txBody>
      </p:sp>
    </p:spTree>
    <p:extLst>
      <p:ext uri="{BB962C8B-B14F-4D97-AF65-F5344CB8AC3E}">
        <p14:creationId xmlns:p14="http://schemas.microsoft.com/office/powerpoint/2010/main" val="35236530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 name="Rectangle 19">
            <a:extLst>
              <a:ext uri="{FF2B5EF4-FFF2-40B4-BE49-F238E27FC236}">
                <a16:creationId xmlns:a16="http://schemas.microsoft.com/office/drawing/2014/main" id="{86FF76B9-219D-4469-AF87-0236D2903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5" name="Group 21">
            <a:extLst>
              <a:ext uri="{FF2B5EF4-FFF2-40B4-BE49-F238E27FC236}">
                <a16:creationId xmlns:a16="http://schemas.microsoft.com/office/drawing/2014/main" id="{DB88BD78-87E1-424D-B479-C37D8E41B12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10964637" y="2358"/>
            <a:ext cx="1876653" cy="1766008"/>
            <a:chOff x="-648769" y="2358"/>
            <a:chExt cx="1876653" cy="1766008"/>
          </a:xfrm>
        </p:grpSpPr>
        <p:sp>
          <p:nvSpPr>
            <p:cNvPr id="23" name="Freeform: Shape 22">
              <a:extLst>
                <a:ext uri="{FF2B5EF4-FFF2-40B4-BE49-F238E27FC236}">
                  <a16:creationId xmlns:a16="http://schemas.microsoft.com/office/drawing/2014/main" id="{C05EB894-9410-4B20-95E4-7A25101AB8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415188" y="-231223"/>
              <a:ext cx="1409491" cy="1876653"/>
            </a:xfrm>
            <a:custGeom>
              <a:avLst/>
              <a:gdLst>
                <a:gd name="connsiteX0" fmla="*/ 0 w 1409491"/>
                <a:gd name="connsiteY0" fmla="*/ 643075 h 1876653"/>
                <a:gd name="connsiteX1" fmla="*/ 643075 w 1409491"/>
                <a:gd name="connsiteY1" fmla="*/ 0 h 1876653"/>
                <a:gd name="connsiteX2" fmla="*/ 1409491 w 1409491"/>
                <a:gd name="connsiteY2" fmla="*/ 0 h 1876653"/>
                <a:gd name="connsiteX3" fmla="*/ 1409491 w 1409491"/>
                <a:gd name="connsiteY3" fmla="*/ 1876653 h 1876653"/>
                <a:gd name="connsiteX4" fmla="*/ 1233578 w 1409491"/>
                <a:gd name="connsiteY4" fmla="*/ 1876653 h 1876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491" h="1876653">
                  <a:moveTo>
                    <a:pt x="0" y="643075"/>
                  </a:moveTo>
                  <a:lnTo>
                    <a:pt x="643075" y="0"/>
                  </a:lnTo>
                  <a:lnTo>
                    <a:pt x="1409491" y="0"/>
                  </a:lnTo>
                  <a:lnTo>
                    <a:pt x="1409491" y="1876653"/>
                  </a:lnTo>
                  <a:lnTo>
                    <a:pt x="1233578" y="1876653"/>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23">
              <a:extLst>
                <a:ext uri="{FF2B5EF4-FFF2-40B4-BE49-F238E27FC236}">
                  <a16:creationId xmlns:a16="http://schemas.microsoft.com/office/drawing/2014/main" id="{166E38B6-B050-4340-8E8F-3A971DADC0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301285" y="1282788"/>
              <a:ext cx="485578" cy="48557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7" name="Rectangle 25">
            <a:extLst>
              <a:ext uri="{FF2B5EF4-FFF2-40B4-BE49-F238E27FC236}">
                <a16:creationId xmlns:a16="http://schemas.microsoft.com/office/drawing/2014/main" id="{2E80C965-DB6D-4F81-9E9E-B027384D0B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737196" y="6033666"/>
            <a:ext cx="645368" cy="645368"/>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Isosceles Triangle 27">
            <a:extLst>
              <a:ext uri="{FF2B5EF4-FFF2-40B4-BE49-F238E27FC236}">
                <a16:creationId xmlns:a16="http://schemas.microsoft.com/office/drawing/2014/main" id="{633C5E46-DAC5-4661-9C87-22B08E2A51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43436" y="5721108"/>
            <a:ext cx="2261965" cy="1136891"/>
          </a:xfrm>
          <a:prstGeom prst="triangle">
            <a:avLst>
              <a:gd name="adj" fmla="val 50000"/>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le 4">
            <a:extLst>
              <a:ext uri="{FF2B5EF4-FFF2-40B4-BE49-F238E27FC236}">
                <a16:creationId xmlns:a16="http://schemas.microsoft.com/office/drawing/2014/main" id="{31DD5156-349A-3339-8355-B3D55A269730}"/>
              </a:ext>
            </a:extLst>
          </p:cNvPr>
          <p:cNvGraphicFramePr>
            <a:graphicFrameLocks noGrp="1"/>
          </p:cNvGraphicFramePr>
          <p:nvPr>
            <p:extLst>
              <p:ext uri="{D42A27DB-BD31-4B8C-83A1-F6EECF244321}">
                <p14:modId xmlns:p14="http://schemas.microsoft.com/office/powerpoint/2010/main" val="2089902923"/>
              </p:ext>
            </p:extLst>
          </p:nvPr>
        </p:nvGraphicFramePr>
        <p:xfrm>
          <a:off x="643467" y="1946694"/>
          <a:ext cx="10905067" cy="2964612"/>
        </p:xfrm>
        <a:graphic>
          <a:graphicData uri="http://schemas.openxmlformats.org/drawingml/2006/table">
            <a:tbl>
              <a:tblPr firstRow="1" bandRow="1">
                <a:noFill/>
                <a:tableStyleId>{5C22544A-7EE6-4342-B048-85BDC9FD1C3A}</a:tableStyleId>
              </a:tblPr>
              <a:tblGrid>
                <a:gridCol w="1600754">
                  <a:extLst>
                    <a:ext uri="{9D8B030D-6E8A-4147-A177-3AD203B41FA5}">
                      <a16:colId xmlns:a16="http://schemas.microsoft.com/office/drawing/2014/main" val="3265718574"/>
                    </a:ext>
                  </a:extLst>
                </a:gridCol>
                <a:gridCol w="1596581">
                  <a:extLst>
                    <a:ext uri="{9D8B030D-6E8A-4147-A177-3AD203B41FA5}">
                      <a16:colId xmlns:a16="http://schemas.microsoft.com/office/drawing/2014/main" val="692984558"/>
                    </a:ext>
                  </a:extLst>
                </a:gridCol>
                <a:gridCol w="1901221">
                  <a:extLst>
                    <a:ext uri="{9D8B030D-6E8A-4147-A177-3AD203B41FA5}">
                      <a16:colId xmlns:a16="http://schemas.microsoft.com/office/drawing/2014/main" val="984499596"/>
                    </a:ext>
                  </a:extLst>
                </a:gridCol>
                <a:gridCol w="1901221">
                  <a:extLst>
                    <a:ext uri="{9D8B030D-6E8A-4147-A177-3AD203B41FA5}">
                      <a16:colId xmlns:a16="http://schemas.microsoft.com/office/drawing/2014/main" val="3086024051"/>
                    </a:ext>
                  </a:extLst>
                </a:gridCol>
                <a:gridCol w="1952645">
                  <a:extLst>
                    <a:ext uri="{9D8B030D-6E8A-4147-A177-3AD203B41FA5}">
                      <a16:colId xmlns:a16="http://schemas.microsoft.com/office/drawing/2014/main" val="704369404"/>
                    </a:ext>
                  </a:extLst>
                </a:gridCol>
                <a:gridCol w="1952645">
                  <a:extLst>
                    <a:ext uri="{9D8B030D-6E8A-4147-A177-3AD203B41FA5}">
                      <a16:colId xmlns:a16="http://schemas.microsoft.com/office/drawing/2014/main" val="3144668106"/>
                    </a:ext>
                  </a:extLst>
                </a:gridCol>
              </a:tblGrid>
              <a:tr h="1141776">
                <a:tc>
                  <a:txBody>
                    <a:bodyPr/>
                    <a:lstStyle/>
                    <a:p>
                      <a:pPr algn="ctr"/>
                      <a:r>
                        <a:rPr lang="en-US" sz="1800" b="1" cap="all" spc="60">
                          <a:solidFill>
                            <a:srgbClr val="FFFFFF"/>
                          </a:solidFill>
                        </a:rPr>
                        <a:t>Model Name </a:t>
                      </a:r>
                    </a:p>
                  </a:txBody>
                  <a:tcPr marL="250389" marR="150234" marT="150234" marB="150234" anchor="b">
                    <a:lnL w="38100" cap="flat" cmpd="sng" algn="ctr">
                      <a:noFill/>
                      <a:prstDash val="solid"/>
                    </a:lnL>
                    <a:lnR w="38100" cap="flat" cmpd="sng" algn="ctr">
                      <a:solidFill>
                        <a:srgbClr val="FFFFFF"/>
                      </a:solidFill>
                      <a:prstDash val="solid"/>
                    </a:lnR>
                    <a:lnT w="38100" cap="flat" cmpd="sng" algn="ctr">
                      <a:noFill/>
                      <a:prstDash val="solid"/>
                    </a:lnT>
                    <a:lnB w="38100" cap="flat" cmpd="sng" algn="ctr">
                      <a:solidFill>
                        <a:srgbClr val="FFFFFF"/>
                      </a:solidFill>
                      <a:prstDash val="solid"/>
                    </a:lnB>
                    <a:solidFill>
                      <a:srgbClr val="636B68">
                        <a:alpha val="69804"/>
                      </a:srgbClr>
                    </a:solidFill>
                  </a:tcPr>
                </a:tc>
                <a:tc>
                  <a:txBody>
                    <a:bodyPr/>
                    <a:lstStyle/>
                    <a:p>
                      <a:pPr algn="ctr"/>
                      <a:r>
                        <a:rPr lang="en-US" sz="1800" b="1" cap="all" spc="60">
                          <a:solidFill>
                            <a:srgbClr val="FFFFFF"/>
                          </a:solidFill>
                        </a:rPr>
                        <a:t>Random Forest </a:t>
                      </a:r>
                    </a:p>
                  </a:txBody>
                  <a:tcPr marL="250389" marR="150234" marT="150234" marB="150234" anchor="b">
                    <a:lnL w="38100" cap="flat" cmpd="sng" algn="ctr">
                      <a:solidFill>
                        <a:srgbClr val="FFFFFF"/>
                      </a:solidFill>
                      <a:prstDash val="solid"/>
                    </a:lnL>
                    <a:lnR w="38100" cap="flat" cmpd="sng" algn="ctr">
                      <a:solidFill>
                        <a:srgbClr val="FFFFFF"/>
                      </a:solidFill>
                      <a:prstDash val="solid"/>
                    </a:lnR>
                    <a:lnT w="38100" cap="flat" cmpd="sng" algn="ctr">
                      <a:noFill/>
                      <a:prstDash val="solid"/>
                    </a:lnT>
                    <a:lnB w="38100" cap="flat" cmpd="sng" algn="ctr">
                      <a:solidFill>
                        <a:srgbClr val="FFFFFF"/>
                      </a:solidFill>
                      <a:prstDash val="solid"/>
                    </a:lnB>
                    <a:solidFill>
                      <a:srgbClr val="636B68">
                        <a:alpha val="69804"/>
                      </a:srgbClr>
                    </a:solidFill>
                  </a:tcPr>
                </a:tc>
                <a:tc>
                  <a:txBody>
                    <a:bodyPr/>
                    <a:lstStyle/>
                    <a:p>
                      <a:pPr algn="ctr"/>
                      <a:r>
                        <a:rPr lang="en-US" sz="1800" b="1" cap="all" spc="60">
                          <a:solidFill>
                            <a:srgbClr val="FFFFFF"/>
                          </a:solidFill>
                        </a:rPr>
                        <a:t>Decision Tree ( 10 Variable) </a:t>
                      </a:r>
                    </a:p>
                  </a:txBody>
                  <a:tcPr marL="250389" marR="150234" marT="150234" marB="150234" anchor="b">
                    <a:lnL w="38100" cap="flat" cmpd="sng" algn="ctr">
                      <a:solidFill>
                        <a:srgbClr val="FFFFFF"/>
                      </a:solidFill>
                      <a:prstDash val="solid"/>
                    </a:lnL>
                    <a:lnR w="38100" cap="flat" cmpd="sng" algn="ctr">
                      <a:solidFill>
                        <a:srgbClr val="FFFFFF"/>
                      </a:solidFill>
                      <a:prstDash val="solid"/>
                    </a:lnR>
                    <a:lnT w="38100" cap="flat" cmpd="sng" algn="ctr">
                      <a:noFill/>
                      <a:prstDash val="solid"/>
                    </a:lnT>
                    <a:lnB w="38100" cap="flat" cmpd="sng" algn="ctr">
                      <a:solidFill>
                        <a:srgbClr val="FFFFFF"/>
                      </a:solidFill>
                      <a:prstDash val="solid"/>
                    </a:lnB>
                    <a:solidFill>
                      <a:srgbClr val="636B68">
                        <a:alpha val="69804"/>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cap="all" spc="60">
                          <a:solidFill>
                            <a:srgbClr val="FFFFFF"/>
                          </a:solidFill>
                        </a:rPr>
                        <a:t>Decision Tree ( 15 Variable) </a:t>
                      </a:r>
                    </a:p>
                  </a:txBody>
                  <a:tcPr marL="250389" marR="150234" marT="150234" marB="150234" anchor="b">
                    <a:lnL w="38100" cap="flat" cmpd="sng" algn="ctr">
                      <a:solidFill>
                        <a:srgbClr val="FFFFFF"/>
                      </a:solidFill>
                      <a:prstDash val="solid"/>
                    </a:lnL>
                    <a:lnR w="38100" cap="flat" cmpd="sng" algn="ctr">
                      <a:solidFill>
                        <a:srgbClr val="FFFFFF"/>
                      </a:solidFill>
                      <a:prstDash val="solid"/>
                    </a:lnR>
                    <a:lnT w="38100" cap="flat" cmpd="sng" algn="ctr">
                      <a:noFill/>
                      <a:prstDash val="solid"/>
                    </a:lnT>
                    <a:lnB w="38100" cap="flat" cmpd="sng" algn="ctr">
                      <a:solidFill>
                        <a:srgbClr val="FFFFFF"/>
                      </a:solidFill>
                      <a:prstDash val="solid"/>
                    </a:lnB>
                    <a:solidFill>
                      <a:srgbClr val="636B68">
                        <a:alpha val="69804"/>
                      </a:srgbClr>
                    </a:solidFill>
                  </a:tcPr>
                </a:tc>
                <a:tc>
                  <a:txBody>
                    <a:bodyPr/>
                    <a:lstStyle/>
                    <a:p>
                      <a:r>
                        <a:rPr lang="en-US" sz="1800" b="1" cap="all" spc="60">
                          <a:solidFill>
                            <a:srgbClr val="FFFFFF"/>
                          </a:solidFill>
                        </a:rPr>
                        <a:t>Logistic Regression (cutoff =0.4)</a:t>
                      </a:r>
                    </a:p>
                  </a:txBody>
                  <a:tcPr marL="250389" marR="150234" marT="150234" marB="150234" anchor="b">
                    <a:lnL w="38100" cap="flat" cmpd="sng" algn="ctr">
                      <a:solidFill>
                        <a:srgbClr val="FFFFFF"/>
                      </a:solidFill>
                      <a:prstDash val="solid"/>
                    </a:lnL>
                    <a:lnR w="38100" cap="flat" cmpd="sng" algn="ctr">
                      <a:solidFill>
                        <a:srgbClr val="FFFFFF"/>
                      </a:solidFill>
                      <a:prstDash val="solid"/>
                    </a:lnR>
                    <a:lnT w="38100" cap="flat" cmpd="sng" algn="ctr">
                      <a:noFill/>
                      <a:prstDash val="solid"/>
                    </a:lnT>
                    <a:lnB w="38100" cap="flat" cmpd="sng" algn="ctr">
                      <a:solidFill>
                        <a:srgbClr val="FFFFFF"/>
                      </a:solidFill>
                      <a:prstDash val="solid"/>
                    </a:lnB>
                    <a:solidFill>
                      <a:srgbClr val="636B68">
                        <a:alpha val="69804"/>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cap="all" spc="60">
                          <a:solidFill>
                            <a:srgbClr val="FFFFFF"/>
                          </a:solidFill>
                        </a:rPr>
                        <a:t>Logistic Regression (cutoff =0.3)</a:t>
                      </a:r>
                    </a:p>
                  </a:txBody>
                  <a:tcPr marL="250389" marR="150234" marT="150234" marB="150234" anchor="b">
                    <a:lnL w="38100" cap="flat" cmpd="sng" algn="ctr">
                      <a:solidFill>
                        <a:srgbClr val="FFFFFF"/>
                      </a:solidFill>
                      <a:prstDash val="solid"/>
                    </a:lnL>
                    <a:lnR w="38100" cap="flat" cmpd="sng" algn="ctr">
                      <a:noFill/>
                      <a:prstDash val="solid"/>
                    </a:lnR>
                    <a:lnT w="38100" cap="flat" cmpd="sng" algn="ctr">
                      <a:noFill/>
                      <a:prstDash val="solid"/>
                    </a:lnT>
                    <a:lnB w="38100" cap="flat" cmpd="sng" algn="ctr">
                      <a:solidFill>
                        <a:srgbClr val="FFFFFF"/>
                      </a:solidFill>
                      <a:prstDash val="solid"/>
                    </a:lnB>
                    <a:solidFill>
                      <a:srgbClr val="636B68">
                        <a:alpha val="69804"/>
                      </a:srgbClr>
                    </a:solidFill>
                  </a:tcPr>
                </a:tc>
                <a:extLst>
                  <a:ext uri="{0D108BD9-81ED-4DB2-BD59-A6C34878D82A}">
                    <a16:rowId xmlns:a16="http://schemas.microsoft.com/office/drawing/2014/main" val="2372358398"/>
                  </a:ext>
                </a:extLst>
              </a:tr>
              <a:tr h="607612">
                <a:tc>
                  <a:txBody>
                    <a:bodyPr/>
                    <a:lstStyle/>
                    <a:p>
                      <a:r>
                        <a:rPr lang="en-US" sz="1800" cap="none" spc="0">
                          <a:solidFill>
                            <a:schemeClr val="tx1">
                              <a:lumMod val="85000"/>
                              <a:lumOff val="15000"/>
                            </a:schemeClr>
                          </a:solidFill>
                        </a:rPr>
                        <a:t>Accuracy </a:t>
                      </a:r>
                    </a:p>
                  </a:txBody>
                  <a:tcPr marL="250389" marR="150234" marT="150234" marB="150234">
                    <a:lnL w="38100" cap="flat" cmpd="sng" algn="ctr">
                      <a:noFill/>
                      <a:prstDash val="solid"/>
                    </a:lnL>
                    <a:lnR w="38100" cap="flat" cmpd="sng" algn="ctr">
                      <a:solidFill>
                        <a:srgbClr val="FFFFFF"/>
                      </a:solidFill>
                      <a:prstDash val="solid"/>
                    </a:lnR>
                    <a:lnT w="38100" cap="flat" cmpd="sng" algn="ctr">
                      <a:solidFill>
                        <a:srgbClr val="FFFFFF"/>
                      </a:solidFill>
                      <a:prstDash val="solid"/>
                    </a:lnT>
                    <a:lnB w="38100" cap="flat" cmpd="sng" algn="ctr">
                      <a:solidFill>
                        <a:srgbClr val="FFFFFF"/>
                      </a:solidFill>
                      <a:prstDash val="solid"/>
                    </a:lnB>
                    <a:solidFill>
                      <a:srgbClr val="878E8B">
                        <a:alpha val="14902"/>
                      </a:srgbClr>
                    </a:solidFill>
                  </a:tcPr>
                </a:tc>
                <a:tc>
                  <a:txBody>
                    <a:bodyPr/>
                    <a:lstStyle/>
                    <a:p>
                      <a:r>
                        <a:rPr lang="en-US" sz="1800" cap="none" spc="0">
                          <a:solidFill>
                            <a:schemeClr val="tx1">
                              <a:lumMod val="85000"/>
                              <a:lumOff val="15000"/>
                            </a:schemeClr>
                          </a:solidFill>
                        </a:rPr>
                        <a:t>0.7245</a:t>
                      </a:r>
                    </a:p>
                  </a:txBody>
                  <a:tcPr marL="250389" marR="150234" marT="150234" marB="150234">
                    <a:lnL w="38100" cap="flat" cmpd="sng" algn="ctr">
                      <a:solidFill>
                        <a:srgbClr val="FFFFFF"/>
                      </a:solidFill>
                      <a:prstDash val="solid"/>
                    </a:lnL>
                    <a:lnR w="38100" cap="flat" cmpd="sng" algn="ctr">
                      <a:solidFill>
                        <a:srgbClr val="FFFFFF"/>
                      </a:solidFill>
                      <a:prstDash val="solid"/>
                    </a:lnR>
                    <a:lnT w="38100" cap="flat" cmpd="sng" algn="ctr">
                      <a:solidFill>
                        <a:srgbClr val="FFFFFF"/>
                      </a:solidFill>
                      <a:prstDash val="solid"/>
                    </a:lnT>
                    <a:lnB w="38100" cap="flat" cmpd="sng" algn="ctr">
                      <a:solidFill>
                        <a:srgbClr val="FFFFFF"/>
                      </a:solidFill>
                      <a:prstDash val="solid"/>
                    </a:lnB>
                    <a:solidFill>
                      <a:srgbClr val="878E8B">
                        <a:alpha val="14902"/>
                      </a:srgbClr>
                    </a:solidFill>
                  </a:tcPr>
                </a:tc>
                <a:tc>
                  <a:txBody>
                    <a:bodyPr/>
                    <a:lstStyle/>
                    <a:p>
                      <a:r>
                        <a:rPr lang="en-US" sz="1800" cap="none" spc="0">
                          <a:solidFill>
                            <a:schemeClr val="tx1">
                              <a:lumMod val="85000"/>
                              <a:lumOff val="15000"/>
                            </a:schemeClr>
                          </a:solidFill>
                        </a:rPr>
                        <a:t>0.7164</a:t>
                      </a:r>
                    </a:p>
                  </a:txBody>
                  <a:tcPr marL="250389" marR="150234" marT="150234" marB="150234">
                    <a:lnL w="38100" cap="flat" cmpd="sng" algn="ctr">
                      <a:solidFill>
                        <a:srgbClr val="FFFFFF"/>
                      </a:solidFill>
                      <a:prstDash val="solid"/>
                    </a:lnL>
                    <a:lnR w="38100" cap="flat" cmpd="sng" algn="ctr">
                      <a:solidFill>
                        <a:srgbClr val="FFFFFF"/>
                      </a:solidFill>
                      <a:prstDash val="solid"/>
                    </a:lnR>
                    <a:lnT w="38100" cap="flat" cmpd="sng" algn="ctr">
                      <a:solidFill>
                        <a:srgbClr val="FFFFFF"/>
                      </a:solidFill>
                      <a:prstDash val="solid"/>
                    </a:lnT>
                    <a:lnB w="38100" cap="flat" cmpd="sng" algn="ctr">
                      <a:solidFill>
                        <a:srgbClr val="FFFFFF"/>
                      </a:solidFill>
                      <a:prstDash val="solid"/>
                    </a:lnB>
                    <a:solidFill>
                      <a:srgbClr val="878E8B">
                        <a:alpha val="14902"/>
                      </a:srgbClr>
                    </a:solidFill>
                  </a:tcPr>
                </a:tc>
                <a:tc>
                  <a:txBody>
                    <a:bodyPr/>
                    <a:lstStyle/>
                    <a:p>
                      <a:r>
                        <a:rPr lang="en-US" sz="1800" cap="none" spc="0">
                          <a:solidFill>
                            <a:schemeClr val="tx1">
                              <a:lumMod val="85000"/>
                              <a:lumOff val="15000"/>
                            </a:schemeClr>
                          </a:solidFill>
                        </a:rPr>
                        <a:t>0.7181</a:t>
                      </a:r>
                    </a:p>
                  </a:txBody>
                  <a:tcPr marL="250389" marR="150234" marT="150234" marB="150234">
                    <a:lnL w="38100" cap="flat" cmpd="sng" algn="ctr">
                      <a:solidFill>
                        <a:srgbClr val="FFFFFF"/>
                      </a:solidFill>
                      <a:prstDash val="solid"/>
                    </a:lnL>
                    <a:lnR w="38100" cap="flat" cmpd="sng" algn="ctr">
                      <a:solidFill>
                        <a:srgbClr val="FFFFFF"/>
                      </a:solidFill>
                      <a:prstDash val="solid"/>
                    </a:lnR>
                    <a:lnT w="38100" cap="flat" cmpd="sng" algn="ctr">
                      <a:solidFill>
                        <a:srgbClr val="FFFFFF"/>
                      </a:solidFill>
                      <a:prstDash val="solid"/>
                    </a:lnT>
                    <a:lnB w="38100" cap="flat" cmpd="sng" algn="ctr">
                      <a:solidFill>
                        <a:srgbClr val="FFFFFF"/>
                      </a:solidFill>
                      <a:prstDash val="solid"/>
                    </a:lnB>
                    <a:solidFill>
                      <a:srgbClr val="878E8B">
                        <a:alpha val="14902"/>
                      </a:srgbClr>
                    </a:solidFill>
                  </a:tcPr>
                </a:tc>
                <a:tc>
                  <a:txBody>
                    <a:bodyPr/>
                    <a:lstStyle/>
                    <a:p>
                      <a:r>
                        <a:rPr lang="en-US" sz="1800" cap="none" spc="0">
                          <a:solidFill>
                            <a:schemeClr val="tx1">
                              <a:lumMod val="85000"/>
                              <a:lumOff val="15000"/>
                            </a:schemeClr>
                          </a:solidFill>
                        </a:rPr>
                        <a:t>0.7005</a:t>
                      </a:r>
                    </a:p>
                  </a:txBody>
                  <a:tcPr marL="250389" marR="150234" marT="150234" marB="150234">
                    <a:lnL w="38100" cap="flat" cmpd="sng" algn="ctr">
                      <a:solidFill>
                        <a:srgbClr val="FFFFFF"/>
                      </a:solidFill>
                      <a:prstDash val="solid"/>
                    </a:lnL>
                    <a:lnR w="38100" cap="flat" cmpd="sng" algn="ctr">
                      <a:solidFill>
                        <a:srgbClr val="FFFFFF"/>
                      </a:solidFill>
                      <a:prstDash val="solid"/>
                    </a:lnR>
                    <a:lnT w="38100" cap="flat" cmpd="sng" algn="ctr">
                      <a:solidFill>
                        <a:srgbClr val="FFFFFF"/>
                      </a:solidFill>
                      <a:prstDash val="solid"/>
                    </a:lnT>
                    <a:lnB w="38100" cap="flat" cmpd="sng" algn="ctr">
                      <a:solidFill>
                        <a:srgbClr val="FFFFFF"/>
                      </a:solidFill>
                      <a:prstDash val="solid"/>
                    </a:lnB>
                    <a:solidFill>
                      <a:srgbClr val="878E8B">
                        <a:alpha val="14902"/>
                      </a:srgbClr>
                    </a:solidFill>
                  </a:tcPr>
                </a:tc>
                <a:tc>
                  <a:txBody>
                    <a:bodyPr/>
                    <a:lstStyle/>
                    <a:p>
                      <a:r>
                        <a:rPr lang="en-US" sz="1800" cap="none" spc="0">
                          <a:solidFill>
                            <a:schemeClr val="tx1">
                              <a:lumMod val="85000"/>
                              <a:lumOff val="15000"/>
                            </a:schemeClr>
                          </a:solidFill>
                        </a:rPr>
                        <a:t>0.5957</a:t>
                      </a:r>
                    </a:p>
                  </a:txBody>
                  <a:tcPr marL="250389" marR="150234" marT="150234" marB="150234">
                    <a:lnL w="38100" cap="flat" cmpd="sng" algn="ctr">
                      <a:solidFill>
                        <a:srgbClr val="FFFFFF"/>
                      </a:solidFill>
                      <a:prstDash val="solid"/>
                    </a:lnL>
                    <a:lnR w="38100" cap="flat" cmpd="sng" algn="ctr">
                      <a:noFill/>
                      <a:prstDash val="solid"/>
                    </a:lnR>
                    <a:lnT w="38100" cap="flat" cmpd="sng" algn="ctr">
                      <a:solidFill>
                        <a:srgbClr val="FFFFFF"/>
                      </a:solidFill>
                      <a:prstDash val="solid"/>
                    </a:lnT>
                    <a:lnB w="38100" cap="flat" cmpd="sng" algn="ctr">
                      <a:solidFill>
                        <a:srgbClr val="FFFFFF"/>
                      </a:solidFill>
                      <a:prstDash val="solid"/>
                    </a:lnB>
                    <a:solidFill>
                      <a:srgbClr val="878E8B">
                        <a:alpha val="14902"/>
                      </a:srgbClr>
                    </a:solidFill>
                  </a:tcPr>
                </a:tc>
                <a:extLst>
                  <a:ext uri="{0D108BD9-81ED-4DB2-BD59-A6C34878D82A}">
                    <a16:rowId xmlns:a16="http://schemas.microsoft.com/office/drawing/2014/main" val="2658321821"/>
                  </a:ext>
                </a:extLst>
              </a:tr>
              <a:tr h="607612">
                <a:tc>
                  <a:txBody>
                    <a:bodyPr/>
                    <a:lstStyle/>
                    <a:p>
                      <a:r>
                        <a:rPr lang="en-US" sz="1800" cap="none" spc="0">
                          <a:solidFill>
                            <a:schemeClr val="tx1">
                              <a:lumMod val="85000"/>
                              <a:lumOff val="15000"/>
                            </a:schemeClr>
                          </a:solidFill>
                        </a:rPr>
                        <a:t>Sensitivity </a:t>
                      </a:r>
                    </a:p>
                  </a:txBody>
                  <a:tcPr marL="250389" marR="150234" marT="150234" marB="150234">
                    <a:lnL w="12700" cmpd="sng">
                      <a:noFill/>
                      <a:prstDash val="solid"/>
                    </a:lnL>
                    <a:lnR w="38100" cap="flat" cmpd="sng" algn="ctr">
                      <a:solidFill>
                        <a:srgbClr val="FFFFFF"/>
                      </a:solidFill>
                      <a:prstDash val="solid"/>
                    </a:lnR>
                    <a:lnT w="38100" cap="flat" cmpd="sng" algn="ctr">
                      <a:solidFill>
                        <a:srgbClr val="FFFFFF"/>
                      </a:solidFill>
                      <a:prstDash val="solid"/>
                    </a:lnT>
                    <a:lnB w="38100" cap="flat" cmpd="sng" algn="ctr">
                      <a:solidFill>
                        <a:srgbClr val="FFFFFF"/>
                      </a:solidFill>
                      <a:prstDash val="solid"/>
                    </a:lnB>
                    <a:solidFill>
                      <a:srgbClr val="878E8B">
                        <a:alpha val="30196"/>
                      </a:srgbClr>
                    </a:solidFill>
                  </a:tcPr>
                </a:tc>
                <a:tc>
                  <a:txBody>
                    <a:bodyPr/>
                    <a:lstStyle/>
                    <a:p>
                      <a:r>
                        <a:rPr lang="en-US" sz="1800" cap="none" spc="0">
                          <a:solidFill>
                            <a:schemeClr val="tx1">
                              <a:lumMod val="85000"/>
                              <a:lumOff val="15000"/>
                            </a:schemeClr>
                          </a:solidFill>
                        </a:rPr>
                        <a:t>0.9635</a:t>
                      </a:r>
                    </a:p>
                  </a:txBody>
                  <a:tcPr marL="250389" marR="150234" marT="150234" marB="150234">
                    <a:lnL w="38100" cap="flat" cmpd="sng" algn="ctr">
                      <a:solidFill>
                        <a:srgbClr val="FFFFFF"/>
                      </a:solidFill>
                      <a:prstDash val="solid"/>
                    </a:lnL>
                    <a:lnR w="38100" cap="flat" cmpd="sng" algn="ctr">
                      <a:solidFill>
                        <a:srgbClr val="FFFFFF"/>
                      </a:solidFill>
                      <a:prstDash val="solid"/>
                    </a:lnR>
                    <a:lnT w="38100" cap="flat" cmpd="sng" algn="ctr">
                      <a:solidFill>
                        <a:srgbClr val="FFFFFF"/>
                      </a:solidFill>
                      <a:prstDash val="solid"/>
                    </a:lnT>
                    <a:lnB w="38100" cap="flat" cmpd="sng" algn="ctr">
                      <a:solidFill>
                        <a:srgbClr val="FFFFFF"/>
                      </a:solidFill>
                      <a:prstDash val="solid"/>
                    </a:lnB>
                    <a:solidFill>
                      <a:srgbClr val="878E8B">
                        <a:alpha val="30196"/>
                      </a:srgbClr>
                    </a:solidFill>
                  </a:tcPr>
                </a:tc>
                <a:tc>
                  <a:txBody>
                    <a:bodyPr/>
                    <a:lstStyle/>
                    <a:p>
                      <a:r>
                        <a:rPr lang="en-US" sz="1800" cap="none" spc="0">
                          <a:solidFill>
                            <a:schemeClr val="tx1">
                              <a:lumMod val="85000"/>
                              <a:lumOff val="15000"/>
                            </a:schemeClr>
                          </a:solidFill>
                        </a:rPr>
                        <a:t>0.96549</a:t>
                      </a:r>
                    </a:p>
                  </a:txBody>
                  <a:tcPr marL="250389" marR="150234" marT="150234" marB="150234">
                    <a:lnL w="38100" cap="flat" cmpd="sng" algn="ctr">
                      <a:solidFill>
                        <a:srgbClr val="FFFFFF"/>
                      </a:solidFill>
                      <a:prstDash val="solid"/>
                    </a:lnL>
                    <a:lnR w="38100" cap="flat" cmpd="sng" algn="ctr">
                      <a:solidFill>
                        <a:srgbClr val="FFFFFF"/>
                      </a:solidFill>
                      <a:prstDash val="solid"/>
                    </a:lnR>
                    <a:lnT w="38100" cap="flat" cmpd="sng" algn="ctr">
                      <a:solidFill>
                        <a:srgbClr val="FFFFFF"/>
                      </a:solidFill>
                      <a:prstDash val="solid"/>
                    </a:lnT>
                    <a:lnB w="38100" cap="flat" cmpd="sng" algn="ctr">
                      <a:solidFill>
                        <a:srgbClr val="FFFFFF"/>
                      </a:solidFill>
                      <a:prstDash val="solid"/>
                    </a:lnB>
                    <a:solidFill>
                      <a:srgbClr val="878E8B">
                        <a:alpha val="30196"/>
                      </a:srgbClr>
                    </a:solidFill>
                  </a:tcPr>
                </a:tc>
                <a:tc>
                  <a:txBody>
                    <a:bodyPr/>
                    <a:lstStyle/>
                    <a:p>
                      <a:r>
                        <a:rPr lang="en-US" sz="1800" cap="none" spc="0">
                          <a:solidFill>
                            <a:schemeClr val="tx1">
                              <a:lumMod val="85000"/>
                              <a:lumOff val="15000"/>
                            </a:schemeClr>
                          </a:solidFill>
                        </a:rPr>
                        <a:t>0.98843</a:t>
                      </a:r>
                    </a:p>
                  </a:txBody>
                  <a:tcPr marL="250389" marR="150234" marT="150234" marB="150234">
                    <a:lnL w="38100" cap="flat" cmpd="sng" algn="ctr">
                      <a:solidFill>
                        <a:srgbClr val="FFFFFF"/>
                      </a:solidFill>
                      <a:prstDash val="solid"/>
                    </a:lnL>
                    <a:lnR w="38100" cap="flat" cmpd="sng" algn="ctr">
                      <a:solidFill>
                        <a:srgbClr val="FFFFFF"/>
                      </a:solidFill>
                      <a:prstDash val="solid"/>
                    </a:lnR>
                    <a:lnT w="38100" cap="flat" cmpd="sng" algn="ctr">
                      <a:solidFill>
                        <a:srgbClr val="FFFFFF"/>
                      </a:solidFill>
                      <a:prstDash val="solid"/>
                    </a:lnT>
                    <a:lnB w="38100" cap="flat" cmpd="sng" algn="ctr">
                      <a:solidFill>
                        <a:srgbClr val="FFFFFF"/>
                      </a:solidFill>
                      <a:prstDash val="solid"/>
                    </a:lnB>
                    <a:solidFill>
                      <a:srgbClr val="878E8B">
                        <a:alpha val="30196"/>
                      </a:srgbClr>
                    </a:solidFill>
                  </a:tcPr>
                </a:tc>
                <a:tc>
                  <a:txBody>
                    <a:bodyPr/>
                    <a:lstStyle/>
                    <a:p>
                      <a:r>
                        <a:rPr lang="en-US" sz="1800" cap="none" spc="0">
                          <a:solidFill>
                            <a:schemeClr val="tx1">
                              <a:lumMod val="85000"/>
                              <a:lumOff val="15000"/>
                            </a:schemeClr>
                          </a:solidFill>
                        </a:rPr>
                        <a:t>0.96390</a:t>
                      </a:r>
                    </a:p>
                  </a:txBody>
                  <a:tcPr marL="250389" marR="150234" marT="150234" marB="150234">
                    <a:lnL w="38100" cap="flat" cmpd="sng" algn="ctr">
                      <a:solidFill>
                        <a:srgbClr val="FFFFFF"/>
                      </a:solidFill>
                      <a:prstDash val="solid"/>
                    </a:lnL>
                    <a:lnR w="38100" cap="flat" cmpd="sng" algn="ctr">
                      <a:solidFill>
                        <a:srgbClr val="FFFFFF"/>
                      </a:solidFill>
                      <a:prstDash val="solid"/>
                    </a:lnR>
                    <a:lnT w="38100" cap="flat" cmpd="sng" algn="ctr">
                      <a:solidFill>
                        <a:srgbClr val="FFFFFF"/>
                      </a:solidFill>
                      <a:prstDash val="solid"/>
                    </a:lnT>
                    <a:lnB w="38100" cap="flat" cmpd="sng" algn="ctr">
                      <a:solidFill>
                        <a:srgbClr val="FFFFFF"/>
                      </a:solidFill>
                      <a:prstDash val="solid"/>
                    </a:lnB>
                    <a:solidFill>
                      <a:srgbClr val="878E8B">
                        <a:alpha val="30196"/>
                      </a:srgbClr>
                    </a:solidFill>
                  </a:tcPr>
                </a:tc>
                <a:tc>
                  <a:txBody>
                    <a:bodyPr/>
                    <a:lstStyle/>
                    <a:p>
                      <a:r>
                        <a:rPr lang="en-US" sz="1800" cap="none" spc="0">
                          <a:solidFill>
                            <a:schemeClr val="tx1">
                              <a:lumMod val="85000"/>
                              <a:lumOff val="15000"/>
                            </a:schemeClr>
                          </a:solidFill>
                        </a:rPr>
                        <a:t>0.6510</a:t>
                      </a:r>
                    </a:p>
                  </a:txBody>
                  <a:tcPr marL="250389" marR="150234" marT="150234" marB="150234">
                    <a:lnL w="38100" cap="flat" cmpd="sng" algn="ctr">
                      <a:solidFill>
                        <a:srgbClr val="FFFFFF"/>
                      </a:solidFill>
                      <a:prstDash val="solid"/>
                    </a:lnL>
                    <a:lnR w="12700" cmpd="sng">
                      <a:noFill/>
                      <a:prstDash val="solid"/>
                    </a:lnR>
                    <a:lnT w="38100" cap="flat" cmpd="sng" algn="ctr">
                      <a:solidFill>
                        <a:srgbClr val="FFFFFF"/>
                      </a:solidFill>
                      <a:prstDash val="solid"/>
                    </a:lnT>
                    <a:lnB w="38100" cap="flat" cmpd="sng" algn="ctr">
                      <a:solidFill>
                        <a:srgbClr val="FFFFFF"/>
                      </a:solidFill>
                      <a:prstDash val="solid"/>
                    </a:lnB>
                    <a:solidFill>
                      <a:srgbClr val="878E8B">
                        <a:alpha val="30196"/>
                      </a:srgbClr>
                    </a:solidFill>
                  </a:tcPr>
                </a:tc>
                <a:extLst>
                  <a:ext uri="{0D108BD9-81ED-4DB2-BD59-A6C34878D82A}">
                    <a16:rowId xmlns:a16="http://schemas.microsoft.com/office/drawing/2014/main" val="636529307"/>
                  </a:ext>
                </a:extLst>
              </a:tr>
              <a:tr h="607612">
                <a:tc>
                  <a:txBody>
                    <a:bodyPr/>
                    <a:lstStyle/>
                    <a:p>
                      <a:r>
                        <a:rPr lang="en-US" sz="1800" cap="none" spc="0">
                          <a:solidFill>
                            <a:schemeClr val="tx1">
                              <a:lumMod val="85000"/>
                              <a:lumOff val="15000"/>
                            </a:schemeClr>
                          </a:solidFill>
                        </a:rPr>
                        <a:t>Specificity </a:t>
                      </a:r>
                    </a:p>
                  </a:txBody>
                  <a:tcPr marL="250389" marR="150234" marT="150234" marB="150234">
                    <a:lnL w="38100" cap="flat" cmpd="sng" algn="ctr">
                      <a:noFill/>
                      <a:prstDash val="solid"/>
                    </a:lnL>
                    <a:lnR w="38100" cap="flat" cmpd="sng" algn="ctr">
                      <a:solidFill>
                        <a:srgbClr val="FFFFFF"/>
                      </a:solidFill>
                      <a:prstDash val="solid"/>
                    </a:lnR>
                    <a:lnT w="38100" cap="flat" cmpd="sng" algn="ctr">
                      <a:solidFill>
                        <a:srgbClr val="FFFFFF"/>
                      </a:solidFill>
                      <a:prstDash val="solid"/>
                    </a:lnT>
                    <a:lnB w="38100" cap="flat" cmpd="sng" algn="ctr">
                      <a:solidFill>
                        <a:srgbClr val="FFFFFF"/>
                      </a:solidFill>
                      <a:prstDash val="solid"/>
                      <a:round/>
                      <a:headEnd type="none" w="med" len="med"/>
                      <a:tailEnd type="none" w="med" len="med"/>
                    </a:lnB>
                    <a:solidFill>
                      <a:srgbClr val="878E8B">
                        <a:alpha val="14902"/>
                      </a:srgbClr>
                    </a:solidFill>
                  </a:tcPr>
                </a:tc>
                <a:tc>
                  <a:txBody>
                    <a:bodyPr/>
                    <a:lstStyle/>
                    <a:p>
                      <a:r>
                        <a:rPr lang="en-US" sz="1800" cap="none" spc="0">
                          <a:solidFill>
                            <a:schemeClr val="tx1">
                              <a:lumMod val="85000"/>
                              <a:lumOff val="15000"/>
                            </a:schemeClr>
                          </a:solidFill>
                        </a:rPr>
                        <a:t>0.1242</a:t>
                      </a:r>
                    </a:p>
                  </a:txBody>
                  <a:tcPr marL="250389" marR="150234" marT="150234" marB="150234">
                    <a:lnL w="38100" cap="flat" cmpd="sng" algn="ctr">
                      <a:solidFill>
                        <a:srgbClr val="FFFFFF"/>
                      </a:solidFill>
                      <a:prstDash val="solid"/>
                    </a:lnL>
                    <a:lnR w="38100" cap="flat" cmpd="sng" algn="ctr">
                      <a:solidFill>
                        <a:srgbClr val="FFFFFF"/>
                      </a:solidFill>
                      <a:prstDash val="solid"/>
                    </a:lnR>
                    <a:lnT w="38100" cap="flat" cmpd="sng" algn="ctr">
                      <a:solidFill>
                        <a:srgbClr val="FFFFFF"/>
                      </a:solidFill>
                      <a:prstDash val="solid"/>
                    </a:lnT>
                    <a:lnB w="38100" cap="flat" cmpd="sng" algn="ctr">
                      <a:solidFill>
                        <a:srgbClr val="FFFFFF"/>
                      </a:solidFill>
                      <a:prstDash val="solid"/>
                      <a:round/>
                      <a:headEnd type="none" w="med" len="med"/>
                      <a:tailEnd type="none" w="med" len="med"/>
                    </a:lnB>
                    <a:solidFill>
                      <a:srgbClr val="878E8B">
                        <a:alpha val="14902"/>
                      </a:srgbClr>
                    </a:solidFill>
                  </a:tcPr>
                </a:tc>
                <a:tc>
                  <a:txBody>
                    <a:bodyPr/>
                    <a:lstStyle/>
                    <a:p>
                      <a:r>
                        <a:rPr lang="en-US" sz="1800" cap="none" spc="0">
                          <a:solidFill>
                            <a:schemeClr val="tx1">
                              <a:lumMod val="85000"/>
                              <a:lumOff val="15000"/>
                            </a:schemeClr>
                          </a:solidFill>
                        </a:rPr>
                        <a:t>0.09097</a:t>
                      </a:r>
                    </a:p>
                  </a:txBody>
                  <a:tcPr marL="250389" marR="150234" marT="150234" marB="150234">
                    <a:lnL w="38100" cap="flat" cmpd="sng" algn="ctr">
                      <a:solidFill>
                        <a:srgbClr val="FFFFFF"/>
                      </a:solidFill>
                      <a:prstDash val="solid"/>
                    </a:lnL>
                    <a:lnR w="38100" cap="flat" cmpd="sng" algn="ctr">
                      <a:solidFill>
                        <a:srgbClr val="FFFFFF"/>
                      </a:solidFill>
                      <a:prstDash val="solid"/>
                    </a:lnR>
                    <a:lnT w="38100" cap="flat" cmpd="sng" algn="ctr">
                      <a:solidFill>
                        <a:srgbClr val="FFFFFF"/>
                      </a:solidFill>
                      <a:prstDash val="solid"/>
                    </a:lnT>
                    <a:lnB w="38100" cap="flat" cmpd="sng" algn="ctr">
                      <a:solidFill>
                        <a:srgbClr val="FFFFFF"/>
                      </a:solidFill>
                      <a:prstDash val="solid"/>
                      <a:round/>
                      <a:headEnd type="none" w="med" len="med"/>
                      <a:tailEnd type="none" w="med" len="med"/>
                    </a:lnB>
                    <a:solidFill>
                      <a:srgbClr val="878E8B">
                        <a:alpha val="14902"/>
                      </a:srgbClr>
                    </a:solidFill>
                  </a:tcPr>
                </a:tc>
                <a:tc>
                  <a:txBody>
                    <a:bodyPr/>
                    <a:lstStyle/>
                    <a:p>
                      <a:r>
                        <a:rPr lang="en-US" sz="1800" cap="none" spc="0">
                          <a:solidFill>
                            <a:schemeClr val="tx1">
                              <a:lumMod val="85000"/>
                              <a:lumOff val="15000"/>
                            </a:schemeClr>
                          </a:solidFill>
                        </a:rPr>
                        <a:t>0.03904</a:t>
                      </a:r>
                    </a:p>
                  </a:txBody>
                  <a:tcPr marL="250389" marR="150234" marT="150234" marB="150234">
                    <a:lnL w="38100" cap="flat" cmpd="sng" algn="ctr">
                      <a:solidFill>
                        <a:srgbClr val="FFFFFF"/>
                      </a:solidFill>
                      <a:prstDash val="solid"/>
                    </a:lnL>
                    <a:lnR w="38100" cap="flat" cmpd="sng" algn="ctr">
                      <a:solidFill>
                        <a:srgbClr val="FFFFFF"/>
                      </a:solidFill>
                      <a:prstDash val="solid"/>
                    </a:lnR>
                    <a:lnT w="38100" cap="flat" cmpd="sng" algn="ctr">
                      <a:solidFill>
                        <a:srgbClr val="FFFFFF"/>
                      </a:solidFill>
                      <a:prstDash val="solid"/>
                    </a:lnT>
                    <a:lnB w="38100" cap="flat" cmpd="sng" algn="ctr">
                      <a:solidFill>
                        <a:srgbClr val="FFFFFF"/>
                      </a:solidFill>
                      <a:prstDash val="solid"/>
                      <a:round/>
                      <a:headEnd type="none" w="med" len="med"/>
                      <a:tailEnd type="none" w="med" len="med"/>
                    </a:lnB>
                    <a:solidFill>
                      <a:srgbClr val="878E8B">
                        <a:alpha val="14902"/>
                      </a:srgbClr>
                    </a:solidFill>
                  </a:tcPr>
                </a:tc>
                <a:tc>
                  <a:txBody>
                    <a:bodyPr/>
                    <a:lstStyle/>
                    <a:p>
                      <a:r>
                        <a:rPr lang="en-US" sz="1800" cap="none" spc="0">
                          <a:solidFill>
                            <a:schemeClr val="tx1">
                              <a:lumMod val="85000"/>
                              <a:lumOff val="15000"/>
                            </a:schemeClr>
                          </a:solidFill>
                        </a:rPr>
                        <a:t>0.05327</a:t>
                      </a:r>
                    </a:p>
                  </a:txBody>
                  <a:tcPr marL="250389" marR="150234" marT="150234" marB="150234">
                    <a:lnL w="38100" cap="flat" cmpd="sng" algn="ctr">
                      <a:solidFill>
                        <a:srgbClr val="FFFFFF"/>
                      </a:solidFill>
                      <a:prstDash val="solid"/>
                    </a:lnL>
                    <a:lnR w="38100" cap="flat" cmpd="sng" algn="ctr">
                      <a:solidFill>
                        <a:srgbClr val="FFFFFF"/>
                      </a:solidFill>
                      <a:prstDash val="solid"/>
                    </a:lnR>
                    <a:lnT w="38100" cap="flat" cmpd="sng" algn="ctr">
                      <a:solidFill>
                        <a:srgbClr val="FFFFFF"/>
                      </a:solidFill>
                      <a:prstDash val="solid"/>
                    </a:lnT>
                    <a:lnB w="38100" cap="flat" cmpd="sng" algn="ctr">
                      <a:solidFill>
                        <a:srgbClr val="FFFFFF"/>
                      </a:solidFill>
                      <a:prstDash val="solid"/>
                      <a:round/>
                      <a:headEnd type="none" w="med" len="med"/>
                      <a:tailEnd type="none" w="med" len="med"/>
                    </a:lnB>
                    <a:solidFill>
                      <a:srgbClr val="878E8B">
                        <a:alpha val="14902"/>
                      </a:srgbClr>
                    </a:solidFill>
                  </a:tcPr>
                </a:tc>
                <a:tc>
                  <a:txBody>
                    <a:bodyPr/>
                    <a:lstStyle/>
                    <a:p>
                      <a:r>
                        <a:rPr lang="en-US" sz="1800" cap="none" spc="0">
                          <a:solidFill>
                            <a:schemeClr val="tx1">
                              <a:lumMod val="85000"/>
                              <a:lumOff val="15000"/>
                            </a:schemeClr>
                          </a:solidFill>
                        </a:rPr>
                        <a:t>0.4598</a:t>
                      </a:r>
                    </a:p>
                  </a:txBody>
                  <a:tcPr marL="250389" marR="150234" marT="150234" marB="150234">
                    <a:lnL w="38100" cap="flat" cmpd="sng" algn="ctr">
                      <a:solidFill>
                        <a:srgbClr val="FFFFFF"/>
                      </a:solidFill>
                      <a:prstDash val="solid"/>
                    </a:lnL>
                    <a:lnR w="38100" cap="flat" cmpd="sng" algn="ctr">
                      <a:noFill/>
                      <a:prstDash val="solid"/>
                    </a:lnR>
                    <a:lnT w="38100" cap="flat" cmpd="sng" algn="ctr">
                      <a:solidFill>
                        <a:srgbClr val="FFFFFF"/>
                      </a:solidFill>
                      <a:prstDash val="solid"/>
                    </a:lnT>
                    <a:lnB w="38100" cap="flat" cmpd="sng" algn="ctr">
                      <a:solidFill>
                        <a:srgbClr val="FFFFFF"/>
                      </a:solidFill>
                      <a:prstDash val="solid"/>
                      <a:round/>
                      <a:headEnd type="none" w="med" len="med"/>
                      <a:tailEnd type="none" w="med" len="med"/>
                    </a:lnB>
                    <a:solidFill>
                      <a:srgbClr val="878E8B">
                        <a:alpha val="14902"/>
                      </a:srgbClr>
                    </a:solidFill>
                  </a:tcPr>
                </a:tc>
                <a:extLst>
                  <a:ext uri="{0D108BD9-81ED-4DB2-BD59-A6C34878D82A}">
                    <a16:rowId xmlns:a16="http://schemas.microsoft.com/office/drawing/2014/main" val="2340427661"/>
                  </a:ext>
                </a:extLst>
              </a:tr>
            </a:tbl>
          </a:graphicData>
        </a:graphic>
      </p:graphicFrame>
      <p:sp>
        <p:nvSpPr>
          <p:cNvPr id="2" name="Title 1">
            <a:extLst>
              <a:ext uri="{FF2B5EF4-FFF2-40B4-BE49-F238E27FC236}">
                <a16:creationId xmlns:a16="http://schemas.microsoft.com/office/drawing/2014/main" id="{9518597F-DD1B-D863-5A64-143AA4D7DC31}"/>
              </a:ext>
            </a:extLst>
          </p:cNvPr>
          <p:cNvSpPr>
            <a:spLocks noGrp="1"/>
          </p:cNvSpPr>
          <p:nvPr>
            <p:ph type="title"/>
          </p:nvPr>
        </p:nvSpPr>
        <p:spPr>
          <a:xfrm>
            <a:off x="569890" y="576220"/>
            <a:ext cx="10869769" cy="1325563"/>
          </a:xfrm>
        </p:spPr>
        <p:txBody>
          <a:bodyPr>
            <a:normAutofit/>
          </a:bodyPr>
          <a:lstStyle/>
          <a:p>
            <a:r>
              <a:rPr lang="en-US">
                <a:solidFill>
                  <a:srgbClr val="0070C0"/>
                </a:solidFill>
              </a:rPr>
              <a:t>Evaluating the Performance of different Models</a:t>
            </a:r>
          </a:p>
        </p:txBody>
      </p:sp>
    </p:spTree>
    <p:extLst>
      <p:ext uri="{BB962C8B-B14F-4D97-AF65-F5344CB8AC3E}">
        <p14:creationId xmlns:p14="http://schemas.microsoft.com/office/powerpoint/2010/main" val="17114911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BBC0C-0F5A-B9BC-D526-2854A577FA9F}"/>
              </a:ext>
            </a:extLst>
          </p:cNvPr>
          <p:cNvSpPr>
            <a:spLocks noGrp="1"/>
          </p:cNvSpPr>
          <p:nvPr>
            <p:ph type="title"/>
          </p:nvPr>
        </p:nvSpPr>
        <p:spPr/>
        <p:txBody>
          <a:bodyPr/>
          <a:lstStyle/>
          <a:p>
            <a:pPr algn="ctr"/>
            <a:r>
              <a:rPr lang="en-US">
                <a:solidFill>
                  <a:srgbClr val="0070C0"/>
                </a:solidFill>
              </a:rPr>
              <a:t>COST BASED CLASSIFICATION : RANDOM FOREST</a:t>
            </a:r>
          </a:p>
        </p:txBody>
      </p:sp>
      <p:sp>
        <p:nvSpPr>
          <p:cNvPr id="7" name="Content Placeholder 6">
            <a:extLst>
              <a:ext uri="{FF2B5EF4-FFF2-40B4-BE49-F238E27FC236}">
                <a16:creationId xmlns:a16="http://schemas.microsoft.com/office/drawing/2014/main" id="{0AE90F29-099F-F1D8-2382-84FC0ABB797A}"/>
              </a:ext>
            </a:extLst>
          </p:cNvPr>
          <p:cNvSpPr>
            <a:spLocks noGrp="1"/>
          </p:cNvSpPr>
          <p:nvPr>
            <p:ph idx="1"/>
          </p:nvPr>
        </p:nvSpPr>
        <p:spPr/>
        <p:txBody>
          <a:bodyPr vert="horz" lIns="91440" tIns="45720" rIns="91440" bIns="45720" rtlCol="0" anchor="t">
            <a:normAutofit/>
          </a:bodyPr>
          <a:lstStyle/>
          <a:p>
            <a:pPr marL="584835" lvl="1" indent="-457200"/>
            <a:r>
              <a:rPr lang="en-US" sz="2800"/>
              <a:t>Promotional Cost for one customer: 46 ; Revenue Loss if customer churns : 500</a:t>
            </a:r>
            <a:endParaRPr lang="en-US">
              <a:ea typeface="Calibri" panose="020F0502020204030204"/>
              <a:cs typeface="Calibri" panose="020F0502020204030204"/>
            </a:endParaRPr>
          </a:p>
          <a:p>
            <a:pPr marL="127635" lvl="1" indent="0">
              <a:buNone/>
            </a:pPr>
            <a:endParaRPr lang="en-US">
              <a:ea typeface="Calibri" panose="020F0502020204030204"/>
              <a:cs typeface="Calibri" panose="020F0502020204030204"/>
            </a:endParaRPr>
          </a:p>
          <a:p>
            <a:pPr marL="0" indent="0" algn="l" rtl="0" eaLnBrk="1" fontAlgn="t" latinLnBrk="0" hangingPunct="1">
              <a:spcBef>
                <a:spcPts val="0"/>
              </a:spcBef>
              <a:spcAft>
                <a:spcPts val="0"/>
              </a:spcAft>
              <a:buNone/>
            </a:pPr>
            <a:endParaRPr lang="en-US" sz="1800" b="0" i="0" u="none" strike="noStrike">
              <a:effectLst/>
              <a:latin typeface="Arial" panose="020B0604020202020204" pitchFamily="34" charset="0"/>
            </a:endParaRPr>
          </a:p>
          <a:p>
            <a:pPr marL="0" indent="0" algn="l" rtl="0" eaLnBrk="1" fontAlgn="t" latinLnBrk="0" hangingPunct="1">
              <a:spcBef>
                <a:spcPts val="0"/>
              </a:spcBef>
              <a:spcAft>
                <a:spcPts val="0"/>
              </a:spcAft>
              <a:buNone/>
            </a:pPr>
            <a:endParaRPr lang="en-US" sz="1800">
              <a:latin typeface="Arial" panose="020B0604020202020204" pitchFamily="34" charset="0"/>
            </a:endParaRPr>
          </a:p>
          <a:p>
            <a:pPr marL="0" indent="0" algn="l" rtl="0" eaLnBrk="1" fontAlgn="t" latinLnBrk="0" hangingPunct="1">
              <a:spcBef>
                <a:spcPts val="0"/>
              </a:spcBef>
              <a:spcAft>
                <a:spcPts val="0"/>
              </a:spcAft>
              <a:buNone/>
            </a:pPr>
            <a:endParaRPr lang="en-US" sz="1800" b="0" i="0" u="none" strike="noStrike">
              <a:effectLst/>
              <a:latin typeface="Arial" panose="020B0604020202020204" pitchFamily="34" charset="0"/>
            </a:endParaRPr>
          </a:p>
          <a:p>
            <a:pPr marL="0" indent="0" algn="l" rtl="0" eaLnBrk="1" fontAlgn="t" latinLnBrk="0" hangingPunct="1">
              <a:spcBef>
                <a:spcPts val="0"/>
              </a:spcBef>
              <a:spcAft>
                <a:spcPts val="0"/>
              </a:spcAft>
              <a:buNone/>
            </a:pPr>
            <a:endParaRPr lang="en-US" sz="1800">
              <a:latin typeface="Arial" panose="020B0604020202020204" pitchFamily="34" charset="0"/>
            </a:endParaRPr>
          </a:p>
          <a:p>
            <a:pPr marL="0" indent="0" algn="l" rtl="0" eaLnBrk="1" fontAlgn="t" latinLnBrk="0" hangingPunct="1">
              <a:spcBef>
                <a:spcPts val="0"/>
              </a:spcBef>
              <a:spcAft>
                <a:spcPts val="0"/>
              </a:spcAft>
              <a:buNone/>
            </a:pPr>
            <a:endParaRPr lang="en-US" sz="1800" b="0" i="0" u="none" strike="noStrike">
              <a:effectLst/>
              <a:latin typeface="Arial" panose="020B0604020202020204" pitchFamily="34" charset="0"/>
            </a:endParaRPr>
          </a:p>
          <a:p>
            <a:pPr marL="0" indent="0" algn="l" rtl="0" eaLnBrk="1" fontAlgn="t" latinLnBrk="0" hangingPunct="1">
              <a:spcBef>
                <a:spcPts val="0"/>
              </a:spcBef>
              <a:spcAft>
                <a:spcPts val="0"/>
              </a:spcAft>
              <a:buNone/>
            </a:pPr>
            <a:endParaRPr lang="en-US" sz="1800">
              <a:latin typeface="Arial" panose="020B0604020202020204" pitchFamily="34" charset="0"/>
            </a:endParaRPr>
          </a:p>
          <a:p>
            <a:pPr marL="0" indent="0" algn="l" rtl="0" eaLnBrk="1" fontAlgn="t" latinLnBrk="0" hangingPunct="1">
              <a:spcBef>
                <a:spcPts val="0"/>
              </a:spcBef>
              <a:spcAft>
                <a:spcPts val="0"/>
              </a:spcAft>
              <a:buNone/>
            </a:pPr>
            <a:endParaRPr lang="en-US" sz="1800" b="0" i="0" u="none" strike="noStrike">
              <a:effectLst/>
              <a:latin typeface="Arial" panose="020B0604020202020204" pitchFamily="34" charset="0"/>
            </a:endParaRPr>
          </a:p>
          <a:p>
            <a:pPr fontAlgn="t">
              <a:spcBef>
                <a:spcPts val="0"/>
              </a:spcBef>
            </a:pPr>
            <a:r>
              <a:rPr lang="en-US">
                <a:latin typeface="Arial"/>
                <a:ea typeface="Calibri"/>
                <a:cs typeface="Arial"/>
              </a:rPr>
              <a:t>  </a:t>
            </a:r>
            <a:r>
              <a:rPr lang="en-US">
                <a:ea typeface="+mn-lt"/>
                <a:cs typeface="+mn-lt"/>
              </a:rPr>
              <a:t>Cost : (46 * 533) + (500 * 5093) = $ 2571018</a:t>
            </a:r>
            <a:endParaRPr lang="en-US">
              <a:ea typeface="Calibri"/>
              <a:cs typeface="Calibri"/>
            </a:endParaRPr>
          </a:p>
        </p:txBody>
      </p:sp>
      <p:pic>
        <p:nvPicPr>
          <p:cNvPr id="9" name="Picture 8">
            <a:extLst>
              <a:ext uri="{FF2B5EF4-FFF2-40B4-BE49-F238E27FC236}">
                <a16:creationId xmlns:a16="http://schemas.microsoft.com/office/drawing/2014/main" id="{C849AE7A-6178-D4F4-975F-4828C2B32232}"/>
              </a:ext>
            </a:extLst>
          </p:cNvPr>
          <p:cNvPicPr>
            <a:picLocks noChangeAspect="1"/>
          </p:cNvPicPr>
          <p:nvPr/>
        </p:nvPicPr>
        <p:blipFill>
          <a:blip r:embed="rId2"/>
          <a:stretch>
            <a:fillRect/>
          </a:stretch>
        </p:blipFill>
        <p:spPr>
          <a:xfrm>
            <a:off x="1048695" y="2736485"/>
            <a:ext cx="6078239" cy="1603387"/>
          </a:xfrm>
          <a:prstGeom prst="rect">
            <a:avLst/>
          </a:prstGeom>
        </p:spPr>
      </p:pic>
    </p:spTree>
    <p:extLst>
      <p:ext uri="{BB962C8B-B14F-4D97-AF65-F5344CB8AC3E}">
        <p14:creationId xmlns:p14="http://schemas.microsoft.com/office/powerpoint/2010/main" val="36935374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75FD44-5184-AF0C-3AEB-51470C1D1252}"/>
              </a:ext>
            </a:extLst>
          </p:cNvPr>
          <p:cNvSpPr>
            <a:spLocks noGrp="1"/>
          </p:cNvSpPr>
          <p:nvPr>
            <p:ph type="title"/>
          </p:nvPr>
        </p:nvSpPr>
        <p:spPr/>
        <p:txBody>
          <a:bodyPr/>
          <a:lstStyle/>
          <a:p>
            <a:pPr algn="ctr"/>
            <a:r>
              <a:rPr lang="en-US">
                <a:solidFill>
                  <a:srgbClr val="0070C0"/>
                </a:solidFill>
              </a:rPr>
              <a:t>COST BASED CLASSIFICATION : DECISION TREE 10 VARIABLES</a:t>
            </a:r>
          </a:p>
        </p:txBody>
      </p:sp>
      <p:sp>
        <p:nvSpPr>
          <p:cNvPr id="3" name="Content Placeholder 2">
            <a:extLst>
              <a:ext uri="{FF2B5EF4-FFF2-40B4-BE49-F238E27FC236}">
                <a16:creationId xmlns:a16="http://schemas.microsoft.com/office/drawing/2014/main" id="{0931B272-2607-AC46-0B16-4AE392084A36}"/>
              </a:ext>
            </a:extLst>
          </p:cNvPr>
          <p:cNvSpPr>
            <a:spLocks noGrp="1"/>
          </p:cNvSpPr>
          <p:nvPr>
            <p:ph idx="1"/>
          </p:nvPr>
        </p:nvSpPr>
        <p:spPr/>
        <p:txBody>
          <a:bodyPr vert="horz" lIns="91440" tIns="45720" rIns="91440" bIns="45720" rtlCol="0" anchor="t">
            <a:normAutofit/>
          </a:bodyPr>
          <a:lstStyle/>
          <a:p>
            <a:r>
              <a:rPr lang="en-US"/>
              <a:t>Promotional Cost for one customer: 46 ; Revenue Loss if customer churns : 500</a:t>
            </a:r>
          </a:p>
          <a:p>
            <a:endParaRPr lang="en-US"/>
          </a:p>
          <a:p>
            <a:endParaRPr lang="en-US"/>
          </a:p>
          <a:p>
            <a:endParaRPr lang="en-US"/>
          </a:p>
          <a:p>
            <a:endParaRPr lang="en-US"/>
          </a:p>
          <a:p>
            <a:r>
              <a:rPr lang="en-US"/>
              <a:t>Cost : (46 * 504) + (500 * 5286) = </a:t>
            </a:r>
            <a:r>
              <a:rPr lang="en-US" b="1">
                <a:ea typeface="+mn-lt"/>
                <a:cs typeface="+mn-lt"/>
              </a:rPr>
              <a:t>$</a:t>
            </a:r>
            <a:r>
              <a:rPr lang="en-US" b="1"/>
              <a:t> </a:t>
            </a:r>
            <a:r>
              <a:rPr lang="en-US"/>
              <a:t>2666184</a:t>
            </a:r>
            <a:endParaRPr lang="en-US">
              <a:ea typeface="Calibri"/>
              <a:cs typeface="Calibri"/>
            </a:endParaRPr>
          </a:p>
          <a:p>
            <a:endParaRPr lang="en-US"/>
          </a:p>
        </p:txBody>
      </p:sp>
      <p:pic>
        <p:nvPicPr>
          <p:cNvPr id="5" name="Picture 4">
            <a:extLst>
              <a:ext uri="{FF2B5EF4-FFF2-40B4-BE49-F238E27FC236}">
                <a16:creationId xmlns:a16="http://schemas.microsoft.com/office/drawing/2014/main" id="{3E395838-A81C-9658-8A74-006E020A403E}"/>
              </a:ext>
            </a:extLst>
          </p:cNvPr>
          <p:cNvPicPr>
            <a:picLocks noChangeAspect="1"/>
          </p:cNvPicPr>
          <p:nvPr/>
        </p:nvPicPr>
        <p:blipFill>
          <a:blip r:embed="rId2"/>
          <a:stretch>
            <a:fillRect/>
          </a:stretch>
        </p:blipFill>
        <p:spPr>
          <a:xfrm>
            <a:off x="1157478" y="3043358"/>
            <a:ext cx="6114818" cy="1609483"/>
          </a:xfrm>
          <a:prstGeom prst="rect">
            <a:avLst/>
          </a:prstGeom>
        </p:spPr>
      </p:pic>
    </p:spTree>
    <p:extLst>
      <p:ext uri="{BB962C8B-B14F-4D97-AF65-F5344CB8AC3E}">
        <p14:creationId xmlns:p14="http://schemas.microsoft.com/office/powerpoint/2010/main" val="37623389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8E0CB2-C073-163B-B1D5-BF49AC7E9851}"/>
              </a:ext>
            </a:extLst>
          </p:cNvPr>
          <p:cNvSpPr>
            <a:spLocks noGrp="1"/>
          </p:cNvSpPr>
          <p:nvPr>
            <p:ph type="title"/>
          </p:nvPr>
        </p:nvSpPr>
        <p:spPr/>
        <p:txBody>
          <a:bodyPr/>
          <a:lstStyle/>
          <a:p>
            <a:pPr algn="ctr"/>
            <a:r>
              <a:rPr lang="en-US">
                <a:solidFill>
                  <a:srgbClr val="0070C0"/>
                </a:solidFill>
              </a:rPr>
              <a:t>COST BASED CLASSIFICATION : DECISION TREE 15 VARIABLES</a:t>
            </a:r>
            <a:endParaRPr lang="en-US">
              <a:solidFill>
                <a:srgbClr val="0070C0"/>
              </a:solidFill>
              <a:cs typeface="Calibri Light"/>
            </a:endParaRPr>
          </a:p>
        </p:txBody>
      </p:sp>
      <p:sp>
        <p:nvSpPr>
          <p:cNvPr id="3" name="Content Placeholder 2">
            <a:extLst>
              <a:ext uri="{FF2B5EF4-FFF2-40B4-BE49-F238E27FC236}">
                <a16:creationId xmlns:a16="http://schemas.microsoft.com/office/drawing/2014/main" id="{0098DCE9-CD53-080D-FF52-385571DADCCB}"/>
              </a:ext>
            </a:extLst>
          </p:cNvPr>
          <p:cNvSpPr>
            <a:spLocks noGrp="1"/>
          </p:cNvSpPr>
          <p:nvPr>
            <p:ph idx="1"/>
          </p:nvPr>
        </p:nvSpPr>
        <p:spPr/>
        <p:txBody>
          <a:bodyPr vert="horz" lIns="91440" tIns="45720" rIns="91440" bIns="45720" rtlCol="0" anchor="t">
            <a:normAutofit/>
          </a:bodyPr>
          <a:lstStyle/>
          <a:p>
            <a:r>
              <a:rPr lang="en-US"/>
              <a:t>Promotional Cost for one customer: 46 ; Revenue Loss if customer churns : 500</a:t>
            </a:r>
          </a:p>
          <a:p>
            <a:endParaRPr lang="en-US"/>
          </a:p>
          <a:p>
            <a:endParaRPr lang="en-US"/>
          </a:p>
          <a:p>
            <a:endParaRPr lang="en-US"/>
          </a:p>
          <a:p>
            <a:endParaRPr lang="en-US"/>
          </a:p>
          <a:p>
            <a:r>
              <a:rPr lang="en-US"/>
              <a:t>Cost : (46 * 169) + (500 * 5588) = </a:t>
            </a:r>
            <a:r>
              <a:rPr lang="en-US" b="1">
                <a:ea typeface="+mn-lt"/>
                <a:cs typeface="+mn-lt"/>
              </a:rPr>
              <a:t>$</a:t>
            </a:r>
            <a:r>
              <a:rPr lang="en-US" b="1"/>
              <a:t> </a:t>
            </a:r>
            <a:r>
              <a:rPr lang="en-US"/>
              <a:t>2801774</a:t>
            </a:r>
            <a:endParaRPr lang="en-US">
              <a:ea typeface="Calibri"/>
              <a:cs typeface="Calibri"/>
            </a:endParaRPr>
          </a:p>
          <a:p>
            <a:endParaRPr lang="en-US"/>
          </a:p>
        </p:txBody>
      </p:sp>
      <p:pic>
        <p:nvPicPr>
          <p:cNvPr id="5" name="Picture 4">
            <a:extLst>
              <a:ext uri="{FF2B5EF4-FFF2-40B4-BE49-F238E27FC236}">
                <a16:creationId xmlns:a16="http://schemas.microsoft.com/office/drawing/2014/main" id="{A1ED04D9-12A7-AE36-07DC-792AA7C4ABF3}"/>
              </a:ext>
            </a:extLst>
          </p:cNvPr>
          <p:cNvPicPr>
            <a:picLocks noChangeAspect="1"/>
          </p:cNvPicPr>
          <p:nvPr/>
        </p:nvPicPr>
        <p:blipFill>
          <a:blip r:embed="rId2"/>
          <a:stretch>
            <a:fillRect/>
          </a:stretch>
        </p:blipFill>
        <p:spPr>
          <a:xfrm>
            <a:off x="1138428" y="2829531"/>
            <a:ext cx="6114818" cy="1609483"/>
          </a:xfrm>
          <a:prstGeom prst="rect">
            <a:avLst/>
          </a:prstGeom>
        </p:spPr>
      </p:pic>
    </p:spTree>
    <p:extLst>
      <p:ext uri="{BB962C8B-B14F-4D97-AF65-F5344CB8AC3E}">
        <p14:creationId xmlns:p14="http://schemas.microsoft.com/office/powerpoint/2010/main" val="14969133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A2331-742A-C9D0-B568-F24EC3C5D8C8}"/>
              </a:ext>
            </a:extLst>
          </p:cNvPr>
          <p:cNvSpPr>
            <a:spLocks noGrp="1"/>
          </p:cNvSpPr>
          <p:nvPr>
            <p:ph type="title"/>
          </p:nvPr>
        </p:nvSpPr>
        <p:spPr/>
        <p:txBody>
          <a:bodyPr/>
          <a:lstStyle/>
          <a:p>
            <a:pPr algn="ctr"/>
            <a:r>
              <a:rPr lang="en-US">
                <a:solidFill>
                  <a:srgbClr val="0070C0"/>
                </a:solidFill>
              </a:rPr>
              <a:t>COST BASED CLASSIFICATION : LOGISTIC REGRESSION 0.4</a:t>
            </a:r>
            <a:endParaRPr lang="en-US">
              <a:solidFill>
                <a:srgbClr val="0070C0"/>
              </a:solidFill>
              <a:cs typeface="Calibri Light"/>
            </a:endParaRPr>
          </a:p>
        </p:txBody>
      </p:sp>
      <p:sp>
        <p:nvSpPr>
          <p:cNvPr id="3" name="Content Placeholder 2">
            <a:extLst>
              <a:ext uri="{FF2B5EF4-FFF2-40B4-BE49-F238E27FC236}">
                <a16:creationId xmlns:a16="http://schemas.microsoft.com/office/drawing/2014/main" id="{6D35872C-313D-2B76-ED7D-9E9CD9E44F10}"/>
              </a:ext>
            </a:extLst>
          </p:cNvPr>
          <p:cNvSpPr>
            <a:spLocks noGrp="1"/>
          </p:cNvSpPr>
          <p:nvPr>
            <p:ph idx="1"/>
          </p:nvPr>
        </p:nvSpPr>
        <p:spPr/>
        <p:txBody>
          <a:bodyPr vert="horz" lIns="91440" tIns="45720" rIns="91440" bIns="45720" rtlCol="0" anchor="t">
            <a:normAutofit/>
          </a:bodyPr>
          <a:lstStyle/>
          <a:p>
            <a:r>
              <a:rPr lang="en-US"/>
              <a:t>Promotional Cost for one customer: 46 ; Revenue Loss if customer churns : 500</a:t>
            </a:r>
          </a:p>
          <a:p>
            <a:endParaRPr lang="en-US"/>
          </a:p>
          <a:p>
            <a:endParaRPr lang="en-US"/>
          </a:p>
          <a:p>
            <a:endParaRPr lang="en-US"/>
          </a:p>
          <a:p>
            <a:endParaRPr lang="en-US"/>
          </a:p>
          <a:p>
            <a:r>
              <a:rPr lang="en-US"/>
              <a:t>Cost : (46 * 393) + (500 * 4194) = </a:t>
            </a:r>
            <a:r>
              <a:rPr lang="en-US" b="1">
                <a:ea typeface="+mn-lt"/>
                <a:cs typeface="+mn-lt"/>
              </a:rPr>
              <a:t>$</a:t>
            </a:r>
            <a:r>
              <a:rPr lang="en-US" b="1"/>
              <a:t> </a:t>
            </a:r>
            <a:r>
              <a:rPr lang="en-US"/>
              <a:t>2115078</a:t>
            </a:r>
            <a:endParaRPr lang="en-US">
              <a:ea typeface="Calibri"/>
              <a:cs typeface="Calibri"/>
            </a:endParaRPr>
          </a:p>
        </p:txBody>
      </p:sp>
      <p:pic>
        <p:nvPicPr>
          <p:cNvPr id="5" name="Picture 4">
            <a:extLst>
              <a:ext uri="{FF2B5EF4-FFF2-40B4-BE49-F238E27FC236}">
                <a16:creationId xmlns:a16="http://schemas.microsoft.com/office/drawing/2014/main" id="{AA4B9329-383F-0020-5579-F9D7202B13C2}"/>
              </a:ext>
            </a:extLst>
          </p:cNvPr>
          <p:cNvPicPr>
            <a:picLocks noChangeAspect="1"/>
          </p:cNvPicPr>
          <p:nvPr/>
        </p:nvPicPr>
        <p:blipFill>
          <a:blip r:embed="rId2"/>
          <a:stretch>
            <a:fillRect/>
          </a:stretch>
        </p:blipFill>
        <p:spPr>
          <a:xfrm>
            <a:off x="1149593" y="2938583"/>
            <a:ext cx="6120914" cy="1609483"/>
          </a:xfrm>
          <a:prstGeom prst="rect">
            <a:avLst/>
          </a:prstGeom>
        </p:spPr>
      </p:pic>
    </p:spTree>
    <p:extLst>
      <p:ext uri="{BB962C8B-B14F-4D97-AF65-F5344CB8AC3E}">
        <p14:creationId xmlns:p14="http://schemas.microsoft.com/office/powerpoint/2010/main" val="35375278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BC0903-7CB6-FA6A-3610-E0715E81EC20}"/>
              </a:ext>
            </a:extLst>
          </p:cNvPr>
          <p:cNvSpPr>
            <a:spLocks noGrp="1"/>
          </p:cNvSpPr>
          <p:nvPr>
            <p:ph type="title"/>
          </p:nvPr>
        </p:nvSpPr>
        <p:spPr/>
        <p:txBody>
          <a:bodyPr/>
          <a:lstStyle/>
          <a:p>
            <a:pPr algn="ctr"/>
            <a:r>
              <a:rPr lang="en-US">
                <a:solidFill>
                  <a:srgbClr val="0070C0"/>
                </a:solidFill>
              </a:rPr>
              <a:t>COST BASED CLASSIFICATION : LOGISTIC REGRESSION 0.3</a:t>
            </a:r>
            <a:endParaRPr lang="en-US">
              <a:solidFill>
                <a:srgbClr val="0070C0"/>
              </a:solidFill>
              <a:cs typeface="Calibri Light"/>
            </a:endParaRPr>
          </a:p>
        </p:txBody>
      </p:sp>
      <p:sp>
        <p:nvSpPr>
          <p:cNvPr id="3" name="Content Placeholder 2">
            <a:extLst>
              <a:ext uri="{FF2B5EF4-FFF2-40B4-BE49-F238E27FC236}">
                <a16:creationId xmlns:a16="http://schemas.microsoft.com/office/drawing/2014/main" id="{526707C1-E72A-3762-2248-268DD638D927}"/>
              </a:ext>
            </a:extLst>
          </p:cNvPr>
          <p:cNvSpPr>
            <a:spLocks noGrp="1"/>
          </p:cNvSpPr>
          <p:nvPr>
            <p:ph idx="1"/>
          </p:nvPr>
        </p:nvSpPr>
        <p:spPr/>
        <p:txBody>
          <a:bodyPr vert="horz" lIns="91440" tIns="45720" rIns="91440" bIns="45720" rtlCol="0" anchor="t">
            <a:normAutofit/>
          </a:bodyPr>
          <a:lstStyle/>
          <a:p>
            <a:r>
              <a:rPr lang="en-US"/>
              <a:t>Promotional Cost for one customer: 46 ; Revenue Loss if customer churns : 500</a:t>
            </a:r>
          </a:p>
          <a:p>
            <a:endParaRPr lang="en-US"/>
          </a:p>
          <a:p>
            <a:endParaRPr lang="en-US"/>
          </a:p>
          <a:p>
            <a:endParaRPr lang="en-US"/>
          </a:p>
          <a:p>
            <a:endParaRPr lang="en-US"/>
          </a:p>
          <a:p>
            <a:r>
              <a:rPr lang="en-US"/>
              <a:t>Cost : (46 * 3799) + (500 * 2393) = </a:t>
            </a:r>
            <a:r>
              <a:rPr lang="en-US" b="1">
                <a:ea typeface="+mn-lt"/>
                <a:cs typeface="+mn-lt"/>
              </a:rPr>
              <a:t>$</a:t>
            </a:r>
            <a:r>
              <a:rPr lang="en-US"/>
              <a:t>1371254</a:t>
            </a:r>
            <a:endParaRPr lang="en-US">
              <a:ea typeface="Calibri"/>
              <a:cs typeface="Calibri"/>
            </a:endParaRPr>
          </a:p>
          <a:p>
            <a:endParaRPr lang="en-US"/>
          </a:p>
          <a:p>
            <a:endParaRPr lang="en-US"/>
          </a:p>
        </p:txBody>
      </p:sp>
      <p:pic>
        <p:nvPicPr>
          <p:cNvPr id="5" name="Picture 4">
            <a:extLst>
              <a:ext uri="{FF2B5EF4-FFF2-40B4-BE49-F238E27FC236}">
                <a16:creationId xmlns:a16="http://schemas.microsoft.com/office/drawing/2014/main" id="{8670E864-1AF9-E8EB-4746-EB76EDC80495}"/>
              </a:ext>
            </a:extLst>
          </p:cNvPr>
          <p:cNvPicPr>
            <a:picLocks noChangeAspect="1"/>
          </p:cNvPicPr>
          <p:nvPr/>
        </p:nvPicPr>
        <p:blipFill>
          <a:blip r:embed="rId2"/>
          <a:stretch>
            <a:fillRect/>
          </a:stretch>
        </p:blipFill>
        <p:spPr>
          <a:xfrm>
            <a:off x="1176528" y="2871908"/>
            <a:ext cx="6120914" cy="1609483"/>
          </a:xfrm>
          <a:prstGeom prst="rect">
            <a:avLst/>
          </a:prstGeom>
        </p:spPr>
      </p:pic>
    </p:spTree>
    <p:extLst>
      <p:ext uri="{BB962C8B-B14F-4D97-AF65-F5344CB8AC3E}">
        <p14:creationId xmlns:p14="http://schemas.microsoft.com/office/powerpoint/2010/main" val="27870453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C3C5154-EA3A-5C0E-E16D-7626E43AD9E2}"/>
              </a:ext>
            </a:extLst>
          </p:cNvPr>
          <p:cNvSpPr>
            <a:spLocks noGrp="1"/>
          </p:cNvSpPr>
          <p:nvPr>
            <p:ph type="title"/>
          </p:nvPr>
        </p:nvSpPr>
        <p:spPr>
          <a:xfrm>
            <a:off x="1028700" y="1967266"/>
            <a:ext cx="2628900" cy="2547257"/>
          </a:xfrm>
          <a:noFill/>
        </p:spPr>
        <p:txBody>
          <a:bodyPr vert="horz" lIns="91440" tIns="45720" rIns="91440" bIns="45720" rtlCol="0" anchor="ctr">
            <a:normAutofit/>
          </a:bodyPr>
          <a:lstStyle/>
          <a:p>
            <a:pPr algn="ctr"/>
            <a:r>
              <a:rPr lang="en-US" sz="3200">
                <a:solidFill>
                  <a:srgbClr val="FFFFFF"/>
                </a:solidFill>
              </a:rPr>
              <a:t>Inference from the cost analysis across our models</a:t>
            </a:r>
            <a:endParaRPr lang="en-US" sz="3200" kern="1200">
              <a:solidFill>
                <a:srgbClr val="FFFFFF"/>
              </a:solidFill>
              <a:latin typeface="+mj-lt"/>
              <a:cs typeface="Calibri Light"/>
            </a:endParaRPr>
          </a:p>
        </p:txBody>
      </p:sp>
      <p:sp>
        <p:nvSpPr>
          <p:cNvPr id="6" name="TextBox 5">
            <a:extLst>
              <a:ext uri="{FF2B5EF4-FFF2-40B4-BE49-F238E27FC236}">
                <a16:creationId xmlns:a16="http://schemas.microsoft.com/office/drawing/2014/main" id="{1D42FBAA-409D-3C2D-268A-0F1422153E0A}"/>
              </a:ext>
            </a:extLst>
          </p:cNvPr>
          <p:cNvSpPr txBox="1"/>
          <p:nvPr/>
        </p:nvSpPr>
        <p:spPr>
          <a:xfrm>
            <a:off x="4820992" y="2363273"/>
            <a:ext cx="5351171"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Upon comparing the multiple models that we used to Predict the Churn Rate, we observe and infer that the model deploying Logistic Regression with a cutoff of 0.3 produces the least cost of mis-identifying the customers who Churn.</a:t>
            </a:r>
          </a:p>
        </p:txBody>
      </p:sp>
    </p:spTree>
    <p:extLst>
      <p:ext uri="{BB962C8B-B14F-4D97-AF65-F5344CB8AC3E}">
        <p14:creationId xmlns:p14="http://schemas.microsoft.com/office/powerpoint/2010/main" val="34355170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97A30E9-46E4-4B66-8953-A9F408D4970F}"/>
              </a:ext>
            </a:extLst>
          </p:cNvPr>
          <p:cNvGraphicFramePr>
            <a:graphicFrameLocks noChangeAspect="1"/>
          </p:cNvGraphicFramePr>
          <p:nvPr>
            <p:custDataLst>
              <p:tags r:id="rId2"/>
            </p:custDataLst>
            <p:extLst>
              <p:ext uri="{D42A27DB-BD31-4B8C-83A1-F6EECF244321}">
                <p14:modId xmlns:p14="http://schemas.microsoft.com/office/powerpoint/2010/main" val="3619999872"/>
              </p:ext>
            </p:extLst>
          </p:nvPr>
        </p:nvGraphicFramePr>
        <p:xfrm>
          <a:off x="4762" y="2480"/>
          <a:ext cx="1588" cy="1588"/>
        </p:xfrm>
        <a:graphic>
          <a:graphicData uri="http://schemas.openxmlformats.org/presentationml/2006/ole">
            <mc:AlternateContent xmlns:mc="http://schemas.openxmlformats.org/markup-compatibility/2006">
              <mc:Choice xmlns:v="urn:schemas-microsoft-com:vml" Requires="v">
                <p:oleObj spid="_x0000_s16385" name="think-cell Slide" r:id="rId13" imgW="530" imgH="531" progId="TCLayout.ActiveDocument.1">
                  <p:embed/>
                </p:oleObj>
              </mc:Choice>
              <mc:Fallback>
                <p:oleObj name="think-cell Slide" r:id="rId13" imgW="530" imgH="531" progId="TCLayout.ActiveDocument.1">
                  <p:embed/>
                  <p:pic>
                    <p:nvPicPr>
                      <p:cNvPr id="7" name="Object 6" hidden="1">
                        <a:extLst>
                          <a:ext uri="{FF2B5EF4-FFF2-40B4-BE49-F238E27FC236}">
                            <a16:creationId xmlns:a16="http://schemas.microsoft.com/office/drawing/2014/main" id="{D97A30E9-46E4-4B66-8953-A9F408D4970F}"/>
                          </a:ext>
                        </a:extLst>
                      </p:cNvPr>
                      <p:cNvPicPr/>
                      <p:nvPr/>
                    </p:nvPicPr>
                    <p:blipFill>
                      <a:blip r:embed="rId14"/>
                      <a:stretch>
                        <a:fillRect/>
                      </a:stretch>
                    </p:blipFill>
                    <p:spPr>
                      <a:xfrm>
                        <a:off x="4762" y="2480"/>
                        <a:ext cx="1588" cy="1588"/>
                      </a:xfrm>
                      <a:prstGeom prst="rect">
                        <a:avLst/>
                      </a:prstGeom>
                    </p:spPr>
                  </p:pic>
                </p:oleObj>
              </mc:Fallback>
            </mc:AlternateContent>
          </a:graphicData>
        </a:graphic>
      </p:graphicFrame>
      <p:sp>
        <p:nvSpPr>
          <p:cNvPr id="101" name="Title 1">
            <a:extLst>
              <a:ext uri="{FF2B5EF4-FFF2-40B4-BE49-F238E27FC236}">
                <a16:creationId xmlns:a16="http://schemas.microsoft.com/office/drawing/2014/main" id="{91AADC42-D912-4422-9B06-B218CA1E8651}"/>
              </a:ext>
            </a:extLst>
          </p:cNvPr>
          <p:cNvSpPr txBox="1">
            <a:spLocks/>
          </p:cNvSpPr>
          <p:nvPr/>
        </p:nvSpPr>
        <p:spPr bwMode="auto">
          <a:xfrm>
            <a:off x="289978" y="761645"/>
            <a:ext cx="11272020" cy="647681"/>
          </a:xfrm>
          <a:prstGeom prst="rect">
            <a:avLst/>
          </a:prstGeom>
        </p:spPr>
        <p:txBody>
          <a:bodyPr vert="horz" lIns="91392" tIns="45696" rIns="91392" bIns="45696" rtlCol="0" anchor="b">
            <a:noAutofit/>
          </a:bodyPr>
          <a:lstStyle>
            <a:lvl1pPr algn="l" defTabSz="914400" rtl="0" eaLnBrk="1" latinLnBrk="0" hangingPunct="1">
              <a:lnSpc>
                <a:spcPct val="80000"/>
              </a:lnSpc>
              <a:spcBef>
                <a:spcPct val="0"/>
              </a:spcBef>
              <a:buNone/>
              <a:defRPr sz="3600" b="1" kern="1200">
                <a:solidFill>
                  <a:schemeClr val="accent1"/>
                </a:solidFill>
                <a:latin typeface="+mj-lt"/>
                <a:ea typeface="+mj-ea"/>
                <a:cs typeface="+mj-cs"/>
              </a:defRPr>
            </a:lvl1pPr>
          </a:lstStyle>
          <a:p>
            <a:pPr algn="ctr">
              <a:lnSpc>
                <a:spcPct val="90000"/>
              </a:lnSpc>
            </a:pPr>
            <a:r>
              <a:rPr lang="en-US" sz="2800"/>
              <a:t>BUSINESS UNDERSTANDING</a:t>
            </a:r>
            <a:endParaRPr lang="en-US" sz="2800">
              <a:cs typeface="Calibri Light"/>
            </a:endParaRPr>
          </a:p>
          <a:p>
            <a:pPr algn="ctr">
              <a:lnSpc>
                <a:spcPct val="90000"/>
              </a:lnSpc>
            </a:pPr>
            <a:endParaRPr lang="en-US" sz="2800">
              <a:cs typeface="Calibri Light"/>
            </a:endParaRPr>
          </a:p>
          <a:p>
            <a:pPr algn="ctr">
              <a:lnSpc>
                <a:spcPct val="90000"/>
              </a:lnSpc>
            </a:pPr>
            <a:r>
              <a:rPr lang="en-US" sz="2800"/>
              <a:t>Intensity of Competitive Rivalry in the Industry</a:t>
            </a:r>
            <a:endParaRPr lang="en-IN" sz="2800">
              <a:cs typeface="Calibri Light"/>
            </a:endParaRPr>
          </a:p>
        </p:txBody>
      </p:sp>
      <p:grpSp>
        <p:nvGrpSpPr>
          <p:cNvPr id="117" name="Group 116">
            <a:extLst>
              <a:ext uri="{FF2B5EF4-FFF2-40B4-BE49-F238E27FC236}">
                <a16:creationId xmlns:a16="http://schemas.microsoft.com/office/drawing/2014/main" id="{D6551AC7-9D22-41F7-8F0D-E26973628A07}"/>
              </a:ext>
            </a:extLst>
          </p:cNvPr>
          <p:cNvGrpSpPr/>
          <p:nvPr/>
        </p:nvGrpSpPr>
        <p:grpSpPr>
          <a:xfrm>
            <a:off x="5109972" y="2143158"/>
            <a:ext cx="1926100" cy="4038390"/>
            <a:chOff x="6494432" y="1872013"/>
            <a:chExt cx="1926597" cy="4039438"/>
          </a:xfrm>
        </p:grpSpPr>
        <p:sp>
          <p:nvSpPr>
            <p:cNvPr id="111" name="TextBox 110">
              <a:extLst>
                <a:ext uri="{FF2B5EF4-FFF2-40B4-BE49-F238E27FC236}">
                  <a16:creationId xmlns:a16="http://schemas.microsoft.com/office/drawing/2014/main" id="{813B9006-CD81-4F16-89F9-A72EB590FC05}"/>
                </a:ext>
              </a:extLst>
            </p:cNvPr>
            <p:cNvSpPr txBox="1"/>
            <p:nvPr/>
          </p:nvSpPr>
          <p:spPr>
            <a:xfrm>
              <a:off x="6728419" y="1872013"/>
              <a:ext cx="1623427" cy="400110"/>
            </a:xfrm>
            <a:prstGeom prst="rect">
              <a:avLst/>
            </a:prstGeom>
            <a:noFill/>
            <a:ln>
              <a:noFill/>
            </a:ln>
          </p:spPr>
          <p:txBody>
            <a:bodyPr wrap="square" rtlCol="0" anchor="ctr" anchorCtr="1">
              <a:spAutoFit/>
            </a:bodyPr>
            <a:lstStyle/>
            <a:p>
              <a:r>
                <a:rPr lang="en-US" sz="1999" b="1"/>
                <a:t>Price Wars</a:t>
              </a:r>
            </a:p>
          </p:txBody>
        </p:sp>
        <p:sp>
          <p:nvSpPr>
            <p:cNvPr id="112" name="TextBox 111">
              <a:extLst>
                <a:ext uri="{FF2B5EF4-FFF2-40B4-BE49-F238E27FC236}">
                  <a16:creationId xmlns:a16="http://schemas.microsoft.com/office/drawing/2014/main" id="{C93244FF-D63E-4DC2-B40B-996CAF10C54D}"/>
                </a:ext>
              </a:extLst>
            </p:cNvPr>
            <p:cNvSpPr txBox="1"/>
            <p:nvPr/>
          </p:nvSpPr>
          <p:spPr>
            <a:xfrm>
              <a:off x="6728419" y="3015890"/>
              <a:ext cx="1545190" cy="400110"/>
            </a:xfrm>
            <a:prstGeom prst="rect">
              <a:avLst/>
            </a:prstGeom>
            <a:noFill/>
            <a:ln>
              <a:noFill/>
            </a:ln>
          </p:spPr>
          <p:txBody>
            <a:bodyPr wrap="square" rtlCol="0" anchor="ctr" anchorCtr="1">
              <a:spAutoFit/>
            </a:bodyPr>
            <a:lstStyle/>
            <a:p>
              <a:r>
                <a:rPr lang="en-US" sz="1999" b="1"/>
                <a:t>Innovation</a:t>
              </a:r>
            </a:p>
          </p:txBody>
        </p:sp>
        <p:sp>
          <p:nvSpPr>
            <p:cNvPr id="113" name="TextBox 112">
              <a:extLst>
                <a:ext uri="{FF2B5EF4-FFF2-40B4-BE49-F238E27FC236}">
                  <a16:creationId xmlns:a16="http://schemas.microsoft.com/office/drawing/2014/main" id="{5492D041-8DB9-4A02-8556-4BC9EBC8DA22}"/>
                </a:ext>
              </a:extLst>
            </p:cNvPr>
            <p:cNvSpPr txBox="1"/>
            <p:nvPr/>
          </p:nvSpPr>
          <p:spPr>
            <a:xfrm>
              <a:off x="6494432" y="4209206"/>
              <a:ext cx="1926597" cy="400110"/>
            </a:xfrm>
            <a:prstGeom prst="rect">
              <a:avLst/>
            </a:prstGeom>
            <a:noFill/>
            <a:ln>
              <a:noFill/>
            </a:ln>
          </p:spPr>
          <p:txBody>
            <a:bodyPr wrap="square" rtlCol="0" anchor="ctr" anchorCtr="1">
              <a:spAutoFit/>
            </a:bodyPr>
            <a:lstStyle/>
            <a:p>
              <a:r>
                <a:rPr lang="en-US" sz="1999" b="1"/>
                <a:t>Coverage</a:t>
              </a:r>
            </a:p>
          </p:txBody>
        </p:sp>
        <p:sp>
          <p:nvSpPr>
            <p:cNvPr id="114" name="TextBox 113">
              <a:extLst>
                <a:ext uri="{FF2B5EF4-FFF2-40B4-BE49-F238E27FC236}">
                  <a16:creationId xmlns:a16="http://schemas.microsoft.com/office/drawing/2014/main" id="{EED5099A-1023-4105-8905-28386C611F8C}"/>
                </a:ext>
              </a:extLst>
            </p:cNvPr>
            <p:cNvSpPr txBox="1"/>
            <p:nvPr/>
          </p:nvSpPr>
          <p:spPr>
            <a:xfrm>
              <a:off x="6768545" y="5242248"/>
              <a:ext cx="1298452" cy="669203"/>
            </a:xfrm>
            <a:prstGeom prst="rect">
              <a:avLst/>
            </a:prstGeom>
            <a:noFill/>
            <a:ln>
              <a:noFill/>
            </a:ln>
          </p:spPr>
          <p:txBody>
            <a:bodyPr wrap="square" rtlCol="0" anchor="ctr" anchorCtr="1">
              <a:spAutoFit/>
            </a:bodyPr>
            <a:lstStyle/>
            <a:p>
              <a:pPr algn="ctr"/>
              <a:r>
                <a:rPr lang="en-US" b="1"/>
                <a:t>Customer Service</a:t>
              </a:r>
            </a:p>
          </p:txBody>
        </p:sp>
      </p:grpSp>
      <p:sp>
        <p:nvSpPr>
          <p:cNvPr id="119" name="TextBox 118">
            <a:extLst>
              <a:ext uri="{FF2B5EF4-FFF2-40B4-BE49-F238E27FC236}">
                <a16:creationId xmlns:a16="http://schemas.microsoft.com/office/drawing/2014/main" id="{5822BE74-648F-49A8-8E03-F64923FC020F}"/>
              </a:ext>
            </a:extLst>
          </p:cNvPr>
          <p:cNvSpPr txBox="1"/>
          <p:nvPr/>
        </p:nvSpPr>
        <p:spPr>
          <a:xfrm>
            <a:off x="4673644" y="1738554"/>
            <a:ext cx="3113474" cy="369236"/>
          </a:xfrm>
          <a:prstGeom prst="rect">
            <a:avLst/>
          </a:prstGeom>
          <a:noFill/>
          <a:ln>
            <a:noFill/>
          </a:ln>
        </p:spPr>
        <p:txBody>
          <a:bodyPr wrap="square" rtlCol="0" anchor="ctr" anchorCtr="1">
            <a:spAutoFit/>
          </a:bodyPr>
          <a:lstStyle/>
          <a:p>
            <a:endParaRPr lang="en-US" sz="1799" b="1">
              <a:solidFill>
                <a:schemeClr val="accent2"/>
              </a:solidFill>
            </a:endParaRPr>
          </a:p>
        </p:txBody>
      </p:sp>
      <p:sp>
        <p:nvSpPr>
          <p:cNvPr id="123" name="TextBox 122">
            <a:extLst>
              <a:ext uri="{FF2B5EF4-FFF2-40B4-BE49-F238E27FC236}">
                <a16:creationId xmlns:a16="http://schemas.microsoft.com/office/drawing/2014/main" id="{A06904FB-DABF-4ADE-959A-D98B3E19D1C3}"/>
              </a:ext>
            </a:extLst>
          </p:cNvPr>
          <p:cNvSpPr txBox="1"/>
          <p:nvPr/>
        </p:nvSpPr>
        <p:spPr>
          <a:xfrm>
            <a:off x="7690274" y="2898331"/>
            <a:ext cx="3763110" cy="369108"/>
          </a:xfrm>
          <a:prstGeom prst="rect">
            <a:avLst/>
          </a:prstGeom>
          <a:noFill/>
          <a:ln>
            <a:noFill/>
          </a:ln>
        </p:spPr>
        <p:txBody>
          <a:bodyPr wrap="square" rtlCol="0" anchor="ctr" anchorCtr="1">
            <a:spAutoFit/>
          </a:bodyPr>
          <a:lstStyle/>
          <a:p>
            <a:endParaRPr lang="en-US" sz="1799" b="1">
              <a:solidFill>
                <a:schemeClr val="accent2"/>
              </a:solidFill>
            </a:endParaRPr>
          </a:p>
        </p:txBody>
      </p:sp>
      <p:sp>
        <p:nvSpPr>
          <p:cNvPr id="129" name="TextBox 128">
            <a:extLst>
              <a:ext uri="{FF2B5EF4-FFF2-40B4-BE49-F238E27FC236}">
                <a16:creationId xmlns:a16="http://schemas.microsoft.com/office/drawing/2014/main" id="{A5403B10-5858-4A24-8A40-C80651A6F1DD}"/>
              </a:ext>
            </a:extLst>
          </p:cNvPr>
          <p:cNvSpPr txBox="1"/>
          <p:nvPr/>
        </p:nvSpPr>
        <p:spPr>
          <a:xfrm>
            <a:off x="7534542" y="2063699"/>
            <a:ext cx="4096153" cy="4832092"/>
          </a:xfrm>
          <a:prstGeom prst="rect">
            <a:avLst/>
          </a:prstGeom>
          <a:noFill/>
          <a:ln>
            <a:noFill/>
          </a:ln>
        </p:spPr>
        <p:txBody>
          <a:bodyPr wrap="square" rtlCol="0" anchor="ctr" anchorCtr="1">
            <a:spAutoFit/>
          </a:bodyPr>
          <a:lstStyle/>
          <a:p>
            <a:pPr marL="285750" indent="-285750">
              <a:buFont typeface="Arial" panose="020B0604020202020204" pitchFamily="34" charset="0"/>
              <a:buChar char="•"/>
            </a:pPr>
            <a:r>
              <a:rPr lang="en-US" sz="1400"/>
              <a:t>The US Telecom market is majorly operated by 3 Tier-1 national players: AT&amp;T, Verizon and T-Mobile, catering to an overall </a:t>
            </a:r>
            <a:r>
              <a:rPr lang="en-US" sz="1400" b="1"/>
              <a:t>96% of the mobile subscriber base</a:t>
            </a:r>
          </a:p>
          <a:p>
            <a:pPr marL="285750" indent="-285750">
              <a:buFont typeface="Arial" panose="020B0604020202020204" pitchFamily="34" charset="0"/>
              <a:buChar char="•"/>
            </a:pPr>
            <a:r>
              <a:rPr lang="en-US" sz="1400"/>
              <a:t>DISH, an MVNO and the newest entrant in the mobile service market post the merger of Sprint and T-Mobile holds </a:t>
            </a:r>
            <a:r>
              <a:rPr lang="en-US" sz="1400" b="1"/>
              <a:t>2.3% of the overall subs</a:t>
            </a:r>
          </a:p>
          <a:p>
            <a:pPr marL="285750" indent="-285750">
              <a:buFont typeface="Arial" panose="020B0604020202020204" pitchFamily="34" charset="0"/>
              <a:buChar char="•"/>
            </a:pPr>
            <a:r>
              <a:rPr lang="en-US" sz="1400"/>
              <a:t>US Cellular, a regional carrier, is the fifth carrier holding </a:t>
            </a:r>
            <a:r>
              <a:rPr lang="en-US" sz="1400" b="1"/>
              <a:t>1.3% of the overall subscriber base</a:t>
            </a:r>
          </a:p>
          <a:p>
            <a:pPr marL="285750" indent="-285750">
              <a:buFont typeface="Arial" panose="020B0604020202020204" pitchFamily="34" charset="0"/>
              <a:buChar char="•"/>
            </a:pPr>
            <a:r>
              <a:rPr lang="en-US" sz="1400"/>
              <a:t>Other MVNOs include Mint, Comcast (Xfinity Mobile), Charter (Spectrum Mobile), Altice Mobile</a:t>
            </a:r>
          </a:p>
          <a:p>
            <a:pPr marL="285750" indent="-285750">
              <a:buFont typeface="Arial" panose="020B0604020202020204" pitchFamily="34" charset="0"/>
              <a:buChar char="•"/>
            </a:pPr>
            <a:r>
              <a:rPr lang="en-US" sz="1400"/>
              <a:t>T-Mobile as of Q1 2022 claims to have 94% population coverage for 5G, the highest amongst the Tier1s</a:t>
            </a:r>
          </a:p>
          <a:p>
            <a:pPr marL="285750" indent="-285750">
              <a:buFont typeface="Arial" panose="020B0604020202020204" pitchFamily="34" charset="0"/>
              <a:buChar char="•"/>
            </a:pPr>
            <a:r>
              <a:rPr lang="en-US" sz="1400"/>
              <a:t>AT&amp;T leads currently in the highest net additions in the past few quarters based on aggressive handset promotional pricing</a:t>
            </a:r>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endParaRPr lang="en-US" sz="1400"/>
          </a:p>
        </p:txBody>
      </p:sp>
      <p:sp>
        <p:nvSpPr>
          <p:cNvPr id="131" name="TextBox 130">
            <a:extLst>
              <a:ext uri="{FF2B5EF4-FFF2-40B4-BE49-F238E27FC236}">
                <a16:creationId xmlns:a16="http://schemas.microsoft.com/office/drawing/2014/main" id="{033A0CE8-E6D8-4286-B477-BE5C5870BFFD}"/>
              </a:ext>
            </a:extLst>
          </p:cNvPr>
          <p:cNvSpPr txBox="1"/>
          <p:nvPr/>
        </p:nvSpPr>
        <p:spPr>
          <a:xfrm>
            <a:off x="7566906" y="6480638"/>
            <a:ext cx="2664164" cy="246221"/>
          </a:xfrm>
          <a:prstGeom prst="rect">
            <a:avLst/>
          </a:prstGeom>
          <a:noFill/>
          <a:ln>
            <a:noFill/>
          </a:ln>
        </p:spPr>
        <p:txBody>
          <a:bodyPr wrap="square" rtlCol="0" anchor="ctr" anchorCtr="1">
            <a:spAutoFit/>
          </a:bodyPr>
          <a:lstStyle/>
          <a:p>
            <a:r>
              <a:rPr lang="en-US" sz="1000"/>
              <a:t>MVNO: Mobile Virtual Network Operator</a:t>
            </a:r>
          </a:p>
        </p:txBody>
      </p:sp>
      <p:sp>
        <p:nvSpPr>
          <p:cNvPr id="133" name="Slide Number Placeholder 21">
            <a:extLst>
              <a:ext uri="{FF2B5EF4-FFF2-40B4-BE49-F238E27FC236}">
                <a16:creationId xmlns:a16="http://schemas.microsoft.com/office/drawing/2014/main" id="{124E415D-3469-438F-A3A6-BE030C36EDF8}"/>
              </a:ext>
            </a:extLst>
          </p:cNvPr>
          <p:cNvSpPr>
            <a:spLocks noGrp="1"/>
          </p:cNvSpPr>
          <p:nvPr>
            <p:ph type="sldNum" sz="quarter" idx="12"/>
          </p:nvPr>
        </p:nvSpPr>
        <p:spPr>
          <a:xfrm>
            <a:off x="283526" y="6184640"/>
            <a:ext cx="371433" cy="263790"/>
          </a:xfrm>
        </p:spPr>
        <p:txBody>
          <a:bodyPr/>
          <a:lstStyle/>
          <a:p>
            <a:pPr algn="ctr"/>
            <a:fld id="{AAEAE4A8-A6E5-453E-B946-FB774B73F48C}" type="slidenum">
              <a:rPr lang="en-US" b="1">
                <a:solidFill>
                  <a:schemeClr val="bg1"/>
                </a:solidFill>
                <a:latin typeface="Palatino Linotype" panose="02040502050505030304"/>
              </a:rPr>
              <a:pPr algn="ctr"/>
              <a:t>3</a:t>
            </a:fld>
            <a:endParaRPr lang="en-US" b="1">
              <a:solidFill>
                <a:schemeClr val="bg1"/>
              </a:solidFill>
              <a:latin typeface="Palatino Linotype" panose="02040502050505030304"/>
            </a:endParaRPr>
          </a:p>
        </p:txBody>
      </p:sp>
      <p:sp>
        <p:nvSpPr>
          <p:cNvPr id="135" name="Slide Number Placeholder 21">
            <a:extLst>
              <a:ext uri="{FF2B5EF4-FFF2-40B4-BE49-F238E27FC236}">
                <a16:creationId xmlns:a16="http://schemas.microsoft.com/office/drawing/2014/main" id="{DA8D92B9-1701-4D7D-BCAA-28D870EEE2A9}"/>
              </a:ext>
            </a:extLst>
          </p:cNvPr>
          <p:cNvSpPr txBox="1">
            <a:spLocks/>
          </p:cNvSpPr>
          <p:nvPr/>
        </p:nvSpPr>
        <p:spPr>
          <a:xfrm>
            <a:off x="435689" y="6339959"/>
            <a:ext cx="371433" cy="263790"/>
          </a:xfrm>
          <a:prstGeom prst="rect">
            <a:avLst/>
          </a:prstGeom>
        </p:spPr>
        <p:txBody>
          <a:bodyPr vert="horz" lIns="91416" tIns="45708" rIns="91416" bIns="45708" rtlCol="0" anchor="ctr"/>
          <a:lstStyle>
            <a:defPPr>
              <a:defRPr lang="en-US"/>
            </a:defPPr>
            <a:lvl1pPr marL="0" algn="r"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EAE4A8-A6E5-453E-B946-FB774B73F48C}" type="slidenum">
              <a:rPr lang="en-US"/>
              <a:pPr/>
              <a:t>3</a:t>
            </a:fld>
            <a:endParaRPr lang="en-US"/>
          </a:p>
        </p:txBody>
      </p:sp>
      <p:pic>
        <p:nvPicPr>
          <p:cNvPr id="1028" name="Picture 4">
            <a:extLst>
              <a:ext uri="{FF2B5EF4-FFF2-40B4-BE49-F238E27FC236}">
                <a16:creationId xmlns:a16="http://schemas.microsoft.com/office/drawing/2014/main" id="{56418977-BA41-45FB-9DD2-C327621D8F4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732080" y="2105670"/>
            <a:ext cx="541129" cy="54112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2E614BF2-C8ED-61CF-F670-6666385F7425}"/>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666401" y="3146864"/>
            <a:ext cx="672490" cy="67249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BFE2C14E-9992-2F47-97DE-817842F4E5D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700450" y="4335635"/>
            <a:ext cx="612986" cy="612986"/>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05C4938A-1699-741F-205B-023A03280BD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666400" y="5509060"/>
            <a:ext cx="672491" cy="67249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0" name="Chart 69">
            <a:extLst>
              <a:ext uri="{FF2B5EF4-FFF2-40B4-BE49-F238E27FC236}">
                <a16:creationId xmlns:a16="http://schemas.microsoft.com/office/drawing/2014/main" id="{68970FA2-67C0-4846-9F3C-7C0FA639AE04}"/>
              </a:ext>
            </a:extLst>
          </p:cNvPr>
          <p:cNvGraphicFramePr/>
          <p:nvPr>
            <p:custDataLst>
              <p:tags r:id="rId3"/>
            </p:custDataLst>
            <p:extLst>
              <p:ext uri="{D42A27DB-BD31-4B8C-83A1-F6EECF244321}">
                <p14:modId xmlns:p14="http://schemas.microsoft.com/office/powerpoint/2010/main" val="167942353"/>
              </p:ext>
            </p:extLst>
          </p:nvPr>
        </p:nvGraphicFramePr>
        <p:xfrm>
          <a:off x="660400" y="2530475"/>
          <a:ext cx="3149600" cy="3022600"/>
        </p:xfrm>
        <a:graphic>
          <a:graphicData uri="http://schemas.openxmlformats.org/drawingml/2006/chart">
            <c:chart xmlns:c="http://schemas.openxmlformats.org/drawingml/2006/chart" xmlns:r="http://schemas.openxmlformats.org/officeDocument/2006/relationships" r:id="rId19"/>
          </a:graphicData>
        </a:graphic>
      </p:graphicFrame>
      <p:sp>
        <p:nvSpPr>
          <p:cNvPr id="27" name="Text Placeholder 2">
            <a:extLst>
              <a:ext uri="{FF2B5EF4-FFF2-40B4-BE49-F238E27FC236}">
                <a16:creationId xmlns:a16="http://schemas.microsoft.com/office/drawing/2014/main" id="{5A81798C-047E-EDE2-B7A0-8A33107E0CB3}"/>
              </a:ext>
            </a:extLst>
          </p:cNvPr>
          <p:cNvSpPr>
            <a:spLocks noGrp="1"/>
          </p:cNvSpPr>
          <p:nvPr>
            <p:custDataLst>
              <p:tags r:id="rId4"/>
            </p:custDataLst>
          </p:nvPr>
        </p:nvSpPr>
        <p:spPr bwMode="auto">
          <a:xfrm>
            <a:off x="3643313" y="3416300"/>
            <a:ext cx="5508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CD928F3-07FE-4016-801D-0568DBA4999E}" type="datetime'''''''Ver''''''i''''''''''zo''''''''''''''''''''''''''n'''">
              <a:rPr lang="en-US" altLang="en-US" sz="1400" b="1" smtClean="0"/>
              <a:pPr marL="0" indent="0">
                <a:spcBef>
                  <a:spcPct val="0"/>
                </a:spcBef>
                <a:spcAft>
                  <a:spcPct val="0"/>
                </a:spcAft>
                <a:buNone/>
              </a:pPr>
              <a:t>Verizon</a:t>
            </a:fld>
            <a:endParaRPr lang="en-US" sz="1400" b="1"/>
          </a:p>
        </p:txBody>
      </p:sp>
      <p:sp>
        <p:nvSpPr>
          <p:cNvPr id="32" name="Text Placeholder 2">
            <a:extLst>
              <a:ext uri="{FF2B5EF4-FFF2-40B4-BE49-F238E27FC236}">
                <a16:creationId xmlns:a16="http://schemas.microsoft.com/office/drawing/2014/main" id="{7E1DE3BD-4D5A-47F6-8D10-E31AD16DD88D}"/>
              </a:ext>
            </a:extLst>
          </p:cNvPr>
          <p:cNvSpPr>
            <a:spLocks noGrp="1"/>
          </p:cNvSpPr>
          <p:nvPr>
            <p:custDataLst>
              <p:tags r:id="rId5"/>
            </p:custDataLst>
          </p:nvPr>
        </p:nvSpPr>
        <p:spPr bwMode="auto">
          <a:xfrm>
            <a:off x="2138363" y="2395538"/>
            <a:ext cx="8953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700846B-3936-454F-A9EB-BF930C057D15}" type="datetime'''U.''''''''S''''.'''''''' ''C''''''''''''e''llul''''a''r'">
              <a:rPr lang="en-US" altLang="en-US" sz="1400" b="1" smtClean="0"/>
              <a:pPr marL="0" indent="0">
                <a:spcBef>
                  <a:spcPct val="0"/>
                </a:spcBef>
                <a:spcAft>
                  <a:spcPct val="0"/>
                </a:spcAft>
                <a:buNone/>
              </a:pPr>
              <a:t>U.S. Cellular</a:t>
            </a:fld>
            <a:endParaRPr lang="en-US" sz="1400" b="1"/>
          </a:p>
        </p:txBody>
      </p:sp>
      <p:sp>
        <p:nvSpPr>
          <p:cNvPr id="28" name="Text Placeholder 2">
            <a:extLst>
              <a:ext uri="{FF2B5EF4-FFF2-40B4-BE49-F238E27FC236}">
                <a16:creationId xmlns:a16="http://schemas.microsoft.com/office/drawing/2014/main" id="{5A81798C-047E-EDE2-B7A0-8A33107E0CB3}"/>
              </a:ext>
            </a:extLst>
          </p:cNvPr>
          <p:cNvSpPr>
            <a:spLocks noGrp="1"/>
          </p:cNvSpPr>
          <p:nvPr>
            <p:custDataLst>
              <p:tags r:id="rId6"/>
            </p:custDataLst>
          </p:nvPr>
        </p:nvSpPr>
        <p:spPr bwMode="auto">
          <a:xfrm>
            <a:off x="1282700" y="5468938"/>
            <a:ext cx="6651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A9ABAC8-8FFC-473F-A68D-6C37E8E2C9B0}" type="datetime'T''''-''M''o''''''''''b''''''i''''le'''''''''''''''">
              <a:rPr lang="en-US" altLang="en-US" sz="1400" b="1" smtClean="0"/>
              <a:pPr marL="0" indent="0" algn="r">
                <a:spcBef>
                  <a:spcPct val="0"/>
                </a:spcBef>
                <a:spcAft>
                  <a:spcPct val="0"/>
                </a:spcAft>
                <a:buNone/>
              </a:pPr>
              <a:t>T-Mobile</a:t>
            </a:fld>
            <a:endParaRPr lang="en-US" sz="1400" b="1"/>
          </a:p>
        </p:txBody>
      </p:sp>
      <p:sp>
        <p:nvSpPr>
          <p:cNvPr id="34" name="Text Placeholder 2">
            <a:extLst>
              <a:ext uri="{FF2B5EF4-FFF2-40B4-BE49-F238E27FC236}">
                <a16:creationId xmlns:a16="http://schemas.microsoft.com/office/drawing/2014/main" id="{5A81798C-047E-EDE2-B7A0-8A33107E0CB3}"/>
              </a:ext>
            </a:extLst>
          </p:cNvPr>
          <p:cNvSpPr>
            <a:spLocks noGrp="1"/>
          </p:cNvSpPr>
          <p:nvPr>
            <p:custDataLst>
              <p:tags r:id="rId7"/>
            </p:custDataLst>
          </p:nvPr>
        </p:nvSpPr>
        <p:spPr bwMode="gray">
          <a:xfrm>
            <a:off x="1828800" y="2678113"/>
            <a:ext cx="409575" cy="192088"/>
          </a:xfrm>
          <a:prstGeom prst="rect">
            <a:avLst/>
          </a:prstGeom>
          <a:solidFill>
            <a:srgbClr val="364D6E"/>
          </a:solidFill>
          <a:ln>
            <a:noFill/>
          </a:ln>
          <a:effec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622C6C0-E9B4-460E-92C9-806F814C5340}" type="datetime'''''''''''''2''''''''''''.''3%'''''''''''''''">
              <a:rPr lang="en-US" altLang="en-US" sz="1400" b="1" smtClean="0">
                <a:solidFill>
                  <a:schemeClr val="bg1"/>
                </a:solidFill>
                <a:effectLst/>
              </a:rPr>
              <a:pPr marL="0" indent="0" algn="ctr">
                <a:spcBef>
                  <a:spcPct val="0"/>
                </a:spcBef>
                <a:spcAft>
                  <a:spcPct val="0"/>
                </a:spcAft>
                <a:buNone/>
              </a:pPr>
              <a:t>2.3%</a:t>
            </a:fld>
            <a:endParaRPr lang="en-US" sz="1400" b="1">
              <a:solidFill>
                <a:schemeClr val="bg1"/>
              </a:solidFill>
            </a:endParaRPr>
          </a:p>
        </p:txBody>
      </p:sp>
      <p:sp>
        <p:nvSpPr>
          <p:cNvPr id="29" name="Text Placeholder 2">
            <a:extLst>
              <a:ext uri="{FF2B5EF4-FFF2-40B4-BE49-F238E27FC236}">
                <a16:creationId xmlns:a16="http://schemas.microsoft.com/office/drawing/2014/main" id="{5A81798C-047E-EDE2-B7A0-8A33107E0CB3}"/>
              </a:ext>
            </a:extLst>
          </p:cNvPr>
          <p:cNvSpPr>
            <a:spLocks noGrp="1"/>
          </p:cNvSpPr>
          <p:nvPr>
            <p:custDataLst>
              <p:tags r:id="rId8"/>
            </p:custDataLst>
          </p:nvPr>
        </p:nvSpPr>
        <p:spPr bwMode="auto">
          <a:xfrm>
            <a:off x="512763" y="3221038"/>
            <a:ext cx="3937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9282BB0-9224-4B94-B750-114337D38583}" type="datetime'''''''A''''''''''''''''''''''''''''T''&amp;''''''''''''''''''T'">
              <a:rPr lang="en-US" altLang="en-US" sz="1400" b="1" smtClean="0"/>
              <a:pPr marL="0" indent="0" algn="r">
                <a:spcBef>
                  <a:spcPct val="0"/>
                </a:spcBef>
                <a:spcAft>
                  <a:spcPct val="0"/>
                </a:spcAft>
                <a:buNone/>
              </a:pPr>
              <a:t>AT&amp;T</a:t>
            </a:fld>
            <a:endParaRPr lang="en-US" sz="1400" b="1"/>
          </a:p>
        </p:txBody>
      </p:sp>
      <p:sp>
        <p:nvSpPr>
          <p:cNvPr id="31" name="Text Placeholder 2">
            <a:extLst>
              <a:ext uri="{FF2B5EF4-FFF2-40B4-BE49-F238E27FC236}">
                <a16:creationId xmlns:a16="http://schemas.microsoft.com/office/drawing/2014/main" id="{8A372354-F7E2-4BFF-8DC7-2829DC4A959A}"/>
              </a:ext>
            </a:extLst>
          </p:cNvPr>
          <p:cNvSpPr>
            <a:spLocks noGrp="1"/>
          </p:cNvSpPr>
          <p:nvPr>
            <p:custDataLst>
              <p:tags r:id="rId9"/>
            </p:custDataLst>
          </p:nvPr>
        </p:nvSpPr>
        <p:spPr bwMode="auto">
          <a:xfrm>
            <a:off x="1763713" y="2403475"/>
            <a:ext cx="3238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79002E6-4301-4EC0-81CA-DD1DE6801726}" type="datetime'''''''''''''''''''''''''''''''''''Di''s''''''''''''h'''''">
              <a:rPr lang="en-US" altLang="en-US" sz="1400" b="1" smtClean="0"/>
              <a:pPr marL="0" indent="0" algn="r">
                <a:spcBef>
                  <a:spcPct val="0"/>
                </a:spcBef>
                <a:spcAft>
                  <a:spcPct val="0"/>
                </a:spcAft>
                <a:buNone/>
              </a:pPr>
              <a:t>Dish</a:t>
            </a:fld>
            <a:endParaRPr lang="en-US" sz="1400" b="1"/>
          </a:p>
        </p:txBody>
      </p:sp>
      <p:sp>
        <p:nvSpPr>
          <p:cNvPr id="35" name="Text Placeholder 2">
            <a:extLst>
              <a:ext uri="{FF2B5EF4-FFF2-40B4-BE49-F238E27FC236}">
                <a16:creationId xmlns:a16="http://schemas.microsoft.com/office/drawing/2014/main" id="{5A81798C-047E-EDE2-B7A0-8A33107E0CB3}"/>
              </a:ext>
            </a:extLst>
          </p:cNvPr>
          <p:cNvSpPr>
            <a:spLocks noGrp="1"/>
          </p:cNvSpPr>
          <p:nvPr>
            <p:custDataLst>
              <p:tags r:id="rId10"/>
            </p:custDataLst>
          </p:nvPr>
        </p:nvSpPr>
        <p:spPr bwMode="gray">
          <a:xfrm>
            <a:off x="1984375" y="2870200"/>
            <a:ext cx="409575" cy="192088"/>
          </a:xfrm>
          <a:prstGeom prst="rect">
            <a:avLst/>
          </a:prstGeom>
          <a:solidFill>
            <a:schemeClr val="accent1"/>
          </a:solidFill>
          <a:ln>
            <a:noFill/>
          </a:ln>
          <a:effec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95C5309-CBC2-4BE9-9044-9B5535C4F337}" type="datetime'''''1''''''.''''3''''''''''''''''''''''''''''%'''''''''''''">
              <a:rPr lang="en-US" altLang="en-US" sz="1400" b="1" smtClean="0">
                <a:solidFill>
                  <a:schemeClr val="bg1"/>
                </a:solidFill>
                <a:effectLst/>
              </a:rPr>
              <a:pPr marL="0" indent="0" algn="ctr">
                <a:spcBef>
                  <a:spcPct val="0"/>
                </a:spcBef>
                <a:spcAft>
                  <a:spcPct val="0"/>
                </a:spcAft>
                <a:buNone/>
              </a:pPr>
              <a:t>1.3%</a:t>
            </a:fld>
            <a:endParaRPr lang="en-US" sz="1400" b="1">
              <a:solidFill>
                <a:schemeClr val="bg1"/>
              </a:solidFill>
            </a:endParaRPr>
          </a:p>
        </p:txBody>
      </p:sp>
      <p:sp>
        <p:nvSpPr>
          <p:cNvPr id="8" name="TextBox 7">
            <a:extLst>
              <a:ext uri="{FF2B5EF4-FFF2-40B4-BE49-F238E27FC236}">
                <a16:creationId xmlns:a16="http://schemas.microsoft.com/office/drawing/2014/main" id="{640150E1-F5FA-4FB3-A18A-939B15C0B919}"/>
              </a:ext>
            </a:extLst>
          </p:cNvPr>
          <p:cNvSpPr txBox="1"/>
          <p:nvPr/>
        </p:nvSpPr>
        <p:spPr>
          <a:xfrm>
            <a:off x="295138" y="1578253"/>
            <a:ext cx="3866522" cy="369332"/>
          </a:xfrm>
          <a:prstGeom prst="rect">
            <a:avLst/>
          </a:prstGeom>
          <a:noFill/>
        </p:spPr>
        <p:txBody>
          <a:bodyPr wrap="square" rtlCol="0">
            <a:spAutoFit/>
          </a:bodyPr>
          <a:lstStyle/>
          <a:p>
            <a:pPr algn="ctr"/>
            <a:r>
              <a:rPr lang="en-US" b="1"/>
              <a:t>Operator Subscriber Market Share</a:t>
            </a:r>
          </a:p>
        </p:txBody>
      </p:sp>
      <p:sp>
        <p:nvSpPr>
          <p:cNvPr id="11" name="TextBox 10">
            <a:extLst>
              <a:ext uri="{FF2B5EF4-FFF2-40B4-BE49-F238E27FC236}">
                <a16:creationId xmlns:a16="http://schemas.microsoft.com/office/drawing/2014/main" id="{A837C7F0-9F1A-4AFB-BD0B-A678D8F36AC7}"/>
              </a:ext>
            </a:extLst>
          </p:cNvPr>
          <p:cNvSpPr txBox="1"/>
          <p:nvPr/>
        </p:nvSpPr>
        <p:spPr>
          <a:xfrm>
            <a:off x="1671476" y="3787745"/>
            <a:ext cx="1133797" cy="400110"/>
          </a:xfrm>
          <a:prstGeom prst="rect">
            <a:avLst/>
          </a:prstGeom>
          <a:noFill/>
        </p:spPr>
        <p:txBody>
          <a:bodyPr wrap="square" rtlCol="0">
            <a:spAutoFit/>
          </a:bodyPr>
          <a:lstStyle/>
          <a:p>
            <a:pPr algn="ctr"/>
            <a:r>
              <a:rPr lang="en-US" sz="2000" b="1"/>
              <a:t>366M</a:t>
            </a:r>
          </a:p>
        </p:txBody>
      </p:sp>
      <p:sp>
        <p:nvSpPr>
          <p:cNvPr id="66" name="TextBox 65">
            <a:extLst>
              <a:ext uri="{FF2B5EF4-FFF2-40B4-BE49-F238E27FC236}">
                <a16:creationId xmlns:a16="http://schemas.microsoft.com/office/drawing/2014/main" id="{69C561F8-9537-443F-84D7-5BA31A630390}"/>
              </a:ext>
            </a:extLst>
          </p:cNvPr>
          <p:cNvSpPr txBox="1"/>
          <p:nvPr/>
        </p:nvSpPr>
        <p:spPr>
          <a:xfrm>
            <a:off x="7566906" y="1576784"/>
            <a:ext cx="3866522" cy="369332"/>
          </a:xfrm>
          <a:prstGeom prst="rect">
            <a:avLst/>
          </a:prstGeom>
          <a:noFill/>
        </p:spPr>
        <p:txBody>
          <a:bodyPr wrap="square" rtlCol="0">
            <a:spAutoFit/>
          </a:bodyPr>
          <a:lstStyle/>
          <a:p>
            <a:pPr algn="ctr"/>
            <a:r>
              <a:rPr lang="en-US" b="1"/>
              <a:t>Industry Analysis</a:t>
            </a:r>
          </a:p>
        </p:txBody>
      </p:sp>
      <p:cxnSp>
        <p:nvCxnSpPr>
          <p:cNvPr id="67" name="Straight Connector 66">
            <a:extLst>
              <a:ext uri="{FF2B5EF4-FFF2-40B4-BE49-F238E27FC236}">
                <a16:creationId xmlns:a16="http://schemas.microsoft.com/office/drawing/2014/main" id="{24314999-E8B1-4BEF-BFC4-BE5DBF3DA720}"/>
              </a:ext>
            </a:extLst>
          </p:cNvPr>
          <p:cNvCxnSpPr>
            <a:cxnSpLocks/>
          </p:cNvCxnSpPr>
          <p:nvPr/>
        </p:nvCxnSpPr>
        <p:spPr>
          <a:xfrm flipV="1">
            <a:off x="435689" y="1913170"/>
            <a:ext cx="4160881" cy="22944"/>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1DABC767-9753-4BAF-88FE-9B3717D4D848}"/>
              </a:ext>
            </a:extLst>
          </p:cNvPr>
          <p:cNvCxnSpPr>
            <a:cxnSpLocks/>
          </p:cNvCxnSpPr>
          <p:nvPr/>
        </p:nvCxnSpPr>
        <p:spPr>
          <a:xfrm flipV="1">
            <a:off x="7502179" y="1930280"/>
            <a:ext cx="4160881" cy="22944"/>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04670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 name="Rectangle 7">
            <a:extLst>
              <a:ext uri="{FF2B5EF4-FFF2-40B4-BE49-F238E27FC236}">
                <a16:creationId xmlns:a16="http://schemas.microsoft.com/office/drawing/2014/main" id="{2B566528-1B12-4246-9431-5C2D7D0811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1CA1364-A5EC-0E9B-78B8-271E5708156B}"/>
              </a:ext>
            </a:extLst>
          </p:cNvPr>
          <p:cNvSpPr>
            <a:spLocks noGrp="1"/>
          </p:cNvSpPr>
          <p:nvPr>
            <p:ph type="title"/>
          </p:nvPr>
        </p:nvSpPr>
        <p:spPr>
          <a:xfrm>
            <a:off x="643467" y="321734"/>
            <a:ext cx="10905066" cy="1135737"/>
          </a:xfrm>
        </p:spPr>
        <p:txBody>
          <a:bodyPr>
            <a:normAutofit/>
          </a:bodyPr>
          <a:lstStyle/>
          <a:p>
            <a:r>
              <a:rPr lang="en-US" sz="3600"/>
              <a:t>Limitations in our Model</a:t>
            </a:r>
          </a:p>
        </p:txBody>
      </p:sp>
      <p:sp>
        <p:nvSpPr>
          <p:cNvPr id="3" name="Content Placeholder 2">
            <a:extLst>
              <a:ext uri="{FF2B5EF4-FFF2-40B4-BE49-F238E27FC236}">
                <a16:creationId xmlns:a16="http://schemas.microsoft.com/office/drawing/2014/main" id="{49683B0C-91F9-48F8-FA1C-FB5ED0B6C8FC}"/>
              </a:ext>
            </a:extLst>
          </p:cNvPr>
          <p:cNvSpPr>
            <a:spLocks noGrp="1"/>
          </p:cNvSpPr>
          <p:nvPr>
            <p:ph idx="1"/>
          </p:nvPr>
        </p:nvSpPr>
        <p:spPr>
          <a:xfrm>
            <a:off x="643467" y="1782981"/>
            <a:ext cx="10905066" cy="4393982"/>
          </a:xfrm>
        </p:spPr>
        <p:txBody>
          <a:bodyPr>
            <a:normAutofit/>
          </a:bodyPr>
          <a:lstStyle/>
          <a:p>
            <a:r>
              <a:rPr lang="en-US" sz="2400"/>
              <a:t>Logistic regression model is sensitive to outliers.</a:t>
            </a:r>
          </a:p>
          <a:p>
            <a:r>
              <a:rPr lang="en-US" sz="2400"/>
              <a:t>The minority class of Churn variable in our dataset is Yes which is only 29%,if there was slightly more data of the customers who churned, our model would have achieved a better accuracy and the cost of misidentifying false prediction would be comparatively less.</a:t>
            </a:r>
          </a:p>
          <a:p>
            <a:r>
              <a:rPr lang="en-US" sz="2400"/>
              <a:t>It is required that each training example be independent of all the other examples in the dataset. If they are related in some way, then the model will try to give more importance to those specific training examples.</a:t>
            </a:r>
          </a:p>
        </p:txBody>
      </p:sp>
      <p:sp>
        <p:nvSpPr>
          <p:cNvPr id="27" name="Rectangle 9">
            <a:extLst>
              <a:ext uri="{FF2B5EF4-FFF2-40B4-BE49-F238E27FC236}">
                <a16:creationId xmlns:a16="http://schemas.microsoft.com/office/drawing/2014/main" id="{2E80C965-DB6D-4F81-9E9E-B027384D0B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1052629" y="2120024"/>
            <a:ext cx="645368" cy="645368"/>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Isosceles Triangle 11">
            <a:extLst>
              <a:ext uri="{FF2B5EF4-FFF2-40B4-BE49-F238E27FC236}">
                <a16:creationId xmlns:a16="http://schemas.microsoft.com/office/drawing/2014/main" id="{A580F890-B085-4E95-96AA-55AEBEC5CE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0289068" y="1343027"/>
            <a:ext cx="2532832" cy="1273032"/>
          </a:xfrm>
          <a:prstGeom prst="triangle">
            <a:avLst>
              <a:gd name="adj" fmla="val 50000"/>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13">
            <a:extLst>
              <a:ext uri="{FF2B5EF4-FFF2-40B4-BE49-F238E27FC236}">
                <a16:creationId xmlns:a16="http://schemas.microsoft.com/office/drawing/2014/main" id="{D3F51FEB-38FB-4F6C-9F7B-2F2AFAB654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01760" y="5103257"/>
            <a:ext cx="2017580" cy="1014060"/>
          </a:xfrm>
          <a:prstGeom prst="triangle">
            <a:avLst>
              <a:gd name="adj" fmla="val 50000"/>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0" name="Rectangle 15">
            <a:extLst>
              <a:ext uri="{FF2B5EF4-FFF2-40B4-BE49-F238E27FC236}">
                <a16:creationId xmlns:a16="http://schemas.microsoft.com/office/drawing/2014/main" id="{1E547BA6-BAE0-43BB-A7CA-60F69CE252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427916" y="5728708"/>
            <a:ext cx="485578" cy="48557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257342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Freeform: Shape 11">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5D1270FE-5273-C00C-7371-81AB987D8A3D}"/>
              </a:ext>
            </a:extLst>
          </p:cNvPr>
          <p:cNvSpPr txBox="1"/>
          <p:nvPr/>
        </p:nvSpPr>
        <p:spPr>
          <a:xfrm>
            <a:off x="484096" y="1012004"/>
            <a:ext cx="4381009" cy="4795408"/>
          </a:xfrm>
          <a:prstGeom prst="rect">
            <a:avLst/>
          </a:prstGeom>
        </p:spPr>
        <p:txBody>
          <a:bodyPr vert="horz" lIns="91440" tIns="45720" rIns="91440" bIns="45720" rtlCol="0" anchor="ctr">
            <a:normAutofit/>
          </a:bodyPr>
          <a:lstStyle/>
          <a:p>
            <a:pPr algn="ctr">
              <a:lnSpc>
                <a:spcPct val="90000"/>
              </a:lnSpc>
              <a:spcBef>
                <a:spcPct val="0"/>
              </a:spcBef>
              <a:spcAft>
                <a:spcPts val="600"/>
              </a:spcAft>
            </a:pPr>
            <a:r>
              <a:rPr lang="en-US" sz="3600" kern="1200">
                <a:solidFill>
                  <a:srgbClr val="FFFFFF"/>
                </a:solidFill>
                <a:latin typeface="+mj-lt"/>
                <a:ea typeface="+mj-ea"/>
                <a:cs typeface="+mj-cs"/>
              </a:rPr>
              <a:t>RECOMMENDATIONS TO </a:t>
            </a:r>
            <a:r>
              <a:rPr lang="en-US" sz="3600">
                <a:solidFill>
                  <a:srgbClr val="FFFFFF"/>
                </a:solidFill>
                <a:latin typeface="+mj-lt"/>
                <a:ea typeface="+mj-ea"/>
                <a:cs typeface="+mj-cs"/>
              </a:rPr>
              <a:t>REDUCE</a:t>
            </a:r>
            <a:r>
              <a:rPr lang="en-US" sz="3600" kern="1200">
                <a:solidFill>
                  <a:srgbClr val="FFFFFF"/>
                </a:solidFill>
                <a:latin typeface="+mj-lt"/>
                <a:ea typeface="+mj-ea"/>
                <a:cs typeface="+mj-cs"/>
              </a:rPr>
              <a:t> THE CHURN RATE</a:t>
            </a:r>
          </a:p>
        </p:txBody>
      </p:sp>
      <p:graphicFrame>
        <p:nvGraphicFramePr>
          <p:cNvPr id="17" name="TextBox 4">
            <a:extLst>
              <a:ext uri="{FF2B5EF4-FFF2-40B4-BE49-F238E27FC236}">
                <a16:creationId xmlns:a16="http://schemas.microsoft.com/office/drawing/2014/main" id="{44D27E15-5A5F-E9C7-0E0D-C9C3EC44CD3F}"/>
              </a:ext>
            </a:extLst>
          </p:cNvPr>
          <p:cNvGraphicFramePr/>
          <p:nvPr>
            <p:extLst>
              <p:ext uri="{D42A27DB-BD31-4B8C-83A1-F6EECF244321}">
                <p14:modId xmlns:p14="http://schemas.microsoft.com/office/powerpoint/2010/main" val="2615985500"/>
              </p:ext>
            </p:extLst>
          </p:nvPr>
        </p:nvGraphicFramePr>
        <p:xfrm>
          <a:off x="5194300" y="470924"/>
          <a:ext cx="6513604" cy="58854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131486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8220B4-0E9F-847D-FF37-A1FEC9888399}"/>
              </a:ext>
            </a:extLst>
          </p:cNvPr>
          <p:cNvSpPr>
            <a:spLocks noGrp="1"/>
          </p:cNvSpPr>
          <p:nvPr>
            <p:ph type="title"/>
          </p:nvPr>
        </p:nvSpPr>
        <p:spPr/>
        <p:txBody>
          <a:bodyPr/>
          <a:lstStyle/>
          <a:p>
            <a:pPr algn="ctr"/>
            <a:r>
              <a:rPr lang="en-US">
                <a:solidFill>
                  <a:srgbClr val="0070C0"/>
                </a:solidFill>
                <a:ea typeface="Calibri Light"/>
                <a:cs typeface="Calibri Light"/>
              </a:rPr>
              <a:t>Appendix</a:t>
            </a:r>
            <a:endParaRPr lang="en-US">
              <a:solidFill>
                <a:srgbClr val="0070C0"/>
              </a:solidFill>
              <a:cs typeface="Calibri Light"/>
            </a:endParaRPr>
          </a:p>
        </p:txBody>
      </p:sp>
      <p:sp>
        <p:nvSpPr>
          <p:cNvPr id="3" name="Content Placeholder 2">
            <a:extLst>
              <a:ext uri="{FF2B5EF4-FFF2-40B4-BE49-F238E27FC236}">
                <a16:creationId xmlns:a16="http://schemas.microsoft.com/office/drawing/2014/main" id="{F4B0A67B-08BB-C48B-46BD-E759E2C4848F}"/>
              </a:ext>
            </a:extLst>
          </p:cNvPr>
          <p:cNvSpPr>
            <a:spLocks noGrp="1"/>
          </p:cNvSpPr>
          <p:nvPr>
            <p:ph idx="1"/>
          </p:nvPr>
        </p:nvSpPr>
        <p:spPr/>
        <p:txBody>
          <a:bodyPr vert="horz" lIns="91440" tIns="45720" rIns="91440" bIns="45720" rtlCol="0" anchor="t">
            <a:normAutofit fontScale="92500" lnSpcReduction="10000"/>
          </a:bodyPr>
          <a:lstStyle/>
          <a:p>
            <a:r>
              <a:rPr lang="en-US">
                <a:cs typeface="Calibri"/>
              </a:rPr>
              <a:t>Please find the Link to our R-Script below:</a:t>
            </a:r>
          </a:p>
          <a:p>
            <a:pPr marL="0" indent="0">
              <a:buNone/>
            </a:pPr>
            <a:r>
              <a:rPr lang="en-US">
                <a:ea typeface="Calibri"/>
                <a:cs typeface="Calibri"/>
              </a:rPr>
              <a:t>   </a:t>
            </a:r>
            <a:r>
              <a:rPr lang="en-US">
                <a:ea typeface="Calibri"/>
                <a:cs typeface="Calibri"/>
                <a:hlinkClick r:id="rId2"/>
              </a:rPr>
              <a:t>https://utdallas.box.com/s/9rxmhvo2i0rz59h20kc22rfgqvl1yimj</a:t>
            </a:r>
          </a:p>
          <a:p>
            <a:pPr marL="0" indent="0">
              <a:buNone/>
            </a:pPr>
            <a:endParaRPr lang="en-US">
              <a:ea typeface="Calibri"/>
              <a:cs typeface="Calibri"/>
            </a:endParaRPr>
          </a:p>
          <a:p>
            <a:r>
              <a:rPr lang="en-US">
                <a:ea typeface="Calibri"/>
                <a:cs typeface="Calibri"/>
              </a:rPr>
              <a:t>Links to our research resources:</a:t>
            </a:r>
          </a:p>
          <a:p>
            <a:r>
              <a:rPr lang="en-US">
                <a:ea typeface="+mn-lt"/>
                <a:cs typeface="+mn-lt"/>
                <a:hlinkClick r:id="rId3"/>
              </a:rPr>
              <a:t>T-Mobile US, Inc. - Financials - Annual Reports &amp; Proxy Statements</a:t>
            </a:r>
            <a:endParaRPr lang="en-US">
              <a:ea typeface="Calibri"/>
              <a:cs typeface="Calibri"/>
            </a:endParaRPr>
          </a:p>
          <a:p>
            <a:r>
              <a:rPr lang="en-US">
                <a:ea typeface="+mn-lt"/>
                <a:cs typeface="+mn-lt"/>
                <a:hlinkClick r:id="rId4"/>
              </a:rPr>
              <a:t>Inline XBRL Viewer (sec.gov)</a:t>
            </a:r>
            <a:endParaRPr lang="en-US">
              <a:ea typeface="Calibri"/>
              <a:cs typeface="Calibri"/>
            </a:endParaRPr>
          </a:p>
          <a:p>
            <a:r>
              <a:rPr lang="en-US">
                <a:ea typeface="+mn-lt"/>
                <a:cs typeface="+mn-lt"/>
                <a:hlinkClick r:id="rId5"/>
              </a:rPr>
              <a:t>http://fernfortuniversity.com/term-papers/swot/nyse/3976-t-mobile-us--inc-.php</a:t>
            </a:r>
            <a:endParaRPr lang="en-US"/>
          </a:p>
          <a:p>
            <a:r>
              <a:rPr lang="en-US">
                <a:ea typeface="+mn-lt"/>
                <a:cs typeface="+mn-lt"/>
                <a:hlinkClick r:id="rId6"/>
              </a:rPr>
              <a:t>https://www.swotandpestle.com/t-mobile/</a:t>
            </a:r>
            <a:endParaRPr lang="en-US"/>
          </a:p>
          <a:p>
            <a:r>
              <a:rPr lang="en-US">
                <a:ea typeface="Calibri"/>
                <a:cs typeface="Calibri"/>
                <a:hlinkClick r:id="rId7"/>
              </a:rPr>
              <a:t>https://www.kaggle.com/datasets/jpacse/datasets-for-churn-telecom</a:t>
            </a:r>
            <a:endParaRPr lang="en-US">
              <a:ea typeface="Calibri"/>
              <a:cs typeface="Calibri"/>
            </a:endParaRPr>
          </a:p>
          <a:p>
            <a:pPr marL="0" indent="0">
              <a:buNone/>
            </a:pPr>
            <a:endParaRPr lang="en-US">
              <a:ea typeface="Calibri"/>
              <a:cs typeface="Calibri"/>
            </a:endParaRPr>
          </a:p>
          <a:p>
            <a:endParaRPr lang="en-US">
              <a:ea typeface="Calibri"/>
              <a:cs typeface="Calibri"/>
            </a:endParaRPr>
          </a:p>
          <a:p>
            <a:pPr marL="0" indent="0">
              <a:buNone/>
            </a:pPr>
            <a:endParaRPr lang="en-US">
              <a:ea typeface="Calibri"/>
              <a:cs typeface="Calibri"/>
            </a:endParaRPr>
          </a:p>
          <a:p>
            <a:endParaRPr lang="en-US">
              <a:ea typeface="Calibri"/>
              <a:cs typeface="Calibri"/>
            </a:endParaRPr>
          </a:p>
          <a:p>
            <a:pPr marL="0" indent="0">
              <a:buNone/>
            </a:pPr>
            <a:endParaRPr lang="en-US">
              <a:ea typeface="Calibri"/>
              <a:cs typeface="Calibri"/>
            </a:endParaRPr>
          </a:p>
          <a:p>
            <a:endParaRPr lang="en-US">
              <a:ea typeface="Calibri"/>
              <a:cs typeface="Calibri"/>
            </a:endParaRPr>
          </a:p>
          <a:p>
            <a:endParaRPr lang="en-US">
              <a:ea typeface="Calibri"/>
              <a:cs typeface="Calibri"/>
            </a:endParaRPr>
          </a:p>
          <a:p>
            <a:endParaRPr lang="en-US">
              <a:ea typeface="Calibri"/>
              <a:cs typeface="Calibri"/>
            </a:endParaRPr>
          </a:p>
        </p:txBody>
      </p:sp>
    </p:spTree>
    <p:extLst>
      <p:ext uri="{BB962C8B-B14F-4D97-AF65-F5344CB8AC3E}">
        <p14:creationId xmlns:p14="http://schemas.microsoft.com/office/powerpoint/2010/main" val="889784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3C994B4-9721-4148-9EEC-6793CECDE8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3" y="-1"/>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8" name="Rectangle 27">
            <a:extLst>
              <a:ext uri="{FF2B5EF4-FFF2-40B4-BE49-F238E27FC236}">
                <a16:creationId xmlns:a16="http://schemas.microsoft.com/office/drawing/2014/main" id="{F9D95E49-763A-4886-B038-82F7347405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30" name="Rectangle 29">
            <a:extLst>
              <a:ext uri="{FF2B5EF4-FFF2-40B4-BE49-F238E27FC236}">
                <a16:creationId xmlns:a16="http://schemas.microsoft.com/office/drawing/2014/main" id="{541CEA24-8518-4C08-A11E-B7E64FB31F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78324" y="699899"/>
            <a:ext cx="10713676" cy="5433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4972012-3A37-85A1-8D0B-E8E352E2D19F}"/>
              </a:ext>
            </a:extLst>
          </p:cNvPr>
          <p:cNvSpPr txBox="1"/>
          <p:nvPr/>
        </p:nvSpPr>
        <p:spPr>
          <a:xfrm>
            <a:off x="4918515" y="1416581"/>
            <a:ext cx="6092786" cy="2127287"/>
          </a:xfrm>
          <a:prstGeom prst="rect">
            <a:avLst/>
          </a:prstGeom>
        </p:spPr>
        <p:txBody>
          <a:bodyPr rot="0" spcFirstLastPara="0" vertOverflow="overflow" horzOverflow="overflow" vert="horz" lIns="91440" tIns="45720" rIns="91440" bIns="45720" numCol="1" spcCol="0" rtlCol="0" fromWordArt="0" anchor="b" anchorCtr="0" forceAA="0" compatLnSpc="1">
            <a:prstTxWarp prst="textNoShape">
              <a:avLst/>
            </a:prstTxWarp>
            <a:normAutofit/>
          </a:bodyPr>
          <a:lstStyle/>
          <a:p>
            <a:pPr>
              <a:lnSpc>
                <a:spcPct val="90000"/>
              </a:lnSpc>
              <a:spcBef>
                <a:spcPct val="0"/>
              </a:spcBef>
              <a:spcAft>
                <a:spcPts val="600"/>
              </a:spcAft>
            </a:pPr>
            <a:r>
              <a:rPr lang="en-US" sz="4800" kern="1200">
                <a:solidFill>
                  <a:schemeClr val="tx1"/>
                </a:solidFill>
                <a:latin typeface="+mj-lt"/>
                <a:ea typeface="+mj-ea"/>
                <a:cs typeface="+mj-cs"/>
              </a:rPr>
              <a:t>Thank You</a:t>
            </a:r>
          </a:p>
        </p:txBody>
      </p:sp>
      <p:cxnSp>
        <p:nvCxnSpPr>
          <p:cNvPr id="32" name="Straight Connector 31">
            <a:extLst>
              <a:ext uri="{FF2B5EF4-FFF2-40B4-BE49-F238E27FC236}">
                <a16:creationId xmlns:a16="http://schemas.microsoft.com/office/drawing/2014/main" id="{5D28AB17-F6FA-4C53-B3E3-D0A39D4A33C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11365990" y="5610"/>
            <a:ext cx="0" cy="685800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EFADC67-92A1-44FB-8691-D8CD71A21EF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18001"/>
            <a:ext cx="12192000" cy="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4AA74EAB-FD76-4F40-A962-CEADC30542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0" y="1425172"/>
            <a:ext cx="1469410" cy="4695345"/>
          </a:xfrm>
          <a:prstGeom prst="rect">
            <a:avLst/>
          </a:prstGeom>
          <a:solidFill>
            <a:schemeClr val="accent1">
              <a:alpha val="2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0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endParaRPr>
          </a:p>
        </p:txBody>
      </p:sp>
      <p:pic>
        <p:nvPicPr>
          <p:cNvPr id="10" name="Graphic 9" descr="Smiling Face with No Fill">
            <a:extLst>
              <a:ext uri="{FF2B5EF4-FFF2-40B4-BE49-F238E27FC236}">
                <a16:creationId xmlns:a16="http://schemas.microsoft.com/office/drawing/2014/main" id="{2E19C10E-FC7F-CC00-4521-988CEE58076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2899" y="2355650"/>
            <a:ext cx="3756276" cy="3756276"/>
          </a:xfrm>
          <a:prstGeom prst="rect">
            <a:avLst/>
          </a:prstGeom>
        </p:spPr>
      </p:pic>
      <p:sp>
        <p:nvSpPr>
          <p:cNvPr id="4" name="TextBox 3">
            <a:extLst>
              <a:ext uri="{FF2B5EF4-FFF2-40B4-BE49-F238E27FC236}">
                <a16:creationId xmlns:a16="http://schemas.microsoft.com/office/drawing/2014/main" id="{D15705AD-A7CF-4C5B-C456-D7B671C22500}"/>
              </a:ext>
            </a:extLst>
          </p:cNvPr>
          <p:cNvSpPr txBox="1"/>
          <p:nvPr/>
        </p:nvSpPr>
        <p:spPr>
          <a:xfrm>
            <a:off x="4724400" y="3200399"/>
            <a:ext cx="274319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ea typeface="Calibri"/>
              <a:cs typeface="Calibri"/>
            </a:endParaRPr>
          </a:p>
        </p:txBody>
      </p:sp>
    </p:spTree>
    <p:extLst>
      <p:ext uri="{BB962C8B-B14F-4D97-AF65-F5344CB8AC3E}">
        <p14:creationId xmlns:p14="http://schemas.microsoft.com/office/powerpoint/2010/main" val="8703509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AC666-A77D-D648-AC41-B8BEA4891845}"/>
              </a:ext>
            </a:extLst>
          </p:cNvPr>
          <p:cNvSpPr>
            <a:spLocks noGrp="1"/>
          </p:cNvSpPr>
          <p:nvPr>
            <p:ph type="title"/>
          </p:nvPr>
        </p:nvSpPr>
        <p:spPr>
          <a:xfrm>
            <a:off x="685801" y="518159"/>
            <a:ext cx="10809807" cy="1066800"/>
          </a:xfrm>
        </p:spPr>
        <p:txBody>
          <a:bodyPr>
            <a:normAutofit/>
          </a:bodyPr>
          <a:lstStyle/>
          <a:p>
            <a:pPr algn="ctr"/>
            <a:r>
              <a:rPr lang="en-US">
                <a:solidFill>
                  <a:schemeClr val="accent1"/>
                </a:solidFill>
              </a:rPr>
              <a:t>Overview on the Industry</a:t>
            </a:r>
            <a:endParaRPr lang="en-US">
              <a:solidFill>
                <a:schemeClr val="accent1"/>
              </a:solidFill>
              <a:cs typeface="Calibri Light"/>
            </a:endParaRPr>
          </a:p>
        </p:txBody>
      </p:sp>
      <p:pic>
        <p:nvPicPr>
          <p:cNvPr id="5" name="Picture 4">
            <a:extLst>
              <a:ext uri="{FF2B5EF4-FFF2-40B4-BE49-F238E27FC236}">
                <a16:creationId xmlns:a16="http://schemas.microsoft.com/office/drawing/2014/main" id="{681EB44E-191D-DD4F-B6D7-2FCDB688F613}"/>
              </a:ext>
            </a:extLst>
          </p:cNvPr>
          <p:cNvPicPr>
            <a:picLocks noChangeAspect="1"/>
          </p:cNvPicPr>
          <p:nvPr/>
        </p:nvPicPr>
        <p:blipFill>
          <a:blip r:embed="rId2" cstate="print">
            <a:biLevel thresh="25000"/>
            <a:extLst>
              <a:ext uri="{BEBA8EAE-BF5A-486C-A8C5-ECC9F3942E4B}">
                <a14:imgProps xmlns:a14="http://schemas.microsoft.com/office/drawing/2010/main">
                  <a14:imgLayer r:embed="rId3">
                    <a14:imgEffect>
                      <a14:colorTemperature colorTemp="11500"/>
                    </a14:imgEffect>
                    <a14:imgEffect>
                      <a14:saturation sat="0"/>
                    </a14:imgEffect>
                  </a14:imgLayer>
                </a14:imgProps>
              </a:ext>
              <a:ext uri="{28A0092B-C50C-407E-A947-70E740481C1C}">
                <a14:useLocalDpi xmlns:a14="http://schemas.microsoft.com/office/drawing/2010/main"/>
              </a:ext>
            </a:extLst>
          </a:blip>
          <a:stretch>
            <a:fillRect/>
          </a:stretch>
        </p:blipFill>
        <p:spPr>
          <a:xfrm>
            <a:off x="1416872" y="2238007"/>
            <a:ext cx="938155" cy="938155"/>
          </a:xfrm>
          <a:prstGeom prst="rect">
            <a:avLst/>
          </a:prstGeom>
          <a:ln>
            <a:noFill/>
          </a:ln>
        </p:spPr>
      </p:pic>
      <p:sp>
        <p:nvSpPr>
          <p:cNvPr id="6" name="Rectangle 5">
            <a:extLst>
              <a:ext uri="{FF2B5EF4-FFF2-40B4-BE49-F238E27FC236}">
                <a16:creationId xmlns:a16="http://schemas.microsoft.com/office/drawing/2014/main" id="{4795B5FF-44A5-FA4C-8F95-BCB493C1DEBA}"/>
              </a:ext>
            </a:extLst>
          </p:cNvPr>
          <p:cNvSpPr/>
          <p:nvPr/>
        </p:nvSpPr>
        <p:spPr>
          <a:xfrm>
            <a:off x="609601" y="3429000"/>
            <a:ext cx="2552699" cy="3123932"/>
          </a:xfrm>
          <a:prstGeom prst="rect">
            <a:avLst/>
          </a:prstGeom>
        </p:spPr>
        <p:txBody>
          <a:bodyPr wrap="square">
            <a:spAutoFit/>
          </a:bodyPr>
          <a:lstStyle/>
          <a:p>
            <a:pPr algn="ctr"/>
            <a:r>
              <a:rPr lang="en-US" b="1"/>
              <a:t>Bargaining Power of Suppliers</a:t>
            </a:r>
          </a:p>
          <a:p>
            <a:endParaRPr lang="en-US" sz="1700"/>
          </a:p>
          <a:p>
            <a:pPr marL="285750" indent="-285750">
              <a:buFont typeface="Arial" panose="020B0604020202020204" pitchFamily="34" charset="0"/>
              <a:buChar char="•"/>
            </a:pPr>
            <a:r>
              <a:rPr lang="en-IN"/>
              <a:t>Low Bargaining Power as T-Mobile has deep pockets</a:t>
            </a:r>
          </a:p>
          <a:p>
            <a:pPr marL="285750" indent="-285750">
              <a:buFont typeface="Arial" panose="020B0604020202020204" pitchFamily="34" charset="0"/>
              <a:buChar char="•"/>
            </a:pPr>
            <a:r>
              <a:rPr lang="en-IN"/>
              <a:t>Power Asymmetry due to the size of T-Mobile that gives suppliers low negotiation power</a:t>
            </a:r>
            <a:endParaRPr lang="en-US" sz="1700"/>
          </a:p>
        </p:txBody>
      </p:sp>
      <p:sp>
        <p:nvSpPr>
          <p:cNvPr id="13" name="Rectangle 12">
            <a:extLst>
              <a:ext uri="{FF2B5EF4-FFF2-40B4-BE49-F238E27FC236}">
                <a16:creationId xmlns:a16="http://schemas.microsoft.com/office/drawing/2014/main" id="{73B89F71-0DB4-1047-B324-0066AEEEA0DD}"/>
              </a:ext>
            </a:extLst>
          </p:cNvPr>
          <p:cNvSpPr/>
          <p:nvPr/>
        </p:nvSpPr>
        <p:spPr>
          <a:xfrm>
            <a:off x="3472399" y="3429001"/>
            <a:ext cx="2552699" cy="3277820"/>
          </a:xfrm>
          <a:prstGeom prst="rect">
            <a:avLst/>
          </a:prstGeom>
        </p:spPr>
        <p:txBody>
          <a:bodyPr wrap="square">
            <a:spAutoFit/>
          </a:bodyPr>
          <a:lstStyle/>
          <a:p>
            <a:pPr algn="ctr"/>
            <a:r>
              <a:rPr lang="en-US" b="1"/>
              <a:t>Bargaining Power of Customers</a:t>
            </a:r>
          </a:p>
          <a:p>
            <a:pPr algn="ctr"/>
            <a:endParaRPr lang="en-US" b="1"/>
          </a:p>
          <a:p>
            <a:pPr marL="285750" indent="-285750">
              <a:buFont typeface="Arial" panose="020B0604020202020204" pitchFamily="34" charset="0"/>
              <a:buChar char="•"/>
            </a:pPr>
            <a:r>
              <a:rPr lang="en-IN" sz="1700"/>
              <a:t>Customer power is significant in the telecom industry.</a:t>
            </a:r>
          </a:p>
          <a:p>
            <a:pPr marL="285750" indent="-285750">
              <a:buFont typeface="Arial" panose="020B0604020202020204" pitchFamily="34" charset="0"/>
              <a:buChar char="•"/>
            </a:pPr>
            <a:r>
              <a:rPr lang="en-IN" sz="1700"/>
              <a:t>Easy and inexpensive switch to another provider so understanding churn behaviour is very crucial</a:t>
            </a:r>
          </a:p>
        </p:txBody>
      </p:sp>
      <p:sp>
        <p:nvSpPr>
          <p:cNvPr id="15" name="Rectangle 14">
            <a:extLst>
              <a:ext uri="{FF2B5EF4-FFF2-40B4-BE49-F238E27FC236}">
                <a16:creationId xmlns:a16="http://schemas.microsoft.com/office/drawing/2014/main" id="{6FAB703D-0CAE-E749-B3BC-CD88288BC164}"/>
              </a:ext>
            </a:extLst>
          </p:cNvPr>
          <p:cNvSpPr/>
          <p:nvPr/>
        </p:nvSpPr>
        <p:spPr>
          <a:xfrm>
            <a:off x="6335197" y="3429000"/>
            <a:ext cx="2552699" cy="2985433"/>
          </a:xfrm>
          <a:prstGeom prst="rect">
            <a:avLst/>
          </a:prstGeom>
        </p:spPr>
        <p:txBody>
          <a:bodyPr wrap="square">
            <a:spAutoFit/>
          </a:bodyPr>
          <a:lstStyle/>
          <a:p>
            <a:r>
              <a:rPr lang="en-US" b="1"/>
              <a:t>Threat of New Entrants</a:t>
            </a:r>
            <a:endParaRPr lang="en-IN" b="1"/>
          </a:p>
          <a:p>
            <a:endParaRPr lang="en-US" sz="1700"/>
          </a:p>
          <a:p>
            <a:pPr marL="285750" indent="-285750">
              <a:buFont typeface="Arial" panose="020B0604020202020204" pitchFamily="34" charset="0"/>
              <a:buChar char="•"/>
            </a:pPr>
            <a:r>
              <a:rPr lang="en-US" sz="1700"/>
              <a:t>Very low risk of new competitors due to the substantial establishment cost</a:t>
            </a:r>
          </a:p>
          <a:p>
            <a:pPr marL="285750" indent="-285750">
              <a:buFont typeface="Arial" panose="020B0604020202020204" pitchFamily="34" charset="0"/>
              <a:buChar char="•"/>
            </a:pPr>
            <a:r>
              <a:rPr lang="en-US" sz="1700"/>
              <a:t>Labyrinth of government regulations can take years before building a network.  </a:t>
            </a:r>
          </a:p>
        </p:txBody>
      </p:sp>
      <p:sp>
        <p:nvSpPr>
          <p:cNvPr id="16" name="Rectangle 15">
            <a:extLst>
              <a:ext uri="{FF2B5EF4-FFF2-40B4-BE49-F238E27FC236}">
                <a16:creationId xmlns:a16="http://schemas.microsoft.com/office/drawing/2014/main" id="{689EB6A5-CF7D-B540-8F6A-A2682C2BC8E8}"/>
              </a:ext>
            </a:extLst>
          </p:cNvPr>
          <p:cNvSpPr/>
          <p:nvPr/>
        </p:nvSpPr>
        <p:spPr>
          <a:xfrm>
            <a:off x="9197994" y="3429000"/>
            <a:ext cx="2552700" cy="3077766"/>
          </a:xfrm>
          <a:prstGeom prst="rect">
            <a:avLst/>
          </a:prstGeom>
        </p:spPr>
        <p:txBody>
          <a:bodyPr wrap="square">
            <a:spAutoFit/>
          </a:bodyPr>
          <a:lstStyle/>
          <a:p>
            <a:pPr algn="ctr"/>
            <a:r>
              <a:rPr lang="en-US" b="1"/>
              <a:t>Availability of Substitute Products</a:t>
            </a:r>
            <a:endParaRPr lang="en-IN" b="1"/>
          </a:p>
          <a:p>
            <a:endParaRPr lang="en-US" sz="1700"/>
          </a:p>
          <a:p>
            <a:pPr marL="285750" indent="-285750">
              <a:buFont typeface="Arial" panose="020B0604020202020204" pitchFamily="34" charset="0"/>
              <a:buChar char="•"/>
            </a:pPr>
            <a:r>
              <a:rPr lang="en-US" sz="1700"/>
              <a:t>Biggest threat of all is carrier substitution from providers like </a:t>
            </a:r>
            <a:r>
              <a:rPr lang="en-IN" sz="1700"/>
              <a:t>AT&amp;T, Verizon, or Sprint. </a:t>
            </a:r>
          </a:p>
          <a:p>
            <a:pPr marL="285750" indent="-285750">
              <a:buFont typeface="Arial" panose="020B0604020202020204" pitchFamily="34" charset="0"/>
              <a:buChar char="•"/>
            </a:pPr>
            <a:r>
              <a:rPr lang="en-IN" sz="1700"/>
              <a:t>Differentiating factor is low with the chasm narrowing by the day. </a:t>
            </a:r>
            <a:endParaRPr lang="en-US" sz="1700"/>
          </a:p>
        </p:txBody>
      </p:sp>
      <p:cxnSp>
        <p:nvCxnSpPr>
          <p:cNvPr id="17" name="Straight Connector 16">
            <a:extLst>
              <a:ext uri="{FF2B5EF4-FFF2-40B4-BE49-F238E27FC236}">
                <a16:creationId xmlns:a16="http://schemas.microsoft.com/office/drawing/2014/main" id="{8CFDB85D-B1B1-2C4A-8F4A-ED7A560F7671}"/>
              </a:ext>
            </a:extLst>
          </p:cNvPr>
          <p:cNvCxnSpPr>
            <a:cxnSpLocks/>
          </p:cNvCxnSpPr>
          <p:nvPr/>
        </p:nvCxnSpPr>
        <p:spPr>
          <a:xfrm>
            <a:off x="695682" y="1676400"/>
            <a:ext cx="10800637" cy="0"/>
          </a:xfrm>
          <a:prstGeom prst="line">
            <a:avLst/>
          </a:prstGeom>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6FD4F70F-C3CD-C26F-5BC3-ABB3DF9FB3C6}"/>
              </a:ext>
            </a:extLst>
          </p:cNvPr>
          <p:cNvPicPr>
            <a:picLocks noChangeAspect="1"/>
          </p:cNvPicPr>
          <p:nvPr/>
        </p:nvPicPr>
        <p:blipFill>
          <a:blip r:embed="rId4" cstate="print">
            <a:biLevel thresh="25000"/>
            <a:extLst>
              <a:ext uri="{BEBA8EAE-BF5A-486C-A8C5-ECC9F3942E4B}">
                <a14:imgProps xmlns:a14="http://schemas.microsoft.com/office/drawing/2010/main">
                  <a14:imgLayer r:embed="rId5">
                    <a14:imgEffect>
                      <a14:colorTemperature colorTemp="11500"/>
                    </a14:imgEffect>
                    <a14:imgEffect>
                      <a14:saturation sat="0"/>
                    </a14:imgEffect>
                  </a14:imgLayer>
                </a14:imgProps>
              </a:ext>
              <a:ext uri="{28A0092B-C50C-407E-A947-70E740481C1C}">
                <a14:useLocalDpi xmlns:a14="http://schemas.microsoft.com/office/drawing/2010/main"/>
              </a:ext>
            </a:extLst>
          </a:blip>
          <a:stretch>
            <a:fillRect/>
          </a:stretch>
        </p:blipFill>
        <p:spPr>
          <a:xfrm>
            <a:off x="4324500" y="2337437"/>
            <a:ext cx="773489" cy="861054"/>
          </a:xfrm>
          <a:prstGeom prst="rect">
            <a:avLst/>
          </a:prstGeom>
        </p:spPr>
      </p:pic>
      <p:pic>
        <p:nvPicPr>
          <p:cNvPr id="2050" name="Picture 2">
            <a:extLst>
              <a:ext uri="{FF2B5EF4-FFF2-40B4-BE49-F238E27FC236}">
                <a16:creationId xmlns:a16="http://schemas.microsoft.com/office/drawing/2014/main" id="{C3593B0A-8414-494F-50C2-64FA33F4340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79590" y="2313354"/>
            <a:ext cx="970938" cy="97093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755F6F24-9881-2B78-3402-2474E52B0B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64520" y="2337437"/>
            <a:ext cx="1000122" cy="100012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565B2EFD-0E16-A11A-6494-35F529CEEAAF}"/>
              </a:ext>
            </a:extLst>
          </p:cNvPr>
          <p:cNvSpPr/>
          <p:nvPr/>
        </p:nvSpPr>
        <p:spPr>
          <a:xfrm>
            <a:off x="10451805" y="435939"/>
            <a:ext cx="127590" cy="127590"/>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E3042E50-22C7-6DFC-595E-9BAB3A8DDD72}"/>
              </a:ext>
            </a:extLst>
          </p:cNvPr>
          <p:cNvSpPr/>
          <p:nvPr/>
        </p:nvSpPr>
        <p:spPr>
          <a:xfrm>
            <a:off x="10455343" y="832895"/>
            <a:ext cx="127590" cy="127590"/>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EAD17646-47C6-DA40-1663-714DF8DF76BD}"/>
              </a:ext>
            </a:extLst>
          </p:cNvPr>
          <p:cNvSpPr/>
          <p:nvPr/>
        </p:nvSpPr>
        <p:spPr>
          <a:xfrm>
            <a:off x="10437615" y="1219216"/>
            <a:ext cx="127590" cy="127590"/>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FE24515-D83D-4FF1-F27C-610001CEA5E1}"/>
              </a:ext>
            </a:extLst>
          </p:cNvPr>
          <p:cNvSpPr/>
          <p:nvPr/>
        </p:nvSpPr>
        <p:spPr>
          <a:xfrm>
            <a:off x="861237" y="1913860"/>
            <a:ext cx="2062716" cy="15948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C479B7C2-B1B3-9A13-5675-43CCCBA60ED1}"/>
              </a:ext>
            </a:extLst>
          </p:cNvPr>
          <p:cNvSpPr/>
          <p:nvPr/>
        </p:nvSpPr>
        <p:spPr>
          <a:xfrm>
            <a:off x="3735583" y="1917398"/>
            <a:ext cx="2062716" cy="15948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8D2750DA-741C-8179-6B90-7EC65DECA383}"/>
              </a:ext>
            </a:extLst>
          </p:cNvPr>
          <p:cNvSpPr/>
          <p:nvPr/>
        </p:nvSpPr>
        <p:spPr>
          <a:xfrm>
            <a:off x="6500061" y="1949301"/>
            <a:ext cx="2062716" cy="159489"/>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D75F37C-CE36-654D-8687-25C0E16AEA95}"/>
              </a:ext>
            </a:extLst>
          </p:cNvPr>
          <p:cNvSpPr/>
          <p:nvPr/>
        </p:nvSpPr>
        <p:spPr>
          <a:xfrm>
            <a:off x="9321240" y="1942206"/>
            <a:ext cx="2062716" cy="15948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2278FA0-3AA9-4306-C75E-4622ACA5E832}"/>
              </a:ext>
            </a:extLst>
          </p:cNvPr>
          <p:cNvSpPr txBox="1"/>
          <p:nvPr/>
        </p:nvSpPr>
        <p:spPr>
          <a:xfrm>
            <a:off x="10600654" y="361508"/>
            <a:ext cx="905485" cy="276999"/>
          </a:xfrm>
          <a:prstGeom prst="rect">
            <a:avLst/>
          </a:prstGeom>
          <a:noFill/>
        </p:spPr>
        <p:txBody>
          <a:bodyPr wrap="square" rtlCol="0">
            <a:spAutoFit/>
          </a:bodyPr>
          <a:lstStyle/>
          <a:p>
            <a:r>
              <a:rPr lang="en-US" sz="1200"/>
              <a:t>Positive</a:t>
            </a:r>
          </a:p>
        </p:txBody>
      </p:sp>
      <p:sp>
        <p:nvSpPr>
          <p:cNvPr id="26" name="TextBox 25">
            <a:extLst>
              <a:ext uri="{FF2B5EF4-FFF2-40B4-BE49-F238E27FC236}">
                <a16:creationId xmlns:a16="http://schemas.microsoft.com/office/drawing/2014/main" id="{24D4B785-8A01-BBA5-F11E-B7C8BEC2CD15}"/>
              </a:ext>
            </a:extLst>
          </p:cNvPr>
          <p:cNvSpPr txBox="1"/>
          <p:nvPr/>
        </p:nvSpPr>
        <p:spPr>
          <a:xfrm>
            <a:off x="10614825" y="758459"/>
            <a:ext cx="905485" cy="276999"/>
          </a:xfrm>
          <a:prstGeom prst="rect">
            <a:avLst/>
          </a:prstGeom>
          <a:noFill/>
        </p:spPr>
        <p:txBody>
          <a:bodyPr wrap="square" rtlCol="0">
            <a:spAutoFit/>
          </a:bodyPr>
          <a:lstStyle/>
          <a:p>
            <a:r>
              <a:rPr lang="en-US" sz="1200"/>
              <a:t>Neutral</a:t>
            </a:r>
          </a:p>
        </p:txBody>
      </p:sp>
      <p:sp>
        <p:nvSpPr>
          <p:cNvPr id="27" name="TextBox 26">
            <a:extLst>
              <a:ext uri="{FF2B5EF4-FFF2-40B4-BE49-F238E27FC236}">
                <a16:creationId xmlns:a16="http://schemas.microsoft.com/office/drawing/2014/main" id="{9EA017E9-A7F8-4FC1-0277-4C71B544DC34}"/>
              </a:ext>
            </a:extLst>
          </p:cNvPr>
          <p:cNvSpPr txBox="1"/>
          <p:nvPr/>
        </p:nvSpPr>
        <p:spPr>
          <a:xfrm>
            <a:off x="10597102" y="1144777"/>
            <a:ext cx="905485" cy="276999"/>
          </a:xfrm>
          <a:prstGeom prst="rect">
            <a:avLst/>
          </a:prstGeom>
          <a:noFill/>
        </p:spPr>
        <p:txBody>
          <a:bodyPr wrap="square" rtlCol="0">
            <a:spAutoFit/>
          </a:bodyPr>
          <a:lstStyle/>
          <a:p>
            <a:r>
              <a:rPr lang="en-US" sz="1200"/>
              <a:t>Negative</a:t>
            </a:r>
          </a:p>
        </p:txBody>
      </p:sp>
    </p:spTree>
    <p:extLst>
      <p:ext uri="{BB962C8B-B14F-4D97-AF65-F5344CB8AC3E}">
        <p14:creationId xmlns:p14="http://schemas.microsoft.com/office/powerpoint/2010/main" val="2007155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9C7589-0236-64A3-EC62-7680C6750E71}"/>
              </a:ext>
            </a:extLst>
          </p:cNvPr>
          <p:cNvSpPr>
            <a:spLocks noGrp="1"/>
          </p:cNvSpPr>
          <p:nvPr>
            <p:ph type="title"/>
          </p:nvPr>
        </p:nvSpPr>
        <p:spPr>
          <a:xfrm>
            <a:off x="648929" y="629266"/>
            <a:ext cx="3505495" cy="1809134"/>
          </a:xfrm>
        </p:spPr>
        <p:txBody>
          <a:bodyPr>
            <a:normAutofit fontScale="90000"/>
          </a:bodyPr>
          <a:lstStyle/>
          <a:p>
            <a:pPr algn="ctr"/>
            <a:r>
              <a:rPr lang="en-US" sz="5300">
                <a:solidFill>
                  <a:schemeClr val="accent1"/>
                </a:solidFill>
              </a:rPr>
              <a:t>Firm Description</a:t>
            </a:r>
            <a:br>
              <a:rPr lang="en-US">
                <a:solidFill>
                  <a:schemeClr val="accent1"/>
                </a:solidFill>
              </a:rPr>
            </a:br>
            <a:endParaRPr lang="en-US">
              <a:solidFill>
                <a:schemeClr val="accent1"/>
              </a:solidFill>
              <a:cs typeface="Calibri Light"/>
            </a:endParaRPr>
          </a:p>
        </p:txBody>
      </p:sp>
      <p:sp>
        <p:nvSpPr>
          <p:cNvPr id="3" name="Content Placeholder 2">
            <a:extLst>
              <a:ext uri="{FF2B5EF4-FFF2-40B4-BE49-F238E27FC236}">
                <a16:creationId xmlns:a16="http://schemas.microsoft.com/office/drawing/2014/main" id="{1E640FA1-03EA-1AA6-4950-383D1B96B8DD}"/>
              </a:ext>
            </a:extLst>
          </p:cNvPr>
          <p:cNvSpPr>
            <a:spLocks noGrp="1"/>
          </p:cNvSpPr>
          <p:nvPr>
            <p:ph idx="1"/>
          </p:nvPr>
        </p:nvSpPr>
        <p:spPr>
          <a:xfrm>
            <a:off x="648931" y="2438400"/>
            <a:ext cx="3505494" cy="3785419"/>
          </a:xfrm>
        </p:spPr>
        <p:txBody>
          <a:bodyPr>
            <a:normAutofit/>
          </a:bodyPr>
          <a:lstStyle/>
          <a:p>
            <a:pPr marL="285750" indent="-285750"/>
            <a:r>
              <a:rPr lang="en-US" sz="2400"/>
              <a:t>Founded in 1994</a:t>
            </a:r>
          </a:p>
          <a:p>
            <a:pPr marL="285750" indent="-285750"/>
            <a:r>
              <a:rPr lang="en-US" sz="2400"/>
              <a:t>Founded by John W. Stanton</a:t>
            </a:r>
          </a:p>
          <a:p>
            <a:pPr marL="285750" indent="-285750"/>
            <a:r>
              <a:rPr lang="en-US" sz="2400"/>
              <a:t>Headquartered in Bellevue, Washington</a:t>
            </a:r>
          </a:p>
          <a:p>
            <a:pPr marL="285750" indent="-285750"/>
            <a:r>
              <a:rPr lang="en-US" sz="2400"/>
              <a:t>Number of Operating Locations: 20,100</a:t>
            </a:r>
          </a:p>
          <a:p>
            <a:pPr marL="285750" indent="-285750"/>
            <a:r>
              <a:rPr lang="en-US" sz="2400"/>
              <a:t>Number of Employees: Approx. 85,000</a:t>
            </a:r>
          </a:p>
          <a:p>
            <a:pPr marL="0" indent="0">
              <a:buNone/>
            </a:pPr>
            <a:endParaRPr lang="en-US" sz="2000"/>
          </a:p>
        </p:txBody>
      </p:sp>
      <p:sp>
        <p:nvSpPr>
          <p:cNvPr id="9" name="Rectangle 8">
            <a:extLst>
              <a:ext uri="{FF2B5EF4-FFF2-40B4-BE49-F238E27FC236}">
                <a16:creationId xmlns:a16="http://schemas.microsoft.com/office/drawing/2014/main" id="{5E39A796-BE83-48B1-B33F-35C4A32AAB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39056" y="0"/>
            <a:ext cx="7552944" cy="6858000"/>
          </a:xfrm>
          <a:prstGeom prst="rect">
            <a:avLst/>
          </a:prstGeom>
          <a:solidFill>
            <a:srgbClr val="C8CA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9">
            <a:extLst>
              <a:ext uri="{FF2B5EF4-FFF2-40B4-BE49-F238E27FC236}">
                <a16:creationId xmlns:a16="http://schemas.microsoft.com/office/drawing/2014/main" id="{72F84B47-E267-4194-8194-831DB7B554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3688" y="557784"/>
            <a:ext cx="6584098" cy="5739187"/>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Logo, company name&#10;&#10;Description automatically generated">
            <a:extLst>
              <a:ext uri="{FF2B5EF4-FFF2-40B4-BE49-F238E27FC236}">
                <a16:creationId xmlns:a16="http://schemas.microsoft.com/office/drawing/2014/main" id="{6D8CAF87-13A2-8FA0-DA99-446961E97AEB}"/>
              </a:ext>
            </a:extLst>
          </p:cNvPr>
          <p:cNvPicPr>
            <a:picLocks noChangeAspect="1"/>
          </p:cNvPicPr>
          <p:nvPr/>
        </p:nvPicPr>
        <p:blipFill>
          <a:blip r:embed="rId2"/>
          <a:stretch>
            <a:fillRect/>
          </a:stretch>
        </p:blipFill>
        <p:spPr>
          <a:xfrm>
            <a:off x="5405862" y="2080552"/>
            <a:ext cx="6019331" cy="2693650"/>
          </a:xfrm>
          <a:prstGeom prst="rect">
            <a:avLst/>
          </a:prstGeom>
          <a:effectLst/>
        </p:spPr>
      </p:pic>
    </p:spTree>
    <p:extLst>
      <p:ext uri="{BB962C8B-B14F-4D97-AF65-F5344CB8AC3E}">
        <p14:creationId xmlns:p14="http://schemas.microsoft.com/office/powerpoint/2010/main" val="1740628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C8908E2-EE49-44D2-9428-A28D2312A8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grpSp>
        <p:nvGrpSpPr>
          <p:cNvPr id="15" name="Group 14">
            <a:extLst>
              <a:ext uri="{FF2B5EF4-FFF2-40B4-BE49-F238E27FC236}">
                <a16:creationId xmlns:a16="http://schemas.microsoft.com/office/drawing/2014/main" id="{5D1A9D8B-3117-4D9D-BDA4-DD81895098B0}"/>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7467600" cy="6858000"/>
            <a:chOff x="7467600" y="0"/>
            <a:chExt cx="4724400" cy="6858000"/>
          </a:xfrm>
        </p:grpSpPr>
        <p:sp>
          <p:nvSpPr>
            <p:cNvPr id="16" name="Rectangle 15">
              <a:extLst>
                <a:ext uri="{FF2B5EF4-FFF2-40B4-BE49-F238E27FC236}">
                  <a16:creationId xmlns:a16="http://schemas.microsoft.com/office/drawing/2014/main" id="{A7877B25-8C10-4C8D-BC88-BF3C557F8FF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467600" y="0"/>
              <a:ext cx="4724400" cy="6858000"/>
            </a:xfrm>
            <a:prstGeom prst="rect">
              <a:avLst/>
            </a:prstGeom>
            <a:solidFill>
              <a:schemeClr val="accent5">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54F0DD86-96CD-4F5F-BA4D-FFC17F2D6C4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467600" y="0"/>
              <a:ext cx="4724400" cy="6858000"/>
            </a:xfrm>
            <a:prstGeom prst="rect">
              <a:avLst/>
            </a:prstGeom>
            <a:solidFill>
              <a:schemeClr val="accent6">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9" name="Freeform: Shape 18">
            <a:extLst>
              <a:ext uri="{FF2B5EF4-FFF2-40B4-BE49-F238E27FC236}">
                <a16:creationId xmlns:a16="http://schemas.microsoft.com/office/drawing/2014/main" id="{BD92035A-AA2F-4CD8-A556-1CE8BDEC75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369701" cy="6858000"/>
          </a:xfrm>
          <a:custGeom>
            <a:avLst/>
            <a:gdLst>
              <a:gd name="connsiteX0" fmla="*/ 369702 w 7467600"/>
              <a:gd name="connsiteY0" fmla="*/ 6712169 h 6858000"/>
              <a:gd name="connsiteX1" fmla="*/ 366575 w 7467600"/>
              <a:gd name="connsiteY1" fmla="*/ 6715556 h 6858000"/>
              <a:gd name="connsiteX2" fmla="*/ 371637 w 7467600"/>
              <a:gd name="connsiteY2" fmla="*/ 6713954 h 6858000"/>
              <a:gd name="connsiteX3" fmla="*/ 7090188 w 7467600"/>
              <a:gd name="connsiteY3" fmla="*/ 6584365 h 6858000"/>
              <a:gd name="connsiteX4" fmla="*/ 7440138 w 7467600"/>
              <a:gd name="connsiteY4" fmla="*/ 6622648 h 6858000"/>
              <a:gd name="connsiteX5" fmla="*/ 7467600 w 7467600"/>
              <a:gd name="connsiteY5" fmla="*/ 6628217 h 6858000"/>
              <a:gd name="connsiteX6" fmla="*/ 7467600 w 7467600"/>
              <a:gd name="connsiteY6" fmla="*/ 6668575 h 6858000"/>
              <a:gd name="connsiteX7" fmla="*/ 7392322 w 7467600"/>
              <a:gd name="connsiteY7" fmla="*/ 6658238 h 6858000"/>
              <a:gd name="connsiteX8" fmla="*/ 7467600 w 7467600"/>
              <a:gd name="connsiteY8" fmla="*/ 6683873 h 6858000"/>
              <a:gd name="connsiteX9" fmla="*/ 7467600 w 7467600"/>
              <a:gd name="connsiteY9" fmla="*/ 6714215 h 6858000"/>
              <a:gd name="connsiteX10" fmla="*/ 7447383 w 7467600"/>
              <a:gd name="connsiteY10" fmla="*/ 6707202 h 6858000"/>
              <a:gd name="connsiteX11" fmla="*/ 7289862 w 7467600"/>
              <a:gd name="connsiteY11" fmla="*/ 6659827 h 6858000"/>
              <a:gd name="connsiteX12" fmla="*/ 7434024 w 7467600"/>
              <a:gd name="connsiteY12" fmla="*/ 6722130 h 6858000"/>
              <a:gd name="connsiteX13" fmla="*/ 7467600 w 7467600"/>
              <a:gd name="connsiteY13" fmla="*/ 6736157 h 6858000"/>
              <a:gd name="connsiteX14" fmla="*/ 7467600 w 7467600"/>
              <a:gd name="connsiteY14" fmla="*/ 6767913 h 6858000"/>
              <a:gd name="connsiteX15" fmla="*/ 7271814 w 7467600"/>
              <a:gd name="connsiteY15" fmla="*/ 6684601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7090188 w 7467600"/>
              <a:gd name="connsiteY21" fmla="*/ 6584365 h 6858000"/>
              <a:gd name="connsiteX22" fmla="*/ 1019354 w 7467600"/>
              <a:gd name="connsiteY22" fmla="*/ 6315006 h 6858000"/>
              <a:gd name="connsiteX23" fmla="*/ 441046 w 7467600"/>
              <a:gd name="connsiteY23" fmla="*/ 6691153 h 6858000"/>
              <a:gd name="connsiteX24" fmla="*/ 1019354 w 7467600"/>
              <a:gd name="connsiteY24" fmla="*/ 6315006 h 6858000"/>
              <a:gd name="connsiteX25" fmla="*/ 991680 w 7467600"/>
              <a:gd name="connsiteY25" fmla="*/ 6298413 h 6858000"/>
              <a:gd name="connsiteX26" fmla="*/ 409060 w 7467600"/>
              <a:gd name="connsiteY26" fmla="*/ 6671470 h 6858000"/>
              <a:gd name="connsiteX27" fmla="*/ 991680 w 7467600"/>
              <a:gd name="connsiteY27" fmla="*/ 6298413 h 6858000"/>
              <a:gd name="connsiteX28" fmla="*/ 103333 w 7467600"/>
              <a:gd name="connsiteY28" fmla="*/ 5699602 h 6858000"/>
              <a:gd name="connsiteX29" fmla="*/ 233938 w 7467600"/>
              <a:gd name="connsiteY29" fmla="*/ 5809416 h 6858000"/>
              <a:gd name="connsiteX30" fmla="*/ 883580 w 7467600"/>
              <a:gd name="connsiteY30" fmla="*/ 6180710 h 6858000"/>
              <a:gd name="connsiteX31" fmla="*/ 487337 w 7467600"/>
              <a:gd name="connsiteY31" fmla="*/ 5950182 h 6858000"/>
              <a:gd name="connsiteX32" fmla="*/ 354051 w 7467600"/>
              <a:gd name="connsiteY32" fmla="*/ 5854912 h 6858000"/>
              <a:gd name="connsiteX33" fmla="*/ 195436 w 7467600"/>
              <a:gd name="connsiteY33" fmla="*/ 5755068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6861797 w 7467600"/>
              <a:gd name="connsiteY74" fmla="*/ 5419899 h 6858000"/>
              <a:gd name="connsiteX75" fmla="*/ 6879594 w 7467600"/>
              <a:gd name="connsiteY75" fmla="*/ 5424547 h 6858000"/>
              <a:gd name="connsiteX76" fmla="*/ 7379510 w 7467600"/>
              <a:gd name="connsiteY76" fmla="*/ 5755454 h 6858000"/>
              <a:gd name="connsiteX77" fmla="*/ 7467600 w 7467600"/>
              <a:gd name="connsiteY77" fmla="*/ 5845526 h 6858000"/>
              <a:gd name="connsiteX78" fmla="*/ 7467600 w 7467600"/>
              <a:gd name="connsiteY78" fmla="*/ 5925131 h 6858000"/>
              <a:gd name="connsiteX79" fmla="*/ 7271900 w 7467600"/>
              <a:gd name="connsiteY79" fmla="*/ 5734551 h 6858000"/>
              <a:gd name="connsiteX80" fmla="*/ 7015907 w 7467600"/>
              <a:gd name="connsiteY80" fmla="*/ 5541548 h 6858000"/>
              <a:gd name="connsiteX81" fmla="*/ 7259646 w 7467600"/>
              <a:gd name="connsiteY81" fmla="*/ 5765985 h 6858000"/>
              <a:gd name="connsiteX82" fmla="*/ 7467600 w 7467600"/>
              <a:gd name="connsiteY82" fmla="*/ 5971257 h 6858000"/>
              <a:gd name="connsiteX83" fmla="*/ 7467600 w 7467600"/>
              <a:gd name="connsiteY83" fmla="*/ 6012219 h 6858000"/>
              <a:gd name="connsiteX84" fmla="*/ 7240170 w 7467600"/>
              <a:gd name="connsiteY84" fmla="*/ 5787985 h 6858000"/>
              <a:gd name="connsiteX85" fmla="*/ 6946849 w 7467600"/>
              <a:gd name="connsiteY85" fmla="*/ 5523271 h 6858000"/>
              <a:gd name="connsiteX86" fmla="*/ 6946972 w 7467600"/>
              <a:gd name="connsiteY86" fmla="*/ 5526491 h 6858000"/>
              <a:gd name="connsiteX87" fmla="*/ 7105827 w 7467600"/>
              <a:gd name="connsiteY87" fmla="*/ 5718700 h 6858000"/>
              <a:gd name="connsiteX88" fmla="*/ 7126431 w 7467600"/>
              <a:gd name="connsiteY88" fmla="*/ 5737872 h 6858000"/>
              <a:gd name="connsiteX89" fmla="*/ 7356878 w 7467600"/>
              <a:gd name="connsiteY89" fmla="*/ 5981332 h 6858000"/>
              <a:gd name="connsiteX90" fmla="*/ 7467600 w 7467600"/>
              <a:gd name="connsiteY90" fmla="*/ 6117703 h 6858000"/>
              <a:gd name="connsiteX91" fmla="*/ 7467600 w 7467600"/>
              <a:gd name="connsiteY91" fmla="*/ 6163634 h 6858000"/>
              <a:gd name="connsiteX92" fmla="*/ 7403637 w 7467600"/>
              <a:gd name="connsiteY92" fmla="*/ 6083957 h 6858000"/>
              <a:gd name="connsiteX93" fmla="*/ 7254615 w 7467600"/>
              <a:gd name="connsiteY93" fmla="*/ 5911918 h 6858000"/>
              <a:gd name="connsiteX94" fmla="*/ 7312589 w 7467600"/>
              <a:gd name="connsiteY94" fmla="*/ 5982309 h 6858000"/>
              <a:gd name="connsiteX95" fmla="*/ 7448321 w 7467600"/>
              <a:gd name="connsiteY95" fmla="*/ 6190991 h 6858000"/>
              <a:gd name="connsiteX96" fmla="*/ 7467600 w 7467600"/>
              <a:gd name="connsiteY96" fmla="*/ 6221686 h 6858000"/>
              <a:gd name="connsiteX97" fmla="*/ 7467600 w 7467600"/>
              <a:gd name="connsiteY97" fmla="*/ 6334256 h 6858000"/>
              <a:gd name="connsiteX98" fmla="*/ 7454976 w 7467600"/>
              <a:gd name="connsiteY98" fmla="*/ 6318297 h 6858000"/>
              <a:gd name="connsiteX99" fmla="*/ 7042773 w 7467600"/>
              <a:gd name="connsiteY99" fmla="*/ 5734011 h 6858000"/>
              <a:gd name="connsiteX100" fmla="*/ 6844835 w 7467600"/>
              <a:gd name="connsiteY100" fmla="*/ 5424988 h 6858000"/>
              <a:gd name="connsiteX101" fmla="*/ 6861797 w 7467600"/>
              <a:gd name="connsiteY101" fmla="*/ 5419899 h 6858000"/>
              <a:gd name="connsiteX102" fmla="*/ 1456157 w 7467600"/>
              <a:gd name="connsiteY102" fmla="*/ 5371404 h 6858000"/>
              <a:gd name="connsiteX103" fmla="*/ 1244432 w 7467600"/>
              <a:gd name="connsiteY103" fmla="*/ 5385601 h 6858000"/>
              <a:gd name="connsiteX104" fmla="*/ 973990 w 7467600"/>
              <a:gd name="connsiteY104" fmla="*/ 5424940 h 6858000"/>
              <a:gd name="connsiteX105" fmla="*/ 1103809 w 7467600"/>
              <a:gd name="connsiteY105" fmla="*/ 5433720 h 6858000"/>
              <a:gd name="connsiteX106" fmla="*/ 1123454 w 7467600"/>
              <a:gd name="connsiteY106" fmla="*/ 5435727 h 6858000"/>
              <a:gd name="connsiteX107" fmla="*/ 1737017 w 7467600"/>
              <a:gd name="connsiteY107" fmla="*/ 5452183 h 6858000"/>
              <a:gd name="connsiteX108" fmla="*/ 1824397 w 7467600"/>
              <a:gd name="connsiteY108" fmla="*/ 5447757 h 6858000"/>
              <a:gd name="connsiteX109" fmla="*/ 2070059 w 7467600"/>
              <a:gd name="connsiteY109" fmla="*/ 5441660 h 6858000"/>
              <a:gd name="connsiteX110" fmla="*/ 1456157 w 7467600"/>
              <a:gd name="connsiteY110" fmla="*/ 5371404 h 6858000"/>
              <a:gd name="connsiteX111" fmla="*/ 4988186 w 7467600"/>
              <a:gd name="connsiteY111" fmla="*/ 5216467 h 6858000"/>
              <a:gd name="connsiteX112" fmla="*/ 4777334 w 7467600"/>
              <a:gd name="connsiteY112" fmla="*/ 5406072 h 6858000"/>
              <a:gd name="connsiteX113" fmla="*/ 4718341 w 7467600"/>
              <a:gd name="connsiteY113" fmla="*/ 5468043 h 6858000"/>
              <a:gd name="connsiteX114" fmla="*/ 4604655 w 7467600"/>
              <a:gd name="connsiteY114" fmla="*/ 5583434 h 6858000"/>
              <a:gd name="connsiteX115" fmla="*/ 4565074 w 7467600"/>
              <a:gd name="connsiteY115" fmla="*/ 5618550 h 6858000"/>
              <a:gd name="connsiteX116" fmla="*/ 4988186 w 7467600"/>
              <a:gd name="connsiteY116" fmla="*/ 5216467 h 6858000"/>
              <a:gd name="connsiteX117" fmla="*/ 4978032 w 7467600"/>
              <a:gd name="connsiteY117" fmla="*/ 5183809 h 6858000"/>
              <a:gd name="connsiteX118" fmla="*/ 4463413 w 7467600"/>
              <a:gd name="connsiteY118" fmla="*/ 5615162 h 6858000"/>
              <a:gd name="connsiteX119" fmla="*/ 4358134 w 7467600"/>
              <a:gd name="connsiteY119" fmla="*/ 5742791 h 6858000"/>
              <a:gd name="connsiteX120" fmla="*/ 4376219 w 7467600"/>
              <a:gd name="connsiteY120" fmla="*/ 5729027 h 6858000"/>
              <a:gd name="connsiteX121" fmla="*/ 4582340 w 7467600"/>
              <a:gd name="connsiteY121" fmla="*/ 5561037 h 6858000"/>
              <a:gd name="connsiteX122" fmla="*/ 4694684 w 7467600"/>
              <a:gd name="connsiteY122" fmla="*/ 5447098 h 6858000"/>
              <a:gd name="connsiteX123" fmla="*/ 4754123 w 7467600"/>
              <a:gd name="connsiteY123" fmla="*/ 5384643 h 6858000"/>
              <a:gd name="connsiteX124" fmla="*/ 4978032 w 7467600"/>
              <a:gd name="connsiteY124" fmla="*/ 5183809 h 6858000"/>
              <a:gd name="connsiteX125" fmla="*/ 7133363 w 7467600"/>
              <a:gd name="connsiteY125" fmla="*/ 5050246 h 6858000"/>
              <a:gd name="connsiteX126" fmla="*/ 7450656 w 7467600"/>
              <a:gd name="connsiteY126" fmla="*/ 5134750 h 6858000"/>
              <a:gd name="connsiteX127" fmla="*/ 7467600 w 7467600"/>
              <a:gd name="connsiteY127" fmla="*/ 5142496 h 6858000"/>
              <a:gd name="connsiteX128" fmla="*/ 7467600 w 7467600"/>
              <a:gd name="connsiteY128" fmla="*/ 5158623 h 6858000"/>
              <a:gd name="connsiteX129" fmla="*/ 7427076 w 7467600"/>
              <a:gd name="connsiteY129" fmla="*/ 5142684 h 6858000"/>
              <a:gd name="connsiteX130" fmla="*/ 7467600 w 7467600"/>
              <a:gd name="connsiteY130" fmla="*/ 5164774 h 6858000"/>
              <a:gd name="connsiteX131" fmla="*/ 7467600 w 7467600"/>
              <a:gd name="connsiteY131" fmla="*/ 5199146 h 6858000"/>
              <a:gd name="connsiteX132" fmla="*/ 7391022 w 7467600"/>
              <a:gd name="connsiteY132" fmla="*/ 5158141 h 6858000"/>
              <a:gd name="connsiteX133" fmla="*/ 7312201 w 7467600"/>
              <a:gd name="connsiteY133" fmla="*/ 5128278 h 6858000"/>
              <a:gd name="connsiteX134" fmla="*/ 7343603 w 7467600"/>
              <a:gd name="connsiteY134" fmla="*/ 5149746 h 6858000"/>
              <a:gd name="connsiteX135" fmla="*/ 7467600 w 7467600"/>
              <a:gd name="connsiteY135" fmla="*/ 5241225 h 6858000"/>
              <a:gd name="connsiteX136" fmla="*/ 7467600 w 7467600"/>
              <a:gd name="connsiteY136" fmla="*/ 5277736 h 6858000"/>
              <a:gd name="connsiteX137" fmla="*/ 7327465 w 7467600"/>
              <a:gd name="connsiteY137" fmla="*/ 5174181 h 6858000"/>
              <a:gd name="connsiteX138" fmla="*/ 7244057 w 7467600"/>
              <a:gd name="connsiteY138" fmla="*/ 5124233 h 6858000"/>
              <a:gd name="connsiteX139" fmla="*/ 7353035 w 7467600"/>
              <a:gd name="connsiteY139" fmla="*/ 5197318 h 6858000"/>
              <a:gd name="connsiteX140" fmla="*/ 7467600 w 7467600"/>
              <a:gd name="connsiteY140" fmla="*/ 5297634 h 6858000"/>
              <a:gd name="connsiteX141" fmla="*/ 7467600 w 7467600"/>
              <a:gd name="connsiteY141" fmla="*/ 5361850 h 6858000"/>
              <a:gd name="connsiteX142" fmla="*/ 7368569 w 7467600"/>
              <a:gd name="connsiteY142" fmla="*/ 5270182 h 6858000"/>
              <a:gd name="connsiteX143" fmla="*/ 7131946 w 7467600"/>
              <a:gd name="connsiteY143" fmla="*/ 5075653 h 6858000"/>
              <a:gd name="connsiteX144" fmla="*/ 7133363 w 7467600"/>
              <a:gd name="connsiteY144" fmla="*/ 5050246 h 6858000"/>
              <a:gd name="connsiteX145" fmla="*/ 1903353 w 7467600"/>
              <a:gd name="connsiteY145" fmla="*/ 5044827 h 6858000"/>
              <a:gd name="connsiteX146" fmla="*/ 1936931 w 7467600"/>
              <a:gd name="connsiteY146" fmla="*/ 5093954 h 6858000"/>
              <a:gd name="connsiteX147" fmla="*/ 2195868 w 7467600"/>
              <a:gd name="connsiteY147" fmla="*/ 5396574 h 6858000"/>
              <a:gd name="connsiteX148" fmla="*/ 2088852 w 7467600"/>
              <a:gd name="connsiteY148" fmla="*/ 5166123 h 6858000"/>
              <a:gd name="connsiteX149" fmla="*/ 1958241 w 7467600"/>
              <a:gd name="connsiteY149" fmla="*/ 5067955 h 6858000"/>
              <a:gd name="connsiteX150" fmla="*/ 1903353 w 7467600"/>
              <a:gd name="connsiteY150" fmla="*/ 5044827 h 6858000"/>
              <a:gd name="connsiteX151" fmla="*/ 1979378 w 7467600"/>
              <a:gd name="connsiteY151" fmla="*/ 4769504 h 6858000"/>
              <a:gd name="connsiteX152" fmla="*/ 2882120 w 7467600"/>
              <a:gd name="connsiteY152" fmla="*/ 5064547 h 6858000"/>
              <a:gd name="connsiteX153" fmla="*/ 2793103 w 7467600"/>
              <a:gd name="connsiteY153" fmla="*/ 5039699 h 6858000"/>
              <a:gd name="connsiteX154" fmla="*/ 2770041 w 7467600"/>
              <a:gd name="connsiteY154" fmla="*/ 5033634 h 6858000"/>
              <a:gd name="connsiteX155" fmla="*/ 1979378 w 7467600"/>
              <a:gd name="connsiteY155" fmla="*/ 4769504 h 6858000"/>
              <a:gd name="connsiteX156" fmla="*/ 1927410 w 7467600"/>
              <a:gd name="connsiteY156" fmla="*/ 4716164 h 6858000"/>
              <a:gd name="connsiteX157" fmla="*/ 1959587 w 7467600"/>
              <a:gd name="connsiteY157" fmla="*/ 4728849 h 6858000"/>
              <a:gd name="connsiteX158" fmla="*/ 2777707 w 7467600"/>
              <a:gd name="connsiteY158" fmla="*/ 5003991 h 6858000"/>
              <a:gd name="connsiteX159" fmla="*/ 2800768 w 7467600"/>
              <a:gd name="connsiteY159" fmla="*/ 5010056 h 6858000"/>
              <a:gd name="connsiteX160" fmla="*/ 2879408 w 7467600"/>
              <a:gd name="connsiteY160" fmla="*/ 5031590 h 6858000"/>
              <a:gd name="connsiteX161" fmla="*/ 2862295 w 7467600"/>
              <a:gd name="connsiteY161" fmla="*/ 5022958 h 6858000"/>
              <a:gd name="connsiteX162" fmla="*/ 2813343 w 7467600"/>
              <a:gd name="connsiteY162" fmla="*/ 4998369 h 6858000"/>
              <a:gd name="connsiteX163" fmla="*/ 2646245 w 7467600"/>
              <a:gd name="connsiteY163" fmla="*/ 4930999 h 6858000"/>
              <a:gd name="connsiteX164" fmla="*/ 1999243 w 7467600"/>
              <a:gd name="connsiteY164" fmla="*/ 4730524 h 6858000"/>
              <a:gd name="connsiteX165" fmla="*/ 1979527 w 7467600"/>
              <a:gd name="connsiteY165" fmla="*/ 4726651 h 6858000"/>
              <a:gd name="connsiteX166" fmla="*/ 1997014 w 7467600"/>
              <a:gd name="connsiteY166" fmla="*/ 4698007 h 6858000"/>
              <a:gd name="connsiteX167" fmla="*/ 2005458 w 7467600"/>
              <a:gd name="connsiteY167" fmla="*/ 4699540 h 6858000"/>
              <a:gd name="connsiteX168" fmla="*/ 2657186 w 7467600"/>
              <a:gd name="connsiteY168" fmla="*/ 4901687 h 6858000"/>
              <a:gd name="connsiteX169" fmla="*/ 2826662 w 7467600"/>
              <a:gd name="connsiteY169" fmla="*/ 4970362 h 6858000"/>
              <a:gd name="connsiteX170" fmla="*/ 2876100 w 7467600"/>
              <a:gd name="connsiteY170" fmla="*/ 4995397 h 6858000"/>
              <a:gd name="connsiteX171" fmla="*/ 3042600 w 7467600"/>
              <a:gd name="connsiteY171" fmla="*/ 5059532 h 6858000"/>
              <a:gd name="connsiteX172" fmla="*/ 1997014 w 7467600"/>
              <a:gd name="connsiteY172" fmla="*/ 4698007 h 6858000"/>
              <a:gd name="connsiteX173" fmla="*/ 2305292 w 7467600"/>
              <a:gd name="connsiteY173" fmla="*/ 4219492 h 6858000"/>
              <a:gd name="connsiteX174" fmla="*/ 3360922 w 7467600"/>
              <a:gd name="connsiteY174" fmla="*/ 4529373 h 6858000"/>
              <a:gd name="connsiteX175" fmla="*/ 3492420 w 7467600"/>
              <a:gd name="connsiteY175" fmla="*/ 4510145 h 6858000"/>
              <a:gd name="connsiteX176" fmla="*/ 3364086 w 7467600"/>
              <a:gd name="connsiteY176" fmla="*/ 4480340 h 6858000"/>
              <a:gd name="connsiteX177" fmla="*/ 3225818 w 7467600"/>
              <a:gd name="connsiteY177" fmla="*/ 4411822 h 6858000"/>
              <a:gd name="connsiteX178" fmla="*/ 3129696 w 7467600"/>
              <a:gd name="connsiteY178" fmla="*/ 4360704 h 6858000"/>
              <a:gd name="connsiteX179" fmla="*/ 2814545 w 7467600"/>
              <a:gd name="connsiteY179" fmla="*/ 4282955 h 6858000"/>
              <a:gd name="connsiteX180" fmla="*/ 2305292 w 7467600"/>
              <a:gd name="connsiteY180" fmla="*/ 4219492 h 6858000"/>
              <a:gd name="connsiteX181" fmla="*/ 2626982 w 7467600"/>
              <a:gd name="connsiteY181" fmla="*/ 4206450 h 6858000"/>
              <a:gd name="connsiteX182" fmla="*/ 2490617 w 7467600"/>
              <a:gd name="connsiteY182" fmla="*/ 4206951 h 6858000"/>
              <a:gd name="connsiteX183" fmla="*/ 2819869 w 7467600"/>
              <a:gd name="connsiteY183" fmla="*/ 4252936 h 6858000"/>
              <a:gd name="connsiteX184" fmla="*/ 3143018 w 7467600"/>
              <a:gd name="connsiteY184" fmla="*/ 4332698 h 6858000"/>
              <a:gd name="connsiteX185" fmla="*/ 3241520 w 7467600"/>
              <a:gd name="connsiteY185" fmla="*/ 4385112 h 6858000"/>
              <a:gd name="connsiteX186" fmla="*/ 3374575 w 7467600"/>
              <a:gd name="connsiteY186" fmla="*/ 4451517 h 6858000"/>
              <a:gd name="connsiteX187" fmla="*/ 3505221 w 7467600"/>
              <a:gd name="connsiteY187" fmla="*/ 4480757 h 6858000"/>
              <a:gd name="connsiteX188" fmla="*/ 2626982 w 7467600"/>
              <a:gd name="connsiteY188" fmla="*/ 4206450 h 6858000"/>
              <a:gd name="connsiteX189" fmla="*/ 1310106 w 7467600"/>
              <a:gd name="connsiteY189" fmla="*/ 3943217 h 6858000"/>
              <a:gd name="connsiteX190" fmla="*/ 854994 w 7467600"/>
              <a:gd name="connsiteY190" fmla="*/ 4399136 h 6858000"/>
              <a:gd name="connsiteX191" fmla="*/ 742462 w 7467600"/>
              <a:gd name="connsiteY191" fmla="*/ 4594648 h 6858000"/>
              <a:gd name="connsiteX192" fmla="*/ 820602 w 7467600"/>
              <a:gd name="connsiteY192" fmla="*/ 4485915 h 6858000"/>
              <a:gd name="connsiteX193" fmla="*/ 878295 w 7467600"/>
              <a:gd name="connsiteY193" fmla="*/ 4403594 h 6858000"/>
              <a:gd name="connsiteX194" fmla="*/ 1240607 w 7467600"/>
              <a:gd name="connsiteY194" fmla="*/ 4010401 h 6858000"/>
              <a:gd name="connsiteX195" fmla="*/ 1423113 w 7467600"/>
              <a:gd name="connsiteY195" fmla="*/ 3874565 h 6858000"/>
              <a:gd name="connsiteX196" fmla="*/ 1260565 w 7467600"/>
              <a:gd name="connsiteY196" fmla="*/ 4031982 h 6858000"/>
              <a:gd name="connsiteX197" fmla="*/ 901900 w 7467600"/>
              <a:gd name="connsiteY197" fmla="*/ 4421236 h 6858000"/>
              <a:gd name="connsiteX198" fmla="*/ 845044 w 7467600"/>
              <a:gd name="connsiteY198" fmla="*/ 4502436 h 6858000"/>
              <a:gd name="connsiteX199" fmla="*/ 685926 w 7467600"/>
              <a:gd name="connsiteY199" fmla="*/ 4703069 h 6858000"/>
              <a:gd name="connsiteX200" fmla="*/ 684248 w 7467600"/>
              <a:gd name="connsiteY200" fmla="*/ 4706721 h 6858000"/>
              <a:gd name="connsiteX201" fmla="*/ 1423113 w 7467600"/>
              <a:gd name="connsiteY201" fmla="*/ 3874565 h 6858000"/>
              <a:gd name="connsiteX202" fmla="*/ 3316479 w 7467600"/>
              <a:gd name="connsiteY202" fmla="*/ 3872136 h 6858000"/>
              <a:gd name="connsiteX203" fmla="*/ 3546806 w 7467600"/>
              <a:gd name="connsiteY203" fmla="*/ 4356139 h 6858000"/>
              <a:gd name="connsiteX204" fmla="*/ 3364433 w 7467600"/>
              <a:gd name="connsiteY204" fmla="*/ 3953121 h 6858000"/>
              <a:gd name="connsiteX205" fmla="*/ 3291335 w 7467600"/>
              <a:gd name="connsiteY205" fmla="*/ 3767420 h 6858000"/>
              <a:gd name="connsiteX206" fmla="*/ 3390805 w 7467600"/>
              <a:gd name="connsiteY206" fmla="*/ 3937163 h 6858000"/>
              <a:gd name="connsiteX207" fmla="*/ 3579062 w 7467600"/>
              <a:gd name="connsiteY207" fmla="*/ 4359040 h 6858000"/>
              <a:gd name="connsiteX208" fmla="*/ 3467355 w 7467600"/>
              <a:gd name="connsiteY208" fmla="*/ 3988130 h 6858000"/>
              <a:gd name="connsiteX209" fmla="*/ 3310753 w 7467600"/>
              <a:gd name="connsiteY209" fmla="*/ 3787140 h 6858000"/>
              <a:gd name="connsiteX210" fmla="*/ 3291335 w 7467600"/>
              <a:gd name="connsiteY210" fmla="*/ 3767420 h 6858000"/>
              <a:gd name="connsiteX211" fmla="*/ 1635889 w 7467600"/>
              <a:gd name="connsiteY211" fmla="*/ 3709494 h 6858000"/>
              <a:gd name="connsiteX212" fmla="*/ 1634800 w 7467600"/>
              <a:gd name="connsiteY212" fmla="*/ 3731111 h 6858000"/>
              <a:gd name="connsiteX213" fmla="*/ 1635889 w 7467600"/>
              <a:gd name="connsiteY213" fmla="*/ 3709494 h 6858000"/>
              <a:gd name="connsiteX214" fmla="*/ 1510397 w 7467600"/>
              <a:gd name="connsiteY214" fmla="*/ 3684705 h 6858000"/>
              <a:gd name="connsiteX215" fmla="*/ 1146550 w 7467600"/>
              <a:gd name="connsiteY215" fmla="*/ 3802012 h 6858000"/>
              <a:gd name="connsiteX216" fmla="*/ 698834 w 7467600"/>
              <a:gd name="connsiteY216" fmla="*/ 3952272 h 6858000"/>
              <a:gd name="connsiteX217" fmla="*/ 34256 w 7467600"/>
              <a:gd name="connsiteY217" fmla="*/ 4347603 h 6858000"/>
              <a:gd name="connsiteX218" fmla="*/ 527241 w 7467600"/>
              <a:gd name="connsiteY218" fmla="*/ 4065078 h 6858000"/>
              <a:gd name="connsiteX219" fmla="*/ 1510397 w 7467600"/>
              <a:gd name="connsiteY219" fmla="*/ 3684705 h 6858000"/>
              <a:gd name="connsiteX220" fmla="*/ 1313114 w 7467600"/>
              <a:gd name="connsiteY220" fmla="*/ 3655216 h 6858000"/>
              <a:gd name="connsiteX221" fmla="*/ 1109304 w 7467600"/>
              <a:gd name="connsiteY221" fmla="*/ 3669030 h 6858000"/>
              <a:gd name="connsiteX222" fmla="*/ 8129 w 7467600"/>
              <a:gd name="connsiteY222" fmla="*/ 4330519 h 6858000"/>
              <a:gd name="connsiteX223" fmla="*/ 687572 w 7467600"/>
              <a:gd name="connsiteY223" fmla="*/ 3925629 h 6858000"/>
              <a:gd name="connsiteX224" fmla="*/ 1138365 w 7467600"/>
              <a:gd name="connsiteY224" fmla="*/ 3774515 h 6858000"/>
              <a:gd name="connsiteX225" fmla="*/ 1505579 w 7467600"/>
              <a:gd name="connsiteY225" fmla="*/ 3655526 h 6858000"/>
              <a:gd name="connsiteX226" fmla="*/ 1313114 w 7467600"/>
              <a:gd name="connsiteY226" fmla="*/ 3655216 h 6858000"/>
              <a:gd name="connsiteX227" fmla="*/ 3655073 w 7467600"/>
              <a:gd name="connsiteY227" fmla="*/ 3650884 h 6858000"/>
              <a:gd name="connsiteX228" fmla="*/ 3989938 w 7467600"/>
              <a:gd name="connsiteY228" fmla="*/ 3991685 h 6858000"/>
              <a:gd name="connsiteX229" fmla="*/ 4393907 w 7467600"/>
              <a:gd name="connsiteY229" fmla="*/ 4261258 h 6858000"/>
              <a:gd name="connsiteX230" fmla="*/ 4648051 w 7467600"/>
              <a:gd name="connsiteY230" fmla="*/ 4374051 h 6858000"/>
              <a:gd name="connsiteX231" fmla="*/ 4383389 w 7467600"/>
              <a:gd name="connsiteY231" fmla="*/ 4184369 h 6858000"/>
              <a:gd name="connsiteX232" fmla="*/ 4165508 w 7467600"/>
              <a:gd name="connsiteY232" fmla="*/ 4035196 h 6858000"/>
              <a:gd name="connsiteX233" fmla="*/ 4068162 w 7467600"/>
              <a:gd name="connsiteY233" fmla="*/ 3953394 h 6858000"/>
              <a:gd name="connsiteX234" fmla="*/ 3981416 w 7467600"/>
              <a:gd name="connsiteY234" fmla="*/ 3880482 h 6858000"/>
              <a:gd name="connsiteX235" fmla="*/ 3800147 w 7467600"/>
              <a:gd name="connsiteY235" fmla="*/ 3749872 h 6858000"/>
              <a:gd name="connsiteX236" fmla="*/ 3670252 w 7467600"/>
              <a:gd name="connsiteY236" fmla="*/ 3622798 h 6858000"/>
              <a:gd name="connsiteX237" fmla="*/ 3817258 w 7467600"/>
              <a:gd name="connsiteY237" fmla="*/ 3723577 h 6858000"/>
              <a:gd name="connsiteX238" fmla="*/ 4000461 w 7467600"/>
              <a:gd name="connsiteY238" fmla="*/ 3855966 h 6858000"/>
              <a:gd name="connsiteX239" fmla="*/ 4088180 w 7467600"/>
              <a:gd name="connsiteY239" fmla="*/ 3929774 h 6858000"/>
              <a:gd name="connsiteX240" fmla="*/ 4184555 w 7467600"/>
              <a:gd name="connsiteY240" fmla="*/ 4010683 h 6858000"/>
              <a:gd name="connsiteX241" fmla="*/ 4399563 w 7467600"/>
              <a:gd name="connsiteY241" fmla="*/ 4158106 h 6858000"/>
              <a:gd name="connsiteX242" fmla="*/ 4684469 w 7467600"/>
              <a:gd name="connsiteY242" fmla="*/ 4364680 h 6858000"/>
              <a:gd name="connsiteX243" fmla="*/ 4690271 w 7467600"/>
              <a:gd name="connsiteY243" fmla="*/ 4370034 h 6858000"/>
              <a:gd name="connsiteX244" fmla="*/ 4136093 w 7467600"/>
              <a:gd name="connsiteY244" fmla="*/ 3858466 h 6858000"/>
              <a:gd name="connsiteX245" fmla="*/ 3670252 w 7467600"/>
              <a:gd name="connsiteY245" fmla="*/ 3622798 h 6858000"/>
              <a:gd name="connsiteX246" fmla="*/ 4440129 w 7467600"/>
              <a:gd name="connsiteY246" fmla="*/ 3448571 h 6858000"/>
              <a:gd name="connsiteX247" fmla="*/ 4856525 w 7467600"/>
              <a:gd name="connsiteY247" fmla="*/ 3915351 h 6858000"/>
              <a:gd name="connsiteX248" fmla="*/ 5059055 w 7467600"/>
              <a:gd name="connsiteY248" fmla="*/ 4108918 h 6858000"/>
              <a:gd name="connsiteX249" fmla="*/ 5290070 w 7467600"/>
              <a:gd name="connsiteY249" fmla="*/ 4263619 h 6858000"/>
              <a:gd name="connsiteX250" fmla="*/ 4834991 w 7467600"/>
              <a:gd name="connsiteY250" fmla="*/ 3830985 h 6858000"/>
              <a:gd name="connsiteX251" fmla="*/ 4440129 w 7467600"/>
              <a:gd name="connsiteY251" fmla="*/ 3448571 h 6858000"/>
              <a:gd name="connsiteX252" fmla="*/ 4441737 w 7467600"/>
              <a:gd name="connsiteY252" fmla="*/ 3399734 h 6858000"/>
              <a:gd name="connsiteX253" fmla="*/ 4431236 w 7467600"/>
              <a:gd name="connsiteY253" fmla="*/ 3400954 h 6858000"/>
              <a:gd name="connsiteX254" fmla="*/ 4557150 w 7467600"/>
              <a:gd name="connsiteY254" fmla="*/ 3510023 h 6858000"/>
              <a:gd name="connsiteX255" fmla="*/ 4856936 w 7467600"/>
              <a:gd name="connsiteY255" fmla="*/ 3809146 h 6858000"/>
              <a:gd name="connsiteX256" fmla="*/ 5111996 w 7467600"/>
              <a:gd name="connsiteY256" fmla="*/ 4065759 h 6858000"/>
              <a:gd name="connsiteX257" fmla="*/ 5388878 w 7467600"/>
              <a:gd name="connsiteY257" fmla="*/ 4300185 h 6858000"/>
              <a:gd name="connsiteX258" fmla="*/ 5425556 w 7467600"/>
              <a:gd name="connsiteY258" fmla="*/ 4308967 h 6858000"/>
              <a:gd name="connsiteX259" fmla="*/ 4943646 w 7467600"/>
              <a:gd name="connsiteY259" fmla="*/ 3822916 h 6858000"/>
              <a:gd name="connsiteX260" fmla="*/ 4594837 w 7467600"/>
              <a:gd name="connsiteY260" fmla="*/ 3532274 h 6858000"/>
              <a:gd name="connsiteX261" fmla="*/ 4441737 w 7467600"/>
              <a:gd name="connsiteY261" fmla="*/ 3399734 h 6858000"/>
              <a:gd name="connsiteX262" fmla="*/ 5425834 w 7467600"/>
              <a:gd name="connsiteY262" fmla="*/ 3162785 h 6858000"/>
              <a:gd name="connsiteX263" fmla="*/ 5401644 w 7467600"/>
              <a:gd name="connsiteY263" fmla="*/ 3617847 h 6858000"/>
              <a:gd name="connsiteX264" fmla="*/ 5467256 w 7467600"/>
              <a:gd name="connsiteY264" fmla="*/ 4175494 h 6858000"/>
              <a:gd name="connsiteX265" fmla="*/ 5448069 w 7467600"/>
              <a:gd name="connsiteY265" fmla="*/ 3567554 h 6858000"/>
              <a:gd name="connsiteX266" fmla="*/ 1318687 w 7467600"/>
              <a:gd name="connsiteY266" fmla="*/ 3113840 h 6858000"/>
              <a:gd name="connsiteX267" fmla="*/ 1066793 w 7467600"/>
              <a:gd name="connsiteY267" fmla="*/ 3212171 h 6858000"/>
              <a:gd name="connsiteX268" fmla="*/ 993319 w 7467600"/>
              <a:gd name="connsiteY268" fmla="*/ 3247648 h 6858000"/>
              <a:gd name="connsiteX269" fmla="*/ 853081 w 7467600"/>
              <a:gd name="connsiteY269" fmla="*/ 3312410 h 6858000"/>
              <a:gd name="connsiteX270" fmla="*/ 805957 w 7467600"/>
              <a:gd name="connsiteY270" fmla="*/ 3330443 h 6858000"/>
              <a:gd name="connsiteX271" fmla="*/ 1318687 w 7467600"/>
              <a:gd name="connsiteY271" fmla="*/ 3113840 h 6858000"/>
              <a:gd name="connsiteX272" fmla="*/ 5453702 w 7467600"/>
              <a:gd name="connsiteY272" fmla="*/ 3090882 h 6858000"/>
              <a:gd name="connsiteX273" fmla="*/ 5480135 w 7467600"/>
              <a:gd name="connsiteY273" fmla="*/ 3565802 h 6858000"/>
              <a:gd name="connsiteX274" fmla="*/ 5499023 w 7467600"/>
              <a:gd name="connsiteY274" fmla="*/ 4166310 h 6858000"/>
              <a:gd name="connsiteX275" fmla="*/ 5547022 w 7467600"/>
              <a:gd name="connsiteY275" fmla="*/ 3607838 h 6858000"/>
              <a:gd name="connsiteX276" fmla="*/ 5515964 w 7467600"/>
              <a:gd name="connsiteY276" fmla="*/ 3378541 h 6858000"/>
              <a:gd name="connsiteX277" fmla="*/ 5453702 w 7467600"/>
              <a:gd name="connsiteY277" fmla="*/ 3090882 h 6858000"/>
              <a:gd name="connsiteX278" fmla="*/ 1238695 w 7467600"/>
              <a:gd name="connsiteY278" fmla="*/ 3076820 h 6858000"/>
              <a:gd name="connsiteX279" fmla="*/ 716371 w 7467600"/>
              <a:gd name="connsiteY279" fmla="*/ 3293249 h 6858000"/>
              <a:gd name="connsiteX280" fmla="*/ 579522 w 7467600"/>
              <a:gd name="connsiteY280" fmla="*/ 3371759 h 6858000"/>
              <a:gd name="connsiteX281" fmla="*/ 600288 w 7467600"/>
              <a:gd name="connsiteY281" fmla="*/ 3365555 h 6858000"/>
              <a:gd name="connsiteX282" fmla="*/ 840692 w 7467600"/>
              <a:gd name="connsiteY282" fmla="*/ 3284921 h 6858000"/>
              <a:gd name="connsiteX283" fmla="*/ 979248 w 7467600"/>
              <a:gd name="connsiteY283" fmla="*/ 3221003 h 6858000"/>
              <a:gd name="connsiteX284" fmla="*/ 1053282 w 7467600"/>
              <a:gd name="connsiteY284" fmla="*/ 3185247 h 6858000"/>
              <a:gd name="connsiteX285" fmla="*/ 1320603 w 7467600"/>
              <a:gd name="connsiteY285" fmla="*/ 3081281 h 6858000"/>
              <a:gd name="connsiteX286" fmla="*/ 1238695 w 7467600"/>
              <a:gd name="connsiteY286" fmla="*/ 3076820 h 6858000"/>
              <a:gd name="connsiteX287" fmla="*/ 5425627 w 7467600"/>
              <a:gd name="connsiteY287" fmla="*/ 2954192 h 6858000"/>
              <a:gd name="connsiteX288" fmla="*/ 5470770 w 7467600"/>
              <a:gd name="connsiteY288" fmla="*/ 3005435 h 6858000"/>
              <a:gd name="connsiteX289" fmla="*/ 5519779 w 7467600"/>
              <a:gd name="connsiteY289" fmla="*/ 4359223 h 6858000"/>
              <a:gd name="connsiteX290" fmla="*/ 5520293 w 7467600"/>
              <a:gd name="connsiteY290" fmla="*/ 4360602 h 6858000"/>
              <a:gd name="connsiteX291" fmla="*/ 5767221 w 7467600"/>
              <a:gd name="connsiteY291" fmla="*/ 4665564 h 6858000"/>
              <a:gd name="connsiteX292" fmla="*/ 6937169 w 7467600"/>
              <a:gd name="connsiteY292" fmla="*/ 4815941 h 6858000"/>
              <a:gd name="connsiteX293" fmla="*/ 6953922 w 7467600"/>
              <a:gd name="connsiteY293" fmla="*/ 4890068 h 6858000"/>
              <a:gd name="connsiteX294" fmla="*/ 6071359 w 7467600"/>
              <a:gd name="connsiteY294" fmla="*/ 4770770 h 6858000"/>
              <a:gd name="connsiteX295" fmla="*/ 6038839 w 7467600"/>
              <a:gd name="connsiteY295" fmla="*/ 4764474 h 6858000"/>
              <a:gd name="connsiteX296" fmla="*/ 6038706 w 7467600"/>
              <a:gd name="connsiteY296" fmla="*/ 4763847 h 6858000"/>
              <a:gd name="connsiteX297" fmla="*/ 6037784 w 7467600"/>
              <a:gd name="connsiteY297" fmla="*/ 4764270 h 6858000"/>
              <a:gd name="connsiteX298" fmla="*/ 6038839 w 7467600"/>
              <a:gd name="connsiteY298" fmla="*/ 4764474 h 6858000"/>
              <a:gd name="connsiteX299" fmla="*/ 6040338 w 7467600"/>
              <a:gd name="connsiteY299" fmla="*/ 4771418 h 6858000"/>
              <a:gd name="connsiteX300" fmla="*/ 6024488 w 7467600"/>
              <a:gd name="connsiteY300" fmla="*/ 4809903 h 6858000"/>
              <a:gd name="connsiteX301" fmla="*/ 5599771 w 7467600"/>
              <a:gd name="connsiteY301" fmla="*/ 5509652 h 6858000"/>
              <a:gd name="connsiteX302" fmla="*/ 5548843 w 7467600"/>
              <a:gd name="connsiteY302" fmla="*/ 5563845 h 6858000"/>
              <a:gd name="connsiteX303" fmla="*/ 5940952 w 7467600"/>
              <a:gd name="connsiteY303" fmla="*/ 6250028 h 6858000"/>
              <a:gd name="connsiteX304" fmla="*/ 6043441 w 7467600"/>
              <a:gd name="connsiteY304" fmla="*/ 6665847 h 6858000"/>
              <a:gd name="connsiteX305" fmla="*/ 6093432 w 7467600"/>
              <a:gd name="connsiteY305" fmla="*/ 6858000 h 6858000"/>
              <a:gd name="connsiteX306" fmla="*/ 6034344 w 7467600"/>
              <a:gd name="connsiteY306" fmla="*/ 6858000 h 6858000"/>
              <a:gd name="connsiteX307" fmla="*/ 6026679 w 7467600"/>
              <a:gd name="connsiteY307" fmla="*/ 6836959 h 6858000"/>
              <a:gd name="connsiteX308" fmla="*/ 5800441 w 7467600"/>
              <a:gd name="connsiteY308" fmla="*/ 6335286 h 6858000"/>
              <a:gd name="connsiteX309" fmla="*/ 5526562 w 7467600"/>
              <a:gd name="connsiteY309" fmla="*/ 5705388 h 6858000"/>
              <a:gd name="connsiteX310" fmla="*/ 5519640 w 7467600"/>
              <a:gd name="connsiteY310" fmla="*/ 5683774 h 6858000"/>
              <a:gd name="connsiteX311" fmla="*/ 5844559 w 7467600"/>
              <a:gd name="connsiteY311" fmla="*/ 6553349 h 6858000"/>
              <a:gd name="connsiteX312" fmla="*/ 5975994 w 7467600"/>
              <a:gd name="connsiteY312" fmla="*/ 6858000 h 6858000"/>
              <a:gd name="connsiteX313" fmla="*/ 5898547 w 7467600"/>
              <a:gd name="connsiteY313" fmla="*/ 6858000 h 6858000"/>
              <a:gd name="connsiteX314" fmla="*/ 5682041 w 7467600"/>
              <a:gd name="connsiteY314" fmla="*/ 6355860 h 6858000"/>
              <a:gd name="connsiteX315" fmla="*/ 5461758 w 7467600"/>
              <a:gd name="connsiteY315" fmla="*/ 5820220 h 6858000"/>
              <a:gd name="connsiteX316" fmla="*/ 5237282 w 7467600"/>
              <a:gd name="connsiteY316" fmla="*/ 6579086 h 6858000"/>
              <a:gd name="connsiteX317" fmla="*/ 5115009 w 7467600"/>
              <a:gd name="connsiteY317" fmla="*/ 6858000 h 6858000"/>
              <a:gd name="connsiteX318" fmla="*/ 5028074 w 7467600"/>
              <a:gd name="connsiteY318" fmla="*/ 6858000 h 6858000"/>
              <a:gd name="connsiteX319" fmla="*/ 5079508 w 7467600"/>
              <a:gd name="connsiteY319" fmla="*/ 6749074 h 6858000"/>
              <a:gd name="connsiteX320" fmla="*/ 5371846 w 7467600"/>
              <a:gd name="connsiteY320" fmla="*/ 5924413 h 6858000"/>
              <a:gd name="connsiteX321" fmla="*/ 5270512 w 7467600"/>
              <a:gd name="connsiteY321" fmla="*/ 6138975 h 6858000"/>
              <a:gd name="connsiteX322" fmla="*/ 5062409 w 7467600"/>
              <a:gd name="connsiteY322" fmla="*/ 6653544 h 6858000"/>
              <a:gd name="connsiteX323" fmla="*/ 5036628 w 7467600"/>
              <a:gd name="connsiteY323" fmla="*/ 6754247 h 6858000"/>
              <a:gd name="connsiteX324" fmla="*/ 5009112 w 7467600"/>
              <a:gd name="connsiteY324" fmla="*/ 6858000 h 6858000"/>
              <a:gd name="connsiteX325" fmla="*/ 4976679 w 7467600"/>
              <a:gd name="connsiteY325" fmla="*/ 6858000 h 6858000"/>
              <a:gd name="connsiteX326" fmla="*/ 5006537 w 7467600"/>
              <a:gd name="connsiteY326" fmla="*/ 6747068 h 6858000"/>
              <a:gd name="connsiteX327" fmla="*/ 5032723 w 7467600"/>
              <a:gd name="connsiteY327" fmla="*/ 6644957 h 6858000"/>
              <a:gd name="connsiteX328" fmla="*/ 5242949 w 7467600"/>
              <a:gd name="connsiteY328" fmla="*/ 6125175 h 6858000"/>
              <a:gd name="connsiteX329" fmla="*/ 5286321 w 7467600"/>
              <a:gd name="connsiteY329" fmla="*/ 6033555 h 6858000"/>
              <a:gd name="connsiteX330" fmla="*/ 5008210 w 7467600"/>
              <a:gd name="connsiteY330" fmla="*/ 6649194 h 6858000"/>
              <a:gd name="connsiteX331" fmla="*/ 4986321 w 7467600"/>
              <a:gd name="connsiteY331" fmla="*/ 6765687 h 6858000"/>
              <a:gd name="connsiteX332" fmla="*/ 4973474 w 7467600"/>
              <a:gd name="connsiteY332" fmla="*/ 6858000 h 6858000"/>
              <a:gd name="connsiteX333" fmla="*/ 4907178 w 7467600"/>
              <a:gd name="connsiteY333" fmla="*/ 6858000 h 6858000"/>
              <a:gd name="connsiteX334" fmla="*/ 4910810 w 7467600"/>
              <a:gd name="connsiteY334" fmla="*/ 6829660 h 6858000"/>
              <a:gd name="connsiteX335" fmla="*/ 4987461 w 7467600"/>
              <a:gd name="connsiteY335" fmla="*/ 6432994 h 6858000"/>
              <a:gd name="connsiteX336" fmla="*/ 5179262 w 7467600"/>
              <a:gd name="connsiteY336" fmla="*/ 6035044 h 6858000"/>
              <a:gd name="connsiteX337" fmla="*/ 4689678 w 7467600"/>
              <a:gd name="connsiteY337" fmla="*/ 6440241 h 6858000"/>
              <a:gd name="connsiteX338" fmla="*/ 4477543 w 7467600"/>
              <a:gd name="connsiteY338" fmla="*/ 6674836 h 6858000"/>
              <a:gd name="connsiteX339" fmla="*/ 4329957 w 7467600"/>
              <a:gd name="connsiteY339" fmla="*/ 6858000 h 6858000"/>
              <a:gd name="connsiteX340" fmla="*/ 4218595 w 7467600"/>
              <a:gd name="connsiteY340" fmla="*/ 6858000 h 6858000"/>
              <a:gd name="connsiteX341" fmla="*/ 4368888 w 7467600"/>
              <a:gd name="connsiteY341" fmla="*/ 6668412 h 6858000"/>
              <a:gd name="connsiteX342" fmla="*/ 4563091 w 7467600"/>
              <a:gd name="connsiteY342" fmla="*/ 6442508 h 6858000"/>
              <a:gd name="connsiteX343" fmla="*/ 5387324 w 7467600"/>
              <a:gd name="connsiteY343" fmla="*/ 5705830 h 6858000"/>
              <a:gd name="connsiteX344" fmla="*/ 5073620 w 7467600"/>
              <a:gd name="connsiteY344" fmla="*/ 5955437 h 6858000"/>
              <a:gd name="connsiteX345" fmla="*/ 4689789 w 7467600"/>
              <a:gd name="connsiteY345" fmla="*/ 6268382 h 6858000"/>
              <a:gd name="connsiteX346" fmla="*/ 4418722 w 7467600"/>
              <a:gd name="connsiteY346" fmla="*/ 6570886 h 6858000"/>
              <a:gd name="connsiteX347" fmla="*/ 4214944 w 7467600"/>
              <a:gd name="connsiteY347" fmla="*/ 6858000 h 6858000"/>
              <a:gd name="connsiteX348" fmla="*/ 4177898 w 7467600"/>
              <a:gd name="connsiteY348" fmla="*/ 6858000 h 6858000"/>
              <a:gd name="connsiteX349" fmla="*/ 4391597 w 7467600"/>
              <a:gd name="connsiteY349" fmla="*/ 6556370 h 6858000"/>
              <a:gd name="connsiteX350" fmla="*/ 4668889 w 7467600"/>
              <a:gd name="connsiteY350" fmla="*/ 6246399 h 6858000"/>
              <a:gd name="connsiteX351" fmla="*/ 5055427 w 7467600"/>
              <a:gd name="connsiteY351" fmla="*/ 5931476 h 6858000"/>
              <a:gd name="connsiteX352" fmla="*/ 5371814 w 7467600"/>
              <a:gd name="connsiteY352" fmla="*/ 5678975 h 6858000"/>
              <a:gd name="connsiteX353" fmla="*/ 4987918 w 7467600"/>
              <a:gd name="connsiteY353" fmla="*/ 5838701 h 6858000"/>
              <a:gd name="connsiteX354" fmla="*/ 4317146 w 7467600"/>
              <a:gd name="connsiteY354" fmla="*/ 6587716 h 6858000"/>
              <a:gd name="connsiteX355" fmla="*/ 4171627 w 7467600"/>
              <a:gd name="connsiteY355" fmla="*/ 6858000 h 6858000"/>
              <a:gd name="connsiteX356" fmla="*/ 4081585 w 7467600"/>
              <a:gd name="connsiteY356" fmla="*/ 6858000 h 6858000"/>
              <a:gd name="connsiteX357" fmla="*/ 4238603 w 7467600"/>
              <a:gd name="connsiteY357" fmla="*/ 6559341 h 6858000"/>
              <a:gd name="connsiteX358" fmla="*/ 4778333 w 7467600"/>
              <a:gd name="connsiteY358" fmla="*/ 5873626 h 6858000"/>
              <a:gd name="connsiteX359" fmla="*/ 5414185 w 7467600"/>
              <a:gd name="connsiteY359" fmla="*/ 5573882 h 6858000"/>
              <a:gd name="connsiteX360" fmla="*/ 5959648 w 7467600"/>
              <a:gd name="connsiteY360" fmla="*/ 4760797 h 6858000"/>
              <a:gd name="connsiteX361" fmla="*/ 5355019 w 7467600"/>
              <a:gd name="connsiteY361" fmla="*/ 4734672 h 6858000"/>
              <a:gd name="connsiteX362" fmla="*/ 5083565 w 7467600"/>
              <a:gd name="connsiteY362" fmla="*/ 5179121 h 6858000"/>
              <a:gd name="connsiteX363" fmla="*/ 4713577 w 7467600"/>
              <a:gd name="connsiteY363" fmla="*/ 5616803 h 6858000"/>
              <a:gd name="connsiteX364" fmla="*/ 3989559 w 7467600"/>
              <a:gd name="connsiteY364" fmla="*/ 6145945 h 6858000"/>
              <a:gd name="connsiteX365" fmla="*/ 3939824 w 7467600"/>
              <a:gd name="connsiteY365" fmla="*/ 6066900 h 6858000"/>
              <a:gd name="connsiteX366" fmla="*/ 4584537 w 7467600"/>
              <a:gd name="connsiteY366" fmla="*/ 5324826 h 6858000"/>
              <a:gd name="connsiteX367" fmla="*/ 5037105 w 7467600"/>
              <a:gd name="connsiteY367" fmla="*/ 5088765 h 6858000"/>
              <a:gd name="connsiteX368" fmla="*/ 5039930 w 7467600"/>
              <a:gd name="connsiteY368" fmla="*/ 5089585 h 6858000"/>
              <a:gd name="connsiteX369" fmla="*/ 5263764 w 7467600"/>
              <a:gd name="connsiteY369" fmla="*/ 4735525 h 6858000"/>
              <a:gd name="connsiteX370" fmla="*/ 4086300 w 7467600"/>
              <a:gd name="connsiteY370" fmla="*/ 4884599 h 6858000"/>
              <a:gd name="connsiteX371" fmla="*/ 4085485 w 7467600"/>
              <a:gd name="connsiteY371" fmla="*/ 4899070 h 6858000"/>
              <a:gd name="connsiteX372" fmla="*/ 3871915 w 7467600"/>
              <a:gd name="connsiteY372" fmla="*/ 5253645 h 6858000"/>
              <a:gd name="connsiteX373" fmla="*/ 3799374 w 7467600"/>
              <a:gd name="connsiteY373" fmla="*/ 5466127 h 6858000"/>
              <a:gd name="connsiteX374" fmla="*/ 3498850 w 7467600"/>
              <a:gd name="connsiteY374" fmla="*/ 6661888 h 6858000"/>
              <a:gd name="connsiteX375" fmla="*/ 3399216 w 7467600"/>
              <a:gd name="connsiteY375" fmla="*/ 6858000 h 6858000"/>
              <a:gd name="connsiteX376" fmla="*/ 3303688 w 7467600"/>
              <a:gd name="connsiteY376" fmla="*/ 6858000 h 6858000"/>
              <a:gd name="connsiteX377" fmla="*/ 3391774 w 7467600"/>
              <a:gd name="connsiteY377" fmla="*/ 6697181 h 6858000"/>
              <a:gd name="connsiteX378" fmla="*/ 3735540 w 7467600"/>
              <a:gd name="connsiteY378" fmla="*/ 5546923 h 6858000"/>
              <a:gd name="connsiteX379" fmla="*/ 3729438 w 7467600"/>
              <a:gd name="connsiteY379" fmla="*/ 5569058 h 6858000"/>
              <a:gd name="connsiteX380" fmla="*/ 3707782 w 7467600"/>
              <a:gd name="connsiteY380" fmla="*/ 5644908 h 6858000"/>
              <a:gd name="connsiteX381" fmla="*/ 3583827 w 7467600"/>
              <a:gd name="connsiteY381" fmla="*/ 6039215 h 6858000"/>
              <a:gd name="connsiteX382" fmla="*/ 3547861 w 7467600"/>
              <a:gd name="connsiteY382" fmla="*/ 6129609 h 6858000"/>
              <a:gd name="connsiteX383" fmla="*/ 3490905 w 7467600"/>
              <a:gd name="connsiteY383" fmla="*/ 6277660 h 6858000"/>
              <a:gd name="connsiteX384" fmla="*/ 3455859 w 7467600"/>
              <a:gd name="connsiteY384" fmla="*/ 6391301 h 6858000"/>
              <a:gd name="connsiteX385" fmla="*/ 3429112 w 7467600"/>
              <a:gd name="connsiteY385" fmla="*/ 6479469 h 6858000"/>
              <a:gd name="connsiteX386" fmla="*/ 3304862 w 7467600"/>
              <a:gd name="connsiteY386" fmla="*/ 6796476 h 6858000"/>
              <a:gd name="connsiteX387" fmla="*/ 3276071 w 7467600"/>
              <a:gd name="connsiteY387" fmla="*/ 6858000 h 6858000"/>
              <a:gd name="connsiteX388" fmla="*/ 3240805 w 7467600"/>
              <a:gd name="connsiteY388" fmla="*/ 6858000 h 6858000"/>
              <a:gd name="connsiteX389" fmla="*/ 3275917 w 7467600"/>
              <a:gd name="connsiteY389" fmla="*/ 6783192 h 6858000"/>
              <a:gd name="connsiteX390" fmla="*/ 3399358 w 7467600"/>
              <a:gd name="connsiteY390" fmla="*/ 6469011 h 6858000"/>
              <a:gd name="connsiteX391" fmla="*/ 3425650 w 7467600"/>
              <a:gd name="connsiteY391" fmla="*/ 6381333 h 6858000"/>
              <a:gd name="connsiteX392" fmla="*/ 3460661 w 7467600"/>
              <a:gd name="connsiteY392" fmla="*/ 6266763 h 6858000"/>
              <a:gd name="connsiteX393" fmla="*/ 3518021 w 7467600"/>
              <a:gd name="connsiteY393" fmla="*/ 6117298 h 6858000"/>
              <a:gd name="connsiteX394" fmla="*/ 3554035 w 7467600"/>
              <a:gd name="connsiteY394" fmla="*/ 6027832 h 6858000"/>
              <a:gd name="connsiteX395" fmla="*/ 3677174 w 7467600"/>
              <a:gd name="connsiteY395" fmla="*/ 5636351 h 6858000"/>
              <a:gd name="connsiteX396" fmla="*/ 3698819 w 7467600"/>
              <a:gd name="connsiteY396" fmla="*/ 5560503 h 6858000"/>
              <a:gd name="connsiteX397" fmla="*/ 3702094 w 7467600"/>
              <a:gd name="connsiteY397" fmla="*/ 5549194 h 6858000"/>
              <a:gd name="connsiteX398" fmla="*/ 3398355 w 7467600"/>
              <a:gd name="connsiteY398" fmla="*/ 6094603 h 6858000"/>
              <a:gd name="connsiteX399" fmla="*/ 3193941 w 7467600"/>
              <a:gd name="connsiteY399" fmla="*/ 6798775 h 6858000"/>
              <a:gd name="connsiteX400" fmla="*/ 3184140 w 7467600"/>
              <a:gd name="connsiteY400" fmla="*/ 6858000 h 6858000"/>
              <a:gd name="connsiteX401" fmla="*/ 3099978 w 7467600"/>
              <a:gd name="connsiteY401" fmla="*/ 6858000 h 6858000"/>
              <a:gd name="connsiteX402" fmla="*/ 3101556 w 7467600"/>
              <a:gd name="connsiteY402" fmla="*/ 6843337 h 6858000"/>
              <a:gd name="connsiteX403" fmla="*/ 3370162 w 7467600"/>
              <a:gd name="connsiteY403" fmla="*/ 5785550 h 6858000"/>
              <a:gd name="connsiteX404" fmla="*/ 3746477 w 7467600"/>
              <a:gd name="connsiteY404" fmla="*/ 5377889 h 6858000"/>
              <a:gd name="connsiteX405" fmla="*/ 3863399 w 7467600"/>
              <a:gd name="connsiteY405" fmla="*/ 5087257 h 6858000"/>
              <a:gd name="connsiteX406" fmla="*/ 3968712 w 7467600"/>
              <a:gd name="connsiteY406" fmla="*/ 4913989 h 6858000"/>
              <a:gd name="connsiteX407" fmla="*/ 2792390 w 7467600"/>
              <a:gd name="connsiteY407" fmla="*/ 5382974 h 6858000"/>
              <a:gd name="connsiteX408" fmla="*/ 2714982 w 7467600"/>
              <a:gd name="connsiteY408" fmla="*/ 5427051 h 6858000"/>
              <a:gd name="connsiteX409" fmla="*/ 2813361 w 7467600"/>
              <a:gd name="connsiteY409" fmla="*/ 6023912 h 6858000"/>
              <a:gd name="connsiteX410" fmla="*/ 2688430 w 7467600"/>
              <a:gd name="connsiteY410" fmla="*/ 6801564 h 6858000"/>
              <a:gd name="connsiteX411" fmla="*/ 2629626 w 7467600"/>
              <a:gd name="connsiteY411" fmla="*/ 6763394 h 6858000"/>
              <a:gd name="connsiteX412" fmla="*/ 2565328 w 7467600"/>
              <a:gd name="connsiteY412" fmla="*/ 5516399 h 6858000"/>
              <a:gd name="connsiteX413" fmla="*/ 1922999 w 7467600"/>
              <a:gd name="connsiteY413" fmla="*/ 5980343 h 6858000"/>
              <a:gd name="connsiteX414" fmla="*/ 1950261 w 7467600"/>
              <a:gd name="connsiteY414" fmla="*/ 6405858 h 6858000"/>
              <a:gd name="connsiteX415" fmla="*/ 2365554 w 7467600"/>
              <a:gd name="connsiteY415" fmla="*/ 6759107 h 6858000"/>
              <a:gd name="connsiteX416" fmla="*/ 2424142 w 7467600"/>
              <a:gd name="connsiteY416" fmla="*/ 6858000 h 6858000"/>
              <a:gd name="connsiteX417" fmla="*/ 2395994 w 7467600"/>
              <a:gd name="connsiteY417" fmla="*/ 6858000 h 6858000"/>
              <a:gd name="connsiteX418" fmla="*/ 2392863 w 7467600"/>
              <a:gd name="connsiteY418" fmla="*/ 6852964 h 6858000"/>
              <a:gd name="connsiteX419" fmla="*/ 2017589 w 7467600"/>
              <a:gd name="connsiteY419" fmla="*/ 6493982 h 6858000"/>
              <a:gd name="connsiteX420" fmla="*/ 2147336 w 7467600"/>
              <a:gd name="connsiteY420" fmla="*/ 6594052 h 6858000"/>
              <a:gd name="connsiteX421" fmla="*/ 2207047 w 7467600"/>
              <a:gd name="connsiteY421" fmla="*/ 6654540 h 6858000"/>
              <a:gd name="connsiteX422" fmla="*/ 2299106 w 7467600"/>
              <a:gd name="connsiteY422" fmla="*/ 6778931 h 6858000"/>
              <a:gd name="connsiteX423" fmla="*/ 2314430 w 7467600"/>
              <a:gd name="connsiteY423" fmla="*/ 6801144 h 6858000"/>
              <a:gd name="connsiteX424" fmla="*/ 2352406 w 7467600"/>
              <a:gd name="connsiteY424" fmla="*/ 6858000 h 6858000"/>
              <a:gd name="connsiteX425" fmla="*/ 2314492 w 7467600"/>
              <a:gd name="connsiteY425" fmla="*/ 6858000 h 6858000"/>
              <a:gd name="connsiteX426" fmla="*/ 2288095 w 7467600"/>
              <a:gd name="connsiteY426" fmla="*/ 6818030 h 6858000"/>
              <a:gd name="connsiteX427" fmla="*/ 2272768 w 7467600"/>
              <a:gd name="connsiteY427" fmla="*/ 6795822 h 6858000"/>
              <a:gd name="connsiteX428" fmla="*/ 2182715 w 7467600"/>
              <a:gd name="connsiteY428" fmla="*/ 6675071 h 6858000"/>
              <a:gd name="connsiteX429" fmla="*/ 2032061 w 7467600"/>
              <a:gd name="connsiteY429" fmla="*/ 6541380 h 6858000"/>
              <a:gd name="connsiteX430" fmla="*/ 2257220 w 7467600"/>
              <a:gd name="connsiteY430" fmla="*/ 6826257 h 6858000"/>
              <a:gd name="connsiteX431" fmla="*/ 2281324 w 7467600"/>
              <a:gd name="connsiteY431" fmla="*/ 6858000 h 6858000"/>
              <a:gd name="connsiteX432" fmla="*/ 2242860 w 7467600"/>
              <a:gd name="connsiteY432" fmla="*/ 6858000 h 6858000"/>
              <a:gd name="connsiteX433" fmla="*/ 2232818 w 7467600"/>
              <a:gd name="connsiteY433" fmla="*/ 6844926 h 6858000"/>
              <a:gd name="connsiteX434" fmla="*/ 1990172 w 7467600"/>
              <a:gd name="connsiteY434" fmla="*/ 6542121 h 6858000"/>
              <a:gd name="connsiteX435" fmla="*/ 2124090 w 7467600"/>
              <a:gd name="connsiteY435" fmla="*/ 6761017 h 6858000"/>
              <a:gd name="connsiteX436" fmla="*/ 2200380 w 7467600"/>
              <a:gd name="connsiteY436" fmla="*/ 6858000 h 6858000"/>
              <a:gd name="connsiteX437" fmla="*/ 2147507 w 7467600"/>
              <a:gd name="connsiteY437" fmla="*/ 6858000 h 6858000"/>
              <a:gd name="connsiteX438" fmla="*/ 2070668 w 7467600"/>
              <a:gd name="connsiteY438" fmla="*/ 6761520 h 6858000"/>
              <a:gd name="connsiteX439" fmla="*/ 1975142 w 7467600"/>
              <a:gd name="connsiteY439" fmla="*/ 6585570 h 6858000"/>
              <a:gd name="connsiteX440" fmla="*/ 2050035 w 7467600"/>
              <a:gd name="connsiteY440" fmla="*/ 6813345 h 6858000"/>
              <a:gd name="connsiteX441" fmla="*/ 2063025 w 7467600"/>
              <a:gd name="connsiteY441" fmla="*/ 6858000 h 6858000"/>
              <a:gd name="connsiteX442" fmla="*/ 2021675 w 7467600"/>
              <a:gd name="connsiteY442" fmla="*/ 6858000 h 6858000"/>
              <a:gd name="connsiteX443" fmla="*/ 2019308 w 7467600"/>
              <a:gd name="connsiteY443" fmla="*/ 6847118 h 6858000"/>
              <a:gd name="connsiteX444" fmla="*/ 1938835 w 7467600"/>
              <a:gd name="connsiteY444" fmla="*/ 6551160 h 6858000"/>
              <a:gd name="connsiteX445" fmla="*/ 1953230 w 7467600"/>
              <a:gd name="connsiteY445" fmla="*/ 6759699 h 6858000"/>
              <a:gd name="connsiteX446" fmla="*/ 1956763 w 7467600"/>
              <a:gd name="connsiteY446" fmla="*/ 6778191 h 6858000"/>
              <a:gd name="connsiteX447" fmla="*/ 1967925 w 7467600"/>
              <a:gd name="connsiteY447" fmla="*/ 6858000 h 6858000"/>
              <a:gd name="connsiteX448" fmla="*/ 1936622 w 7467600"/>
              <a:gd name="connsiteY448" fmla="*/ 6858000 h 6858000"/>
              <a:gd name="connsiteX449" fmla="*/ 1926261 w 7467600"/>
              <a:gd name="connsiteY449" fmla="*/ 6784064 h 6858000"/>
              <a:gd name="connsiteX450" fmla="*/ 1922724 w 7467600"/>
              <a:gd name="connsiteY450" fmla="*/ 6765577 h 6858000"/>
              <a:gd name="connsiteX451" fmla="*/ 1904650 w 7467600"/>
              <a:gd name="connsiteY451" fmla="*/ 6639616 h 6858000"/>
              <a:gd name="connsiteX452" fmla="*/ 1885273 w 7467600"/>
              <a:gd name="connsiteY452" fmla="*/ 6858000 h 6858000"/>
              <a:gd name="connsiteX453" fmla="*/ 1854363 w 7467600"/>
              <a:gd name="connsiteY453" fmla="*/ 6858000 h 6858000"/>
              <a:gd name="connsiteX454" fmla="*/ 1880391 w 7467600"/>
              <a:gd name="connsiteY454" fmla="*/ 6603796 h 6858000"/>
              <a:gd name="connsiteX455" fmla="*/ 1818273 w 7467600"/>
              <a:gd name="connsiteY455" fmla="*/ 6715729 h 6858000"/>
              <a:gd name="connsiteX456" fmla="*/ 1794691 w 7467600"/>
              <a:gd name="connsiteY456" fmla="*/ 6843239 h 6858000"/>
              <a:gd name="connsiteX457" fmla="*/ 1794914 w 7467600"/>
              <a:gd name="connsiteY457" fmla="*/ 6858000 h 6858000"/>
              <a:gd name="connsiteX458" fmla="*/ 1746128 w 7467600"/>
              <a:gd name="connsiteY458" fmla="*/ 6858000 h 6858000"/>
              <a:gd name="connsiteX459" fmla="*/ 1753934 w 7467600"/>
              <a:gd name="connsiteY459" fmla="*/ 6724796 h 6858000"/>
              <a:gd name="connsiteX460" fmla="*/ 1792053 w 7467600"/>
              <a:gd name="connsiteY460" fmla="*/ 6572396 h 6858000"/>
              <a:gd name="connsiteX461" fmla="*/ 1862248 w 7467600"/>
              <a:gd name="connsiteY461" fmla="*/ 6266397 h 6858000"/>
              <a:gd name="connsiteX462" fmla="*/ 1862250 w 7467600"/>
              <a:gd name="connsiteY462" fmla="*/ 6033531 h 6858000"/>
              <a:gd name="connsiteX463" fmla="*/ 1211999 w 7467600"/>
              <a:gd name="connsiteY463" fmla="*/ 6683610 h 6858000"/>
              <a:gd name="connsiteX464" fmla="*/ 1213266 w 7467600"/>
              <a:gd name="connsiteY464" fmla="*/ 6691947 h 6858000"/>
              <a:gd name="connsiteX465" fmla="*/ 1203370 w 7467600"/>
              <a:gd name="connsiteY465" fmla="*/ 6850676 h 6858000"/>
              <a:gd name="connsiteX466" fmla="*/ 1203671 w 7467600"/>
              <a:gd name="connsiteY466" fmla="*/ 6858000 h 6858000"/>
              <a:gd name="connsiteX467" fmla="*/ 1143180 w 7467600"/>
              <a:gd name="connsiteY467" fmla="*/ 6858000 h 6858000"/>
              <a:gd name="connsiteX468" fmla="*/ 1142176 w 7467600"/>
              <a:gd name="connsiteY468" fmla="*/ 6766045 h 6858000"/>
              <a:gd name="connsiteX469" fmla="*/ 1067484 w 7467600"/>
              <a:gd name="connsiteY469" fmla="*/ 6858000 h 6858000"/>
              <a:gd name="connsiteX470" fmla="*/ 953928 w 7467600"/>
              <a:gd name="connsiteY470" fmla="*/ 6858000 h 6858000"/>
              <a:gd name="connsiteX471" fmla="*/ 959715 w 7467600"/>
              <a:gd name="connsiteY471" fmla="*/ 6850185 h 6858000"/>
              <a:gd name="connsiteX472" fmla="*/ 1483788 w 7467600"/>
              <a:gd name="connsiteY472" fmla="*/ 6259174 h 6858000"/>
              <a:gd name="connsiteX473" fmla="*/ 1100671 w 7467600"/>
              <a:gd name="connsiteY473" fmla="*/ 6252137 h 6858000"/>
              <a:gd name="connsiteX474" fmla="*/ 1090144 w 7467600"/>
              <a:gd name="connsiteY474" fmla="*/ 6256748 h 6858000"/>
              <a:gd name="connsiteX475" fmla="*/ 1095872 w 7467600"/>
              <a:gd name="connsiteY475" fmla="*/ 6271892 h 6858000"/>
              <a:gd name="connsiteX476" fmla="*/ 262785 w 7467600"/>
              <a:gd name="connsiteY476" fmla="*/ 6845450 h 6858000"/>
              <a:gd name="connsiteX477" fmla="*/ 209968 w 7467600"/>
              <a:gd name="connsiteY477" fmla="*/ 6770713 h 6858000"/>
              <a:gd name="connsiteX478" fmla="*/ 873460 w 7467600"/>
              <a:gd name="connsiteY478" fmla="*/ 6253768 h 6858000"/>
              <a:gd name="connsiteX479" fmla="*/ 192686 w 7467600"/>
              <a:gd name="connsiteY479" fmla="*/ 5849257 h 6858000"/>
              <a:gd name="connsiteX480" fmla="*/ 4696 w 7467600"/>
              <a:gd name="connsiteY480" fmla="*/ 5697668 h 6858000"/>
              <a:gd name="connsiteX481" fmla="*/ 0 w 7467600"/>
              <a:gd name="connsiteY481" fmla="*/ 5689984 h 6858000"/>
              <a:gd name="connsiteX482" fmla="*/ 0 w 7467600"/>
              <a:gd name="connsiteY482" fmla="*/ 5513472 h 6858000"/>
              <a:gd name="connsiteX483" fmla="*/ 174101 w 7467600"/>
              <a:gd name="connsiteY483" fmla="*/ 5620277 h 6858000"/>
              <a:gd name="connsiteX484" fmla="*/ 891800 w 7467600"/>
              <a:gd name="connsiteY484" fmla="*/ 6036935 h 6858000"/>
              <a:gd name="connsiteX485" fmla="*/ 1072219 w 7467600"/>
              <a:gd name="connsiteY485" fmla="*/ 6169443 h 6858000"/>
              <a:gd name="connsiteX486" fmla="*/ 1074117 w 7467600"/>
              <a:gd name="connsiteY486" fmla="*/ 6170301 h 6858000"/>
              <a:gd name="connsiteX487" fmla="*/ 1083114 w 7467600"/>
              <a:gd name="connsiteY487" fmla="*/ 6174131 h 6858000"/>
              <a:gd name="connsiteX488" fmla="*/ 1543010 w 7467600"/>
              <a:gd name="connsiteY488" fmla="*/ 6191140 h 6858000"/>
              <a:gd name="connsiteX489" fmla="*/ 1551080 w 7467600"/>
              <a:gd name="connsiteY489" fmla="*/ 6195006 h 6858000"/>
              <a:gd name="connsiteX490" fmla="*/ 2345443 w 7467600"/>
              <a:gd name="connsiteY490" fmla="*/ 5549882 h 6858000"/>
              <a:gd name="connsiteX491" fmla="*/ 1721499 w 7467600"/>
              <a:gd name="connsiteY491" fmla="*/ 5599969 h 6858000"/>
              <a:gd name="connsiteX492" fmla="*/ 767716 w 7467600"/>
              <a:gd name="connsiteY492" fmla="*/ 5472768 h 6858000"/>
              <a:gd name="connsiteX493" fmla="*/ 722147 w 7467600"/>
              <a:gd name="connsiteY493" fmla="*/ 5393091 h 6858000"/>
              <a:gd name="connsiteX494" fmla="*/ 1485552 w 7467600"/>
              <a:gd name="connsiteY494" fmla="*/ 5313202 h 6858000"/>
              <a:gd name="connsiteX495" fmla="*/ 2143004 w 7467600"/>
              <a:gd name="connsiteY495" fmla="*/ 5402420 h 6858000"/>
              <a:gd name="connsiteX496" fmla="*/ 1933391 w 7467600"/>
              <a:gd name="connsiteY496" fmla="*/ 5156971 h 6858000"/>
              <a:gd name="connsiteX497" fmla="*/ 1827118 w 7467600"/>
              <a:gd name="connsiteY497" fmla="*/ 4968410 h 6858000"/>
              <a:gd name="connsiteX498" fmla="*/ 1837349 w 7467600"/>
              <a:gd name="connsiteY498" fmla="*/ 4956357 h 6858000"/>
              <a:gd name="connsiteX499" fmla="*/ 2162835 w 7467600"/>
              <a:gd name="connsiteY499" fmla="*/ 5187853 h 6858000"/>
              <a:gd name="connsiteX500" fmla="*/ 2257167 w 7467600"/>
              <a:gd name="connsiteY500" fmla="*/ 5462123 h 6858000"/>
              <a:gd name="connsiteX501" fmla="*/ 2261598 w 7467600"/>
              <a:gd name="connsiteY501" fmla="*/ 5467998 h 6858000"/>
              <a:gd name="connsiteX502" fmla="*/ 2437177 w 7467600"/>
              <a:gd name="connsiteY502" fmla="*/ 5479608 h 6858000"/>
              <a:gd name="connsiteX503" fmla="*/ 2445247 w 7467600"/>
              <a:gd name="connsiteY503" fmla="*/ 5483476 h 6858000"/>
              <a:gd name="connsiteX504" fmla="*/ 2743626 w 7467600"/>
              <a:gd name="connsiteY504" fmla="*/ 5304819 h 6858000"/>
              <a:gd name="connsiteX505" fmla="*/ 3048102 w 7467600"/>
              <a:gd name="connsiteY505" fmla="*/ 5150595 h 6858000"/>
              <a:gd name="connsiteX506" fmla="*/ 1799414 w 7467600"/>
              <a:gd name="connsiteY506" fmla="*/ 4694732 h 6858000"/>
              <a:gd name="connsiteX507" fmla="*/ 1771735 w 7467600"/>
              <a:gd name="connsiteY507" fmla="*/ 4619929 h 6858000"/>
              <a:gd name="connsiteX508" fmla="*/ 3104273 w 7467600"/>
              <a:gd name="connsiteY508" fmla="*/ 5076159 h 6858000"/>
              <a:gd name="connsiteX509" fmla="*/ 3113245 w 7467600"/>
              <a:gd name="connsiteY509" fmla="*/ 5090705 h 6858000"/>
              <a:gd name="connsiteX510" fmla="*/ 3126294 w 7467600"/>
              <a:gd name="connsiteY510" fmla="*/ 5114400 h 6858000"/>
              <a:gd name="connsiteX511" fmla="*/ 3937433 w 7467600"/>
              <a:gd name="connsiteY511" fmla="*/ 4830473 h 6858000"/>
              <a:gd name="connsiteX512" fmla="*/ 3590475 w 7467600"/>
              <a:gd name="connsiteY512" fmla="*/ 4597974 h 6858000"/>
              <a:gd name="connsiteX513" fmla="*/ 3100264 w 7467600"/>
              <a:gd name="connsiteY513" fmla="*/ 4579845 h 6858000"/>
              <a:gd name="connsiteX514" fmla="*/ 2183576 w 7467600"/>
              <a:gd name="connsiteY514" fmla="*/ 4227150 h 6858000"/>
              <a:gd name="connsiteX515" fmla="*/ 2151029 w 7467600"/>
              <a:gd name="connsiteY515" fmla="*/ 4146947 h 6858000"/>
              <a:gd name="connsiteX516" fmla="*/ 3563434 w 7467600"/>
              <a:gd name="connsiteY516" fmla="*/ 4469115 h 6858000"/>
              <a:gd name="connsiteX517" fmla="*/ 3177952 w 7467600"/>
              <a:gd name="connsiteY517" fmla="*/ 3657386 h 6858000"/>
              <a:gd name="connsiteX518" fmla="*/ 3189263 w 7467600"/>
              <a:gd name="connsiteY518" fmla="*/ 3625726 h 6858000"/>
              <a:gd name="connsiteX519" fmla="*/ 3560912 w 7467600"/>
              <a:gd name="connsiteY519" fmla="*/ 4079863 h 6858000"/>
              <a:gd name="connsiteX520" fmla="*/ 3626636 w 7467600"/>
              <a:gd name="connsiteY520" fmla="*/ 4512230 h 6858000"/>
              <a:gd name="connsiteX521" fmla="*/ 3653088 w 7467600"/>
              <a:gd name="connsiteY521" fmla="*/ 4521417 h 6858000"/>
              <a:gd name="connsiteX522" fmla="*/ 3988128 w 7467600"/>
              <a:gd name="connsiteY522" fmla="*/ 4817267 h 6858000"/>
              <a:gd name="connsiteX523" fmla="*/ 4830582 w 7467600"/>
              <a:gd name="connsiteY523" fmla="*/ 4676000 h 6858000"/>
              <a:gd name="connsiteX524" fmla="*/ 4830100 w 7467600"/>
              <a:gd name="connsiteY524" fmla="*/ 4675554 h 6858000"/>
              <a:gd name="connsiteX525" fmla="*/ 4036318 w 7467600"/>
              <a:gd name="connsiteY525" fmla="*/ 4147013 h 6858000"/>
              <a:gd name="connsiteX526" fmla="*/ 3432098 w 7467600"/>
              <a:gd name="connsiteY526" fmla="*/ 3537312 h 6858000"/>
              <a:gd name="connsiteX527" fmla="*/ 3446761 w 7467600"/>
              <a:gd name="connsiteY527" fmla="*/ 3461278 h 6858000"/>
              <a:gd name="connsiteX528" fmla="*/ 4419733 w 7467600"/>
              <a:gd name="connsiteY528" fmla="*/ 3963555 h 6858000"/>
              <a:gd name="connsiteX529" fmla="*/ 4781371 w 7467600"/>
              <a:gd name="connsiteY529" fmla="*/ 4458604 h 6858000"/>
              <a:gd name="connsiteX530" fmla="*/ 4780440 w 7467600"/>
              <a:gd name="connsiteY530" fmla="*/ 4470290 h 6858000"/>
              <a:gd name="connsiteX531" fmla="*/ 4898954 w 7467600"/>
              <a:gd name="connsiteY531" fmla="*/ 4662092 h 6858000"/>
              <a:gd name="connsiteX532" fmla="*/ 4900699 w 7467600"/>
              <a:gd name="connsiteY532" fmla="*/ 4670867 h 6858000"/>
              <a:gd name="connsiteX533" fmla="*/ 5714511 w 7467600"/>
              <a:gd name="connsiteY533" fmla="*/ 4663483 h 6858000"/>
              <a:gd name="connsiteX534" fmla="*/ 5464793 w 7467600"/>
              <a:gd name="connsiteY534" fmla="*/ 4393556 h 6858000"/>
              <a:gd name="connsiteX535" fmla="*/ 5461897 w 7467600"/>
              <a:gd name="connsiteY535" fmla="*/ 4390879 h 6858000"/>
              <a:gd name="connsiteX536" fmla="*/ 4294126 w 7467600"/>
              <a:gd name="connsiteY536" fmla="*/ 3303048 h 6858000"/>
              <a:gd name="connsiteX537" fmla="*/ 4305321 w 7467600"/>
              <a:gd name="connsiteY537" fmla="*/ 3256953 h 6858000"/>
              <a:gd name="connsiteX538" fmla="*/ 4949299 w 7467600"/>
              <a:gd name="connsiteY538" fmla="*/ 3766336 h 6858000"/>
              <a:gd name="connsiteX539" fmla="*/ 5291452 w 7467600"/>
              <a:gd name="connsiteY539" fmla="*/ 4076801 h 6858000"/>
              <a:gd name="connsiteX540" fmla="*/ 5434998 w 7467600"/>
              <a:gd name="connsiteY540" fmla="*/ 4254100 h 6858000"/>
              <a:gd name="connsiteX541" fmla="*/ 5351015 w 7467600"/>
              <a:gd name="connsiteY541" fmla="*/ 3760989 h 6858000"/>
              <a:gd name="connsiteX542" fmla="*/ 5413780 w 7467600"/>
              <a:gd name="connsiteY542" fmla="*/ 2966265 h 6858000"/>
              <a:gd name="connsiteX543" fmla="*/ 5425627 w 7467600"/>
              <a:gd name="connsiteY543" fmla="*/ 2954192 h 6858000"/>
              <a:gd name="connsiteX544" fmla="*/ 6604735 w 7467600"/>
              <a:gd name="connsiteY544" fmla="*/ 2041381 h 6858000"/>
              <a:gd name="connsiteX545" fmla="*/ 7204487 w 7467600"/>
              <a:gd name="connsiteY545" fmla="*/ 2742112 h 6858000"/>
              <a:gd name="connsiteX546" fmla="*/ 7131592 w 7467600"/>
              <a:gd name="connsiteY546" fmla="*/ 2672096 h 6858000"/>
              <a:gd name="connsiteX547" fmla="*/ 6996344 w 7467600"/>
              <a:gd name="connsiteY547" fmla="*/ 2518310 h 6858000"/>
              <a:gd name="connsiteX548" fmla="*/ 6735495 w 7467600"/>
              <a:gd name="connsiteY548" fmla="*/ 2196890 h 6858000"/>
              <a:gd name="connsiteX549" fmla="*/ 6721901 w 7467600"/>
              <a:gd name="connsiteY549" fmla="*/ 2179274 h 6858000"/>
              <a:gd name="connsiteX550" fmla="*/ 6604735 w 7467600"/>
              <a:gd name="connsiteY550" fmla="*/ 2041381 h 6858000"/>
              <a:gd name="connsiteX551" fmla="*/ 6591670 w 7467600"/>
              <a:gd name="connsiteY551" fmla="*/ 1988277 h 6858000"/>
              <a:gd name="connsiteX552" fmla="*/ 6747349 w 7467600"/>
              <a:gd name="connsiteY552" fmla="*/ 2160069 h 6858000"/>
              <a:gd name="connsiteX553" fmla="*/ 6760943 w 7467600"/>
              <a:gd name="connsiteY553" fmla="*/ 2177686 h 6858000"/>
              <a:gd name="connsiteX554" fmla="*/ 7021065 w 7467600"/>
              <a:gd name="connsiteY554" fmla="*/ 2498102 h 6858000"/>
              <a:gd name="connsiteX555" fmla="*/ 7155223 w 7467600"/>
              <a:gd name="connsiteY555" fmla="*/ 2650386 h 6858000"/>
              <a:gd name="connsiteX556" fmla="*/ 7203167 w 7467600"/>
              <a:gd name="connsiteY556" fmla="*/ 2697288 h 6858000"/>
              <a:gd name="connsiteX557" fmla="*/ 6937703 w 7467600"/>
              <a:gd name="connsiteY557" fmla="*/ 2321981 h 6858000"/>
              <a:gd name="connsiteX558" fmla="*/ 6591670 w 7467600"/>
              <a:gd name="connsiteY558" fmla="*/ 1988277 h 6858000"/>
              <a:gd name="connsiteX559" fmla="*/ 5798671 w 7467600"/>
              <a:gd name="connsiteY559" fmla="*/ 1981601 h 6858000"/>
              <a:gd name="connsiteX560" fmla="*/ 5754709 w 7467600"/>
              <a:gd name="connsiteY560" fmla="*/ 2071454 h 6858000"/>
              <a:gd name="connsiteX561" fmla="*/ 5763044 w 7467600"/>
              <a:gd name="connsiteY561" fmla="*/ 2842206 h 6858000"/>
              <a:gd name="connsiteX562" fmla="*/ 5764974 w 7467600"/>
              <a:gd name="connsiteY562" fmla="*/ 2799609 h 6858000"/>
              <a:gd name="connsiteX563" fmla="*/ 5767665 w 7467600"/>
              <a:gd name="connsiteY563" fmla="*/ 2666409 h 6858000"/>
              <a:gd name="connsiteX564" fmla="*/ 5763055 w 7467600"/>
              <a:gd name="connsiteY564" fmla="*/ 2579705 h 6858000"/>
              <a:gd name="connsiteX565" fmla="*/ 5758079 w 7467600"/>
              <a:gd name="connsiteY565" fmla="*/ 2492508 h 6858000"/>
              <a:gd name="connsiteX566" fmla="*/ 5779325 w 7467600"/>
              <a:gd name="connsiteY566" fmla="*/ 2197069 h 6858000"/>
              <a:gd name="connsiteX567" fmla="*/ 5798671 w 7467600"/>
              <a:gd name="connsiteY567" fmla="*/ 1981601 h 6858000"/>
              <a:gd name="connsiteX568" fmla="*/ 5829202 w 7467600"/>
              <a:gd name="connsiteY568" fmla="*/ 1971679 h 6858000"/>
              <a:gd name="connsiteX569" fmla="*/ 5809558 w 7467600"/>
              <a:gd name="connsiteY569" fmla="*/ 2198043 h 6858000"/>
              <a:gd name="connsiteX570" fmla="*/ 5788653 w 7467600"/>
              <a:gd name="connsiteY570" fmla="*/ 2489430 h 6858000"/>
              <a:gd name="connsiteX571" fmla="*/ 5793439 w 7467600"/>
              <a:gd name="connsiteY571" fmla="*/ 2575235 h 6858000"/>
              <a:gd name="connsiteX572" fmla="*/ 5796837 w 7467600"/>
              <a:gd name="connsiteY572" fmla="*/ 2637633 h 6858000"/>
              <a:gd name="connsiteX573" fmla="*/ 5818614 w 7467600"/>
              <a:gd name="connsiteY573" fmla="*/ 2473055 h 6858000"/>
              <a:gd name="connsiteX574" fmla="*/ 5829202 w 7467600"/>
              <a:gd name="connsiteY574" fmla="*/ 1971679 h 6858000"/>
              <a:gd name="connsiteX575" fmla="*/ 5911389 w 7467600"/>
              <a:gd name="connsiteY575" fmla="*/ 1898371 h 6858000"/>
              <a:gd name="connsiteX576" fmla="*/ 6237627 w 7467600"/>
              <a:gd name="connsiteY576" fmla="*/ 2231921 h 6858000"/>
              <a:gd name="connsiteX577" fmla="*/ 5911389 w 7467600"/>
              <a:gd name="connsiteY577" fmla="*/ 1898371 h 6858000"/>
              <a:gd name="connsiteX578" fmla="*/ 6944437 w 7467600"/>
              <a:gd name="connsiteY578" fmla="*/ 1575402 h 6858000"/>
              <a:gd name="connsiteX579" fmla="*/ 6304730 w 7467600"/>
              <a:gd name="connsiteY579" fmla="*/ 1766654 h 6858000"/>
              <a:gd name="connsiteX580" fmla="*/ 6944437 w 7467600"/>
              <a:gd name="connsiteY580" fmla="*/ 1575402 h 6858000"/>
              <a:gd name="connsiteX581" fmla="*/ 7019523 w 7467600"/>
              <a:gd name="connsiteY581" fmla="*/ 1519450 h 6858000"/>
              <a:gd name="connsiteX582" fmla="*/ 6298091 w 7467600"/>
              <a:gd name="connsiteY582" fmla="*/ 1737122 h 6858000"/>
              <a:gd name="connsiteX583" fmla="*/ 7019523 w 7467600"/>
              <a:gd name="connsiteY583" fmla="*/ 1519450 h 6858000"/>
              <a:gd name="connsiteX584" fmla="*/ 2399523 w 7467600"/>
              <a:gd name="connsiteY584" fmla="*/ 1428234 h 6858000"/>
              <a:gd name="connsiteX585" fmla="*/ 2224982 w 7467600"/>
              <a:gd name="connsiteY585" fmla="*/ 1826201 h 6858000"/>
              <a:gd name="connsiteX586" fmla="*/ 2096099 w 7467600"/>
              <a:gd name="connsiteY586" fmla="*/ 2345900 h 6858000"/>
              <a:gd name="connsiteX587" fmla="*/ 2283317 w 7467600"/>
              <a:gd name="connsiteY587" fmla="*/ 1796925 h 6858000"/>
              <a:gd name="connsiteX588" fmla="*/ 2448558 w 7467600"/>
              <a:gd name="connsiteY588" fmla="*/ 1373435 h 6858000"/>
              <a:gd name="connsiteX589" fmla="*/ 2312521 w 7467600"/>
              <a:gd name="connsiteY589" fmla="*/ 1806140 h 6858000"/>
              <a:gd name="connsiteX590" fmla="*/ 2127533 w 7467600"/>
              <a:gd name="connsiteY590" fmla="*/ 2348380 h 6858000"/>
              <a:gd name="connsiteX591" fmla="*/ 2358080 w 7467600"/>
              <a:gd name="connsiteY591" fmla="*/ 1866134 h 6858000"/>
              <a:gd name="connsiteX592" fmla="*/ 2407436 w 7467600"/>
              <a:gd name="connsiteY592" fmla="*/ 1651070 h 6858000"/>
              <a:gd name="connsiteX593" fmla="*/ 2448558 w 7467600"/>
              <a:gd name="connsiteY593" fmla="*/ 1373435 h 6858000"/>
              <a:gd name="connsiteX594" fmla="*/ 278707 w 7467600"/>
              <a:gd name="connsiteY594" fmla="*/ 1352270 h 6858000"/>
              <a:gd name="connsiteX595" fmla="*/ 321570 w 7467600"/>
              <a:gd name="connsiteY595" fmla="*/ 1861610 h 6858000"/>
              <a:gd name="connsiteX596" fmla="*/ 294281 w 7467600"/>
              <a:gd name="connsiteY596" fmla="*/ 1440658 h 6858000"/>
              <a:gd name="connsiteX597" fmla="*/ 1423821 w 7467600"/>
              <a:gd name="connsiteY597" fmla="*/ 1351958 h 6858000"/>
              <a:gd name="connsiteX598" fmla="*/ 1638521 w 7467600"/>
              <a:gd name="connsiteY598" fmla="*/ 1908470 h 6858000"/>
              <a:gd name="connsiteX599" fmla="*/ 1754199 w 7467600"/>
              <a:gd name="connsiteY599" fmla="*/ 2149284 h 6858000"/>
              <a:gd name="connsiteX600" fmla="*/ 1908359 w 7467600"/>
              <a:gd name="connsiteY600" fmla="*/ 2364988 h 6858000"/>
              <a:gd name="connsiteX601" fmla="*/ 1647661 w 7467600"/>
              <a:gd name="connsiteY601" fmla="*/ 1825945 h 6858000"/>
              <a:gd name="connsiteX602" fmla="*/ 1423821 w 7467600"/>
              <a:gd name="connsiteY602" fmla="*/ 1351958 h 6858000"/>
              <a:gd name="connsiteX603" fmla="*/ 1431890 w 7467600"/>
              <a:gd name="connsiteY603" fmla="*/ 1306475 h 6858000"/>
              <a:gd name="connsiteX604" fmla="*/ 1507597 w 7467600"/>
              <a:gd name="connsiteY604" fmla="*/ 1446132 h 6858000"/>
              <a:gd name="connsiteX605" fmla="*/ 1674586 w 7467600"/>
              <a:gd name="connsiteY605" fmla="*/ 1813832 h 6858000"/>
              <a:gd name="connsiteX606" fmla="*/ 1815950 w 7467600"/>
              <a:gd name="connsiteY606" fmla="*/ 2128564 h 6858000"/>
              <a:gd name="connsiteX607" fmla="*/ 1984242 w 7467600"/>
              <a:gd name="connsiteY607" fmla="*/ 2430829 h 6858000"/>
              <a:gd name="connsiteX608" fmla="*/ 2014023 w 7467600"/>
              <a:gd name="connsiteY608" fmla="*/ 2450995 h 6858000"/>
              <a:gd name="connsiteX609" fmla="*/ 1747337 w 7467600"/>
              <a:gd name="connsiteY609" fmla="*/ 1855264 h 6858000"/>
              <a:gd name="connsiteX610" fmla="*/ 1533749 w 7467600"/>
              <a:gd name="connsiteY610" fmla="*/ 1478656 h 6858000"/>
              <a:gd name="connsiteX611" fmla="*/ 1431890 w 7467600"/>
              <a:gd name="connsiteY611" fmla="*/ 1306475 h 6858000"/>
              <a:gd name="connsiteX612" fmla="*/ 5052692 w 7467600"/>
              <a:gd name="connsiteY612" fmla="*/ 1292994 h 6858000"/>
              <a:gd name="connsiteX613" fmla="*/ 5200661 w 7467600"/>
              <a:gd name="connsiteY613" fmla="*/ 1635186 h 6858000"/>
              <a:gd name="connsiteX614" fmla="*/ 5297138 w 7467600"/>
              <a:gd name="connsiteY614" fmla="*/ 1906351 h 6858000"/>
              <a:gd name="connsiteX615" fmla="*/ 5052692 w 7467600"/>
              <a:gd name="connsiteY615" fmla="*/ 1292994 h 6858000"/>
              <a:gd name="connsiteX616" fmla="*/ 5009948 w 7467600"/>
              <a:gd name="connsiteY616" fmla="*/ 1273619 h 6858000"/>
              <a:gd name="connsiteX617" fmla="*/ 5121777 w 7467600"/>
              <a:gd name="connsiteY617" fmla="*/ 1654213 h 6858000"/>
              <a:gd name="connsiteX618" fmla="*/ 5293545 w 7467600"/>
              <a:gd name="connsiteY618" fmla="*/ 2072247 h 6858000"/>
              <a:gd name="connsiteX619" fmla="*/ 5294042 w 7467600"/>
              <a:gd name="connsiteY619" fmla="*/ 2065019 h 6858000"/>
              <a:gd name="connsiteX620" fmla="*/ 5171936 w 7467600"/>
              <a:gd name="connsiteY620" fmla="*/ 1647613 h 6858000"/>
              <a:gd name="connsiteX621" fmla="*/ 5009948 w 7467600"/>
              <a:gd name="connsiteY621" fmla="*/ 1273619 h 6858000"/>
              <a:gd name="connsiteX622" fmla="*/ 655236 w 7467600"/>
              <a:gd name="connsiteY622" fmla="*/ 1268632 h 6858000"/>
              <a:gd name="connsiteX623" fmla="*/ 839521 w 7467600"/>
              <a:gd name="connsiteY623" fmla="*/ 1685315 h 6858000"/>
              <a:gd name="connsiteX624" fmla="*/ 1109416 w 7467600"/>
              <a:gd name="connsiteY624" fmla="*/ 2061663 h 6858000"/>
              <a:gd name="connsiteX625" fmla="*/ 1298300 w 7467600"/>
              <a:gd name="connsiteY625" fmla="*/ 2247742 h 6858000"/>
              <a:gd name="connsiteX626" fmla="*/ 1125871 w 7467600"/>
              <a:gd name="connsiteY626" fmla="*/ 1989513 h 6858000"/>
              <a:gd name="connsiteX627" fmla="*/ 981574 w 7467600"/>
              <a:gd name="connsiteY627" fmla="*/ 1783157 h 6858000"/>
              <a:gd name="connsiteX628" fmla="*/ 922198 w 7467600"/>
              <a:gd name="connsiteY628" fmla="*/ 1677437 h 6858000"/>
              <a:gd name="connsiteX629" fmla="*/ 869293 w 7467600"/>
              <a:gd name="connsiteY629" fmla="*/ 1583214 h 6858000"/>
              <a:gd name="connsiteX630" fmla="*/ 751431 w 7467600"/>
              <a:gd name="connsiteY630" fmla="*/ 1405731 h 6858000"/>
              <a:gd name="connsiteX631" fmla="*/ 6516292 w 7467600"/>
              <a:gd name="connsiteY631" fmla="*/ 1263064 h 6858000"/>
              <a:gd name="connsiteX632" fmla="*/ 5736320 w 7467600"/>
              <a:gd name="connsiteY632" fmla="*/ 1501803 h 6858000"/>
              <a:gd name="connsiteX633" fmla="*/ 6516292 w 7467600"/>
              <a:gd name="connsiteY633" fmla="*/ 1263064 h 6858000"/>
              <a:gd name="connsiteX634" fmla="*/ 291466 w 7467600"/>
              <a:gd name="connsiteY634" fmla="*/ 1250369 h 6858000"/>
              <a:gd name="connsiteX635" fmla="*/ 323180 w 7467600"/>
              <a:gd name="connsiteY635" fmla="*/ 1435283 h 6858000"/>
              <a:gd name="connsiteX636" fmla="*/ 349381 w 7467600"/>
              <a:gd name="connsiteY636" fmla="*/ 1875041 h 6858000"/>
              <a:gd name="connsiteX637" fmla="*/ 374363 w 7467600"/>
              <a:gd name="connsiteY637" fmla="*/ 1506494 h 6858000"/>
              <a:gd name="connsiteX638" fmla="*/ 302168 w 7467600"/>
              <a:gd name="connsiteY638" fmla="*/ 1274495 h 6858000"/>
              <a:gd name="connsiteX639" fmla="*/ 291466 w 7467600"/>
              <a:gd name="connsiteY639" fmla="*/ 1250369 h 6858000"/>
              <a:gd name="connsiteX640" fmla="*/ 678222 w 7467600"/>
              <a:gd name="connsiteY640" fmla="*/ 1248670 h 6858000"/>
              <a:gd name="connsiteX641" fmla="*/ 775536 w 7467600"/>
              <a:gd name="connsiteY641" fmla="*/ 1388015 h 6858000"/>
              <a:gd name="connsiteX642" fmla="*/ 894529 w 7467600"/>
              <a:gd name="connsiteY642" fmla="*/ 1567739 h 6858000"/>
              <a:gd name="connsiteX643" fmla="*/ 948000 w 7467600"/>
              <a:gd name="connsiteY643" fmla="*/ 1663088 h 6858000"/>
              <a:gd name="connsiteX644" fmla="*/ 1006812 w 7467600"/>
              <a:gd name="connsiteY644" fmla="*/ 1767683 h 6858000"/>
              <a:gd name="connsiteX645" fmla="*/ 1149133 w 7467600"/>
              <a:gd name="connsiteY645" fmla="*/ 1971513 h 6858000"/>
              <a:gd name="connsiteX646" fmla="*/ 1333952 w 7467600"/>
              <a:gd name="connsiteY646" fmla="*/ 2251620 h 6858000"/>
              <a:gd name="connsiteX647" fmla="*/ 1337329 w 7467600"/>
              <a:gd name="connsiteY647" fmla="*/ 2258350 h 6858000"/>
              <a:gd name="connsiteX648" fmla="*/ 1014726 w 7467600"/>
              <a:gd name="connsiteY648" fmla="*/ 1615556 h 6858000"/>
              <a:gd name="connsiteX649" fmla="*/ 678222 w 7467600"/>
              <a:gd name="connsiteY649" fmla="*/ 1248670 h 6858000"/>
              <a:gd name="connsiteX650" fmla="*/ 6691602 w 7467600"/>
              <a:gd name="connsiteY650" fmla="*/ 1140573 h 6858000"/>
              <a:gd name="connsiteX651" fmla="*/ 6571100 w 7467600"/>
              <a:gd name="connsiteY651" fmla="*/ 1183662 h 6858000"/>
              <a:gd name="connsiteX652" fmla="*/ 6241687 w 7467600"/>
              <a:gd name="connsiteY652" fmla="*/ 1257600 h 6858000"/>
              <a:gd name="connsiteX653" fmla="*/ 5693009 w 7467600"/>
              <a:gd name="connsiteY653" fmla="*/ 1478256 h 6858000"/>
              <a:gd name="connsiteX654" fmla="*/ 6548420 w 7467600"/>
              <a:gd name="connsiteY654" fmla="*/ 1214599 h 6858000"/>
              <a:gd name="connsiteX655" fmla="*/ 6605473 w 7467600"/>
              <a:gd name="connsiteY655" fmla="*/ 1184686 h 6858000"/>
              <a:gd name="connsiteX656" fmla="*/ 6691602 w 7467600"/>
              <a:gd name="connsiteY656" fmla="*/ 1140573 h 6858000"/>
              <a:gd name="connsiteX657" fmla="*/ 4002475 w 7467600"/>
              <a:gd name="connsiteY657" fmla="*/ 1037802 h 6858000"/>
              <a:gd name="connsiteX658" fmla="*/ 4000324 w 7467600"/>
              <a:gd name="connsiteY658" fmla="*/ 1039362 h 6858000"/>
              <a:gd name="connsiteX659" fmla="*/ 4002862 w 7467600"/>
              <a:gd name="connsiteY659" fmla="*/ 1042866 h 6858000"/>
              <a:gd name="connsiteX660" fmla="*/ 4002475 w 7467600"/>
              <a:gd name="connsiteY660" fmla="*/ 1037802 h 6858000"/>
              <a:gd name="connsiteX661" fmla="*/ 506322 w 7467600"/>
              <a:gd name="connsiteY661" fmla="*/ 1020997 h 6858000"/>
              <a:gd name="connsiteX662" fmla="*/ 533068 w 7467600"/>
              <a:gd name="connsiteY662" fmla="*/ 1029409 h 6858000"/>
              <a:gd name="connsiteX663" fmla="*/ 1232525 w 7467600"/>
              <a:gd name="connsiteY663" fmla="*/ 1804675 h 6858000"/>
              <a:gd name="connsiteX664" fmla="*/ 1388858 w 7467600"/>
              <a:gd name="connsiteY664" fmla="*/ 2368011 h 6858000"/>
              <a:gd name="connsiteX665" fmla="*/ 1384098 w 7467600"/>
              <a:gd name="connsiteY665" fmla="*/ 2378125 h 6858000"/>
              <a:gd name="connsiteX666" fmla="*/ 1425393 w 7467600"/>
              <a:gd name="connsiteY666" fmla="*/ 2589124 h 6858000"/>
              <a:gd name="connsiteX667" fmla="*/ 1424001 w 7467600"/>
              <a:gd name="connsiteY667" fmla="*/ 2597541 h 6858000"/>
              <a:gd name="connsiteX668" fmla="*/ 2152729 w 7467600"/>
              <a:gd name="connsiteY668" fmla="*/ 2864487 h 6858000"/>
              <a:gd name="connsiteX669" fmla="*/ 2020609 w 7467600"/>
              <a:gd name="connsiteY669" fmla="*/ 2539671 h 6858000"/>
              <a:gd name="connsiteX670" fmla="*/ 2018920 w 7467600"/>
              <a:gd name="connsiteY670" fmla="*/ 2536309 h 6858000"/>
              <a:gd name="connsiteX671" fmla="*/ 1342441 w 7467600"/>
              <a:gd name="connsiteY671" fmla="*/ 1173017 h 6858000"/>
              <a:gd name="connsiteX672" fmla="*/ 1367925 w 7467600"/>
              <a:gd name="connsiteY672" fmla="*/ 1135648 h 6858000"/>
              <a:gd name="connsiteX673" fmla="*/ 1771401 w 7467600"/>
              <a:gd name="connsiteY673" fmla="*/ 1806673 h 6858000"/>
              <a:gd name="connsiteX674" fmla="*/ 1972385 w 7467600"/>
              <a:gd name="connsiteY674" fmla="*/ 2198735 h 6858000"/>
              <a:gd name="connsiteX675" fmla="*/ 2040892 w 7467600"/>
              <a:gd name="connsiteY675" fmla="*/ 2405205 h 6858000"/>
              <a:gd name="connsiteX676" fmla="*/ 2131689 w 7467600"/>
              <a:gd name="connsiteY676" fmla="*/ 1936926 h 6858000"/>
              <a:gd name="connsiteX677" fmla="*/ 2454820 w 7467600"/>
              <a:gd name="connsiteY677" fmla="*/ 1248808 h 6858000"/>
              <a:gd name="connsiteX678" fmla="*/ 2492512 w 7467600"/>
              <a:gd name="connsiteY678" fmla="*/ 1302920 h 6858000"/>
              <a:gd name="connsiteX679" fmla="*/ 2081216 w 7467600"/>
              <a:gd name="connsiteY679" fmla="*/ 2527513 h 6858000"/>
              <a:gd name="connsiteX680" fmla="*/ 2081211 w 7467600"/>
              <a:gd name="connsiteY680" fmla="*/ 2528916 h 6858000"/>
              <a:gd name="connsiteX681" fmla="*/ 2199067 w 7467600"/>
              <a:gd name="connsiteY681" fmla="*/ 2884061 h 6858000"/>
              <a:gd name="connsiteX682" fmla="*/ 3192586 w 7467600"/>
              <a:gd name="connsiteY682" fmla="*/ 3411496 h 6858000"/>
              <a:gd name="connsiteX683" fmla="*/ 3182620 w 7467600"/>
              <a:gd name="connsiteY683" fmla="*/ 3483279 h 6858000"/>
              <a:gd name="connsiteX684" fmla="*/ 2435119 w 7467600"/>
              <a:gd name="connsiteY684" fmla="*/ 3080173 h 6858000"/>
              <a:gd name="connsiteX685" fmla="*/ 2410152 w 7467600"/>
              <a:gd name="connsiteY685" fmla="*/ 3063751 h 6858000"/>
              <a:gd name="connsiteX686" fmla="*/ 2408099 w 7467600"/>
              <a:gd name="connsiteY686" fmla="*/ 3064403 h 6858000"/>
              <a:gd name="connsiteX687" fmla="*/ 2407218 w 7467600"/>
              <a:gd name="connsiteY687" fmla="*/ 3070324 h 6858000"/>
              <a:gd name="connsiteX688" fmla="*/ 2380138 w 7467600"/>
              <a:gd name="connsiteY688" fmla="*/ 3099341 h 6858000"/>
              <a:gd name="connsiteX689" fmla="*/ 1765923 w 7467600"/>
              <a:gd name="connsiteY689" fmla="*/ 3581043 h 6858000"/>
              <a:gd name="connsiteX690" fmla="*/ 1702258 w 7467600"/>
              <a:gd name="connsiteY690" fmla="*/ 3612286 h 6858000"/>
              <a:gd name="connsiteX691" fmla="*/ 1538370 w 7467600"/>
              <a:gd name="connsiteY691" fmla="*/ 3811804 h 6858000"/>
              <a:gd name="connsiteX692" fmla="*/ 542867 w 7467600"/>
              <a:gd name="connsiteY692" fmla="*/ 4944092 h 6858000"/>
              <a:gd name="connsiteX693" fmla="*/ 515800 w 7467600"/>
              <a:gd name="connsiteY693" fmla="*/ 4862180 h 6858000"/>
              <a:gd name="connsiteX694" fmla="*/ 909145 w 7467600"/>
              <a:gd name="connsiteY694" fmla="*/ 4199225 h 6858000"/>
              <a:gd name="connsiteX695" fmla="*/ 1214067 w 7467600"/>
              <a:gd name="connsiteY695" fmla="*/ 3908561 h 6858000"/>
              <a:gd name="connsiteX696" fmla="*/ 640967 w 7467600"/>
              <a:gd name="connsiteY696" fmla="*/ 4105601 h 6858000"/>
              <a:gd name="connsiteX697" fmla="*/ 112563 w 7467600"/>
              <a:gd name="connsiteY697" fmla="*/ 4396952 h 6858000"/>
              <a:gd name="connsiteX698" fmla="*/ 0 w 7467600"/>
              <a:gd name="connsiteY698" fmla="*/ 4466006 h 6858000"/>
              <a:gd name="connsiteX699" fmla="*/ 0 w 7467600"/>
              <a:gd name="connsiteY699" fmla="*/ 4233763 h 6858000"/>
              <a:gd name="connsiteX700" fmla="*/ 36881 w 7467600"/>
              <a:gd name="connsiteY700" fmla="*/ 4200118 h 6858000"/>
              <a:gd name="connsiteX701" fmla="*/ 910534 w 7467600"/>
              <a:gd name="connsiteY701" fmla="*/ 3629753 h 6858000"/>
              <a:gd name="connsiteX702" fmla="*/ 1578717 w 7467600"/>
              <a:gd name="connsiteY702" fmla="*/ 3575982 h 6858000"/>
              <a:gd name="connsiteX703" fmla="*/ 2338780 w 7467600"/>
              <a:gd name="connsiteY703" fmla="*/ 3033725 h 6858000"/>
              <a:gd name="connsiteX704" fmla="*/ 1807991 w 7467600"/>
              <a:gd name="connsiteY704" fmla="*/ 2807184 h 6858000"/>
              <a:gd name="connsiteX705" fmla="*/ 1416358 w 7467600"/>
              <a:gd name="connsiteY705" fmla="*/ 3112571 h 6858000"/>
              <a:gd name="connsiteX706" fmla="*/ 939066 w 7467600"/>
              <a:gd name="connsiteY706" fmla="*/ 3378798 h 6858000"/>
              <a:gd name="connsiteX707" fmla="*/ 115099 w 7467600"/>
              <a:gd name="connsiteY707" fmla="*/ 3607650 h 6858000"/>
              <a:gd name="connsiteX708" fmla="*/ 97284 w 7467600"/>
              <a:gd name="connsiteY708" fmla="*/ 3520393 h 6858000"/>
              <a:gd name="connsiteX709" fmla="*/ 922050 w 7467600"/>
              <a:gd name="connsiteY709" fmla="*/ 3074867 h 6858000"/>
              <a:gd name="connsiteX710" fmla="*/ 1405265 w 7467600"/>
              <a:gd name="connsiteY710" fmla="*/ 3016319 h 6858000"/>
              <a:gd name="connsiteX711" fmla="*/ 1407512 w 7467600"/>
              <a:gd name="connsiteY711" fmla="*/ 3018001 h 6858000"/>
              <a:gd name="connsiteX712" fmla="*/ 1726266 w 7467600"/>
              <a:gd name="connsiteY712" fmla="*/ 2777274 h 6858000"/>
              <a:gd name="connsiteX713" fmla="*/ 625390 w 7467600"/>
              <a:gd name="connsiteY713" fmla="*/ 2514541 h 6858000"/>
              <a:gd name="connsiteX714" fmla="*/ 619799 w 7467600"/>
              <a:gd name="connsiteY714" fmla="*/ 2527180 h 6858000"/>
              <a:gd name="connsiteX715" fmla="*/ 310030 w 7467600"/>
              <a:gd name="connsiteY715" fmla="*/ 2771818 h 6858000"/>
              <a:gd name="connsiteX716" fmla="*/ 173877 w 7467600"/>
              <a:gd name="connsiteY716" fmla="*/ 2937056 h 6858000"/>
              <a:gd name="connsiteX717" fmla="*/ 77889 w 7467600"/>
              <a:gd name="connsiteY717" fmla="*/ 3138440 h 6858000"/>
              <a:gd name="connsiteX718" fmla="*/ 0 w 7467600"/>
              <a:gd name="connsiteY718" fmla="*/ 3271395 h 6858000"/>
              <a:gd name="connsiteX719" fmla="*/ 0 w 7467600"/>
              <a:gd name="connsiteY719" fmla="*/ 3153002 h 6858000"/>
              <a:gd name="connsiteX720" fmla="*/ 2386 w 7467600"/>
              <a:gd name="connsiteY720" fmla="*/ 3149203 h 6858000"/>
              <a:gd name="connsiteX721" fmla="*/ 89753 w 7467600"/>
              <a:gd name="connsiteY721" fmla="*/ 2987702 h 6858000"/>
              <a:gd name="connsiteX722" fmla="*/ 76869 w 7467600"/>
              <a:gd name="connsiteY722" fmla="*/ 3005404 h 6858000"/>
              <a:gd name="connsiteX723" fmla="*/ 32049 w 7467600"/>
              <a:gd name="connsiteY723" fmla="*/ 3065814 h 6858000"/>
              <a:gd name="connsiteX724" fmla="*/ 0 w 7467600"/>
              <a:gd name="connsiteY724" fmla="*/ 3108744 h 6858000"/>
              <a:gd name="connsiteX725" fmla="*/ 0 w 7467600"/>
              <a:gd name="connsiteY725" fmla="*/ 3058059 h 6858000"/>
              <a:gd name="connsiteX726" fmla="*/ 7610 w 7467600"/>
              <a:gd name="connsiteY726" fmla="*/ 3047889 h 6858000"/>
              <a:gd name="connsiteX727" fmla="*/ 52419 w 7467600"/>
              <a:gd name="connsiteY727" fmla="*/ 2987479 h 6858000"/>
              <a:gd name="connsiteX728" fmla="*/ 59142 w 7467600"/>
              <a:gd name="connsiteY728" fmla="*/ 2978488 h 6858000"/>
              <a:gd name="connsiteX729" fmla="*/ 0 w 7467600"/>
              <a:gd name="connsiteY729" fmla="*/ 3015334 h 6858000"/>
              <a:gd name="connsiteX730" fmla="*/ 0 w 7467600"/>
              <a:gd name="connsiteY730" fmla="*/ 2914286 h 6858000"/>
              <a:gd name="connsiteX731" fmla="*/ 36383 w 7467600"/>
              <a:gd name="connsiteY731" fmla="*/ 2901128 h 6858000"/>
              <a:gd name="connsiteX732" fmla="*/ 156329 w 7467600"/>
              <a:gd name="connsiteY732" fmla="*/ 2840533 h 6858000"/>
              <a:gd name="connsiteX733" fmla="*/ 358355 w 7467600"/>
              <a:gd name="connsiteY733" fmla="*/ 2620471 h 6858000"/>
              <a:gd name="connsiteX734" fmla="*/ 510577 w 7467600"/>
              <a:gd name="connsiteY734" fmla="*/ 2501244 h 6858000"/>
              <a:gd name="connsiteX735" fmla="*/ 211967 w 7467600"/>
              <a:gd name="connsiteY735" fmla="*/ 2479171 h 6858000"/>
              <a:gd name="connsiteX736" fmla="*/ 0 w 7467600"/>
              <a:gd name="connsiteY736" fmla="*/ 2476398 h 6858000"/>
              <a:gd name="connsiteX737" fmla="*/ 0 w 7467600"/>
              <a:gd name="connsiteY737" fmla="*/ 2389189 h 6858000"/>
              <a:gd name="connsiteX738" fmla="*/ 103062 w 7467600"/>
              <a:gd name="connsiteY738" fmla="*/ 2389518 h 6858000"/>
              <a:gd name="connsiteX739" fmla="*/ 510734 w 7467600"/>
              <a:gd name="connsiteY739" fmla="*/ 2416201 h 6858000"/>
              <a:gd name="connsiteX740" fmla="*/ 279257 w 7467600"/>
              <a:gd name="connsiteY740" fmla="*/ 2092102 h 6858000"/>
              <a:gd name="connsiteX741" fmla="*/ 65265 w 7467600"/>
              <a:gd name="connsiteY741" fmla="*/ 2006049 h 6858000"/>
              <a:gd name="connsiteX742" fmla="*/ 0 w 7467600"/>
              <a:gd name="connsiteY742" fmla="*/ 1982532 h 6858000"/>
              <a:gd name="connsiteX743" fmla="*/ 0 w 7467600"/>
              <a:gd name="connsiteY743" fmla="*/ 1912789 h 6858000"/>
              <a:gd name="connsiteX744" fmla="*/ 97460 w 7467600"/>
              <a:gd name="connsiteY744" fmla="*/ 1953725 h 6858000"/>
              <a:gd name="connsiteX745" fmla="*/ 221272 w 7467600"/>
              <a:gd name="connsiteY745" fmla="*/ 1980766 h 6858000"/>
              <a:gd name="connsiteX746" fmla="*/ 116765 w 7467600"/>
              <a:gd name="connsiteY746" fmla="*/ 1911033 h 6858000"/>
              <a:gd name="connsiteX747" fmla="*/ 16405 w 7467600"/>
              <a:gd name="connsiteY747" fmla="*/ 1803412 h 6858000"/>
              <a:gd name="connsiteX748" fmla="*/ 0 w 7467600"/>
              <a:gd name="connsiteY748" fmla="*/ 1784777 h 6858000"/>
              <a:gd name="connsiteX749" fmla="*/ 0 w 7467600"/>
              <a:gd name="connsiteY749" fmla="*/ 1740082 h 6858000"/>
              <a:gd name="connsiteX750" fmla="*/ 39394 w 7467600"/>
              <a:gd name="connsiteY750" fmla="*/ 1784856 h 6858000"/>
              <a:gd name="connsiteX751" fmla="*/ 135813 w 7467600"/>
              <a:gd name="connsiteY751" fmla="*/ 1888838 h 6858000"/>
              <a:gd name="connsiteX752" fmla="*/ 242575 w 7467600"/>
              <a:gd name="connsiteY752" fmla="*/ 1958841 h 6858000"/>
              <a:gd name="connsiteX753" fmla="*/ 82197 w 7467600"/>
              <a:gd name="connsiteY753" fmla="*/ 1754826 h 6858000"/>
              <a:gd name="connsiteX754" fmla="*/ 0 w 7467600"/>
              <a:gd name="connsiteY754" fmla="*/ 1679650 h 6858000"/>
              <a:gd name="connsiteX755" fmla="*/ 0 w 7467600"/>
              <a:gd name="connsiteY755" fmla="*/ 1602463 h 6858000"/>
              <a:gd name="connsiteX756" fmla="*/ 84689 w 7467600"/>
              <a:gd name="connsiteY756" fmla="*/ 1677442 h 6858000"/>
              <a:gd name="connsiteX757" fmla="*/ 298437 w 7467600"/>
              <a:gd name="connsiteY757" fmla="*/ 1968019 h 6858000"/>
              <a:gd name="connsiteX758" fmla="*/ 227269 w 7467600"/>
              <a:gd name="connsiteY758" fmla="*/ 1114064 h 6858000"/>
              <a:gd name="connsiteX759" fmla="*/ 248003 w 7467600"/>
              <a:gd name="connsiteY759" fmla="*/ 1089613 h 6858000"/>
              <a:gd name="connsiteX760" fmla="*/ 427020 w 7467600"/>
              <a:gd name="connsiteY760" fmla="*/ 1619803 h 6858000"/>
              <a:gd name="connsiteX761" fmla="*/ 340345 w 7467600"/>
              <a:gd name="connsiteY761" fmla="*/ 2027739 h 6858000"/>
              <a:gd name="connsiteX762" fmla="*/ 360865 w 7467600"/>
              <a:gd name="connsiteY762" fmla="*/ 2044827 h 6858000"/>
              <a:gd name="connsiteX763" fmla="*/ 560414 w 7467600"/>
              <a:gd name="connsiteY763" fmla="*/ 2421457 h 6858000"/>
              <a:gd name="connsiteX764" fmla="*/ 1359703 w 7467600"/>
              <a:gd name="connsiteY764" fmla="*/ 2578554 h 6858000"/>
              <a:gd name="connsiteX765" fmla="*/ 1359422 w 7467600"/>
              <a:gd name="connsiteY765" fmla="*/ 2577994 h 6858000"/>
              <a:gd name="connsiteX766" fmla="*/ 828701 w 7467600"/>
              <a:gd name="connsiteY766" fmla="*/ 1839520 h 6858000"/>
              <a:gd name="connsiteX767" fmla="*/ 494427 w 7467600"/>
              <a:gd name="connsiteY767" fmla="*/ 1092333 h 6858000"/>
              <a:gd name="connsiteX768" fmla="*/ 506322 w 7467600"/>
              <a:gd name="connsiteY768" fmla="*/ 1020997 h 6858000"/>
              <a:gd name="connsiteX769" fmla="*/ 4570198 w 7467600"/>
              <a:gd name="connsiteY769" fmla="*/ 978081 h 6858000"/>
              <a:gd name="connsiteX770" fmla="*/ 4523691 w 7467600"/>
              <a:gd name="connsiteY770" fmla="*/ 1127776 h 6858000"/>
              <a:gd name="connsiteX771" fmla="*/ 4509875 w 7467600"/>
              <a:gd name="connsiteY771" fmla="*/ 1167552 h 6858000"/>
              <a:gd name="connsiteX772" fmla="*/ 4478168 w 7467600"/>
              <a:gd name="connsiteY772" fmla="*/ 1260735 h 6858000"/>
              <a:gd name="connsiteX773" fmla="*/ 4409309 w 7467600"/>
              <a:gd name="connsiteY773" fmla="*/ 1666996 h 6858000"/>
              <a:gd name="connsiteX774" fmla="*/ 4370031 w 7467600"/>
              <a:gd name="connsiteY774" fmla="*/ 1955666 h 6858000"/>
              <a:gd name="connsiteX775" fmla="*/ 4570198 w 7467600"/>
              <a:gd name="connsiteY775" fmla="*/ 978081 h 6858000"/>
              <a:gd name="connsiteX776" fmla="*/ 4557898 w 7467600"/>
              <a:gd name="connsiteY776" fmla="*/ 900011 h 6858000"/>
              <a:gd name="connsiteX777" fmla="*/ 4344840 w 7467600"/>
              <a:gd name="connsiteY777" fmla="*/ 1922038 h 6858000"/>
              <a:gd name="connsiteX778" fmla="*/ 4378710 w 7467600"/>
              <a:gd name="connsiteY778" fmla="*/ 1665516 h 6858000"/>
              <a:gd name="connsiteX779" fmla="*/ 4448798 w 7467600"/>
              <a:gd name="connsiteY779" fmla="*/ 1253024 h 6858000"/>
              <a:gd name="connsiteX780" fmla="*/ 4480315 w 7467600"/>
              <a:gd name="connsiteY780" fmla="*/ 1158454 h 6858000"/>
              <a:gd name="connsiteX781" fmla="*/ 4494133 w 7467600"/>
              <a:gd name="connsiteY781" fmla="*/ 1118676 h 6858000"/>
              <a:gd name="connsiteX782" fmla="*/ 4557898 w 7467600"/>
              <a:gd name="connsiteY782" fmla="*/ 900011 h 6858000"/>
              <a:gd name="connsiteX783" fmla="*/ 5870151 w 7467600"/>
              <a:gd name="connsiteY783" fmla="*/ 898890 h 6858000"/>
              <a:gd name="connsiteX784" fmla="*/ 5861335 w 7467600"/>
              <a:gd name="connsiteY784" fmla="*/ 899177 h 6858000"/>
              <a:gd name="connsiteX785" fmla="*/ 5843702 w 7467600"/>
              <a:gd name="connsiteY785" fmla="*/ 899748 h 6858000"/>
              <a:gd name="connsiteX786" fmla="*/ 5651107 w 7467600"/>
              <a:gd name="connsiteY786" fmla="*/ 920306 h 6858000"/>
              <a:gd name="connsiteX787" fmla="*/ 5459407 w 7467600"/>
              <a:gd name="connsiteY787" fmla="*/ 940975 h 6858000"/>
              <a:gd name="connsiteX788" fmla="*/ 5374846 w 7467600"/>
              <a:gd name="connsiteY788" fmla="*/ 941988 h 6858000"/>
              <a:gd name="connsiteX789" fmla="*/ 5256105 w 7467600"/>
              <a:gd name="connsiteY789" fmla="*/ 945632 h 6858000"/>
              <a:gd name="connsiteX790" fmla="*/ 5107071 w 7467600"/>
              <a:gd name="connsiteY790" fmla="*/ 969720 h 6858000"/>
              <a:gd name="connsiteX791" fmla="*/ 4998681 w 7467600"/>
              <a:gd name="connsiteY791" fmla="*/ 988771 h 6858000"/>
              <a:gd name="connsiteX792" fmla="*/ 5870151 w 7467600"/>
              <a:gd name="connsiteY792" fmla="*/ 898890 h 6858000"/>
              <a:gd name="connsiteX793" fmla="*/ 5504425 w 7467600"/>
              <a:gd name="connsiteY793" fmla="*/ 848067 h 6858000"/>
              <a:gd name="connsiteX794" fmla="*/ 4968849 w 7467600"/>
              <a:gd name="connsiteY794" fmla="*/ 962318 h 6858000"/>
              <a:gd name="connsiteX795" fmla="*/ 5104039 w 7467600"/>
              <a:gd name="connsiteY795" fmla="*/ 940634 h 6858000"/>
              <a:gd name="connsiteX796" fmla="*/ 5256311 w 7467600"/>
              <a:gd name="connsiteY796" fmla="*/ 916490 h 6858000"/>
              <a:gd name="connsiteX797" fmla="*/ 5377381 w 7467600"/>
              <a:gd name="connsiteY797" fmla="*/ 912671 h 6858000"/>
              <a:gd name="connsiteX798" fmla="*/ 5460148 w 7467600"/>
              <a:gd name="connsiteY798" fmla="*/ 911442 h 6858000"/>
              <a:gd name="connsiteX799" fmla="*/ 5648971 w 7467600"/>
              <a:gd name="connsiteY799" fmla="*/ 891331 h 6858000"/>
              <a:gd name="connsiteX800" fmla="*/ 5844807 w 7467600"/>
              <a:gd name="connsiteY800" fmla="*/ 870718 h 6858000"/>
              <a:gd name="connsiteX801" fmla="*/ 5862975 w 7467600"/>
              <a:gd name="connsiteY801" fmla="*/ 869756 h 6858000"/>
              <a:gd name="connsiteX802" fmla="*/ 5920887 w 7467600"/>
              <a:gd name="connsiteY802" fmla="*/ 865929 h 6858000"/>
              <a:gd name="connsiteX803" fmla="*/ 5504425 w 7467600"/>
              <a:gd name="connsiteY803" fmla="*/ 848067 h 6858000"/>
              <a:gd name="connsiteX804" fmla="*/ 3607114 w 7467600"/>
              <a:gd name="connsiteY804" fmla="*/ 467441 h 6858000"/>
              <a:gd name="connsiteX805" fmla="*/ 3296242 w 7467600"/>
              <a:gd name="connsiteY805" fmla="*/ 807991 h 6858000"/>
              <a:gd name="connsiteX806" fmla="*/ 3174674 w 7467600"/>
              <a:gd name="connsiteY806" fmla="*/ 919759 h 6858000"/>
              <a:gd name="connsiteX807" fmla="*/ 3042978 w 7467600"/>
              <a:gd name="connsiteY807" fmla="*/ 1054894 h 6858000"/>
              <a:gd name="connsiteX808" fmla="*/ 2968914 w 7467600"/>
              <a:gd name="connsiteY808" fmla="*/ 1133756 h 6858000"/>
              <a:gd name="connsiteX809" fmla="*/ 3103823 w 7467600"/>
              <a:gd name="connsiteY809" fmla="*/ 1026814 h 6858000"/>
              <a:gd name="connsiteX810" fmla="*/ 3607114 w 7467600"/>
              <a:gd name="connsiteY810" fmla="*/ 467441 h 6858000"/>
              <a:gd name="connsiteX811" fmla="*/ 3744487 w 7467600"/>
              <a:gd name="connsiteY811" fmla="*/ 383136 h 6858000"/>
              <a:gd name="connsiteX812" fmla="*/ 3970213 w 7467600"/>
              <a:gd name="connsiteY812" fmla="*/ 995559 h 6858000"/>
              <a:gd name="connsiteX813" fmla="*/ 3744487 w 7467600"/>
              <a:gd name="connsiteY813" fmla="*/ 383136 h 6858000"/>
              <a:gd name="connsiteX814" fmla="*/ 3624562 w 7467600"/>
              <a:gd name="connsiteY814" fmla="*/ 367041 h 6858000"/>
              <a:gd name="connsiteX815" fmla="*/ 3489712 w 7467600"/>
              <a:gd name="connsiteY815" fmla="*/ 485386 h 6858000"/>
              <a:gd name="connsiteX816" fmla="*/ 3182994 w 7467600"/>
              <a:gd name="connsiteY816" fmla="*/ 828265 h 6858000"/>
              <a:gd name="connsiteX817" fmla="*/ 2892114 w 7467600"/>
              <a:gd name="connsiteY817" fmla="*/ 1172635 h 6858000"/>
              <a:gd name="connsiteX818" fmla="*/ 3021459 w 7467600"/>
              <a:gd name="connsiteY818" fmla="*/ 1035385 h 6858000"/>
              <a:gd name="connsiteX819" fmla="*/ 3153873 w 7467600"/>
              <a:gd name="connsiteY819" fmla="*/ 898971 h 6858000"/>
              <a:gd name="connsiteX820" fmla="*/ 3276511 w 7467600"/>
              <a:gd name="connsiteY820" fmla="*/ 786423 h 6858000"/>
              <a:gd name="connsiteX821" fmla="*/ 3584154 w 7467600"/>
              <a:gd name="connsiteY821" fmla="*/ 448218 h 6858000"/>
              <a:gd name="connsiteX822" fmla="*/ 3624562 w 7467600"/>
              <a:gd name="connsiteY822" fmla="*/ 367041 h 6858000"/>
              <a:gd name="connsiteX823" fmla="*/ 3766672 w 7467600"/>
              <a:gd name="connsiteY823" fmla="*/ 359429 h 6858000"/>
              <a:gd name="connsiteX824" fmla="*/ 3996338 w 7467600"/>
              <a:gd name="connsiteY824" fmla="*/ 968237 h 6858000"/>
              <a:gd name="connsiteX825" fmla="*/ 3766672 w 7467600"/>
              <a:gd name="connsiteY825" fmla="*/ 359429 h 6858000"/>
              <a:gd name="connsiteX826" fmla="*/ 5805386 w 7467600"/>
              <a:gd name="connsiteY826" fmla="*/ 239240 h 6858000"/>
              <a:gd name="connsiteX827" fmla="*/ 5736947 w 7467600"/>
              <a:gd name="connsiteY827" fmla="*/ 261367 h 6858000"/>
              <a:gd name="connsiteX828" fmla="*/ 5427012 w 7467600"/>
              <a:gd name="connsiteY828" fmla="*/ 311272 h 6858000"/>
              <a:gd name="connsiteX829" fmla="*/ 5147818 w 7467600"/>
              <a:gd name="connsiteY829" fmla="*/ 322112 h 6858000"/>
              <a:gd name="connsiteX830" fmla="*/ 5060854 w 7467600"/>
              <a:gd name="connsiteY830" fmla="*/ 311882 h 6858000"/>
              <a:gd name="connsiteX831" fmla="*/ 4945989 w 7467600"/>
              <a:gd name="connsiteY831" fmla="*/ 300516 h 6858000"/>
              <a:gd name="connsiteX832" fmla="*/ 5410479 w 7467600"/>
              <a:gd name="connsiteY832" fmla="*/ 348434 h 6858000"/>
              <a:gd name="connsiteX833" fmla="*/ 5805386 w 7467600"/>
              <a:gd name="connsiteY833" fmla="*/ 239240 h 6858000"/>
              <a:gd name="connsiteX834" fmla="*/ 7467600 w 7467600"/>
              <a:gd name="connsiteY834" fmla="*/ 163142 h 6858000"/>
              <a:gd name="connsiteX835" fmla="*/ 7467600 w 7467600"/>
              <a:gd name="connsiteY835" fmla="*/ 789215 h 6858000"/>
              <a:gd name="connsiteX836" fmla="*/ 7451412 w 7467600"/>
              <a:gd name="connsiteY836" fmla="*/ 799572 h 6858000"/>
              <a:gd name="connsiteX837" fmla="*/ 7419999 w 7467600"/>
              <a:gd name="connsiteY837" fmla="*/ 774360 h 6858000"/>
              <a:gd name="connsiteX838" fmla="*/ 7429067 w 7467600"/>
              <a:gd name="connsiteY838" fmla="*/ 402737 h 6858000"/>
              <a:gd name="connsiteX839" fmla="*/ 5905192 w 7467600"/>
              <a:gd name="connsiteY839" fmla="*/ 163079 h 6858000"/>
              <a:gd name="connsiteX840" fmla="*/ 5865655 w 7467600"/>
              <a:gd name="connsiteY840" fmla="*/ 171901 h 6858000"/>
              <a:gd name="connsiteX841" fmla="*/ 5259740 w 7467600"/>
              <a:gd name="connsiteY841" fmla="*/ 257013 h 6858000"/>
              <a:gd name="connsiteX842" fmla="*/ 5208466 w 7467600"/>
              <a:gd name="connsiteY842" fmla="*/ 257550 h 6858000"/>
              <a:gd name="connsiteX843" fmla="*/ 4980204 w 7467600"/>
              <a:gd name="connsiteY843" fmla="*/ 271903 h 6858000"/>
              <a:gd name="connsiteX844" fmla="*/ 5068068 w 7467600"/>
              <a:gd name="connsiteY844" fmla="*/ 282244 h 6858000"/>
              <a:gd name="connsiteX845" fmla="*/ 5153231 w 7467600"/>
              <a:gd name="connsiteY845" fmla="*/ 292240 h 6858000"/>
              <a:gd name="connsiteX846" fmla="*/ 5426491 w 7467600"/>
              <a:gd name="connsiteY846" fmla="*/ 281128 h 6858000"/>
              <a:gd name="connsiteX847" fmla="*/ 5731212 w 7467600"/>
              <a:gd name="connsiteY847" fmla="*/ 231951 h 6858000"/>
              <a:gd name="connsiteX848" fmla="*/ 5905192 w 7467600"/>
              <a:gd name="connsiteY848" fmla="*/ 163079 h 6858000"/>
              <a:gd name="connsiteX849" fmla="*/ 5944437 w 7467600"/>
              <a:gd name="connsiteY849" fmla="*/ 113829 h 6858000"/>
              <a:gd name="connsiteX850" fmla="*/ 5825032 w 7467600"/>
              <a:gd name="connsiteY850" fmla="*/ 146405 h 6858000"/>
              <a:gd name="connsiteX851" fmla="*/ 4955599 w 7467600"/>
              <a:gd name="connsiteY851" fmla="*/ 247008 h 6858000"/>
              <a:gd name="connsiteX852" fmla="*/ 5210104 w 7467600"/>
              <a:gd name="connsiteY852" fmla="*/ 228123 h 6858000"/>
              <a:gd name="connsiteX853" fmla="*/ 5261015 w 7467600"/>
              <a:gd name="connsiteY853" fmla="*/ 227087 h 6858000"/>
              <a:gd name="connsiteX854" fmla="*/ 5861181 w 7467600"/>
              <a:gd name="connsiteY854" fmla="*/ 143093 h 6858000"/>
              <a:gd name="connsiteX855" fmla="*/ 5961252 w 7467600"/>
              <a:gd name="connsiteY855" fmla="*/ 114820 h 6858000"/>
              <a:gd name="connsiteX856" fmla="*/ 5944437 w 7467600"/>
              <a:gd name="connsiteY856" fmla="*/ 113829 h 6858000"/>
              <a:gd name="connsiteX857" fmla="*/ 3882765 w 7467600"/>
              <a:gd name="connsiteY857" fmla="*/ 0 h 6858000"/>
              <a:gd name="connsiteX858" fmla="*/ 3995099 w 7467600"/>
              <a:gd name="connsiteY858" fmla="*/ 0 h 6858000"/>
              <a:gd name="connsiteX859" fmla="*/ 4163818 w 7467600"/>
              <a:gd name="connsiteY859" fmla="*/ 234104 h 6858000"/>
              <a:gd name="connsiteX860" fmla="*/ 4172099 w 7467600"/>
              <a:gd name="connsiteY860" fmla="*/ 234207 h 6858000"/>
              <a:gd name="connsiteX861" fmla="*/ 4784282 w 7467600"/>
              <a:gd name="connsiteY861" fmla="*/ 276561 h 6858000"/>
              <a:gd name="connsiteX862" fmla="*/ 4801687 w 7467600"/>
              <a:gd name="connsiteY862" fmla="*/ 267764 h 6858000"/>
              <a:gd name="connsiteX863" fmla="*/ 6082788 w 7467600"/>
              <a:gd name="connsiteY863" fmla="*/ 64119 h 6858000"/>
              <a:gd name="connsiteX864" fmla="*/ 6099442 w 7467600"/>
              <a:gd name="connsiteY864" fmla="*/ 82568 h 6858000"/>
              <a:gd name="connsiteX865" fmla="*/ 4804137 w 7467600"/>
              <a:gd name="connsiteY865" fmla="*/ 320931 h 6858000"/>
              <a:gd name="connsiteX866" fmla="*/ 4227047 w 7467600"/>
              <a:gd name="connsiteY866" fmla="*/ 313415 h 6858000"/>
              <a:gd name="connsiteX867" fmla="*/ 4346041 w 7467600"/>
              <a:gd name="connsiteY867" fmla="*/ 456086 h 6858000"/>
              <a:gd name="connsiteX868" fmla="*/ 4870967 w 7467600"/>
              <a:gd name="connsiteY868" fmla="*/ 963061 h 6858000"/>
              <a:gd name="connsiteX869" fmla="*/ 4889647 w 7467600"/>
              <a:gd name="connsiteY869" fmla="*/ 957147 h 6858000"/>
              <a:gd name="connsiteX870" fmla="*/ 5422504 w 7467600"/>
              <a:gd name="connsiteY870" fmla="*/ 805191 h 6858000"/>
              <a:gd name="connsiteX871" fmla="*/ 6087656 w 7467600"/>
              <a:gd name="connsiteY871" fmla="*/ 826703 h 6858000"/>
              <a:gd name="connsiteX872" fmla="*/ 6058717 w 7467600"/>
              <a:gd name="connsiteY872" fmla="*/ 865992 h 6858000"/>
              <a:gd name="connsiteX873" fmla="*/ 4974153 w 7467600"/>
              <a:gd name="connsiteY873" fmla="*/ 1045456 h 6858000"/>
              <a:gd name="connsiteX874" fmla="*/ 5627835 w 7467600"/>
              <a:gd name="connsiteY874" fmla="*/ 1472077 h 6858000"/>
              <a:gd name="connsiteX875" fmla="*/ 5629817 w 7467600"/>
              <a:gd name="connsiteY875" fmla="*/ 1471412 h 6858000"/>
              <a:gd name="connsiteX876" fmla="*/ 5634124 w 7467600"/>
              <a:gd name="connsiteY876" fmla="*/ 1470572 h 6858000"/>
              <a:gd name="connsiteX877" fmla="*/ 5755832 w 7467600"/>
              <a:gd name="connsiteY877" fmla="*/ 1383886 h 6858000"/>
              <a:gd name="connsiteX878" fmla="*/ 6014186 w 7467600"/>
              <a:gd name="connsiteY878" fmla="*/ 1279799 h 6858000"/>
              <a:gd name="connsiteX879" fmla="*/ 6901619 w 7467600"/>
              <a:gd name="connsiteY879" fmla="*/ 1047874 h 6858000"/>
              <a:gd name="connsiteX880" fmla="*/ 6931566 w 7467600"/>
              <a:gd name="connsiteY880" fmla="*/ 1062034 h 6858000"/>
              <a:gd name="connsiteX881" fmla="*/ 5790982 w 7467600"/>
              <a:gd name="connsiteY881" fmla="*/ 1561380 h 6858000"/>
              <a:gd name="connsiteX882" fmla="*/ 6188971 w 7467600"/>
              <a:gd name="connsiteY882" fmla="*/ 1755168 h 6858000"/>
              <a:gd name="connsiteX883" fmla="*/ 6202446 w 7467600"/>
              <a:gd name="connsiteY883" fmla="*/ 1752268 h 6858000"/>
              <a:gd name="connsiteX884" fmla="*/ 7179560 w 7467600"/>
              <a:gd name="connsiteY884" fmla="*/ 1467551 h 6858000"/>
              <a:gd name="connsiteX885" fmla="*/ 7158730 w 7467600"/>
              <a:gd name="connsiteY885" fmla="*/ 1507835 h 6858000"/>
              <a:gd name="connsiteX886" fmla="*/ 6326959 w 7467600"/>
              <a:gd name="connsiteY886" fmla="*/ 1817686 h 6858000"/>
              <a:gd name="connsiteX887" fmla="*/ 6537433 w 7467600"/>
              <a:gd name="connsiteY887" fmla="*/ 1907790 h 6858000"/>
              <a:gd name="connsiteX888" fmla="*/ 6550221 w 7467600"/>
              <a:gd name="connsiteY888" fmla="*/ 1910729 h 6858000"/>
              <a:gd name="connsiteX889" fmla="*/ 6964438 w 7467600"/>
              <a:gd name="connsiteY889" fmla="*/ 2209505 h 6858000"/>
              <a:gd name="connsiteX890" fmla="*/ 7367862 w 7467600"/>
              <a:gd name="connsiteY890" fmla="*/ 2806833 h 6858000"/>
              <a:gd name="connsiteX891" fmla="*/ 7364329 w 7467600"/>
              <a:gd name="connsiteY891" fmla="*/ 2826907 h 6858000"/>
              <a:gd name="connsiteX892" fmla="*/ 7290545 w 7467600"/>
              <a:gd name="connsiteY892" fmla="*/ 2850663 h 6858000"/>
              <a:gd name="connsiteX893" fmla="*/ 6472036 w 7467600"/>
              <a:gd name="connsiteY893" fmla="*/ 1959003 h 6858000"/>
              <a:gd name="connsiteX894" fmla="*/ 5792897 w 7467600"/>
              <a:gd name="connsiteY894" fmla="*/ 1647747 h 6858000"/>
              <a:gd name="connsiteX895" fmla="*/ 5842751 w 7467600"/>
              <a:gd name="connsiteY895" fmla="*/ 1816112 h 6858000"/>
              <a:gd name="connsiteX896" fmla="*/ 5847424 w 7467600"/>
              <a:gd name="connsiteY896" fmla="*/ 1815776 h 6858000"/>
              <a:gd name="connsiteX897" fmla="*/ 6399821 w 7467600"/>
              <a:gd name="connsiteY897" fmla="*/ 2344799 h 6858000"/>
              <a:gd name="connsiteX898" fmla="*/ 6323232 w 7467600"/>
              <a:gd name="connsiteY898" fmla="*/ 2389634 h 6858000"/>
              <a:gd name="connsiteX899" fmla="*/ 5942958 w 7467600"/>
              <a:gd name="connsiteY899" fmla="*/ 2077708 h 6858000"/>
              <a:gd name="connsiteX900" fmla="*/ 5921559 w 7467600"/>
              <a:gd name="connsiteY900" fmla="*/ 2378596 h 6858000"/>
              <a:gd name="connsiteX901" fmla="*/ 5817651 w 7467600"/>
              <a:gd name="connsiteY901" fmla="*/ 3023919 h 6858000"/>
              <a:gd name="connsiteX902" fmla="*/ 5729634 w 7467600"/>
              <a:gd name="connsiteY902" fmla="*/ 3051849 h 6858000"/>
              <a:gd name="connsiteX903" fmla="*/ 5611018 w 7467600"/>
              <a:gd name="connsiteY903" fmla="*/ 2316769 h 6858000"/>
              <a:gd name="connsiteX904" fmla="*/ 5687608 w 7467600"/>
              <a:gd name="connsiteY904" fmla="*/ 2039972 h 6858000"/>
              <a:gd name="connsiteX905" fmla="*/ 5657554 w 7467600"/>
              <a:gd name="connsiteY905" fmla="*/ 1576445 h 6858000"/>
              <a:gd name="connsiteX906" fmla="*/ 5150475 w 7467600"/>
              <a:gd name="connsiteY906" fmla="*/ 1274012 h 6858000"/>
              <a:gd name="connsiteX907" fmla="*/ 5349142 w 7467600"/>
              <a:gd name="connsiteY907" fmla="*/ 2204405 h 6858000"/>
              <a:gd name="connsiteX908" fmla="*/ 5262214 w 7467600"/>
              <a:gd name="connsiteY908" fmla="*/ 2233836 h 6858000"/>
              <a:gd name="connsiteX909" fmla="*/ 4981539 w 7467600"/>
              <a:gd name="connsiteY909" fmla="*/ 1542201 h 6858000"/>
              <a:gd name="connsiteX910" fmla="*/ 4958461 w 7467600"/>
              <a:gd name="connsiteY910" fmla="*/ 1136957 h 6858000"/>
              <a:gd name="connsiteX911" fmla="*/ 4655015 w 7467600"/>
              <a:gd name="connsiteY911" fmla="*/ 891426 h 6858000"/>
              <a:gd name="connsiteX912" fmla="*/ 4348002 w 7467600"/>
              <a:gd name="connsiteY912" fmla="*/ 2205895 h 6858000"/>
              <a:gd name="connsiteX913" fmla="*/ 4262250 w 7467600"/>
              <a:gd name="connsiteY913" fmla="*/ 2219972 h 6858000"/>
              <a:gd name="connsiteX914" fmla="*/ 4550611 w 7467600"/>
              <a:gd name="connsiteY914" fmla="*/ 817540 h 6858000"/>
              <a:gd name="connsiteX915" fmla="*/ 4564418 w 7467600"/>
              <a:gd name="connsiteY915" fmla="*/ 808293 h 6858000"/>
              <a:gd name="connsiteX916" fmla="*/ 4266388 w 7467600"/>
              <a:gd name="connsiteY916" fmla="*/ 500083 h 6858000"/>
              <a:gd name="connsiteX917" fmla="*/ 4032842 w 7467600"/>
              <a:gd name="connsiteY917" fmla="*/ 211809 h 6858000"/>
              <a:gd name="connsiteX918" fmla="*/ 3721337 w 7467600"/>
              <a:gd name="connsiteY918" fmla="*/ 0 h 6858000"/>
              <a:gd name="connsiteX919" fmla="*/ 3797544 w 7467600"/>
              <a:gd name="connsiteY919" fmla="*/ 0 h 6858000"/>
              <a:gd name="connsiteX920" fmla="*/ 3775734 w 7467600"/>
              <a:gd name="connsiteY920" fmla="*/ 95131 h 6858000"/>
              <a:gd name="connsiteX921" fmla="*/ 3724807 w 7467600"/>
              <a:gd name="connsiteY921" fmla="*/ 272257 h 6858000"/>
              <a:gd name="connsiteX922" fmla="*/ 3726844 w 7467600"/>
              <a:gd name="connsiteY922" fmla="*/ 282988 h 6858000"/>
              <a:gd name="connsiteX923" fmla="*/ 3742664 w 7467600"/>
              <a:gd name="connsiteY923" fmla="*/ 279918 h 6858000"/>
              <a:gd name="connsiteX924" fmla="*/ 4103910 w 7467600"/>
              <a:gd name="connsiteY924" fmla="*/ 1161917 h 6858000"/>
              <a:gd name="connsiteX925" fmla="*/ 4020269 w 7467600"/>
              <a:gd name="connsiteY925" fmla="*/ 1200406 h 6858000"/>
              <a:gd name="connsiteX926" fmla="*/ 3674882 w 7467600"/>
              <a:gd name="connsiteY926" fmla="*/ 488524 h 6858000"/>
              <a:gd name="connsiteX927" fmla="*/ 3132682 w 7467600"/>
              <a:gd name="connsiteY927" fmla="*/ 1072284 h 6858000"/>
              <a:gd name="connsiteX928" fmla="*/ 2716346 w 7467600"/>
              <a:gd name="connsiteY928" fmla="*/ 1276376 h 6858000"/>
              <a:gd name="connsiteX929" fmla="*/ 2716772 w 7467600"/>
              <a:gd name="connsiteY929" fmla="*/ 1255462 h 6858000"/>
              <a:gd name="connsiteX930" fmla="*/ 3471096 w 7467600"/>
              <a:gd name="connsiteY930" fmla="*/ 437072 h 6858000"/>
              <a:gd name="connsiteX931" fmla="*/ 3639057 w 7467600"/>
              <a:gd name="connsiteY931" fmla="*/ 286334 h 6858000"/>
              <a:gd name="connsiteX932" fmla="*/ 3640309 w 7467600"/>
              <a:gd name="connsiteY932" fmla="*/ 284664 h 6858000"/>
              <a:gd name="connsiteX933" fmla="*/ 3646022 w 7467600"/>
              <a:gd name="connsiteY933" fmla="*/ 276711 h 6858000"/>
              <a:gd name="connsiteX934" fmla="*/ 3707943 w 7467600"/>
              <a:gd name="connsiteY934" fmla="*/ 65958 h 6858000"/>
              <a:gd name="connsiteX935" fmla="*/ 2867960 w 7467600"/>
              <a:gd name="connsiteY935" fmla="*/ 0 h 6858000"/>
              <a:gd name="connsiteX936" fmla="*/ 2926351 w 7467600"/>
              <a:gd name="connsiteY936" fmla="*/ 0 h 6858000"/>
              <a:gd name="connsiteX937" fmla="*/ 2902823 w 7467600"/>
              <a:gd name="connsiteY937" fmla="*/ 262929 h 6858000"/>
              <a:gd name="connsiteX938" fmla="*/ 2940663 w 7467600"/>
              <a:gd name="connsiteY938" fmla="*/ 140884 h 6858000"/>
              <a:gd name="connsiteX939" fmla="*/ 2947039 w 7467600"/>
              <a:gd name="connsiteY939" fmla="*/ 122524 h 6858000"/>
              <a:gd name="connsiteX940" fmla="*/ 2984316 w 7467600"/>
              <a:gd name="connsiteY940" fmla="*/ 0 h 6858000"/>
              <a:gd name="connsiteX941" fmla="*/ 3016114 w 7467600"/>
              <a:gd name="connsiteY941" fmla="*/ 0 h 6858000"/>
              <a:gd name="connsiteX942" fmla="*/ 2979949 w 7467600"/>
              <a:gd name="connsiteY942" fmla="*/ 119274 h 6858000"/>
              <a:gd name="connsiteX943" fmla="*/ 3023879 w 7467600"/>
              <a:gd name="connsiteY943" fmla="*/ 0 h 6858000"/>
              <a:gd name="connsiteX944" fmla="*/ 3105400 w 7467600"/>
              <a:gd name="connsiteY944" fmla="*/ 0 h 6858000"/>
              <a:gd name="connsiteX945" fmla="*/ 3094669 w 7467600"/>
              <a:gd name="connsiteY945" fmla="*/ 30308 h 6858000"/>
              <a:gd name="connsiteX946" fmla="*/ 2901945 w 7467600"/>
              <a:gd name="connsiteY946" fmla="*/ 466538 h 6858000"/>
              <a:gd name="connsiteX947" fmla="*/ 2815209 w 7467600"/>
              <a:gd name="connsiteY947" fmla="*/ 497361 h 6858000"/>
              <a:gd name="connsiteX948" fmla="*/ 2844845 w 7467600"/>
              <a:gd name="connsiteY948" fmla="*/ 127638 h 6858000"/>
              <a:gd name="connsiteX949" fmla="*/ 1057230 w 7467600"/>
              <a:gd name="connsiteY949" fmla="*/ 0 h 6858000"/>
              <a:gd name="connsiteX950" fmla="*/ 1111003 w 7467600"/>
              <a:gd name="connsiteY950" fmla="*/ 0 h 6858000"/>
              <a:gd name="connsiteX951" fmla="*/ 1125553 w 7467600"/>
              <a:gd name="connsiteY951" fmla="*/ 52588 h 6858000"/>
              <a:gd name="connsiteX952" fmla="*/ 1304276 w 7467600"/>
              <a:gd name="connsiteY952" fmla="*/ 476275 h 6858000"/>
              <a:gd name="connsiteX953" fmla="*/ 1492066 w 7467600"/>
              <a:gd name="connsiteY953" fmla="*/ 886333 h 6858000"/>
              <a:gd name="connsiteX954" fmla="*/ 1423698 w 7467600"/>
              <a:gd name="connsiteY954" fmla="*/ 710817 h 6858000"/>
              <a:gd name="connsiteX955" fmla="*/ 1357609 w 7467600"/>
              <a:gd name="connsiteY955" fmla="*/ 532892 h 6858000"/>
              <a:gd name="connsiteX956" fmla="*/ 1309550 w 7467600"/>
              <a:gd name="connsiteY956" fmla="*/ 374031 h 6858000"/>
              <a:gd name="connsiteX957" fmla="*/ 1193673 w 7467600"/>
              <a:gd name="connsiteY957" fmla="*/ 49533 h 6858000"/>
              <a:gd name="connsiteX958" fmla="*/ 1164391 w 7467600"/>
              <a:gd name="connsiteY958" fmla="*/ 0 h 6858000"/>
              <a:gd name="connsiteX959" fmla="*/ 1200666 w 7467600"/>
              <a:gd name="connsiteY959" fmla="*/ 0 h 6858000"/>
              <a:gd name="connsiteX960" fmla="*/ 1223408 w 7467600"/>
              <a:gd name="connsiteY960" fmla="*/ 38996 h 6858000"/>
              <a:gd name="connsiteX961" fmla="*/ 1339635 w 7467600"/>
              <a:gd name="connsiteY961" fmla="*/ 365517 h 6858000"/>
              <a:gd name="connsiteX962" fmla="*/ 1387469 w 7467600"/>
              <a:gd name="connsiteY962" fmla="*/ 523079 h 6858000"/>
              <a:gd name="connsiteX963" fmla="*/ 1452685 w 7467600"/>
              <a:gd name="connsiteY963" fmla="*/ 699806 h 6858000"/>
              <a:gd name="connsiteX964" fmla="*/ 1492092 w 7467600"/>
              <a:gd name="connsiteY964" fmla="*/ 800424 h 6858000"/>
              <a:gd name="connsiteX965" fmla="*/ 1455302 w 7467600"/>
              <a:gd name="connsiteY965" fmla="*/ 632913 h 6858000"/>
              <a:gd name="connsiteX966" fmla="*/ 1222336 w 7467600"/>
              <a:gd name="connsiteY966" fmla="*/ 9480 h 6858000"/>
              <a:gd name="connsiteX967" fmla="*/ 1214634 w 7467600"/>
              <a:gd name="connsiteY967" fmla="*/ 0 h 6858000"/>
              <a:gd name="connsiteX968" fmla="*/ 1289827 w 7467600"/>
              <a:gd name="connsiteY968" fmla="*/ 0 h 6858000"/>
              <a:gd name="connsiteX969" fmla="*/ 1321076 w 7467600"/>
              <a:gd name="connsiteY969" fmla="*/ 59722 h 6858000"/>
              <a:gd name="connsiteX970" fmla="*/ 1512579 w 7467600"/>
              <a:gd name="connsiteY970" fmla="*/ 626441 h 6858000"/>
              <a:gd name="connsiteX971" fmla="*/ 1506076 w 7467600"/>
              <a:gd name="connsiteY971" fmla="*/ 1089289 h 6858000"/>
              <a:gd name="connsiteX972" fmla="*/ 1486346 w 7467600"/>
              <a:gd name="connsiteY972" fmla="*/ 1079919 h 6858000"/>
              <a:gd name="connsiteX973" fmla="*/ 1070511 w 7467600"/>
              <a:gd name="connsiteY973" fmla="*/ 48609 h 6858000"/>
              <a:gd name="connsiteX974" fmla="*/ 43151 w 7467600"/>
              <a:gd name="connsiteY974" fmla="*/ 0 h 6858000"/>
              <a:gd name="connsiteX975" fmla="*/ 95283 w 7467600"/>
              <a:gd name="connsiteY975" fmla="*/ 0 h 6858000"/>
              <a:gd name="connsiteX976" fmla="*/ 300708 w 7467600"/>
              <a:gd name="connsiteY976" fmla="*/ 154571 h 6858000"/>
              <a:gd name="connsiteX977" fmla="*/ 530414 w 7467600"/>
              <a:gd name="connsiteY977" fmla="*/ 354673 h 6858000"/>
              <a:gd name="connsiteX978" fmla="*/ 333785 w 7467600"/>
              <a:gd name="connsiteY978" fmla="*/ 161564 h 6858000"/>
              <a:gd name="connsiteX979" fmla="*/ 147005 w 7467600"/>
              <a:gd name="connsiteY979" fmla="*/ 0 h 6858000"/>
              <a:gd name="connsiteX980" fmla="*/ 272509 w 7467600"/>
              <a:gd name="connsiteY980" fmla="*/ 0 h 6858000"/>
              <a:gd name="connsiteX981" fmla="*/ 326276 w 7467600"/>
              <a:gd name="connsiteY981" fmla="*/ 45847 h 6858000"/>
              <a:gd name="connsiteX982" fmla="*/ 823759 w 7467600"/>
              <a:gd name="connsiteY982" fmla="*/ 574145 h 6858000"/>
              <a:gd name="connsiteX983" fmla="*/ 811254 w 7467600"/>
              <a:gd name="connsiteY983" fmla="*/ 665546 h 6858000"/>
              <a:gd name="connsiteX984" fmla="*/ 154042 w 7467600"/>
              <a:gd name="connsiteY984" fmla="*/ 261522 h 6858000"/>
              <a:gd name="connsiteX985" fmla="*/ 13550 w 7467600"/>
              <a:gd name="connsiteY985" fmla="*/ 158423 h 6858000"/>
              <a:gd name="connsiteX986" fmla="*/ 0 w 7467600"/>
              <a:gd name="connsiteY986" fmla="*/ 146618 h 6858000"/>
              <a:gd name="connsiteX987" fmla="*/ 0 w 7467600"/>
              <a:gd name="connsiteY987" fmla="*/ 59161 h 6858000"/>
              <a:gd name="connsiteX988" fmla="*/ 45427 w 7467600"/>
              <a:gd name="connsiteY988" fmla="*/ 101078 h 6858000"/>
              <a:gd name="connsiteX989" fmla="*/ 630103 w 7467600"/>
              <a:gd name="connsiteY989" fmla="*/ 485885 h 6858000"/>
              <a:gd name="connsiteX990" fmla="*/ 532040 w 7467600"/>
              <a:gd name="connsiteY990" fmla="*/ 399359 h 6858000"/>
              <a:gd name="connsiteX991" fmla="*/ 517618 w 7467600"/>
              <a:gd name="connsiteY991" fmla="*/ 385726 h 6858000"/>
              <a:gd name="connsiteX992" fmla="*/ 285074 w 7467600"/>
              <a:gd name="connsiteY992" fmla="*/ 182755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133363 w 7467600"/>
              <a:gd name="connsiteY127" fmla="*/ 5050246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7327465 w 7467600"/>
              <a:gd name="connsiteY139" fmla="*/ 5174181 h 6858000"/>
              <a:gd name="connsiteX140" fmla="*/ 7244057 w 7467600"/>
              <a:gd name="connsiteY140" fmla="*/ 5124233 h 6858000"/>
              <a:gd name="connsiteX141" fmla="*/ 7353035 w 7467600"/>
              <a:gd name="connsiteY141" fmla="*/ 5197318 h 6858000"/>
              <a:gd name="connsiteX142" fmla="*/ 7467600 w 7467600"/>
              <a:gd name="connsiteY142" fmla="*/ 5297634 h 6858000"/>
              <a:gd name="connsiteX143" fmla="*/ 7467600 w 7467600"/>
              <a:gd name="connsiteY143" fmla="*/ 5361850 h 6858000"/>
              <a:gd name="connsiteX144" fmla="*/ 7368569 w 7467600"/>
              <a:gd name="connsiteY144" fmla="*/ 5270182 h 6858000"/>
              <a:gd name="connsiteX145" fmla="*/ 7131946 w 7467600"/>
              <a:gd name="connsiteY145" fmla="*/ 5075653 h 6858000"/>
              <a:gd name="connsiteX146" fmla="*/ 7133363 w 7467600"/>
              <a:gd name="connsiteY146" fmla="*/ 5050246 h 6858000"/>
              <a:gd name="connsiteX147" fmla="*/ 1903353 w 7467600"/>
              <a:gd name="connsiteY147" fmla="*/ 5044827 h 6858000"/>
              <a:gd name="connsiteX148" fmla="*/ 1936931 w 7467600"/>
              <a:gd name="connsiteY148" fmla="*/ 5093954 h 6858000"/>
              <a:gd name="connsiteX149" fmla="*/ 2195868 w 7467600"/>
              <a:gd name="connsiteY149" fmla="*/ 5396574 h 6858000"/>
              <a:gd name="connsiteX150" fmla="*/ 2088852 w 7467600"/>
              <a:gd name="connsiteY150" fmla="*/ 5166123 h 6858000"/>
              <a:gd name="connsiteX151" fmla="*/ 1958241 w 7467600"/>
              <a:gd name="connsiteY151" fmla="*/ 5067955 h 6858000"/>
              <a:gd name="connsiteX152" fmla="*/ 1903353 w 7467600"/>
              <a:gd name="connsiteY152" fmla="*/ 5044827 h 6858000"/>
              <a:gd name="connsiteX153" fmla="*/ 1979378 w 7467600"/>
              <a:gd name="connsiteY153" fmla="*/ 4769504 h 6858000"/>
              <a:gd name="connsiteX154" fmla="*/ 2882120 w 7467600"/>
              <a:gd name="connsiteY154" fmla="*/ 5064547 h 6858000"/>
              <a:gd name="connsiteX155" fmla="*/ 2793103 w 7467600"/>
              <a:gd name="connsiteY155" fmla="*/ 5039699 h 6858000"/>
              <a:gd name="connsiteX156" fmla="*/ 2770041 w 7467600"/>
              <a:gd name="connsiteY156" fmla="*/ 5033634 h 6858000"/>
              <a:gd name="connsiteX157" fmla="*/ 1979378 w 7467600"/>
              <a:gd name="connsiteY157" fmla="*/ 4769504 h 6858000"/>
              <a:gd name="connsiteX158" fmla="*/ 1927410 w 7467600"/>
              <a:gd name="connsiteY158" fmla="*/ 4716164 h 6858000"/>
              <a:gd name="connsiteX159" fmla="*/ 1959587 w 7467600"/>
              <a:gd name="connsiteY159" fmla="*/ 4728849 h 6858000"/>
              <a:gd name="connsiteX160" fmla="*/ 2777707 w 7467600"/>
              <a:gd name="connsiteY160" fmla="*/ 5003991 h 6858000"/>
              <a:gd name="connsiteX161" fmla="*/ 2800768 w 7467600"/>
              <a:gd name="connsiteY161" fmla="*/ 5010056 h 6858000"/>
              <a:gd name="connsiteX162" fmla="*/ 2879408 w 7467600"/>
              <a:gd name="connsiteY162" fmla="*/ 5031590 h 6858000"/>
              <a:gd name="connsiteX163" fmla="*/ 2862295 w 7467600"/>
              <a:gd name="connsiteY163" fmla="*/ 5022958 h 6858000"/>
              <a:gd name="connsiteX164" fmla="*/ 2813343 w 7467600"/>
              <a:gd name="connsiteY164" fmla="*/ 4998369 h 6858000"/>
              <a:gd name="connsiteX165" fmla="*/ 2646245 w 7467600"/>
              <a:gd name="connsiteY165" fmla="*/ 4930999 h 6858000"/>
              <a:gd name="connsiteX166" fmla="*/ 1999243 w 7467600"/>
              <a:gd name="connsiteY166" fmla="*/ 4730524 h 6858000"/>
              <a:gd name="connsiteX167" fmla="*/ 1979527 w 7467600"/>
              <a:gd name="connsiteY167" fmla="*/ 4726651 h 6858000"/>
              <a:gd name="connsiteX168" fmla="*/ 1927410 w 7467600"/>
              <a:gd name="connsiteY168" fmla="*/ 4716164 h 6858000"/>
              <a:gd name="connsiteX169" fmla="*/ 1997014 w 7467600"/>
              <a:gd name="connsiteY169" fmla="*/ 4698007 h 6858000"/>
              <a:gd name="connsiteX170" fmla="*/ 2005458 w 7467600"/>
              <a:gd name="connsiteY170" fmla="*/ 4699540 h 6858000"/>
              <a:gd name="connsiteX171" fmla="*/ 2657186 w 7467600"/>
              <a:gd name="connsiteY171" fmla="*/ 4901687 h 6858000"/>
              <a:gd name="connsiteX172" fmla="*/ 2826662 w 7467600"/>
              <a:gd name="connsiteY172" fmla="*/ 4970362 h 6858000"/>
              <a:gd name="connsiteX173" fmla="*/ 2876100 w 7467600"/>
              <a:gd name="connsiteY173" fmla="*/ 4995397 h 6858000"/>
              <a:gd name="connsiteX174" fmla="*/ 3042600 w 7467600"/>
              <a:gd name="connsiteY174" fmla="*/ 5059532 h 6858000"/>
              <a:gd name="connsiteX175" fmla="*/ 1997014 w 7467600"/>
              <a:gd name="connsiteY175" fmla="*/ 4698007 h 6858000"/>
              <a:gd name="connsiteX176" fmla="*/ 2305292 w 7467600"/>
              <a:gd name="connsiteY176" fmla="*/ 4219492 h 6858000"/>
              <a:gd name="connsiteX177" fmla="*/ 3360922 w 7467600"/>
              <a:gd name="connsiteY177" fmla="*/ 4529373 h 6858000"/>
              <a:gd name="connsiteX178" fmla="*/ 3492420 w 7467600"/>
              <a:gd name="connsiteY178" fmla="*/ 4510145 h 6858000"/>
              <a:gd name="connsiteX179" fmla="*/ 3364086 w 7467600"/>
              <a:gd name="connsiteY179" fmla="*/ 4480340 h 6858000"/>
              <a:gd name="connsiteX180" fmla="*/ 3225818 w 7467600"/>
              <a:gd name="connsiteY180" fmla="*/ 4411822 h 6858000"/>
              <a:gd name="connsiteX181" fmla="*/ 3129696 w 7467600"/>
              <a:gd name="connsiteY181" fmla="*/ 4360704 h 6858000"/>
              <a:gd name="connsiteX182" fmla="*/ 2814545 w 7467600"/>
              <a:gd name="connsiteY182" fmla="*/ 4282955 h 6858000"/>
              <a:gd name="connsiteX183" fmla="*/ 2305292 w 7467600"/>
              <a:gd name="connsiteY183" fmla="*/ 4219492 h 6858000"/>
              <a:gd name="connsiteX184" fmla="*/ 2626982 w 7467600"/>
              <a:gd name="connsiteY184" fmla="*/ 4206450 h 6858000"/>
              <a:gd name="connsiteX185" fmla="*/ 2490617 w 7467600"/>
              <a:gd name="connsiteY185" fmla="*/ 4206951 h 6858000"/>
              <a:gd name="connsiteX186" fmla="*/ 2819869 w 7467600"/>
              <a:gd name="connsiteY186" fmla="*/ 4252936 h 6858000"/>
              <a:gd name="connsiteX187" fmla="*/ 3143018 w 7467600"/>
              <a:gd name="connsiteY187" fmla="*/ 4332698 h 6858000"/>
              <a:gd name="connsiteX188" fmla="*/ 3241520 w 7467600"/>
              <a:gd name="connsiteY188" fmla="*/ 4385112 h 6858000"/>
              <a:gd name="connsiteX189" fmla="*/ 3374575 w 7467600"/>
              <a:gd name="connsiteY189" fmla="*/ 4451517 h 6858000"/>
              <a:gd name="connsiteX190" fmla="*/ 3505221 w 7467600"/>
              <a:gd name="connsiteY190" fmla="*/ 4480757 h 6858000"/>
              <a:gd name="connsiteX191" fmla="*/ 2626982 w 7467600"/>
              <a:gd name="connsiteY191" fmla="*/ 4206450 h 6858000"/>
              <a:gd name="connsiteX192" fmla="*/ 1310106 w 7467600"/>
              <a:gd name="connsiteY192" fmla="*/ 3943217 h 6858000"/>
              <a:gd name="connsiteX193" fmla="*/ 854994 w 7467600"/>
              <a:gd name="connsiteY193" fmla="*/ 4399136 h 6858000"/>
              <a:gd name="connsiteX194" fmla="*/ 742462 w 7467600"/>
              <a:gd name="connsiteY194" fmla="*/ 4594648 h 6858000"/>
              <a:gd name="connsiteX195" fmla="*/ 820602 w 7467600"/>
              <a:gd name="connsiteY195" fmla="*/ 4485915 h 6858000"/>
              <a:gd name="connsiteX196" fmla="*/ 878295 w 7467600"/>
              <a:gd name="connsiteY196" fmla="*/ 4403594 h 6858000"/>
              <a:gd name="connsiteX197" fmla="*/ 1240607 w 7467600"/>
              <a:gd name="connsiteY197" fmla="*/ 4010401 h 6858000"/>
              <a:gd name="connsiteX198" fmla="*/ 1310106 w 7467600"/>
              <a:gd name="connsiteY198" fmla="*/ 3943217 h 6858000"/>
              <a:gd name="connsiteX199" fmla="*/ 1423113 w 7467600"/>
              <a:gd name="connsiteY199" fmla="*/ 3874565 h 6858000"/>
              <a:gd name="connsiteX200" fmla="*/ 1260565 w 7467600"/>
              <a:gd name="connsiteY200" fmla="*/ 4031982 h 6858000"/>
              <a:gd name="connsiteX201" fmla="*/ 901900 w 7467600"/>
              <a:gd name="connsiteY201" fmla="*/ 4421236 h 6858000"/>
              <a:gd name="connsiteX202" fmla="*/ 845044 w 7467600"/>
              <a:gd name="connsiteY202" fmla="*/ 4502436 h 6858000"/>
              <a:gd name="connsiteX203" fmla="*/ 685926 w 7467600"/>
              <a:gd name="connsiteY203" fmla="*/ 4703069 h 6858000"/>
              <a:gd name="connsiteX204" fmla="*/ 684248 w 7467600"/>
              <a:gd name="connsiteY204" fmla="*/ 4706721 h 6858000"/>
              <a:gd name="connsiteX205" fmla="*/ 1423113 w 7467600"/>
              <a:gd name="connsiteY205" fmla="*/ 3874565 h 6858000"/>
              <a:gd name="connsiteX206" fmla="*/ 3316479 w 7467600"/>
              <a:gd name="connsiteY206" fmla="*/ 3872136 h 6858000"/>
              <a:gd name="connsiteX207" fmla="*/ 3546806 w 7467600"/>
              <a:gd name="connsiteY207" fmla="*/ 4356139 h 6858000"/>
              <a:gd name="connsiteX208" fmla="*/ 3364433 w 7467600"/>
              <a:gd name="connsiteY208" fmla="*/ 3953121 h 6858000"/>
              <a:gd name="connsiteX209" fmla="*/ 3316479 w 7467600"/>
              <a:gd name="connsiteY209" fmla="*/ 3872136 h 6858000"/>
              <a:gd name="connsiteX210" fmla="*/ 3291335 w 7467600"/>
              <a:gd name="connsiteY210" fmla="*/ 3767420 h 6858000"/>
              <a:gd name="connsiteX211" fmla="*/ 3390805 w 7467600"/>
              <a:gd name="connsiteY211" fmla="*/ 3937163 h 6858000"/>
              <a:gd name="connsiteX212" fmla="*/ 3579062 w 7467600"/>
              <a:gd name="connsiteY212" fmla="*/ 4359040 h 6858000"/>
              <a:gd name="connsiteX213" fmla="*/ 3467355 w 7467600"/>
              <a:gd name="connsiteY213" fmla="*/ 3988130 h 6858000"/>
              <a:gd name="connsiteX214" fmla="*/ 3310753 w 7467600"/>
              <a:gd name="connsiteY214" fmla="*/ 3787140 h 6858000"/>
              <a:gd name="connsiteX215" fmla="*/ 3291335 w 7467600"/>
              <a:gd name="connsiteY215" fmla="*/ 3767420 h 6858000"/>
              <a:gd name="connsiteX216" fmla="*/ 1635889 w 7467600"/>
              <a:gd name="connsiteY216" fmla="*/ 3709494 h 6858000"/>
              <a:gd name="connsiteX217" fmla="*/ 1634800 w 7467600"/>
              <a:gd name="connsiteY217" fmla="*/ 3731111 h 6858000"/>
              <a:gd name="connsiteX218" fmla="*/ 1635889 w 7467600"/>
              <a:gd name="connsiteY218" fmla="*/ 3709494 h 6858000"/>
              <a:gd name="connsiteX219" fmla="*/ 1510397 w 7467600"/>
              <a:gd name="connsiteY219" fmla="*/ 3684705 h 6858000"/>
              <a:gd name="connsiteX220" fmla="*/ 1146550 w 7467600"/>
              <a:gd name="connsiteY220" fmla="*/ 3802012 h 6858000"/>
              <a:gd name="connsiteX221" fmla="*/ 698834 w 7467600"/>
              <a:gd name="connsiteY221" fmla="*/ 3952272 h 6858000"/>
              <a:gd name="connsiteX222" fmla="*/ 34256 w 7467600"/>
              <a:gd name="connsiteY222" fmla="*/ 4347603 h 6858000"/>
              <a:gd name="connsiteX223" fmla="*/ 527241 w 7467600"/>
              <a:gd name="connsiteY223" fmla="*/ 4065078 h 6858000"/>
              <a:gd name="connsiteX224" fmla="*/ 1510397 w 7467600"/>
              <a:gd name="connsiteY224" fmla="*/ 3684705 h 6858000"/>
              <a:gd name="connsiteX225" fmla="*/ 1313114 w 7467600"/>
              <a:gd name="connsiteY225" fmla="*/ 3655216 h 6858000"/>
              <a:gd name="connsiteX226" fmla="*/ 1109304 w 7467600"/>
              <a:gd name="connsiteY226" fmla="*/ 3669030 h 6858000"/>
              <a:gd name="connsiteX227" fmla="*/ 8129 w 7467600"/>
              <a:gd name="connsiteY227" fmla="*/ 4330519 h 6858000"/>
              <a:gd name="connsiteX228" fmla="*/ 687572 w 7467600"/>
              <a:gd name="connsiteY228" fmla="*/ 3925629 h 6858000"/>
              <a:gd name="connsiteX229" fmla="*/ 1138365 w 7467600"/>
              <a:gd name="connsiteY229" fmla="*/ 3774515 h 6858000"/>
              <a:gd name="connsiteX230" fmla="*/ 1505579 w 7467600"/>
              <a:gd name="connsiteY230" fmla="*/ 3655526 h 6858000"/>
              <a:gd name="connsiteX231" fmla="*/ 1313114 w 7467600"/>
              <a:gd name="connsiteY231" fmla="*/ 3655216 h 6858000"/>
              <a:gd name="connsiteX232" fmla="*/ 3655073 w 7467600"/>
              <a:gd name="connsiteY232" fmla="*/ 3650884 h 6858000"/>
              <a:gd name="connsiteX233" fmla="*/ 3989938 w 7467600"/>
              <a:gd name="connsiteY233" fmla="*/ 3991685 h 6858000"/>
              <a:gd name="connsiteX234" fmla="*/ 4393907 w 7467600"/>
              <a:gd name="connsiteY234" fmla="*/ 4261258 h 6858000"/>
              <a:gd name="connsiteX235" fmla="*/ 4648051 w 7467600"/>
              <a:gd name="connsiteY235" fmla="*/ 4374051 h 6858000"/>
              <a:gd name="connsiteX236" fmla="*/ 4383389 w 7467600"/>
              <a:gd name="connsiteY236" fmla="*/ 4184369 h 6858000"/>
              <a:gd name="connsiteX237" fmla="*/ 4165508 w 7467600"/>
              <a:gd name="connsiteY237" fmla="*/ 4035196 h 6858000"/>
              <a:gd name="connsiteX238" fmla="*/ 4068162 w 7467600"/>
              <a:gd name="connsiteY238" fmla="*/ 3953394 h 6858000"/>
              <a:gd name="connsiteX239" fmla="*/ 3981416 w 7467600"/>
              <a:gd name="connsiteY239" fmla="*/ 3880482 h 6858000"/>
              <a:gd name="connsiteX240" fmla="*/ 3800147 w 7467600"/>
              <a:gd name="connsiteY240" fmla="*/ 3749872 h 6858000"/>
              <a:gd name="connsiteX241" fmla="*/ 3655073 w 7467600"/>
              <a:gd name="connsiteY241" fmla="*/ 3650884 h 6858000"/>
              <a:gd name="connsiteX242" fmla="*/ 3670252 w 7467600"/>
              <a:gd name="connsiteY242" fmla="*/ 3622798 h 6858000"/>
              <a:gd name="connsiteX243" fmla="*/ 3817258 w 7467600"/>
              <a:gd name="connsiteY243" fmla="*/ 3723577 h 6858000"/>
              <a:gd name="connsiteX244" fmla="*/ 4000461 w 7467600"/>
              <a:gd name="connsiteY244" fmla="*/ 3855966 h 6858000"/>
              <a:gd name="connsiteX245" fmla="*/ 4088180 w 7467600"/>
              <a:gd name="connsiteY245" fmla="*/ 3929774 h 6858000"/>
              <a:gd name="connsiteX246" fmla="*/ 4184555 w 7467600"/>
              <a:gd name="connsiteY246" fmla="*/ 4010683 h 6858000"/>
              <a:gd name="connsiteX247" fmla="*/ 4399563 w 7467600"/>
              <a:gd name="connsiteY247" fmla="*/ 4158106 h 6858000"/>
              <a:gd name="connsiteX248" fmla="*/ 4684469 w 7467600"/>
              <a:gd name="connsiteY248" fmla="*/ 4364680 h 6858000"/>
              <a:gd name="connsiteX249" fmla="*/ 4690271 w 7467600"/>
              <a:gd name="connsiteY249" fmla="*/ 4370034 h 6858000"/>
              <a:gd name="connsiteX250" fmla="*/ 4136093 w 7467600"/>
              <a:gd name="connsiteY250" fmla="*/ 3858466 h 6858000"/>
              <a:gd name="connsiteX251" fmla="*/ 3670252 w 7467600"/>
              <a:gd name="connsiteY251" fmla="*/ 3622798 h 6858000"/>
              <a:gd name="connsiteX252" fmla="*/ 4440129 w 7467600"/>
              <a:gd name="connsiteY252" fmla="*/ 3448571 h 6858000"/>
              <a:gd name="connsiteX253" fmla="*/ 4856525 w 7467600"/>
              <a:gd name="connsiteY253" fmla="*/ 3915351 h 6858000"/>
              <a:gd name="connsiteX254" fmla="*/ 5059055 w 7467600"/>
              <a:gd name="connsiteY254" fmla="*/ 4108918 h 6858000"/>
              <a:gd name="connsiteX255" fmla="*/ 5290070 w 7467600"/>
              <a:gd name="connsiteY255" fmla="*/ 4263619 h 6858000"/>
              <a:gd name="connsiteX256" fmla="*/ 4834991 w 7467600"/>
              <a:gd name="connsiteY256" fmla="*/ 3830985 h 6858000"/>
              <a:gd name="connsiteX257" fmla="*/ 4440129 w 7467600"/>
              <a:gd name="connsiteY257" fmla="*/ 3448571 h 6858000"/>
              <a:gd name="connsiteX258" fmla="*/ 4441737 w 7467600"/>
              <a:gd name="connsiteY258" fmla="*/ 3399734 h 6858000"/>
              <a:gd name="connsiteX259" fmla="*/ 4431236 w 7467600"/>
              <a:gd name="connsiteY259" fmla="*/ 3400954 h 6858000"/>
              <a:gd name="connsiteX260" fmla="*/ 4557150 w 7467600"/>
              <a:gd name="connsiteY260" fmla="*/ 3510023 h 6858000"/>
              <a:gd name="connsiteX261" fmla="*/ 4856936 w 7467600"/>
              <a:gd name="connsiteY261" fmla="*/ 3809146 h 6858000"/>
              <a:gd name="connsiteX262" fmla="*/ 5111996 w 7467600"/>
              <a:gd name="connsiteY262" fmla="*/ 4065759 h 6858000"/>
              <a:gd name="connsiteX263" fmla="*/ 5388878 w 7467600"/>
              <a:gd name="connsiteY263" fmla="*/ 4300185 h 6858000"/>
              <a:gd name="connsiteX264" fmla="*/ 5425556 w 7467600"/>
              <a:gd name="connsiteY264" fmla="*/ 4308967 h 6858000"/>
              <a:gd name="connsiteX265" fmla="*/ 4943646 w 7467600"/>
              <a:gd name="connsiteY265" fmla="*/ 3822916 h 6858000"/>
              <a:gd name="connsiteX266" fmla="*/ 4594837 w 7467600"/>
              <a:gd name="connsiteY266" fmla="*/ 3532274 h 6858000"/>
              <a:gd name="connsiteX267" fmla="*/ 4441737 w 7467600"/>
              <a:gd name="connsiteY267" fmla="*/ 3399734 h 6858000"/>
              <a:gd name="connsiteX268" fmla="*/ 5425834 w 7467600"/>
              <a:gd name="connsiteY268" fmla="*/ 3162785 h 6858000"/>
              <a:gd name="connsiteX269" fmla="*/ 5401644 w 7467600"/>
              <a:gd name="connsiteY269" fmla="*/ 3617847 h 6858000"/>
              <a:gd name="connsiteX270" fmla="*/ 5467256 w 7467600"/>
              <a:gd name="connsiteY270" fmla="*/ 4175494 h 6858000"/>
              <a:gd name="connsiteX271" fmla="*/ 5448069 w 7467600"/>
              <a:gd name="connsiteY271" fmla="*/ 3567554 h 6858000"/>
              <a:gd name="connsiteX272" fmla="*/ 5425834 w 7467600"/>
              <a:gd name="connsiteY272" fmla="*/ 3162785 h 6858000"/>
              <a:gd name="connsiteX273" fmla="*/ 1318687 w 7467600"/>
              <a:gd name="connsiteY273" fmla="*/ 3113840 h 6858000"/>
              <a:gd name="connsiteX274" fmla="*/ 1066793 w 7467600"/>
              <a:gd name="connsiteY274" fmla="*/ 3212171 h 6858000"/>
              <a:gd name="connsiteX275" fmla="*/ 993319 w 7467600"/>
              <a:gd name="connsiteY275" fmla="*/ 3247648 h 6858000"/>
              <a:gd name="connsiteX276" fmla="*/ 853081 w 7467600"/>
              <a:gd name="connsiteY276" fmla="*/ 3312410 h 6858000"/>
              <a:gd name="connsiteX277" fmla="*/ 805957 w 7467600"/>
              <a:gd name="connsiteY277" fmla="*/ 3330443 h 6858000"/>
              <a:gd name="connsiteX278" fmla="*/ 1318687 w 7467600"/>
              <a:gd name="connsiteY278" fmla="*/ 3113840 h 6858000"/>
              <a:gd name="connsiteX279" fmla="*/ 5453702 w 7467600"/>
              <a:gd name="connsiteY279" fmla="*/ 3090882 h 6858000"/>
              <a:gd name="connsiteX280" fmla="*/ 5480135 w 7467600"/>
              <a:gd name="connsiteY280" fmla="*/ 3565802 h 6858000"/>
              <a:gd name="connsiteX281" fmla="*/ 5499023 w 7467600"/>
              <a:gd name="connsiteY281" fmla="*/ 4166310 h 6858000"/>
              <a:gd name="connsiteX282" fmla="*/ 5547022 w 7467600"/>
              <a:gd name="connsiteY282" fmla="*/ 3607838 h 6858000"/>
              <a:gd name="connsiteX283" fmla="*/ 5515964 w 7467600"/>
              <a:gd name="connsiteY283" fmla="*/ 3378541 h 6858000"/>
              <a:gd name="connsiteX284" fmla="*/ 5453702 w 7467600"/>
              <a:gd name="connsiteY284" fmla="*/ 3090882 h 6858000"/>
              <a:gd name="connsiteX285" fmla="*/ 1238695 w 7467600"/>
              <a:gd name="connsiteY285" fmla="*/ 3076820 h 6858000"/>
              <a:gd name="connsiteX286" fmla="*/ 716371 w 7467600"/>
              <a:gd name="connsiteY286" fmla="*/ 3293249 h 6858000"/>
              <a:gd name="connsiteX287" fmla="*/ 579522 w 7467600"/>
              <a:gd name="connsiteY287" fmla="*/ 3371759 h 6858000"/>
              <a:gd name="connsiteX288" fmla="*/ 600288 w 7467600"/>
              <a:gd name="connsiteY288" fmla="*/ 3365555 h 6858000"/>
              <a:gd name="connsiteX289" fmla="*/ 840692 w 7467600"/>
              <a:gd name="connsiteY289" fmla="*/ 3284921 h 6858000"/>
              <a:gd name="connsiteX290" fmla="*/ 979248 w 7467600"/>
              <a:gd name="connsiteY290" fmla="*/ 3221003 h 6858000"/>
              <a:gd name="connsiteX291" fmla="*/ 1053282 w 7467600"/>
              <a:gd name="connsiteY291" fmla="*/ 3185247 h 6858000"/>
              <a:gd name="connsiteX292" fmla="*/ 1320603 w 7467600"/>
              <a:gd name="connsiteY292" fmla="*/ 3081281 h 6858000"/>
              <a:gd name="connsiteX293" fmla="*/ 1238695 w 7467600"/>
              <a:gd name="connsiteY293" fmla="*/ 3076820 h 6858000"/>
              <a:gd name="connsiteX294" fmla="*/ 5425627 w 7467600"/>
              <a:gd name="connsiteY294" fmla="*/ 2954192 h 6858000"/>
              <a:gd name="connsiteX295" fmla="*/ 5470770 w 7467600"/>
              <a:gd name="connsiteY295" fmla="*/ 3005435 h 6858000"/>
              <a:gd name="connsiteX296" fmla="*/ 5519779 w 7467600"/>
              <a:gd name="connsiteY296" fmla="*/ 4359223 h 6858000"/>
              <a:gd name="connsiteX297" fmla="*/ 5520293 w 7467600"/>
              <a:gd name="connsiteY297" fmla="*/ 4360602 h 6858000"/>
              <a:gd name="connsiteX298" fmla="*/ 5767221 w 7467600"/>
              <a:gd name="connsiteY298" fmla="*/ 4665564 h 6858000"/>
              <a:gd name="connsiteX299" fmla="*/ 6937169 w 7467600"/>
              <a:gd name="connsiteY299" fmla="*/ 4815941 h 6858000"/>
              <a:gd name="connsiteX300" fmla="*/ 6953922 w 7467600"/>
              <a:gd name="connsiteY300" fmla="*/ 4890068 h 6858000"/>
              <a:gd name="connsiteX301" fmla="*/ 6071359 w 7467600"/>
              <a:gd name="connsiteY301" fmla="*/ 4770770 h 6858000"/>
              <a:gd name="connsiteX302" fmla="*/ 6038839 w 7467600"/>
              <a:gd name="connsiteY302" fmla="*/ 4764474 h 6858000"/>
              <a:gd name="connsiteX303" fmla="*/ 6038706 w 7467600"/>
              <a:gd name="connsiteY303" fmla="*/ 4763847 h 6858000"/>
              <a:gd name="connsiteX304" fmla="*/ 6037784 w 7467600"/>
              <a:gd name="connsiteY304" fmla="*/ 4764270 h 6858000"/>
              <a:gd name="connsiteX305" fmla="*/ 6038839 w 7467600"/>
              <a:gd name="connsiteY305" fmla="*/ 4764474 h 6858000"/>
              <a:gd name="connsiteX306" fmla="*/ 6040338 w 7467600"/>
              <a:gd name="connsiteY306" fmla="*/ 4771418 h 6858000"/>
              <a:gd name="connsiteX307" fmla="*/ 6024488 w 7467600"/>
              <a:gd name="connsiteY307" fmla="*/ 4809903 h 6858000"/>
              <a:gd name="connsiteX308" fmla="*/ 5599771 w 7467600"/>
              <a:gd name="connsiteY308" fmla="*/ 5509652 h 6858000"/>
              <a:gd name="connsiteX309" fmla="*/ 5548843 w 7467600"/>
              <a:gd name="connsiteY309" fmla="*/ 5563845 h 6858000"/>
              <a:gd name="connsiteX310" fmla="*/ 5940952 w 7467600"/>
              <a:gd name="connsiteY310" fmla="*/ 6250028 h 6858000"/>
              <a:gd name="connsiteX311" fmla="*/ 6043441 w 7467600"/>
              <a:gd name="connsiteY311" fmla="*/ 6665847 h 6858000"/>
              <a:gd name="connsiteX312" fmla="*/ 6093432 w 7467600"/>
              <a:gd name="connsiteY312" fmla="*/ 6858000 h 6858000"/>
              <a:gd name="connsiteX313" fmla="*/ 6034344 w 7467600"/>
              <a:gd name="connsiteY313" fmla="*/ 6858000 h 6858000"/>
              <a:gd name="connsiteX314" fmla="*/ 6026679 w 7467600"/>
              <a:gd name="connsiteY314" fmla="*/ 6836959 h 6858000"/>
              <a:gd name="connsiteX315" fmla="*/ 5800441 w 7467600"/>
              <a:gd name="connsiteY315" fmla="*/ 6335286 h 6858000"/>
              <a:gd name="connsiteX316" fmla="*/ 5526562 w 7467600"/>
              <a:gd name="connsiteY316" fmla="*/ 5705388 h 6858000"/>
              <a:gd name="connsiteX317" fmla="*/ 5519640 w 7467600"/>
              <a:gd name="connsiteY317" fmla="*/ 5683774 h 6858000"/>
              <a:gd name="connsiteX318" fmla="*/ 5844559 w 7467600"/>
              <a:gd name="connsiteY318" fmla="*/ 6553349 h 6858000"/>
              <a:gd name="connsiteX319" fmla="*/ 5975994 w 7467600"/>
              <a:gd name="connsiteY319" fmla="*/ 6858000 h 6858000"/>
              <a:gd name="connsiteX320" fmla="*/ 5898547 w 7467600"/>
              <a:gd name="connsiteY320" fmla="*/ 6858000 h 6858000"/>
              <a:gd name="connsiteX321" fmla="*/ 5682041 w 7467600"/>
              <a:gd name="connsiteY321" fmla="*/ 6355860 h 6858000"/>
              <a:gd name="connsiteX322" fmla="*/ 5461758 w 7467600"/>
              <a:gd name="connsiteY322" fmla="*/ 5820220 h 6858000"/>
              <a:gd name="connsiteX323" fmla="*/ 5237282 w 7467600"/>
              <a:gd name="connsiteY323" fmla="*/ 6579086 h 6858000"/>
              <a:gd name="connsiteX324" fmla="*/ 5115009 w 7467600"/>
              <a:gd name="connsiteY324" fmla="*/ 6858000 h 6858000"/>
              <a:gd name="connsiteX325" fmla="*/ 5028074 w 7467600"/>
              <a:gd name="connsiteY325" fmla="*/ 6858000 h 6858000"/>
              <a:gd name="connsiteX326" fmla="*/ 5079508 w 7467600"/>
              <a:gd name="connsiteY326" fmla="*/ 6749074 h 6858000"/>
              <a:gd name="connsiteX327" fmla="*/ 5371846 w 7467600"/>
              <a:gd name="connsiteY327" fmla="*/ 5924413 h 6858000"/>
              <a:gd name="connsiteX328" fmla="*/ 5270512 w 7467600"/>
              <a:gd name="connsiteY328" fmla="*/ 6138975 h 6858000"/>
              <a:gd name="connsiteX329" fmla="*/ 5062409 w 7467600"/>
              <a:gd name="connsiteY329" fmla="*/ 6653544 h 6858000"/>
              <a:gd name="connsiteX330" fmla="*/ 5036628 w 7467600"/>
              <a:gd name="connsiteY330" fmla="*/ 6754247 h 6858000"/>
              <a:gd name="connsiteX331" fmla="*/ 5009112 w 7467600"/>
              <a:gd name="connsiteY331" fmla="*/ 6858000 h 6858000"/>
              <a:gd name="connsiteX332" fmla="*/ 4976679 w 7467600"/>
              <a:gd name="connsiteY332" fmla="*/ 6858000 h 6858000"/>
              <a:gd name="connsiteX333" fmla="*/ 5006537 w 7467600"/>
              <a:gd name="connsiteY333" fmla="*/ 6747068 h 6858000"/>
              <a:gd name="connsiteX334" fmla="*/ 5032723 w 7467600"/>
              <a:gd name="connsiteY334" fmla="*/ 6644957 h 6858000"/>
              <a:gd name="connsiteX335" fmla="*/ 5242949 w 7467600"/>
              <a:gd name="connsiteY335" fmla="*/ 6125175 h 6858000"/>
              <a:gd name="connsiteX336" fmla="*/ 5286321 w 7467600"/>
              <a:gd name="connsiteY336" fmla="*/ 6033555 h 6858000"/>
              <a:gd name="connsiteX337" fmla="*/ 5008210 w 7467600"/>
              <a:gd name="connsiteY337" fmla="*/ 6649194 h 6858000"/>
              <a:gd name="connsiteX338" fmla="*/ 4986321 w 7467600"/>
              <a:gd name="connsiteY338" fmla="*/ 6765687 h 6858000"/>
              <a:gd name="connsiteX339" fmla="*/ 4973474 w 7467600"/>
              <a:gd name="connsiteY339" fmla="*/ 6858000 h 6858000"/>
              <a:gd name="connsiteX340" fmla="*/ 4907178 w 7467600"/>
              <a:gd name="connsiteY340" fmla="*/ 6858000 h 6858000"/>
              <a:gd name="connsiteX341" fmla="*/ 4910810 w 7467600"/>
              <a:gd name="connsiteY341" fmla="*/ 6829660 h 6858000"/>
              <a:gd name="connsiteX342" fmla="*/ 4987461 w 7467600"/>
              <a:gd name="connsiteY342" fmla="*/ 6432994 h 6858000"/>
              <a:gd name="connsiteX343" fmla="*/ 5179262 w 7467600"/>
              <a:gd name="connsiteY343" fmla="*/ 6035044 h 6858000"/>
              <a:gd name="connsiteX344" fmla="*/ 4689678 w 7467600"/>
              <a:gd name="connsiteY344" fmla="*/ 6440241 h 6858000"/>
              <a:gd name="connsiteX345" fmla="*/ 4477543 w 7467600"/>
              <a:gd name="connsiteY345" fmla="*/ 6674836 h 6858000"/>
              <a:gd name="connsiteX346" fmla="*/ 4329957 w 7467600"/>
              <a:gd name="connsiteY346" fmla="*/ 6858000 h 6858000"/>
              <a:gd name="connsiteX347" fmla="*/ 4218595 w 7467600"/>
              <a:gd name="connsiteY347" fmla="*/ 6858000 h 6858000"/>
              <a:gd name="connsiteX348" fmla="*/ 4368888 w 7467600"/>
              <a:gd name="connsiteY348" fmla="*/ 6668412 h 6858000"/>
              <a:gd name="connsiteX349" fmla="*/ 4563091 w 7467600"/>
              <a:gd name="connsiteY349" fmla="*/ 6442508 h 6858000"/>
              <a:gd name="connsiteX350" fmla="*/ 5387324 w 7467600"/>
              <a:gd name="connsiteY350" fmla="*/ 5705830 h 6858000"/>
              <a:gd name="connsiteX351" fmla="*/ 5073620 w 7467600"/>
              <a:gd name="connsiteY351" fmla="*/ 5955437 h 6858000"/>
              <a:gd name="connsiteX352" fmla="*/ 4689789 w 7467600"/>
              <a:gd name="connsiteY352" fmla="*/ 6268382 h 6858000"/>
              <a:gd name="connsiteX353" fmla="*/ 4418722 w 7467600"/>
              <a:gd name="connsiteY353" fmla="*/ 6570886 h 6858000"/>
              <a:gd name="connsiteX354" fmla="*/ 4214944 w 7467600"/>
              <a:gd name="connsiteY354" fmla="*/ 6858000 h 6858000"/>
              <a:gd name="connsiteX355" fmla="*/ 4177898 w 7467600"/>
              <a:gd name="connsiteY355" fmla="*/ 6858000 h 6858000"/>
              <a:gd name="connsiteX356" fmla="*/ 4391597 w 7467600"/>
              <a:gd name="connsiteY356" fmla="*/ 6556370 h 6858000"/>
              <a:gd name="connsiteX357" fmla="*/ 4668889 w 7467600"/>
              <a:gd name="connsiteY357" fmla="*/ 6246399 h 6858000"/>
              <a:gd name="connsiteX358" fmla="*/ 5055427 w 7467600"/>
              <a:gd name="connsiteY358" fmla="*/ 5931476 h 6858000"/>
              <a:gd name="connsiteX359" fmla="*/ 5371814 w 7467600"/>
              <a:gd name="connsiteY359" fmla="*/ 5678975 h 6858000"/>
              <a:gd name="connsiteX360" fmla="*/ 4987918 w 7467600"/>
              <a:gd name="connsiteY360" fmla="*/ 5838701 h 6858000"/>
              <a:gd name="connsiteX361" fmla="*/ 4317146 w 7467600"/>
              <a:gd name="connsiteY361" fmla="*/ 6587716 h 6858000"/>
              <a:gd name="connsiteX362" fmla="*/ 4171627 w 7467600"/>
              <a:gd name="connsiteY362" fmla="*/ 6858000 h 6858000"/>
              <a:gd name="connsiteX363" fmla="*/ 4081585 w 7467600"/>
              <a:gd name="connsiteY363" fmla="*/ 6858000 h 6858000"/>
              <a:gd name="connsiteX364" fmla="*/ 4238603 w 7467600"/>
              <a:gd name="connsiteY364" fmla="*/ 6559341 h 6858000"/>
              <a:gd name="connsiteX365" fmla="*/ 4778333 w 7467600"/>
              <a:gd name="connsiteY365" fmla="*/ 5873626 h 6858000"/>
              <a:gd name="connsiteX366" fmla="*/ 5414185 w 7467600"/>
              <a:gd name="connsiteY366" fmla="*/ 5573882 h 6858000"/>
              <a:gd name="connsiteX367" fmla="*/ 5959648 w 7467600"/>
              <a:gd name="connsiteY367" fmla="*/ 4760797 h 6858000"/>
              <a:gd name="connsiteX368" fmla="*/ 5355019 w 7467600"/>
              <a:gd name="connsiteY368" fmla="*/ 4734672 h 6858000"/>
              <a:gd name="connsiteX369" fmla="*/ 5083565 w 7467600"/>
              <a:gd name="connsiteY369" fmla="*/ 5179121 h 6858000"/>
              <a:gd name="connsiteX370" fmla="*/ 4713577 w 7467600"/>
              <a:gd name="connsiteY370" fmla="*/ 5616803 h 6858000"/>
              <a:gd name="connsiteX371" fmla="*/ 3989559 w 7467600"/>
              <a:gd name="connsiteY371" fmla="*/ 6145945 h 6858000"/>
              <a:gd name="connsiteX372" fmla="*/ 3939824 w 7467600"/>
              <a:gd name="connsiteY372" fmla="*/ 6066900 h 6858000"/>
              <a:gd name="connsiteX373" fmla="*/ 4584537 w 7467600"/>
              <a:gd name="connsiteY373" fmla="*/ 5324826 h 6858000"/>
              <a:gd name="connsiteX374" fmla="*/ 5037105 w 7467600"/>
              <a:gd name="connsiteY374" fmla="*/ 5088765 h 6858000"/>
              <a:gd name="connsiteX375" fmla="*/ 5039930 w 7467600"/>
              <a:gd name="connsiteY375" fmla="*/ 5089585 h 6858000"/>
              <a:gd name="connsiteX376" fmla="*/ 5263764 w 7467600"/>
              <a:gd name="connsiteY376" fmla="*/ 4735525 h 6858000"/>
              <a:gd name="connsiteX377" fmla="*/ 4086300 w 7467600"/>
              <a:gd name="connsiteY377" fmla="*/ 4884599 h 6858000"/>
              <a:gd name="connsiteX378" fmla="*/ 4085485 w 7467600"/>
              <a:gd name="connsiteY378" fmla="*/ 4899070 h 6858000"/>
              <a:gd name="connsiteX379" fmla="*/ 3871915 w 7467600"/>
              <a:gd name="connsiteY379" fmla="*/ 5253645 h 6858000"/>
              <a:gd name="connsiteX380" fmla="*/ 3799374 w 7467600"/>
              <a:gd name="connsiteY380" fmla="*/ 5466127 h 6858000"/>
              <a:gd name="connsiteX381" fmla="*/ 3498850 w 7467600"/>
              <a:gd name="connsiteY381" fmla="*/ 6661888 h 6858000"/>
              <a:gd name="connsiteX382" fmla="*/ 3399216 w 7467600"/>
              <a:gd name="connsiteY382" fmla="*/ 6858000 h 6858000"/>
              <a:gd name="connsiteX383" fmla="*/ 3303688 w 7467600"/>
              <a:gd name="connsiteY383" fmla="*/ 6858000 h 6858000"/>
              <a:gd name="connsiteX384" fmla="*/ 3391774 w 7467600"/>
              <a:gd name="connsiteY384" fmla="*/ 6697181 h 6858000"/>
              <a:gd name="connsiteX385" fmla="*/ 3735540 w 7467600"/>
              <a:gd name="connsiteY385" fmla="*/ 5546923 h 6858000"/>
              <a:gd name="connsiteX386" fmla="*/ 3729438 w 7467600"/>
              <a:gd name="connsiteY386" fmla="*/ 5569058 h 6858000"/>
              <a:gd name="connsiteX387" fmla="*/ 3707782 w 7467600"/>
              <a:gd name="connsiteY387" fmla="*/ 5644908 h 6858000"/>
              <a:gd name="connsiteX388" fmla="*/ 3583827 w 7467600"/>
              <a:gd name="connsiteY388" fmla="*/ 6039215 h 6858000"/>
              <a:gd name="connsiteX389" fmla="*/ 3547861 w 7467600"/>
              <a:gd name="connsiteY389" fmla="*/ 6129609 h 6858000"/>
              <a:gd name="connsiteX390" fmla="*/ 3490905 w 7467600"/>
              <a:gd name="connsiteY390" fmla="*/ 6277660 h 6858000"/>
              <a:gd name="connsiteX391" fmla="*/ 3455859 w 7467600"/>
              <a:gd name="connsiteY391" fmla="*/ 6391301 h 6858000"/>
              <a:gd name="connsiteX392" fmla="*/ 3429112 w 7467600"/>
              <a:gd name="connsiteY392" fmla="*/ 6479469 h 6858000"/>
              <a:gd name="connsiteX393" fmla="*/ 3304862 w 7467600"/>
              <a:gd name="connsiteY393" fmla="*/ 6796476 h 6858000"/>
              <a:gd name="connsiteX394" fmla="*/ 3276071 w 7467600"/>
              <a:gd name="connsiteY394" fmla="*/ 6858000 h 6858000"/>
              <a:gd name="connsiteX395" fmla="*/ 3240805 w 7467600"/>
              <a:gd name="connsiteY395" fmla="*/ 6858000 h 6858000"/>
              <a:gd name="connsiteX396" fmla="*/ 3275917 w 7467600"/>
              <a:gd name="connsiteY396" fmla="*/ 6783192 h 6858000"/>
              <a:gd name="connsiteX397" fmla="*/ 3399358 w 7467600"/>
              <a:gd name="connsiteY397" fmla="*/ 6469011 h 6858000"/>
              <a:gd name="connsiteX398" fmla="*/ 3425650 w 7467600"/>
              <a:gd name="connsiteY398" fmla="*/ 6381333 h 6858000"/>
              <a:gd name="connsiteX399" fmla="*/ 3460661 w 7467600"/>
              <a:gd name="connsiteY399" fmla="*/ 6266763 h 6858000"/>
              <a:gd name="connsiteX400" fmla="*/ 3518021 w 7467600"/>
              <a:gd name="connsiteY400" fmla="*/ 6117298 h 6858000"/>
              <a:gd name="connsiteX401" fmla="*/ 3554035 w 7467600"/>
              <a:gd name="connsiteY401" fmla="*/ 6027832 h 6858000"/>
              <a:gd name="connsiteX402" fmla="*/ 3677174 w 7467600"/>
              <a:gd name="connsiteY402" fmla="*/ 5636351 h 6858000"/>
              <a:gd name="connsiteX403" fmla="*/ 3698819 w 7467600"/>
              <a:gd name="connsiteY403" fmla="*/ 5560503 h 6858000"/>
              <a:gd name="connsiteX404" fmla="*/ 3702094 w 7467600"/>
              <a:gd name="connsiteY404" fmla="*/ 5549194 h 6858000"/>
              <a:gd name="connsiteX405" fmla="*/ 3398355 w 7467600"/>
              <a:gd name="connsiteY405" fmla="*/ 6094603 h 6858000"/>
              <a:gd name="connsiteX406" fmla="*/ 3193941 w 7467600"/>
              <a:gd name="connsiteY406" fmla="*/ 6798775 h 6858000"/>
              <a:gd name="connsiteX407" fmla="*/ 3184140 w 7467600"/>
              <a:gd name="connsiteY407" fmla="*/ 6858000 h 6858000"/>
              <a:gd name="connsiteX408" fmla="*/ 3099978 w 7467600"/>
              <a:gd name="connsiteY408" fmla="*/ 6858000 h 6858000"/>
              <a:gd name="connsiteX409" fmla="*/ 3101556 w 7467600"/>
              <a:gd name="connsiteY409" fmla="*/ 6843337 h 6858000"/>
              <a:gd name="connsiteX410" fmla="*/ 3370162 w 7467600"/>
              <a:gd name="connsiteY410" fmla="*/ 5785550 h 6858000"/>
              <a:gd name="connsiteX411" fmla="*/ 3746477 w 7467600"/>
              <a:gd name="connsiteY411" fmla="*/ 5377889 h 6858000"/>
              <a:gd name="connsiteX412" fmla="*/ 3863399 w 7467600"/>
              <a:gd name="connsiteY412" fmla="*/ 5087257 h 6858000"/>
              <a:gd name="connsiteX413" fmla="*/ 3968712 w 7467600"/>
              <a:gd name="connsiteY413" fmla="*/ 4913989 h 6858000"/>
              <a:gd name="connsiteX414" fmla="*/ 2792390 w 7467600"/>
              <a:gd name="connsiteY414" fmla="*/ 5382974 h 6858000"/>
              <a:gd name="connsiteX415" fmla="*/ 2714982 w 7467600"/>
              <a:gd name="connsiteY415" fmla="*/ 5427051 h 6858000"/>
              <a:gd name="connsiteX416" fmla="*/ 2813361 w 7467600"/>
              <a:gd name="connsiteY416" fmla="*/ 6023912 h 6858000"/>
              <a:gd name="connsiteX417" fmla="*/ 2688430 w 7467600"/>
              <a:gd name="connsiteY417" fmla="*/ 6801564 h 6858000"/>
              <a:gd name="connsiteX418" fmla="*/ 2629626 w 7467600"/>
              <a:gd name="connsiteY418" fmla="*/ 6763394 h 6858000"/>
              <a:gd name="connsiteX419" fmla="*/ 2565328 w 7467600"/>
              <a:gd name="connsiteY419" fmla="*/ 5516399 h 6858000"/>
              <a:gd name="connsiteX420" fmla="*/ 1922999 w 7467600"/>
              <a:gd name="connsiteY420" fmla="*/ 5980343 h 6858000"/>
              <a:gd name="connsiteX421" fmla="*/ 1950261 w 7467600"/>
              <a:gd name="connsiteY421" fmla="*/ 6405858 h 6858000"/>
              <a:gd name="connsiteX422" fmla="*/ 2365554 w 7467600"/>
              <a:gd name="connsiteY422" fmla="*/ 6759107 h 6858000"/>
              <a:gd name="connsiteX423" fmla="*/ 2424142 w 7467600"/>
              <a:gd name="connsiteY423" fmla="*/ 6858000 h 6858000"/>
              <a:gd name="connsiteX424" fmla="*/ 2395994 w 7467600"/>
              <a:gd name="connsiteY424" fmla="*/ 6858000 h 6858000"/>
              <a:gd name="connsiteX425" fmla="*/ 2392863 w 7467600"/>
              <a:gd name="connsiteY425" fmla="*/ 6852964 h 6858000"/>
              <a:gd name="connsiteX426" fmla="*/ 2017589 w 7467600"/>
              <a:gd name="connsiteY426" fmla="*/ 6493982 h 6858000"/>
              <a:gd name="connsiteX427" fmla="*/ 2147336 w 7467600"/>
              <a:gd name="connsiteY427" fmla="*/ 6594052 h 6858000"/>
              <a:gd name="connsiteX428" fmla="*/ 2207047 w 7467600"/>
              <a:gd name="connsiteY428" fmla="*/ 6654540 h 6858000"/>
              <a:gd name="connsiteX429" fmla="*/ 2299106 w 7467600"/>
              <a:gd name="connsiteY429" fmla="*/ 6778931 h 6858000"/>
              <a:gd name="connsiteX430" fmla="*/ 2314430 w 7467600"/>
              <a:gd name="connsiteY430" fmla="*/ 6801144 h 6858000"/>
              <a:gd name="connsiteX431" fmla="*/ 2352406 w 7467600"/>
              <a:gd name="connsiteY431" fmla="*/ 6858000 h 6858000"/>
              <a:gd name="connsiteX432" fmla="*/ 2314492 w 7467600"/>
              <a:gd name="connsiteY432" fmla="*/ 6858000 h 6858000"/>
              <a:gd name="connsiteX433" fmla="*/ 2288095 w 7467600"/>
              <a:gd name="connsiteY433" fmla="*/ 6818030 h 6858000"/>
              <a:gd name="connsiteX434" fmla="*/ 2272768 w 7467600"/>
              <a:gd name="connsiteY434" fmla="*/ 6795822 h 6858000"/>
              <a:gd name="connsiteX435" fmla="*/ 2182715 w 7467600"/>
              <a:gd name="connsiteY435" fmla="*/ 6675071 h 6858000"/>
              <a:gd name="connsiteX436" fmla="*/ 2032061 w 7467600"/>
              <a:gd name="connsiteY436" fmla="*/ 6541380 h 6858000"/>
              <a:gd name="connsiteX437" fmla="*/ 2257220 w 7467600"/>
              <a:gd name="connsiteY437" fmla="*/ 6826257 h 6858000"/>
              <a:gd name="connsiteX438" fmla="*/ 2281324 w 7467600"/>
              <a:gd name="connsiteY438" fmla="*/ 6858000 h 6858000"/>
              <a:gd name="connsiteX439" fmla="*/ 2242860 w 7467600"/>
              <a:gd name="connsiteY439" fmla="*/ 6858000 h 6858000"/>
              <a:gd name="connsiteX440" fmla="*/ 2232818 w 7467600"/>
              <a:gd name="connsiteY440" fmla="*/ 6844926 h 6858000"/>
              <a:gd name="connsiteX441" fmla="*/ 1990172 w 7467600"/>
              <a:gd name="connsiteY441" fmla="*/ 6542121 h 6858000"/>
              <a:gd name="connsiteX442" fmla="*/ 2124090 w 7467600"/>
              <a:gd name="connsiteY442" fmla="*/ 6761017 h 6858000"/>
              <a:gd name="connsiteX443" fmla="*/ 2200380 w 7467600"/>
              <a:gd name="connsiteY443" fmla="*/ 6858000 h 6858000"/>
              <a:gd name="connsiteX444" fmla="*/ 2147507 w 7467600"/>
              <a:gd name="connsiteY444" fmla="*/ 6858000 h 6858000"/>
              <a:gd name="connsiteX445" fmla="*/ 2070668 w 7467600"/>
              <a:gd name="connsiteY445" fmla="*/ 6761520 h 6858000"/>
              <a:gd name="connsiteX446" fmla="*/ 1975142 w 7467600"/>
              <a:gd name="connsiteY446" fmla="*/ 6585570 h 6858000"/>
              <a:gd name="connsiteX447" fmla="*/ 2050035 w 7467600"/>
              <a:gd name="connsiteY447" fmla="*/ 6813345 h 6858000"/>
              <a:gd name="connsiteX448" fmla="*/ 2063025 w 7467600"/>
              <a:gd name="connsiteY448" fmla="*/ 6858000 h 6858000"/>
              <a:gd name="connsiteX449" fmla="*/ 2021675 w 7467600"/>
              <a:gd name="connsiteY449" fmla="*/ 6858000 h 6858000"/>
              <a:gd name="connsiteX450" fmla="*/ 2019308 w 7467600"/>
              <a:gd name="connsiteY450" fmla="*/ 6847118 h 6858000"/>
              <a:gd name="connsiteX451" fmla="*/ 1938835 w 7467600"/>
              <a:gd name="connsiteY451" fmla="*/ 6551160 h 6858000"/>
              <a:gd name="connsiteX452" fmla="*/ 1953230 w 7467600"/>
              <a:gd name="connsiteY452" fmla="*/ 6759699 h 6858000"/>
              <a:gd name="connsiteX453" fmla="*/ 1956763 w 7467600"/>
              <a:gd name="connsiteY453" fmla="*/ 6778191 h 6858000"/>
              <a:gd name="connsiteX454" fmla="*/ 1967925 w 7467600"/>
              <a:gd name="connsiteY454" fmla="*/ 6858000 h 6858000"/>
              <a:gd name="connsiteX455" fmla="*/ 1936622 w 7467600"/>
              <a:gd name="connsiteY455" fmla="*/ 6858000 h 6858000"/>
              <a:gd name="connsiteX456" fmla="*/ 1926261 w 7467600"/>
              <a:gd name="connsiteY456" fmla="*/ 6784064 h 6858000"/>
              <a:gd name="connsiteX457" fmla="*/ 1922724 w 7467600"/>
              <a:gd name="connsiteY457" fmla="*/ 6765577 h 6858000"/>
              <a:gd name="connsiteX458" fmla="*/ 1904650 w 7467600"/>
              <a:gd name="connsiteY458" fmla="*/ 6639616 h 6858000"/>
              <a:gd name="connsiteX459" fmla="*/ 1885273 w 7467600"/>
              <a:gd name="connsiteY459" fmla="*/ 6858000 h 6858000"/>
              <a:gd name="connsiteX460" fmla="*/ 1854363 w 7467600"/>
              <a:gd name="connsiteY460" fmla="*/ 6858000 h 6858000"/>
              <a:gd name="connsiteX461" fmla="*/ 1880391 w 7467600"/>
              <a:gd name="connsiteY461" fmla="*/ 6603796 h 6858000"/>
              <a:gd name="connsiteX462" fmla="*/ 1818273 w 7467600"/>
              <a:gd name="connsiteY462" fmla="*/ 6715729 h 6858000"/>
              <a:gd name="connsiteX463" fmla="*/ 1794691 w 7467600"/>
              <a:gd name="connsiteY463" fmla="*/ 6843239 h 6858000"/>
              <a:gd name="connsiteX464" fmla="*/ 1794914 w 7467600"/>
              <a:gd name="connsiteY464" fmla="*/ 6858000 h 6858000"/>
              <a:gd name="connsiteX465" fmla="*/ 1746128 w 7467600"/>
              <a:gd name="connsiteY465" fmla="*/ 6858000 h 6858000"/>
              <a:gd name="connsiteX466" fmla="*/ 1753934 w 7467600"/>
              <a:gd name="connsiteY466" fmla="*/ 6724796 h 6858000"/>
              <a:gd name="connsiteX467" fmla="*/ 1792053 w 7467600"/>
              <a:gd name="connsiteY467" fmla="*/ 6572396 h 6858000"/>
              <a:gd name="connsiteX468" fmla="*/ 1862248 w 7467600"/>
              <a:gd name="connsiteY468" fmla="*/ 6266397 h 6858000"/>
              <a:gd name="connsiteX469" fmla="*/ 1862250 w 7467600"/>
              <a:gd name="connsiteY469" fmla="*/ 6033531 h 6858000"/>
              <a:gd name="connsiteX470" fmla="*/ 1211999 w 7467600"/>
              <a:gd name="connsiteY470" fmla="*/ 6683610 h 6858000"/>
              <a:gd name="connsiteX471" fmla="*/ 1213266 w 7467600"/>
              <a:gd name="connsiteY471" fmla="*/ 6691947 h 6858000"/>
              <a:gd name="connsiteX472" fmla="*/ 1203370 w 7467600"/>
              <a:gd name="connsiteY472" fmla="*/ 6850676 h 6858000"/>
              <a:gd name="connsiteX473" fmla="*/ 1203671 w 7467600"/>
              <a:gd name="connsiteY473" fmla="*/ 6858000 h 6858000"/>
              <a:gd name="connsiteX474" fmla="*/ 1143180 w 7467600"/>
              <a:gd name="connsiteY474" fmla="*/ 6858000 h 6858000"/>
              <a:gd name="connsiteX475" fmla="*/ 1142176 w 7467600"/>
              <a:gd name="connsiteY475" fmla="*/ 6766045 h 6858000"/>
              <a:gd name="connsiteX476" fmla="*/ 1067484 w 7467600"/>
              <a:gd name="connsiteY476" fmla="*/ 6858000 h 6858000"/>
              <a:gd name="connsiteX477" fmla="*/ 953928 w 7467600"/>
              <a:gd name="connsiteY477" fmla="*/ 6858000 h 6858000"/>
              <a:gd name="connsiteX478" fmla="*/ 959715 w 7467600"/>
              <a:gd name="connsiteY478" fmla="*/ 6850185 h 6858000"/>
              <a:gd name="connsiteX479" fmla="*/ 1483788 w 7467600"/>
              <a:gd name="connsiteY479" fmla="*/ 6259174 h 6858000"/>
              <a:gd name="connsiteX480" fmla="*/ 1100671 w 7467600"/>
              <a:gd name="connsiteY480" fmla="*/ 6252137 h 6858000"/>
              <a:gd name="connsiteX481" fmla="*/ 1090144 w 7467600"/>
              <a:gd name="connsiteY481" fmla="*/ 6256748 h 6858000"/>
              <a:gd name="connsiteX482" fmla="*/ 1095872 w 7467600"/>
              <a:gd name="connsiteY482" fmla="*/ 6271892 h 6858000"/>
              <a:gd name="connsiteX483" fmla="*/ 262785 w 7467600"/>
              <a:gd name="connsiteY483" fmla="*/ 6845450 h 6858000"/>
              <a:gd name="connsiteX484" fmla="*/ 209968 w 7467600"/>
              <a:gd name="connsiteY484" fmla="*/ 6770713 h 6858000"/>
              <a:gd name="connsiteX485" fmla="*/ 873460 w 7467600"/>
              <a:gd name="connsiteY485" fmla="*/ 6253768 h 6858000"/>
              <a:gd name="connsiteX486" fmla="*/ 192686 w 7467600"/>
              <a:gd name="connsiteY486" fmla="*/ 5849257 h 6858000"/>
              <a:gd name="connsiteX487" fmla="*/ 4696 w 7467600"/>
              <a:gd name="connsiteY487" fmla="*/ 5697668 h 6858000"/>
              <a:gd name="connsiteX488" fmla="*/ 0 w 7467600"/>
              <a:gd name="connsiteY488" fmla="*/ 5689984 h 6858000"/>
              <a:gd name="connsiteX489" fmla="*/ 0 w 7467600"/>
              <a:gd name="connsiteY489" fmla="*/ 5513472 h 6858000"/>
              <a:gd name="connsiteX490" fmla="*/ 174101 w 7467600"/>
              <a:gd name="connsiteY490" fmla="*/ 5620277 h 6858000"/>
              <a:gd name="connsiteX491" fmla="*/ 891800 w 7467600"/>
              <a:gd name="connsiteY491" fmla="*/ 6036935 h 6858000"/>
              <a:gd name="connsiteX492" fmla="*/ 1072219 w 7467600"/>
              <a:gd name="connsiteY492" fmla="*/ 6169443 h 6858000"/>
              <a:gd name="connsiteX493" fmla="*/ 1074117 w 7467600"/>
              <a:gd name="connsiteY493" fmla="*/ 6170301 h 6858000"/>
              <a:gd name="connsiteX494" fmla="*/ 1083114 w 7467600"/>
              <a:gd name="connsiteY494" fmla="*/ 6174131 h 6858000"/>
              <a:gd name="connsiteX495" fmla="*/ 1543010 w 7467600"/>
              <a:gd name="connsiteY495" fmla="*/ 6191140 h 6858000"/>
              <a:gd name="connsiteX496" fmla="*/ 1551080 w 7467600"/>
              <a:gd name="connsiteY496" fmla="*/ 6195006 h 6858000"/>
              <a:gd name="connsiteX497" fmla="*/ 2345443 w 7467600"/>
              <a:gd name="connsiteY497" fmla="*/ 5549882 h 6858000"/>
              <a:gd name="connsiteX498" fmla="*/ 1721499 w 7467600"/>
              <a:gd name="connsiteY498" fmla="*/ 5599969 h 6858000"/>
              <a:gd name="connsiteX499" fmla="*/ 767716 w 7467600"/>
              <a:gd name="connsiteY499" fmla="*/ 5472768 h 6858000"/>
              <a:gd name="connsiteX500" fmla="*/ 722147 w 7467600"/>
              <a:gd name="connsiteY500" fmla="*/ 5393091 h 6858000"/>
              <a:gd name="connsiteX501" fmla="*/ 1485552 w 7467600"/>
              <a:gd name="connsiteY501" fmla="*/ 5313202 h 6858000"/>
              <a:gd name="connsiteX502" fmla="*/ 2143004 w 7467600"/>
              <a:gd name="connsiteY502" fmla="*/ 5402420 h 6858000"/>
              <a:gd name="connsiteX503" fmla="*/ 1933391 w 7467600"/>
              <a:gd name="connsiteY503" fmla="*/ 5156971 h 6858000"/>
              <a:gd name="connsiteX504" fmla="*/ 1827118 w 7467600"/>
              <a:gd name="connsiteY504" fmla="*/ 4968410 h 6858000"/>
              <a:gd name="connsiteX505" fmla="*/ 1837349 w 7467600"/>
              <a:gd name="connsiteY505" fmla="*/ 4956357 h 6858000"/>
              <a:gd name="connsiteX506" fmla="*/ 2162835 w 7467600"/>
              <a:gd name="connsiteY506" fmla="*/ 5187853 h 6858000"/>
              <a:gd name="connsiteX507" fmla="*/ 2257167 w 7467600"/>
              <a:gd name="connsiteY507" fmla="*/ 5462123 h 6858000"/>
              <a:gd name="connsiteX508" fmla="*/ 2261598 w 7467600"/>
              <a:gd name="connsiteY508" fmla="*/ 5467998 h 6858000"/>
              <a:gd name="connsiteX509" fmla="*/ 2437177 w 7467600"/>
              <a:gd name="connsiteY509" fmla="*/ 5479608 h 6858000"/>
              <a:gd name="connsiteX510" fmla="*/ 2445247 w 7467600"/>
              <a:gd name="connsiteY510" fmla="*/ 5483476 h 6858000"/>
              <a:gd name="connsiteX511" fmla="*/ 2743626 w 7467600"/>
              <a:gd name="connsiteY511" fmla="*/ 5304819 h 6858000"/>
              <a:gd name="connsiteX512" fmla="*/ 3048102 w 7467600"/>
              <a:gd name="connsiteY512" fmla="*/ 5150595 h 6858000"/>
              <a:gd name="connsiteX513" fmla="*/ 1799414 w 7467600"/>
              <a:gd name="connsiteY513" fmla="*/ 4694732 h 6858000"/>
              <a:gd name="connsiteX514" fmla="*/ 1771735 w 7467600"/>
              <a:gd name="connsiteY514" fmla="*/ 4619929 h 6858000"/>
              <a:gd name="connsiteX515" fmla="*/ 3104273 w 7467600"/>
              <a:gd name="connsiteY515" fmla="*/ 5076159 h 6858000"/>
              <a:gd name="connsiteX516" fmla="*/ 3113245 w 7467600"/>
              <a:gd name="connsiteY516" fmla="*/ 5090705 h 6858000"/>
              <a:gd name="connsiteX517" fmla="*/ 3126294 w 7467600"/>
              <a:gd name="connsiteY517" fmla="*/ 5114400 h 6858000"/>
              <a:gd name="connsiteX518" fmla="*/ 3937433 w 7467600"/>
              <a:gd name="connsiteY518" fmla="*/ 4830473 h 6858000"/>
              <a:gd name="connsiteX519" fmla="*/ 3590475 w 7467600"/>
              <a:gd name="connsiteY519" fmla="*/ 4597974 h 6858000"/>
              <a:gd name="connsiteX520" fmla="*/ 3100264 w 7467600"/>
              <a:gd name="connsiteY520" fmla="*/ 4579845 h 6858000"/>
              <a:gd name="connsiteX521" fmla="*/ 2183576 w 7467600"/>
              <a:gd name="connsiteY521" fmla="*/ 4227150 h 6858000"/>
              <a:gd name="connsiteX522" fmla="*/ 2151029 w 7467600"/>
              <a:gd name="connsiteY522" fmla="*/ 4146947 h 6858000"/>
              <a:gd name="connsiteX523" fmla="*/ 3563434 w 7467600"/>
              <a:gd name="connsiteY523" fmla="*/ 4469115 h 6858000"/>
              <a:gd name="connsiteX524" fmla="*/ 3177952 w 7467600"/>
              <a:gd name="connsiteY524" fmla="*/ 3657386 h 6858000"/>
              <a:gd name="connsiteX525" fmla="*/ 3189263 w 7467600"/>
              <a:gd name="connsiteY525" fmla="*/ 3625726 h 6858000"/>
              <a:gd name="connsiteX526" fmla="*/ 3560912 w 7467600"/>
              <a:gd name="connsiteY526" fmla="*/ 4079863 h 6858000"/>
              <a:gd name="connsiteX527" fmla="*/ 3626636 w 7467600"/>
              <a:gd name="connsiteY527" fmla="*/ 4512230 h 6858000"/>
              <a:gd name="connsiteX528" fmla="*/ 3653088 w 7467600"/>
              <a:gd name="connsiteY528" fmla="*/ 4521417 h 6858000"/>
              <a:gd name="connsiteX529" fmla="*/ 3988128 w 7467600"/>
              <a:gd name="connsiteY529" fmla="*/ 4817267 h 6858000"/>
              <a:gd name="connsiteX530" fmla="*/ 4830582 w 7467600"/>
              <a:gd name="connsiteY530" fmla="*/ 4676000 h 6858000"/>
              <a:gd name="connsiteX531" fmla="*/ 4830100 w 7467600"/>
              <a:gd name="connsiteY531" fmla="*/ 4675554 h 6858000"/>
              <a:gd name="connsiteX532" fmla="*/ 4036318 w 7467600"/>
              <a:gd name="connsiteY532" fmla="*/ 4147013 h 6858000"/>
              <a:gd name="connsiteX533" fmla="*/ 3432098 w 7467600"/>
              <a:gd name="connsiteY533" fmla="*/ 3537312 h 6858000"/>
              <a:gd name="connsiteX534" fmla="*/ 3446761 w 7467600"/>
              <a:gd name="connsiteY534" fmla="*/ 3461278 h 6858000"/>
              <a:gd name="connsiteX535" fmla="*/ 4419733 w 7467600"/>
              <a:gd name="connsiteY535" fmla="*/ 3963555 h 6858000"/>
              <a:gd name="connsiteX536" fmla="*/ 4781371 w 7467600"/>
              <a:gd name="connsiteY536" fmla="*/ 4458604 h 6858000"/>
              <a:gd name="connsiteX537" fmla="*/ 4780440 w 7467600"/>
              <a:gd name="connsiteY537" fmla="*/ 4470290 h 6858000"/>
              <a:gd name="connsiteX538" fmla="*/ 4898954 w 7467600"/>
              <a:gd name="connsiteY538" fmla="*/ 4662092 h 6858000"/>
              <a:gd name="connsiteX539" fmla="*/ 4900699 w 7467600"/>
              <a:gd name="connsiteY539" fmla="*/ 4670867 h 6858000"/>
              <a:gd name="connsiteX540" fmla="*/ 5714511 w 7467600"/>
              <a:gd name="connsiteY540" fmla="*/ 4663483 h 6858000"/>
              <a:gd name="connsiteX541" fmla="*/ 5464793 w 7467600"/>
              <a:gd name="connsiteY541" fmla="*/ 4393556 h 6858000"/>
              <a:gd name="connsiteX542" fmla="*/ 5461897 w 7467600"/>
              <a:gd name="connsiteY542" fmla="*/ 4390879 h 6858000"/>
              <a:gd name="connsiteX543" fmla="*/ 4294126 w 7467600"/>
              <a:gd name="connsiteY543" fmla="*/ 3303048 h 6858000"/>
              <a:gd name="connsiteX544" fmla="*/ 4305321 w 7467600"/>
              <a:gd name="connsiteY544" fmla="*/ 3256953 h 6858000"/>
              <a:gd name="connsiteX545" fmla="*/ 4949299 w 7467600"/>
              <a:gd name="connsiteY545" fmla="*/ 3766336 h 6858000"/>
              <a:gd name="connsiteX546" fmla="*/ 5291452 w 7467600"/>
              <a:gd name="connsiteY546" fmla="*/ 4076801 h 6858000"/>
              <a:gd name="connsiteX547" fmla="*/ 5434998 w 7467600"/>
              <a:gd name="connsiteY547" fmla="*/ 4254100 h 6858000"/>
              <a:gd name="connsiteX548" fmla="*/ 5351015 w 7467600"/>
              <a:gd name="connsiteY548" fmla="*/ 3760989 h 6858000"/>
              <a:gd name="connsiteX549" fmla="*/ 5413780 w 7467600"/>
              <a:gd name="connsiteY549" fmla="*/ 2966265 h 6858000"/>
              <a:gd name="connsiteX550" fmla="*/ 5425627 w 7467600"/>
              <a:gd name="connsiteY550" fmla="*/ 2954192 h 6858000"/>
              <a:gd name="connsiteX551" fmla="*/ 6604735 w 7467600"/>
              <a:gd name="connsiteY551" fmla="*/ 2041381 h 6858000"/>
              <a:gd name="connsiteX552" fmla="*/ 7204487 w 7467600"/>
              <a:gd name="connsiteY552" fmla="*/ 2742112 h 6858000"/>
              <a:gd name="connsiteX553" fmla="*/ 7131592 w 7467600"/>
              <a:gd name="connsiteY553" fmla="*/ 2672096 h 6858000"/>
              <a:gd name="connsiteX554" fmla="*/ 6996344 w 7467600"/>
              <a:gd name="connsiteY554" fmla="*/ 2518310 h 6858000"/>
              <a:gd name="connsiteX555" fmla="*/ 6735495 w 7467600"/>
              <a:gd name="connsiteY555" fmla="*/ 2196890 h 6858000"/>
              <a:gd name="connsiteX556" fmla="*/ 6721901 w 7467600"/>
              <a:gd name="connsiteY556" fmla="*/ 2179274 h 6858000"/>
              <a:gd name="connsiteX557" fmla="*/ 6604735 w 7467600"/>
              <a:gd name="connsiteY557" fmla="*/ 2041381 h 6858000"/>
              <a:gd name="connsiteX558" fmla="*/ 6591670 w 7467600"/>
              <a:gd name="connsiteY558" fmla="*/ 1988277 h 6858000"/>
              <a:gd name="connsiteX559" fmla="*/ 6747349 w 7467600"/>
              <a:gd name="connsiteY559" fmla="*/ 2160069 h 6858000"/>
              <a:gd name="connsiteX560" fmla="*/ 6760943 w 7467600"/>
              <a:gd name="connsiteY560" fmla="*/ 2177686 h 6858000"/>
              <a:gd name="connsiteX561" fmla="*/ 7021065 w 7467600"/>
              <a:gd name="connsiteY561" fmla="*/ 2498102 h 6858000"/>
              <a:gd name="connsiteX562" fmla="*/ 7155223 w 7467600"/>
              <a:gd name="connsiteY562" fmla="*/ 2650386 h 6858000"/>
              <a:gd name="connsiteX563" fmla="*/ 7203167 w 7467600"/>
              <a:gd name="connsiteY563" fmla="*/ 2697288 h 6858000"/>
              <a:gd name="connsiteX564" fmla="*/ 6937703 w 7467600"/>
              <a:gd name="connsiteY564" fmla="*/ 2321981 h 6858000"/>
              <a:gd name="connsiteX565" fmla="*/ 6591670 w 7467600"/>
              <a:gd name="connsiteY565" fmla="*/ 1988277 h 6858000"/>
              <a:gd name="connsiteX566" fmla="*/ 5798671 w 7467600"/>
              <a:gd name="connsiteY566" fmla="*/ 1981601 h 6858000"/>
              <a:gd name="connsiteX567" fmla="*/ 5754709 w 7467600"/>
              <a:gd name="connsiteY567" fmla="*/ 2071454 h 6858000"/>
              <a:gd name="connsiteX568" fmla="*/ 5763044 w 7467600"/>
              <a:gd name="connsiteY568" fmla="*/ 2842206 h 6858000"/>
              <a:gd name="connsiteX569" fmla="*/ 5764974 w 7467600"/>
              <a:gd name="connsiteY569" fmla="*/ 2799609 h 6858000"/>
              <a:gd name="connsiteX570" fmla="*/ 5767665 w 7467600"/>
              <a:gd name="connsiteY570" fmla="*/ 2666409 h 6858000"/>
              <a:gd name="connsiteX571" fmla="*/ 5763055 w 7467600"/>
              <a:gd name="connsiteY571" fmla="*/ 2579705 h 6858000"/>
              <a:gd name="connsiteX572" fmla="*/ 5758079 w 7467600"/>
              <a:gd name="connsiteY572" fmla="*/ 2492508 h 6858000"/>
              <a:gd name="connsiteX573" fmla="*/ 5779325 w 7467600"/>
              <a:gd name="connsiteY573" fmla="*/ 2197069 h 6858000"/>
              <a:gd name="connsiteX574" fmla="*/ 5798671 w 7467600"/>
              <a:gd name="connsiteY574" fmla="*/ 1981601 h 6858000"/>
              <a:gd name="connsiteX575" fmla="*/ 5829202 w 7467600"/>
              <a:gd name="connsiteY575" fmla="*/ 1971679 h 6858000"/>
              <a:gd name="connsiteX576" fmla="*/ 5809558 w 7467600"/>
              <a:gd name="connsiteY576" fmla="*/ 2198043 h 6858000"/>
              <a:gd name="connsiteX577" fmla="*/ 5788653 w 7467600"/>
              <a:gd name="connsiteY577" fmla="*/ 2489430 h 6858000"/>
              <a:gd name="connsiteX578" fmla="*/ 5793439 w 7467600"/>
              <a:gd name="connsiteY578" fmla="*/ 2575235 h 6858000"/>
              <a:gd name="connsiteX579" fmla="*/ 5796837 w 7467600"/>
              <a:gd name="connsiteY579" fmla="*/ 2637633 h 6858000"/>
              <a:gd name="connsiteX580" fmla="*/ 5818614 w 7467600"/>
              <a:gd name="connsiteY580" fmla="*/ 2473055 h 6858000"/>
              <a:gd name="connsiteX581" fmla="*/ 5829202 w 7467600"/>
              <a:gd name="connsiteY581" fmla="*/ 1971679 h 6858000"/>
              <a:gd name="connsiteX582" fmla="*/ 5911389 w 7467600"/>
              <a:gd name="connsiteY582" fmla="*/ 1898371 h 6858000"/>
              <a:gd name="connsiteX583" fmla="*/ 6237627 w 7467600"/>
              <a:gd name="connsiteY583" fmla="*/ 2231921 h 6858000"/>
              <a:gd name="connsiteX584" fmla="*/ 5911389 w 7467600"/>
              <a:gd name="connsiteY584" fmla="*/ 1898371 h 6858000"/>
              <a:gd name="connsiteX585" fmla="*/ 6944437 w 7467600"/>
              <a:gd name="connsiteY585" fmla="*/ 1575402 h 6858000"/>
              <a:gd name="connsiteX586" fmla="*/ 6304730 w 7467600"/>
              <a:gd name="connsiteY586" fmla="*/ 1766654 h 6858000"/>
              <a:gd name="connsiteX587" fmla="*/ 6944437 w 7467600"/>
              <a:gd name="connsiteY587" fmla="*/ 1575402 h 6858000"/>
              <a:gd name="connsiteX588" fmla="*/ 7019523 w 7467600"/>
              <a:gd name="connsiteY588" fmla="*/ 1519450 h 6858000"/>
              <a:gd name="connsiteX589" fmla="*/ 6298091 w 7467600"/>
              <a:gd name="connsiteY589" fmla="*/ 1737122 h 6858000"/>
              <a:gd name="connsiteX590" fmla="*/ 7019523 w 7467600"/>
              <a:gd name="connsiteY590" fmla="*/ 1519450 h 6858000"/>
              <a:gd name="connsiteX591" fmla="*/ 2399523 w 7467600"/>
              <a:gd name="connsiteY591" fmla="*/ 1428234 h 6858000"/>
              <a:gd name="connsiteX592" fmla="*/ 2224982 w 7467600"/>
              <a:gd name="connsiteY592" fmla="*/ 1826201 h 6858000"/>
              <a:gd name="connsiteX593" fmla="*/ 2096099 w 7467600"/>
              <a:gd name="connsiteY593" fmla="*/ 2345900 h 6858000"/>
              <a:gd name="connsiteX594" fmla="*/ 2283317 w 7467600"/>
              <a:gd name="connsiteY594" fmla="*/ 1796925 h 6858000"/>
              <a:gd name="connsiteX595" fmla="*/ 2399523 w 7467600"/>
              <a:gd name="connsiteY595" fmla="*/ 1428234 h 6858000"/>
              <a:gd name="connsiteX596" fmla="*/ 2448558 w 7467600"/>
              <a:gd name="connsiteY596" fmla="*/ 1373435 h 6858000"/>
              <a:gd name="connsiteX597" fmla="*/ 2312521 w 7467600"/>
              <a:gd name="connsiteY597" fmla="*/ 1806140 h 6858000"/>
              <a:gd name="connsiteX598" fmla="*/ 2127533 w 7467600"/>
              <a:gd name="connsiteY598" fmla="*/ 2348380 h 6858000"/>
              <a:gd name="connsiteX599" fmla="*/ 2358080 w 7467600"/>
              <a:gd name="connsiteY599" fmla="*/ 1866134 h 6858000"/>
              <a:gd name="connsiteX600" fmla="*/ 2407436 w 7467600"/>
              <a:gd name="connsiteY600" fmla="*/ 1651070 h 6858000"/>
              <a:gd name="connsiteX601" fmla="*/ 2448558 w 7467600"/>
              <a:gd name="connsiteY601" fmla="*/ 1373435 h 6858000"/>
              <a:gd name="connsiteX602" fmla="*/ 278707 w 7467600"/>
              <a:gd name="connsiteY602" fmla="*/ 1352270 h 6858000"/>
              <a:gd name="connsiteX603" fmla="*/ 321570 w 7467600"/>
              <a:gd name="connsiteY603" fmla="*/ 1861610 h 6858000"/>
              <a:gd name="connsiteX604" fmla="*/ 294281 w 7467600"/>
              <a:gd name="connsiteY604" fmla="*/ 1440658 h 6858000"/>
              <a:gd name="connsiteX605" fmla="*/ 278707 w 7467600"/>
              <a:gd name="connsiteY605" fmla="*/ 1352270 h 6858000"/>
              <a:gd name="connsiteX606" fmla="*/ 1423821 w 7467600"/>
              <a:gd name="connsiteY606" fmla="*/ 1351958 h 6858000"/>
              <a:gd name="connsiteX607" fmla="*/ 1638521 w 7467600"/>
              <a:gd name="connsiteY607" fmla="*/ 1908470 h 6858000"/>
              <a:gd name="connsiteX608" fmla="*/ 1754199 w 7467600"/>
              <a:gd name="connsiteY608" fmla="*/ 2149284 h 6858000"/>
              <a:gd name="connsiteX609" fmla="*/ 1908359 w 7467600"/>
              <a:gd name="connsiteY609" fmla="*/ 2364988 h 6858000"/>
              <a:gd name="connsiteX610" fmla="*/ 1647661 w 7467600"/>
              <a:gd name="connsiteY610" fmla="*/ 1825945 h 6858000"/>
              <a:gd name="connsiteX611" fmla="*/ 1423821 w 7467600"/>
              <a:gd name="connsiteY611" fmla="*/ 1351958 h 6858000"/>
              <a:gd name="connsiteX612" fmla="*/ 1431890 w 7467600"/>
              <a:gd name="connsiteY612" fmla="*/ 1306475 h 6858000"/>
              <a:gd name="connsiteX613" fmla="*/ 1507597 w 7467600"/>
              <a:gd name="connsiteY613" fmla="*/ 1446132 h 6858000"/>
              <a:gd name="connsiteX614" fmla="*/ 1674586 w 7467600"/>
              <a:gd name="connsiteY614" fmla="*/ 1813832 h 6858000"/>
              <a:gd name="connsiteX615" fmla="*/ 1815950 w 7467600"/>
              <a:gd name="connsiteY615" fmla="*/ 2128564 h 6858000"/>
              <a:gd name="connsiteX616" fmla="*/ 1984242 w 7467600"/>
              <a:gd name="connsiteY616" fmla="*/ 2430829 h 6858000"/>
              <a:gd name="connsiteX617" fmla="*/ 2014023 w 7467600"/>
              <a:gd name="connsiteY617" fmla="*/ 2450995 h 6858000"/>
              <a:gd name="connsiteX618" fmla="*/ 1747337 w 7467600"/>
              <a:gd name="connsiteY618" fmla="*/ 1855264 h 6858000"/>
              <a:gd name="connsiteX619" fmla="*/ 1533749 w 7467600"/>
              <a:gd name="connsiteY619" fmla="*/ 1478656 h 6858000"/>
              <a:gd name="connsiteX620" fmla="*/ 1431890 w 7467600"/>
              <a:gd name="connsiteY620" fmla="*/ 1306475 h 6858000"/>
              <a:gd name="connsiteX621" fmla="*/ 5052692 w 7467600"/>
              <a:gd name="connsiteY621" fmla="*/ 1292994 h 6858000"/>
              <a:gd name="connsiteX622" fmla="*/ 5200661 w 7467600"/>
              <a:gd name="connsiteY622" fmla="*/ 1635186 h 6858000"/>
              <a:gd name="connsiteX623" fmla="*/ 5297138 w 7467600"/>
              <a:gd name="connsiteY623" fmla="*/ 1906351 h 6858000"/>
              <a:gd name="connsiteX624" fmla="*/ 5052692 w 7467600"/>
              <a:gd name="connsiteY624" fmla="*/ 1292994 h 6858000"/>
              <a:gd name="connsiteX625" fmla="*/ 5009948 w 7467600"/>
              <a:gd name="connsiteY625" fmla="*/ 1273619 h 6858000"/>
              <a:gd name="connsiteX626" fmla="*/ 5121777 w 7467600"/>
              <a:gd name="connsiteY626" fmla="*/ 1654213 h 6858000"/>
              <a:gd name="connsiteX627" fmla="*/ 5293545 w 7467600"/>
              <a:gd name="connsiteY627" fmla="*/ 2072247 h 6858000"/>
              <a:gd name="connsiteX628" fmla="*/ 5294042 w 7467600"/>
              <a:gd name="connsiteY628" fmla="*/ 2065019 h 6858000"/>
              <a:gd name="connsiteX629" fmla="*/ 5171936 w 7467600"/>
              <a:gd name="connsiteY629" fmla="*/ 1647613 h 6858000"/>
              <a:gd name="connsiteX630" fmla="*/ 5009948 w 7467600"/>
              <a:gd name="connsiteY630" fmla="*/ 1273619 h 6858000"/>
              <a:gd name="connsiteX631" fmla="*/ 655236 w 7467600"/>
              <a:gd name="connsiteY631" fmla="*/ 1268632 h 6858000"/>
              <a:gd name="connsiteX632" fmla="*/ 839521 w 7467600"/>
              <a:gd name="connsiteY632" fmla="*/ 1685315 h 6858000"/>
              <a:gd name="connsiteX633" fmla="*/ 1109416 w 7467600"/>
              <a:gd name="connsiteY633" fmla="*/ 2061663 h 6858000"/>
              <a:gd name="connsiteX634" fmla="*/ 1298300 w 7467600"/>
              <a:gd name="connsiteY634" fmla="*/ 2247742 h 6858000"/>
              <a:gd name="connsiteX635" fmla="*/ 1125871 w 7467600"/>
              <a:gd name="connsiteY635" fmla="*/ 1989513 h 6858000"/>
              <a:gd name="connsiteX636" fmla="*/ 981574 w 7467600"/>
              <a:gd name="connsiteY636" fmla="*/ 1783157 h 6858000"/>
              <a:gd name="connsiteX637" fmla="*/ 922198 w 7467600"/>
              <a:gd name="connsiteY637" fmla="*/ 1677437 h 6858000"/>
              <a:gd name="connsiteX638" fmla="*/ 869293 w 7467600"/>
              <a:gd name="connsiteY638" fmla="*/ 1583214 h 6858000"/>
              <a:gd name="connsiteX639" fmla="*/ 751431 w 7467600"/>
              <a:gd name="connsiteY639" fmla="*/ 1405731 h 6858000"/>
              <a:gd name="connsiteX640" fmla="*/ 655236 w 7467600"/>
              <a:gd name="connsiteY640" fmla="*/ 1268632 h 6858000"/>
              <a:gd name="connsiteX641" fmla="*/ 6516292 w 7467600"/>
              <a:gd name="connsiteY641" fmla="*/ 1263064 h 6858000"/>
              <a:gd name="connsiteX642" fmla="*/ 5736320 w 7467600"/>
              <a:gd name="connsiteY642" fmla="*/ 1501803 h 6858000"/>
              <a:gd name="connsiteX643" fmla="*/ 6516292 w 7467600"/>
              <a:gd name="connsiteY643" fmla="*/ 1263064 h 6858000"/>
              <a:gd name="connsiteX644" fmla="*/ 291466 w 7467600"/>
              <a:gd name="connsiteY644" fmla="*/ 1250369 h 6858000"/>
              <a:gd name="connsiteX645" fmla="*/ 323180 w 7467600"/>
              <a:gd name="connsiteY645" fmla="*/ 1435283 h 6858000"/>
              <a:gd name="connsiteX646" fmla="*/ 349381 w 7467600"/>
              <a:gd name="connsiteY646" fmla="*/ 1875041 h 6858000"/>
              <a:gd name="connsiteX647" fmla="*/ 374363 w 7467600"/>
              <a:gd name="connsiteY647" fmla="*/ 1506494 h 6858000"/>
              <a:gd name="connsiteX648" fmla="*/ 302168 w 7467600"/>
              <a:gd name="connsiteY648" fmla="*/ 1274495 h 6858000"/>
              <a:gd name="connsiteX649" fmla="*/ 291466 w 7467600"/>
              <a:gd name="connsiteY649" fmla="*/ 1250369 h 6858000"/>
              <a:gd name="connsiteX650" fmla="*/ 678222 w 7467600"/>
              <a:gd name="connsiteY650" fmla="*/ 1248670 h 6858000"/>
              <a:gd name="connsiteX651" fmla="*/ 775536 w 7467600"/>
              <a:gd name="connsiteY651" fmla="*/ 1388015 h 6858000"/>
              <a:gd name="connsiteX652" fmla="*/ 894529 w 7467600"/>
              <a:gd name="connsiteY652" fmla="*/ 1567739 h 6858000"/>
              <a:gd name="connsiteX653" fmla="*/ 948000 w 7467600"/>
              <a:gd name="connsiteY653" fmla="*/ 1663088 h 6858000"/>
              <a:gd name="connsiteX654" fmla="*/ 1006812 w 7467600"/>
              <a:gd name="connsiteY654" fmla="*/ 1767683 h 6858000"/>
              <a:gd name="connsiteX655" fmla="*/ 1149133 w 7467600"/>
              <a:gd name="connsiteY655" fmla="*/ 1971513 h 6858000"/>
              <a:gd name="connsiteX656" fmla="*/ 1333952 w 7467600"/>
              <a:gd name="connsiteY656" fmla="*/ 2251620 h 6858000"/>
              <a:gd name="connsiteX657" fmla="*/ 1337329 w 7467600"/>
              <a:gd name="connsiteY657" fmla="*/ 2258350 h 6858000"/>
              <a:gd name="connsiteX658" fmla="*/ 1014726 w 7467600"/>
              <a:gd name="connsiteY658" fmla="*/ 1615556 h 6858000"/>
              <a:gd name="connsiteX659" fmla="*/ 678222 w 7467600"/>
              <a:gd name="connsiteY659" fmla="*/ 1248670 h 6858000"/>
              <a:gd name="connsiteX660" fmla="*/ 6691602 w 7467600"/>
              <a:gd name="connsiteY660" fmla="*/ 1140573 h 6858000"/>
              <a:gd name="connsiteX661" fmla="*/ 6571100 w 7467600"/>
              <a:gd name="connsiteY661" fmla="*/ 1183662 h 6858000"/>
              <a:gd name="connsiteX662" fmla="*/ 6241687 w 7467600"/>
              <a:gd name="connsiteY662" fmla="*/ 1257600 h 6858000"/>
              <a:gd name="connsiteX663" fmla="*/ 5693009 w 7467600"/>
              <a:gd name="connsiteY663" fmla="*/ 1478256 h 6858000"/>
              <a:gd name="connsiteX664" fmla="*/ 6548420 w 7467600"/>
              <a:gd name="connsiteY664" fmla="*/ 1214599 h 6858000"/>
              <a:gd name="connsiteX665" fmla="*/ 6605473 w 7467600"/>
              <a:gd name="connsiteY665" fmla="*/ 1184686 h 6858000"/>
              <a:gd name="connsiteX666" fmla="*/ 6691602 w 7467600"/>
              <a:gd name="connsiteY666" fmla="*/ 1140573 h 6858000"/>
              <a:gd name="connsiteX667" fmla="*/ 4002475 w 7467600"/>
              <a:gd name="connsiteY667" fmla="*/ 1037802 h 6858000"/>
              <a:gd name="connsiteX668" fmla="*/ 4000324 w 7467600"/>
              <a:gd name="connsiteY668" fmla="*/ 1039362 h 6858000"/>
              <a:gd name="connsiteX669" fmla="*/ 4002862 w 7467600"/>
              <a:gd name="connsiteY669" fmla="*/ 1042866 h 6858000"/>
              <a:gd name="connsiteX670" fmla="*/ 4002475 w 7467600"/>
              <a:gd name="connsiteY670" fmla="*/ 1037802 h 6858000"/>
              <a:gd name="connsiteX671" fmla="*/ 506322 w 7467600"/>
              <a:gd name="connsiteY671" fmla="*/ 1020997 h 6858000"/>
              <a:gd name="connsiteX672" fmla="*/ 533068 w 7467600"/>
              <a:gd name="connsiteY672" fmla="*/ 1029409 h 6858000"/>
              <a:gd name="connsiteX673" fmla="*/ 1232525 w 7467600"/>
              <a:gd name="connsiteY673" fmla="*/ 1804675 h 6858000"/>
              <a:gd name="connsiteX674" fmla="*/ 1388858 w 7467600"/>
              <a:gd name="connsiteY674" fmla="*/ 2368011 h 6858000"/>
              <a:gd name="connsiteX675" fmla="*/ 1384098 w 7467600"/>
              <a:gd name="connsiteY675" fmla="*/ 2378125 h 6858000"/>
              <a:gd name="connsiteX676" fmla="*/ 1425393 w 7467600"/>
              <a:gd name="connsiteY676" fmla="*/ 2589124 h 6858000"/>
              <a:gd name="connsiteX677" fmla="*/ 1424001 w 7467600"/>
              <a:gd name="connsiteY677" fmla="*/ 2597541 h 6858000"/>
              <a:gd name="connsiteX678" fmla="*/ 2152729 w 7467600"/>
              <a:gd name="connsiteY678" fmla="*/ 2864487 h 6858000"/>
              <a:gd name="connsiteX679" fmla="*/ 2020609 w 7467600"/>
              <a:gd name="connsiteY679" fmla="*/ 2539671 h 6858000"/>
              <a:gd name="connsiteX680" fmla="*/ 2018920 w 7467600"/>
              <a:gd name="connsiteY680" fmla="*/ 2536309 h 6858000"/>
              <a:gd name="connsiteX681" fmla="*/ 1342441 w 7467600"/>
              <a:gd name="connsiteY681" fmla="*/ 1173017 h 6858000"/>
              <a:gd name="connsiteX682" fmla="*/ 1367925 w 7467600"/>
              <a:gd name="connsiteY682" fmla="*/ 1135648 h 6858000"/>
              <a:gd name="connsiteX683" fmla="*/ 1771401 w 7467600"/>
              <a:gd name="connsiteY683" fmla="*/ 1806673 h 6858000"/>
              <a:gd name="connsiteX684" fmla="*/ 1972385 w 7467600"/>
              <a:gd name="connsiteY684" fmla="*/ 2198735 h 6858000"/>
              <a:gd name="connsiteX685" fmla="*/ 2040892 w 7467600"/>
              <a:gd name="connsiteY685" fmla="*/ 2405205 h 6858000"/>
              <a:gd name="connsiteX686" fmla="*/ 2131689 w 7467600"/>
              <a:gd name="connsiteY686" fmla="*/ 1936926 h 6858000"/>
              <a:gd name="connsiteX687" fmla="*/ 2454820 w 7467600"/>
              <a:gd name="connsiteY687" fmla="*/ 1248808 h 6858000"/>
              <a:gd name="connsiteX688" fmla="*/ 2492512 w 7467600"/>
              <a:gd name="connsiteY688" fmla="*/ 1302920 h 6858000"/>
              <a:gd name="connsiteX689" fmla="*/ 2081216 w 7467600"/>
              <a:gd name="connsiteY689" fmla="*/ 2527513 h 6858000"/>
              <a:gd name="connsiteX690" fmla="*/ 2081211 w 7467600"/>
              <a:gd name="connsiteY690" fmla="*/ 2528916 h 6858000"/>
              <a:gd name="connsiteX691" fmla="*/ 2199067 w 7467600"/>
              <a:gd name="connsiteY691" fmla="*/ 2884061 h 6858000"/>
              <a:gd name="connsiteX692" fmla="*/ 3192586 w 7467600"/>
              <a:gd name="connsiteY692" fmla="*/ 3411496 h 6858000"/>
              <a:gd name="connsiteX693" fmla="*/ 3182620 w 7467600"/>
              <a:gd name="connsiteY693" fmla="*/ 3483279 h 6858000"/>
              <a:gd name="connsiteX694" fmla="*/ 2435119 w 7467600"/>
              <a:gd name="connsiteY694" fmla="*/ 3080173 h 6858000"/>
              <a:gd name="connsiteX695" fmla="*/ 2410152 w 7467600"/>
              <a:gd name="connsiteY695" fmla="*/ 3063751 h 6858000"/>
              <a:gd name="connsiteX696" fmla="*/ 2408099 w 7467600"/>
              <a:gd name="connsiteY696" fmla="*/ 3064403 h 6858000"/>
              <a:gd name="connsiteX697" fmla="*/ 2407218 w 7467600"/>
              <a:gd name="connsiteY697" fmla="*/ 3070324 h 6858000"/>
              <a:gd name="connsiteX698" fmla="*/ 2380138 w 7467600"/>
              <a:gd name="connsiteY698" fmla="*/ 3099341 h 6858000"/>
              <a:gd name="connsiteX699" fmla="*/ 1765923 w 7467600"/>
              <a:gd name="connsiteY699" fmla="*/ 3581043 h 6858000"/>
              <a:gd name="connsiteX700" fmla="*/ 1702258 w 7467600"/>
              <a:gd name="connsiteY700" fmla="*/ 3612286 h 6858000"/>
              <a:gd name="connsiteX701" fmla="*/ 1538370 w 7467600"/>
              <a:gd name="connsiteY701" fmla="*/ 3811804 h 6858000"/>
              <a:gd name="connsiteX702" fmla="*/ 542867 w 7467600"/>
              <a:gd name="connsiteY702" fmla="*/ 4944092 h 6858000"/>
              <a:gd name="connsiteX703" fmla="*/ 515800 w 7467600"/>
              <a:gd name="connsiteY703" fmla="*/ 4862180 h 6858000"/>
              <a:gd name="connsiteX704" fmla="*/ 909145 w 7467600"/>
              <a:gd name="connsiteY704" fmla="*/ 4199225 h 6858000"/>
              <a:gd name="connsiteX705" fmla="*/ 1214067 w 7467600"/>
              <a:gd name="connsiteY705" fmla="*/ 3908561 h 6858000"/>
              <a:gd name="connsiteX706" fmla="*/ 640967 w 7467600"/>
              <a:gd name="connsiteY706" fmla="*/ 4105601 h 6858000"/>
              <a:gd name="connsiteX707" fmla="*/ 112563 w 7467600"/>
              <a:gd name="connsiteY707" fmla="*/ 4396952 h 6858000"/>
              <a:gd name="connsiteX708" fmla="*/ 0 w 7467600"/>
              <a:gd name="connsiteY708" fmla="*/ 4466006 h 6858000"/>
              <a:gd name="connsiteX709" fmla="*/ 0 w 7467600"/>
              <a:gd name="connsiteY709" fmla="*/ 4233763 h 6858000"/>
              <a:gd name="connsiteX710" fmla="*/ 36881 w 7467600"/>
              <a:gd name="connsiteY710" fmla="*/ 4200118 h 6858000"/>
              <a:gd name="connsiteX711" fmla="*/ 910534 w 7467600"/>
              <a:gd name="connsiteY711" fmla="*/ 3629753 h 6858000"/>
              <a:gd name="connsiteX712" fmla="*/ 1578717 w 7467600"/>
              <a:gd name="connsiteY712" fmla="*/ 3575982 h 6858000"/>
              <a:gd name="connsiteX713" fmla="*/ 2338780 w 7467600"/>
              <a:gd name="connsiteY713" fmla="*/ 3033725 h 6858000"/>
              <a:gd name="connsiteX714" fmla="*/ 1807991 w 7467600"/>
              <a:gd name="connsiteY714" fmla="*/ 2807184 h 6858000"/>
              <a:gd name="connsiteX715" fmla="*/ 1416358 w 7467600"/>
              <a:gd name="connsiteY715" fmla="*/ 3112571 h 6858000"/>
              <a:gd name="connsiteX716" fmla="*/ 939066 w 7467600"/>
              <a:gd name="connsiteY716" fmla="*/ 3378798 h 6858000"/>
              <a:gd name="connsiteX717" fmla="*/ 115099 w 7467600"/>
              <a:gd name="connsiteY717" fmla="*/ 3607650 h 6858000"/>
              <a:gd name="connsiteX718" fmla="*/ 97284 w 7467600"/>
              <a:gd name="connsiteY718" fmla="*/ 3520393 h 6858000"/>
              <a:gd name="connsiteX719" fmla="*/ 922050 w 7467600"/>
              <a:gd name="connsiteY719" fmla="*/ 3074867 h 6858000"/>
              <a:gd name="connsiteX720" fmla="*/ 1405265 w 7467600"/>
              <a:gd name="connsiteY720" fmla="*/ 3016319 h 6858000"/>
              <a:gd name="connsiteX721" fmla="*/ 1407512 w 7467600"/>
              <a:gd name="connsiteY721" fmla="*/ 3018001 h 6858000"/>
              <a:gd name="connsiteX722" fmla="*/ 1726266 w 7467600"/>
              <a:gd name="connsiteY722" fmla="*/ 2777274 h 6858000"/>
              <a:gd name="connsiteX723" fmla="*/ 625390 w 7467600"/>
              <a:gd name="connsiteY723" fmla="*/ 2514541 h 6858000"/>
              <a:gd name="connsiteX724" fmla="*/ 619799 w 7467600"/>
              <a:gd name="connsiteY724" fmla="*/ 2527180 h 6858000"/>
              <a:gd name="connsiteX725" fmla="*/ 310030 w 7467600"/>
              <a:gd name="connsiteY725" fmla="*/ 2771818 h 6858000"/>
              <a:gd name="connsiteX726" fmla="*/ 173877 w 7467600"/>
              <a:gd name="connsiteY726" fmla="*/ 2937056 h 6858000"/>
              <a:gd name="connsiteX727" fmla="*/ 77889 w 7467600"/>
              <a:gd name="connsiteY727" fmla="*/ 3138440 h 6858000"/>
              <a:gd name="connsiteX728" fmla="*/ 0 w 7467600"/>
              <a:gd name="connsiteY728" fmla="*/ 3271395 h 6858000"/>
              <a:gd name="connsiteX729" fmla="*/ 0 w 7467600"/>
              <a:gd name="connsiteY729" fmla="*/ 3153002 h 6858000"/>
              <a:gd name="connsiteX730" fmla="*/ 2386 w 7467600"/>
              <a:gd name="connsiteY730" fmla="*/ 3149203 h 6858000"/>
              <a:gd name="connsiteX731" fmla="*/ 89753 w 7467600"/>
              <a:gd name="connsiteY731" fmla="*/ 2987702 h 6858000"/>
              <a:gd name="connsiteX732" fmla="*/ 76869 w 7467600"/>
              <a:gd name="connsiteY732" fmla="*/ 3005404 h 6858000"/>
              <a:gd name="connsiteX733" fmla="*/ 32049 w 7467600"/>
              <a:gd name="connsiteY733" fmla="*/ 3065814 h 6858000"/>
              <a:gd name="connsiteX734" fmla="*/ 0 w 7467600"/>
              <a:gd name="connsiteY734" fmla="*/ 3108744 h 6858000"/>
              <a:gd name="connsiteX735" fmla="*/ 0 w 7467600"/>
              <a:gd name="connsiteY735" fmla="*/ 3058059 h 6858000"/>
              <a:gd name="connsiteX736" fmla="*/ 7610 w 7467600"/>
              <a:gd name="connsiteY736" fmla="*/ 3047889 h 6858000"/>
              <a:gd name="connsiteX737" fmla="*/ 52419 w 7467600"/>
              <a:gd name="connsiteY737" fmla="*/ 2987479 h 6858000"/>
              <a:gd name="connsiteX738" fmla="*/ 59142 w 7467600"/>
              <a:gd name="connsiteY738" fmla="*/ 2978488 h 6858000"/>
              <a:gd name="connsiteX739" fmla="*/ 0 w 7467600"/>
              <a:gd name="connsiteY739" fmla="*/ 3015334 h 6858000"/>
              <a:gd name="connsiteX740" fmla="*/ 0 w 7467600"/>
              <a:gd name="connsiteY740" fmla="*/ 2914286 h 6858000"/>
              <a:gd name="connsiteX741" fmla="*/ 36383 w 7467600"/>
              <a:gd name="connsiteY741" fmla="*/ 2901128 h 6858000"/>
              <a:gd name="connsiteX742" fmla="*/ 156329 w 7467600"/>
              <a:gd name="connsiteY742" fmla="*/ 2840533 h 6858000"/>
              <a:gd name="connsiteX743" fmla="*/ 358355 w 7467600"/>
              <a:gd name="connsiteY743" fmla="*/ 2620471 h 6858000"/>
              <a:gd name="connsiteX744" fmla="*/ 510577 w 7467600"/>
              <a:gd name="connsiteY744" fmla="*/ 2501244 h 6858000"/>
              <a:gd name="connsiteX745" fmla="*/ 211967 w 7467600"/>
              <a:gd name="connsiteY745" fmla="*/ 2479171 h 6858000"/>
              <a:gd name="connsiteX746" fmla="*/ 0 w 7467600"/>
              <a:gd name="connsiteY746" fmla="*/ 2476398 h 6858000"/>
              <a:gd name="connsiteX747" fmla="*/ 0 w 7467600"/>
              <a:gd name="connsiteY747" fmla="*/ 2389189 h 6858000"/>
              <a:gd name="connsiteX748" fmla="*/ 103062 w 7467600"/>
              <a:gd name="connsiteY748" fmla="*/ 2389518 h 6858000"/>
              <a:gd name="connsiteX749" fmla="*/ 510734 w 7467600"/>
              <a:gd name="connsiteY749" fmla="*/ 2416201 h 6858000"/>
              <a:gd name="connsiteX750" fmla="*/ 279257 w 7467600"/>
              <a:gd name="connsiteY750" fmla="*/ 2092102 h 6858000"/>
              <a:gd name="connsiteX751" fmla="*/ 65265 w 7467600"/>
              <a:gd name="connsiteY751" fmla="*/ 2006049 h 6858000"/>
              <a:gd name="connsiteX752" fmla="*/ 0 w 7467600"/>
              <a:gd name="connsiteY752" fmla="*/ 1982532 h 6858000"/>
              <a:gd name="connsiteX753" fmla="*/ 0 w 7467600"/>
              <a:gd name="connsiteY753" fmla="*/ 1912789 h 6858000"/>
              <a:gd name="connsiteX754" fmla="*/ 97460 w 7467600"/>
              <a:gd name="connsiteY754" fmla="*/ 1953725 h 6858000"/>
              <a:gd name="connsiteX755" fmla="*/ 221272 w 7467600"/>
              <a:gd name="connsiteY755" fmla="*/ 1980766 h 6858000"/>
              <a:gd name="connsiteX756" fmla="*/ 116765 w 7467600"/>
              <a:gd name="connsiteY756" fmla="*/ 1911033 h 6858000"/>
              <a:gd name="connsiteX757" fmla="*/ 16405 w 7467600"/>
              <a:gd name="connsiteY757" fmla="*/ 1803412 h 6858000"/>
              <a:gd name="connsiteX758" fmla="*/ 0 w 7467600"/>
              <a:gd name="connsiteY758" fmla="*/ 1784777 h 6858000"/>
              <a:gd name="connsiteX759" fmla="*/ 0 w 7467600"/>
              <a:gd name="connsiteY759" fmla="*/ 1740082 h 6858000"/>
              <a:gd name="connsiteX760" fmla="*/ 39394 w 7467600"/>
              <a:gd name="connsiteY760" fmla="*/ 1784856 h 6858000"/>
              <a:gd name="connsiteX761" fmla="*/ 135813 w 7467600"/>
              <a:gd name="connsiteY761" fmla="*/ 1888838 h 6858000"/>
              <a:gd name="connsiteX762" fmla="*/ 242575 w 7467600"/>
              <a:gd name="connsiteY762" fmla="*/ 1958841 h 6858000"/>
              <a:gd name="connsiteX763" fmla="*/ 82197 w 7467600"/>
              <a:gd name="connsiteY763" fmla="*/ 1754826 h 6858000"/>
              <a:gd name="connsiteX764" fmla="*/ 0 w 7467600"/>
              <a:gd name="connsiteY764" fmla="*/ 1679650 h 6858000"/>
              <a:gd name="connsiteX765" fmla="*/ 0 w 7467600"/>
              <a:gd name="connsiteY765" fmla="*/ 1602463 h 6858000"/>
              <a:gd name="connsiteX766" fmla="*/ 84689 w 7467600"/>
              <a:gd name="connsiteY766" fmla="*/ 1677442 h 6858000"/>
              <a:gd name="connsiteX767" fmla="*/ 298437 w 7467600"/>
              <a:gd name="connsiteY767" fmla="*/ 1968019 h 6858000"/>
              <a:gd name="connsiteX768" fmla="*/ 227269 w 7467600"/>
              <a:gd name="connsiteY768" fmla="*/ 1114064 h 6858000"/>
              <a:gd name="connsiteX769" fmla="*/ 248003 w 7467600"/>
              <a:gd name="connsiteY769" fmla="*/ 1089613 h 6858000"/>
              <a:gd name="connsiteX770" fmla="*/ 427020 w 7467600"/>
              <a:gd name="connsiteY770" fmla="*/ 1619803 h 6858000"/>
              <a:gd name="connsiteX771" fmla="*/ 340345 w 7467600"/>
              <a:gd name="connsiteY771" fmla="*/ 2027739 h 6858000"/>
              <a:gd name="connsiteX772" fmla="*/ 360865 w 7467600"/>
              <a:gd name="connsiteY772" fmla="*/ 2044827 h 6858000"/>
              <a:gd name="connsiteX773" fmla="*/ 560414 w 7467600"/>
              <a:gd name="connsiteY773" fmla="*/ 2421457 h 6858000"/>
              <a:gd name="connsiteX774" fmla="*/ 1359703 w 7467600"/>
              <a:gd name="connsiteY774" fmla="*/ 2578554 h 6858000"/>
              <a:gd name="connsiteX775" fmla="*/ 1359422 w 7467600"/>
              <a:gd name="connsiteY775" fmla="*/ 2577994 h 6858000"/>
              <a:gd name="connsiteX776" fmla="*/ 828701 w 7467600"/>
              <a:gd name="connsiteY776" fmla="*/ 1839520 h 6858000"/>
              <a:gd name="connsiteX777" fmla="*/ 494427 w 7467600"/>
              <a:gd name="connsiteY777" fmla="*/ 1092333 h 6858000"/>
              <a:gd name="connsiteX778" fmla="*/ 506322 w 7467600"/>
              <a:gd name="connsiteY778" fmla="*/ 1020997 h 6858000"/>
              <a:gd name="connsiteX779" fmla="*/ 4570198 w 7467600"/>
              <a:gd name="connsiteY779" fmla="*/ 978081 h 6858000"/>
              <a:gd name="connsiteX780" fmla="*/ 4523691 w 7467600"/>
              <a:gd name="connsiteY780" fmla="*/ 1127776 h 6858000"/>
              <a:gd name="connsiteX781" fmla="*/ 4509875 w 7467600"/>
              <a:gd name="connsiteY781" fmla="*/ 1167552 h 6858000"/>
              <a:gd name="connsiteX782" fmla="*/ 4478168 w 7467600"/>
              <a:gd name="connsiteY782" fmla="*/ 1260735 h 6858000"/>
              <a:gd name="connsiteX783" fmla="*/ 4409309 w 7467600"/>
              <a:gd name="connsiteY783" fmla="*/ 1666996 h 6858000"/>
              <a:gd name="connsiteX784" fmla="*/ 4370031 w 7467600"/>
              <a:gd name="connsiteY784" fmla="*/ 1955666 h 6858000"/>
              <a:gd name="connsiteX785" fmla="*/ 4570198 w 7467600"/>
              <a:gd name="connsiteY785" fmla="*/ 978081 h 6858000"/>
              <a:gd name="connsiteX786" fmla="*/ 4557898 w 7467600"/>
              <a:gd name="connsiteY786" fmla="*/ 900011 h 6858000"/>
              <a:gd name="connsiteX787" fmla="*/ 4344840 w 7467600"/>
              <a:gd name="connsiteY787" fmla="*/ 1922038 h 6858000"/>
              <a:gd name="connsiteX788" fmla="*/ 4378710 w 7467600"/>
              <a:gd name="connsiteY788" fmla="*/ 1665516 h 6858000"/>
              <a:gd name="connsiteX789" fmla="*/ 4448798 w 7467600"/>
              <a:gd name="connsiteY789" fmla="*/ 1253024 h 6858000"/>
              <a:gd name="connsiteX790" fmla="*/ 4480315 w 7467600"/>
              <a:gd name="connsiteY790" fmla="*/ 1158454 h 6858000"/>
              <a:gd name="connsiteX791" fmla="*/ 4494133 w 7467600"/>
              <a:gd name="connsiteY791" fmla="*/ 1118676 h 6858000"/>
              <a:gd name="connsiteX792" fmla="*/ 4557898 w 7467600"/>
              <a:gd name="connsiteY792" fmla="*/ 900011 h 6858000"/>
              <a:gd name="connsiteX793" fmla="*/ 5870151 w 7467600"/>
              <a:gd name="connsiteY793" fmla="*/ 898890 h 6858000"/>
              <a:gd name="connsiteX794" fmla="*/ 5861335 w 7467600"/>
              <a:gd name="connsiteY794" fmla="*/ 899177 h 6858000"/>
              <a:gd name="connsiteX795" fmla="*/ 5843702 w 7467600"/>
              <a:gd name="connsiteY795" fmla="*/ 899748 h 6858000"/>
              <a:gd name="connsiteX796" fmla="*/ 5651107 w 7467600"/>
              <a:gd name="connsiteY796" fmla="*/ 920306 h 6858000"/>
              <a:gd name="connsiteX797" fmla="*/ 5459407 w 7467600"/>
              <a:gd name="connsiteY797" fmla="*/ 940975 h 6858000"/>
              <a:gd name="connsiteX798" fmla="*/ 5374846 w 7467600"/>
              <a:gd name="connsiteY798" fmla="*/ 941988 h 6858000"/>
              <a:gd name="connsiteX799" fmla="*/ 5256105 w 7467600"/>
              <a:gd name="connsiteY799" fmla="*/ 945632 h 6858000"/>
              <a:gd name="connsiteX800" fmla="*/ 5107071 w 7467600"/>
              <a:gd name="connsiteY800" fmla="*/ 969720 h 6858000"/>
              <a:gd name="connsiteX801" fmla="*/ 4998681 w 7467600"/>
              <a:gd name="connsiteY801" fmla="*/ 988771 h 6858000"/>
              <a:gd name="connsiteX802" fmla="*/ 5870151 w 7467600"/>
              <a:gd name="connsiteY802" fmla="*/ 898890 h 6858000"/>
              <a:gd name="connsiteX803" fmla="*/ 5504425 w 7467600"/>
              <a:gd name="connsiteY803" fmla="*/ 848067 h 6858000"/>
              <a:gd name="connsiteX804" fmla="*/ 4968849 w 7467600"/>
              <a:gd name="connsiteY804" fmla="*/ 962318 h 6858000"/>
              <a:gd name="connsiteX805" fmla="*/ 5104039 w 7467600"/>
              <a:gd name="connsiteY805" fmla="*/ 940634 h 6858000"/>
              <a:gd name="connsiteX806" fmla="*/ 5256311 w 7467600"/>
              <a:gd name="connsiteY806" fmla="*/ 916490 h 6858000"/>
              <a:gd name="connsiteX807" fmla="*/ 5377381 w 7467600"/>
              <a:gd name="connsiteY807" fmla="*/ 912671 h 6858000"/>
              <a:gd name="connsiteX808" fmla="*/ 5460148 w 7467600"/>
              <a:gd name="connsiteY808" fmla="*/ 911442 h 6858000"/>
              <a:gd name="connsiteX809" fmla="*/ 5648971 w 7467600"/>
              <a:gd name="connsiteY809" fmla="*/ 891331 h 6858000"/>
              <a:gd name="connsiteX810" fmla="*/ 5844807 w 7467600"/>
              <a:gd name="connsiteY810" fmla="*/ 870718 h 6858000"/>
              <a:gd name="connsiteX811" fmla="*/ 5862975 w 7467600"/>
              <a:gd name="connsiteY811" fmla="*/ 869756 h 6858000"/>
              <a:gd name="connsiteX812" fmla="*/ 5920887 w 7467600"/>
              <a:gd name="connsiteY812" fmla="*/ 865929 h 6858000"/>
              <a:gd name="connsiteX813" fmla="*/ 5504425 w 7467600"/>
              <a:gd name="connsiteY813" fmla="*/ 848067 h 6858000"/>
              <a:gd name="connsiteX814" fmla="*/ 3607114 w 7467600"/>
              <a:gd name="connsiteY814" fmla="*/ 467441 h 6858000"/>
              <a:gd name="connsiteX815" fmla="*/ 3296242 w 7467600"/>
              <a:gd name="connsiteY815" fmla="*/ 807991 h 6858000"/>
              <a:gd name="connsiteX816" fmla="*/ 3174674 w 7467600"/>
              <a:gd name="connsiteY816" fmla="*/ 919759 h 6858000"/>
              <a:gd name="connsiteX817" fmla="*/ 3042978 w 7467600"/>
              <a:gd name="connsiteY817" fmla="*/ 1054894 h 6858000"/>
              <a:gd name="connsiteX818" fmla="*/ 2968914 w 7467600"/>
              <a:gd name="connsiteY818" fmla="*/ 1133756 h 6858000"/>
              <a:gd name="connsiteX819" fmla="*/ 3103823 w 7467600"/>
              <a:gd name="connsiteY819" fmla="*/ 1026814 h 6858000"/>
              <a:gd name="connsiteX820" fmla="*/ 3607114 w 7467600"/>
              <a:gd name="connsiteY820" fmla="*/ 467441 h 6858000"/>
              <a:gd name="connsiteX821" fmla="*/ 3744487 w 7467600"/>
              <a:gd name="connsiteY821" fmla="*/ 383136 h 6858000"/>
              <a:gd name="connsiteX822" fmla="*/ 3970213 w 7467600"/>
              <a:gd name="connsiteY822" fmla="*/ 995559 h 6858000"/>
              <a:gd name="connsiteX823" fmla="*/ 3744487 w 7467600"/>
              <a:gd name="connsiteY823" fmla="*/ 383136 h 6858000"/>
              <a:gd name="connsiteX824" fmla="*/ 3624562 w 7467600"/>
              <a:gd name="connsiteY824" fmla="*/ 367041 h 6858000"/>
              <a:gd name="connsiteX825" fmla="*/ 3489712 w 7467600"/>
              <a:gd name="connsiteY825" fmla="*/ 485386 h 6858000"/>
              <a:gd name="connsiteX826" fmla="*/ 3182994 w 7467600"/>
              <a:gd name="connsiteY826" fmla="*/ 828265 h 6858000"/>
              <a:gd name="connsiteX827" fmla="*/ 2892114 w 7467600"/>
              <a:gd name="connsiteY827" fmla="*/ 1172635 h 6858000"/>
              <a:gd name="connsiteX828" fmla="*/ 3021459 w 7467600"/>
              <a:gd name="connsiteY828" fmla="*/ 1035385 h 6858000"/>
              <a:gd name="connsiteX829" fmla="*/ 3153873 w 7467600"/>
              <a:gd name="connsiteY829" fmla="*/ 898971 h 6858000"/>
              <a:gd name="connsiteX830" fmla="*/ 3276511 w 7467600"/>
              <a:gd name="connsiteY830" fmla="*/ 786423 h 6858000"/>
              <a:gd name="connsiteX831" fmla="*/ 3584154 w 7467600"/>
              <a:gd name="connsiteY831" fmla="*/ 448218 h 6858000"/>
              <a:gd name="connsiteX832" fmla="*/ 3624562 w 7467600"/>
              <a:gd name="connsiteY832" fmla="*/ 367041 h 6858000"/>
              <a:gd name="connsiteX833" fmla="*/ 3766672 w 7467600"/>
              <a:gd name="connsiteY833" fmla="*/ 359429 h 6858000"/>
              <a:gd name="connsiteX834" fmla="*/ 3996338 w 7467600"/>
              <a:gd name="connsiteY834" fmla="*/ 968237 h 6858000"/>
              <a:gd name="connsiteX835" fmla="*/ 3766672 w 7467600"/>
              <a:gd name="connsiteY835" fmla="*/ 359429 h 6858000"/>
              <a:gd name="connsiteX836" fmla="*/ 5805386 w 7467600"/>
              <a:gd name="connsiteY836" fmla="*/ 239240 h 6858000"/>
              <a:gd name="connsiteX837" fmla="*/ 5736947 w 7467600"/>
              <a:gd name="connsiteY837" fmla="*/ 261367 h 6858000"/>
              <a:gd name="connsiteX838" fmla="*/ 5427012 w 7467600"/>
              <a:gd name="connsiteY838" fmla="*/ 311272 h 6858000"/>
              <a:gd name="connsiteX839" fmla="*/ 5147818 w 7467600"/>
              <a:gd name="connsiteY839" fmla="*/ 322112 h 6858000"/>
              <a:gd name="connsiteX840" fmla="*/ 5060854 w 7467600"/>
              <a:gd name="connsiteY840" fmla="*/ 311882 h 6858000"/>
              <a:gd name="connsiteX841" fmla="*/ 4945989 w 7467600"/>
              <a:gd name="connsiteY841" fmla="*/ 300516 h 6858000"/>
              <a:gd name="connsiteX842" fmla="*/ 5410479 w 7467600"/>
              <a:gd name="connsiteY842" fmla="*/ 348434 h 6858000"/>
              <a:gd name="connsiteX843" fmla="*/ 5805386 w 7467600"/>
              <a:gd name="connsiteY843" fmla="*/ 239240 h 6858000"/>
              <a:gd name="connsiteX844" fmla="*/ 7429067 w 7467600"/>
              <a:gd name="connsiteY844" fmla="*/ 402737 h 6858000"/>
              <a:gd name="connsiteX845" fmla="*/ 7467600 w 7467600"/>
              <a:gd name="connsiteY845" fmla="*/ 789215 h 6858000"/>
              <a:gd name="connsiteX846" fmla="*/ 7451412 w 7467600"/>
              <a:gd name="connsiteY846" fmla="*/ 799572 h 6858000"/>
              <a:gd name="connsiteX847" fmla="*/ 7419999 w 7467600"/>
              <a:gd name="connsiteY847" fmla="*/ 774360 h 6858000"/>
              <a:gd name="connsiteX848" fmla="*/ 7429067 w 7467600"/>
              <a:gd name="connsiteY848" fmla="*/ 402737 h 6858000"/>
              <a:gd name="connsiteX849" fmla="*/ 5905192 w 7467600"/>
              <a:gd name="connsiteY849" fmla="*/ 163079 h 6858000"/>
              <a:gd name="connsiteX850" fmla="*/ 5865655 w 7467600"/>
              <a:gd name="connsiteY850" fmla="*/ 171901 h 6858000"/>
              <a:gd name="connsiteX851" fmla="*/ 5259740 w 7467600"/>
              <a:gd name="connsiteY851" fmla="*/ 257013 h 6858000"/>
              <a:gd name="connsiteX852" fmla="*/ 5208466 w 7467600"/>
              <a:gd name="connsiteY852" fmla="*/ 257550 h 6858000"/>
              <a:gd name="connsiteX853" fmla="*/ 4980204 w 7467600"/>
              <a:gd name="connsiteY853" fmla="*/ 271903 h 6858000"/>
              <a:gd name="connsiteX854" fmla="*/ 5068068 w 7467600"/>
              <a:gd name="connsiteY854" fmla="*/ 282244 h 6858000"/>
              <a:gd name="connsiteX855" fmla="*/ 5153231 w 7467600"/>
              <a:gd name="connsiteY855" fmla="*/ 292240 h 6858000"/>
              <a:gd name="connsiteX856" fmla="*/ 5426491 w 7467600"/>
              <a:gd name="connsiteY856" fmla="*/ 281128 h 6858000"/>
              <a:gd name="connsiteX857" fmla="*/ 5731212 w 7467600"/>
              <a:gd name="connsiteY857" fmla="*/ 231951 h 6858000"/>
              <a:gd name="connsiteX858" fmla="*/ 5905192 w 7467600"/>
              <a:gd name="connsiteY858" fmla="*/ 163079 h 6858000"/>
              <a:gd name="connsiteX859" fmla="*/ 5944437 w 7467600"/>
              <a:gd name="connsiteY859" fmla="*/ 113829 h 6858000"/>
              <a:gd name="connsiteX860" fmla="*/ 5825032 w 7467600"/>
              <a:gd name="connsiteY860" fmla="*/ 146405 h 6858000"/>
              <a:gd name="connsiteX861" fmla="*/ 4955599 w 7467600"/>
              <a:gd name="connsiteY861" fmla="*/ 247008 h 6858000"/>
              <a:gd name="connsiteX862" fmla="*/ 5210104 w 7467600"/>
              <a:gd name="connsiteY862" fmla="*/ 228123 h 6858000"/>
              <a:gd name="connsiteX863" fmla="*/ 5261015 w 7467600"/>
              <a:gd name="connsiteY863" fmla="*/ 227087 h 6858000"/>
              <a:gd name="connsiteX864" fmla="*/ 5861181 w 7467600"/>
              <a:gd name="connsiteY864" fmla="*/ 143093 h 6858000"/>
              <a:gd name="connsiteX865" fmla="*/ 5961252 w 7467600"/>
              <a:gd name="connsiteY865" fmla="*/ 114820 h 6858000"/>
              <a:gd name="connsiteX866" fmla="*/ 5944437 w 7467600"/>
              <a:gd name="connsiteY866" fmla="*/ 113829 h 6858000"/>
              <a:gd name="connsiteX867" fmla="*/ 3882765 w 7467600"/>
              <a:gd name="connsiteY867" fmla="*/ 0 h 6858000"/>
              <a:gd name="connsiteX868" fmla="*/ 3995099 w 7467600"/>
              <a:gd name="connsiteY868" fmla="*/ 0 h 6858000"/>
              <a:gd name="connsiteX869" fmla="*/ 4163818 w 7467600"/>
              <a:gd name="connsiteY869" fmla="*/ 234104 h 6858000"/>
              <a:gd name="connsiteX870" fmla="*/ 4172099 w 7467600"/>
              <a:gd name="connsiteY870" fmla="*/ 234207 h 6858000"/>
              <a:gd name="connsiteX871" fmla="*/ 4784282 w 7467600"/>
              <a:gd name="connsiteY871" fmla="*/ 276561 h 6858000"/>
              <a:gd name="connsiteX872" fmla="*/ 4801687 w 7467600"/>
              <a:gd name="connsiteY872" fmla="*/ 267764 h 6858000"/>
              <a:gd name="connsiteX873" fmla="*/ 6082788 w 7467600"/>
              <a:gd name="connsiteY873" fmla="*/ 64119 h 6858000"/>
              <a:gd name="connsiteX874" fmla="*/ 6099442 w 7467600"/>
              <a:gd name="connsiteY874" fmla="*/ 82568 h 6858000"/>
              <a:gd name="connsiteX875" fmla="*/ 4804137 w 7467600"/>
              <a:gd name="connsiteY875" fmla="*/ 320931 h 6858000"/>
              <a:gd name="connsiteX876" fmla="*/ 4227047 w 7467600"/>
              <a:gd name="connsiteY876" fmla="*/ 313415 h 6858000"/>
              <a:gd name="connsiteX877" fmla="*/ 4346041 w 7467600"/>
              <a:gd name="connsiteY877" fmla="*/ 456086 h 6858000"/>
              <a:gd name="connsiteX878" fmla="*/ 4870967 w 7467600"/>
              <a:gd name="connsiteY878" fmla="*/ 963061 h 6858000"/>
              <a:gd name="connsiteX879" fmla="*/ 4889647 w 7467600"/>
              <a:gd name="connsiteY879" fmla="*/ 957147 h 6858000"/>
              <a:gd name="connsiteX880" fmla="*/ 5422504 w 7467600"/>
              <a:gd name="connsiteY880" fmla="*/ 805191 h 6858000"/>
              <a:gd name="connsiteX881" fmla="*/ 6087656 w 7467600"/>
              <a:gd name="connsiteY881" fmla="*/ 826703 h 6858000"/>
              <a:gd name="connsiteX882" fmla="*/ 6058717 w 7467600"/>
              <a:gd name="connsiteY882" fmla="*/ 865992 h 6858000"/>
              <a:gd name="connsiteX883" fmla="*/ 4974153 w 7467600"/>
              <a:gd name="connsiteY883" fmla="*/ 1045456 h 6858000"/>
              <a:gd name="connsiteX884" fmla="*/ 5627835 w 7467600"/>
              <a:gd name="connsiteY884" fmla="*/ 1472077 h 6858000"/>
              <a:gd name="connsiteX885" fmla="*/ 5629817 w 7467600"/>
              <a:gd name="connsiteY885" fmla="*/ 1471412 h 6858000"/>
              <a:gd name="connsiteX886" fmla="*/ 5634124 w 7467600"/>
              <a:gd name="connsiteY886" fmla="*/ 1470572 h 6858000"/>
              <a:gd name="connsiteX887" fmla="*/ 5755832 w 7467600"/>
              <a:gd name="connsiteY887" fmla="*/ 1383886 h 6858000"/>
              <a:gd name="connsiteX888" fmla="*/ 6014186 w 7467600"/>
              <a:gd name="connsiteY888" fmla="*/ 1279799 h 6858000"/>
              <a:gd name="connsiteX889" fmla="*/ 6901619 w 7467600"/>
              <a:gd name="connsiteY889" fmla="*/ 1047874 h 6858000"/>
              <a:gd name="connsiteX890" fmla="*/ 6931566 w 7467600"/>
              <a:gd name="connsiteY890" fmla="*/ 1062034 h 6858000"/>
              <a:gd name="connsiteX891" fmla="*/ 5790982 w 7467600"/>
              <a:gd name="connsiteY891" fmla="*/ 1561380 h 6858000"/>
              <a:gd name="connsiteX892" fmla="*/ 6188971 w 7467600"/>
              <a:gd name="connsiteY892" fmla="*/ 1755168 h 6858000"/>
              <a:gd name="connsiteX893" fmla="*/ 6202446 w 7467600"/>
              <a:gd name="connsiteY893" fmla="*/ 1752268 h 6858000"/>
              <a:gd name="connsiteX894" fmla="*/ 7179560 w 7467600"/>
              <a:gd name="connsiteY894" fmla="*/ 1467551 h 6858000"/>
              <a:gd name="connsiteX895" fmla="*/ 7158730 w 7467600"/>
              <a:gd name="connsiteY895" fmla="*/ 1507835 h 6858000"/>
              <a:gd name="connsiteX896" fmla="*/ 6326959 w 7467600"/>
              <a:gd name="connsiteY896" fmla="*/ 1817686 h 6858000"/>
              <a:gd name="connsiteX897" fmla="*/ 6537433 w 7467600"/>
              <a:gd name="connsiteY897" fmla="*/ 1907790 h 6858000"/>
              <a:gd name="connsiteX898" fmla="*/ 6550221 w 7467600"/>
              <a:gd name="connsiteY898" fmla="*/ 1910729 h 6858000"/>
              <a:gd name="connsiteX899" fmla="*/ 6964438 w 7467600"/>
              <a:gd name="connsiteY899" fmla="*/ 2209505 h 6858000"/>
              <a:gd name="connsiteX900" fmla="*/ 7367862 w 7467600"/>
              <a:gd name="connsiteY900" fmla="*/ 2806833 h 6858000"/>
              <a:gd name="connsiteX901" fmla="*/ 7364329 w 7467600"/>
              <a:gd name="connsiteY901" fmla="*/ 2826907 h 6858000"/>
              <a:gd name="connsiteX902" fmla="*/ 7290545 w 7467600"/>
              <a:gd name="connsiteY902" fmla="*/ 2850663 h 6858000"/>
              <a:gd name="connsiteX903" fmla="*/ 6472036 w 7467600"/>
              <a:gd name="connsiteY903" fmla="*/ 1959003 h 6858000"/>
              <a:gd name="connsiteX904" fmla="*/ 5792897 w 7467600"/>
              <a:gd name="connsiteY904" fmla="*/ 1647747 h 6858000"/>
              <a:gd name="connsiteX905" fmla="*/ 5842751 w 7467600"/>
              <a:gd name="connsiteY905" fmla="*/ 1816112 h 6858000"/>
              <a:gd name="connsiteX906" fmla="*/ 5847424 w 7467600"/>
              <a:gd name="connsiteY906" fmla="*/ 1815776 h 6858000"/>
              <a:gd name="connsiteX907" fmla="*/ 6399821 w 7467600"/>
              <a:gd name="connsiteY907" fmla="*/ 2344799 h 6858000"/>
              <a:gd name="connsiteX908" fmla="*/ 6323232 w 7467600"/>
              <a:gd name="connsiteY908" fmla="*/ 2389634 h 6858000"/>
              <a:gd name="connsiteX909" fmla="*/ 5942958 w 7467600"/>
              <a:gd name="connsiteY909" fmla="*/ 2077708 h 6858000"/>
              <a:gd name="connsiteX910" fmla="*/ 5921559 w 7467600"/>
              <a:gd name="connsiteY910" fmla="*/ 2378596 h 6858000"/>
              <a:gd name="connsiteX911" fmla="*/ 5817651 w 7467600"/>
              <a:gd name="connsiteY911" fmla="*/ 3023919 h 6858000"/>
              <a:gd name="connsiteX912" fmla="*/ 5729634 w 7467600"/>
              <a:gd name="connsiteY912" fmla="*/ 3051849 h 6858000"/>
              <a:gd name="connsiteX913" fmla="*/ 5611018 w 7467600"/>
              <a:gd name="connsiteY913" fmla="*/ 2316769 h 6858000"/>
              <a:gd name="connsiteX914" fmla="*/ 5687608 w 7467600"/>
              <a:gd name="connsiteY914" fmla="*/ 2039972 h 6858000"/>
              <a:gd name="connsiteX915" fmla="*/ 5657554 w 7467600"/>
              <a:gd name="connsiteY915" fmla="*/ 1576445 h 6858000"/>
              <a:gd name="connsiteX916" fmla="*/ 5150475 w 7467600"/>
              <a:gd name="connsiteY916" fmla="*/ 1274012 h 6858000"/>
              <a:gd name="connsiteX917" fmla="*/ 5349142 w 7467600"/>
              <a:gd name="connsiteY917" fmla="*/ 2204405 h 6858000"/>
              <a:gd name="connsiteX918" fmla="*/ 5262214 w 7467600"/>
              <a:gd name="connsiteY918" fmla="*/ 2233836 h 6858000"/>
              <a:gd name="connsiteX919" fmla="*/ 4981539 w 7467600"/>
              <a:gd name="connsiteY919" fmla="*/ 1542201 h 6858000"/>
              <a:gd name="connsiteX920" fmla="*/ 4958461 w 7467600"/>
              <a:gd name="connsiteY920" fmla="*/ 1136957 h 6858000"/>
              <a:gd name="connsiteX921" fmla="*/ 4655015 w 7467600"/>
              <a:gd name="connsiteY921" fmla="*/ 891426 h 6858000"/>
              <a:gd name="connsiteX922" fmla="*/ 4348002 w 7467600"/>
              <a:gd name="connsiteY922" fmla="*/ 2205895 h 6858000"/>
              <a:gd name="connsiteX923" fmla="*/ 4262250 w 7467600"/>
              <a:gd name="connsiteY923" fmla="*/ 2219972 h 6858000"/>
              <a:gd name="connsiteX924" fmla="*/ 4550611 w 7467600"/>
              <a:gd name="connsiteY924" fmla="*/ 817540 h 6858000"/>
              <a:gd name="connsiteX925" fmla="*/ 4564418 w 7467600"/>
              <a:gd name="connsiteY925" fmla="*/ 808293 h 6858000"/>
              <a:gd name="connsiteX926" fmla="*/ 4266388 w 7467600"/>
              <a:gd name="connsiteY926" fmla="*/ 500083 h 6858000"/>
              <a:gd name="connsiteX927" fmla="*/ 4032842 w 7467600"/>
              <a:gd name="connsiteY927" fmla="*/ 211809 h 6858000"/>
              <a:gd name="connsiteX928" fmla="*/ 3882765 w 7467600"/>
              <a:gd name="connsiteY928" fmla="*/ 0 h 6858000"/>
              <a:gd name="connsiteX929" fmla="*/ 3721337 w 7467600"/>
              <a:gd name="connsiteY929" fmla="*/ 0 h 6858000"/>
              <a:gd name="connsiteX930" fmla="*/ 3797544 w 7467600"/>
              <a:gd name="connsiteY930" fmla="*/ 0 h 6858000"/>
              <a:gd name="connsiteX931" fmla="*/ 3775734 w 7467600"/>
              <a:gd name="connsiteY931" fmla="*/ 95131 h 6858000"/>
              <a:gd name="connsiteX932" fmla="*/ 3724807 w 7467600"/>
              <a:gd name="connsiteY932" fmla="*/ 272257 h 6858000"/>
              <a:gd name="connsiteX933" fmla="*/ 3726844 w 7467600"/>
              <a:gd name="connsiteY933" fmla="*/ 282988 h 6858000"/>
              <a:gd name="connsiteX934" fmla="*/ 3742664 w 7467600"/>
              <a:gd name="connsiteY934" fmla="*/ 279918 h 6858000"/>
              <a:gd name="connsiteX935" fmla="*/ 4103910 w 7467600"/>
              <a:gd name="connsiteY935" fmla="*/ 1161917 h 6858000"/>
              <a:gd name="connsiteX936" fmla="*/ 4020269 w 7467600"/>
              <a:gd name="connsiteY936" fmla="*/ 1200406 h 6858000"/>
              <a:gd name="connsiteX937" fmla="*/ 3674882 w 7467600"/>
              <a:gd name="connsiteY937" fmla="*/ 488524 h 6858000"/>
              <a:gd name="connsiteX938" fmla="*/ 3132682 w 7467600"/>
              <a:gd name="connsiteY938" fmla="*/ 1072284 h 6858000"/>
              <a:gd name="connsiteX939" fmla="*/ 2716346 w 7467600"/>
              <a:gd name="connsiteY939" fmla="*/ 1276376 h 6858000"/>
              <a:gd name="connsiteX940" fmla="*/ 2716772 w 7467600"/>
              <a:gd name="connsiteY940" fmla="*/ 1255462 h 6858000"/>
              <a:gd name="connsiteX941" fmla="*/ 3471096 w 7467600"/>
              <a:gd name="connsiteY941" fmla="*/ 437072 h 6858000"/>
              <a:gd name="connsiteX942" fmla="*/ 3639057 w 7467600"/>
              <a:gd name="connsiteY942" fmla="*/ 286334 h 6858000"/>
              <a:gd name="connsiteX943" fmla="*/ 3640309 w 7467600"/>
              <a:gd name="connsiteY943" fmla="*/ 284664 h 6858000"/>
              <a:gd name="connsiteX944" fmla="*/ 3646022 w 7467600"/>
              <a:gd name="connsiteY944" fmla="*/ 276711 h 6858000"/>
              <a:gd name="connsiteX945" fmla="*/ 3707943 w 7467600"/>
              <a:gd name="connsiteY945" fmla="*/ 65958 h 6858000"/>
              <a:gd name="connsiteX946" fmla="*/ 3721337 w 7467600"/>
              <a:gd name="connsiteY946" fmla="*/ 0 h 6858000"/>
              <a:gd name="connsiteX947" fmla="*/ 2867960 w 7467600"/>
              <a:gd name="connsiteY947" fmla="*/ 0 h 6858000"/>
              <a:gd name="connsiteX948" fmla="*/ 2926351 w 7467600"/>
              <a:gd name="connsiteY948" fmla="*/ 0 h 6858000"/>
              <a:gd name="connsiteX949" fmla="*/ 2902823 w 7467600"/>
              <a:gd name="connsiteY949" fmla="*/ 262929 h 6858000"/>
              <a:gd name="connsiteX950" fmla="*/ 2940663 w 7467600"/>
              <a:gd name="connsiteY950" fmla="*/ 140884 h 6858000"/>
              <a:gd name="connsiteX951" fmla="*/ 2947039 w 7467600"/>
              <a:gd name="connsiteY951" fmla="*/ 122524 h 6858000"/>
              <a:gd name="connsiteX952" fmla="*/ 2984316 w 7467600"/>
              <a:gd name="connsiteY952" fmla="*/ 0 h 6858000"/>
              <a:gd name="connsiteX953" fmla="*/ 3016114 w 7467600"/>
              <a:gd name="connsiteY953" fmla="*/ 0 h 6858000"/>
              <a:gd name="connsiteX954" fmla="*/ 2979949 w 7467600"/>
              <a:gd name="connsiteY954" fmla="*/ 119274 h 6858000"/>
              <a:gd name="connsiteX955" fmla="*/ 3023879 w 7467600"/>
              <a:gd name="connsiteY955" fmla="*/ 0 h 6858000"/>
              <a:gd name="connsiteX956" fmla="*/ 3105400 w 7467600"/>
              <a:gd name="connsiteY956" fmla="*/ 0 h 6858000"/>
              <a:gd name="connsiteX957" fmla="*/ 3094669 w 7467600"/>
              <a:gd name="connsiteY957" fmla="*/ 30308 h 6858000"/>
              <a:gd name="connsiteX958" fmla="*/ 2901945 w 7467600"/>
              <a:gd name="connsiteY958" fmla="*/ 466538 h 6858000"/>
              <a:gd name="connsiteX959" fmla="*/ 2815209 w 7467600"/>
              <a:gd name="connsiteY959" fmla="*/ 497361 h 6858000"/>
              <a:gd name="connsiteX960" fmla="*/ 2844845 w 7467600"/>
              <a:gd name="connsiteY960" fmla="*/ 127638 h 6858000"/>
              <a:gd name="connsiteX961" fmla="*/ 2867960 w 7467600"/>
              <a:gd name="connsiteY961" fmla="*/ 0 h 6858000"/>
              <a:gd name="connsiteX962" fmla="*/ 1057230 w 7467600"/>
              <a:gd name="connsiteY962" fmla="*/ 0 h 6858000"/>
              <a:gd name="connsiteX963" fmla="*/ 1111003 w 7467600"/>
              <a:gd name="connsiteY963" fmla="*/ 0 h 6858000"/>
              <a:gd name="connsiteX964" fmla="*/ 1125553 w 7467600"/>
              <a:gd name="connsiteY964" fmla="*/ 52588 h 6858000"/>
              <a:gd name="connsiteX965" fmla="*/ 1304276 w 7467600"/>
              <a:gd name="connsiteY965" fmla="*/ 476275 h 6858000"/>
              <a:gd name="connsiteX966" fmla="*/ 1492066 w 7467600"/>
              <a:gd name="connsiteY966" fmla="*/ 886333 h 6858000"/>
              <a:gd name="connsiteX967" fmla="*/ 1423698 w 7467600"/>
              <a:gd name="connsiteY967" fmla="*/ 710817 h 6858000"/>
              <a:gd name="connsiteX968" fmla="*/ 1357609 w 7467600"/>
              <a:gd name="connsiteY968" fmla="*/ 532892 h 6858000"/>
              <a:gd name="connsiteX969" fmla="*/ 1309550 w 7467600"/>
              <a:gd name="connsiteY969" fmla="*/ 374031 h 6858000"/>
              <a:gd name="connsiteX970" fmla="*/ 1193673 w 7467600"/>
              <a:gd name="connsiteY970" fmla="*/ 49533 h 6858000"/>
              <a:gd name="connsiteX971" fmla="*/ 1164391 w 7467600"/>
              <a:gd name="connsiteY971" fmla="*/ 0 h 6858000"/>
              <a:gd name="connsiteX972" fmla="*/ 1200666 w 7467600"/>
              <a:gd name="connsiteY972" fmla="*/ 0 h 6858000"/>
              <a:gd name="connsiteX973" fmla="*/ 1223408 w 7467600"/>
              <a:gd name="connsiteY973" fmla="*/ 38996 h 6858000"/>
              <a:gd name="connsiteX974" fmla="*/ 1339635 w 7467600"/>
              <a:gd name="connsiteY974" fmla="*/ 365517 h 6858000"/>
              <a:gd name="connsiteX975" fmla="*/ 1387469 w 7467600"/>
              <a:gd name="connsiteY975" fmla="*/ 523079 h 6858000"/>
              <a:gd name="connsiteX976" fmla="*/ 1452685 w 7467600"/>
              <a:gd name="connsiteY976" fmla="*/ 699806 h 6858000"/>
              <a:gd name="connsiteX977" fmla="*/ 1492092 w 7467600"/>
              <a:gd name="connsiteY977" fmla="*/ 800424 h 6858000"/>
              <a:gd name="connsiteX978" fmla="*/ 1455302 w 7467600"/>
              <a:gd name="connsiteY978" fmla="*/ 632913 h 6858000"/>
              <a:gd name="connsiteX979" fmla="*/ 1222336 w 7467600"/>
              <a:gd name="connsiteY979" fmla="*/ 9480 h 6858000"/>
              <a:gd name="connsiteX980" fmla="*/ 1214634 w 7467600"/>
              <a:gd name="connsiteY980" fmla="*/ 0 h 6858000"/>
              <a:gd name="connsiteX981" fmla="*/ 1289827 w 7467600"/>
              <a:gd name="connsiteY981" fmla="*/ 0 h 6858000"/>
              <a:gd name="connsiteX982" fmla="*/ 1321076 w 7467600"/>
              <a:gd name="connsiteY982" fmla="*/ 59722 h 6858000"/>
              <a:gd name="connsiteX983" fmla="*/ 1512579 w 7467600"/>
              <a:gd name="connsiteY983" fmla="*/ 626441 h 6858000"/>
              <a:gd name="connsiteX984" fmla="*/ 1506076 w 7467600"/>
              <a:gd name="connsiteY984" fmla="*/ 1089289 h 6858000"/>
              <a:gd name="connsiteX985" fmla="*/ 1486346 w 7467600"/>
              <a:gd name="connsiteY985" fmla="*/ 1079919 h 6858000"/>
              <a:gd name="connsiteX986" fmla="*/ 1070511 w 7467600"/>
              <a:gd name="connsiteY986" fmla="*/ 48609 h 6858000"/>
              <a:gd name="connsiteX987" fmla="*/ 1057230 w 7467600"/>
              <a:gd name="connsiteY987" fmla="*/ 0 h 6858000"/>
              <a:gd name="connsiteX988" fmla="*/ 43151 w 7467600"/>
              <a:gd name="connsiteY988" fmla="*/ 0 h 6858000"/>
              <a:gd name="connsiteX989" fmla="*/ 95283 w 7467600"/>
              <a:gd name="connsiteY989" fmla="*/ 0 h 6858000"/>
              <a:gd name="connsiteX990" fmla="*/ 300708 w 7467600"/>
              <a:gd name="connsiteY990" fmla="*/ 154571 h 6858000"/>
              <a:gd name="connsiteX991" fmla="*/ 530414 w 7467600"/>
              <a:gd name="connsiteY991" fmla="*/ 354673 h 6858000"/>
              <a:gd name="connsiteX992" fmla="*/ 333785 w 7467600"/>
              <a:gd name="connsiteY992" fmla="*/ 161564 h 6858000"/>
              <a:gd name="connsiteX993" fmla="*/ 147005 w 7467600"/>
              <a:gd name="connsiteY993" fmla="*/ 0 h 6858000"/>
              <a:gd name="connsiteX994" fmla="*/ 272509 w 7467600"/>
              <a:gd name="connsiteY994" fmla="*/ 0 h 6858000"/>
              <a:gd name="connsiteX995" fmla="*/ 326276 w 7467600"/>
              <a:gd name="connsiteY995" fmla="*/ 45847 h 6858000"/>
              <a:gd name="connsiteX996" fmla="*/ 823759 w 7467600"/>
              <a:gd name="connsiteY996" fmla="*/ 574145 h 6858000"/>
              <a:gd name="connsiteX997" fmla="*/ 811254 w 7467600"/>
              <a:gd name="connsiteY997" fmla="*/ 665546 h 6858000"/>
              <a:gd name="connsiteX998" fmla="*/ 154042 w 7467600"/>
              <a:gd name="connsiteY998" fmla="*/ 261522 h 6858000"/>
              <a:gd name="connsiteX999" fmla="*/ 13550 w 7467600"/>
              <a:gd name="connsiteY999" fmla="*/ 158423 h 6858000"/>
              <a:gd name="connsiteX1000" fmla="*/ 0 w 7467600"/>
              <a:gd name="connsiteY1000" fmla="*/ 146618 h 6858000"/>
              <a:gd name="connsiteX1001" fmla="*/ 0 w 7467600"/>
              <a:gd name="connsiteY1001" fmla="*/ 59161 h 6858000"/>
              <a:gd name="connsiteX1002" fmla="*/ 45427 w 7467600"/>
              <a:gd name="connsiteY1002" fmla="*/ 101078 h 6858000"/>
              <a:gd name="connsiteX1003" fmla="*/ 630103 w 7467600"/>
              <a:gd name="connsiteY1003" fmla="*/ 485885 h 6858000"/>
              <a:gd name="connsiteX1004" fmla="*/ 532040 w 7467600"/>
              <a:gd name="connsiteY1004" fmla="*/ 399359 h 6858000"/>
              <a:gd name="connsiteX1005" fmla="*/ 517618 w 7467600"/>
              <a:gd name="connsiteY1005" fmla="*/ 385726 h 6858000"/>
              <a:gd name="connsiteX1006" fmla="*/ 285074 w 7467600"/>
              <a:gd name="connsiteY1006" fmla="*/ 182755 h 6858000"/>
              <a:gd name="connsiteX1007" fmla="*/ 43151 w 7467600"/>
              <a:gd name="connsiteY1007"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133363 w 7467600"/>
              <a:gd name="connsiteY127" fmla="*/ 5050246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7327465 w 7467600"/>
              <a:gd name="connsiteY139" fmla="*/ 5174181 h 6858000"/>
              <a:gd name="connsiteX140" fmla="*/ 7244057 w 7467600"/>
              <a:gd name="connsiteY140" fmla="*/ 5124233 h 6858000"/>
              <a:gd name="connsiteX141" fmla="*/ 7353035 w 7467600"/>
              <a:gd name="connsiteY141" fmla="*/ 5197318 h 6858000"/>
              <a:gd name="connsiteX142" fmla="*/ 7467600 w 7467600"/>
              <a:gd name="connsiteY142" fmla="*/ 5297634 h 6858000"/>
              <a:gd name="connsiteX143" fmla="*/ 7467600 w 7467600"/>
              <a:gd name="connsiteY143" fmla="*/ 5361850 h 6858000"/>
              <a:gd name="connsiteX144" fmla="*/ 7368569 w 7467600"/>
              <a:gd name="connsiteY144" fmla="*/ 5270182 h 6858000"/>
              <a:gd name="connsiteX145" fmla="*/ 7131946 w 7467600"/>
              <a:gd name="connsiteY145" fmla="*/ 5075653 h 6858000"/>
              <a:gd name="connsiteX146" fmla="*/ 7133363 w 7467600"/>
              <a:gd name="connsiteY146" fmla="*/ 5050246 h 6858000"/>
              <a:gd name="connsiteX147" fmla="*/ 1903353 w 7467600"/>
              <a:gd name="connsiteY147" fmla="*/ 5044827 h 6858000"/>
              <a:gd name="connsiteX148" fmla="*/ 1936931 w 7467600"/>
              <a:gd name="connsiteY148" fmla="*/ 5093954 h 6858000"/>
              <a:gd name="connsiteX149" fmla="*/ 2195868 w 7467600"/>
              <a:gd name="connsiteY149" fmla="*/ 5396574 h 6858000"/>
              <a:gd name="connsiteX150" fmla="*/ 2088852 w 7467600"/>
              <a:gd name="connsiteY150" fmla="*/ 5166123 h 6858000"/>
              <a:gd name="connsiteX151" fmla="*/ 1958241 w 7467600"/>
              <a:gd name="connsiteY151" fmla="*/ 5067955 h 6858000"/>
              <a:gd name="connsiteX152" fmla="*/ 1903353 w 7467600"/>
              <a:gd name="connsiteY152" fmla="*/ 5044827 h 6858000"/>
              <a:gd name="connsiteX153" fmla="*/ 1979378 w 7467600"/>
              <a:gd name="connsiteY153" fmla="*/ 4769504 h 6858000"/>
              <a:gd name="connsiteX154" fmla="*/ 2882120 w 7467600"/>
              <a:gd name="connsiteY154" fmla="*/ 5064547 h 6858000"/>
              <a:gd name="connsiteX155" fmla="*/ 2793103 w 7467600"/>
              <a:gd name="connsiteY155" fmla="*/ 5039699 h 6858000"/>
              <a:gd name="connsiteX156" fmla="*/ 2770041 w 7467600"/>
              <a:gd name="connsiteY156" fmla="*/ 5033634 h 6858000"/>
              <a:gd name="connsiteX157" fmla="*/ 1979378 w 7467600"/>
              <a:gd name="connsiteY157" fmla="*/ 4769504 h 6858000"/>
              <a:gd name="connsiteX158" fmla="*/ 1927410 w 7467600"/>
              <a:gd name="connsiteY158" fmla="*/ 4716164 h 6858000"/>
              <a:gd name="connsiteX159" fmla="*/ 1959587 w 7467600"/>
              <a:gd name="connsiteY159" fmla="*/ 4728849 h 6858000"/>
              <a:gd name="connsiteX160" fmla="*/ 2777707 w 7467600"/>
              <a:gd name="connsiteY160" fmla="*/ 5003991 h 6858000"/>
              <a:gd name="connsiteX161" fmla="*/ 2800768 w 7467600"/>
              <a:gd name="connsiteY161" fmla="*/ 5010056 h 6858000"/>
              <a:gd name="connsiteX162" fmla="*/ 2879408 w 7467600"/>
              <a:gd name="connsiteY162" fmla="*/ 5031590 h 6858000"/>
              <a:gd name="connsiteX163" fmla="*/ 2862295 w 7467600"/>
              <a:gd name="connsiteY163" fmla="*/ 5022958 h 6858000"/>
              <a:gd name="connsiteX164" fmla="*/ 2813343 w 7467600"/>
              <a:gd name="connsiteY164" fmla="*/ 4998369 h 6858000"/>
              <a:gd name="connsiteX165" fmla="*/ 2646245 w 7467600"/>
              <a:gd name="connsiteY165" fmla="*/ 4930999 h 6858000"/>
              <a:gd name="connsiteX166" fmla="*/ 1999243 w 7467600"/>
              <a:gd name="connsiteY166" fmla="*/ 4730524 h 6858000"/>
              <a:gd name="connsiteX167" fmla="*/ 1979527 w 7467600"/>
              <a:gd name="connsiteY167" fmla="*/ 4726651 h 6858000"/>
              <a:gd name="connsiteX168" fmla="*/ 1927410 w 7467600"/>
              <a:gd name="connsiteY168" fmla="*/ 4716164 h 6858000"/>
              <a:gd name="connsiteX169" fmla="*/ 1997014 w 7467600"/>
              <a:gd name="connsiteY169" fmla="*/ 4698007 h 6858000"/>
              <a:gd name="connsiteX170" fmla="*/ 2005458 w 7467600"/>
              <a:gd name="connsiteY170" fmla="*/ 4699540 h 6858000"/>
              <a:gd name="connsiteX171" fmla="*/ 2657186 w 7467600"/>
              <a:gd name="connsiteY171" fmla="*/ 4901687 h 6858000"/>
              <a:gd name="connsiteX172" fmla="*/ 2826662 w 7467600"/>
              <a:gd name="connsiteY172" fmla="*/ 4970362 h 6858000"/>
              <a:gd name="connsiteX173" fmla="*/ 2876100 w 7467600"/>
              <a:gd name="connsiteY173" fmla="*/ 4995397 h 6858000"/>
              <a:gd name="connsiteX174" fmla="*/ 3042600 w 7467600"/>
              <a:gd name="connsiteY174" fmla="*/ 5059532 h 6858000"/>
              <a:gd name="connsiteX175" fmla="*/ 1997014 w 7467600"/>
              <a:gd name="connsiteY175" fmla="*/ 4698007 h 6858000"/>
              <a:gd name="connsiteX176" fmla="*/ 2305292 w 7467600"/>
              <a:gd name="connsiteY176" fmla="*/ 4219492 h 6858000"/>
              <a:gd name="connsiteX177" fmla="*/ 3360922 w 7467600"/>
              <a:gd name="connsiteY177" fmla="*/ 4529373 h 6858000"/>
              <a:gd name="connsiteX178" fmla="*/ 3492420 w 7467600"/>
              <a:gd name="connsiteY178" fmla="*/ 4510145 h 6858000"/>
              <a:gd name="connsiteX179" fmla="*/ 3364086 w 7467600"/>
              <a:gd name="connsiteY179" fmla="*/ 4480340 h 6858000"/>
              <a:gd name="connsiteX180" fmla="*/ 3225818 w 7467600"/>
              <a:gd name="connsiteY180" fmla="*/ 4411822 h 6858000"/>
              <a:gd name="connsiteX181" fmla="*/ 3129696 w 7467600"/>
              <a:gd name="connsiteY181" fmla="*/ 4360704 h 6858000"/>
              <a:gd name="connsiteX182" fmla="*/ 2814545 w 7467600"/>
              <a:gd name="connsiteY182" fmla="*/ 4282955 h 6858000"/>
              <a:gd name="connsiteX183" fmla="*/ 2305292 w 7467600"/>
              <a:gd name="connsiteY183" fmla="*/ 4219492 h 6858000"/>
              <a:gd name="connsiteX184" fmla="*/ 2626982 w 7467600"/>
              <a:gd name="connsiteY184" fmla="*/ 4206450 h 6858000"/>
              <a:gd name="connsiteX185" fmla="*/ 2490617 w 7467600"/>
              <a:gd name="connsiteY185" fmla="*/ 4206951 h 6858000"/>
              <a:gd name="connsiteX186" fmla="*/ 2819869 w 7467600"/>
              <a:gd name="connsiteY186" fmla="*/ 4252936 h 6858000"/>
              <a:gd name="connsiteX187" fmla="*/ 3143018 w 7467600"/>
              <a:gd name="connsiteY187" fmla="*/ 4332698 h 6858000"/>
              <a:gd name="connsiteX188" fmla="*/ 3241520 w 7467600"/>
              <a:gd name="connsiteY188" fmla="*/ 4385112 h 6858000"/>
              <a:gd name="connsiteX189" fmla="*/ 3374575 w 7467600"/>
              <a:gd name="connsiteY189" fmla="*/ 4451517 h 6858000"/>
              <a:gd name="connsiteX190" fmla="*/ 3505221 w 7467600"/>
              <a:gd name="connsiteY190" fmla="*/ 4480757 h 6858000"/>
              <a:gd name="connsiteX191" fmla="*/ 2626982 w 7467600"/>
              <a:gd name="connsiteY191" fmla="*/ 4206450 h 6858000"/>
              <a:gd name="connsiteX192" fmla="*/ 1310106 w 7467600"/>
              <a:gd name="connsiteY192" fmla="*/ 3943217 h 6858000"/>
              <a:gd name="connsiteX193" fmla="*/ 854994 w 7467600"/>
              <a:gd name="connsiteY193" fmla="*/ 4399136 h 6858000"/>
              <a:gd name="connsiteX194" fmla="*/ 742462 w 7467600"/>
              <a:gd name="connsiteY194" fmla="*/ 4594648 h 6858000"/>
              <a:gd name="connsiteX195" fmla="*/ 820602 w 7467600"/>
              <a:gd name="connsiteY195" fmla="*/ 4485915 h 6858000"/>
              <a:gd name="connsiteX196" fmla="*/ 878295 w 7467600"/>
              <a:gd name="connsiteY196" fmla="*/ 4403594 h 6858000"/>
              <a:gd name="connsiteX197" fmla="*/ 1240607 w 7467600"/>
              <a:gd name="connsiteY197" fmla="*/ 4010401 h 6858000"/>
              <a:gd name="connsiteX198" fmla="*/ 1310106 w 7467600"/>
              <a:gd name="connsiteY198" fmla="*/ 3943217 h 6858000"/>
              <a:gd name="connsiteX199" fmla="*/ 1423113 w 7467600"/>
              <a:gd name="connsiteY199" fmla="*/ 3874565 h 6858000"/>
              <a:gd name="connsiteX200" fmla="*/ 1260565 w 7467600"/>
              <a:gd name="connsiteY200" fmla="*/ 4031982 h 6858000"/>
              <a:gd name="connsiteX201" fmla="*/ 901900 w 7467600"/>
              <a:gd name="connsiteY201" fmla="*/ 4421236 h 6858000"/>
              <a:gd name="connsiteX202" fmla="*/ 845044 w 7467600"/>
              <a:gd name="connsiteY202" fmla="*/ 4502436 h 6858000"/>
              <a:gd name="connsiteX203" fmla="*/ 685926 w 7467600"/>
              <a:gd name="connsiteY203" fmla="*/ 4703069 h 6858000"/>
              <a:gd name="connsiteX204" fmla="*/ 684248 w 7467600"/>
              <a:gd name="connsiteY204" fmla="*/ 4706721 h 6858000"/>
              <a:gd name="connsiteX205" fmla="*/ 1423113 w 7467600"/>
              <a:gd name="connsiteY205" fmla="*/ 3874565 h 6858000"/>
              <a:gd name="connsiteX206" fmla="*/ 3316479 w 7467600"/>
              <a:gd name="connsiteY206" fmla="*/ 3872136 h 6858000"/>
              <a:gd name="connsiteX207" fmla="*/ 3546806 w 7467600"/>
              <a:gd name="connsiteY207" fmla="*/ 4356139 h 6858000"/>
              <a:gd name="connsiteX208" fmla="*/ 3364433 w 7467600"/>
              <a:gd name="connsiteY208" fmla="*/ 3953121 h 6858000"/>
              <a:gd name="connsiteX209" fmla="*/ 3316479 w 7467600"/>
              <a:gd name="connsiteY209" fmla="*/ 3872136 h 6858000"/>
              <a:gd name="connsiteX210" fmla="*/ 3291335 w 7467600"/>
              <a:gd name="connsiteY210" fmla="*/ 3767420 h 6858000"/>
              <a:gd name="connsiteX211" fmla="*/ 3390805 w 7467600"/>
              <a:gd name="connsiteY211" fmla="*/ 3937163 h 6858000"/>
              <a:gd name="connsiteX212" fmla="*/ 3579062 w 7467600"/>
              <a:gd name="connsiteY212" fmla="*/ 4359040 h 6858000"/>
              <a:gd name="connsiteX213" fmla="*/ 3467355 w 7467600"/>
              <a:gd name="connsiteY213" fmla="*/ 3988130 h 6858000"/>
              <a:gd name="connsiteX214" fmla="*/ 3310753 w 7467600"/>
              <a:gd name="connsiteY214" fmla="*/ 3787140 h 6858000"/>
              <a:gd name="connsiteX215" fmla="*/ 3291335 w 7467600"/>
              <a:gd name="connsiteY215" fmla="*/ 3767420 h 6858000"/>
              <a:gd name="connsiteX216" fmla="*/ 1635889 w 7467600"/>
              <a:gd name="connsiteY216" fmla="*/ 3709494 h 6858000"/>
              <a:gd name="connsiteX217" fmla="*/ 1634800 w 7467600"/>
              <a:gd name="connsiteY217" fmla="*/ 3731111 h 6858000"/>
              <a:gd name="connsiteX218" fmla="*/ 1635889 w 7467600"/>
              <a:gd name="connsiteY218" fmla="*/ 3709494 h 6858000"/>
              <a:gd name="connsiteX219" fmla="*/ 1510397 w 7467600"/>
              <a:gd name="connsiteY219" fmla="*/ 3684705 h 6858000"/>
              <a:gd name="connsiteX220" fmla="*/ 1146550 w 7467600"/>
              <a:gd name="connsiteY220" fmla="*/ 3802012 h 6858000"/>
              <a:gd name="connsiteX221" fmla="*/ 698834 w 7467600"/>
              <a:gd name="connsiteY221" fmla="*/ 3952272 h 6858000"/>
              <a:gd name="connsiteX222" fmla="*/ 34256 w 7467600"/>
              <a:gd name="connsiteY222" fmla="*/ 4347603 h 6858000"/>
              <a:gd name="connsiteX223" fmla="*/ 527241 w 7467600"/>
              <a:gd name="connsiteY223" fmla="*/ 4065078 h 6858000"/>
              <a:gd name="connsiteX224" fmla="*/ 1510397 w 7467600"/>
              <a:gd name="connsiteY224" fmla="*/ 3684705 h 6858000"/>
              <a:gd name="connsiteX225" fmla="*/ 1313114 w 7467600"/>
              <a:gd name="connsiteY225" fmla="*/ 3655216 h 6858000"/>
              <a:gd name="connsiteX226" fmla="*/ 1109304 w 7467600"/>
              <a:gd name="connsiteY226" fmla="*/ 3669030 h 6858000"/>
              <a:gd name="connsiteX227" fmla="*/ 8129 w 7467600"/>
              <a:gd name="connsiteY227" fmla="*/ 4330519 h 6858000"/>
              <a:gd name="connsiteX228" fmla="*/ 687572 w 7467600"/>
              <a:gd name="connsiteY228" fmla="*/ 3925629 h 6858000"/>
              <a:gd name="connsiteX229" fmla="*/ 1138365 w 7467600"/>
              <a:gd name="connsiteY229" fmla="*/ 3774515 h 6858000"/>
              <a:gd name="connsiteX230" fmla="*/ 1505579 w 7467600"/>
              <a:gd name="connsiteY230" fmla="*/ 3655526 h 6858000"/>
              <a:gd name="connsiteX231" fmla="*/ 1313114 w 7467600"/>
              <a:gd name="connsiteY231" fmla="*/ 3655216 h 6858000"/>
              <a:gd name="connsiteX232" fmla="*/ 3655073 w 7467600"/>
              <a:gd name="connsiteY232" fmla="*/ 3650884 h 6858000"/>
              <a:gd name="connsiteX233" fmla="*/ 3989938 w 7467600"/>
              <a:gd name="connsiteY233" fmla="*/ 3991685 h 6858000"/>
              <a:gd name="connsiteX234" fmla="*/ 4393907 w 7467600"/>
              <a:gd name="connsiteY234" fmla="*/ 4261258 h 6858000"/>
              <a:gd name="connsiteX235" fmla="*/ 4648051 w 7467600"/>
              <a:gd name="connsiteY235" fmla="*/ 4374051 h 6858000"/>
              <a:gd name="connsiteX236" fmla="*/ 4383389 w 7467600"/>
              <a:gd name="connsiteY236" fmla="*/ 4184369 h 6858000"/>
              <a:gd name="connsiteX237" fmla="*/ 4165508 w 7467600"/>
              <a:gd name="connsiteY237" fmla="*/ 4035196 h 6858000"/>
              <a:gd name="connsiteX238" fmla="*/ 4068162 w 7467600"/>
              <a:gd name="connsiteY238" fmla="*/ 3953394 h 6858000"/>
              <a:gd name="connsiteX239" fmla="*/ 3981416 w 7467600"/>
              <a:gd name="connsiteY239" fmla="*/ 3880482 h 6858000"/>
              <a:gd name="connsiteX240" fmla="*/ 3800147 w 7467600"/>
              <a:gd name="connsiteY240" fmla="*/ 3749872 h 6858000"/>
              <a:gd name="connsiteX241" fmla="*/ 3655073 w 7467600"/>
              <a:gd name="connsiteY241" fmla="*/ 3650884 h 6858000"/>
              <a:gd name="connsiteX242" fmla="*/ 3670252 w 7467600"/>
              <a:gd name="connsiteY242" fmla="*/ 3622798 h 6858000"/>
              <a:gd name="connsiteX243" fmla="*/ 3817258 w 7467600"/>
              <a:gd name="connsiteY243" fmla="*/ 3723577 h 6858000"/>
              <a:gd name="connsiteX244" fmla="*/ 4000461 w 7467600"/>
              <a:gd name="connsiteY244" fmla="*/ 3855966 h 6858000"/>
              <a:gd name="connsiteX245" fmla="*/ 4088180 w 7467600"/>
              <a:gd name="connsiteY245" fmla="*/ 3929774 h 6858000"/>
              <a:gd name="connsiteX246" fmla="*/ 4184555 w 7467600"/>
              <a:gd name="connsiteY246" fmla="*/ 4010683 h 6858000"/>
              <a:gd name="connsiteX247" fmla="*/ 4399563 w 7467600"/>
              <a:gd name="connsiteY247" fmla="*/ 4158106 h 6858000"/>
              <a:gd name="connsiteX248" fmla="*/ 4684469 w 7467600"/>
              <a:gd name="connsiteY248" fmla="*/ 4364680 h 6858000"/>
              <a:gd name="connsiteX249" fmla="*/ 4690271 w 7467600"/>
              <a:gd name="connsiteY249" fmla="*/ 4370034 h 6858000"/>
              <a:gd name="connsiteX250" fmla="*/ 4136093 w 7467600"/>
              <a:gd name="connsiteY250" fmla="*/ 3858466 h 6858000"/>
              <a:gd name="connsiteX251" fmla="*/ 3670252 w 7467600"/>
              <a:gd name="connsiteY251" fmla="*/ 3622798 h 6858000"/>
              <a:gd name="connsiteX252" fmla="*/ 4440129 w 7467600"/>
              <a:gd name="connsiteY252" fmla="*/ 3448571 h 6858000"/>
              <a:gd name="connsiteX253" fmla="*/ 4856525 w 7467600"/>
              <a:gd name="connsiteY253" fmla="*/ 3915351 h 6858000"/>
              <a:gd name="connsiteX254" fmla="*/ 5059055 w 7467600"/>
              <a:gd name="connsiteY254" fmla="*/ 4108918 h 6858000"/>
              <a:gd name="connsiteX255" fmla="*/ 5290070 w 7467600"/>
              <a:gd name="connsiteY255" fmla="*/ 4263619 h 6858000"/>
              <a:gd name="connsiteX256" fmla="*/ 4834991 w 7467600"/>
              <a:gd name="connsiteY256" fmla="*/ 3830985 h 6858000"/>
              <a:gd name="connsiteX257" fmla="*/ 4440129 w 7467600"/>
              <a:gd name="connsiteY257" fmla="*/ 3448571 h 6858000"/>
              <a:gd name="connsiteX258" fmla="*/ 4441737 w 7467600"/>
              <a:gd name="connsiteY258" fmla="*/ 3399734 h 6858000"/>
              <a:gd name="connsiteX259" fmla="*/ 4431236 w 7467600"/>
              <a:gd name="connsiteY259" fmla="*/ 3400954 h 6858000"/>
              <a:gd name="connsiteX260" fmla="*/ 4557150 w 7467600"/>
              <a:gd name="connsiteY260" fmla="*/ 3510023 h 6858000"/>
              <a:gd name="connsiteX261" fmla="*/ 4856936 w 7467600"/>
              <a:gd name="connsiteY261" fmla="*/ 3809146 h 6858000"/>
              <a:gd name="connsiteX262" fmla="*/ 5111996 w 7467600"/>
              <a:gd name="connsiteY262" fmla="*/ 4065759 h 6858000"/>
              <a:gd name="connsiteX263" fmla="*/ 5388878 w 7467600"/>
              <a:gd name="connsiteY263" fmla="*/ 4300185 h 6858000"/>
              <a:gd name="connsiteX264" fmla="*/ 5425556 w 7467600"/>
              <a:gd name="connsiteY264" fmla="*/ 4308967 h 6858000"/>
              <a:gd name="connsiteX265" fmla="*/ 4943646 w 7467600"/>
              <a:gd name="connsiteY265" fmla="*/ 3822916 h 6858000"/>
              <a:gd name="connsiteX266" fmla="*/ 4594837 w 7467600"/>
              <a:gd name="connsiteY266" fmla="*/ 3532274 h 6858000"/>
              <a:gd name="connsiteX267" fmla="*/ 4441737 w 7467600"/>
              <a:gd name="connsiteY267" fmla="*/ 3399734 h 6858000"/>
              <a:gd name="connsiteX268" fmla="*/ 5425834 w 7467600"/>
              <a:gd name="connsiteY268" fmla="*/ 3162785 h 6858000"/>
              <a:gd name="connsiteX269" fmla="*/ 5401644 w 7467600"/>
              <a:gd name="connsiteY269" fmla="*/ 3617847 h 6858000"/>
              <a:gd name="connsiteX270" fmla="*/ 5467256 w 7467600"/>
              <a:gd name="connsiteY270" fmla="*/ 4175494 h 6858000"/>
              <a:gd name="connsiteX271" fmla="*/ 5448069 w 7467600"/>
              <a:gd name="connsiteY271" fmla="*/ 3567554 h 6858000"/>
              <a:gd name="connsiteX272" fmla="*/ 5425834 w 7467600"/>
              <a:gd name="connsiteY272" fmla="*/ 3162785 h 6858000"/>
              <a:gd name="connsiteX273" fmla="*/ 1318687 w 7467600"/>
              <a:gd name="connsiteY273" fmla="*/ 3113840 h 6858000"/>
              <a:gd name="connsiteX274" fmla="*/ 1066793 w 7467600"/>
              <a:gd name="connsiteY274" fmla="*/ 3212171 h 6858000"/>
              <a:gd name="connsiteX275" fmla="*/ 993319 w 7467600"/>
              <a:gd name="connsiteY275" fmla="*/ 3247648 h 6858000"/>
              <a:gd name="connsiteX276" fmla="*/ 853081 w 7467600"/>
              <a:gd name="connsiteY276" fmla="*/ 3312410 h 6858000"/>
              <a:gd name="connsiteX277" fmla="*/ 805957 w 7467600"/>
              <a:gd name="connsiteY277" fmla="*/ 3330443 h 6858000"/>
              <a:gd name="connsiteX278" fmla="*/ 1318687 w 7467600"/>
              <a:gd name="connsiteY278" fmla="*/ 3113840 h 6858000"/>
              <a:gd name="connsiteX279" fmla="*/ 5453702 w 7467600"/>
              <a:gd name="connsiteY279" fmla="*/ 3090882 h 6858000"/>
              <a:gd name="connsiteX280" fmla="*/ 5480135 w 7467600"/>
              <a:gd name="connsiteY280" fmla="*/ 3565802 h 6858000"/>
              <a:gd name="connsiteX281" fmla="*/ 5499023 w 7467600"/>
              <a:gd name="connsiteY281" fmla="*/ 4166310 h 6858000"/>
              <a:gd name="connsiteX282" fmla="*/ 5547022 w 7467600"/>
              <a:gd name="connsiteY282" fmla="*/ 3607838 h 6858000"/>
              <a:gd name="connsiteX283" fmla="*/ 5515964 w 7467600"/>
              <a:gd name="connsiteY283" fmla="*/ 3378541 h 6858000"/>
              <a:gd name="connsiteX284" fmla="*/ 5453702 w 7467600"/>
              <a:gd name="connsiteY284" fmla="*/ 3090882 h 6858000"/>
              <a:gd name="connsiteX285" fmla="*/ 1238695 w 7467600"/>
              <a:gd name="connsiteY285" fmla="*/ 3076820 h 6858000"/>
              <a:gd name="connsiteX286" fmla="*/ 716371 w 7467600"/>
              <a:gd name="connsiteY286" fmla="*/ 3293249 h 6858000"/>
              <a:gd name="connsiteX287" fmla="*/ 579522 w 7467600"/>
              <a:gd name="connsiteY287" fmla="*/ 3371759 h 6858000"/>
              <a:gd name="connsiteX288" fmla="*/ 600288 w 7467600"/>
              <a:gd name="connsiteY288" fmla="*/ 3365555 h 6858000"/>
              <a:gd name="connsiteX289" fmla="*/ 840692 w 7467600"/>
              <a:gd name="connsiteY289" fmla="*/ 3284921 h 6858000"/>
              <a:gd name="connsiteX290" fmla="*/ 979248 w 7467600"/>
              <a:gd name="connsiteY290" fmla="*/ 3221003 h 6858000"/>
              <a:gd name="connsiteX291" fmla="*/ 1053282 w 7467600"/>
              <a:gd name="connsiteY291" fmla="*/ 3185247 h 6858000"/>
              <a:gd name="connsiteX292" fmla="*/ 1320603 w 7467600"/>
              <a:gd name="connsiteY292" fmla="*/ 3081281 h 6858000"/>
              <a:gd name="connsiteX293" fmla="*/ 1238695 w 7467600"/>
              <a:gd name="connsiteY293" fmla="*/ 3076820 h 6858000"/>
              <a:gd name="connsiteX294" fmla="*/ 5425627 w 7467600"/>
              <a:gd name="connsiteY294" fmla="*/ 2954192 h 6858000"/>
              <a:gd name="connsiteX295" fmla="*/ 5470770 w 7467600"/>
              <a:gd name="connsiteY295" fmla="*/ 3005435 h 6858000"/>
              <a:gd name="connsiteX296" fmla="*/ 5519779 w 7467600"/>
              <a:gd name="connsiteY296" fmla="*/ 4359223 h 6858000"/>
              <a:gd name="connsiteX297" fmla="*/ 5520293 w 7467600"/>
              <a:gd name="connsiteY297" fmla="*/ 4360602 h 6858000"/>
              <a:gd name="connsiteX298" fmla="*/ 5767221 w 7467600"/>
              <a:gd name="connsiteY298" fmla="*/ 4665564 h 6858000"/>
              <a:gd name="connsiteX299" fmla="*/ 6937169 w 7467600"/>
              <a:gd name="connsiteY299" fmla="*/ 4815941 h 6858000"/>
              <a:gd name="connsiteX300" fmla="*/ 6953922 w 7467600"/>
              <a:gd name="connsiteY300" fmla="*/ 4890068 h 6858000"/>
              <a:gd name="connsiteX301" fmla="*/ 6071359 w 7467600"/>
              <a:gd name="connsiteY301" fmla="*/ 4770770 h 6858000"/>
              <a:gd name="connsiteX302" fmla="*/ 6038839 w 7467600"/>
              <a:gd name="connsiteY302" fmla="*/ 4764474 h 6858000"/>
              <a:gd name="connsiteX303" fmla="*/ 6038706 w 7467600"/>
              <a:gd name="connsiteY303" fmla="*/ 4763847 h 6858000"/>
              <a:gd name="connsiteX304" fmla="*/ 6037784 w 7467600"/>
              <a:gd name="connsiteY304" fmla="*/ 4764270 h 6858000"/>
              <a:gd name="connsiteX305" fmla="*/ 6038839 w 7467600"/>
              <a:gd name="connsiteY305" fmla="*/ 4764474 h 6858000"/>
              <a:gd name="connsiteX306" fmla="*/ 6040338 w 7467600"/>
              <a:gd name="connsiteY306" fmla="*/ 4771418 h 6858000"/>
              <a:gd name="connsiteX307" fmla="*/ 6024488 w 7467600"/>
              <a:gd name="connsiteY307" fmla="*/ 4809903 h 6858000"/>
              <a:gd name="connsiteX308" fmla="*/ 5599771 w 7467600"/>
              <a:gd name="connsiteY308" fmla="*/ 5509652 h 6858000"/>
              <a:gd name="connsiteX309" fmla="*/ 5548843 w 7467600"/>
              <a:gd name="connsiteY309" fmla="*/ 5563845 h 6858000"/>
              <a:gd name="connsiteX310" fmla="*/ 5940952 w 7467600"/>
              <a:gd name="connsiteY310" fmla="*/ 6250028 h 6858000"/>
              <a:gd name="connsiteX311" fmla="*/ 6043441 w 7467600"/>
              <a:gd name="connsiteY311" fmla="*/ 6665847 h 6858000"/>
              <a:gd name="connsiteX312" fmla="*/ 6093432 w 7467600"/>
              <a:gd name="connsiteY312" fmla="*/ 6858000 h 6858000"/>
              <a:gd name="connsiteX313" fmla="*/ 6034344 w 7467600"/>
              <a:gd name="connsiteY313" fmla="*/ 6858000 h 6858000"/>
              <a:gd name="connsiteX314" fmla="*/ 6026679 w 7467600"/>
              <a:gd name="connsiteY314" fmla="*/ 6836959 h 6858000"/>
              <a:gd name="connsiteX315" fmla="*/ 5800441 w 7467600"/>
              <a:gd name="connsiteY315" fmla="*/ 6335286 h 6858000"/>
              <a:gd name="connsiteX316" fmla="*/ 5526562 w 7467600"/>
              <a:gd name="connsiteY316" fmla="*/ 5705388 h 6858000"/>
              <a:gd name="connsiteX317" fmla="*/ 5519640 w 7467600"/>
              <a:gd name="connsiteY317" fmla="*/ 5683774 h 6858000"/>
              <a:gd name="connsiteX318" fmla="*/ 5844559 w 7467600"/>
              <a:gd name="connsiteY318" fmla="*/ 6553349 h 6858000"/>
              <a:gd name="connsiteX319" fmla="*/ 5975994 w 7467600"/>
              <a:gd name="connsiteY319" fmla="*/ 6858000 h 6858000"/>
              <a:gd name="connsiteX320" fmla="*/ 5898547 w 7467600"/>
              <a:gd name="connsiteY320" fmla="*/ 6858000 h 6858000"/>
              <a:gd name="connsiteX321" fmla="*/ 5682041 w 7467600"/>
              <a:gd name="connsiteY321" fmla="*/ 6355860 h 6858000"/>
              <a:gd name="connsiteX322" fmla="*/ 5461758 w 7467600"/>
              <a:gd name="connsiteY322" fmla="*/ 5820220 h 6858000"/>
              <a:gd name="connsiteX323" fmla="*/ 5237282 w 7467600"/>
              <a:gd name="connsiteY323" fmla="*/ 6579086 h 6858000"/>
              <a:gd name="connsiteX324" fmla="*/ 5115009 w 7467600"/>
              <a:gd name="connsiteY324" fmla="*/ 6858000 h 6858000"/>
              <a:gd name="connsiteX325" fmla="*/ 5028074 w 7467600"/>
              <a:gd name="connsiteY325" fmla="*/ 6858000 h 6858000"/>
              <a:gd name="connsiteX326" fmla="*/ 5079508 w 7467600"/>
              <a:gd name="connsiteY326" fmla="*/ 6749074 h 6858000"/>
              <a:gd name="connsiteX327" fmla="*/ 5371846 w 7467600"/>
              <a:gd name="connsiteY327" fmla="*/ 5924413 h 6858000"/>
              <a:gd name="connsiteX328" fmla="*/ 5270512 w 7467600"/>
              <a:gd name="connsiteY328" fmla="*/ 6138975 h 6858000"/>
              <a:gd name="connsiteX329" fmla="*/ 5062409 w 7467600"/>
              <a:gd name="connsiteY329" fmla="*/ 6653544 h 6858000"/>
              <a:gd name="connsiteX330" fmla="*/ 5036628 w 7467600"/>
              <a:gd name="connsiteY330" fmla="*/ 6754247 h 6858000"/>
              <a:gd name="connsiteX331" fmla="*/ 5009112 w 7467600"/>
              <a:gd name="connsiteY331" fmla="*/ 6858000 h 6858000"/>
              <a:gd name="connsiteX332" fmla="*/ 4976679 w 7467600"/>
              <a:gd name="connsiteY332" fmla="*/ 6858000 h 6858000"/>
              <a:gd name="connsiteX333" fmla="*/ 5006537 w 7467600"/>
              <a:gd name="connsiteY333" fmla="*/ 6747068 h 6858000"/>
              <a:gd name="connsiteX334" fmla="*/ 5032723 w 7467600"/>
              <a:gd name="connsiteY334" fmla="*/ 6644957 h 6858000"/>
              <a:gd name="connsiteX335" fmla="*/ 5242949 w 7467600"/>
              <a:gd name="connsiteY335" fmla="*/ 6125175 h 6858000"/>
              <a:gd name="connsiteX336" fmla="*/ 5286321 w 7467600"/>
              <a:gd name="connsiteY336" fmla="*/ 6033555 h 6858000"/>
              <a:gd name="connsiteX337" fmla="*/ 5008210 w 7467600"/>
              <a:gd name="connsiteY337" fmla="*/ 6649194 h 6858000"/>
              <a:gd name="connsiteX338" fmla="*/ 4986321 w 7467600"/>
              <a:gd name="connsiteY338" fmla="*/ 6765687 h 6858000"/>
              <a:gd name="connsiteX339" fmla="*/ 4973474 w 7467600"/>
              <a:gd name="connsiteY339" fmla="*/ 6858000 h 6858000"/>
              <a:gd name="connsiteX340" fmla="*/ 4907178 w 7467600"/>
              <a:gd name="connsiteY340" fmla="*/ 6858000 h 6858000"/>
              <a:gd name="connsiteX341" fmla="*/ 4910810 w 7467600"/>
              <a:gd name="connsiteY341" fmla="*/ 6829660 h 6858000"/>
              <a:gd name="connsiteX342" fmla="*/ 4987461 w 7467600"/>
              <a:gd name="connsiteY342" fmla="*/ 6432994 h 6858000"/>
              <a:gd name="connsiteX343" fmla="*/ 5179262 w 7467600"/>
              <a:gd name="connsiteY343" fmla="*/ 6035044 h 6858000"/>
              <a:gd name="connsiteX344" fmla="*/ 4689678 w 7467600"/>
              <a:gd name="connsiteY344" fmla="*/ 6440241 h 6858000"/>
              <a:gd name="connsiteX345" fmla="*/ 4477543 w 7467600"/>
              <a:gd name="connsiteY345" fmla="*/ 6674836 h 6858000"/>
              <a:gd name="connsiteX346" fmla="*/ 4329957 w 7467600"/>
              <a:gd name="connsiteY346" fmla="*/ 6858000 h 6858000"/>
              <a:gd name="connsiteX347" fmla="*/ 4218595 w 7467600"/>
              <a:gd name="connsiteY347" fmla="*/ 6858000 h 6858000"/>
              <a:gd name="connsiteX348" fmla="*/ 4368888 w 7467600"/>
              <a:gd name="connsiteY348" fmla="*/ 6668412 h 6858000"/>
              <a:gd name="connsiteX349" fmla="*/ 4563091 w 7467600"/>
              <a:gd name="connsiteY349" fmla="*/ 6442508 h 6858000"/>
              <a:gd name="connsiteX350" fmla="*/ 5387324 w 7467600"/>
              <a:gd name="connsiteY350" fmla="*/ 5705830 h 6858000"/>
              <a:gd name="connsiteX351" fmla="*/ 5073620 w 7467600"/>
              <a:gd name="connsiteY351" fmla="*/ 5955437 h 6858000"/>
              <a:gd name="connsiteX352" fmla="*/ 4689789 w 7467600"/>
              <a:gd name="connsiteY352" fmla="*/ 6268382 h 6858000"/>
              <a:gd name="connsiteX353" fmla="*/ 4418722 w 7467600"/>
              <a:gd name="connsiteY353" fmla="*/ 6570886 h 6858000"/>
              <a:gd name="connsiteX354" fmla="*/ 4214944 w 7467600"/>
              <a:gd name="connsiteY354" fmla="*/ 6858000 h 6858000"/>
              <a:gd name="connsiteX355" fmla="*/ 4177898 w 7467600"/>
              <a:gd name="connsiteY355" fmla="*/ 6858000 h 6858000"/>
              <a:gd name="connsiteX356" fmla="*/ 4391597 w 7467600"/>
              <a:gd name="connsiteY356" fmla="*/ 6556370 h 6858000"/>
              <a:gd name="connsiteX357" fmla="*/ 4668889 w 7467600"/>
              <a:gd name="connsiteY357" fmla="*/ 6246399 h 6858000"/>
              <a:gd name="connsiteX358" fmla="*/ 5055427 w 7467600"/>
              <a:gd name="connsiteY358" fmla="*/ 5931476 h 6858000"/>
              <a:gd name="connsiteX359" fmla="*/ 5371814 w 7467600"/>
              <a:gd name="connsiteY359" fmla="*/ 5678975 h 6858000"/>
              <a:gd name="connsiteX360" fmla="*/ 4987918 w 7467600"/>
              <a:gd name="connsiteY360" fmla="*/ 5838701 h 6858000"/>
              <a:gd name="connsiteX361" fmla="*/ 4317146 w 7467600"/>
              <a:gd name="connsiteY361" fmla="*/ 6587716 h 6858000"/>
              <a:gd name="connsiteX362" fmla="*/ 4171627 w 7467600"/>
              <a:gd name="connsiteY362" fmla="*/ 6858000 h 6858000"/>
              <a:gd name="connsiteX363" fmla="*/ 4081585 w 7467600"/>
              <a:gd name="connsiteY363" fmla="*/ 6858000 h 6858000"/>
              <a:gd name="connsiteX364" fmla="*/ 4238603 w 7467600"/>
              <a:gd name="connsiteY364" fmla="*/ 6559341 h 6858000"/>
              <a:gd name="connsiteX365" fmla="*/ 4778333 w 7467600"/>
              <a:gd name="connsiteY365" fmla="*/ 5873626 h 6858000"/>
              <a:gd name="connsiteX366" fmla="*/ 5414185 w 7467600"/>
              <a:gd name="connsiteY366" fmla="*/ 5573882 h 6858000"/>
              <a:gd name="connsiteX367" fmla="*/ 5959648 w 7467600"/>
              <a:gd name="connsiteY367" fmla="*/ 4760797 h 6858000"/>
              <a:gd name="connsiteX368" fmla="*/ 5355019 w 7467600"/>
              <a:gd name="connsiteY368" fmla="*/ 4734672 h 6858000"/>
              <a:gd name="connsiteX369" fmla="*/ 5083565 w 7467600"/>
              <a:gd name="connsiteY369" fmla="*/ 5179121 h 6858000"/>
              <a:gd name="connsiteX370" fmla="*/ 4713577 w 7467600"/>
              <a:gd name="connsiteY370" fmla="*/ 5616803 h 6858000"/>
              <a:gd name="connsiteX371" fmla="*/ 3989559 w 7467600"/>
              <a:gd name="connsiteY371" fmla="*/ 6145945 h 6858000"/>
              <a:gd name="connsiteX372" fmla="*/ 3939824 w 7467600"/>
              <a:gd name="connsiteY372" fmla="*/ 6066900 h 6858000"/>
              <a:gd name="connsiteX373" fmla="*/ 4584537 w 7467600"/>
              <a:gd name="connsiteY373" fmla="*/ 5324826 h 6858000"/>
              <a:gd name="connsiteX374" fmla="*/ 5037105 w 7467600"/>
              <a:gd name="connsiteY374" fmla="*/ 5088765 h 6858000"/>
              <a:gd name="connsiteX375" fmla="*/ 5039930 w 7467600"/>
              <a:gd name="connsiteY375" fmla="*/ 5089585 h 6858000"/>
              <a:gd name="connsiteX376" fmla="*/ 5263764 w 7467600"/>
              <a:gd name="connsiteY376" fmla="*/ 4735525 h 6858000"/>
              <a:gd name="connsiteX377" fmla="*/ 4086300 w 7467600"/>
              <a:gd name="connsiteY377" fmla="*/ 4884599 h 6858000"/>
              <a:gd name="connsiteX378" fmla="*/ 4085485 w 7467600"/>
              <a:gd name="connsiteY378" fmla="*/ 4899070 h 6858000"/>
              <a:gd name="connsiteX379" fmla="*/ 3871915 w 7467600"/>
              <a:gd name="connsiteY379" fmla="*/ 5253645 h 6858000"/>
              <a:gd name="connsiteX380" fmla="*/ 3799374 w 7467600"/>
              <a:gd name="connsiteY380" fmla="*/ 5466127 h 6858000"/>
              <a:gd name="connsiteX381" fmla="*/ 3498850 w 7467600"/>
              <a:gd name="connsiteY381" fmla="*/ 6661888 h 6858000"/>
              <a:gd name="connsiteX382" fmla="*/ 3399216 w 7467600"/>
              <a:gd name="connsiteY382" fmla="*/ 6858000 h 6858000"/>
              <a:gd name="connsiteX383" fmla="*/ 3303688 w 7467600"/>
              <a:gd name="connsiteY383" fmla="*/ 6858000 h 6858000"/>
              <a:gd name="connsiteX384" fmla="*/ 3391774 w 7467600"/>
              <a:gd name="connsiteY384" fmla="*/ 6697181 h 6858000"/>
              <a:gd name="connsiteX385" fmla="*/ 3735540 w 7467600"/>
              <a:gd name="connsiteY385" fmla="*/ 5546923 h 6858000"/>
              <a:gd name="connsiteX386" fmla="*/ 3729438 w 7467600"/>
              <a:gd name="connsiteY386" fmla="*/ 5569058 h 6858000"/>
              <a:gd name="connsiteX387" fmla="*/ 3707782 w 7467600"/>
              <a:gd name="connsiteY387" fmla="*/ 5644908 h 6858000"/>
              <a:gd name="connsiteX388" fmla="*/ 3583827 w 7467600"/>
              <a:gd name="connsiteY388" fmla="*/ 6039215 h 6858000"/>
              <a:gd name="connsiteX389" fmla="*/ 3547861 w 7467600"/>
              <a:gd name="connsiteY389" fmla="*/ 6129609 h 6858000"/>
              <a:gd name="connsiteX390" fmla="*/ 3490905 w 7467600"/>
              <a:gd name="connsiteY390" fmla="*/ 6277660 h 6858000"/>
              <a:gd name="connsiteX391" fmla="*/ 3455859 w 7467600"/>
              <a:gd name="connsiteY391" fmla="*/ 6391301 h 6858000"/>
              <a:gd name="connsiteX392" fmla="*/ 3429112 w 7467600"/>
              <a:gd name="connsiteY392" fmla="*/ 6479469 h 6858000"/>
              <a:gd name="connsiteX393" fmla="*/ 3304862 w 7467600"/>
              <a:gd name="connsiteY393" fmla="*/ 6796476 h 6858000"/>
              <a:gd name="connsiteX394" fmla="*/ 3276071 w 7467600"/>
              <a:gd name="connsiteY394" fmla="*/ 6858000 h 6858000"/>
              <a:gd name="connsiteX395" fmla="*/ 3240805 w 7467600"/>
              <a:gd name="connsiteY395" fmla="*/ 6858000 h 6858000"/>
              <a:gd name="connsiteX396" fmla="*/ 3275917 w 7467600"/>
              <a:gd name="connsiteY396" fmla="*/ 6783192 h 6858000"/>
              <a:gd name="connsiteX397" fmla="*/ 3399358 w 7467600"/>
              <a:gd name="connsiteY397" fmla="*/ 6469011 h 6858000"/>
              <a:gd name="connsiteX398" fmla="*/ 3425650 w 7467600"/>
              <a:gd name="connsiteY398" fmla="*/ 6381333 h 6858000"/>
              <a:gd name="connsiteX399" fmla="*/ 3460661 w 7467600"/>
              <a:gd name="connsiteY399" fmla="*/ 6266763 h 6858000"/>
              <a:gd name="connsiteX400" fmla="*/ 3518021 w 7467600"/>
              <a:gd name="connsiteY400" fmla="*/ 6117298 h 6858000"/>
              <a:gd name="connsiteX401" fmla="*/ 3554035 w 7467600"/>
              <a:gd name="connsiteY401" fmla="*/ 6027832 h 6858000"/>
              <a:gd name="connsiteX402" fmla="*/ 3677174 w 7467600"/>
              <a:gd name="connsiteY402" fmla="*/ 5636351 h 6858000"/>
              <a:gd name="connsiteX403" fmla="*/ 3698819 w 7467600"/>
              <a:gd name="connsiteY403" fmla="*/ 5560503 h 6858000"/>
              <a:gd name="connsiteX404" fmla="*/ 3702094 w 7467600"/>
              <a:gd name="connsiteY404" fmla="*/ 5549194 h 6858000"/>
              <a:gd name="connsiteX405" fmla="*/ 3398355 w 7467600"/>
              <a:gd name="connsiteY405" fmla="*/ 6094603 h 6858000"/>
              <a:gd name="connsiteX406" fmla="*/ 3193941 w 7467600"/>
              <a:gd name="connsiteY406" fmla="*/ 6798775 h 6858000"/>
              <a:gd name="connsiteX407" fmla="*/ 3184140 w 7467600"/>
              <a:gd name="connsiteY407" fmla="*/ 6858000 h 6858000"/>
              <a:gd name="connsiteX408" fmla="*/ 3099978 w 7467600"/>
              <a:gd name="connsiteY408" fmla="*/ 6858000 h 6858000"/>
              <a:gd name="connsiteX409" fmla="*/ 3101556 w 7467600"/>
              <a:gd name="connsiteY409" fmla="*/ 6843337 h 6858000"/>
              <a:gd name="connsiteX410" fmla="*/ 3370162 w 7467600"/>
              <a:gd name="connsiteY410" fmla="*/ 5785550 h 6858000"/>
              <a:gd name="connsiteX411" fmla="*/ 3746477 w 7467600"/>
              <a:gd name="connsiteY411" fmla="*/ 5377889 h 6858000"/>
              <a:gd name="connsiteX412" fmla="*/ 3863399 w 7467600"/>
              <a:gd name="connsiteY412" fmla="*/ 5087257 h 6858000"/>
              <a:gd name="connsiteX413" fmla="*/ 3968712 w 7467600"/>
              <a:gd name="connsiteY413" fmla="*/ 4913989 h 6858000"/>
              <a:gd name="connsiteX414" fmla="*/ 2792390 w 7467600"/>
              <a:gd name="connsiteY414" fmla="*/ 5382974 h 6858000"/>
              <a:gd name="connsiteX415" fmla="*/ 2714982 w 7467600"/>
              <a:gd name="connsiteY415" fmla="*/ 5427051 h 6858000"/>
              <a:gd name="connsiteX416" fmla="*/ 2813361 w 7467600"/>
              <a:gd name="connsiteY416" fmla="*/ 6023912 h 6858000"/>
              <a:gd name="connsiteX417" fmla="*/ 2688430 w 7467600"/>
              <a:gd name="connsiteY417" fmla="*/ 6801564 h 6858000"/>
              <a:gd name="connsiteX418" fmla="*/ 2629626 w 7467600"/>
              <a:gd name="connsiteY418" fmla="*/ 6763394 h 6858000"/>
              <a:gd name="connsiteX419" fmla="*/ 2565328 w 7467600"/>
              <a:gd name="connsiteY419" fmla="*/ 5516399 h 6858000"/>
              <a:gd name="connsiteX420" fmla="*/ 1922999 w 7467600"/>
              <a:gd name="connsiteY420" fmla="*/ 5980343 h 6858000"/>
              <a:gd name="connsiteX421" fmla="*/ 1950261 w 7467600"/>
              <a:gd name="connsiteY421" fmla="*/ 6405858 h 6858000"/>
              <a:gd name="connsiteX422" fmla="*/ 2365554 w 7467600"/>
              <a:gd name="connsiteY422" fmla="*/ 6759107 h 6858000"/>
              <a:gd name="connsiteX423" fmla="*/ 2424142 w 7467600"/>
              <a:gd name="connsiteY423" fmla="*/ 6858000 h 6858000"/>
              <a:gd name="connsiteX424" fmla="*/ 2395994 w 7467600"/>
              <a:gd name="connsiteY424" fmla="*/ 6858000 h 6858000"/>
              <a:gd name="connsiteX425" fmla="*/ 2392863 w 7467600"/>
              <a:gd name="connsiteY425" fmla="*/ 6852964 h 6858000"/>
              <a:gd name="connsiteX426" fmla="*/ 2017589 w 7467600"/>
              <a:gd name="connsiteY426" fmla="*/ 6493982 h 6858000"/>
              <a:gd name="connsiteX427" fmla="*/ 2147336 w 7467600"/>
              <a:gd name="connsiteY427" fmla="*/ 6594052 h 6858000"/>
              <a:gd name="connsiteX428" fmla="*/ 2207047 w 7467600"/>
              <a:gd name="connsiteY428" fmla="*/ 6654540 h 6858000"/>
              <a:gd name="connsiteX429" fmla="*/ 2299106 w 7467600"/>
              <a:gd name="connsiteY429" fmla="*/ 6778931 h 6858000"/>
              <a:gd name="connsiteX430" fmla="*/ 2314430 w 7467600"/>
              <a:gd name="connsiteY430" fmla="*/ 6801144 h 6858000"/>
              <a:gd name="connsiteX431" fmla="*/ 2352406 w 7467600"/>
              <a:gd name="connsiteY431" fmla="*/ 6858000 h 6858000"/>
              <a:gd name="connsiteX432" fmla="*/ 2314492 w 7467600"/>
              <a:gd name="connsiteY432" fmla="*/ 6858000 h 6858000"/>
              <a:gd name="connsiteX433" fmla="*/ 2288095 w 7467600"/>
              <a:gd name="connsiteY433" fmla="*/ 6818030 h 6858000"/>
              <a:gd name="connsiteX434" fmla="*/ 2272768 w 7467600"/>
              <a:gd name="connsiteY434" fmla="*/ 6795822 h 6858000"/>
              <a:gd name="connsiteX435" fmla="*/ 2182715 w 7467600"/>
              <a:gd name="connsiteY435" fmla="*/ 6675071 h 6858000"/>
              <a:gd name="connsiteX436" fmla="*/ 2032061 w 7467600"/>
              <a:gd name="connsiteY436" fmla="*/ 6541380 h 6858000"/>
              <a:gd name="connsiteX437" fmla="*/ 2257220 w 7467600"/>
              <a:gd name="connsiteY437" fmla="*/ 6826257 h 6858000"/>
              <a:gd name="connsiteX438" fmla="*/ 2281324 w 7467600"/>
              <a:gd name="connsiteY438" fmla="*/ 6858000 h 6858000"/>
              <a:gd name="connsiteX439" fmla="*/ 2242860 w 7467600"/>
              <a:gd name="connsiteY439" fmla="*/ 6858000 h 6858000"/>
              <a:gd name="connsiteX440" fmla="*/ 2232818 w 7467600"/>
              <a:gd name="connsiteY440" fmla="*/ 6844926 h 6858000"/>
              <a:gd name="connsiteX441" fmla="*/ 1990172 w 7467600"/>
              <a:gd name="connsiteY441" fmla="*/ 6542121 h 6858000"/>
              <a:gd name="connsiteX442" fmla="*/ 2124090 w 7467600"/>
              <a:gd name="connsiteY442" fmla="*/ 6761017 h 6858000"/>
              <a:gd name="connsiteX443" fmla="*/ 2200380 w 7467600"/>
              <a:gd name="connsiteY443" fmla="*/ 6858000 h 6858000"/>
              <a:gd name="connsiteX444" fmla="*/ 2147507 w 7467600"/>
              <a:gd name="connsiteY444" fmla="*/ 6858000 h 6858000"/>
              <a:gd name="connsiteX445" fmla="*/ 2070668 w 7467600"/>
              <a:gd name="connsiteY445" fmla="*/ 6761520 h 6858000"/>
              <a:gd name="connsiteX446" fmla="*/ 1975142 w 7467600"/>
              <a:gd name="connsiteY446" fmla="*/ 6585570 h 6858000"/>
              <a:gd name="connsiteX447" fmla="*/ 2050035 w 7467600"/>
              <a:gd name="connsiteY447" fmla="*/ 6813345 h 6858000"/>
              <a:gd name="connsiteX448" fmla="*/ 2063025 w 7467600"/>
              <a:gd name="connsiteY448" fmla="*/ 6858000 h 6858000"/>
              <a:gd name="connsiteX449" fmla="*/ 2021675 w 7467600"/>
              <a:gd name="connsiteY449" fmla="*/ 6858000 h 6858000"/>
              <a:gd name="connsiteX450" fmla="*/ 2019308 w 7467600"/>
              <a:gd name="connsiteY450" fmla="*/ 6847118 h 6858000"/>
              <a:gd name="connsiteX451" fmla="*/ 1938835 w 7467600"/>
              <a:gd name="connsiteY451" fmla="*/ 6551160 h 6858000"/>
              <a:gd name="connsiteX452" fmla="*/ 1953230 w 7467600"/>
              <a:gd name="connsiteY452" fmla="*/ 6759699 h 6858000"/>
              <a:gd name="connsiteX453" fmla="*/ 1956763 w 7467600"/>
              <a:gd name="connsiteY453" fmla="*/ 6778191 h 6858000"/>
              <a:gd name="connsiteX454" fmla="*/ 1967925 w 7467600"/>
              <a:gd name="connsiteY454" fmla="*/ 6858000 h 6858000"/>
              <a:gd name="connsiteX455" fmla="*/ 1936622 w 7467600"/>
              <a:gd name="connsiteY455" fmla="*/ 6858000 h 6858000"/>
              <a:gd name="connsiteX456" fmla="*/ 1926261 w 7467600"/>
              <a:gd name="connsiteY456" fmla="*/ 6784064 h 6858000"/>
              <a:gd name="connsiteX457" fmla="*/ 1922724 w 7467600"/>
              <a:gd name="connsiteY457" fmla="*/ 6765577 h 6858000"/>
              <a:gd name="connsiteX458" fmla="*/ 1904650 w 7467600"/>
              <a:gd name="connsiteY458" fmla="*/ 6639616 h 6858000"/>
              <a:gd name="connsiteX459" fmla="*/ 1885273 w 7467600"/>
              <a:gd name="connsiteY459" fmla="*/ 6858000 h 6858000"/>
              <a:gd name="connsiteX460" fmla="*/ 1854363 w 7467600"/>
              <a:gd name="connsiteY460" fmla="*/ 6858000 h 6858000"/>
              <a:gd name="connsiteX461" fmla="*/ 1880391 w 7467600"/>
              <a:gd name="connsiteY461" fmla="*/ 6603796 h 6858000"/>
              <a:gd name="connsiteX462" fmla="*/ 1818273 w 7467600"/>
              <a:gd name="connsiteY462" fmla="*/ 6715729 h 6858000"/>
              <a:gd name="connsiteX463" fmla="*/ 1794691 w 7467600"/>
              <a:gd name="connsiteY463" fmla="*/ 6843239 h 6858000"/>
              <a:gd name="connsiteX464" fmla="*/ 1794914 w 7467600"/>
              <a:gd name="connsiteY464" fmla="*/ 6858000 h 6858000"/>
              <a:gd name="connsiteX465" fmla="*/ 1746128 w 7467600"/>
              <a:gd name="connsiteY465" fmla="*/ 6858000 h 6858000"/>
              <a:gd name="connsiteX466" fmla="*/ 1753934 w 7467600"/>
              <a:gd name="connsiteY466" fmla="*/ 6724796 h 6858000"/>
              <a:gd name="connsiteX467" fmla="*/ 1792053 w 7467600"/>
              <a:gd name="connsiteY467" fmla="*/ 6572396 h 6858000"/>
              <a:gd name="connsiteX468" fmla="*/ 1862248 w 7467600"/>
              <a:gd name="connsiteY468" fmla="*/ 6266397 h 6858000"/>
              <a:gd name="connsiteX469" fmla="*/ 1862250 w 7467600"/>
              <a:gd name="connsiteY469" fmla="*/ 6033531 h 6858000"/>
              <a:gd name="connsiteX470" fmla="*/ 1211999 w 7467600"/>
              <a:gd name="connsiteY470" fmla="*/ 6683610 h 6858000"/>
              <a:gd name="connsiteX471" fmla="*/ 1213266 w 7467600"/>
              <a:gd name="connsiteY471" fmla="*/ 6691947 h 6858000"/>
              <a:gd name="connsiteX472" fmla="*/ 1203370 w 7467600"/>
              <a:gd name="connsiteY472" fmla="*/ 6850676 h 6858000"/>
              <a:gd name="connsiteX473" fmla="*/ 1203671 w 7467600"/>
              <a:gd name="connsiteY473" fmla="*/ 6858000 h 6858000"/>
              <a:gd name="connsiteX474" fmla="*/ 1143180 w 7467600"/>
              <a:gd name="connsiteY474" fmla="*/ 6858000 h 6858000"/>
              <a:gd name="connsiteX475" fmla="*/ 1142176 w 7467600"/>
              <a:gd name="connsiteY475" fmla="*/ 6766045 h 6858000"/>
              <a:gd name="connsiteX476" fmla="*/ 1067484 w 7467600"/>
              <a:gd name="connsiteY476" fmla="*/ 6858000 h 6858000"/>
              <a:gd name="connsiteX477" fmla="*/ 953928 w 7467600"/>
              <a:gd name="connsiteY477" fmla="*/ 6858000 h 6858000"/>
              <a:gd name="connsiteX478" fmla="*/ 959715 w 7467600"/>
              <a:gd name="connsiteY478" fmla="*/ 6850185 h 6858000"/>
              <a:gd name="connsiteX479" fmla="*/ 1483788 w 7467600"/>
              <a:gd name="connsiteY479" fmla="*/ 6259174 h 6858000"/>
              <a:gd name="connsiteX480" fmla="*/ 1100671 w 7467600"/>
              <a:gd name="connsiteY480" fmla="*/ 6252137 h 6858000"/>
              <a:gd name="connsiteX481" fmla="*/ 1090144 w 7467600"/>
              <a:gd name="connsiteY481" fmla="*/ 6256748 h 6858000"/>
              <a:gd name="connsiteX482" fmla="*/ 1095872 w 7467600"/>
              <a:gd name="connsiteY482" fmla="*/ 6271892 h 6858000"/>
              <a:gd name="connsiteX483" fmla="*/ 262785 w 7467600"/>
              <a:gd name="connsiteY483" fmla="*/ 6845450 h 6858000"/>
              <a:gd name="connsiteX484" fmla="*/ 209968 w 7467600"/>
              <a:gd name="connsiteY484" fmla="*/ 6770713 h 6858000"/>
              <a:gd name="connsiteX485" fmla="*/ 873460 w 7467600"/>
              <a:gd name="connsiteY485" fmla="*/ 6253768 h 6858000"/>
              <a:gd name="connsiteX486" fmla="*/ 192686 w 7467600"/>
              <a:gd name="connsiteY486" fmla="*/ 5849257 h 6858000"/>
              <a:gd name="connsiteX487" fmla="*/ 4696 w 7467600"/>
              <a:gd name="connsiteY487" fmla="*/ 5697668 h 6858000"/>
              <a:gd name="connsiteX488" fmla="*/ 0 w 7467600"/>
              <a:gd name="connsiteY488" fmla="*/ 5689984 h 6858000"/>
              <a:gd name="connsiteX489" fmla="*/ 0 w 7467600"/>
              <a:gd name="connsiteY489" fmla="*/ 5513472 h 6858000"/>
              <a:gd name="connsiteX490" fmla="*/ 174101 w 7467600"/>
              <a:gd name="connsiteY490" fmla="*/ 5620277 h 6858000"/>
              <a:gd name="connsiteX491" fmla="*/ 891800 w 7467600"/>
              <a:gd name="connsiteY491" fmla="*/ 6036935 h 6858000"/>
              <a:gd name="connsiteX492" fmla="*/ 1072219 w 7467600"/>
              <a:gd name="connsiteY492" fmla="*/ 6169443 h 6858000"/>
              <a:gd name="connsiteX493" fmla="*/ 1074117 w 7467600"/>
              <a:gd name="connsiteY493" fmla="*/ 6170301 h 6858000"/>
              <a:gd name="connsiteX494" fmla="*/ 1083114 w 7467600"/>
              <a:gd name="connsiteY494" fmla="*/ 6174131 h 6858000"/>
              <a:gd name="connsiteX495" fmla="*/ 1543010 w 7467600"/>
              <a:gd name="connsiteY495" fmla="*/ 6191140 h 6858000"/>
              <a:gd name="connsiteX496" fmla="*/ 1551080 w 7467600"/>
              <a:gd name="connsiteY496" fmla="*/ 6195006 h 6858000"/>
              <a:gd name="connsiteX497" fmla="*/ 2345443 w 7467600"/>
              <a:gd name="connsiteY497" fmla="*/ 5549882 h 6858000"/>
              <a:gd name="connsiteX498" fmla="*/ 1721499 w 7467600"/>
              <a:gd name="connsiteY498" fmla="*/ 5599969 h 6858000"/>
              <a:gd name="connsiteX499" fmla="*/ 767716 w 7467600"/>
              <a:gd name="connsiteY499" fmla="*/ 5472768 h 6858000"/>
              <a:gd name="connsiteX500" fmla="*/ 722147 w 7467600"/>
              <a:gd name="connsiteY500" fmla="*/ 5393091 h 6858000"/>
              <a:gd name="connsiteX501" fmla="*/ 1485552 w 7467600"/>
              <a:gd name="connsiteY501" fmla="*/ 5313202 h 6858000"/>
              <a:gd name="connsiteX502" fmla="*/ 2143004 w 7467600"/>
              <a:gd name="connsiteY502" fmla="*/ 5402420 h 6858000"/>
              <a:gd name="connsiteX503" fmla="*/ 1933391 w 7467600"/>
              <a:gd name="connsiteY503" fmla="*/ 5156971 h 6858000"/>
              <a:gd name="connsiteX504" fmla="*/ 1827118 w 7467600"/>
              <a:gd name="connsiteY504" fmla="*/ 4968410 h 6858000"/>
              <a:gd name="connsiteX505" fmla="*/ 1837349 w 7467600"/>
              <a:gd name="connsiteY505" fmla="*/ 4956357 h 6858000"/>
              <a:gd name="connsiteX506" fmla="*/ 2162835 w 7467600"/>
              <a:gd name="connsiteY506" fmla="*/ 5187853 h 6858000"/>
              <a:gd name="connsiteX507" fmla="*/ 2257167 w 7467600"/>
              <a:gd name="connsiteY507" fmla="*/ 5462123 h 6858000"/>
              <a:gd name="connsiteX508" fmla="*/ 2261598 w 7467600"/>
              <a:gd name="connsiteY508" fmla="*/ 5467998 h 6858000"/>
              <a:gd name="connsiteX509" fmla="*/ 2437177 w 7467600"/>
              <a:gd name="connsiteY509" fmla="*/ 5479608 h 6858000"/>
              <a:gd name="connsiteX510" fmla="*/ 2445247 w 7467600"/>
              <a:gd name="connsiteY510" fmla="*/ 5483476 h 6858000"/>
              <a:gd name="connsiteX511" fmla="*/ 2743626 w 7467600"/>
              <a:gd name="connsiteY511" fmla="*/ 5304819 h 6858000"/>
              <a:gd name="connsiteX512" fmla="*/ 3048102 w 7467600"/>
              <a:gd name="connsiteY512" fmla="*/ 5150595 h 6858000"/>
              <a:gd name="connsiteX513" fmla="*/ 1799414 w 7467600"/>
              <a:gd name="connsiteY513" fmla="*/ 4694732 h 6858000"/>
              <a:gd name="connsiteX514" fmla="*/ 1771735 w 7467600"/>
              <a:gd name="connsiteY514" fmla="*/ 4619929 h 6858000"/>
              <a:gd name="connsiteX515" fmla="*/ 3104273 w 7467600"/>
              <a:gd name="connsiteY515" fmla="*/ 5076159 h 6858000"/>
              <a:gd name="connsiteX516" fmla="*/ 3113245 w 7467600"/>
              <a:gd name="connsiteY516" fmla="*/ 5090705 h 6858000"/>
              <a:gd name="connsiteX517" fmla="*/ 3126294 w 7467600"/>
              <a:gd name="connsiteY517" fmla="*/ 5114400 h 6858000"/>
              <a:gd name="connsiteX518" fmla="*/ 3937433 w 7467600"/>
              <a:gd name="connsiteY518" fmla="*/ 4830473 h 6858000"/>
              <a:gd name="connsiteX519" fmla="*/ 3590475 w 7467600"/>
              <a:gd name="connsiteY519" fmla="*/ 4597974 h 6858000"/>
              <a:gd name="connsiteX520" fmla="*/ 3100264 w 7467600"/>
              <a:gd name="connsiteY520" fmla="*/ 4579845 h 6858000"/>
              <a:gd name="connsiteX521" fmla="*/ 2183576 w 7467600"/>
              <a:gd name="connsiteY521" fmla="*/ 4227150 h 6858000"/>
              <a:gd name="connsiteX522" fmla="*/ 2151029 w 7467600"/>
              <a:gd name="connsiteY522" fmla="*/ 4146947 h 6858000"/>
              <a:gd name="connsiteX523" fmla="*/ 3563434 w 7467600"/>
              <a:gd name="connsiteY523" fmla="*/ 4469115 h 6858000"/>
              <a:gd name="connsiteX524" fmla="*/ 3177952 w 7467600"/>
              <a:gd name="connsiteY524" fmla="*/ 3657386 h 6858000"/>
              <a:gd name="connsiteX525" fmla="*/ 3189263 w 7467600"/>
              <a:gd name="connsiteY525" fmla="*/ 3625726 h 6858000"/>
              <a:gd name="connsiteX526" fmla="*/ 3560912 w 7467600"/>
              <a:gd name="connsiteY526" fmla="*/ 4079863 h 6858000"/>
              <a:gd name="connsiteX527" fmla="*/ 3626636 w 7467600"/>
              <a:gd name="connsiteY527" fmla="*/ 4512230 h 6858000"/>
              <a:gd name="connsiteX528" fmla="*/ 3653088 w 7467600"/>
              <a:gd name="connsiteY528" fmla="*/ 4521417 h 6858000"/>
              <a:gd name="connsiteX529" fmla="*/ 3988128 w 7467600"/>
              <a:gd name="connsiteY529" fmla="*/ 4817267 h 6858000"/>
              <a:gd name="connsiteX530" fmla="*/ 4830582 w 7467600"/>
              <a:gd name="connsiteY530" fmla="*/ 4676000 h 6858000"/>
              <a:gd name="connsiteX531" fmla="*/ 4830100 w 7467600"/>
              <a:gd name="connsiteY531" fmla="*/ 4675554 h 6858000"/>
              <a:gd name="connsiteX532" fmla="*/ 4036318 w 7467600"/>
              <a:gd name="connsiteY532" fmla="*/ 4147013 h 6858000"/>
              <a:gd name="connsiteX533" fmla="*/ 3432098 w 7467600"/>
              <a:gd name="connsiteY533" fmla="*/ 3537312 h 6858000"/>
              <a:gd name="connsiteX534" fmla="*/ 3446761 w 7467600"/>
              <a:gd name="connsiteY534" fmla="*/ 3461278 h 6858000"/>
              <a:gd name="connsiteX535" fmla="*/ 4419733 w 7467600"/>
              <a:gd name="connsiteY535" fmla="*/ 3963555 h 6858000"/>
              <a:gd name="connsiteX536" fmla="*/ 4781371 w 7467600"/>
              <a:gd name="connsiteY536" fmla="*/ 4458604 h 6858000"/>
              <a:gd name="connsiteX537" fmla="*/ 4780440 w 7467600"/>
              <a:gd name="connsiteY537" fmla="*/ 4470290 h 6858000"/>
              <a:gd name="connsiteX538" fmla="*/ 4898954 w 7467600"/>
              <a:gd name="connsiteY538" fmla="*/ 4662092 h 6858000"/>
              <a:gd name="connsiteX539" fmla="*/ 4900699 w 7467600"/>
              <a:gd name="connsiteY539" fmla="*/ 4670867 h 6858000"/>
              <a:gd name="connsiteX540" fmla="*/ 5714511 w 7467600"/>
              <a:gd name="connsiteY540" fmla="*/ 4663483 h 6858000"/>
              <a:gd name="connsiteX541" fmla="*/ 5464793 w 7467600"/>
              <a:gd name="connsiteY541" fmla="*/ 4393556 h 6858000"/>
              <a:gd name="connsiteX542" fmla="*/ 5461897 w 7467600"/>
              <a:gd name="connsiteY542" fmla="*/ 4390879 h 6858000"/>
              <a:gd name="connsiteX543" fmla="*/ 4294126 w 7467600"/>
              <a:gd name="connsiteY543" fmla="*/ 3303048 h 6858000"/>
              <a:gd name="connsiteX544" fmla="*/ 4305321 w 7467600"/>
              <a:gd name="connsiteY544" fmla="*/ 3256953 h 6858000"/>
              <a:gd name="connsiteX545" fmla="*/ 4949299 w 7467600"/>
              <a:gd name="connsiteY545" fmla="*/ 3766336 h 6858000"/>
              <a:gd name="connsiteX546" fmla="*/ 5291452 w 7467600"/>
              <a:gd name="connsiteY546" fmla="*/ 4076801 h 6858000"/>
              <a:gd name="connsiteX547" fmla="*/ 5434998 w 7467600"/>
              <a:gd name="connsiteY547" fmla="*/ 4254100 h 6858000"/>
              <a:gd name="connsiteX548" fmla="*/ 5351015 w 7467600"/>
              <a:gd name="connsiteY548" fmla="*/ 3760989 h 6858000"/>
              <a:gd name="connsiteX549" fmla="*/ 5413780 w 7467600"/>
              <a:gd name="connsiteY549" fmla="*/ 2966265 h 6858000"/>
              <a:gd name="connsiteX550" fmla="*/ 5425627 w 7467600"/>
              <a:gd name="connsiteY550" fmla="*/ 2954192 h 6858000"/>
              <a:gd name="connsiteX551" fmla="*/ 6604735 w 7467600"/>
              <a:gd name="connsiteY551" fmla="*/ 2041381 h 6858000"/>
              <a:gd name="connsiteX552" fmla="*/ 7204487 w 7467600"/>
              <a:gd name="connsiteY552" fmla="*/ 2742112 h 6858000"/>
              <a:gd name="connsiteX553" fmla="*/ 7131592 w 7467600"/>
              <a:gd name="connsiteY553" fmla="*/ 2672096 h 6858000"/>
              <a:gd name="connsiteX554" fmla="*/ 6996344 w 7467600"/>
              <a:gd name="connsiteY554" fmla="*/ 2518310 h 6858000"/>
              <a:gd name="connsiteX555" fmla="*/ 6735495 w 7467600"/>
              <a:gd name="connsiteY555" fmla="*/ 2196890 h 6858000"/>
              <a:gd name="connsiteX556" fmla="*/ 6721901 w 7467600"/>
              <a:gd name="connsiteY556" fmla="*/ 2179274 h 6858000"/>
              <a:gd name="connsiteX557" fmla="*/ 6604735 w 7467600"/>
              <a:gd name="connsiteY557" fmla="*/ 2041381 h 6858000"/>
              <a:gd name="connsiteX558" fmla="*/ 6591670 w 7467600"/>
              <a:gd name="connsiteY558" fmla="*/ 1988277 h 6858000"/>
              <a:gd name="connsiteX559" fmla="*/ 6747349 w 7467600"/>
              <a:gd name="connsiteY559" fmla="*/ 2160069 h 6858000"/>
              <a:gd name="connsiteX560" fmla="*/ 6760943 w 7467600"/>
              <a:gd name="connsiteY560" fmla="*/ 2177686 h 6858000"/>
              <a:gd name="connsiteX561" fmla="*/ 7021065 w 7467600"/>
              <a:gd name="connsiteY561" fmla="*/ 2498102 h 6858000"/>
              <a:gd name="connsiteX562" fmla="*/ 7155223 w 7467600"/>
              <a:gd name="connsiteY562" fmla="*/ 2650386 h 6858000"/>
              <a:gd name="connsiteX563" fmla="*/ 7203167 w 7467600"/>
              <a:gd name="connsiteY563" fmla="*/ 2697288 h 6858000"/>
              <a:gd name="connsiteX564" fmla="*/ 6937703 w 7467600"/>
              <a:gd name="connsiteY564" fmla="*/ 2321981 h 6858000"/>
              <a:gd name="connsiteX565" fmla="*/ 6591670 w 7467600"/>
              <a:gd name="connsiteY565" fmla="*/ 1988277 h 6858000"/>
              <a:gd name="connsiteX566" fmla="*/ 5798671 w 7467600"/>
              <a:gd name="connsiteY566" fmla="*/ 1981601 h 6858000"/>
              <a:gd name="connsiteX567" fmla="*/ 5754709 w 7467600"/>
              <a:gd name="connsiteY567" fmla="*/ 2071454 h 6858000"/>
              <a:gd name="connsiteX568" fmla="*/ 5763044 w 7467600"/>
              <a:gd name="connsiteY568" fmla="*/ 2842206 h 6858000"/>
              <a:gd name="connsiteX569" fmla="*/ 5764974 w 7467600"/>
              <a:gd name="connsiteY569" fmla="*/ 2799609 h 6858000"/>
              <a:gd name="connsiteX570" fmla="*/ 5767665 w 7467600"/>
              <a:gd name="connsiteY570" fmla="*/ 2666409 h 6858000"/>
              <a:gd name="connsiteX571" fmla="*/ 5763055 w 7467600"/>
              <a:gd name="connsiteY571" fmla="*/ 2579705 h 6858000"/>
              <a:gd name="connsiteX572" fmla="*/ 5758079 w 7467600"/>
              <a:gd name="connsiteY572" fmla="*/ 2492508 h 6858000"/>
              <a:gd name="connsiteX573" fmla="*/ 5779325 w 7467600"/>
              <a:gd name="connsiteY573" fmla="*/ 2197069 h 6858000"/>
              <a:gd name="connsiteX574" fmla="*/ 5798671 w 7467600"/>
              <a:gd name="connsiteY574" fmla="*/ 1981601 h 6858000"/>
              <a:gd name="connsiteX575" fmla="*/ 5829202 w 7467600"/>
              <a:gd name="connsiteY575" fmla="*/ 1971679 h 6858000"/>
              <a:gd name="connsiteX576" fmla="*/ 5809558 w 7467600"/>
              <a:gd name="connsiteY576" fmla="*/ 2198043 h 6858000"/>
              <a:gd name="connsiteX577" fmla="*/ 5788653 w 7467600"/>
              <a:gd name="connsiteY577" fmla="*/ 2489430 h 6858000"/>
              <a:gd name="connsiteX578" fmla="*/ 5793439 w 7467600"/>
              <a:gd name="connsiteY578" fmla="*/ 2575235 h 6858000"/>
              <a:gd name="connsiteX579" fmla="*/ 5796837 w 7467600"/>
              <a:gd name="connsiteY579" fmla="*/ 2637633 h 6858000"/>
              <a:gd name="connsiteX580" fmla="*/ 5818614 w 7467600"/>
              <a:gd name="connsiteY580" fmla="*/ 2473055 h 6858000"/>
              <a:gd name="connsiteX581" fmla="*/ 5829202 w 7467600"/>
              <a:gd name="connsiteY581" fmla="*/ 1971679 h 6858000"/>
              <a:gd name="connsiteX582" fmla="*/ 5911389 w 7467600"/>
              <a:gd name="connsiteY582" fmla="*/ 1898371 h 6858000"/>
              <a:gd name="connsiteX583" fmla="*/ 6237627 w 7467600"/>
              <a:gd name="connsiteY583" fmla="*/ 2231921 h 6858000"/>
              <a:gd name="connsiteX584" fmla="*/ 5911389 w 7467600"/>
              <a:gd name="connsiteY584" fmla="*/ 1898371 h 6858000"/>
              <a:gd name="connsiteX585" fmla="*/ 6944437 w 7467600"/>
              <a:gd name="connsiteY585" fmla="*/ 1575402 h 6858000"/>
              <a:gd name="connsiteX586" fmla="*/ 6304730 w 7467600"/>
              <a:gd name="connsiteY586" fmla="*/ 1766654 h 6858000"/>
              <a:gd name="connsiteX587" fmla="*/ 6944437 w 7467600"/>
              <a:gd name="connsiteY587" fmla="*/ 1575402 h 6858000"/>
              <a:gd name="connsiteX588" fmla="*/ 7019523 w 7467600"/>
              <a:gd name="connsiteY588" fmla="*/ 1519450 h 6858000"/>
              <a:gd name="connsiteX589" fmla="*/ 6298091 w 7467600"/>
              <a:gd name="connsiteY589" fmla="*/ 1737122 h 6858000"/>
              <a:gd name="connsiteX590" fmla="*/ 7019523 w 7467600"/>
              <a:gd name="connsiteY590" fmla="*/ 1519450 h 6858000"/>
              <a:gd name="connsiteX591" fmla="*/ 2399523 w 7467600"/>
              <a:gd name="connsiteY591" fmla="*/ 1428234 h 6858000"/>
              <a:gd name="connsiteX592" fmla="*/ 2224982 w 7467600"/>
              <a:gd name="connsiteY592" fmla="*/ 1826201 h 6858000"/>
              <a:gd name="connsiteX593" fmla="*/ 2096099 w 7467600"/>
              <a:gd name="connsiteY593" fmla="*/ 2345900 h 6858000"/>
              <a:gd name="connsiteX594" fmla="*/ 2283317 w 7467600"/>
              <a:gd name="connsiteY594" fmla="*/ 1796925 h 6858000"/>
              <a:gd name="connsiteX595" fmla="*/ 2399523 w 7467600"/>
              <a:gd name="connsiteY595" fmla="*/ 1428234 h 6858000"/>
              <a:gd name="connsiteX596" fmla="*/ 2448558 w 7467600"/>
              <a:gd name="connsiteY596" fmla="*/ 1373435 h 6858000"/>
              <a:gd name="connsiteX597" fmla="*/ 2312521 w 7467600"/>
              <a:gd name="connsiteY597" fmla="*/ 1806140 h 6858000"/>
              <a:gd name="connsiteX598" fmla="*/ 2127533 w 7467600"/>
              <a:gd name="connsiteY598" fmla="*/ 2348380 h 6858000"/>
              <a:gd name="connsiteX599" fmla="*/ 2358080 w 7467600"/>
              <a:gd name="connsiteY599" fmla="*/ 1866134 h 6858000"/>
              <a:gd name="connsiteX600" fmla="*/ 2407436 w 7467600"/>
              <a:gd name="connsiteY600" fmla="*/ 1651070 h 6858000"/>
              <a:gd name="connsiteX601" fmla="*/ 2448558 w 7467600"/>
              <a:gd name="connsiteY601" fmla="*/ 1373435 h 6858000"/>
              <a:gd name="connsiteX602" fmla="*/ 278707 w 7467600"/>
              <a:gd name="connsiteY602" fmla="*/ 1352270 h 6858000"/>
              <a:gd name="connsiteX603" fmla="*/ 321570 w 7467600"/>
              <a:gd name="connsiteY603" fmla="*/ 1861610 h 6858000"/>
              <a:gd name="connsiteX604" fmla="*/ 294281 w 7467600"/>
              <a:gd name="connsiteY604" fmla="*/ 1440658 h 6858000"/>
              <a:gd name="connsiteX605" fmla="*/ 278707 w 7467600"/>
              <a:gd name="connsiteY605" fmla="*/ 1352270 h 6858000"/>
              <a:gd name="connsiteX606" fmla="*/ 1423821 w 7467600"/>
              <a:gd name="connsiteY606" fmla="*/ 1351958 h 6858000"/>
              <a:gd name="connsiteX607" fmla="*/ 1638521 w 7467600"/>
              <a:gd name="connsiteY607" fmla="*/ 1908470 h 6858000"/>
              <a:gd name="connsiteX608" fmla="*/ 1754199 w 7467600"/>
              <a:gd name="connsiteY608" fmla="*/ 2149284 h 6858000"/>
              <a:gd name="connsiteX609" fmla="*/ 1908359 w 7467600"/>
              <a:gd name="connsiteY609" fmla="*/ 2364988 h 6858000"/>
              <a:gd name="connsiteX610" fmla="*/ 1647661 w 7467600"/>
              <a:gd name="connsiteY610" fmla="*/ 1825945 h 6858000"/>
              <a:gd name="connsiteX611" fmla="*/ 1423821 w 7467600"/>
              <a:gd name="connsiteY611" fmla="*/ 1351958 h 6858000"/>
              <a:gd name="connsiteX612" fmla="*/ 1431890 w 7467600"/>
              <a:gd name="connsiteY612" fmla="*/ 1306475 h 6858000"/>
              <a:gd name="connsiteX613" fmla="*/ 1507597 w 7467600"/>
              <a:gd name="connsiteY613" fmla="*/ 1446132 h 6858000"/>
              <a:gd name="connsiteX614" fmla="*/ 1674586 w 7467600"/>
              <a:gd name="connsiteY614" fmla="*/ 1813832 h 6858000"/>
              <a:gd name="connsiteX615" fmla="*/ 1815950 w 7467600"/>
              <a:gd name="connsiteY615" fmla="*/ 2128564 h 6858000"/>
              <a:gd name="connsiteX616" fmla="*/ 1984242 w 7467600"/>
              <a:gd name="connsiteY616" fmla="*/ 2430829 h 6858000"/>
              <a:gd name="connsiteX617" fmla="*/ 2014023 w 7467600"/>
              <a:gd name="connsiteY617" fmla="*/ 2450995 h 6858000"/>
              <a:gd name="connsiteX618" fmla="*/ 1747337 w 7467600"/>
              <a:gd name="connsiteY618" fmla="*/ 1855264 h 6858000"/>
              <a:gd name="connsiteX619" fmla="*/ 1533749 w 7467600"/>
              <a:gd name="connsiteY619" fmla="*/ 1478656 h 6858000"/>
              <a:gd name="connsiteX620" fmla="*/ 1431890 w 7467600"/>
              <a:gd name="connsiteY620" fmla="*/ 1306475 h 6858000"/>
              <a:gd name="connsiteX621" fmla="*/ 5052692 w 7467600"/>
              <a:gd name="connsiteY621" fmla="*/ 1292994 h 6858000"/>
              <a:gd name="connsiteX622" fmla="*/ 5200661 w 7467600"/>
              <a:gd name="connsiteY622" fmla="*/ 1635186 h 6858000"/>
              <a:gd name="connsiteX623" fmla="*/ 5297138 w 7467600"/>
              <a:gd name="connsiteY623" fmla="*/ 1906351 h 6858000"/>
              <a:gd name="connsiteX624" fmla="*/ 5052692 w 7467600"/>
              <a:gd name="connsiteY624" fmla="*/ 1292994 h 6858000"/>
              <a:gd name="connsiteX625" fmla="*/ 5009948 w 7467600"/>
              <a:gd name="connsiteY625" fmla="*/ 1273619 h 6858000"/>
              <a:gd name="connsiteX626" fmla="*/ 5121777 w 7467600"/>
              <a:gd name="connsiteY626" fmla="*/ 1654213 h 6858000"/>
              <a:gd name="connsiteX627" fmla="*/ 5293545 w 7467600"/>
              <a:gd name="connsiteY627" fmla="*/ 2072247 h 6858000"/>
              <a:gd name="connsiteX628" fmla="*/ 5294042 w 7467600"/>
              <a:gd name="connsiteY628" fmla="*/ 2065019 h 6858000"/>
              <a:gd name="connsiteX629" fmla="*/ 5171936 w 7467600"/>
              <a:gd name="connsiteY629" fmla="*/ 1647613 h 6858000"/>
              <a:gd name="connsiteX630" fmla="*/ 5009948 w 7467600"/>
              <a:gd name="connsiteY630" fmla="*/ 1273619 h 6858000"/>
              <a:gd name="connsiteX631" fmla="*/ 655236 w 7467600"/>
              <a:gd name="connsiteY631" fmla="*/ 1268632 h 6858000"/>
              <a:gd name="connsiteX632" fmla="*/ 839521 w 7467600"/>
              <a:gd name="connsiteY632" fmla="*/ 1685315 h 6858000"/>
              <a:gd name="connsiteX633" fmla="*/ 1109416 w 7467600"/>
              <a:gd name="connsiteY633" fmla="*/ 2061663 h 6858000"/>
              <a:gd name="connsiteX634" fmla="*/ 1298300 w 7467600"/>
              <a:gd name="connsiteY634" fmla="*/ 2247742 h 6858000"/>
              <a:gd name="connsiteX635" fmla="*/ 1125871 w 7467600"/>
              <a:gd name="connsiteY635" fmla="*/ 1989513 h 6858000"/>
              <a:gd name="connsiteX636" fmla="*/ 981574 w 7467600"/>
              <a:gd name="connsiteY636" fmla="*/ 1783157 h 6858000"/>
              <a:gd name="connsiteX637" fmla="*/ 922198 w 7467600"/>
              <a:gd name="connsiteY637" fmla="*/ 1677437 h 6858000"/>
              <a:gd name="connsiteX638" fmla="*/ 869293 w 7467600"/>
              <a:gd name="connsiteY638" fmla="*/ 1583214 h 6858000"/>
              <a:gd name="connsiteX639" fmla="*/ 751431 w 7467600"/>
              <a:gd name="connsiteY639" fmla="*/ 1405731 h 6858000"/>
              <a:gd name="connsiteX640" fmla="*/ 655236 w 7467600"/>
              <a:gd name="connsiteY640" fmla="*/ 1268632 h 6858000"/>
              <a:gd name="connsiteX641" fmla="*/ 6516292 w 7467600"/>
              <a:gd name="connsiteY641" fmla="*/ 1263064 h 6858000"/>
              <a:gd name="connsiteX642" fmla="*/ 5736320 w 7467600"/>
              <a:gd name="connsiteY642" fmla="*/ 1501803 h 6858000"/>
              <a:gd name="connsiteX643" fmla="*/ 6516292 w 7467600"/>
              <a:gd name="connsiteY643" fmla="*/ 1263064 h 6858000"/>
              <a:gd name="connsiteX644" fmla="*/ 291466 w 7467600"/>
              <a:gd name="connsiteY644" fmla="*/ 1250369 h 6858000"/>
              <a:gd name="connsiteX645" fmla="*/ 323180 w 7467600"/>
              <a:gd name="connsiteY645" fmla="*/ 1435283 h 6858000"/>
              <a:gd name="connsiteX646" fmla="*/ 349381 w 7467600"/>
              <a:gd name="connsiteY646" fmla="*/ 1875041 h 6858000"/>
              <a:gd name="connsiteX647" fmla="*/ 374363 w 7467600"/>
              <a:gd name="connsiteY647" fmla="*/ 1506494 h 6858000"/>
              <a:gd name="connsiteX648" fmla="*/ 302168 w 7467600"/>
              <a:gd name="connsiteY648" fmla="*/ 1274495 h 6858000"/>
              <a:gd name="connsiteX649" fmla="*/ 291466 w 7467600"/>
              <a:gd name="connsiteY649" fmla="*/ 1250369 h 6858000"/>
              <a:gd name="connsiteX650" fmla="*/ 678222 w 7467600"/>
              <a:gd name="connsiteY650" fmla="*/ 1248670 h 6858000"/>
              <a:gd name="connsiteX651" fmla="*/ 775536 w 7467600"/>
              <a:gd name="connsiteY651" fmla="*/ 1388015 h 6858000"/>
              <a:gd name="connsiteX652" fmla="*/ 894529 w 7467600"/>
              <a:gd name="connsiteY652" fmla="*/ 1567739 h 6858000"/>
              <a:gd name="connsiteX653" fmla="*/ 948000 w 7467600"/>
              <a:gd name="connsiteY653" fmla="*/ 1663088 h 6858000"/>
              <a:gd name="connsiteX654" fmla="*/ 1006812 w 7467600"/>
              <a:gd name="connsiteY654" fmla="*/ 1767683 h 6858000"/>
              <a:gd name="connsiteX655" fmla="*/ 1149133 w 7467600"/>
              <a:gd name="connsiteY655" fmla="*/ 1971513 h 6858000"/>
              <a:gd name="connsiteX656" fmla="*/ 1333952 w 7467600"/>
              <a:gd name="connsiteY656" fmla="*/ 2251620 h 6858000"/>
              <a:gd name="connsiteX657" fmla="*/ 1337329 w 7467600"/>
              <a:gd name="connsiteY657" fmla="*/ 2258350 h 6858000"/>
              <a:gd name="connsiteX658" fmla="*/ 1014726 w 7467600"/>
              <a:gd name="connsiteY658" fmla="*/ 1615556 h 6858000"/>
              <a:gd name="connsiteX659" fmla="*/ 678222 w 7467600"/>
              <a:gd name="connsiteY659" fmla="*/ 1248670 h 6858000"/>
              <a:gd name="connsiteX660" fmla="*/ 6691602 w 7467600"/>
              <a:gd name="connsiteY660" fmla="*/ 1140573 h 6858000"/>
              <a:gd name="connsiteX661" fmla="*/ 6571100 w 7467600"/>
              <a:gd name="connsiteY661" fmla="*/ 1183662 h 6858000"/>
              <a:gd name="connsiteX662" fmla="*/ 6241687 w 7467600"/>
              <a:gd name="connsiteY662" fmla="*/ 1257600 h 6858000"/>
              <a:gd name="connsiteX663" fmla="*/ 5693009 w 7467600"/>
              <a:gd name="connsiteY663" fmla="*/ 1478256 h 6858000"/>
              <a:gd name="connsiteX664" fmla="*/ 6548420 w 7467600"/>
              <a:gd name="connsiteY664" fmla="*/ 1214599 h 6858000"/>
              <a:gd name="connsiteX665" fmla="*/ 6605473 w 7467600"/>
              <a:gd name="connsiteY665" fmla="*/ 1184686 h 6858000"/>
              <a:gd name="connsiteX666" fmla="*/ 6691602 w 7467600"/>
              <a:gd name="connsiteY666" fmla="*/ 1140573 h 6858000"/>
              <a:gd name="connsiteX667" fmla="*/ 4002475 w 7467600"/>
              <a:gd name="connsiteY667" fmla="*/ 1037802 h 6858000"/>
              <a:gd name="connsiteX668" fmla="*/ 4000324 w 7467600"/>
              <a:gd name="connsiteY668" fmla="*/ 1039362 h 6858000"/>
              <a:gd name="connsiteX669" fmla="*/ 4002862 w 7467600"/>
              <a:gd name="connsiteY669" fmla="*/ 1042866 h 6858000"/>
              <a:gd name="connsiteX670" fmla="*/ 4002475 w 7467600"/>
              <a:gd name="connsiteY670" fmla="*/ 1037802 h 6858000"/>
              <a:gd name="connsiteX671" fmla="*/ 506322 w 7467600"/>
              <a:gd name="connsiteY671" fmla="*/ 1020997 h 6858000"/>
              <a:gd name="connsiteX672" fmla="*/ 533068 w 7467600"/>
              <a:gd name="connsiteY672" fmla="*/ 1029409 h 6858000"/>
              <a:gd name="connsiteX673" fmla="*/ 1232525 w 7467600"/>
              <a:gd name="connsiteY673" fmla="*/ 1804675 h 6858000"/>
              <a:gd name="connsiteX674" fmla="*/ 1388858 w 7467600"/>
              <a:gd name="connsiteY674" fmla="*/ 2368011 h 6858000"/>
              <a:gd name="connsiteX675" fmla="*/ 1384098 w 7467600"/>
              <a:gd name="connsiteY675" fmla="*/ 2378125 h 6858000"/>
              <a:gd name="connsiteX676" fmla="*/ 1425393 w 7467600"/>
              <a:gd name="connsiteY676" fmla="*/ 2589124 h 6858000"/>
              <a:gd name="connsiteX677" fmla="*/ 1424001 w 7467600"/>
              <a:gd name="connsiteY677" fmla="*/ 2597541 h 6858000"/>
              <a:gd name="connsiteX678" fmla="*/ 2152729 w 7467600"/>
              <a:gd name="connsiteY678" fmla="*/ 2864487 h 6858000"/>
              <a:gd name="connsiteX679" fmla="*/ 2020609 w 7467600"/>
              <a:gd name="connsiteY679" fmla="*/ 2539671 h 6858000"/>
              <a:gd name="connsiteX680" fmla="*/ 2018920 w 7467600"/>
              <a:gd name="connsiteY680" fmla="*/ 2536309 h 6858000"/>
              <a:gd name="connsiteX681" fmla="*/ 1342441 w 7467600"/>
              <a:gd name="connsiteY681" fmla="*/ 1173017 h 6858000"/>
              <a:gd name="connsiteX682" fmla="*/ 1367925 w 7467600"/>
              <a:gd name="connsiteY682" fmla="*/ 1135648 h 6858000"/>
              <a:gd name="connsiteX683" fmla="*/ 1771401 w 7467600"/>
              <a:gd name="connsiteY683" fmla="*/ 1806673 h 6858000"/>
              <a:gd name="connsiteX684" fmla="*/ 1972385 w 7467600"/>
              <a:gd name="connsiteY684" fmla="*/ 2198735 h 6858000"/>
              <a:gd name="connsiteX685" fmla="*/ 2040892 w 7467600"/>
              <a:gd name="connsiteY685" fmla="*/ 2405205 h 6858000"/>
              <a:gd name="connsiteX686" fmla="*/ 2131689 w 7467600"/>
              <a:gd name="connsiteY686" fmla="*/ 1936926 h 6858000"/>
              <a:gd name="connsiteX687" fmla="*/ 2454820 w 7467600"/>
              <a:gd name="connsiteY687" fmla="*/ 1248808 h 6858000"/>
              <a:gd name="connsiteX688" fmla="*/ 2492512 w 7467600"/>
              <a:gd name="connsiteY688" fmla="*/ 1302920 h 6858000"/>
              <a:gd name="connsiteX689" fmla="*/ 2081216 w 7467600"/>
              <a:gd name="connsiteY689" fmla="*/ 2527513 h 6858000"/>
              <a:gd name="connsiteX690" fmla="*/ 2081211 w 7467600"/>
              <a:gd name="connsiteY690" fmla="*/ 2528916 h 6858000"/>
              <a:gd name="connsiteX691" fmla="*/ 2199067 w 7467600"/>
              <a:gd name="connsiteY691" fmla="*/ 2884061 h 6858000"/>
              <a:gd name="connsiteX692" fmla="*/ 3192586 w 7467600"/>
              <a:gd name="connsiteY692" fmla="*/ 3411496 h 6858000"/>
              <a:gd name="connsiteX693" fmla="*/ 3182620 w 7467600"/>
              <a:gd name="connsiteY693" fmla="*/ 3483279 h 6858000"/>
              <a:gd name="connsiteX694" fmla="*/ 2435119 w 7467600"/>
              <a:gd name="connsiteY694" fmla="*/ 3080173 h 6858000"/>
              <a:gd name="connsiteX695" fmla="*/ 2410152 w 7467600"/>
              <a:gd name="connsiteY695" fmla="*/ 3063751 h 6858000"/>
              <a:gd name="connsiteX696" fmla="*/ 2408099 w 7467600"/>
              <a:gd name="connsiteY696" fmla="*/ 3064403 h 6858000"/>
              <a:gd name="connsiteX697" fmla="*/ 2407218 w 7467600"/>
              <a:gd name="connsiteY697" fmla="*/ 3070324 h 6858000"/>
              <a:gd name="connsiteX698" fmla="*/ 2380138 w 7467600"/>
              <a:gd name="connsiteY698" fmla="*/ 3099341 h 6858000"/>
              <a:gd name="connsiteX699" fmla="*/ 1765923 w 7467600"/>
              <a:gd name="connsiteY699" fmla="*/ 3581043 h 6858000"/>
              <a:gd name="connsiteX700" fmla="*/ 1702258 w 7467600"/>
              <a:gd name="connsiteY700" fmla="*/ 3612286 h 6858000"/>
              <a:gd name="connsiteX701" fmla="*/ 1538370 w 7467600"/>
              <a:gd name="connsiteY701" fmla="*/ 3811804 h 6858000"/>
              <a:gd name="connsiteX702" fmla="*/ 542867 w 7467600"/>
              <a:gd name="connsiteY702" fmla="*/ 4944092 h 6858000"/>
              <a:gd name="connsiteX703" fmla="*/ 515800 w 7467600"/>
              <a:gd name="connsiteY703" fmla="*/ 4862180 h 6858000"/>
              <a:gd name="connsiteX704" fmla="*/ 909145 w 7467600"/>
              <a:gd name="connsiteY704" fmla="*/ 4199225 h 6858000"/>
              <a:gd name="connsiteX705" fmla="*/ 1214067 w 7467600"/>
              <a:gd name="connsiteY705" fmla="*/ 3908561 h 6858000"/>
              <a:gd name="connsiteX706" fmla="*/ 640967 w 7467600"/>
              <a:gd name="connsiteY706" fmla="*/ 4105601 h 6858000"/>
              <a:gd name="connsiteX707" fmla="*/ 112563 w 7467600"/>
              <a:gd name="connsiteY707" fmla="*/ 4396952 h 6858000"/>
              <a:gd name="connsiteX708" fmla="*/ 0 w 7467600"/>
              <a:gd name="connsiteY708" fmla="*/ 4466006 h 6858000"/>
              <a:gd name="connsiteX709" fmla="*/ 0 w 7467600"/>
              <a:gd name="connsiteY709" fmla="*/ 4233763 h 6858000"/>
              <a:gd name="connsiteX710" fmla="*/ 36881 w 7467600"/>
              <a:gd name="connsiteY710" fmla="*/ 4200118 h 6858000"/>
              <a:gd name="connsiteX711" fmla="*/ 910534 w 7467600"/>
              <a:gd name="connsiteY711" fmla="*/ 3629753 h 6858000"/>
              <a:gd name="connsiteX712" fmla="*/ 1578717 w 7467600"/>
              <a:gd name="connsiteY712" fmla="*/ 3575982 h 6858000"/>
              <a:gd name="connsiteX713" fmla="*/ 2338780 w 7467600"/>
              <a:gd name="connsiteY713" fmla="*/ 3033725 h 6858000"/>
              <a:gd name="connsiteX714" fmla="*/ 1807991 w 7467600"/>
              <a:gd name="connsiteY714" fmla="*/ 2807184 h 6858000"/>
              <a:gd name="connsiteX715" fmla="*/ 1416358 w 7467600"/>
              <a:gd name="connsiteY715" fmla="*/ 3112571 h 6858000"/>
              <a:gd name="connsiteX716" fmla="*/ 939066 w 7467600"/>
              <a:gd name="connsiteY716" fmla="*/ 3378798 h 6858000"/>
              <a:gd name="connsiteX717" fmla="*/ 115099 w 7467600"/>
              <a:gd name="connsiteY717" fmla="*/ 3607650 h 6858000"/>
              <a:gd name="connsiteX718" fmla="*/ 97284 w 7467600"/>
              <a:gd name="connsiteY718" fmla="*/ 3520393 h 6858000"/>
              <a:gd name="connsiteX719" fmla="*/ 922050 w 7467600"/>
              <a:gd name="connsiteY719" fmla="*/ 3074867 h 6858000"/>
              <a:gd name="connsiteX720" fmla="*/ 1405265 w 7467600"/>
              <a:gd name="connsiteY720" fmla="*/ 3016319 h 6858000"/>
              <a:gd name="connsiteX721" fmla="*/ 1407512 w 7467600"/>
              <a:gd name="connsiteY721" fmla="*/ 3018001 h 6858000"/>
              <a:gd name="connsiteX722" fmla="*/ 1726266 w 7467600"/>
              <a:gd name="connsiteY722" fmla="*/ 2777274 h 6858000"/>
              <a:gd name="connsiteX723" fmla="*/ 625390 w 7467600"/>
              <a:gd name="connsiteY723" fmla="*/ 2514541 h 6858000"/>
              <a:gd name="connsiteX724" fmla="*/ 619799 w 7467600"/>
              <a:gd name="connsiteY724" fmla="*/ 2527180 h 6858000"/>
              <a:gd name="connsiteX725" fmla="*/ 310030 w 7467600"/>
              <a:gd name="connsiteY725" fmla="*/ 2771818 h 6858000"/>
              <a:gd name="connsiteX726" fmla="*/ 173877 w 7467600"/>
              <a:gd name="connsiteY726" fmla="*/ 2937056 h 6858000"/>
              <a:gd name="connsiteX727" fmla="*/ 77889 w 7467600"/>
              <a:gd name="connsiteY727" fmla="*/ 3138440 h 6858000"/>
              <a:gd name="connsiteX728" fmla="*/ 0 w 7467600"/>
              <a:gd name="connsiteY728" fmla="*/ 3271395 h 6858000"/>
              <a:gd name="connsiteX729" fmla="*/ 0 w 7467600"/>
              <a:gd name="connsiteY729" fmla="*/ 3153002 h 6858000"/>
              <a:gd name="connsiteX730" fmla="*/ 2386 w 7467600"/>
              <a:gd name="connsiteY730" fmla="*/ 3149203 h 6858000"/>
              <a:gd name="connsiteX731" fmla="*/ 89753 w 7467600"/>
              <a:gd name="connsiteY731" fmla="*/ 2987702 h 6858000"/>
              <a:gd name="connsiteX732" fmla="*/ 76869 w 7467600"/>
              <a:gd name="connsiteY732" fmla="*/ 3005404 h 6858000"/>
              <a:gd name="connsiteX733" fmla="*/ 32049 w 7467600"/>
              <a:gd name="connsiteY733" fmla="*/ 3065814 h 6858000"/>
              <a:gd name="connsiteX734" fmla="*/ 0 w 7467600"/>
              <a:gd name="connsiteY734" fmla="*/ 3108744 h 6858000"/>
              <a:gd name="connsiteX735" fmla="*/ 0 w 7467600"/>
              <a:gd name="connsiteY735" fmla="*/ 3058059 h 6858000"/>
              <a:gd name="connsiteX736" fmla="*/ 7610 w 7467600"/>
              <a:gd name="connsiteY736" fmla="*/ 3047889 h 6858000"/>
              <a:gd name="connsiteX737" fmla="*/ 52419 w 7467600"/>
              <a:gd name="connsiteY737" fmla="*/ 2987479 h 6858000"/>
              <a:gd name="connsiteX738" fmla="*/ 59142 w 7467600"/>
              <a:gd name="connsiteY738" fmla="*/ 2978488 h 6858000"/>
              <a:gd name="connsiteX739" fmla="*/ 0 w 7467600"/>
              <a:gd name="connsiteY739" fmla="*/ 3015334 h 6858000"/>
              <a:gd name="connsiteX740" fmla="*/ 0 w 7467600"/>
              <a:gd name="connsiteY740" fmla="*/ 2914286 h 6858000"/>
              <a:gd name="connsiteX741" fmla="*/ 36383 w 7467600"/>
              <a:gd name="connsiteY741" fmla="*/ 2901128 h 6858000"/>
              <a:gd name="connsiteX742" fmla="*/ 156329 w 7467600"/>
              <a:gd name="connsiteY742" fmla="*/ 2840533 h 6858000"/>
              <a:gd name="connsiteX743" fmla="*/ 358355 w 7467600"/>
              <a:gd name="connsiteY743" fmla="*/ 2620471 h 6858000"/>
              <a:gd name="connsiteX744" fmla="*/ 510577 w 7467600"/>
              <a:gd name="connsiteY744" fmla="*/ 2501244 h 6858000"/>
              <a:gd name="connsiteX745" fmla="*/ 211967 w 7467600"/>
              <a:gd name="connsiteY745" fmla="*/ 2479171 h 6858000"/>
              <a:gd name="connsiteX746" fmla="*/ 0 w 7467600"/>
              <a:gd name="connsiteY746" fmla="*/ 2476398 h 6858000"/>
              <a:gd name="connsiteX747" fmla="*/ 0 w 7467600"/>
              <a:gd name="connsiteY747" fmla="*/ 2389189 h 6858000"/>
              <a:gd name="connsiteX748" fmla="*/ 103062 w 7467600"/>
              <a:gd name="connsiteY748" fmla="*/ 2389518 h 6858000"/>
              <a:gd name="connsiteX749" fmla="*/ 510734 w 7467600"/>
              <a:gd name="connsiteY749" fmla="*/ 2416201 h 6858000"/>
              <a:gd name="connsiteX750" fmla="*/ 279257 w 7467600"/>
              <a:gd name="connsiteY750" fmla="*/ 2092102 h 6858000"/>
              <a:gd name="connsiteX751" fmla="*/ 65265 w 7467600"/>
              <a:gd name="connsiteY751" fmla="*/ 2006049 h 6858000"/>
              <a:gd name="connsiteX752" fmla="*/ 0 w 7467600"/>
              <a:gd name="connsiteY752" fmla="*/ 1982532 h 6858000"/>
              <a:gd name="connsiteX753" fmla="*/ 0 w 7467600"/>
              <a:gd name="connsiteY753" fmla="*/ 1912789 h 6858000"/>
              <a:gd name="connsiteX754" fmla="*/ 97460 w 7467600"/>
              <a:gd name="connsiteY754" fmla="*/ 1953725 h 6858000"/>
              <a:gd name="connsiteX755" fmla="*/ 221272 w 7467600"/>
              <a:gd name="connsiteY755" fmla="*/ 1980766 h 6858000"/>
              <a:gd name="connsiteX756" fmla="*/ 116765 w 7467600"/>
              <a:gd name="connsiteY756" fmla="*/ 1911033 h 6858000"/>
              <a:gd name="connsiteX757" fmla="*/ 16405 w 7467600"/>
              <a:gd name="connsiteY757" fmla="*/ 1803412 h 6858000"/>
              <a:gd name="connsiteX758" fmla="*/ 0 w 7467600"/>
              <a:gd name="connsiteY758" fmla="*/ 1784777 h 6858000"/>
              <a:gd name="connsiteX759" fmla="*/ 0 w 7467600"/>
              <a:gd name="connsiteY759" fmla="*/ 1740082 h 6858000"/>
              <a:gd name="connsiteX760" fmla="*/ 39394 w 7467600"/>
              <a:gd name="connsiteY760" fmla="*/ 1784856 h 6858000"/>
              <a:gd name="connsiteX761" fmla="*/ 135813 w 7467600"/>
              <a:gd name="connsiteY761" fmla="*/ 1888838 h 6858000"/>
              <a:gd name="connsiteX762" fmla="*/ 242575 w 7467600"/>
              <a:gd name="connsiteY762" fmla="*/ 1958841 h 6858000"/>
              <a:gd name="connsiteX763" fmla="*/ 82197 w 7467600"/>
              <a:gd name="connsiteY763" fmla="*/ 1754826 h 6858000"/>
              <a:gd name="connsiteX764" fmla="*/ 0 w 7467600"/>
              <a:gd name="connsiteY764" fmla="*/ 1679650 h 6858000"/>
              <a:gd name="connsiteX765" fmla="*/ 0 w 7467600"/>
              <a:gd name="connsiteY765" fmla="*/ 1602463 h 6858000"/>
              <a:gd name="connsiteX766" fmla="*/ 84689 w 7467600"/>
              <a:gd name="connsiteY766" fmla="*/ 1677442 h 6858000"/>
              <a:gd name="connsiteX767" fmla="*/ 298437 w 7467600"/>
              <a:gd name="connsiteY767" fmla="*/ 1968019 h 6858000"/>
              <a:gd name="connsiteX768" fmla="*/ 227269 w 7467600"/>
              <a:gd name="connsiteY768" fmla="*/ 1114064 h 6858000"/>
              <a:gd name="connsiteX769" fmla="*/ 248003 w 7467600"/>
              <a:gd name="connsiteY769" fmla="*/ 1089613 h 6858000"/>
              <a:gd name="connsiteX770" fmla="*/ 427020 w 7467600"/>
              <a:gd name="connsiteY770" fmla="*/ 1619803 h 6858000"/>
              <a:gd name="connsiteX771" fmla="*/ 340345 w 7467600"/>
              <a:gd name="connsiteY771" fmla="*/ 2027739 h 6858000"/>
              <a:gd name="connsiteX772" fmla="*/ 360865 w 7467600"/>
              <a:gd name="connsiteY772" fmla="*/ 2044827 h 6858000"/>
              <a:gd name="connsiteX773" fmla="*/ 560414 w 7467600"/>
              <a:gd name="connsiteY773" fmla="*/ 2421457 h 6858000"/>
              <a:gd name="connsiteX774" fmla="*/ 1359703 w 7467600"/>
              <a:gd name="connsiteY774" fmla="*/ 2578554 h 6858000"/>
              <a:gd name="connsiteX775" fmla="*/ 1359422 w 7467600"/>
              <a:gd name="connsiteY775" fmla="*/ 2577994 h 6858000"/>
              <a:gd name="connsiteX776" fmla="*/ 828701 w 7467600"/>
              <a:gd name="connsiteY776" fmla="*/ 1839520 h 6858000"/>
              <a:gd name="connsiteX777" fmla="*/ 494427 w 7467600"/>
              <a:gd name="connsiteY777" fmla="*/ 1092333 h 6858000"/>
              <a:gd name="connsiteX778" fmla="*/ 506322 w 7467600"/>
              <a:gd name="connsiteY778" fmla="*/ 1020997 h 6858000"/>
              <a:gd name="connsiteX779" fmla="*/ 4570198 w 7467600"/>
              <a:gd name="connsiteY779" fmla="*/ 978081 h 6858000"/>
              <a:gd name="connsiteX780" fmla="*/ 4523691 w 7467600"/>
              <a:gd name="connsiteY780" fmla="*/ 1127776 h 6858000"/>
              <a:gd name="connsiteX781" fmla="*/ 4509875 w 7467600"/>
              <a:gd name="connsiteY781" fmla="*/ 1167552 h 6858000"/>
              <a:gd name="connsiteX782" fmla="*/ 4478168 w 7467600"/>
              <a:gd name="connsiteY782" fmla="*/ 1260735 h 6858000"/>
              <a:gd name="connsiteX783" fmla="*/ 4409309 w 7467600"/>
              <a:gd name="connsiteY783" fmla="*/ 1666996 h 6858000"/>
              <a:gd name="connsiteX784" fmla="*/ 4370031 w 7467600"/>
              <a:gd name="connsiteY784" fmla="*/ 1955666 h 6858000"/>
              <a:gd name="connsiteX785" fmla="*/ 4570198 w 7467600"/>
              <a:gd name="connsiteY785" fmla="*/ 978081 h 6858000"/>
              <a:gd name="connsiteX786" fmla="*/ 4557898 w 7467600"/>
              <a:gd name="connsiteY786" fmla="*/ 900011 h 6858000"/>
              <a:gd name="connsiteX787" fmla="*/ 4344840 w 7467600"/>
              <a:gd name="connsiteY787" fmla="*/ 1922038 h 6858000"/>
              <a:gd name="connsiteX788" fmla="*/ 4378710 w 7467600"/>
              <a:gd name="connsiteY788" fmla="*/ 1665516 h 6858000"/>
              <a:gd name="connsiteX789" fmla="*/ 4448798 w 7467600"/>
              <a:gd name="connsiteY789" fmla="*/ 1253024 h 6858000"/>
              <a:gd name="connsiteX790" fmla="*/ 4480315 w 7467600"/>
              <a:gd name="connsiteY790" fmla="*/ 1158454 h 6858000"/>
              <a:gd name="connsiteX791" fmla="*/ 4494133 w 7467600"/>
              <a:gd name="connsiteY791" fmla="*/ 1118676 h 6858000"/>
              <a:gd name="connsiteX792" fmla="*/ 4557898 w 7467600"/>
              <a:gd name="connsiteY792" fmla="*/ 900011 h 6858000"/>
              <a:gd name="connsiteX793" fmla="*/ 5870151 w 7467600"/>
              <a:gd name="connsiteY793" fmla="*/ 898890 h 6858000"/>
              <a:gd name="connsiteX794" fmla="*/ 5861335 w 7467600"/>
              <a:gd name="connsiteY794" fmla="*/ 899177 h 6858000"/>
              <a:gd name="connsiteX795" fmla="*/ 5843702 w 7467600"/>
              <a:gd name="connsiteY795" fmla="*/ 899748 h 6858000"/>
              <a:gd name="connsiteX796" fmla="*/ 5651107 w 7467600"/>
              <a:gd name="connsiteY796" fmla="*/ 920306 h 6858000"/>
              <a:gd name="connsiteX797" fmla="*/ 5459407 w 7467600"/>
              <a:gd name="connsiteY797" fmla="*/ 940975 h 6858000"/>
              <a:gd name="connsiteX798" fmla="*/ 5374846 w 7467600"/>
              <a:gd name="connsiteY798" fmla="*/ 941988 h 6858000"/>
              <a:gd name="connsiteX799" fmla="*/ 5256105 w 7467600"/>
              <a:gd name="connsiteY799" fmla="*/ 945632 h 6858000"/>
              <a:gd name="connsiteX800" fmla="*/ 5107071 w 7467600"/>
              <a:gd name="connsiteY800" fmla="*/ 969720 h 6858000"/>
              <a:gd name="connsiteX801" fmla="*/ 4998681 w 7467600"/>
              <a:gd name="connsiteY801" fmla="*/ 988771 h 6858000"/>
              <a:gd name="connsiteX802" fmla="*/ 5870151 w 7467600"/>
              <a:gd name="connsiteY802" fmla="*/ 898890 h 6858000"/>
              <a:gd name="connsiteX803" fmla="*/ 5504425 w 7467600"/>
              <a:gd name="connsiteY803" fmla="*/ 848067 h 6858000"/>
              <a:gd name="connsiteX804" fmla="*/ 4968849 w 7467600"/>
              <a:gd name="connsiteY804" fmla="*/ 962318 h 6858000"/>
              <a:gd name="connsiteX805" fmla="*/ 5104039 w 7467600"/>
              <a:gd name="connsiteY805" fmla="*/ 940634 h 6858000"/>
              <a:gd name="connsiteX806" fmla="*/ 5256311 w 7467600"/>
              <a:gd name="connsiteY806" fmla="*/ 916490 h 6858000"/>
              <a:gd name="connsiteX807" fmla="*/ 5377381 w 7467600"/>
              <a:gd name="connsiteY807" fmla="*/ 912671 h 6858000"/>
              <a:gd name="connsiteX808" fmla="*/ 5460148 w 7467600"/>
              <a:gd name="connsiteY808" fmla="*/ 911442 h 6858000"/>
              <a:gd name="connsiteX809" fmla="*/ 5648971 w 7467600"/>
              <a:gd name="connsiteY809" fmla="*/ 891331 h 6858000"/>
              <a:gd name="connsiteX810" fmla="*/ 5844807 w 7467600"/>
              <a:gd name="connsiteY810" fmla="*/ 870718 h 6858000"/>
              <a:gd name="connsiteX811" fmla="*/ 5862975 w 7467600"/>
              <a:gd name="connsiteY811" fmla="*/ 869756 h 6858000"/>
              <a:gd name="connsiteX812" fmla="*/ 5920887 w 7467600"/>
              <a:gd name="connsiteY812" fmla="*/ 865929 h 6858000"/>
              <a:gd name="connsiteX813" fmla="*/ 5504425 w 7467600"/>
              <a:gd name="connsiteY813" fmla="*/ 848067 h 6858000"/>
              <a:gd name="connsiteX814" fmla="*/ 3607114 w 7467600"/>
              <a:gd name="connsiteY814" fmla="*/ 467441 h 6858000"/>
              <a:gd name="connsiteX815" fmla="*/ 3296242 w 7467600"/>
              <a:gd name="connsiteY815" fmla="*/ 807991 h 6858000"/>
              <a:gd name="connsiteX816" fmla="*/ 3174674 w 7467600"/>
              <a:gd name="connsiteY816" fmla="*/ 919759 h 6858000"/>
              <a:gd name="connsiteX817" fmla="*/ 3042978 w 7467600"/>
              <a:gd name="connsiteY817" fmla="*/ 1054894 h 6858000"/>
              <a:gd name="connsiteX818" fmla="*/ 2968914 w 7467600"/>
              <a:gd name="connsiteY818" fmla="*/ 1133756 h 6858000"/>
              <a:gd name="connsiteX819" fmla="*/ 3103823 w 7467600"/>
              <a:gd name="connsiteY819" fmla="*/ 1026814 h 6858000"/>
              <a:gd name="connsiteX820" fmla="*/ 3607114 w 7467600"/>
              <a:gd name="connsiteY820" fmla="*/ 467441 h 6858000"/>
              <a:gd name="connsiteX821" fmla="*/ 3744487 w 7467600"/>
              <a:gd name="connsiteY821" fmla="*/ 383136 h 6858000"/>
              <a:gd name="connsiteX822" fmla="*/ 3970213 w 7467600"/>
              <a:gd name="connsiteY822" fmla="*/ 995559 h 6858000"/>
              <a:gd name="connsiteX823" fmla="*/ 3744487 w 7467600"/>
              <a:gd name="connsiteY823" fmla="*/ 383136 h 6858000"/>
              <a:gd name="connsiteX824" fmla="*/ 3624562 w 7467600"/>
              <a:gd name="connsiteY824" fmla="*/ 367041 h 6858000"/>
              <a:gd name="connsiteX825" fmla="*/ 3489712 w 7467600"/>
              <a:gd name="connsiteY825" fmla="*/ 485386 h 6858000"/>
              <a:gd name="connsiteX826" fmla="*/ 3182994 w 7467600"/>
              <a:gd name="connsiteY826" fmla="*/ 828265 h 6858000"/>
              <a:gd name="connsiteX827" fmla="*/ 2892114 w 7467600"/>
              <a:gd name="connsiteY827" fmla="*/ 1172635 h 6858000"/>
              <a:gd name="connsiteX828" fmla="*/ 3021459 w 7467600"/>
              <a:gd name="connsiteY828" fmla="*/ 1035385 h 6858000"/>
              <a:gd name="connsiteX829" fmla="*/ 3153873 w 7467600"/>
              <a:gd name="connsiteY829" fmla="*/ 898971 h 6858000"/>
              <a:gd name="connsiteX830" fmla="*/ 3276511 w 7467600"/>
              <a:gd name="connsiteY830" fmla="*/ 786423 h 6858000"/>
              <a:gd name="connsiteX831" fmla="*/ 3584154 w 7467600"/>
              <a:gd name="connsiteY831" fmla="*/ 448218 h 6858000"/>
              <a:gd name="connsiteX832" fmla="*/ 3624562 w 7467600"/>
              <a:gd name="connsiteY832" fmla="*/ 367041 h 6858000"/>
              <a:gd name="connsiteX833" fmla="*/ 3766672 w 7467600"/>
              <a:gd name="connsiteY833" fmla="*/ 359429 h 6858000"/>
              <a:gd name="connsiteX834" fmla="*/ 3996338 w 7467600"/>
              <a:gd name="connsiteY834" fmla="*/ 968237 h 6858000"/>
              <a:gd name="connsiteX835" fmla="*/ 3766672 w 7467600"/>
              <a:gd name="connsiteY835" fmla="*/ 359429 h 6858000"/>
              <a:gd name="connsiteX836" fmla="*/ 5805386 w 7467600"/>
              <a:gd name="connsiteY836" fmla="*/ 239240 h 6858000"/>
              <a:gd name="connsiteX837" fmla="*/ 5736947 w 7467600"/>
              <a:gd name="connsiteY837" fmla="*/ 261367 h 6858000"/>
              <a:gd name="connsiteX838" fmla="*/ 5427012 w 7467600"/>
              <a:gd name="connsiteY838" fmla="*/ 311272 h 6858000"/>
              <a:gd name="connsiteX839" fmla="*/ 5147818 w 7467600"/>
              <a:gd name="connsiteY839" fmla="*/ 322112 h 6858000"/>
              <a:gd name="connsiteX840" fmla="*/ 5060854 w 7467600"/>
              <a:gd name="connsiteY840" fmla="*/ 311882 h 6858000"/>
              <a:gd name="connsiteX841" fmla="*/ 4945989 w 7467600"/>
              <a:gd name="connsiteY841" fmla="*/ 300516 h 6858000"/>
              <a:gd name="connsiteX842" fmla="*/ 5410479 w 7467600"/>
              <a:gd name="connsiteY842" fmla="*/ 348434 h 6858000"/>
              <a:gd name="connsiteX843" fmla="*/ 5805386 w 7467600"/>
              <a:gd name="connsiteY843" fmla="*/ 239240 h 6858000"/>
              <a:gd name="connsiteX844" fmla="*/ 7419999 w 7467600"/>
              <a:gd name="connsiteY844" fmla="*/ 774360 h 6858000"/>
              <a:gd name="connsiteX845" fmla="*/ 7467600 w 7467600"/>
              <a:gd name="connsiteY845" fmla="*/ 789215 h 6858000"/>
              <a:gd name="connsiteX846" fmla="*/ 7451412 w 7467600"/>
              <a:gd name="connsiteY846" fmla="*/ 799572 h 6858000"/>
              <a:gd name="connsiteX847" fmla="*/ 7419999 w 7467600"/>
              <a:gd name="connsiteY847" fmla="*/ 774360 h 6858000"/>
              <a:gd name="connsiteX848" fmla="*/ 5905192 w 7467600"/>
              <a:gd name="connsiteY848" fmla="*/ 163079 h 6858000"/>
              <a:gd name="connsiteX849" fmla="*/ 5865655 w 7467600"/>
              <a:gd name="connsiteY849" fmla="*/ 171901 h 6858000"/>
              <a:gd name="connsiteX850" fmla="*/ 5259740 w 7467600"/>
              <a:gd name="connsiteY850" fmla="*/ 257013 h 6858000"/>
              <a:gd name="connsiteX851" fmla="*/ 5208466 w 7467600"/>
              <a:gd name="connsiteY851" fmla="*/ 257550 h 6858000"/>
              <a:gd name="connsiteX852" fmla="*/ 4980204 w 7467600"/>
              <a:gd name="connsiteY852" fmla="*/ 271903 h 6858000"/>
              <a:gd name="connsiteX853" fmla="*/ 5068068 w 7467600"/>
              <a:gd name="connsiteY853" fmla="*/ 282244 h 6858000"/>
              <a:gd name="connsiteX854" fmla="*/ 5153231 w 7467600"/>
              <a:gd name="connsiteY854" fmla="*/ 292240 h 6858000"/>
              <a:gd name="connsiteX855" fmla="*/ 5426491 w 7467600"/>
              <a:gd name="connsiteY855" fmla="*/ 281128 h 6858000"/>
              <a:gd name="connsiteX856" fmla="*/ 5731212 w 7467600"/>
              <a:gd name="connsiteY856" fmla="*/ 231951 h 6858000"/>
              <a:gd name="connsiteX857" fmla="*/ 5905192 w 7467600"/>
              <a:gd name="connsiteY857" fmla="*/ 163079 h 6858000"/>
              <a:gd name="connsiteX858" fmla="*/ 5944437 w 7467600"/>
              <a:gd name="connsiteY858" fmla="*/ 113829 h 6858000"/>
              <a:gd name="connsiteX859" fmla="*/ 5825032 w 7467600"/>
              <a:gd name="connsiteY859" fmla="*/ 146405 h 6858000"/>
              <a:gd name="connsiteX860" fmla="*/ 4955599 w 7467600"/>
              <a:gd name="connsiteY860" fmla="*/ 247008 h 6858000"/>
              <a:gd name="connsiteX861" fmla="*/ 5210104 w 7467600"/>
              <a:gd name="connsiteY861" fmla="*/ 228123 h 6858000"/>
              <a:gd name="connsiteX862" fmla="*/ 5261015 w 7467600"/>
              <a:gd name="connsiteY862" fmla="*/ 227087 h 6858000"/>
              <a:gd name="connsiteX863" fmla="*/ 5861181 w 7467600"/>
              <a:gd name="connsiteY863" fmla="*/ 143093 h 6858000"/>
              <a:gd name="connsiteX864" fmla="*/ 5961252 w 7467600"/>
              <a:gd name="connsiteY864" fmla="*/ 114820 h 6858000"/>
              <a:gd name="connsiteX865" fmla="*/ 5944437 w 7467600"/>
              <a:gd name="connsiteY865" fmla="*/ 113829 h 6858000"/>
              <a:gd name="connsiteX866" fmla="*/ 3882765 w 7467600"/>
              <a:gd name="connsiteY866" fmla="*/ 0 h 6858000"/>
              <a:gd name="connsiteX867" fmla="*/ 3995099 w 7467600"/>
              <a:gd name="connsiteY867" fmla="*/ 0 h 6858000"/>
              <a:gd name="connsiteX868" fmla="*/ 4163818 w 7467600"/>
              <a:gd name="connsiteY868" fmla="*/ 234104 h 6858000"/>
              <a:gd name="connsiteX869" fmla="*/ 4172099 w 7467600"/>
              <a:gd name="connsiteY869" fmla="*/ 234207 h 6858000"/>
              <a:gd name="connsiteX870" fmla="*/ 4784282 w 7467600"/>
              <a:gd name="connsiteY870" fmla="*/ 276561 h 6858000"/>
              <a:gd name="connsiteX871" fmla="*/ 4801687 w 7467600"/>
              <a:gd name="connsiteY871" fmla="*/ 267764 h 6858000"/>
              <a:gd name="connsiteX872" fmla="*/ 6082788 w 7467600"/>
              <a:gd name="connsiteY872" fmla="*/ 64119 h 6858000"/>
              <a:gd name="connsiteX873" fmla="*/ 6099442 w 7467600"/>
              <a:gd name="connsiteY873" fmla="*/ 82568 h 6858000"/>
              <a:gd name="connsiteX874" fmla="*/ 4804137 w 7467600"/>
              <a:gd name="connsiteY874" fmla="*/ 320931 h 6858000"/>
              <a:gd name="connsiteX875" fmla="*/ 4227047 w 7467600"/>
              <a:gd name="connsiteY875" fmla="*/ 313415 h 6858000"/>
              <a:gd name="connsiteX876" fmla="*/ 4346041 w 7467600"/>
              <a:gd name="connsiteY876" fmla="*/ 456086 h 6858000"/>
              <a:gd name="connsiteX877" fmla="*/ 4870967 w 7467600"/>
              <a:gd name="connsiteY877" fmla="*/ 963061 h 6858000"/>
              <a:gd name="connsiteX878" fmla="*/ 4889647 w 7467600"/>
              <a:gd name="connsiteY878" fmla="*/ 957147 h 6858000"/>
              <a:gd name="connsiteX879" fmla="*/ 5422504 w 7467600"/>
              <a:gd name="connsiteY879" fmla="*/ 805191 h 6858000"/>
              <a:gd name="connsiteX880" fmla="*/ 6087656 w 7467600"/>
              <a:gd name="connsiteY880" fmla="*/ 826703 h 6858000"/>
              <a:gd name="connsiteX881" fmla="*/ 6058717 w 7467600"/>
              <a:gd name="connsiteY881" fmla="*/ 865992 h 6858000"/>
              <a:gd name="connsiteX882" fmla="*/ 4974153 w 7467600"/>
              <a:gd name="connsiteY882" fmla="*/ 1045456 h 6858000"/>
              <a:gd name="connsiteX883" fmla="*/ 5627835 w 7467600"/>
              <a:gd name="connsiteY883" fmla="*/ 1472077 h 6858000"/>
              <a:gd name="connsiteX884" fmla="*/ 5629817 w 7467600"/>
              <a:gd name="connsiteY884" fmla="*/ 1471412 h 6858000"/>
              <a:gd name="connsiteX885" fmla="*/ 5634124 w 7467600"/>
              <a:gd name="connsiteY885" fmla="*/ 1470572 h 6858000"/>
              <a:gd name="connsiteX886" fmla="*/ 5755832 w 7467600"/>
              <a:gd name="connsiteY886" fmla="*/ 1383886 h 6858000"/>
              <a:gd name="connsiteX887" fmla="*/ 6014186 w 7467600"/>
              <a:gd name="connsiteY887" fmla="*/ 1279799 h 6858000"/>
              <a:gd name="connsiteX888" fmla="*/ 6901619 w 7467600"/>
              <a:gd name="connsiteY888" fmla="*/ 1047874 h 6858000"/>
              <a:gd name="connsiteX889" fmla="*/ 6931566 w 7467600"/>
              <a:gd name="connsiteY889" fmla="*/ 1062034 h 6858000"/>
              <a:gd name="connsiteX890" fmla="*/ 5790982 w 7467600"/>
              <a:gd name="connsiteY890" fmla="*/ 1561380 h 6858000"/>
              <a:gd name="connsiteX891" fmla="*/ 6188971 w 7467600"/>
              <a:gd name="connsiteY891" fmla="*/ 1755168 h 6858000"/>
              <a:gd name="connsiteX892" fmla="*/ 6202446 w 7467600"/>
              <a:gd name="connsiteY892" fmla="*/ 1752268 h 6858000"/>
              <a:gd name="connsiteX893" fmla="*/ 7179560 w 7467600"/>
              <a:gd name="connsiteY893" fmla="*/ 1467551 h 6858000"/>
              <a:gd name="connsiteX894" fmla="*/ 7158730 w 7467600"/>
              <a:gd name="connsiteY894" fmla="*/ 1507835 h 6858000"/>
              <a:gd name="connsiteX895" fmla="*/ 6326959 w 7467600"/>
              <a:gd name="connsiteY895" fmla="*/ 1817686 h 6858000"/>
              <a:gd name="connsiteX896" fmla="*/ 6537433 w 7467600"/>
              <a:gd name="connsiteY896" fmla="*/ 1907790 h 6858000"/>
              <a:gd name="connsiteX897" fmla="*/ 6550221 w 7467600"/>
              <a:gd name="connsiteY897" fmla="*/ 1910729 h 6858000"/>
              <a:gd name="connsiteX898" fmla="*/ 6964438 w 7467600"/>
              <a:gd name="connsiteY898" fmla="*/ 2209505 h 6858000"/>
              <a:gd name="connsiteX899" fmla="*/ 7367862 w 7467600"/>
              <a:gd name="connsiteY899" fmla="*/ 2806833 h 6858000"/>
              <a:gd name="connsiteX900" fmla="*/ 7364329 w 7467600"/>
              <a:gd name="connsiteY900" fmla="*/ 2826907 h 6858000"/>
              <a:gd name="connsiteX901" fmla="*/ 7290545 w 7467600"/>
              <a:gd name="connsiteY901" fmla="*/ 2850663 h 6858000"/>
              <a:gd name="connsiteX902" fmla="*/ 6472036 w 7467600"/>
              <a:gd name="connsiteY902" fmla="*/ 1959003 h 6858000"/>
              <a:gd name="connsiteX903" fmla="*/ 5792897 w 7467600"/>
              <a:gd name="connsiteY903" fmla="*/ 1647747 h 6858000"/>
              <a:gd name="connsiteX904" fmla="*/ 5842751 w 7467600"/>
              <a:gd name="connsiteY904" fmla="*/ 1816112 h 6858000"/>
              <a:gd name="connsiteX905" fmla="*/ 5847424 w 7467600"/>
              <a:gd name="connsiteY905" fmla="*/ 1815776 h 6858000"/>
              <a:gd name="connsiteX906" fmla="*/ 6399821 w 7467600"/>
              <a:gd name="connsiteY906" fmla="*/ 2344799 h 6858000"/>
              <a:gd name="connsiteX907" fmla="*/ 6323232 w 7467600"/>
              <a:gd name="connsiteY907" fmla="*/ 2389634 h 6858000"/>
              <a:gd name="connsiteX908" fmla="*/ 5942958 w 7467600"/>
              <a:gd name="connsiteY908" fmla="*/ 2077708 h 6858000"/>
              <a:gd name="connsiteX909" fmla="*/ 5921559 w 7467600"/>
              <a:gd name="connsiteY909" fmla="*/ 2378596 h 6858000"/>
              <a:gd name="connsiteX910" fmla="*/ 5817651 w 7467600"/>
              <a:gd name="connsiteY910" fmla="*/ 3023919 h 6858000"/>
              <a:gd name="connsiteX911" fmla="*/ 5729634 w 7467600"/>
              <a:gd name="connsiteY911" fmla="*/ 3051849 h 6858000"/>
              <a:gd name="connsiteX912" fmla="*/ 5611018 w 7467600"/>
              <a:gd name="connsiteY912" fmla="*/ 2316769 h 6858000"/>
              <a:gd name="connsiteX913" fmla="*/ 5687608 w 7467600"/>
              <a:gd name="connsiteY913" fmla="*/ 2039972 h 6858000"/>
              <a:gd name="connsiteX914" fmla="*/ 5657554 w 7467600"/>
              <a:gd name="connsiteY914" fmla="*/ 1576445 h 6858000"/>
              <a:gd name="connsiteX915" fmla="*/ 5150475 w 7467600"/>
              <a:gd name="connsiteY915" fmla="*/ 1274012 h 6858000"/>
              <a:gd name="connsiteX916" fmla="*/ 5349142 w 7467600"/>
              <a:gd name="connsiteY916" fmla="*/ 2204405 h 6858000"/>
              <a:gd name="connsiteX917" fmla="*/ 5262214 w 7467600"/>
              <a:gd name="connsiteY917" fmla="*/ 2233836 h 6858000"/>
              <a:gd name="connsiteX918" fmla="*/ 4981539 w 7467600"/>
              <a:gd name="connsiteY918" fmla="*/ 1542201 h 6858000"/>
              <a:gd name="connsiteX919" fmla="*/ 4958461 w 7467600"/>
              <a:gd name="connsiteY919" fmla="*/ 1136957 h 6858000"/>
              <a:gd name="connsiteX920" fmla="*/ 4655015 w 7467600"/>
              <a:gd name="connsiteY920" fmla="*/ 891426 h 6858000"/>
              <a:gd name="connsiteX921" fmla="*/ 4348002 w 7467600"/>
              <a:gd name="connsiteY921" fmla="*/ 2205895 h 6858000"/>
              <a:gd name="connsiteX922" fmla="*/ 4262250 w 7467600"/>
              <a:gd name="connsiteY922" fmla="*/ 2219972 h 6858000"/>
              <a:gd name="connsiteX923" fmla="*/ 4550611 w 7467600"/>
              <a:gd name="connsiteY923" fmla="*/ 817540 h 6858000"/>
              <a:gd name="connsiteX924" fmla="*/ 4564418 w 7467600"/>
              <a:gd name="connsiteY924" fmla="*/ 808293 h 6858000"/>
              <a:gd name="connsiteX925" fmla="*/ 4266388 w 7467600"/>
              <a:gd name="connsiteY925" fmla="*/ 500083 h 6858000"/>
              <a:gd name="connsiteX926" fmla="*/ 4032842 w 7467600"/>
              <a:gd name="connsiteY926" fmla="*/ 211809 h 6858000"/>
              <a:gd name="connsiteX927" fmla="*/ 3882765 w 7467600"/>
              <a:gd name="connsiteY927" fmla="*/ 0 h 6858000"/>
              <a:gd name="connsiteX928" fmla="*/ 3721337 w 7467600"/>
              <a:gd name="connsiteY928" fmla="*/ 0 h 6858000"/>
              <a:gd name="connsiteX929" fmla="*/ 3797544 w 7467600"/>
              <a:gd name="connsiteY929" fmla="*/ 0 h 6858000"/>
              <a:gd name="connsiteX930" fmla="*/ 3775734 w 7467600"/>
              <a:gd name="connsiteY930" fmla="*/ 95131 h 6858000"/>
              <a:gd name="connsiteX931" fmla="*/ 3724807 w 7467600"/>
              <a:gd name="connsiteY931" fmla="*/ 272257 h 6858000"/>
              <a:gd name="connsiteX932" fmla="*/ 3726844 w 7467600"/>
              <a:gd name="connsiteY932" fmla="*/ 282988 h 6858000"/>
              <a:gd name="connsiteX933" fmla="*/ 3742664 w 7467600"/>
              <a:gd name="connsiteY933" fmla="*/ 279918 h 6858000"/>
              <a:gd name="connsiteX934" fmla="*/ 4103910 w 7467600"/>
              <a:gd name="connsiteY934" fmla="*/ 1161917 h 6858000"/>
              <a:gd name="connsiteX935" fmla="*/ 4020269 w 7467600"/>
              <a:gd name="connsiteY935" fmla="*/ 1200406 h 6858000"/>
              <a:gd name="connsiteX936" fmla="*/ 3674882 w 7467600"/>
              <a:gd name="connsiteY936" fmla="*/ 488524 h 6858000"/>
              <a:gd name="connsiteX937" fmla="*/ 3132682 w 7467600"/>
              <a:gd name="connsiteY937" fmla="*/ 1072284 h 6858000"/>
              <a:gd name="connsiteX938" fmla="*/ 2716346 w 7467600"/>
              <a:gd name="connsiteY938" fmla="*/ 1276376 h 6858000"/>
              <a:gd name="connsiteX939" fmla="*/ 2716772 w 7467600"/>
              <a:gd name="connsiteY939" fmla="*/ 1255462 h 6858000"/>
              <a:gd name="connsiteX940" fmla="*/ 3471096 w 7467600"/>
              <a:gd name="connsiteY940" fmla="*/ 437072 h 6858000"/>
              <a:gd name="connsiteX941" fmla="*/ 3639057 w 7467600"/>
              <a:gd name="connsiteY941" fmla="*/ 286334 h 6858000"/>
              <a:gd name="connsiteX942" fmla="*/ 3640309 w 7467600"/>
              <a:gd name="connsiteY942" fmla="*/ 284664 h 6858000"/>
              <a:gd name="connsiteX943" fmla="*/ 3646022 w 7467600"/>
              <a:gd name="connsiteY943" fmla="*/ 276711 h 6858000"/>
              <a:gd name="connsiteX944" fmla="*/ 3707943 w 7467600"/>
              <a:gd name="connsiteY944" fmla="*/ 65958 h 6858000"/>
              <a:gd name="connsiteX945" fmla="*/ 3721337 w 7467600"/>
              <a:gd name="connsiteY945" fmla="*/ 0 h 6858000"/>
              <a:gd name="connsiteX946" fmla="*/ 2867960 w 7467600"/>
              <a:gd name="connsiteY946" fmla="*/ 0 h 6858000"/>
              <a:gd name="connsiteX947" fmla="*/ 2926351 w 7467600"/>
              <a:gd name="connsiteY947" fmla="*/ 0 h 6858000"/>
              <a:gd name="connsiteX948" fmla="*/ 2902823 w 7467600"/>
              <a:gd name="connsiteY948" fmla="*/ 262929 h 6858000"/>
              <a:gd name="connsiteX949" fmla="*/ 2940663 w 7467600"/>
              <a:gd name="connsiteY949" fmla="*/ 140884 h 6858000"/>
              <a:gd name="connsiteX950" fmla="*/ 2947039 w 7467600"/>
              <a:gd name="connsiteY950" fmla="*/ 122524 h 6858000"/>
              <a:gd name="connsiteX951" fmla="*/ 2984316 w 7467600"/>
              <a:gd name="connsiteY951" fmla="*/ 0 h 6858000"/>
              <a:gd name="connsiteX952" fmla="*/ 3016114 w 7467600"/>
              <a:gd name="connsiteY952" fmla="*/ 0 h 6858000"/>
              <a:gd name="connsiteX953" fmla="*/ 2979949 w 7467600"/>
              <a:gd name="connsiteY953" fmla="*/ 119274 h 6858000"/>
              <a:gd name="connsiteX954" fmla="*/ 3023879 w 7467600"/>
              <a:gd name="connsiteY954" fmla="*/ 0 h 6858000"/>
              <a:gd name="connsiteX955" fmla="*/ 3105400 w 7467600"/>
              <a:gd name="connsiteY955" fmla="*/ 0 h 6858000"/>
              <a:gd name="connsiteX956" fmla="*/ 3094669 w 7467600"/>
              <a:gd name="connsiteY956" fmla="*/ 30308 h 6858000"/>
              <a:gd name="connsiteX957" fmla="*/ 2901945 w 7467600"/>
              <a:gd name="connsiteY957" fmla="*/ 466538 h 6858000"/>
              <a:gd name="connsiteX958" fmla="*/ 2815209 w 7467600"/>
              <a:gd name="connsiteY958" fmla="*/ 497361 h 6858000"/>
              <a:gd name="connsiteX959" fmla="*/ 2844845 w 7467600"/>
              <a:gd name="connsiteY959" fmla="*/ 127638 h 6858000"/>
              <a:gd name="connsiteX960" fmla="*/ 2867960 w 7467600"/>
              <a:gd name="connsiteY960" fmla="*/ 0 h 6858000"/>
              <a:gd name="connsiteX961" fmla="*/ 1057230 w 7467600"/>
              <a:gd name="connsiteY961" fmla="*/ 0 h 6858000"/>
              <a:gd name="connsiteX962" fmla="*/ 1111003 w 7467600"/>
              <a:gd name="connsiteY962" fmla="*/ 0 h 6858000"/>
              <a:gd name="connsiteX963" fmla="*/ 1125553 w 7467600"/>
              <a:gd name="connsiteY963" fmla="*/ 52588 h 6858000"/>
              <a:gd name="connsiteX964" fmla="*/ 1304276 w 7467600"/>
              <a:gd name="connsiteY964" fmla="*/ 476275 h 6858000"/>
              <a:gd name="connsiteX965" fmla="*/ 1492066 w 7467600"/>
              <a:gd name="connsiteY965" fmla="*/ 886333 h 6858000"/>
              <a:gd name="connsiteX966" fmla="*/ 1423698 w 7467600"/>
              <a:gd name="connsiteY966" fmla="*/ 710817 h 6858000"/>
              <a:gd name="connsiteX967" fmla="*/ 1357609 w 7467600"/>
              <a:gd name="connsiteY967" fmla="*/ 532892 h 6858000"/>
              <a:gd name="connsiteX968" fmla="*/ 1309550 w 7467600"/>
              <a:gd name="connsiteY968" fmla="*/ 374031 h 6858000"/>
              <a:gd name="connsiteX969" fmla="*/ 1193673 w 7467600"/>
              <a:gd name="connsiteY969" fmla="*/ 49533 h 6858000"/>
              <a:gd name="connsiteX970" fmla="*/ 1164391 w 7467600"/>
              <a:gd name="connsiteY970" fmla="*/ 0 h 6858000"/>
              <a:gd name="connsiteX971" fmla="*/ 1200666 w 7467600"/>
              <a:gd name="connsiteY971" fmla="*/ 0 h 6858000"/>
              <a:gd name="connsiteX972" fmla="*/ 1223408 w 7467600"/>
              <a:gd name="connsiteY972" fmla="*/ 38996 h 6858000"/>
              <a:gd name="connsiteX973" fmla="*/ 1339635 w 7467600"/>
              <a:gd name="connsiteY973" fmla="*/ 365517 h 6858000"/>
              <a:gd name="connsiteX974" fmla="*/ 1387469 w 7467600"/>
              <a:gd name="connsiteY974" fmla="*/ 523079 h 6858000"/>
              <a:gd name="connsiteX975" fmla="*/ 1452685 w 7467600"/>
              <a:gd name="connsiteY975" fmla="*/ 699806 h 6858000"/>
              <a:gd name="connsiteX976" fmla="*/ 1492092 w 7467600"/>
              <a:gd name="connsiteY976" fmla="*/ 800424 h 6858000"/>
              <a:gd name="connsiteX977" fmla="*/ 1455302 w 7467600"/>
              <a:gd name="connsiteY977" fmla="*/ 632913 h 6858000"/>
              <a:gd name="connsiteX978" fmla="*/ 1222336 w 7467600"/>
              <a:gd name="connsiteY978" fmla="*/ 9480 h 6858000"/>
              <a:gd name="connsiteX979" fmla="*/ 1214634 w 7467600"/>
              <a:gd name="connsiteY979" fmla="*/ 0 h 6858000"/>
              <a:gd name="connsiteX980" fmla="*/ 1289827 w 7467600"/>
              <a:gd name="connsiteY980" fmla="*/ 0 h 6858000"/>
              <a:gd name="connsiteX981" fmla="*/ 1321076 w 7467600"/>
              <a:gd name="connsiteY981" fmla="*/ 59722 h 6858000"/>
              <a:gd name="connsiteX982" fmla="*/ 1512579 w 7467600"/>
              <a:gd name="connsiteY982" fmla="*/ 626441 h 6858000"/>
              <a:gd name="connsiteX983" fmla="*/ 1506076 w 7467600"/>
              <a:gd name="connsiteY983" fmla="*/ 1089289 h 6858000"/>
              <a:gd name="connsiteX984" fmla="*/ 1486346 w 7467600"/>
              <a:gd name="connsiteY984" fmla="*/ 1079919 h 6858000"/>
              <a:gd name="connsiteX985" fmla="*/ 1070511 w 7467600"/>
              <a:gd name="connsiteY985" fmla="*/ 48609 h 6858000"/>
              <a:gd name="connsiteX986" fmla="*/ 1057230 w 7467600"/>
              <a:gd name="connsiteY986" fmla="*/ 0 h 6858000"/>
              <a:gd name="connsiteX987" fmla="*/ 43151 w 7467600"/>
              <a:gd name="connsiteY987" fmla="*/ 0 h 6858000"/>
              <a:gd name="connsiteX988" fmla="*/ 95283 w 7467600"/>
              <a:gd name="connsiteY988" fmla="*/ 0 h 6858000"/>
              <a:gd name="connsiteX989" fmla="*/ 300708 w 7467600"/>
              <a:gd name="connsiteY989" fmla="*/ 154571 h 6858000"/>
              <a:gd name="connsiteX990" fmla="*/ 530414 w 7467600"/>
              <a:gd name="connsiteY990" fmla="*/ 354673 h 6858000"/>
              <a:gd name="connsiteX991" fmla="*/ 333785 w 7467600"/>
              <a:gd name="connsiteY991" fmla="*/ 161564 h 6858000"/>
              <a:gd name="connsiteX992" fmla="*/ 147005 w 7467600"/>
              <a:gd name="connsiteY992" fmla="*/ 0 h 6858000"/>
              <a:gd name="connsiteX993" fmla="*/ 272509 w 7467600"/>
              <a:gd name="connsiteY993" fmla="*/ 0 h 6858000"/>
              <a:gd name="connsiteX994" fmla="*/ 326276 w 7467600"/>
              <a:gd name="connsiteY994" fmla="*/ 45847 h 6858000"/>
              <a:gd name="connsiteX995" fmla="*/ 823759 w 7467600"/>
              <a:gd name="connsiteY995" fmla="*/ 574145 h 6858000"/>
              <a:gd name="connsiteX996" fmla="*/ 811254 w 7467600"/>
              <a:gd name="connsiteY996" fmla="*/ 665546 h 6858000"/>
              <a:gd name="connsiteX997" fmla="*/ 154042 w 7467600"/>
              <a:gd name="connsiteY997" fmla="*/ 261522 h 6858000"/>
              <a:gd name="connsiteX998" fmla="*/ 13550 w 7467600"/>
              <a:gd name="connsiteY998" fmla="*/ 158423 h 6858000"/>
              <a:gd name="connsiteX999" fmla="*/ 0 w 7467600"/>
              <a:gd name="connsiteY999" fmla="*/ 146618 h 6858000"/>
              <a:gd name="connsiteX1000" fmla="*/ 0 w 7467600"/>
              <a:gd name="connsiteY1000" fmla="*/ 59161 h 6858000"/>
              <a:gd name="connsiteX1001" fmla="*/ 45427 w 7467600"/>
              <a:gd name="connsiteY1001" fmla="*/ 101078 h 6858000"/>
              <a:gd name="connsiteX1002" fmla="*/ 630103 w 7467600"/>
              <a:gd name="connsiteY1002" fmla="*/ 485885 h 6858000"/>
              <a:gd name="connsiteX1003" fmla="*/ 532040 w 7467600"/>
              <a:gd name="connsiteY1003" fmla="*/ 399359 h 6858000"/>
              <a:gd name="connsiteX1004" fmla="*/ 517618 w 7467600"/>
              <a:gd name="connsiteY1004" fmla="*/ 385726 h 6858000"/>
              <a:gd name="connsiteX1005" fmla="*/ 285074 w 7467600"/>
              <a:gd name="connsiteY1005" fmla="*/ 182755 h 6858000"/>
              <a:gd name="connsiteX1006" fmla="*/ 43151 w 7467600"/>
              <a:gd name="connsiteY1006"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133363 w 7467600"/>
              <a:gd name="connsiteY127" fmla="*/ 5050246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7327465 w 7467600"/>
              <a:gd name="connsiteY139" fmla="*/ 5174181 h 6858000"/>
              <a:gd name="connsiteX140" fmla="*/ 7244057 w 7467600"/>
              <a:gd name="connsiteY140" fmla="*/ 5124233 h 6858000"/>
              <a:gd name="connsiteX141" fmla="*/ 7353035 w 7467600"/>
              <a:gd name="connsiteY141" fmla="*/ 5197318 h 6858000"/>
              <a:gd name="connsiteX142" fmla="*/ 7467600 w 7467600"/>
              <a:gd name="connsiteY142" fmla="*/ 5297634 h 6858000"/>
              <a:gd name="connsiteX143" fmla="*/ 7467600 w 7467600"/>
              <a:gd name="connsiteY143" fmla="*/ 5361850 h 6858000"/>
              <a:gd name="connsiteX144" fmla="*/ 7368569 w 7467600"/>
              <a:gd name="connsiteY144" fmla="*/ 5270182 h 6858000"/>
              <a:gd name="connsiteX145" fmla="*/ 7131946 w 7467600"/>
              <a:gd name="connsiteY145" fmla="*/ 5075653 h 6858000"/>
              <a:gd name="connsiteX146" fmla="*/ 7133363 w 7467600"/>
              <a:gd name="connsiteY146" fmla="*/ 5050246 h 6858000"/>
              <a:gd name="connsiteX147" fmla="*/ 1903353 w 7467600"/>
              <a:gd name="connsiteY147" fmla="*/ 5044827 h 6858000"/>
              <a:gd name="connsiteX148" fmla="*/ 1936931 w 7467600"/>
              <a:gd name="connsiteY148" fmla="*/ 5093954 h 6858000"/>
              <a:gd name="connsiteX149" fmla="*/ 2195868 w 7467600"/>
              <a:gd name="connsiteY149" fmla="*/ 5396574 h 6858000"/>
              <a:gd name="connsiteX150" fmla="*/ 2088852 w 7467600"/>
              <a:gd name="connsiteY150" fmla="*/ 5166123 h 6858000"/>
              <a:gd name="connsiteX151" fmla="*/ 1958241 w 7467600"/>
              <a:gd name="connsiteY151" fmla="*/ 5067955 h 6858000"/>
              <a:gd name="connsiteX152" fmla="*/ 1903353 w 7467600"/>
              <a:gd name="connsiteY152" fmla="*/ 5044827 h 6858000"/>
              <a:gd name="connsiteX153" fmla="*/ 1979378 w 7467600"/>
              <a:gd name="connsiteY153" fmla="*/ 4769504 h 6858000"/>
              <a:gd name="connsiteX154" fmla="*/ 2882120 w 7467600"/>
              <a:gd name="connsiteY154" fmla="*/ 5064547 h 6858000"/>
              <a:gd name="connsiteX155" fmla="*/ 2793103 w 7467600"/>
              <a:gd name="connsiteY155" fmla="*/ 5039699 h 6858000"/>
              <a:gd name="connsiteX156" fmla="*/ 2770041 w 7467600"/>
              <a:gd name="connsiteY156" fmla="*/ 5033634 h 6858000"/>
              <a:gd name="connsiteX157" fmla="*/ 1979378 w 7467600"/>
              <a:gd name="connsiteY157" fmla="*/ 4769504 h 6858000"/>
              <a:gd name="connsiteX158" fmla="*/ 1927410 w 7467600"/>
              <a:gd name="connsiteY158" fmla="*/ 4716164 h 6858000"/>
              <a:gd name="connsiteX159" fmla="*/ 1959587 w 7467600"/>
              <a:gd name="connsiteY159" fmla="*/ 4728849 h 6858000"/>
              <a:gd name="connsiteX160" fmla="*/ 2777707 w 7467600"/>
              <a:gd name="connsiteY160" fmla="*/ 5003991 h 6858000"/>
              <a:gd name="connsiteX161" fmla="*/ 2800768 w 7467600"/>
              <a:gd name="connsiteY161" fmla="*/ 5010056 h 6858000"/>
              <a:gd name="connsiteX162" fmla="*/ 2879408 w 7467600"/>
              <a:gd name="connsiteY162" fmla="*/ 5031590 h 6858000"/>
              <a:gd name="connsiteX163" fmla="*/ 2862295 w 7467600"/>
              <a:gd name="connsiteY163" fmla="*/ 5022958 h 6858000"/>
              <a:gd name="connsiteX164" fmla="*/ 2813343 w 7467600"/>
              <a:gd name="connsiteY164" fmla="*/ 4998369 h 6858000"/>
              <a:gd name="connsiteX165" fmla="*/ 2646245 w 7467600"/>
              <a:gd name="connsiteY165" fmla="*/ 4930999 h 6858000"/>
              <a:gd name="connsiteX166" fmla="*/ 1999243 w 7467600"/>
              <a:gd name="connsiteY166" fmla="*/ 4730524 h 6858000"/>
              <a:gd name="connsiteX167" fmla="*/ 1979527 w 7467600"/>
              <a:gd name="connsiteY167" fmla="*/ 4726651 h 6858000"/>
              <a:gd name="connsiteX168" fmla="*/ 1927410 w 7467600"/>
              <a:gd name="connsiteY168" fmla="*/ 4716164 h 6858000"/>
              <a:gd name="connsiteX169" fmla="*/ 1997014 w 7467600"/>
              <a:gd name="connsiteY169" fmla="*/ 4698007 h 6858000"/>
              <a:gd name="connsiteX170" fmla="*/ 2005458 w 7467600"/>
              <a:gd name="connsiteY170" fmla="*/ 4699540 h 6858000"/>
              <a:gd name="connsiteX171" fmla="*/ 2657186 w 7467600"/>
              <a:gd name="connsiteY171" fmla="*/ 4901687 h 6858000"/>
              <a:gd name="connsiteX172" fmla="*/ 2826662 w 7467600"/>
              <a:gd name="connsiteY172" fmla="*/ 4970362 h 6858000"/>
              <a:gd name="connsiteX173" fmla="*/ 2876100 w 7467600"/>
              <a:gd name="connsiteY173" fmla="*/ 4995397 h 6858000"/>
              <a:gd name="connsiteX174" fmla="*/ 3042600 w 7467600"/>
              <a:gd name="connsiteY174" fmla="*/ 5059532 h 6858000"/>
              <a:gd name="connsiteX175" fmla="*/ 1997014 w 7467600"/>
              <a:gd name="connsiteY175" fmla="*/ 4698007 h 6858000"/>
              <a:gd name="connsiteX176" fmla="*/ 2305292 w 7467600"/>
              <a:gd name="connsiteY176" fmla="*/ 4219492 h 6858000"/>
              <a:gd name="connsiteX177" fmla="*/ 3360922 w 7467600"/>
              <a:gd name="connsiteY177" fmla="*/ 4529373 h 6858000"/>
              <a:gd name="connsiteX178" fmla="*/ 3492420 w 7467600"/>
              <a:gd name="connsiteY178" fmla="*/ 4510145 h 6858000"/>
              <a:gd name="connsiteX179" fmla="*/ 3364086 w 7467600"/>
              <a:gd name="connsiteY179" fmla="*/ 4480340 h 6858000"/>
              <a:gd name="connsiteX180" fmla="*/ 3225818 w 7467600"/>
              <a:gd name="connsiteY180" fmla="*/ 4411822 h 6858000"/>
              <a:gd name="connsiteX181" fmla="*/ 3129696 w 7467600"/>
              <a:gd name="connsiteY181" fmla="*/ 4360704 h 6858000"/>
              <a:gd name="connsiteX182" fmla="*/ 2814545 w 7467600"/>
              <a:gd name="connsiteY182" fmla="*/ 4282955 h 6858000"/>
              <a:gd name="connsiteX183" fmla="*/ 2305292 w 7467600"/>
              <a:gd name="connsiteY183" fmla="*/ 4219492 h 6858000"/>
              <a:gd name="connsiteX184" fmla="*/ 2626982 w 7467600"/>
              <a:gd name="connsiteY184" fmla="*/ 4206450 h 6858000"/>
              <a:gd name="connsiteX185" fmla="*/ 2490617 w 7467600"/>
              <a:gd name="connsiteY185" fmla="*/ 4206951 h 6858000"/>
              <a:gd name="connsiteX186" fmla="*/ 2819869 w 7467600"/>
              <a:gd name="connsiteY186" fmla="*/ 4252936 h 6858000"/>
              <a:gd name="connsiteX187" fmla="*/ 3143018 w 7467600"/>
              <a:gd name="connsiteY187" fmla="*/ 4332698 h 6858000"/>
              <a:gd name="connsiteX188" fmla="*/ 3241520 w 7467600"/>
              <a:gd name="connsiteY188" fmla="*/ 4385112 h 6858000"/>
              <a:gd name="connsiteX189" fmla="*/ 3374575 w 7467600"/>
              <a:gd name="connsiteY189" fmla="*/ 4451517 h 6858000"/>
              <a:gd name="connsiteX190" fmla="*/ 3505221 w 7467600"/>
              <a:gd name="connsiteY190" fmla="*/ 4480757 h 6858000"/>
              <a:gd name="connsiteX191" fmla="*/ 2626982 w 7467600"/>
              <a:gd name="connsiteY191" fmla="*/ 4206450 h 6858000"/>
              <a:gd name="connsiteX192" fmla="*/ 1310106 w 7467600"/>
              <a:gd name="connsiteY192" fmla="*/ 3943217 h 6858000"/>
              <a:gd name="connsiteX193" fmla="*/ 854994 w 7467600"/>
              <a:gd name="connsiteY193" fmla="*/ 4399136 h 6858000"/>
              <a:gd name="connsiteX194" fmla="*/ 742462 w 7467600"/>
              <a:gd name="connsiteY194" fmla="*/ 4594648 h 6858000"/>
              <a:gd name="connsiteX195" fmla="*/ 820602 w 7467600"/>
              <a:gd name="connsiteY195" fmla="*/ 4485915 h 6858000"/>
              <a:gd name="connsiteX196" fmla="*/ 878295 w 7467600"/>
              <a:gd name="connsiteY196" fmla="*/ 4403594 h 6858000"/>
              <a:gd name="connsiteX197" fmla="*/ 1240607 w 7467600"/>
              <a:gd name="connsiteY197" fmla="*/ 4010401 h 6858000"/>
              <a:gd name="connsiteX198" fmla="*/ 1310106 w 7467600"/>
              <a:gd name="connsiteY198" fmla="*/ 3943217 h 6858000"/>
              <a:gd name="connsiteX199" fmla="*/ 1423113 w 7467600"/>
              <a:gd name="connsiteY199" fmla="*/ 3874565 h 6858000"/>
              <a:gd name="connsiteX200" fmla="*/ 1260565 w 7467600"/>
              <a:gd name="connsiteY200" fmla="*/ 4031982 h 6858000"/>
              <a:gd name="connsiteX201" fmla="*/ 901900 w 7467600"/>
              <a:gd name="connsiteY201" fmla="*/ 4421236 h 6858000"/>
              <a:gd name="connsiteX202" fmla="*/ 845044 w 7467600"/>
              <a:gd name="connsiteY202" fmla="*/ 4502436 h 6858000"/>
              <a:gd name="connsiteX203" fmla="*/ 685926 w 7467600"/>
              <a:gd name="connsiteY203" fmla="*/ 4703069 h 6858000"/>
              <a:gd name="connsiteX204" fmla="*/ 684248 w 7467600"/>
              <a:gd name="connsiteY204" fmla="*/ 4706721 h 6858000"/>
              <a:gd name="connsiteX205" fmla="*/ 1423113 w 7467600"/>
              <a:gd name="connsiteY205" fmla="*/ 3874565 h 6858000"/>
              <a:gd name="connsiteX206" fmla="*/ 3316479 w 7467600"/>
              <a:gd name="connsiteY206" fmla="*/ 3872136 h 6858000"/>
              <a:gd name="connsiteX207" fmla="*/ 3546806 w 7467600"/>
              <a:gd name="connsiteY207" fmla="*/ 4356139 h 6858000"/>
              <a:gd name="connsiteX208" fmla="*/ 3364433 w 7467600"/>
              <a:gd name="connsiteY208" fmla="*/ 3953121 h 6858000"/>
              <a:gd name="connsiteX209" fmla="*/ 3316479 w 7467600"/>
              <a:gd name="connsiteY209" fmla="*/ 3872136 h 6858000"/>
              <a:gd name="connsiteX210" fmla="*/ 3291335 w 7467600"/>
              <a:gd name="connsiteY210" fmla="*/ 3767420 h 6858000"/>
              <a:gd name="connsiteX211" fmla="*/ 3390805 w 7467600"/>
              <a:gd name="connsiteY211" fmla="*/ 3937163 h 6858000"/>
              <a:gd name="connsiteX212" fmla="*/ 3579062 w 7467600"/>
              <a:gd name="connsiteY212" fmla="*/ 4359040 h 6858000"/>
              <a:gd name="connsiteX213" fmla="*/ 3467355 w 7467600"/>
              <a:gd name="connsiteY213" fmla="*/ 3988130 h 6858000"/>
              <a:gd name="connsiteX214" fmla="*/ 3310753 w 7467600"/>
              <a:gd name="connsiteY214" fmla="*/ 3787140 h 6858000"/>
              <a:gd name="connsiteX215" fmla="*/ 3291335 w 7467600"/>
              <a:gd name="connsiteY215" fmla="*/ 3767420 h 6858000"/>
              <a:gd name="connsiteX216" fmla="*/ 1635889 w 7467600"/>
              <a:gd name="connsiteY216" fmla="*/ 3709494 h 6858000"/>
              <a:gd name="connsiteX217" fmla="*/ 1634800 w 7467600"/>
              <a:gd name="connsiteY217" fmla="*/ 3731111 h 6858000"/>
              <a:gd name="connsiteX218" fmla="*/ 1635889 w 7467600"/>
              <a:gd name="connsiteY218" fmla="*/ 3709494 h 6858000"/>
              <a:gd name="connsiteX219" fmla="*/ 1510397 w 7467600"/>
              <a:gd name="connsiteY219" fmla="*/ 3684705 h 6858000"/>
              <a:gd name="connsiteX220" fmla="*/ 1146550 w 7467600"/>
              <a:gd name="connsiteY220" fmla="*/ 3802012 h 6858000"/>
              <a:gd name="connsiteX221" fmla="*/ 698834 w 7467600"/>
              <a:gd name="connsiteY221" fmla="*/ 3952272 h 6858000"/>
              <a:gd name="connsiteX222" fmla="*/ 34256 w 7467600"/>
              <a:gd name="connsiteY222" fmla="*/ 4347603 h 6858000"/>
              <a:gd name="connsiteX223" fmla="*/ 527241 w 7467600"/>
              <a:gd name="connsiteY223" fmla="*/ 4065078 h 6858000"/>
              <a:gd name="connsiteX224" fmla="*/ 1510397 w 7467600"/>
              <a:gd name="connsiteY224" fmla="*/ 3684705 h 6858000"/>
              <a:gd name="connsiteX225" fmla="*/ 1313114 w 7467600"/>
              <a:gd name="connsiteY225" fmla="*/ 3655216 h 6858000"/>
              <a:gd name="connsiteX226" fmla="*/ 1109304 w 7467600"/>
              <a:gd name="connsiteY226" fmla="*/ 3669030 h 6858000"/>
              <a:gd name="connsiteX227" fmla="*/ 8129 w 7467600"/>
              <a:gd name="connsiteY227" fmla="*/ 4330519 h 6858000"/>
              <a:gd name="connsiteX228" fmla="*/ 687572 w 7467600"/>
              <a:gd name="connsiteY228" fmla="*/ 3925629 h 6858000"/>
              <a:gd name="connsiteX229" fmla="*/ 1138365 w 7467600"/>
              <a:gd name="connsiteY229" fmla="*/ 3774515 h 6858000"/>
              <a:gd name="connsiteX230" fmla="*/ 1505579 w 7467600"/>
              <a:gd name="connsiteY230" fmla="*/ 3655526 h 6858000"/>
              <a:gd name="connsiteX231" fmla="*/ 1313114 w 7467600"/>
              <a:gd name="connsiteY231" fmla="*/ 3655216 h 6858000"/>
              <a:gd name="connsiteX232" fmla="*/ 3655073 w 7467600"/>
              <a:gd name="connsiteY232" fmla="*/ 3650884 h 6858000"/>
              <a:gd name="connsiteX233" fmla="*/ 3989938 w 7467600"/>
              <a:gd name="connsiteY233" fmla="*/ 3991685 h 6858000"/>
              <a:gd name="connsiteX234" fmla="*/ 4393907 w 7467600"/>
              <a:gd name="connsiteY234" fmla="*/ 4261258 h 6858000"/>
              <a:gd name="connsiteX235" fmla="*/ 4648051 w 7467600"/>
              <a:gd name="connsiteY235" fmla="*/ 4374051 h 6858000"/>
              <a:gd name="connsiteX236" fmla="*/ 4383389 w 7467600"/>
              <a:gd name="connsiteY236" fmla="*/ 4184369 h 6858000"/>
              <a:gd name="connsiteX237" fmla="*/ 4165508 w 7467600"/>
              <a:gd name="connsiteY237" fmla="*/ 4035196 h 6858000"/>
              <a:gd name="connsiteX238" fmla="*/ 4068162 w 7467600"/>
              <a:gd name="connsiteY238" fmla="*/ 3953394 h 6858000"/>
              <a:gd name="connsiteX239" fmla="*/ 3981416 w 7467600"/>
              <a:gd name="connsiteY239" fmla="*/ 3880482 h 6858000"/>
              <a:gd name="connsiteX240" fmla="*/ 3800147 w 7467600"/>
              <a:gd name="connsiteY240" fmla="*/ 3749872 h 6858000"/>
              <a:gd name="connsiteX241" fmla="*/ 3655073 w 7467600"/>
              <a:gd name="connsiteY241" fmla="*/ 3650884 h 6858000"/>
              <a:gd name="connsiteX242" fmla="*/ 3670252 w 7467600"/>
              <a:gd name="connsiteY242" fmla="*/ 3622798 h 6858000"/>
              <a:gd name="connsiteX243" fmla="*/ 3817258 w 7467600"/>
              <a:gd name="connsiteY243" fmla="*/ 3723577 h 6858000"/>
              <a:gd name="connsiteX244" fmla="*/ 4000461 w 7467600"/>
              <a:gd name="connsiteY244" fmla="*/ 3855966 h 6858000"/>
              <a:gd name="connsiteX245" fmla="*/ 4088180 w 7467600"/>
              <a:gd name="connsiteY245" fmla="*/ 3929774 h 6858000"/>
              <a:gd name="connsiteX246" fmla="*/ 4184555 w 7467600"/>
              <a:gd name="connsiteY246" fmla="*/ 4010683 h 6858000"/>
              <a:gd name="connsiteX247" fmla="*/ 4399563 w 7467600"/>
              <a:gd name="connsiteY247" fmla="*/ 4158106 h 6858000"/>
              <a:gd name="connsiteX248" fmla="*/ 4684469 w 7467600"/>
              <a:gd name="connsiteY248" fmla="*/ 4364680 h 6858000"/>
              <a:gd name="connsiteX249" fmla="*/ 4690271 w 7467600"/>
              <a:gd name="connsiteY249" fmla="*/ 4370034 h 6858000"/>
              <a:gd name="connsiteX250" fmla="*/ 4136093 w 7467600"/>
              <a:gd name="connsiteY250" fmla="*/ 3858466 h 6858000"/>
              <a:gd name="connsiteX251" fmla="*/ 3670252 w 7467600"/>
              <a:gd name="connsiteY251" fmla="*/ 3622798 h 6858000"/>
              <a:gd name="connsiteX252" fmla="*/ 4440129 w 7467600"/>
              <a:gd name="connsiteY252" fmla="*/ 3448571 h 6858000"/>
              <a:gd name="connsiteX253" fmla="*/ 4856525 w 7467600"/>
              <a:gd name="connsiteY253" fmla="*/ 3915351 h 6858000"/>
              <a:gd name="connsiteX254" fmla="*/ 5059055 w 7467600"/>
              <a:gd name="connsiteY254" fmla="*/ 4108918 h 6858000"/>
              <a:gd name="connsiteX255" fmla="*/ 5290070 w 7467600"/>
              <a:gd name="connsiteY255" fmla="*/ 4263619 h 6858000"/>
              <a:gd name="connsiteX256" fmla="*/ 4834991 w 7467600"/>
              <a:gd name="connsiteY256" fmla="*/ 3830985 h 6858000"/>
              <a:gd name="connsiteX257" fmla="*/ 4440129 w 7467600"/>
              <a:gd name="connsiteY257" fmla="*/ 3448571 h 6858000"/>
              <a:gd name="connsiteX258" fmla="*/ 4441737 w 7467600"/>
              <a:gd name="connsiteY258" fmla="*/ 3399734 h 6858000"/>
              <a:gd name="connsiteX259" fmla="*/ 4431236 w 7467600"/>
              <a:gd name="connsiteY259" fmla="*/ 3400954 h 6858000"/>
              <a:gd name="connsiteX260" fmla="*/ 4557150 w 7467600"/>
              <a:gd name="connsiteY260" fmla="*/ 3510023 h 6858000"/>
              <a:gd name="connsiteX261" fmla="*/ 4856936 w 7467600"/>
              <a:gd name="connsiteY261" fmla="*/ 3809146 h 6858000"/>
              <a:gd name="connsiteX262" fmla="*/ 5111996 w 7467600"/>
              <a:gd name="connsiteY262" fmla="*/ 4065759 h 6858000"/>
              <a:gd name="connsiteX263" fmla="*/ 5388878 w 7467600"/>
              <a:gd name="connsiteY263" fmla="*/ 4300185 h 6858000"/>
              <a:gd name="connsiteX264" fmla="*/ 5425556 w 7467600"/>
              <a:gd name="connsiteY264" fmla="*/ 4308967 h 6858000"/>
              <a:gd name="connsiteX265" fmla="*/ 4943646 w 7467600"/>
              <a:gd name="connsiteY265" fmla="*/ 3822916 h 6858000"/>
              <a:gd name="connsiteX266" fmla="*/ 4594837 w 7467600"/>
              <a:gd name="connsiteY266" fmla="*/ 3532274 h 6858000"/>
              <a:gd name="connsiteX267" fmla="*/ 4441737 w 7467600"/>
              <a:gd name="connsiteY267" fmla="*/ 3399734 h 6858000"/>
              <a:gd name="connsiteX268" fmla="*/ 5425834 w 7467600"/>
              <a:gd name="connsiteY268" fmla="*/ 3162785 h 6858000"/>
              <a:gd name="connsiteX269" fmla="*/ 5401644 w 7467600"/>
              <a:gd name="connsiteY269" fmla="*/ 3617847 h 6858000"/>
              <a:gd name="connsiteX270" fmla="*/ 5467256 w 7467600"/>
              <a:gd name="connsiteY270" fmla="*/ 4175494 h 6858000"/>
              <a:gd name="connsiteX271" fmla="*/ 5448069 w 7467600"/>
              <a:gd name="connsiteY271" fmla="*/ 3567554 h 6858000"/>
              <a:gd name="connsiteX272" fmla="*/ 5425834 w 7467600"/>
              <a:gd name="connsiteY272" fmla="*/ 3162785 h 6858000"/>
              <a:gd name="connsiteX273" fmla="*/ 1318687 w 7467600"/>
              <a:gd name="connsiteY273" fmla="*/ 3113840 h 6858000"/>
              <a:gd name="connsiteX274" fmla="*/ 1066793 w 7467600"/>
              <a:gd name="connsiteY274" fmla="*/ 3212171 h 6858000"/>
              <a:gd name="connsiteX275" fmla="*/ 993319 w 7467600"/>
              <a:gd name="connsiteY275" fmla="*/ 3247648 h 6858000"/>
              <a:gd name="connsiteX276" fmla="*/ 853081 w 7467600"/>
              <a:gd name="connsiteY276" fmla="*/ 3312410 h 6858000"/>
              <a:gd name="connsiteX277" fmla="*/ 805957 w 7467600"/>
              <a:gd name="connsiteY277" fmla="*/ 3330443 h 6858000"/>
              <a:gd name="connsiteX278" fmla="*/ 1318687 w 7467600"/>
              <a:gd name="connsiteY278" fmla="*/ 3113840 h 6858000"/>
              <a:gd name="connsiteX279" fmla="*/ 5453702 w 7467600"/>
              <a:gd name="connsiteY279" fmla="*/ 3090882 h 6858000"/>
              <a:gd name="connsiteX280" fmla="*/ 5480135 w 7467600"/>
              <a:gd name="connsiteY280" fmla="*/ 3565802 h 6858000"/>
              <a:gd name="connsiteX281" fmla="*/ 5499023 w 7467600"/>
              <a:gd name="connsiteY281" fmla="*/ 4166310 h 6858000"/>
              <a:gd name="connsiteX282" fmla="*/ 5547022 w 7467600"/>
              <a:gd name="connsiteY282" fmla="*/ 3607838 h 6858000"/>
              <a:gd name="connsiteX283" fmla="*/ 5515964 w 7467600"/>
              <a:gd name="connsiteY283" fmla="*/ 3378541 h 6858000"/>
              <a:gd name="connsiteX284" fmla="*/ 5453702 w 7467600"/>
              <a:gd name="connsiteY284" fmla="*/ 3090882 h 6858000"/>
              <a:gd name="connsiteX285" fmla="*/ 1238695 w 7467600"/>
              <a:gd name="connsiteY285" fmla="*/ 3076820 h 6858000"/>
              <a:gd name="connsiteX286" fmla="*/ 716371 w 7467600"/>
              <a:gd name="connsiteY286" fmla="*/ 3293249 h 6858000"/>
              <a:gd name="connsiteX287" fmla="*/ 579522 w 7467600"/>
              <a:gd name="connsiteY287" fmla="*/ 3371759 h 6858000"/>
              <a:gd name="connsiteX288" fmla="*/ 600288 w 7467600"/>
              <a:gd name="connsiteY288" fmla="*/ 3365555 h 6858000"/>
              <a:gd name="connsiteX289" fmla="*/ 840692 w 7467600"/>
              <a:gd name="connsiteY289" fmla="*/ 3284921 h 6858000"/>
              <a:gd name="connsiteX290" fmla="*/ 979248 w 7467600"/>
              <a:gd name="connsiteY290" fmla="*/ 3221003 h 6858000"/>
              <a:gd name="connsiteX291" fmla="*/ 1053282 w 7467600"/>
              <a:gd name="connsiteY291" fmla="*/ 3185247 h 6858000"/>
              <a:gd name="connsiteX292" fmla="*/ 1320603 w 7467600"/>
              <a:gd name="connsiteY292" fmla="*/ 3081281 h 6858000"/>
              <a:gd name="connsiteX293" fmla="*/ 1238695 w 7467600"/>
              <a:gd name="connsiteY293" fmla="*/ 3076820 h 6858000"/>
              <a:gd name="connsiteX294" fmla="*/ 5425627 w 7467600"/>
              <a:gd name="connsiteY294" fmla="*/ 2954192 h 6858000"/>
              <a:gd name="connsiteX295" fmla="*/ 5470770 w 7467600"/>
              <a:gd name="connsiteY295" fmla="*/ 3005435 h 6858000"/>
              <a:gd name="connsiteX296" fmla="*/ 5519779 w 7467600"/>
              <a:gd name="connsiteY296" fmla="*/ 4359223 h 6858000"/>
              <a:gd name="connsiteX297" fmla="*/ 5520293 w 7467600"/>
              <a:gd name="connsiteY297" fmla="*/ 4360602 h 6858000"/>
              <a:gd name="connsiteX298" fmla="*/ 5767221 w 7467600"/>
              <a:gd name="connsiteY298" fmla="*/ 4665564 h 6858000"/>
              <a:gd name="connsiteX299" fmla="*/ 6937169 w 7467600"/>
              <a:gd name="connsiteY299" fmla="*/ 4815941 h 6858000"/>
              <a:gd name="connsiteX300" fmla="*/ 6953922 w 7467600"/>
              <a:gd name="connsiteY300" fmla="*/ 4890068 h 6858000"/>
              <a:gd name="connsiteX301" fmla="*/ 6071359 w 7467600"/>
              <a:gd name="connsiteY301" fmla="*/ 4770770 h 6858000"/>
              <a:gd name="connsiteX302" fmla="*/ 6038839 w 7467600"/>
              <a:gd name="connsiteY302" fmla="*/ 4764474 h 6858000"/>
              <a:gd name="connsiteX303" fmla="*/ 6038706 w 7467600"/>
              <a:gd name="connsiteY303" fmla="*/ 4763847 h 6858000"/>
              <a:gd name="connsiteX304" fmla="*/ 6037784 w 7467600"/>
              <a:gd name="connsiteY304" fmla="*/ 4764270 h 6858000"/>
              <a:gd name="connsiteX305" fmla="*/ 6038839 w 7467600"/>
              <a:gd name="connsiteY305" fmla="*/ 4764474 h 6858000"/>
              <a:gd name="connsiteX306" fmla="*/ 6040338 w 7467600"/>
              <a:gd name="connsiteY306" fmla="*/ 4771418 h 6858000"/>
              <a:gd name="connsiteX307" fmla="*/ 6024488 w 7467600"/>
              <a:gd name="connsiteY307" fmla="*/ 4809903 h 6858000"/>
              <a:gd name="connsiteX308" fmla="*/ 5599771 w 7467600"/>
              <a:gd name="connsiteY308" fmla="*/ 5509652 h 6858000"/>
              <a:gd name="connsiteX309" fmla="*/ 5548843 w 7467600"/>
              <a:gd name="connsiteY309" fmla="*/ 5563845 h 6858000"/>
              <a:gd name="connsiteX310" fmla="*/ 5940952 w 7467600"/>
              <a:gd name="connsiteY310" fmla="*/ 6250028 h 6858000"/>
              <a:gd name="connsiteX311" fmla="*/ 6043441 w 7467600"/>
              <a:gd name="connsiteY311" fmla="*/ 6665847 h 6858000"/>
              <a:gd name="connsiteX312" fmla="*/ 6093432 w 7467600"/>
              <a:gd name="connsiteY312" fmla="*/ 6858000 h 6858000"/>
              <a:gd name="connsiteX313" fmla="*/ 6034344 w 7467600"/>
              <a:gd name="connsiteY313" fmla="*/ 6858000 h 6858000"/>
              <a:gd name="connsiteX314" fmla="*/ 6026679 w 7467600"/>
              <a:gd name="connsiteY314" fmla="*/ 6836959 h 6858000"/>
              <a:gd name="connsiteX315" fmla="*/ 5800441 w 7467600"/>
              <a:gd name="connsiteY315" fmla="*/ 6335286 h 6858000"/>
              <a:gd name="connsiteX316" fmla="*/ 5526562 w 7467600"/>
              <a:gd name="connsiteY316" fmla="*/ 5705388 h 6858000"/>
              <a:gd name="connsiteX317" fmla="*/ 5519640 w 7467600"/>
              <a:gd name="connsiteY317" fmla="*/ 5683774 h 6858000"/>
              <a:gd name="connsiteX318" fmla="*/ 5844559 w 7467600"/>
              <a:gd name="connsiteY318" fmla="*/ 6553349 h 6858000"/>
              <a:gd name="connsiteX319" fmla="*/ 5975994 w 7467600"/>
              <a:gd name="connsiteY319" fmla="*/ 6858000 h 6858000"/>
              <a:gd name="connsiteX320" fmla="*/ 5898547 w 7467600"/>
              <a:gd name="connsiteY320" fmla="*/ 6858000 h 6858000"/>
              <a:gd name="connsiteX321" fmla="*/ 5682041 w 7467600"/>
              <a:gd name="connsiteY321" fmla="*/ 6355860 h 6858000"/>
              <a:gd name="connsiteX322" fmla="*/ 5461758 w 7467600"/>
              <a:gd name="connsiteY322" fmla="*/ 5820220 h 6858000"/>
              <a:gd name="connsiteX323" fmla="*/ 5237282 w 7467600"/>
              <a:gd name="connsiteY323" fmla="*/ 6579086 h 6858000"/>
              <a:gd name="connsiteX324" fmla="*/ 5115009 w 7467600"/>
              <a:gd name="connsiteY324" fmla="*/ 6858000 h 6858000"/>
              <a:gd name="connsiteX325" fmla="*/ 5028074 w 7467600"/>
              <a:gd name="connsiteY325" fmla="*/ 6858000 h 6858000"/>
              <a:gd name="connsiteX326" fmla="*/ 5079508 w 7467600"/>
              <a:gd name="connsiteY326" fmla="*/ 6749074 h 6858000"/>
              <a:gd name="connsiteX327" fmla="*/ 5371846 w 7467600"/>
              <a:gd name="connsiteY327" fmla="*/ 5924413 h 6858000"/>
              <a:gd name="connsiteX328" fmla="*/ 5270512 w 7467600"/>
              <a:gd name="connsiteY328" fmla="*/ 6138975 h 6858000"/>
              <a:gd name="connsiteX329" fmla="*/ 5062409 w 7467600"/>
              <a:gd name="connsiteY329" fmla="*/ 6653544 h 6858000"/>
              <a:gd name="connsiteX330" fmla="*/ 5036628 w 7467600"/>
              <a:gd name="connsiteY330" fmla="*/ 6754247 h 6858000"/>
              <a:gd name="connsiteX331" fmla="*/ 5009112 w 7467600"/>
              <a:gd name="connsiteY331" fmla="*/ 6858000 h 6858000"/>
              <a:gd name="connsiteX332" fmla="*/ 4976679 w 7467600"/>
              <a:gd name="connsiteY332" fmla="*/ 6858000 h 6858000"/>
              <a:gd name="connsiteX333" fmla="*/ 5006537 w 7467600"/>
              <a:gd name="connsiteY333" fmla="*/ 6747068 h 6858000"/>
              <a:gd name="connsiteX334" fmla="*/ 5032723 w 7467600"/>
              <a:gd name="connsiteY334" fmla="*/ 6644957 h 6858000"/>
              <a:gd name="connsiteX335" fmla="*/ 5242949 w 7467600"/>
              <a:gd name="connsiteY335" fmla="*/ 6125175 h 6858000"/>
              <a:gd name="connsiteX336" fmla="*/ 5286321 w 7467600"/>
              <a:gd name="connsiteY336" fmla="*/ 6033555 h 6858000"/>
              <a:gd name="connsiteX337" fmla="*/ 5008210 w 7467600"/>
              <a:gd name="connsiteY337" fmla="*/ 6649194 h 6858000"/>
              <a:gd name="connsiteX338" fmla="*/ 4986321 w 7467600"/>
              <a:gd name="connsiteY338" fmla="*/ 6765687 h 6858000"/>
              <a:gd name="connsiteX339" fmla="*/ 4973474 w 7467600"/>
              <a:gd name="connsiteY339" fmla="*/ 6858000 h 6858000"/>
              <a:gd name="connsiteX340" fmla="*/ 4907178 w 7467600"/>
              <a:gd name="connsiteY340" fmla="*/ 6858000 h 6858000"/>
              <a:gd name="connsiteX341" fmla="*/ 4910810 w 7467600"/>
              <a:gd name="connsiteY341" fmla="*/ 6829660 h 6858000"/>
              <a:gd name="connsiteX342" fmla="*/ 4987461 w 7467600"/>
              <a:gd name="connsiteY342" fmla="*/ 6432994 h 6858000"/>
              <a:gd name="connsiteX343" fmla="*/ 5179262 w 7467600"/>
              <a:gd name="connsiteY343" fmla="*/ 6035044 h 6858000"/>
              <a:gd name="connsiteX344" fmla="*/ 4689678 w 7467600"/>
              <a:gd name="connsiteY344" fmla="*/ 6440241 h 6858000"/>
              <a:gd name="connsiteX345" fmla="*/ 4477543 w 7467600"/>
              <a:gd name="connsiteY345" fmla="*/ 6674836 h 6858000"/>
              <a:gd name="connsiteX346" fmla="*/ 4329957 w 7467600"/>
              <a:gd name="connsiteY346" fmla="*/ 6858000 h 6858000"/>
              <a:gd name="connsiteX347" fmla="*/ 4218595 w 7467600"/>
              <a:gd name="connsiteY347" fmla="*/ 6858000 h 6858000"/>
              <a:gd name="connsiteX348" fmla="*/ 4368888 w 7467600"/>
              <a:gd name="connsiteY348" fmla="*/ 6668412 h 6858000"/>
              <a:gd name="connsiteX349" fmla="*/ 4563091 w 7467600"/>
              <a:gd name="connsiteY349" fmla="*/ 6442508 h 6858000"/>
              <a:gd name="connsiteX350" fmla="*/ 5387324 w 7467600"/>
              <a:gd name="connsiteY350" fmla="*/ 5705830 h 6858000"/>
              <a:gd name="connsiteX351" fmla="*/ 5073620 w 7467600"/>
              <a:gd name="connsiteY351" fmla="*/ 5955437 h 6858000"/>
              <a:gd name="connsiteX352" fmla="*/ 4689789 w 7467600"/>
              <a:gd name="connsiteY352" fmla="*/ 6268382 h 6858000"/>
              <a:gd name="connsiteX353" fmla="*/ 4418722 w 7467600"/>
              <a:gd name="connsiteY353" fmla="*/ 6570886 h 6858000"/>
              <a:gd name="connsiteX354" fmla="*/ 4214944 w 7467600"/>
              <a:gd name="connsiteY354" fmla="*/ 6858000 h 6858000"/>
              <a:gd name="connsiteX355" fmla="*/ 4177898 w 7467600"/>
              <a:gd name="connsiteY355" fmla="*/ 6858000 h 6858000"/>
              <a:gd name="connsiteX356" fmla="*/ 4391597 w 7467600"/>
              <a:gd name="connsiteY356" fmla="*/ 6556370 h 6858000"/>
              <a:gd name="connsiteX357" fmla="*/ 4668889 w 7467600"/>
              <a:gd name="connsiteY357" fmla="*/ 6246399 h 6858000"/>
              <a:gd name="connsiteX358" fmla="*/ 5055427 w 7467600"/>
              <a:gd name="connsiteY358" fmla="*/ 5931476 h 6858000"/>
              <a:gd name="connsiteX359" fmla="*/ 5371814 w 7467600"/>
              <a:gd name="connsiteY359" fmla="*/ 5678975 h 6858000"/>
              <a:gd name="connsiteX360" fmla="*/ 4987918 w 7467600"/>
              <a:gd name="connsiteY360" fmla="*/ 5838701 h 6858000"/>
              <a:gd name="connsiteX361" fmla="*/ 4317146 w 7467600"/>
              <a:gd name="connsiteY361" fmla="*/ 6587716 h 6858000"/>
              <a:gd name="connsiteX362" fmla="*/ 4171627 w 7467600"/>
              <a:gd name="connsiteY362" fmla="*/ 6858000 h 6858000"/>
              <a:gd name="connsiteX363" fmla="*/ 4081585 w 7467600"/>
              <a:gd name="connsiteY363" fmla="*/ 6858000 h 6858000"/>
              <a:gd name="connsiteX364" fmla="*/ 4238603 w 7467600"/>
              <a:gd name="connsiteY364" fmla="*/ 6559341 h 6858000"/>
              <a:gd name="connsiteX365" fmla="*/ 4778333 w 7467600"/>
              <a:gd name="connsiteY365" fmla="*/ 5873626 h 6858000"/>
              <a:gd name="connsiteX366" fmla="*/ 5414185 w 7467600"/>
              <a:gd name="connsiteY366" fmla="*/ 5573882 h 6858000"/>
              <a:gd name="connsiteX367" fmla="*/ 5959648 w 7467600"/>
              <a:gd name="connsiteY367" fmla="*/ 4760797 h 6858000"/>
              <a:gd name="connsiteX368" fmla="*/ 5355019 w 7467600"/>
              <a:gd name="connsiteY368" fmla="*/ 4734672 h 6858000"/>
              <a:gd name="connsiteX369" fmla="*/ 5083565 w 7467600"/>
              <a:gd name="connsiteY369" fmla="*/ 5179121 h 6858000"/>
              <a:gd name="connsiteX370" fmla="*/ 4713577 w 7467600"/>
              <a:gd name="connsiteY370" fmla="*/ 5616803 h 6858000"/>
              <a:gd name="connsiteX371" fmla="*/ 3989559 w 7467600"/>
              <a:gd name="connsiteY371" fmla="*/ 6145945 h 6858000"/>
              <a:gd name="connsiteX372" fmla="*/ 3939824 w 7467600"/>
              <a:gd name="connsiteY372" fmla="*/ 6066900 h 6858000"/>
              <a:gd name="connsiteX373" fmla="*/ 4584537 w 7467600"/>
              <a:gd name="connsiteY373" fmla="*/ 5324826 h 6858000"/>
              <a:gd name="connsiteX374" fmla="*/ 5037105 w 7467600"/>
              <a:gd name="connsiteY374" fmla="*/ 5088765 h 6858000"/>
              <a:gd name="connsiteX375" fmla="*/ 5039930 w 7467600"/>
              <a:gd name="connsiteY375" fmla="*/ 5089585 h 6858000"/>
              <a:gd name="connsiteX376" fmla="*/ 5263764 w 7467600"/>
              <a:gd name="connsiteY376" fmla="*/ 4735525 h 6858000"/>
              <a:gd name="connsiteX377" fmla="*/ 4086300 w 7467600"/>
              <a:gd name="connsiteY377" fmla="*/ 4884599 h 6858000"/>
              <a:gd name="connsiteX378" fmla="*/ 4085485 w 7467600"/>
              <a:gd name="connsiteY378" fmla="*/ 4899070 h 6858000"/>
              <a:gd name="connsiteX379" fmla="*/ 3871915 w 7467600"/>
              <a:gd name="connsiteY379" fmla="*/ 5253645 h 6858000"/>
              <a:gd name="connsiteX380" fmla="*/ 3799374 w 7467600"/>
              <a:gd name="connsiteY380" fmla="*/ 5466127 h 6858000"/>
              <a:gd name="connsiteX381" fmla="*/ 3498850 w 7467600"/>
              <a:gd name="connsiteY381" fmla="*/ 6661888 h 6858000"/>
              <a:gd name="connsiteX382" fmla="*/ 3399216 w 7467600"/>
              <a:gd name="connsiteY382" fmla="*/ 6858000 h 6858000"/>
              <a:gd name="connsiteX383" fmla="*/ 3303688 w 7467600"/>
              <a:gd name="connsiteY383" fmla="*/ 6858000 h 6858000"/>
              <a:gd name="connsiteX384" fmla="*/ 3391774 w 7467600"/>
              <a:gd name="connsiteY384" fmla="*/ 6697181 h 6858000"/>
              <a:gd name="connsiteX385" fmla="*/ 3735540 w 7467600"/>
              <a:gd name="connsiteY385" fmla="*/ 5546923 h 6858000"/>
              <a:gd name="connsiteX386" fmla="*/ 3729438 w 7467600"/>
              <a:gd name="connsiteY386" fmla="*/ 5569058 h 6858000"/>
              <a:gd name="connsiteX387" fmla="*/ 3707782 w 7467600"/>
              <a:gd name="connsiteY387" fmla="*/ 5644908 h 6858000"/>
              <a:gd name="connsiteX388" fmla="*/ 3583827 w 7467600"/>
              <a:gd name="connsiteY388" fmla="*/ 6039215 h 6858000"/>
              <a:gd name="connsiteX389" fmla="*/ 3547861 w 7467600"/>
              <a:gd name="connsiteY389" fmla="*/ 6129609 h 6858000"/>
              <a:gd name="connsiteX390" fmla="*/ 3490905 w 7467600"/>
              <a:gd name="connsiteY390" fmla="*/ 6277660 h 6858000"/>
              <a:gd name="connsiteX391" fmla="*/ 3455859 w 7467600"/>
              <a:gd name="connsiteY391" fmla="*/ 6391301 h 6858000"/>
              <a:gd name="connsiteX392" fmla="*/ 3429112 w 7467600"/>
              <a:gd name="connsiteY392" fmla="*/ 6479469 h 6858000"/>
              <a:gd name="connsiteX393" fmla="*/ 3304862 w 7467600"/>
              <a:gd name="connsiteY393" fmla="*/ 6796476 h 6858000"/>
              <a:gd name="connsiteX394" fmla="*/ 3276071 w 7467600"/>
              <a:gd name="connsiteY394" fmla="*/ 6858000 h 6858000"/>
              <a:gd name="connsiteX395" fmla="*/ 3240805 w 7467600"/>
              <a:gd name="connsiteY395" fmla="*/ 6858000 h 6858000"/>
              <a:gd name="connsiteX396" fmla="*/ 3275917 w 7467600"/>
              <a:gd name="connsiteY396" fmla="*/ 6783192 h 6858000"/>
              <a:gd name="connsiteX397" fmla="*/ 3399358 w 7467600"/>
              <a:gd name="connsiteY397" fmla="*/ 6469011 h 6858000"/>
              <a:gd name="connsiteX398" fmla="*/ 3425650 w 7467600"/>
              <a:gd name="connsiteY398" fmla="*/ 6381333 h 6858000"/>
              <a:gd name="connsiteX399" fmla="*/ 3460661 w 7467600"/>
              <a:gd name="connsiteY399" fmla="*/ 6266763 h 6858000"/>
              <a:gd name="connsiteX400" fmla="*/ 3518021 w 7467600"/>
              <a:gd name="connsiteY400" fmla="*/ 6117298 h 6858000"/>
              <a:gd name="connsiteX401" fmla="*/ 3554035 w 7467600"/>
              <a:gd name="connsiteY401" fmla="*/ 6027832 h 6858000"/>
              <a:gd name="connsiteX402" fmla="*/ 3677174 w 7467600"/>
              <a:gd name="connsiteY402" fmla="*/ 5636351 h 6858000"/>
              <a:gd name="connsiteX403" fmla="*/ 3698819 w 7467600"/>
              <a:gd name="connsiteY403" fmla="*/ 5560503 h 6858000"/>
              <a:gd name="connsiteX404" fmla="*/ 3702094 w 7467600"/>
              <a:gd name="connsiteY404" fmla="*/ 5549194 h 6858000"/>
              <a:gd name="connsiteX405" fmla="*/ 3398355 w 7467600"/>
              <a:gd name="connsiteY405" fmla="*/ 6094603 h 6858000"/>
              <a:gd name="connsiteX406" fmla="*/ 3193941 w 7467600"/>
              <a:gd name="connsiteY406" fmla="*/ 6798775 h 6858000"/>
              <a:gd name="connsiteX407" fmla="*/ 3184140 w 7467600"/>
              <a:gd name="connsiteY407" fmla="*/ 6858000 h 6858000"/>
              <a:gd name="connsiteX408" fmla="*/ 3099978 w 7467600"/>
              <a:gd name="connsiteY408" fmla="*/ 6858000 h 6858000"/>
              <a:gd name="connsiteX409" fmla="*/ 3101556 w 7467600"/>
              <a:gd name="connsiteY409" fmla="*/ 6843337 h 6858000"/>
              <a:gd name="connsiteX410" fmla="*/ 3370162 w 7467600"/>
              <a:gd name="connsiteY410" fmla="*/ 5785550 h 6858000"/>
              <a:gd name="connsiteX411" fmla="*/ 3746477 w 7467600"/>
              <a:gd name="connsiteY411" fmla="*/ 5377889 h 6858000"/>
              <a:gd name="connsiteX412" fmla="*/ 3863399 w 7467600"/>
              <a:gd name="connsiteY412" fmla="*/ 5087257 h 6858000"/>
              <a:gd name="connsiteX413" fmla="*/ 3968712 w 7467600"/>
              <a:gd name="connsiteY413" fmla="*/ 4913989 h 6858000"/>
              <a:gd name="connsiteX414" fmla="*/ 2792390 w 7467600"/>
              <a:gd name="connsiteY414" fmla="*/ 5382974 h 6858000"/>
              <a:gd name="connsiteX415" fmla="*/ 2714982 w 7467600"/>
              <a:gd name="connsiteY415" fmla="*/ 5427051 h 6858000"/>
              <a:gd name="connsiteX416" fmla="*/ 2813361 w 7467600"/>
              <a:gd name="connsiteY416" fmla="*/ 6023912 h 6858000"/>
              <a:gd name="connsiteX417" fmla="*/ 2688430 w 7467600"/>
              <a:gd name="connsiteY417" fmla="*/ 6801564 h 6858000"/>
              <a:gd name="connsiteX418" fmla="*/ 2629626 w 7467600"/>
              <a:gd name="connsiteY418" fmla="*/ 6763394 h 6858000"/>
              <a:gd name="connsiteX419" fmla="*/ 2565328 w 7467600"/>
              <a:gd name="connsiteY419" fmla="*/ 5516399 h 6858000"/>
              <a:gd name="connsiteX420" fmla="*/ 1922999 w 7467600"/>
              <a:gd name="connsiteY420" fmla="*/ 5980343 h 6858000"/>
              <a:gd name="connsiteX421" fmla="*/ 1950261 w 7467600"/>
              <a:gd name="connsiteY421" fmla="*/ 6405858 h 6858000"/>
              <a:gd name="connsiteX422" fmla="*/ 2365554 w 7467600"/>
              <a:gd name="connsiteY422" fmla="*/ 6759107 h 6858000"/>
              <a:gd name="connsiteX423" fmla="*/ 2424142 w 7467600"/>
              <a:gd name="connsiteY423" fmla="*/ 6858000 h 6858000"/>
              <a:gd name="connsiteX424" fmla="*/ 2395994 w 7467600"/>
              <a:gd name="connsiteY424" fmla="*/ 6858000 h 6858000"/>
              <a:gd name="connsiteX425" fmla="*/ 2392863 w 7467600"/>
              <a:gd name="connsiteY425" fmla="*/ 6852964 h 6858000"/>
              <a:gd name="connsiteX426" fmla="*/ 2017589 w 7467600"/>
              <a:gd name="connsiteY426" fmla="*/ 6493982 h 6858000"/>
              <a:gd name="connsiteX427" fmla="*/ 2147336 w 7467600"/>
              <a:gd name="connsiteY427" fmla="*/ 6594052 h 6858000"/>
              <a:gd name="connsiteX428" fmla="*/ 2207047 w 7467600"/>
              <a:gd name="connsiteY428" fmla="*/ 6654540 h 6858000"/>
              <a:gd name="connsiteX429" fmla="*/ 2299106 w 7467600"/>
              <a:gd name="connsiteY429" fmla="*/ 6778931 h 6858000"/>
              <a:gd name="connsiteX430" fmla="*/ 2314430 w 7467600"/>
              <a:gd name="connsiteY430" fmla="*/ 6801144 h 6858000"/>
              <a:gd name="connsiteX431" fmla="*/ 2352406 w 7467600"/>
              <a:gd name="connsiteY431" fmla="*/ 6858000 h 6858000"/>
              <a:gd name="connsiteX432" fmla="*/ 2314492 w 7467600"/>
              <a:gd name="connsiteY432" fmla="*/ 6858000 h 6858000"/>
              <a:gd name="connsiteX433" fmla="*/ 2288095 w 7467600"/>
              <a:gd name="connsiteY433" fmla="*/ 6818030 h 6858000"/>
              <a:gd name="connsiteX434" fmla="*/ 2272768 w 7467600"/>
              <a:gd name="connsiteY434" fmla="*/ 6795822 h 6858000"/>
              <a:gd name="connsiteX435" fmla="*/ 2182715 w 7467600"/>
              <a:gd name="connsiteY435" fmla="*/ 6675071 h 6858000"/>
              <a:gd name="connsiteX436" fmla="*/ 2032061 w 7467600"/>
              <a:gd name="connsiteY436" fmla="*/ 6541380 h 6858000"/>
              <a:gd name="connsiteX437" fmla="*/ 2257220 w 7467600"/>
              <a:gd name="connsiteY437" fmla="*/ 6826257 h 6858000"/>
              <a:gd name="connsiteX438" fmla="*/ 2281324 w 7467600"/>
              <a:gd name="connsiteY438" fmla="*/ 6858000 h 6858000"/>
              <a:gd name="connsiteX439" fmla="*/ 2242860 w 7467600"/>
              <a:gd name="connsiteY439" fmla="*/ 6858000 h 6858000"/>
              <a:gd name="connsiteX440" fmla="*/ 2232818 w 7467600"/>
              <a:gd name="connsiteY440" fmla="*/ 6844926 h 6858000"/>
              <a:gd name="connsiteX441" fmla="*/ 1990172 w 7467600"/>
              <a:gd name="connsiteY441" fmla="*/ 6542121 h 6858000"/>
              <a:gd name="connsiteX442" fmla="*/ 2124090 w 7467600"/>
              <a:gd name="connsiteY442" fmla="*/ 6761017 h 6858000"/>
              <a:gd name="connsiteX443" fmla="*/ 2200380 w 7467600"/>
              <a:gd name="connsiteY443" fmla="*/ 6858000 h 6858000"/>
              <a:gd name="connsiteX444" fmla="*/ 2147507 w 7467600"/>
              <a:gd name="connsiteY444" fmla="*/ 6858000 h 6858000"/>
              <a:gd name="connsiteX445" fmla="*/ 2070668 w 7467600"/>
              <a:gd name="connsiteY445" fmla="*/ 6761520 h 6858000"/>
              <a:gd name="connsiteX446" fmla="*/ 1975142 w 7467600"/>
              <a:gd name="connsiteY446" fmla="*/ 6585570 h 6858000"/>
              <a:gd name="connsiteX447" fmla="*/ 2050035 w 7467600"/>
              <a:gd name="connsiteY447" fmla="*/ 6813345 h 6858000"/>
              <a:gd name="connsiteX448" fmla="*/ 2063025 w 7467600"/>
              <a:gd name="connsiteY448" fmla="*/ 6858000 h 6858000"/>
              <a:gd name="connsiteX449" fmla="*/ 2021675 w 7467600"/>
              <a:gd name="connsiteY449" fmla="*/ 6858000 h 6858000"/>
              <a:gd name="connsiteX450" fmla="*/ 2019308 w 7467600"/>
              <a:gd name="connsiteY450" fmla="*/ 6847118 h 6858000"/>
              <a:gd name="connsiteX451" fmla="*/ 1938835 w 7467600"/>
              <a:gd name="connsiteY451" fmla="*/ 6551160 h 6858000"/>
              <a:gd name="connsiteX452" fmla="*/ 1953230 w 7467600"/>
              <a:gd name="connsiteY452" fmla="*/ 6759699 h 6858000"/>
              <a:gd name="connsiteX453" fmla="*/ 1956763 w 7467600"/>
              <a:gd name="connsiteY453" fmla="*/ 6778191 h 6858000"/>
              <a:gd name="connsiteX454" fmla="*/ 1967925 w 7467600"/>
              <a:gd name="connsiteY454" fmla="*/ 6858000 h 6858000"/>
              <a:gd name="connsiteX455" fmla="*/ 1936622 w 7467600"/>
              <a:gd name="connsiteY455" fmla="*/ 6858000 h 6858000"/>
              <a:gd name="connsiteX456" fmla="*/ 1926261 w 7467600"/>
              <a:gd name="connsiteY456" fmla="*/ 6784064 h 6858000"/>
              <a:gd name="connsiteX457" fmla="*/ 1922724 w 7467600"/>
              <a:gd name="connsiteY457" fmla="*/ 6765577 h 6858000"/>
              <a:gd name="connsiteX458" fmla="*/ 1904650 w 7467600"/>
              <a:gd name="connsiteY458" fmla="*/ 6639616 h 6858000"/>
              <a:gd name="connsiteX459" fmla="*/ 1885273 w 7467600"/>
              <a:gd name="connsiteY459" fmla="*/ 6858000 h 6858000"/>
              <a:gd name="connsiteX460" fmla="*/ 1854363 w 7467600"/>
              <a:gd name="connsiteY460" fmla="*/ 6858000 h 6858000"/>
              <a:gd name="connsiteX461" fmla="*/ 1880391 w 7467600"/>
              <a:gd name="connsiteY461" fmla="*/ 6603796 h 6858000"/>
              <a:gd name="connsiteX462" fmla="*/ 1818273 w 7467600"/>
              <a:gd name="connsiteY462" fmla="*/ 6715729 h 6858000"/>
              <a:gd name="connsiteX463" fmla="*/ 1794691 w 7467600"/>
              <a:gd name="connsiteY463" fmla="*/ 6843239 h 6858000"/>
              <a:gd name="connsiteX464" fmla="*/ 1794914 w 7467600"/>
              <a:gd name="connsiteY464" fmla="*/ 6858000 h 6858000"/>
              <a:gd name="connsiteX465" fmla="*/ 1746128 w 7467600"/>
              <a:gd name="connsiteY465" fmla="*/ 6858000 h 6858000"/>
              <a:gd name="connsiteX466" fmla="*/ 1753934 w 7467600"/>
              <a:gd name="connsiteY466" fmla="*/ 6724796 h 6858000"/>
              <a:gd name="connsiteX467" fmla="*/ 1792053 w 7467600"/>
              <a:gd name="connsiteY467" fmla="*/ 6572396 h 6858000"/>
              <a:gd name="connsiteX468" fmla="*/ 1862248 w 7467600"/>
              <a:gd name="connsiteY468" fmla="*/ 6266397 h 6858000"/>
              <a:gd name="connsiteX469" fmla="*/ 1862250 w 7467600"/>
              <a:gd name="connsiteY469" fmla="*/ 6033531 h 6858000"/>
              <a:gd name="connsiteX470" fmla="*/ 1211999 w 7467600"/>
              <a:gd name="connsiteY470" fmla="*/ 6683610 h 6858000"/>
              <a:gd name="connsiteX471" fmla="*/ 1213266 w 7467600"/>
              <a:gd name="connsiteY471" fmla="*/ 6691947 h 6858000"/>
              <a:gd name="connsiteX472" fmla="*/ 1203370 w 7467600"/>
              <a:gd name="connsiteY472" fmla="*/ 6850676 h 6858000"/>
              <a:gd name="connsiteX473" fmla="*/ 1203671 w 7467600"/>
              <a:gd name="connsiteY473" fmla="*/ 6858000 h 6858000"/>
              <a:gd name="connsiteX474" fmla="*/ 1143180 w 7467600"/>
              <a:gd name="connsiteY474" fmla="*/ 6858000 h 6858000"/>
              <a:gd name="connsiteX475" fmla="*/ 1142176 w 7467600"/>
              <a:gd name="connsiteY475" fmla="*/ 6766045 h 6858000"/>
              <a:gd name="connsiteX476" fmla="*/ 1067484 w 7467600"/>
              <a:gd name="connsiteY476" fmla="*/ 6858000 h 6858000"/>
              <a:gd name="connsiteX477" fmla="*/ 953928 w 7467600"/>
              <a:gd name="connsiteY477" fmla="*/ 6858000 h 6858000"/>
              <a:gd name="connsiteX478" fmla="*/ 959715 w 7467600"/>
              <a:gd name="connsiteY478" fmla="*/ 6850185 h 6858000"/>
              <a:gd name="connsiteX479" fmla="*/ 1483788 w 7467600"/>
              <a:gd name="connsiteY479" fmla="*/ 6259174 h 6858000"/>
              <a:gd name="connsiteX480" fmla="*/ 1100671 w 7467600"/>
              <a:gd name="connsiteY480" fmla="*/ 6252137 h 6858000"/>
              <a:gd name="connsiteX481" fmla="*/ 1090144 w 7467600"/>
              <a:gd name="connsiteY481" fmla="*/ 6256748 h 6858000"/>
              <a:gd name="connsiteX482" fmla="*/ 1095872 w 7467600"/>
              <a:gd name="connsiteY482" fmla="*/ 6271892 h 6858000"/>
              <a:gd name="connsiteX483" fmla="*/ 262785 w 7467600"/>
              <a:gd name="connsiteY483" fmla="*/ 6845450 h 6858000"/>
              <a:gd name="connsiteX484" fmla="*/ 209968 w 7467600"/>
              <a:gd name="connsiteY484" fmla="*/ 6770713 h 6858000"/>
              <a:gd name="connsiteX485" fmla="*/ 873460 w 7467600"/>
              <a:gd name="connsiteY485" fmla="*/ 6253768 h 6858000"/>
              <a:gd name="connsiteX486" fmla="*/ 192686 w 7467600"/>
              <a:gd name="connsiteY486" fmla="*/ 5849257 h 6858000"/>
              <a:gd name="connsiteX487" fmla="*/ 4696 w 7467600"/>
              <a:gd name="connsiteY487" fmla="*/ 5697668 h 6858000"/>
              <a:gd name="connsiteX488" fmla="*/ 0 w 7467600"/>
              <a:gd name="connsiteY488" fmla="*/ 5689984 h 6858000"/>
              <a:gd name="connsiteX489" fmla="*/ 0 w 7467600"/>
              <a:gd name="connsiteY489" fmla="*/ 5513472 h 6858000"/>
              <a:gd name="connsiteX490" fmla="*/ 174101 w 7467600"/>
              <a:gd name="connsiteY490" fmla="*/ 5620277 h 6858000"/>
              <a:gd name="connsiteX491" fmla="*/ 891800 w 7467600"/>
              <a:gd name="connsiteY491" fmla="*/ 6036935 h 6858000"/>
              <a:gd name="connsiteX492" fmla="*/ 1072219 w 7467600"/>
              <a:gd name="connsiteY492" fmla="*/ 6169443 h 6858000"/>
              <a:gd name="connsiteX493" fmla="*/ 1074117 w 7467600"/>
              <a:gd name="connsiteY493" fmla="*/ 6170301 h 6858000"/>
              <a:gd name="connsiteX494" fmla="*/ 1083114 w 7467600"/>
              <a:gd name="connsiteY494" fmla="*/ 6174131 h 6858000"/>
              <a:gd name="connsiteX495" fmla="*/ 1543010 w 7467600"/>
              <a:gd name="connsiteY495" fmla="*/ 6191140 h 6858000"/>
              <a:gd name="connsiteX496" fmla="*/ 1551080 w 7467600"/>
              <a:gd name="connsiteY496" fmla="*/ 6195006 h 6858000"/>
              <a:gd name="connsiteX497" fmla="*/ 2345443 w 7467600"/>
              <a:gd name="connsiteY497" fmla="*/ 5549882 h 6858000"/>
              <a:gd name="connsiteX498" fmla="*/ 1721499 w 7467600"/>
              <a:gd name="connsiteY498" fmla="*/ 5599969 h 6858000"/>
              <a:gd name="connsiteX499" fmla="*/ 767716 w 7467600"/>
              <a:gd name="connsiteY499" fmla="*/ 5472768 h 6858000"/>
              <a:gd name="connsiteX500" fmla="*/ 722147 w 7467600"/>
              <a:gd name="connsiteY500" fmla="*/ 5393091 h 6858000"/>
              <a:gd name="connsiteX501" fmla="*/ 1485552 w 7467600"/>
              <a:gd name="connsiteY501" fmla="*/ 5313202 h 6858000"/>
              <a:gd name="connsiteX502" fmla="*/ 2143004 w 7467600"/>
              <a:gd name="connsiteY502" fmla="*/ 5402420 h 6858000"/>
              <a:gd name="connsiteX503" fmla="*/ 1933391 w 7467600"/>
              <a:gd name="connsiteY503" fmla="*/ 5156971 h 6858000"/>
              <a:gd name="connsiteX504" fmla="*/ 1827118 w 7467600"/>
              <a:gd name="connsiteY504" fmla="*/ 4968410 h 6858000"/>
              <a:gd name="connsiteX505" fmla="*/ 1837349 w 7467600"/>
              <a:gd name="connsiteY505" fmla="*/ 4956357 h 6858000"/>
              <a:gd name="connsiteX506" fmla="*/ 2162835 w 7467600"/>
              <a:gd name="connsiteY506" fmla="*/ 5187853 h 6858000"/>
              <a:gd name="connsiteX507" fmla="*/ 2257167 w 7467600"/>
              <a:gd name="connsiteY507" fmla="*/ 5462123 h 6858000"/>
              <a:gd name="connsiteX508" fmla="*/ 2261598 w 7467600"/>
              <a:gd name="connsiteY508" fmla="*/ 5467998 h 6858000"/>
              <a:gd name="connsiteX509" fmla="*/ 2437177 w 7467600"/>
              <a:gd name="connsiteY509" fmla="*/ 5479608 h 6858000"/>
              <a:gd name="connsiteX510" fmla="*/ 2445247 w 7467600"/>
              <a:gd name="connsiteY510" fmla="*/ 5483476 h 6858000"/>
              <a:gd name="connsiteX511" fmla="*/ 2743626 w 7467600"/>
              <a:gd name="connsiteY511" fmla="*/ 5304819 h 6858000"/>
              <a:gd name="connsiteX512" fmla="*/ 3048102 w 7467600"/>
              <a:gd name="connsiteY512" fmla="*/ 5150595 h 6858000"/>
              <a:gd name="connsiteX513" fmla="*/ 1799414 w 7467600"/>
              <a:gd name="connsiteY513" fmla="*/ 4694732 h 6858000"/>
              <a:gd name="connsiteX514" fmla="*/ 1771735 w 7467600"/>
              <a:gd name="connsiteY514" fmla="*/ 4619929 h 6858000"/>
              <a:gd name="connsiteX515" fmla="*/ 3104273 w 7467600"/>
              <a:gd name="connsiteY515" fmla="*/ 5076159 h 6858000"/>
              <a:gd name="connsiteX516" fmla="*/ 3113245 w 7467600"/>
              <a:gd name="connsiteY516" fmla="*/ 5090705 h 6858000"/>
              <a:gd name="connsiteX517" fmla="*/ 3126294 w 7467600"/>
              <a:gd name="connsiteY517" fmla="*/ 5114400 h 6858000"/>
              <a:gd name="connsiteX518" fmla="*/ 3937433 w 7467600"/>
              <a:gd name="connsiteY518" fmla="*/ 4830473 h 6858000"/>
              <a:gd name="connsiteX519" fmla="*/ 3590475 w 7467600"/>
              <a:gd name="connsiteY519" fmla="*/ 4597974 h 6858000"/>
              <a:gd name="connsiteX520" fmla="*/ 3100264 w 7467600"/>
              <a:gd name="connsiteY520" fmla="*/ 4579845 h 6858000"/>
              <a:gd name="connsiteX521" fmla="*/ 2183576 w 7467600"/>
              <a:gd name="connsiteY521" fmla="*/ 4227150 h 6858000"/>
              <a:gd name="connsiteX522" fmla="*/ 2151029 w 7467600"/>
              <a:gd name="connsiteY522" fmla="*/ 4146947 h 6858000"/>
              <a:gd name="connsiteX523" fmla="*/ 3563434 w 7467600"/>
              <a:gd name="connsiteY523" fmla="*/ 4469115 h 6858000"/>
              <a:gd name="connsiteX524" fmla="*/ 3177952 w 7467600"/>
              <a:gd name="connsiteY524" fmla="*/ 3657386 h 6858000"/>
              <a:gd name="connsiteX525" fmla="*/ 3189263 w 7467600"/>
              <a:gd name="connsiteY525" fmla="*/ 3625726 h 6858000"/>
              <a:gd name="connsiteX526" fmla="*/ 3560912 w 7467600"/>
              <a:gd name="connsiteY526" fmla="*/ 4079863 h 6858000"/>
              <a:gd name="connsiteX527" fmla="*/ 3626636 w 7467600"/>
              <a:gd name="connsiteY527" fmla="*/ 4512230 h 6858000"/>
              <a:gd name="connsiteX528" fmla="*/ 3653088 w 7467600"/>
              <a:gd name="connsiteY528" fmla="*/ 4521417 h 6858000"/>
              <a:gd name="connsiteX529" fmla="*/ 3988128 w 7467600"/>
              <a:gd name="connsiteY529" fmla="*/ 4817267 h 6858000"/>
              <a:gd name="connsiteX530" fmla="*/ 4830582 w 7467600"/>
              <a:gd name="connsiteY530" fmla="*/ 4676000 h 6858000"/>
              <a:gd name="connsiteX531" fmla="*/ 4830100 w 7467600"/>
              <a:gd name="connsiteY531" fmla="*/ 4675554 h 6858000"/>
              <a:gd name="connsiteX532" fmla="*/ 4036318 w 7467600"/>
              <a:gd name="connsiteY532" fmla="*/ 4147013 h 6858000"/>
              <a:gd name="connsiteX533" fmla="*/ 3432098 w 7467600"/>
              <a:gd name="connsiteY533" fmla="*/ 3537312 h 6858000"/>
              <a:gd name="connsiteX534" fmla="*/ 3446761 w 7467600"/>
              <a:gd name="connsiteY534" fmla="*/ 3461278 h 6858000"/>
              <a:gd name="connsiteX535" fmla="*/ 4419733 w 7467600"/>
              <a:gd name="connsiteY535" fmla="*/ 3963555 h 6858000"/>
              <a:gd name="connsiteX536" fmla="*/ 4781371 w 7467600"/>
              <a:gd name="connsiteY536" fmla="*/ 4458604 h 6858000"/>
              <a:gd name="connsiteX537" fmla="*/ 4780440 w 7467600"/>
              <a:gd name="connsiteY537" fmla="*/ 4470290 h 6858000"/>
              <a:gd name="connsiteX538" fmla="*/ 4898954 w 7467600"/>
              <a:gd name="connsiteY538" fmla="*/ 4662092 h 6858000"/>
              <a:gd name="connsiteX539" fmla="*/ 4900699 w 7467600"/>
              <a:gd name="connsiteY539" fmla="*/ 4670867 h 6858000"/>
              <a:gd name="connsiteX540" fmla="*/ 5714511 w 7467600"/>
              <a:gd name="connsiteY540" fmla="*/ 4663483 h 6858000"/>
              <a:gd name="connsiteX541" fmla="*/ 5464793 w 7467600"/>
              <a:gd name="connsiteY541" fmla="*/ 4393556 h 6858000"/>
              <a:gd name="connsiteX542" fmla="*/ 5461897 w 7467600"/>
              <a:gd name="connsiteY542" fmla="*/ 4390879 h 6858000"/>
              <a:gd name="connsiteX543" fmla="*/ 4294126 w 7467600"/>
              <a:gd name="connsiteY543" fmla="*/ 3303048 h 6858000"/>
              <a:gd name="connsiteX544" fmla="*/ 4305321 w 7467600"/>
              <a:gd name="connsiteY544" fmla="*/ 3256953 h 6858000"/>
              <a:gd name="connsiteX545" fmla="*/ 4949299 w 7467600"/>
              <a:gd name="connsiteY545" fmla="*/ 3766336 h 6858000"/>
              <a:gd name="connsiteX546" fmla="*/ 5291452 w 7467600"/>
              <a:gd name="connsiteY546" fmla="*/ 4076801 h 6858000"/>
              <a:gd name="connsiteX547" fmla="*/ 5434998 w 7467600"/>
              <a:gd name="connsiteY547" fmla="*/ 4254100 h 6858000"/>
              <a:gd name="connsiteX548" fmla="*/ 5351015 w 7467600"/>
              <a:gd name="connsiteY548" fmla="*/ 3760989 h 6858000"/>
              <a:gd name="connsiteX549" fmla="*/ 5413780 w 7467600"/>
              <a:gd name="connsiteY549" fmla="*/ 2966265 h 6858000"/>
              <a:gd name="connsiteX550" fmla="*/ 5425627 w 7467600"/>
              <a:gd name="connsiteY550" fmla="*/ 2954192 h 6858000"/>
              <a:gd name="connsiteX551" fmla="*/ 6604735 w 7467600"/>
              <a:gd name="connsiteY551" fmla="*/ 2041381 h 6858000"/>
              <a:gd name="connsiteX552" fmla="*/ 7204487 w 7467600"/>
              <a:gd name="connsiteY552" fmla="*/ 2742112 h 6858000"/>
              <a:gd name="connsiteX553" fmla="*/ 7131592 w 7467600"/>
              <a:gd name="connsiteY553" fmla="*/ 2672096 h 6858000"/>
              <a:gd name="connsiteX554" fmla="*/ 6996344 w 7467600"/>
              <a:gd name="connsiteY554" fmla="*/ 2518310 h 6858000"/>
              <a:gd name="connsiteX555" fmla="*/ 6735495 w 7467600"/>
              <a:gd name="connsiteY555" fmla="*/ 2196890 h 6858000"/>
              <a:gd name="connsiteX556" fmla="*/ 6721901 w 7467600"/>
              <a:gd name="connsiteY556" fmla="*/ 2179274 h 6858000"/>
              <a:gd name="connsiteX557" fmla="*/ 6604735 w 7467600"/>
              <a:gd name="connsiteY557" fmla="*/ 2041381 h 6858000"/>
              <a:gd name="connsiteX558" fmla="*/ 6591670 w 7467600"/>
              <a:gd name="connsiteY558" fmla="*/ 1988277 h 6858000"/>
              <a:gd name="connsiteX559" fmla="*/ 6747349 w 7467600"/>
              <a:gd name="connsiteY559" fmla="*/ 2160069 h 6858000"/>
              <a:gd name="connsiteX560" fmla="*/ 6760943 w 7467600"/>
              <a:gd name="connsiteY560" fmla="*/ 2177686 h 6858000"/>
              <a:gd name="connsiteX561" fmla="*/ 7021065 w 7467600"/>
              <a:gd name="connsiteY561" fmla="*/ 2498102 h 6858000"/>
              <a:gd name="connsiteX562" fmla="*/ 7155223 w 7467600"/>
              <a:gd name="connsiteY562" fmla="*/ 2650386 h 6858000"/>
              <a:gd name="connsiteX563" fmla="*/ 7203167 w 7467600"/>
              <a:gd name="connsiteY563" fmla="*/ 2697288 h 6858000"/>
              <a:gd name="connsiteX564" fmla="*/ 6937703 w 7467600"/>
              <a:gd name="connsiteY564" fmla="*/ 2321981 h 6858000"/>
              <a:gd name="connsiteX565" fmla="*/ 6591670 w 7467600"/>
              <a:gd name="connsiteY565" fmla="*/ 1988277 h 6858000"/>
              <a:gd name="connsiteX566" fmla="*/ 5798671 w 7467600"/>
              <a:gd name="connsiteY566" fmla="*/ 1981601 h 6858000"/>
              <a:gd name="connsiteX567" fmla="*/ 5754709 w 7467600"/>
              <a:gd name="connsiteY567" fmla="*/ 2071454 h 6858000"/>
              <a:gd name="connsiteX568" fmla="*/ 5763044 w 7467600"/>
              <a:gd name="connsiteY568" fmla="*/ 2842206 h 6858000"/>
              <a:gd name="connsiteX569" fmla="*/ 5764974 w 7467600"/>
              <a:gd name="connsiteY569" fmla="*/ 2799609 h 6858000"/>
              <a:gd name="connsiteX570" fmla="*/ 5767665 w 7467600"/>
              <a:gd name="connsiteY570" fmla="*/ 2666409 h 6858000"/>
              <a:gd name="connsiteX571" fmla="*/ 5763055 w 7467600"/>
              <a:gd name="connsiteY571" fmla="*/ 2579705 h 6858000"/>
              <a:gd name="connsiteX572" fmla="*/ 5758079 w 7467600"/>
              <a:gd name="connsiteY572" fmla="*/ 2492508 h 6858000"/>
              <a:gd name="connsiteX573" fmla="*/ 5779325 w 7467600"/>
              <a:gd name="connsiteY573" fmla="*/ 2197069 h 6858000"/>
              <a:gd name="connsiteX574" fmla="*/ 5798671 w 7467600"/>
              <a:gd name="connsiteY574" fmla="*/ 1981601 h 6858000"/>
              <a:gd name="connsiteX575" fmla="*/ 5829202 w 7467600"/>
              <a:gd name="connsiteY575" fmla="*/ 1971679 h 6858000"/>
              <a:gd name="connsiteX576" fmla="*/ 5809558 w 7467600"/>
              <a:gd name="connsiteY576" fmla="*/ 2198043 h 6858000"/>
              <a:gd name="connsiteX577" fmla="*/ 5788653 w 7467600"/>
              <a:gd name="connsiteY577" fmla="*/ 2489430 h 6858000"/>
              <a:gd name="connsiteX578" fmla="*/ 5793439 w 7467600"/>
              <a:gd name="connsiteY578" fmla="*/ 2575235 h 6858000"/>
              <a:gd name="connsiteX579" fmla="*/ 5796837 w 7467600"/>
              <a:gd name="connsiteY579" fmla="*/ 2637633 h 6858000"/>
              <a:gd name="connsiteX580" fmla="*/ 5818614 w 7467600"/>
              <a:gd name="connsiteY580" fmla="*/ 2473055 h 6858000"/>
              <a:gd name="connsiteX581" fmla="*/ 5829202 w 7467600"/>
              <a:gd name="connsiteY581" fmla="*/ 1971679 h 6858000"/>
              <a:gd name="connsiteX582" fmla="*/ 5911389 w 7467600"/>
              <a:gd name="connsiteY582" fmla="*/ 1898371 h 6858000"/>
              <a:gd name="connsiteX583" fmla="*/ 6237627 w 7467600"/>
              <a:gd name="connsiteY583" fmla="*/ 2231921 h 6858000"/>
              <a:gd name="connsiteX584" fmla="*/ 5911389 w 7467600"/>
              <a:gd name="connsiteY584" fmla="*/ 1898371 h 6858000"/>
              <a:gd name="connsiteX585" fmla="*/ 6944437 w 7467600"/>
              <a:gd name="connsiteY585" fmla="*/ 1575402 h 6858000"/>
              <a:gd name="connsiteX586" fmla="*/ 6304730 w 7467600"/>
              <a:gd name="connsiteY586" fmla="*/ 1766654 h 6858000"/>
              <a:gd name="connsiteX587" fmla="*/ 6944437 w 7467600"/>
              <a:gd name="connsiteY587" fmla="*/ 1575402 h 6858000"/>
              <a:gd name="connsiteX588" fmla="*/ 7019523 w 7467600"/>
              <a:gd name="connsiteY588" fmla="*/ 1519450 h 6858000"/>
              <a:gd name="connsiteX589" fmla="*/ 6298091 w 7467600"/>
              <a:gd name="connsiteY589" fmla="*/ 1737122 h 6858000"/>
              <a:gd name="connsiteX590" fmla="*/ 7019523 w 7467600"/>
              <a:gd name="connsiteY590" fmla="*/ 1519450 h 6858000"/>
              <a:gd name="connsiteX591" fmla="*/ 2399523 w 7467600"/>
              <a:gd name="connsiteY591" fmla="*/ 1428234 h 6858000"/>
              <a:gd name="connsiteX592" fmla="*/ 2224982 w 7467600"/>
              <a:gd name="connsiteY592" fmla="*/ 1826201 h 6858000"/>
              <a:gd name="connsiteX593" fmla="*/ 2096099 w 7467600"/>
              <a:gd name="connsiteY593" fmla="*/ 2345900 h 6858000"/>
              <a:gd name="connsiteX594" fmla="*/ 2283317 w 7467600"/>
              <a:gd name="connsiteY594" fmla="*/ 1796925 h 6858000"/>
              <a:gd name="connsiteX595" fmla="*/ 2399523 w 7467600"/>
              <a:gd name="connsiteY595" fmla="*/ 1428234 h 6858000"/>
              <a:gd name="connsiteX596" fmla="*/ 2448558 w 7467600"/>
              <a:gd name="connsiteY596" fmla="*/ 1373435 h 6858000"/>
              <a:gd name="connsiteX597" fmla="*/ 2312521 w 7467600"/>
              <a:gd name="connsiteY597" fmla="*/ 1806140 h 6858000"/>
              <a:gd name="connsiteX598" fmla="*/ 2127533 w 7467600"/>
              <a:gd name="connsiteY598" fmla="*/ 2348380 h 6858000"/>
              <a:gd name="connsiteX599" fmla="*/ 2358080 w 7467600"/>
              <a:gd name="connsiteY599" fmla="*/ 1866134 h 6858000"/>
              <a:gd name="connsiteX600" fmla="*/ 2407436 w 7467600"/>
              <a:gd name="connsiteY600" fmla="*/ 1651070 h 6858000"/>
              <a:gd name="connsiteX601" fmla="*/ 2448558 w 7467600"/>
              <a:gd name="connsiteY601" fmla="*/ 1373435 h 6858000"/>
              <a:gd name="connsiteX602" fmla="*/ 278707 w 7467600"/>
              <a:gd name="connsiteY602" fmla="*/ 1352270 h 6858000"/>
              <a:gd name="connsiteX603" fmla="*/ 321570 w 7467600"/>
              <a:gd name="connsiteY603" fmla="*/ 1861610 h 6858000"/>
              <a:gd name="connsiteX604" fmla="*/ 294281 w 7467600"/>
              <a:gd name="connsiteY604" fmla="*/ 1440658 h 6858000"/>
              <a:gd name="connsiteX605" fmla="*/ 278707 w 7467600"/>
              <a:gd name="connsiteY605" fmla="*/ 1352270 h 6858000"/>
              <a:gd name="connsiteX606" fmla="*/ 1423821 w 7467600"/>
              <a:gd name="connsiteY606" fmla="*/ 1351958 h 6858000"/>
              <a:gd name="connsiteX607" fmla="*/ 1638521 w 7467600"/>
              <a:gd name="connsiteY607" fmla="*/ 1908470 h 6858000"/>
              <a:gd name="connsiteX608" fmla="*/ 1754199 w 7467600"/>
              <a:gd name="connsiteY608" fmla="*/ 2149284 h 6858000"/>
              <a:gd name="connsiteX609" fmla="*/ 1908359 w 7467600"/>
              <a:gd name="connsiteY609" fmla="*/ 2364988 h 6858000"/>
              <a:gd name="connsiteX610" fmla="*/ 1647661 w 7467600"/>
              <a:gd name="connsiteY610" fmla="*/ 1825945 h 6858000"/>
              <a:gd name="connsiteX611" fmla="*/ 1423821 w 7467600"/>
              <a:gd name="connsiteY611" fmla="*/ 1351958 h 6858000"/>
              <a:gd name="connsiteX612" fmla="*/ 1431890 w 7467600"/>
              <a:gd name="connsiteY612" fmla="*/ 1306475 h 6858000"/>
              <a:gd name="connsiteX613" fmla="*/ 1507597 w 7467600"/>
              <a:gd name="connsiteY613" fmla="*/ 1446132 h 6858000"/>
              <a:gd name="connsiteX614" fmla="*/ 1674586 w 7467600"/>
              <a:gd name="connsiteY614" fmla="*/ 1813832 h 6858000"/>
              <a:gd name="connsiteX615" fmla="*/ 1815950 w 7467600"/>
              <a:gd name="connsiteY615" fmla="*/ 2128564 h 6858000"/>
              <a:gd name="connsiteX616" fmla="*/ 1984242 w 7467600"/>
              <a:gd name="connsiteY616" fmla="*/ 2430829 h 6858000"/>
              <a:gd name="connsiteX617" fmla="*/ 2014023 w 7467600"/>
              <a:gd name="connsiteY617" fmla="*/ 2450995 h 6858000"/>
              <a:gd name="connsiteX618" fmla="*/ 1747337 w 7467600"/>
              <a:gd name="connsiteY618" fmla="*/ 1855264 h 6858000"/>
              <a:gd name="connsiteX619" fmla="*/ 1533749 w 7467600"/>
              <a:gd name="connsiteY619" fmla="*/ 1478656 h 6858000"/>
              <a:gd name="connsiteX620" fmla="*/ 1431890 w 7467600"/>
              <a:gd name="connsiteY620" fmla="*/ 1306475 h 6858000"/>
              <a:gd name="connsiteX621" fmla="*/ 5052692 w 7467600"/>
              <a:gd name="connsiteY621" fmla="*/ 1292994 h 6858000"/>
              <a:gd name="connsiteX622" fmla="*/ 5200661 w 7467600"/>
              <a:gd name="connsiteY622" fmla="*/ 1635186 h 6858000"/>
              <a:gd name="connsiteX623" fmla="*/ 5297138 w 7467600"/>
              <a:gd name="connsiteY623" fmla="*/ 1906351 h 6858000"/>
              <a:gd name="connsiteX624" fmla="*/ 5052692 w 7467600"/>
              <a:gd name="connsiteY624" fmla="*/ 1292994 h 6858000"/>
              <a:gd name="connsiteX625" fmla="*/ 5009948 w 7467600"/>
              <a:gd name="connsiteY625" fmla="*/ 1273619 h 6858000"/>
              <a:gd name="connsiteX626" fmla="*/ 5121777 w 7467600"/>
              <a:gd name="connsiteY626" fmla="*/ 1654213 h 6858000"/>
              <a:gd name="connsiteX627" fmla="*/ 5293545 w 7467600"/>
              <a:gd name="connsiteY627" fmla="*/ 2072247 h 6858000"/>
              <a:gd name="connsiteX628" fmla="*/ 5294042 w 7467600"/>
              <a:gd name="connsiteY628" fmla="*/ 2065019 h 6858000"/>
              <a:gd name="connsiteX629" fmla="*/ 5171936 w 7467600"/>
              <a:gd name="connsiteY629" fmla="*/ 1647613 h 6858000"/>
              <a:gd name="connsiteX630" fmla="*/ 5009948 w 7467600"/>
              <a:gd name="connsiteY630" fmla="*/ 1273619 h 6858000"/>
              <a:gd name="connsiteX631" fmla="*/ 655236 w 7467600"/>
              <a:gd name="connsiteY631" fmla="*/ 1268632 h 6858000"/>
              <a:gd name="connsiteX632" fmla="*/ 839521 w 7467600"/>
              <a:gd name="connsiteY632" fmla="*/ 1685315 h 6858000"/>
              <a:gd name="connsiteX633" fmla="*/ 1109416 w 7467600"/>
              <a:gd name="connsiteY633" fmla="*/ 2061663 h 6858000"/>
              <a:gd name="connsiteX634" fmla="*/ 1298300 w 7467600"/>
              <a:gd name="connsiteY634" fmla="*/ 2247742 h 6858000"/>
              <a:gd name="connsiteX635" fmla="*/ 1125871 w 7467600"/>
              <a:gd name="connsiteY635" fmla="*/ 1989513 h 6858000"/>
              <a:gd name="connsiteX636" fmla="*/ 981574 w 7467600"/>
              <a:gd name="connsiteY636" fmla="*/ 1783157 h 6858000"/>
              <a:gd name="connsiteX637" fmla="*/ 922198 w 7467600"/>
              <a:gd name="connsiteY637" fmla="*/ 1677437 h 6858000"/>
              <a:gd name="connsiteX638" fmla="*/ 869293 w 7467600"/>
              <a:gd name="connsiteY638" fmla="*/ 1583214 h 6858000"/>
              <a:gd name="connsiteX639" fmla="*/ 751431 w 7467600"/>
              <a:gd name="connsiteY639" fmla="*/ 1405731 h 6858000"/>
              <a:gd name="connsiteX640" fmla="*/ 655236 w 7467600"/>
              <a:gd name="connsiteY640" fmla="*/ 1268632 h 6858000"/>
              <a:gd name="connsiteX641" fmla="*/ 6516292 w 7467600"/>
              <a:gd name="connsiteY641" fmla="*/ 1263064 h 6858000"/>
              <a:gd name="connsiteX642" fmla="*/ 5736320 w 7467600"/>
              <a:gd name="connsiteY642" fmla="*/ 1501803 h 6858000"/>
              <a:gd name="connsiteX643" fmla="*/ 6516292 w 7467600"/>
              <a:gd name="connsiteY643" fmla="*/ 1263064 h 6858000"/>
              <a:gd name="connsiteX644" fmla="*/ 291466 w 7467600"/>
              <a:gd name="connsiteY644" fmla="*/ 1250369 h 6858000"/>
              <a:gd name="connsiteX645" fmla="*/ 323180 w 7467600"/>
              <a:gd name="connsiteY645" fmla="*/ 1435283 h 6858000"/>
              <a:gd name="connsiteX646" fmla="*/ 349381 w 7467600"/>
              <a:gd name="connsiteY646" fmla="*/ 1875041 h 6858000"/>
              <a:gd name="connsiteX647" fmla="*/ 374363 w 7467600"/>
              <a:gd name="connsiteY647" fmla="*/ 1506494 h 6858000"/>
              <a:gd name="connsiteX648" fmla="*/ 302168 w 7467600"/>
              <a:gd name="connsiteY648" fmla="*/ 1274495 h 6858000"/>
              <a:gd name="connsiteX649" fmla="*/ 291466 w 7467600"/>
              <a:gd name="connsiteY649" fmla="*/ 1250369 h 6858000"/>
              <a:gd name="connsiteX650" fmla="*/ 678222 w 7467600"/>
              <a:gd name="connsiteY650" fmla="*/ 1248670 h 6858000"/>
              <a:gd name="connsiteX651" fmla="*/ 775536 w 7467600"/>
              <a:gd name="connsiteY651" fmla="*/ 1388015 h 6858000"/>
              <a:gd name="connsiteX652" fmla="*/ 894529 w 7467600"/>
              <a:gd name="connsiteY652" fmla="*/ 1567739 h 6858000"/>
              <a:gd name="connsiteX653" fmla="*/ 948000 w 7467600"/>
              <a:gd name="connsiteY653" fmla="*/ 1663088 h 6858000"/>
              <a:gd name="connsiteX654" fmla="*/ 1006812 w 7467600"/>
              <a:gd name="connsiteY654" fmla="*/ 1767683 h 6858000"/>
              <a:gd name="connsiteX655" fmla="*/ 1149133 w 7467600"/>
              <a:gd name="connsiteY655" fmla="*/ 1971513 h 6858000"/>
              <a:gd name="connsiteX656" fmla="*/ 1333952 w 7467600"/>
              <a:gd name="connsiteY656" fmla="*/ 2251620 h 6858000"/>
              <a:gd name="connsiteX657" fmla="*/ 1337329 w 7467600"/>
              <a:gd name="connsiteY657" fmla="*/ 2258350 h 6858000"/>
              <a:gd name="connsiteX658" fmla="*/ 1014726 w 7467600"/>
              <a:gd name="connsiteY658" fmla="*/ 1615556 h 6858000"/>
              <a:gd name="connsiteX659" fmla="*/ 678222 w 7467600"/>
              <a:gd name="connsiteY659" fmla="*/ 1248670 h 6858000"/>
              <a:gd name="connsiteX660" fmla="*/ 6691602 w 7467600"/>
              <a:gd name="connsiteY660" fmla="*/ 1140573 h 6858000"/>
              <a:gd name="connsiteX661" fmla="*/ 6571100 w 7467600"/>
              <a:gd name="connsiteY661" fmla="*/ 1183662 h 6858000"/>
              <a:gd name="connsiteX662" fmla="*/ 6241687 w 7467600"/>
              <a:gd name="connsiteY662" fmla="*/ 1257600 h 6858000"/>
              <a:gd name="connsiteX663" fmla="*/ 5693009 w 7467600"/>
              <a:gd name="connsiteY663" fmla="*/ 1478256 h 6858000"/>
              <a:gd name="connsiteX664" fmla="*/ 6548420 w 7467600"/>
              <a:gd name="connsiteY664" fmla="*/ 1214599 h 6858000"/>
              <a:gd name="connsiteX665" fmla="*/ 6605473 w 7467600"/>
              <a:gd name="connsiteY665" fmla="*/ 1184686 h 6858000"/>
              <a:gd name="connsiteX666" fmla="*/ 6691602 w 7467600"/>
              <a:gd name="connsiteY666" fmla="*/ 1140573 h 6858000"/>
              <a:gd name="connsiteX667" fmla="*/ 4002475 w 7467600"/>
              <a:gd name="connsiteY667" fmla="*/ 1037802 h 6858000"/>
              <a:gd name="connsiteX668" fmla="*/ 4000324 w 7467600"/>
              <a:gd name="connsiteY668" fmla="*/ 1039362 h 6858000"/>
              <a:gd name="connsiteX669" fmla="*/ 4002862 w 7467600"/>
              <a:gd name="connsiteY669" fmla="*/ 1042866 h 6858000"/>
              <a:gd name="connsiteX670" fmla="*/ 4002475 w 7467600"/>
              <a:gd name="connsiteY670" fmla="*/ 1037802 h 6858000"/>
              <a:gd name="connsiteX671" fmla="*/ 506322 w 7467600"/>
              <a:gd name="connsiteY671" fmla="*/ 1020997 h 6858000"/>
              <a:gd name="connsiteX672" fmla="*/ 533068 w 7467600"/>
              <a:gd name="connsiteY672" fmla="*/ 1029409 h 6858000"/>
              <a:gd name="connsiteX673" fmla="*/ 1232525 w 7467600"/>
              <a:gd name="connsiteY673" fmla="*/ 1804675 h 6858000"/>
              <a:gd name="connsiteX674" fmla="*/ 1388858 w 7467600"/>
              <a:gd name="connsiteY674" fmla="*/ 2368011 h 6858000"/>
              <a:gd name="connsiteX675" fmla="*/ 1384098 w 7467600"/>
              <a:gd name="connsiteY675" fmla="*/ 2378125 h 6858000"/>
              <a:gd name="connsiteX676" fmla="*/ 1425393 w 7467600"/>
              <a:gd name="connsiteY676" fmla="*/ 2589124 h 6858000"/>
              <a:gd name="connsiteX677" fmla="*/ 1424001 w 7467600"/>
              <a:gd name="connsiteY677" fmla="*/ 2597541 h 6858000"/>
              <a:gd name="connsiteX678" fmla="*/ 2152729 w 7467600"/>
              <a:gd name="connsiteY678" fmla="*/ 2864487 h 6858000"/>
              <a:gd name="connsiteX679" fmla="*/ 2020609 w 7467600"/>
              <a:gd name="connsiteY679" fmla="*/ 2539671 h 6858000"/>
              <a:gd name="connsiteX680" fmla="*/ 2018920 w 7467600"/>
              <a:gd name="connsiteY680" fmla="*/ 2536309 h 6858000"/>
              <a:gd name="connsiteX681" fmla="*/ 1342441 w 7467600"/>
              <a:gd name="connsiteY681" fmla="*/ 1173017 h 6858000"/>
              <a:gd name="connsiteX682" fmla="*/ 1367925 w 7467600"/>
              <a:gd name="connsiteY682" fmla="*/ 1135648 h 6858000"/>
              <a:gd name="connsiteX683" fmla="*/ 1771401 w 7467600"/>
              <a:gd name="connsiteY683" fmla="*/ 1806673 h 6858000"/>
              <a:gd name="connsiteX684" fmla="*/ 1972385 w 7467600"/>
              <a:gd name="connsiteY684" fmla="*/ 2198735 h 6858000"/>
              <a:gd name="connsiteX685" fmla="*/ 2040892 w 7467600"/>
              <a:gd name="connsiteY685" fmla="*/ 2405205 h 6858000"/>
              <a:gd name="connsiteX686" fmla="*/ 2131689 w 7467600"/>
              <a:gd name="connsiteY686" fmla="*/ 1936926 h 6858000"/>
              <a:gd name="connsiteX687" fmla="*/ 2454820 w 7467600"/>
              <a:gd name="connsiteY687" fmla="*/ 1248808 h 6858000"/>
              <a:gd name="connsiteX688" fmla="*/ 2492512 w 7467600"/>
              <a:gd name="connsiteY688" fmla="*/ 1302920 h 6858000"/>
              <a:gd name="connsiteX689" fmla="*/ 2081216 w 7467600"/>
              <a:gd name="connsiteY689" fmla="*/ 2527513 h 6858000"/>
              <a:gd name="connsiteX690" fmla="*/ 2081211 w 7467600"/>
              <a:gd name="connsiteY690" fmla="*/ 2528916 h 6858000"/>
              <a:gd name="connsiteX691" fmla="*/ 2199067 w 7467600"/>
              <a:gd name="connsiteY691" fmla="*/ 2884061 h 6858000"/>
              <a:gd name="connsiteX692" fmla="*/ 3192586 w 7467600"/>
              <a:gd name="connsiteY692" fmla="*/ 3411496 h 6858000"/>
              <a:gd name="connsiteX693" fmla="*/ 3182620 w 7467600"/>
              <a:gd name="connsiteY693" fmla="*/ 3483279 h 6858000"/>
              <a:gd name="connsiteX694" fmla="*/ 2435119 w 7467600"/>
              <a:gd name="connsiteY694" fmla="*/ 3080173 h 6858000"/>
              <a:gd name="connsiteX695" fmla="*/ 2410152 w 7467600"/>
              <a:gd name="connsiteY695" fmla="*/ 3063751 h 6858000"/>
              <a:gd name="connsiteX696" fmla="*/ 2408099 w 7467600"/>
              <a:gd name="connsiteY696" fmla="*/ 3064403 h 6858000"/>
              <a:gd name="connsiteX697" fmla="*/ 2407218 w 7467600"/>
              <a:gd name="connsiteY697" fmla="*/ 3070324 h 6858000"/>
              <a:gd name="connsiteX698" fmla="*/ 2380138 w 7467600"/>
              <a:gd name="connsiteY698" fmla="*/ 3099341 h 6858000"/>
              <a:gd name="connsiteX699" fmla="*/ 1765923 w 7467600"/>
              <a:gd name="connsiteY699" fmla="*/ 3581043 h 6858000"/>
              <a:gd name="connsiteX700" fmla="*/ 1702258 w 7467600"/>
              <a:gd name="connsiteY700" fmla="*/ 3612286 h 6858000"/>
              <a:gd name="connsiteX701" fmla="*/ 1538370 w 7467600"/>
              <a:gd name="connsiteY701" fmla="*/ 3811804 h 6858000"/>
              <a:gd name="connsiteX702" fmla="*/ 542867 w 7467600"/>
              <a:gd name="connsiteY702" fmla="*/ 4944092 h 6858000"/>
              <a:gd name="connsiteX703" fmla="*/ 515800 w 7467600"/>
              <a:gd name="connsiteY703" fmla="*/ 4862180 h 6858000"/>
              <a:gd name="connsiteX704" fmla="*/ 909145 w 7467600"/>
              <a:gd name="connsiteY704" fmla="*/ 4199225 h 6858000"/>
              <a:gd name="connsiteX705" fmla="*/ 1214067 w 7467600"/>
              <a:gd name="connsiteY705" fmla="*/ 3908561 h 6858000"/>
              <a:gd name="connsiteX706" fmla="*/ 640967 w 7467600"/>
              <a:gd name="connsiteY706" fmla="*/ 4105601 h 6858000"/>
              <a:gd name="connsiteX707" fmla="*/ 112563 w 7467600"/>
              <a:gd name="connsiteY707" fmla="*/ 4396952 h 6858000"/>
              <a:gd name="connsiteX708" fmla="*/ 0 w 7467600"/>
              <a:gd name="connsiteY708" fmla="*/ 4466006 h 6858000"/>
              <a:gd name="connsiteX709" fmla="*/ 0 w 7467600"/>
              <a:gd name="connsiteY709" fmla="*/ 4233763 h 6858000"/>
              <a:gd name="connsiteX710" fmla="*/ 36881 w 7467600"/>
              <a:gd name="connsiteY710" fmla="*/ 4200118 h 6858000"/>
              <a:gd name="connsiteX711" fmla="*/ 910534 w 7467600"/>
              <a:gd name="connsiteY711" fmla="*/ 3629753 h 6858000"/>
              <a:gd name="connsiteX712" fmla="*/ 1578717 w 7467600"/>
              <a:gd name="connsiteY712" fmla="*/ 3575982 h 6858000"/>
              <a:gd name="connsiteX713" fmla="*/ 2338780 w 7467600"/>
              <a:gd name="connsiteY713" fmla="*/ 3033725 h 6858000"/>
              <a:gd name="connsiteX714" fmla="*/ 1807991 w 7467600"/>
              <a:gd name="connsiteY714" fmla="*/ 2807184 h 6858000"/>
              <a:gd name="connsiteX715" fmla="*/ 1416358 w 7467600"/>
              <a:gd name="connsiteY715" fmla="*/ 3112571 h 6858000"/>
              <a:gd name="connsiteX716" fmla="*/ 939066 w 7467600"/>
              <a:gd name="connsiteY716" fmla="*/ 3378798 h 6858000"/>
              <a:gd name="connsiteX717" fmla="*/ 115099 w 7467600"/>
              <a:gd name="connsiteY717" fmla="*/ 3607650 h 6858000"/>
              <a:gd name="connsiteX718" fmla="*/ 97284 w 7467600"/>
              <a:gd name="connsiteY718" fmla="*/ 3520393 h 6858000"/>
              <a:gd name="connsiteX719" fmla="*/ 922050 w 7467600"/>
              <a:gd name="connsiteY719" fmla="*/ 3074867 h 6858000"/>
              <a:gd name="connsiteX720" fmla="*/ 1405265 w 7467600"/>
              <a:gd name="connsiteY720" fmla="*/ 3016319 h 6858000"/>
              <a:gd name="connsiteX721" fmla="*/ 1407512 w 7467600"/>
              <a:gd name="connsiteY721" fmla="*/ 3018001 h 6858000"/>
              <a:gd name="connsiteX722" fmla="*/ 1726266 w 7467600"/>
              <a:gd name="connsiteY722" fmla="*/ 2777274 h 6858000"/>
              <a:gd name="connsiteX723" fmla="*/ 625390 w 7467600"/>
              <a:gd name="connsiteY723" fmla="*/ 2514541 h 6858000"/>
              <a:gd name="connsiteX724" fmla="*/ 619799 w 7467600"/>
              <a:gd name="connsiteY724" fmla="*/ 2527180 h 6858000"/>
              <a:gd name="connsiteX725" fmla="*/ 310030 w 7467600"/>
              <a:gd name="connsiteY725" fmla="*/ 2771818 h 6858000"/>
              <a:gd name="connsiteX726" fmla="*/ 173877 w 7467600"/>
              <a:gd name="connsiteY726" fmla="*/ 2937056 h 6858000"/>
              <a:gd name="connsiteX727" fmla="*/ 77889 w 7467600"/>
              <a:gd name="connsiteY727" fmla="*/ 3138440 h 6858000"/>
              <a:gd name="connsiteX728" fmla="*/ 0 w 7467600"/>
              <a:gd name="connsiteY728" fmla="*/ 3271395 h 6858000"/>
              <a:gd name="connsiteX729" fmla="*/ 0 w 7467600"/>
              <a:gd name="connsiteY729" fmla="*/ 3153002 h 6858000"/>
              <a:gd name="connsiteX730" fmla="*/ 2386 w 7467600"/>
              <a:gd name="connsiteY730" fmla="*/ 3149203 h 6858000"/>
              <a:gd name="connsiteX731" fmla="*/ 89753 w 7467600"/>
              <a:gd name="connsiteY731" fmla="*/ 2987702 h 6858000"/>
              <a:gd name="connsiteX732" fmla="*/ 76869 w 7467600"/>
              <a:gd name="connsiteY732" fmla="*/ 3005404 h 6858000"/>
              <a:gd name="connsiteX733" fmla="*/ 32049 w 7467600"/>
              <a:gd name="connsiteY733" fmla="*/ 3065814 h 6858000"/>
              <a:gd name="connsiteX734" fmla="*/ 0 w 7467600"/>
              <a:gd name="connsiteY734" fmla="*/ 3108744 h 6858000"/>
              <a:gd name="connsiteX735" fmla="*/ 0 w 7467600"/>
              <a:gd name="connsiteY735" fmla="*/ 3058059 h 6858000"/>
              <a:gd name="connsiteX736" fmla="*/ 7610 w 7467600"/>
              <a:gd name="connsiteY736" fmla="*/ 3047889 h 6858000"/>
              <a:gd name="connsiteX737" fmla="*/ 52419 w 7467600"/>
              <a:gd name="connsiteY737" fmla="*/ 2987479 h 6858000"/>
              <a:gd name="connsiteX738" fmla="*/ 59142 w 7467600"/>
              <a:gd name="connsiteY738" fmla="*/ 2978488 h 6858000"/>
              <a:gd name="connsiteX739" fmla="*/ 0 w 7467600"/>
              <a:gd name="connsiteY739" fmla="*/ 3015334 h 6858000"/>
              <a:gd name="connsiteX740" fmla="*/ 0 w 7467600"/>
              <a:gd name="connsiteY740" fmla="*/ 2914286 h 6858000"/>
              <a:gd name="connsiteX741" fmla="*/ 36383 w 7467600"/>
              <a:gd name="connsiteY741" fmla="*/ 2901128 h 6858000"/>
              <a:gd name="connsiteX742" fmla="*/ 156329 w 7467600"/>
              <a:gd name="connsiteY742" fmla="*/ 2840533 h 6858000"/>
              <a:gd name="connsiteX743" fmla="*/ 358355 w 7467600"/>
              <a:gd name="connsiteY743" fmla="*/ 2620471 h 6858000"/>
              <a:gd name="connsiteX744" fmla="*/ 510577 w 7467600"/>
              <a:gd name="connsiteY744" fmla="*/ 2501244 h 6858000"/>
              <a:gd name="connsiteX745" fmla="*/ 211967 w 7467600"/>
              <a:gd name="connsiteY745" fmla="*/ 2479171 h 6858000"/>
              <a:gd name="connsiteX746" fmla="*/ 0 w 7467600"/>
              <a:gd name="connsiteY746" fmla="*/ 2476398 h 6858000"/>
              <a:gd name="connsiteX747" fmla="*/ 0 w 7467600"/>
              <a:gd name="connsiteY747" fmla="*/ 2389189 h 6858000"/>
              <a:gd name="connsiteX748" fmla="*/ 103062 w 7467600"/>
              <a:gd name="connsiteY748" fmla="*/ 2389518 h 6858000"/>
              <a:gd name="connsiteX749" fmla="*/ 510734 w 7467600"/>
              <a:gd name="connsiteY749" fmla="*/ 2416201 h 6858000"/>
              <a:gd name="connsiteX750" fmla="*/ 279257 w 7467600"/>
              <a:gd name="connsiteY750" fmla="*/ 2092102 h 6858000"/>
              <a:gd name="connsiteX751" fmla="*/ 65265 w 7467600"/>
              <a:gd name="connsiteY751" fmla="*/ 2006049 h 6858000"/>
              <a:gd name="connsiteX752" fmla="*/ 0 w 7467600"/>
              <a:gd name="connsiteY752" fmla="*/ 1982532 h 6858000"/>
              <a:gd name="connsiteX753" fmla="*/ 0 w 7467600"/>
              <a:gd name="connsiteY753" fmla="*/ 1912789 h 6858000"/>
              <a:gd name="connsiteX754" fmla="*/ 97460 w 7467600"/>
              <a:gd name="connsiteY754" fmla="*/ 1953725 h 6858000"/>
              <a:gd name="connsiteX755" fmla="*/ 221272 w 7467600"/>
              <a:gd name="connsiteY755" fmla="*/ 1980766 h 6858000"/>
              <a:gd name="connsiteX756" fmla="*/ 116765 w 7467600"/>
              <a:gd name="connsiteY756" fmla="*/ 1911033 h 6858000"/>
              <a:gd name="connsiteX757" fmla="*/ 16405 w 7467600"/>
              <a:gd name="connsiteY757" fmla="*/ 1803412 h 6858000"/>
              <a:gd name="connsiteX758" fmla="*/ 0 w 7467600"/>
              <a:gd name="connsiteY758" fmla="*/ 1784777 h 6858000"/>
              <a:gd name="connsiteX759" fmla="*/ 0 w 7467600"/>
              <a:gd name="connsiteY759" fmla="*/ 1740082 h 6858000"/>
              <a:gd name="connsiteX760" fmla="*/ 39394 w 7467600"/>
              <a:gd name="connsiteY760" fmla="*/ 1784856 h 6858000"/>
              <a:gd name="connsiteX761" fmla="*/ 135813 w 7467600"/>
              <a:gd name="connsiteY761" fmla="*/ 1888838 h 6858000"/>
              <a:gd name="connsiteX762" fmla="*/ 242575 w 7467600"/>
              <a:gd name="connsiteY762" fmla="*/ 1958841 h 6858000"/>
              <a:gd name="connsiteX763" fmla="*/ 82197 w 7467600"/>
              <a:gd name="connsiteY763" fmla="*/ 1754826 h 6858000"/>
              <a:gd name="connsiteX764" fmla="*/ 0 w 7467600"/>
              <a:gd name="connsiteY764" fmla="*/ 1679650 h 6858000"/>
              <a:gd name="connsiteX765" fmla="*/ 0 w 7467600"/>
              <a:gd name="connsiteY765" fmla="*/ 1602463 h 6858000"/>
              <a:gd name="connsiteX766" fmla="*/ 84689 w 7467600"/>
              <a:gd name="connsiteY766" fmla="*/ 1677442 h 6858000"/>
              <a:gd name="connsiteX767" fmla="*/ 298437 w 7467600"/>
              <a:gd name="connsiteY767" fmla="*/ 1968019 h 6858000"/>
              <a:gd name="connsiteX768" fmla="*/ 227269 w 7467600"/>
              <a:gd name="connsiteY768" fmla="*/ 1114064 h 6858000"/>
              <a:gd name="connsiteX769" fmla="*/ 248003 w 7467600"/>
              <a:gd name="connsiteY769" fmla="*/ 1089613 h 6858000"/>
              <a:gd name="connsiteX770" fmla="*/ 427020 w 7467600"/>
              <a:gd name="connsiteY770" fmla="*/ 1619803 h 6858000"/>
              <a:gd name="connsiteX771" fmla="*/ 340345 w 7467600"/>
              <a:gd name="connsiteY771" fmla="*/ 2027739 h 6858000"/>
              <a:gd name="connsiteX772" fmla="*/ 360865 w 7467600"/>
              <a:gd name="connsiteY772" fmla="*/ 2044827 h 6858000"/>
              <a:gd name="connsiteX773" fmla="*/ 560414 w 7467600"/>
              <a:gd name="connsiteY773" fmla="*/ 2421457 h 6858000"/>
              <a:gd name="connsiteX774" fmla="*/ 1359703 w 7467600"/>
              <a:gd name="connsiteY774" fmla="*/ 2578554 h 6858000"/>
              <a:gd name="connsiteX775" fmla="*/ 1359422 w 7467600"/>
              <a:gd name="connsiteY775" fmla="*/ 2577994 h 6858000"/>
              <a:gd name="connsiteX776" fmla="*/ 828701 w 7467600"/>
              <a:gd name="connsiteY776" fmla="*/ 1839520 h 6858000"/>
              <a:gd name="connsiteX777" fmla="*/ 494427 w 7467600"/>
              <a:gd name="connsiteY777" fmla="*/ 1092333 h 6858000"/>
              <a:gd name="connsiteX778" fmla="*/ 506322 w 7467600"/>
              <a:gd name="connsiteY778" fmla="*/ 1020997 h 6858000"/>
              <a:gd name="connsiteX779" fmla="*/ 4570198 w 7467600"/>
              <a:gd name="connsiteY779" fmla="*/ 978081 h 6858000"/>
              <a:gd name="connsiteX780" fmla="*/ 4523691 w 7467600"/>
              <a:gd name="connsiteY780" fmla="*/ 1127776 h 6858000"/>
              <a:gd name="connsiteX781" fmla="*/ 4509875 w 7467600"/>
              <a:gd name="connsiteY781" fmla="*/ 1167552 h 6858000"/>
              <a:gd name="connsiteX782" fmla="*/ 4478168 w 7467600"/>
              <a:gd name="connsiteY782" fmla="*/ 1260735 h 6858000"/>
              <a:gd name="connsiteX783" fmla="*/ 4409309 w 7467600"/>
              <a:gd name="connsiteY783" fmla="*/ 1666996 h 6858000"/>
              <a:gd name="connsiteX784" fmla="*/ 4370031 w 7467600"/>
              <a:gd name="connsiteY784" fmla="*/ 1955666 h 6858000"/>
              <a:gd name="connsiteX785" fmla="*/ 4570198 w 7467600"/>
              <a:gd name="connsiteY785" fmla="*/ 978081 h 6858000"/>
              <a:gd name="connsiteX786" fmla="*/ 4557898 w 7467600"/>
              <a:gd name="connsiteY786" fmla="*/ 900011 h 6858000"/>
              <a:gd name="connsiteX787" fmla="*/ 4344840 w 7467600"/>
              <a:gd name="connsiteY787" fmla="*/ 1922038 h 6858000"/>
              <a:gd name="connsiteX788" fmla="*/ 4378710 w 7467600"/>
              <a:gd name="connsiteY788" fmla="*/ 1665516 h 6858000"/>
              <a:gd name="connsiteX789" fmla="*/ 4448798 w 7467600"/>
              <a:gd name="connsiteY789" fmla="*/ 1253024 h 6858000"/>
              <a:gd name="connsiteX790" fmla="*/ 4480315 w 7467600"/>
              <a:gd name="connsiteY790" fmla="*/ 1158454 h 6858000"/>
              <a:gd name="connsiteX791" fmla="*/ 4494133 w 7467600"/>
              <a:gd name="connsiteY791" fmla="*/ 1118676 h 6858000"/>
              <a:gd name="connsiteX792" fmla="*/ 4557898 w 7467600"/>
              <a:gd name="connsiteY792" fmla="*/ 900011 h 6858000"/>
              <a:gd name="connsiteX793" fmla="*/ 5870151 w 7467600"/>
              <a:gd name="connsiteY793" fmla="*/ 898890 h 6858000"/>
              <a:gd name="connsiteX794" fmla="*/ 5861335 w 7467600"/>
              <a:gd name="connsiteY794" fmla="*/ 899177 h 6858000"/>
              <a:gd name="connsiteX795" fmla="*/ 5843702 w 7467600"/>
              <a:gd name="connsiteY795" fmla="*/ 899748 h 6858000"/>
              <a:gd name="connsiteX796" fmla="*/ 5651107 w 7467600"/>
              <a:gd name="connsiteY796" fmla="*/ 920306 h 6858000"/>
              <a:gd name="connsiteX797" fmla="*/ 5459407 w 7467600"/>
              <a:gd name="connsiteY797" fmla="*/ 940975 h 6858000"/>
              <a:gd name="connsiteX798" fmla="*/ 5374846 w 7467600"/>
              <a:gd name="connsiteY798" fmla="*/ 941988 h 6858000"/>
              <a:gd name="connsiteX799" fmla="*/ 5256105 w 7467600"/>
              <a:gd name="connsiteY799" fmla="*/ 945632 h 6858000"/>
              <a:gd name="connsiteX800" fmla="*/ 5107071 w 7467600"/>
              <a:gd name="connsiteY800" fmla="*/ 969720 h 6858000"/>
              <a:gd name="connsiteX801" fmla="*/ 4998681 w 7467600"/>
              <a:gd name="connsiteY801" fmla="*/ 988771 h 6858000"/>
              <a:gd name="connsiteX802" fmla="*/ 5870151 w 7467600"/>
              <a:gd name="connsiteY802" fmla="*/ 898890 h 6858000"/>
              <a:gd name="connsiteX803" fmla="*/ 5504425 w 7467600"/>
              <a:gd name="connsiteY803" fmla="*/ 848067 h 6858000"/>
              <a:gd name="connsiteX804" fmla="*/ 4968849 w 7467600"/>
              <a:gd name="connsiteY804" fmla="*/ 962318 h 6858000"/>
              <a:gd name="connsiteX805" fmla="*/ 5104039 w 7467600"/>
              <a:gd name="connsiteY805" fmla="*/ 940634 h 6858000"/>
              <a:gd name="connsiteX806" fmla="*/ 5256311 w 7467600"/>
              <a:gd name="connsiteY806" fmla="*/ 916490 h 6858000"/>
              <a:gd name="connsiteX807" fmla="*/ 5377381 w 7467600"/>
              <a:gd name="connsiteY807" fmla="*/ 912671 h 6858000"/>
              <a:gd name="connsiteX808" fmla="*/ 5460148 w 7467600"/>
              <a:gd name="connsiteY808" fmla="*/ 911442 h 6858000"/>
              <a:gd name="connsiteX809" fmla="*/ 5648971 w 7467600"/>
              <a:gd name="connsiteY809" fmla="*/ 891331 h 6858000"/>
              <a:gd name="connsiteX810" fmla="*/ 5844807 w 7467600"/>
              <a:gd name="connsiteY810" fmla="*/ 870718 h 6858000"/>
              <a:gd name="connsiteX811" fmla="*/ 5862975 w 7467600"/>
              <a:gd name="connsiteY811" fmla="*/ 869756 h 6858000"/>
              <a:gd name="connsiteX812" fmla="*/ 5920887 w 7467600"/>
              <a:gd name="connsiteY812" fmla="*/ 865929 h 6858000"/>
              <a:gd name="connsiteX813" fmla="*/ 5504425 w 7467600"/>
              <a:gd name="connsiteY813" fmla="*/ 848067 h 6858000"/>
              <a:gd name="connsiteX814" fmla="*/ 3607114 w 7467600"/>
              <a:gd name="connsiteY814" fmla="*/ 467441 h 6858000"/>
              <a:gd name="connsiteX815" fmla="*/ 3296242 w 7467600"/>
              <a:gd name="connsiteY815" fmla="*/ 807991 h 6858000"/>
              <a:gd name="connsiteX816" fmla="*/ 3174674 w 7467600"/>
              <a:gd name="connsiteY816" fmla="*/ 919759 h 6858000"/>
              <a:gd name="connsiteX817" fmla="*/ 3042978 w 7467600"/>
              <a:gd name="connsiteY817" fmla="*/ 1054894 h 6858000"/>
              <a:gd name="connsiteX818" fmla="*/ 2968914 w 7467600"/>
              <a:gd name="connsiteY818" fmla="*/ 1133756 h 6858000"/>
              <a:gd name="connsiteX819" fmla="*/ 3103823 w 7467600"/>
              <a:gd name="connsiteY819" fmla="*/ 1026814 h 6858000"/>
              <a:gd name="connsiteX820" fmla="*/ 3607114 w 7467600"/>
              <a:gd name="connsiteY820" fmla="*/ 467441 h 6858000"/>
              <a:gd name="connsiteX821" fmla="*/ 3744487 w 7467600"/>
              <a:gd name="connsiteY821" fmla="*/ 383136 h 6858000"/>
              <a:gd name="connsiteX822" fmla="*/ 3970213 w 7467600"/>
              <a:gd name="connsiteY822" fmla="*/ 995559 h 6858000"/>
              <a:gd name="connsiteX823" fmla="*/ 3744487 w 7467600"/>
              <a:gd name="connsiteY823" fmla="*/ 383136 h 6858000"/>
              <a:gd name="connsiteX824" fmla="*/ 3624562 w 7467600"/>
              <a:gd name="connsiteY824" fmla="*/ 367041 h 6858000"/>
              <a:gd name="connsiteX825" fmla="*/ 3489712 w 7467600"/>
              <a:gd name="connsiteY825" fmla="*/ 485386 h 6858000"/>
              <a:gd name="connsiteX826" fmla="*/ 3182994 w 7467600"/>
              <a:gd name="connsiteY826" fmla="*/ 828265 h 6858000"/>
              <a:gd name="connsiteX827" fmla="*/ 2892114 w 7467600"/>
              <a:gd name="connsiteY827" fmla="*/ 1172635 h 6858000"/>
              <a:gd name="connsiteX828" fmla="*/ 3021459 w 7467600"/>
              <a:gd name="connsiteY828" fmla="*/ 1035385 h 6858000"/>
              <a:gd name="connsiteX829" fmla="*/ 3153873 w 7467600"/>
              <a:gd name="connsiteY829" fmla="*/ 898971 h 6858000"/>
              <a:gd name="connsiteX830" fmla="*/ 3276511 w 7467600"/>
              <a:gd name="connsiteY830" fmla="*/ 786423 h 6858000"/>
              <a:gd name="connsiteX831" fmla="*/ 3584154 w 7467600"/>
              <a:gd name="connsiteY831" fmla="*/ 448218 h 6858000"/>
              <a:gd name="connsiteX832" fmla="*/ 3624562 w 7467600"/>
              <a:gd name="connsiteY832" fmla="*/ 367041 h 6858000"/>
              <a:gd name="connsiteX833" fmla="*/ 3766672 w 7467600"/>
              <a:gd name="connsiteY833" fmla="*/ 359429 h 6858000"/>
              <a:gd name="connsiteX834" fmla="*/ 3996338 w 7467600"/>
              <a:gd name="connsiteY834" fmla="*/ 968237 h 6858000"/>
              <a:gd name="connsiteX835" fmla="*/ 3766672 w 7467600"/>
              <a:gd name="connsiteY835" fmla="*/ 359429 h 6858000"/>
              <a:gd name="connsiteX836" fmla="*/ 5805386 w 7467600"/>
              <a:gd name="connsiteY836" fmla="*/ 239240 h 6858000"/>
              <a:gd name="connsiteX837" fmla="*/ 5736947 w 7467600"/>
              <a:gd name="connsiteY837" fmla="*/ 261367 h 6858000"/>
              <a:gd name="connsiteX838" fmla="*/ 5427012 w 7467600"/>
              <a:gd name="connsiteY838" fmla="*/ 311272 h 6858000"/>
              <a:gd name="connsiteX839" fmla="*/ 5147818 w 7467600"/>
              <a:gd name="connsiteY839" fmla="*/ 322112 h 6858000"/>
              <a:gd name="connsiteX840" fmla="*/ 5060854 w 7467600"/>
              <a:gd name="connsiteY840" fmla="*/ 311882 h 6858000"/>
              <a:gd name="connsiteX841" fmla="*/ 4945989 w 7467600"/>
              <a:gd name="connsiteY841" fmla="*/ 300516 h 6858000"/>
              <a:gd name="connsiteX842" fmla="*/ 5410479 w 7467600"/>
              <a:gd name="connsiteY842" fmla="*/ 348434 h 6858000"/>
              <a:gd name="connsiteX843" fmla="*/ 5805386 w 7467600"/>
              <a:gd name="connsiteY843" fmla="*/ 239240 h 6858000"/>
              <a:gd name="connsiteX844" fmla="*/ 7451412 w 7467600"/>
              <a:gd name="connsiteY844" fmla="*/ 799572 h 6858000"/>
              <a:gd name="connsiteX845" fmla="*/ 7467600 w 7467600"/>
              <a:gd name="connsiteY845" fmla="*/ 789215 h 6858000"/>
              <a:gd name="connsiteX846" fmla="*/ 7451412 w 7467600"/>
              <a:gd name="connsiteY846" fmla="*/ 799572 h 6858000"/>
              <a:gd name="connsiteX847" fmla="*/ 5905192 w 7467600"/>
              <a:gd name="connsiteY847" fmla="*/ 163079 h 6858000"/>
              <a:gd name="connsiteX848" fmla="*/ 5865655 w 7467600"/>
              <a:gd name="connsiteY848" fmla="*/ 171901 h 6858000"/>
              <a:gd name="connsiteX849" fmla="*/ 5259740 w 7467600"/>
              <a:gd name="connsiteY849" fmla="*/ 257013 h 6858000"/>
              <a:gd name="connsiteX850" fmla="*/ 5208466 w 7467600"/>
              <a:gd name="connsiteY850" fmla="*/ 257550 h 6858000"/>
              <a:gd name="connsiteX851" fmla="*/ 4980204 w 7467600"/>
              <a:gd name="connsiteY851" fmla="*/ 271903 h 6858000"/>
              <a:gd name="connsiteX852" fmla="*/ 5068068 w 7467600"/>
              <a:gd name="connsiteY852" fmla="*/ 282244 h 6858000"/>
              <a:gd name="connsiteX853" fmla="*/ 5153231 w 7467600"/>
              <a:gd name="connsiteY853" fmla="*/ 292240 h 6858000"/>
              <a:gd name="connsiteX854" fmla="*/ 5426491 w 7467600"/>
              <a:gd name="connsiteY854" fmla="*/ 281128 h 6858000"/>
              <a:gd name="connsiteX855" fmla="*/ 5731212 w 7467600"/>
              <a:gd name="connsiteY855" fmla="*/ 231951 h 6858000"/>
              <a:gd name="connsiteX856" fmla="*/ 5905192 w 7467600"/>
              <a:gd name="connsiteY856" fmla="*/ 163079 h 6858000"/>
              <a:gd name="connsiteX857" fmla="*/ 5944437 w 7467600"/>
              <a:gd name="connsiteY857" fmla="*/ 113829 h 6858000"/>
              <a:gd name="connsiteX858" fmla="*/ 5825032 w 7467600"/>
              <a:gd name="connsiteY858" fmla="*/ 146405 h 6858000"/>
              <a:gd name="connsiteX859" fmla="*/ 4955599 w 7467600"/>
              <a:gd name="connsiteY859" fmla="*/ 247008 h 6858000"/>
              <a:gd name="connsiteX860" fmla="*/ 5210104 w 7467600"/>
              <a:gd name="connsiteY860" fmla="*/ 228123 h 6858000"/>
              <a:gd name="connsiteX861" fmla="*/ 5261015 w 7467600"/>
              <a:gd name="connsiteY861" fmla="*/ 227087 h 6858000"/>
              <a:gd name="connsiteX862" fmla="*/ 5861181 w 7467600"/>
              <a:gd name="connsiteY862" fmla="*/ 143093 h 6858000"/>
              <a:gd name="connsiteX863" fmla="*/ 5961252 w 7467600"/>
              <a:gd name="connsiteY863" fmla="*/ 114820 h 6858000"/>
              <a:gd name="connsiteX864" fmla="*/ 5944437 w 7467600"/>
              <a:gd name="connsiteY864" fmla="*/ 113829 h 6858000"/>
              <a:gd name="connsiteX865" fmla="*/ 3882765 w 7467600"/>
              <a:gd name="connsiteY865" fmla="*/ 0 h 6858000"/>
              <a:gd name="connsiteX866" fmla="*/ 3995099 w 7467600"/>
              <a:gd name="connsiteY866" fmla="*/ 0 h 6858000"/>
              <a:gd name="connsiteX867" fmla="*/ 4163818 w 7467600"/>
              <a:gd name="connsiteY867" fmla="*/ 234104 h 6858000"/>
              <a:gd name="connsiteX868" fmla="*/ 4172099 w 7467600"/>
              <a:gd name="connsiteY868" fmla="*/ 234207 h 6858000"/>
              <a:gd name="connsiteX869" fmla="*/ 4784282 w 7467600"/>
              <a:gd name="connsiteY869" fmla="*/ 276561 h 6858000"/>
              <a:gd name="connsiteX870" fmla="*/ 4801687 w 7467600"/>
              <a:gd name="connsiteY870" fmla="*/ 267764 h 6858000"/>
              <a:gd name="connsiteX871" fmla="*/ 6082788 w 7467600"/>
              <a:gd name="connsiteY871" fmla="*/ 64119 h 6858000"/>
              <a:gd name="connsiteX872" fmla="*/ 6099442 w 7467600"/>
              <a:gd name="connsiteY872" fmla="*/ 82568 h 6858000"/>
              <a:gd name="connsiteX873" fmla="*/ 4804137 w 7467600"/>
              <a:gd name="connsiteY873" fmla="*/ 320931 h 6858000"/>
              <a:gd name="connsiteX874" fmla="*/ 4227047 w 7467600"/>
              <a:gd name="connsiteY874" fmla="*/ 313415 h 6858000"/>
              <a:gd name="connsiteX875" fmla="*/ 4346041 w 7467600"/>
              <a:gd name="connsiteY875" fmla="*/ 456086 h 6858000"/>
              <a:gd name="connsiteX876" fmla="*/ 4870967 w 7467600"/>
              <a:gd name="connsiteY876" fmla="*/ 963061 h 6858000"/>
              <a:gd name="connsiteX877" fmla="*/ 4889647 w 7467600"/>
              <a:gd name="connsiteY877" fmla="*/ 957147 h 6858000"/>
              <a:gd name="connsiteX878" fmla="*/ 5422504 w 7467600"/>
              <a:gd name="connsiteY878" fmla="*/ 805191 h 6858000"/>
              <a:gd name="connsiteX879" fmla="*/ 6087656 w 7467600"/>
              <a:gd name="connsiteY879" fmla="*/ 826703 h 6858000"/>
              <a:gd name="connsiteX880" fmla="*/ 6058717 w 7467600"/>
              <a:gd name="connsiteY880" fmla="*/ 865992 h 6858000"/>
              <a:gd name="connsiteX881" fmla="*/ 4974153 w 7467600"/>
              <a:gd name="connsiteY881" fmla="*/ 1045456 h 6858000"/>
              <a:gd name="connsiteX882" fmla="*/ 5627835 w 7467600"/>
              <a:gd name="connsiteY882" fmla="*/ 1472077 h 6858000"/>
              <a:gd name="connsiteX883" fmla="*/ 5629817 w 7467600"/>
              <a:gd name="connsiteY883" fmla="*/ 1471412 h 6858000"/>
              <a:gd name="connsiteX884" fmla="*/ 5634124 w 7467600"/>
              <a:gd name="connsiteY884" fmla="*/ 1470572 h 6858000"/>
              <a:gd name="connsiteX885" fmla="*/ 5755832 w 7467600"/>
              <a:gd name="connsiteY885" fmla="*/ 1383886 h 6858000"/>
              <a:gd name="connsiteX886" fmla="*/ 6014186 w 7467600"/>
              <a:gd name="connsiteY886" fmla="*/ 1279799 h 6858000"/>
              <a:gd name="connsiteX887" fmla="*/ 6901619 w 7467600"/>
              <a:gd name="connsiteY887" fmla="*/ 1047874 h 6858000"/>
              <a:gd name="connsiteX888" fmla="*/ 6931566 w 7467600"/>
              <a:gd name="connsiteY888" fmla="*/ 1062034 h 6858000"/>
              <a:gd name="connsiteX889" fmla="*/ 5790982 w 7467600"/>
              <a:gd name="connsiteY889" fmla="*/ 1561380 h 6858000"/>
              <a:gd name="connsiteX890" fmla="*/ 6188971 w 7467600"/>
              <a:gd name="connsiteY890" fmla="*/ 1755168 h 6858000"/>
              <a:gd name="connsiteX891" fmla="*/ 6202446 w 7467600"/>
              <a:gd name="connsiteY891" fmla="*/ 1752268 h 6858000"/>
              <a:gd name="connsiteX892" fmla="*/ 7179560 w 7467600"/>
              <a:gd name="connsiteY892" fmla="*/ 1467551 h 6858000"/>
              <a:gd name="connsiteX893" fmla="*/ 7158730 w 7467600"/>
              <a:gd name="connsiteY893" fmla="*/ 1507835 h 6858000"/>
              <a:gd name="connsiteX894" fmla="*/ 6326959 w 7467600"/>
              <a:gd name="connsiteY894" fmla="*/ 1817686 h 6858000"/>
              <a:gd name="connsiteX895" fmla="*/ 6537433 w 7467600"/>
              <a:gd name="connsiteY895" fmla="*/ 1907790 h 6858000"/>
              <a:gd name="connsiteX896" fmla="*/ 6550221 w 7467600"/>
              <a:gd name="connsiteY896" fmla="*/ 1910729 h 6858000"/>
              <a:gd name="connsiteX897" fmla="*/ 6964438 w 7467600"/>
              <a:gd name="connsiteY897" fmla="*/ 2209505 h 6858000"/>
              <a:gd name="connsiteX898" fmla="*/ 7367862 w 7467600"/>
              <a:gd name="connsiteY898" fmla="*/ 2806833 h 6858000"/>
              <a:gd name="connsiteX899" fmla="*/ 7364329 w 7467600"/>
              <a:gd name="connsiteY899" fmla="*/ 2826907 h 6858000"/>
              <a:gd name="connsiteX900" fmla="*/ 7290545 w 7467600"/>
              <a:gd name="connsiteY900" fmla="*/ 2850663 h 6858000"/>
              <a:gd name="connsiteX901" fmla="*/ 6472036 w 7467600"/>
              <a:gd name="connsiteY901" fmla="*/ 1959003 h 6858000"/>
              <a:gd name="connsiteX902" fmla="*/ 5792897 w 7467600"/>
              <a:gd name="connsiteY902" fmla="*/ 1647747 h 6858000"/>
              <a:gd name="connsiteX903" fmla="*/ 5842751 w 7467600"/>
              <a:gd name="connsiteY903" fmla="*/ 1816112 h 6858000"/>
              <a:gd name="connsiteX904" fmla="*/ 5847424 w 7467600"/>
              <a:gd name="connsiteY904" fmla="*/ 1815776 h 6858000"/>
              <a:gd name="connsiteX905" fmla="*/ 6399821 w 7467600"/>
              <a:gd name="connsiteY905" fmla="*/ 2344799 h 6858000"/>
              <a:gd name="connsiteX906" fmla="*/ 6323232 w 7467600"/>
              <a:gd name="connsiteY906" fmla="*/ 2389634 h 6858000"/>
              <a:gd name="connsiteX907" fmla="*/ 5942958 w 7467600"/>
              <a:gd name="connsiteY907" fmla="*/ 2077708 h 6858000"/>
              <a:gd name="connsiteX908" fmla="*/ 5921559 w 7467600"/>
              <a:gd name="connsiteY908" fmla="*/ 2378596 h 6858000"/>
              <a:gd name="connsiteX909" fmla="*/ 5817651 w 7467600"/>
              <a:gd name="connsiteY909" fmla="*/ 3023919 h 6858000"/>
              <a:gd name="connsiteX910" fmla="*/ 5729634 w 7467600"/>
              <a:gd name="connsiteY910" fmla="*/ 3051849 h 6858000"/>
              <a:gd name="connsiteX911" fmla="*/ 5611018 w 7467600"/>
              <a:gd name="connsiteY911" fmla="*/ 2316769 h 6858000"/>
              <a:gd name="connsiteX912" fmla="*/ 5687608 w 7467600"/>
              <a:gd name="connsiteY912" fmla="*/ 2039972 h 6858000"/>
              <a:gd name="connsiteX913" fmla="*/ 5657554 w 7467600"/>
              <a:gd name="connsiteY913" fmla="*/ 1576445 h 6858000"/>
              <a:gd name="connsiteX914" fmla="*/ 5150475 w 7467600"/>
              <a:gd name="connsiteY914" fmla="*/ 1274012 h 6858000"/>
              <a:gd name="connsiteX915" fmla="*/ 5349142 w 7467600"/>
              <a:gd name="connsiteY915" fmla="*/ 2204405 h 6858000"/>
              <a:gd name="connsiteX916" fmla="*/ 5262214 w 7467600"/>
              <a:gd name="connsiteY916" fmla="*/ 2233836 h 6858000"/>
              <a:gd name="connsiteX917" fmla="*/ 4981539 w 7467600"/>
              <a:gd name="connsiteY917" fmla="*/ 1542201 h 6858000"/>
              <a:gd name="connsiteX918" fmla="*/ 4958461 w 7467600"/>
              <a:gd name="connsiteY918" fmla="*/ 1136957 h 6858000"/>
              <a:gd name="connsiteX919" fmla="*/ 4655015 w 7467600"/>
              <a:gd name="connsiteY919" fmla="*/ 891426 h 6858000"/>
              <a:gd name="connsiteX920" fmla="*/ 4348002 w 7467600"/>
              <a:gd name="connsiteY920" fmla="*/ 2205895 h 6858000"/>
              <a:gd name="connsiteX921" fmla="*/ 4262250 w 7467600"/>
              <a:gd name="connsiteY921" fmla="*/ 2219972 h 6858000"/>
              <a:gd name="connsiteX922" fmla="*/ 4550611 w 7467600"/>
              <a:gd name="connsiteY922" fmla="*/ 817540 h 6858000"/>
              <a:gd name="connsiteX923" fmla="*/ 4564418 w 7467600"/>
              <a:gd name="connsiteY923" fmla="*/ 808293 h 6858000"/>
              <a:gd name="connsiteX924" fmla="*/ 4266388 w 7467600"/>
              <a:gd name="connsiteY924" fmla="*/ 500083 h 6858000"/>
              <a:gd name="connsiteX925" fmla="*/ 4032842 w 7467600"/>
              <a:gd name="connsiteY925" fmla="*/ 211809 h 6858000"/>
              <a:gd name="connsiteX926" fmla="*/ 3882765 w 7467600"/>
              <a:gd name="connsiteY926" fmla="*/ 0 h 6858000"/>
              <a:gd name="connsiteX927" fmla="*/ 3721337 w 7467600"/>
              <a:gd name="connsiteY927" fmla="*/ 0 h 6858000"/>
              <a:gd name="connsiteX928" fmla="*/ 3797544 w 7467600"/>
              <a:gd name="connsiteY928" fmla="*/ 0 h 6858000"/>
              <a:gd name="connsiteX929" fmla="*/ 3775734 w 7467600"/>
              <a:gd name="connsiteY929" fmla="*/ 95131 h 6858000"/>
              <a:gd name="connsiteX930" fmla="*/ 3724807 w 7467600"/>
              <a:gd name="connsiteY930" fmla="*/ 272257 h 6858000"/>
              <a:gd name="connsiteX931" fmla="*/ 3726844 w 7467600"/>
              <a:gd name="connsiteY931" fmla="*/ 282988 h 6858000"/>
              <a:gd name="connsiteX932" fmla="*/ 3742664 w 7467600"/>
              <a:gd name="connsiteY932" fmla="*/ 279918 h 6858000"/>
              <a:gd name="connsiteX933" fmla="*/ 4103910 w 7467600"/>
              <a:gd name="connsiteY933" fmla="*/ 1161917 h 6858000"/>
              <a:gd name="connsiteX934" fmla="*/ 4020269 w 7467600"/>
              <a:gd name="connsiteY934" fmla="*/ 1200406 h 6858000"/>
              <a:gd name="connsiteX935" fmla="*/ 3674882 w 7467600"/>
              <a:gd name="connsiteY935" fmla="*/ 488524 h 6858000"/>
              <a:gd name="connsiteX936" fmla="*/ 3132682 w 7467600"/>
              <a:gd name="connsiteY936" fmla="*/ 1072284 h 6858000"/>
              <a:gd name="connsiteX937" fmla="*/ 2716346 w 7467600"/>
              <a:gd name="connsiteY937" fmla="*/ 1276376 h 6858000"/>
              <a:gd name="connsiteX938" fmla="*/ 2716772 w 7467600"/>
              <a:gd name="connsiteY938" fmla="*/ 1255462 h 6858000"/>
              <a:gd name="connsiteX939" fmla="*/ 3471096 w 7467600"/>
              <a:gd name="connsiteY939" fmla="*/ 437072 h 6858000"/>
              <a:gd name="connsiteX940" fmla="*/ 3639057 w 7467600"/>
              <a:gd name="connsiteY940" fmla="*/ 286334 h 6858000"/>
              <a:gd name="connsiteX941" fmla="*/ 3640309 w 7467600"/>
              <a:gd name="connsiteY941" fmla="*/ 284664 h 6858000"/>
              <a:gd name="connsiteX942" fmla="*/ 3646022 w 7467600"/>
              <a:gd name="connsiteY942" fmla="*/ 276711 h 6858000"/>
              <a:gd name="connsiteX943" fmla="*/ 3707943 w 7467600"/>
              <a:gd name="connsiteY943" fmla="*/ 65958 h 6858000"/>
              <a:gd name="connsiteX944" fmla="*/ 3721337 w 7467600"/>
              <a:gd name="connsiteY944" fmla="*/ 0 h 6858000"/>
              <a:gd name="connsiteX945" fmla="*/ 2867960 w 7467600"/>
              <a:gd name="connsiteY945" fmla="*/ 0 h 6858000"/>
              <a:gd name="connsiteX946" fmla="*/ 2926351 w 7467600"/>
              <a:gd name="connsiteY946" fmla="*/ 0 h 6858000"/>
              <a:gd name="connsiteX947" fmla="*/ 2902823 w 7467600"/>
              <a:gd name="connsiteY947" fmla="*/ 262929 h 6858000"/>
              <a:gd name="connsiteX948" fmla="*/ 2940663 w 7467600"/>
              <a:gd name="connsiteY948" fmla="*/ 140884 h 6858000"/>
              <a:gd name="connsiteX949" fmla="*/ 2947039 w 7467600"/>
              <a:gd name="connsiteY949" fmla="*/ 122524 h 6858000"/>
              <a:gd name="connsiteX950" fmla="*/ 2984316 w 7467600"/>
              <a:gd name="connsiteY950" fmla="*/ 0 h 6858000"/>
              <a:gd name="connsiteX951" fmla="*/ 3016114 w 7467600"/>
              <a:gd name="connsiteY951" fmla="*/ 0 h 6858000"/>
              <a:gd name="connsiteX952" fmla="*/ 2979949 w 7467600"/>
              <a:gd name="connsiteY952" fmla="*/ 119274 h 6858000"/>
              <a:gd name="connsiteX953" fmla="*/ 3023879 w 7467600"/>
              <a:gd name="connsiteY953" fmla="*/ 0 h 6858000"/>
              <a:gd name="connsiteX954" fmla="*/ 3105400 w 7467600"/>
              <a:gd name="connsiteY954" fmla="*/ 0 h 6858000"/>
              <a:gd name="connsiteX955" fmla="*/ 3094669 w 7467600"/>
              <a:gd name="connsiteY955" fmla="*/ 30308 h 6858000"/>
              <a:gd name="connsiteX956" fmla="*/ 2901945 w 7467600"/>
              <a:gd name="connsiteY956" fmla="*/ 466538 h 6858000"/>
              <a:gd name="connsiteX957" fmla="*/ 2815209 w 7467600"/>
              <a:gd name="connsiteY957" fmla="*/ 497361 h 6858000"/>
              <a:gd name="connsiteX958" fmla="*/ 2844845 w 7467600"/>
              <a:gd name="connsiteY958" fmla="*/ 127638 h 6858000"/>
              <a:gd name="connsiteX959" fmla="*/ 2867960 w 7467600"/>
              <a:gd name="connsiteY959" fmla="*/ 0 h 6858000"/>
              <a:gd name="connsiteX960" fmla="*/ 1057230 w 7467600"/>
              <a:gd name="connsiteY960" fmla="*/ 0 h 6858000"/>
              <a:gd name="connsiteX961" fmla="*/ 1111003 w 7467600"/>
              <a:gd name="connsiteY961" fmla="*/ 0 h 6858000"/>
              <a:gd name="connsiteX962" fmla="*/ 1125553 w 7467600"/>
              <a:gd name="connsiteY962" fmla="*/ 52588 h 6858000"/>
              <a:gd name="connsiteX963" fmla="*/ 1304276 w 7467600"/>
              <a:gd name="connsiteY963" fmla="*/ 476275 h 6858000"/>
              <a:gd name="connsiteX964" fmla="*/ 1492066 w 7467600"/>
              <a:gd name="connsiteY964" fmla="*/ 886333 h 6858000"/>
              <a:gd name="connsiteX965" fmla="*/ 1423698 w 7467600"/>
              <a:gd name="connsiteY965" fmla="*/ 710817 h 6858000"/>
              <a:gd name="connsiteX966" fmla="*/ 1357609 w 7467600"/>
              <a:gd name="connsiteY966" fmla="*/ 532892 h 6858000"/>
              <a:gd name="connsiteX967" fmla="*/ 1309550 w 7467600"/>
              <a:gd name="connsiteY967" fmla="*/ 374031 h 6858000"/>
              <a:gd name="connsiteX968" fmla="*/ 1193673 w 7467600"/>
              <a:gd name="connsiteY968" fmla="*/ 49533 h 6858000"/>
              <a:gd name="connsiteX969" fmla="*/ 1164391 w 7467600"/>
              <a:gd name="connsiteY969" fmla="*/ 0 h 6858000"/>
              <a:gd name="connsiteX970" fmla="*/ 1200666 w 7467600"/>
              <a:gd name="connsiteY970" fmla="*/ 0 h 6858000"/>
              <a:gd name="connsiteX971" fmla="*/ 1223408 w 7467600"/>
              <a:gd name="connsiteY971" fmla="*/ 38996 h 6858000"/>
              <a:gd name="connsiteX972" fmla="*/ 1339635 w 7467600"/>
              <a:gd name="connsiteY972" fmla="*/ 365517 h 6858000"/>
              <a:gd name="connsiteX973" fmla="*/ 1387469 w 7467600"/>
              <a:gd name="connsiteY973" fmla="*/ 523079 h 6858000"/>
              <a:gd name="connsiteX974" fmla="*/ 1452685 w 7467600"/>
              <a:gd name="connsiteY974" fmla="*/ 699806 h 6858000"/>
              <a:gd name="connsiteX975" fmla="*/ 1492092 w 7467600"/>
              <a:gd name="connsiteY975" fmla="*/ 800424 h 6858000"/>
              <a:gd name="connsiteX976" fmla="*/ 1455302 w 7467600"/>
              <a:gd name="connsiteY976" fmla="*/ 632913 h 6858000"/>
              <a:gd name="connsiteX977" fmla="*/ 1222336 w 7467600"/>
              <a:gd name="connsiteY977" fmla="*/ 9480 h 6858000"/>
              <a:gd name="connsiteX978" fmla="*/ 1214634 w 7467600"/>
              <a:gd name="connsiteY978" fmla="*/ 0 h 6858000"/>
              <a:gd name="connsiteX979" fmla="*/ 1289827 w 7467600"/>
              <a:gd name="connsiteY979" fmla="*/ 0 h 6858000"/>
              <a:gd name="connsiteX980" fmla="*/ 1321076 w 7467600"/>
              <a:gd name="connsiteY980" fmla="*/ 59722 h 6858000"/>
              <a:gd name="connsiteX981" fmla="*/ 1512579 w 7467600"/>
              <a:gd name="connsiteY981" fmla="*/ 626441 h 6858000"/>
              <a:gd name="connsiteX982" fmla="*/ 1506076 w 7467600"/>
              <a:gd name="connsiteY982" fmla="*/ 1089289 h 6858000"/>
              <a:gd name="connsiteX983" fmla="*/ 1486346 w 7467600"/>
              <a:gd name="connsiteY983" fmla="*/ 1079919 h 6858000"/>
              <a:gd name="connsiteX984" fmla="*/ 1070511 w 7467600"/>
              <a:gd name="connsiteY984" fmla="*/ 48609 h 6858000"/>
              <a:gd name="connsiteX985" fmla="*/ 1057230 w 7467600"/>
              <a:gd name="connsiteY985" fmla="*/ 0 h 6858000"/>
              <a:gd name="connsiteX986" fmla="*/ 43151 w 7467600"/>
              <a:gd name="connsiteY986" fmla="*/ 0 h 6858000"/>
              <a:gd name="connsiteX987" fmla="*/ 95283 w 7467600"/>
              <a:gd name="connsiteY987" fmla="*/ 0 h 6858000"/>
              <a:gd name="connsiteX988" fmla="*/ 300708 w 7467600"/>
              <a:gd name="connsiteY988" fmla="*/ 154571 h 6858000"/>
              <a:gd name="connsiteX989" fmla="*/ 530414 w 7467600"/>
              <a:gd name="connsiteY989" fmla="*/ 354673 h 6858000"/>
              <a:gd name="connsiteX990" fmla="*/ 333785 w 7467600"/>
              <a:gd name="connsiteY990" fmla="*/ 161564 h 6858000"/>
              <a:gd name="connsiteX991" fmla="*/ 147005 w 7467600"/>
              <a:gd name="connsiteY991" fmla="*/ 0 h 6858000"/>
              <a:gd name="connsiteX992" fmla="*/ 272509 w 7467600"/>
              <a:gd name="connsiteY992" fmla="*/ 0 h 6858000"/>
              <a:gd name="connsiteX993" fmla="*/ 326276 w 7467600"/>
              <a:gd name="connsiteY993" fmla="*/ 45847 h 6858000"/>
              <a:gd name="connsiteX994" fmla="*/ 823759 w 7467600"/>
              <a:gd name="connsiteY994" fmla="*/ 574145 h 6858000"/>
              <a:gd name="connsiteX995" fmla="*/ 811254 w 7467600"/>
              <a:gd name="connsiteY995" fmla="*/ 665546 h 6858000"/>
              <a:gd name="connsiteX996" fmla="*/ 154042 w 7467600"/>
              <a:gd name="connsiteY996" fmla="*/ 261522 h 6858000"/>
              <a:gd name="connsiteX997" fmla="*/ 13550 w 7467600"/>
              <a:gd name="connsiteY997" fmla="*/ 158423 h 6858000"/>
              <a:gd name="connsiteX998" fmla="*/ 0 w 7467600"/>
              <a:gd name="connsiteY998" fmla="*/ 146618 h 6858000"/>
              <a:gd name="connsiteX999" fmla="*/ 0 w 7467600"/>
              <a:gd name="connsiteY999" fmla="*/ 59161 h 6858000"/>
              <a:gd name="connsiteX1000" fmla="*/ 45427 w 7467600"/>
              <a:gd name="connsiteY1000" fmla="*/ 101078 h 6858000"/>
              <a:gd name="connsiteX1001" fmla="*/ 630103 w 7467600"/>
              <a:gd name="connsiteY1001" fmla="*/ 485885 h 6858000"/>
              <a:gd name="connsiteX1002" fmla="*/ 532040 w 7467600"/>
              <a:gd name="connsiteY1002" fmla="*/ 399359 h 6858000"/>
              <a:gd name="connsiteX1003" fmla="*/ 517618 w 7467600"/>
              <a:gd name="connsiteY1003" fmla="*/ 385726 h 6858000"/>
              <a:gd name="connsiteX1004" fmla="*/ 285074 w 7467600"/>
              <a:gd name="connsiteY1004" fmla="*/ 182755 h 6858000"/>
              <a:gd name="connsiteX1005" fmla="*/ 43151 w 7467600"/>
              <a:gd name="connsiteY1005"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133363 w 7467600"/>
              <a:gd name="connsiteY127" fmla="*/ 5050246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7327465 w 7467600"/>
              <a:gd name="connsiteY139" fmla="*/ 5174181 h 6858000"/>
              <a:gd name="connsiteX140" fmla="*/ 7244057 w 7467600"/>
              <a:gd name="connsiteY140" fmla="*/ 5124233 h 6858000"/>
              <a:gd name="connsiteX141" fmla="*/ 7353035 w 7467600"/>
              <a:gd name="connsiteY141" fmla="*/ 5197318 h 6858000"/>
              <a:gd name="connsiteX142" fmla="*/ 7467600 w 7467600"/>
              <a:gd name="connsiteY142" fmla="*/ 5297634 h 6858000"/>
              <a:gd name="connsiteX143" fmla="*/ 7467600 w 7467600"/>
              <a:gd name="connsiteY143" fmla="*/ 5361850 h 6858000"/>
              <a:gd name="connsiteX144" fmla="*/ 7368569 w 7467600"/>
              <a:gd name="connsiteY144" fmla="*/ 5270182 h 6858000"/>
              <a:gd name="connsiteX145" fmla="*/ 7131946 w 7467600"/>
              <a:gd name="connsiteY145" fmla="*/ 5075653 h 6858000"/>
              <a:gd name="connsiteX146" fmla="*/ 7133363 w 7467600"/>
              <a:gd name="connsiteY146" fmla="*/ 5050246 h 6858000"/>
              <a:gd name="connsiteX147" fmla="*/ 1903353 w 7467600"/>
              <a:gd name="connsiteY147" fmla="*/ 5044827 h 6858000"/>
              <a:gd name="connsiteX148" fmla="*/ 1936931 w 7467600"/>
              <a:gd name="connsiteY148" fmla="*/ 5093954 h 6858000"/>
              <a:gd name="connsiteX149" fmla="*/ 2195868 w 7467600"/>
              <a:gd name="connsiteY149" fmla="*/ 5396574 h 6858000"/>
              <a:gd name="connsiteX150" fmla="*/ 2088852 w 7467600"/>
              <a:gd name="connsiteY150" fmla="*/ 5166123 h 6858000"/>
              <a:gd name="connsiteX151" fmla="*/ 1958241 w 7467600"/>
              <a:gd name="connsiteY151" fmla="*/ 5067955 h 6858000"/>
              <a:gd name="connsiteX152" fmla="*/ 1903353 w 7467600"/>
              <a:gd name="connsiteY152" fmla="*/ 5044827 h 6858000"/>
              <a:gd name="connsiteX153" fmla="*/ 1979378 w 7467600"/>
              <a:gd name="connsiteY153" fmla="*/ 4769504 h 6858000"/>
              <a:gd name="connsiteX154" fmla="*/ 2882120 w 7467600"/>
              <a:gd name="connsiteY154" fmla="*/ 5064547 h 6858000"/>
              <a:gd name="connsiteX155" fmla="*/ 2793103 w 7467600"/>
              <a:gd name="connsiteY155" fmla="*/ 5039699 h 6858000"/>
              <a:gd name="connsiteX156" fmla="*/ 2770041 w 7467600"/>
              <a:gd name="connsiteY156" fmla="*/ 5033634 h 6858000"/>
              <a:gd name="connsiteX157" fmla="*/ 1979378 w 7467600"/>
              <a:gd name="connsiteY157" fmla="*/ 4769504 h 6858000"/>
              <a:gd name="connsiteX158" fmla="*/ 1927410 w 7467600"/>
              <a:gd name="connsiteY158" fmla="*/ 4716164 h 6858000"/>
              <a:gd name="connsiteX159" fmla="*/ 1959587 w 7467600"/>
              <a:gd name="connsiteY159" fmla="*/ 4728849 h 6858000"/>
              <a:gd name="connsiteX160" fmla="*/ 2777707 w 7467600"/>
              <a:gd name="connsiteY160" fmla="*/ 5003991 h 6858000"/>
              <a:gd name="connsiteX161" fmla="*/ 2800768 w 7467600"/>
              <a:gd name="connsiteY161" fmla="*/ 5010056 h 6858000"/>
              <a:gd name="connsiteX162" fmla="*/ 2879408 w 7467600"/>
              <a:gd name="connsiteY162" fmla="*/ 5031590 h 6858000"/>
              <a:gd name="connsiteX163" fmla="*/ 2862295 w 7467600"/>
              <a:gd name="connsiteY163" fmla="*/ 5022958 h 6858000"/>
              <a:gd name="connsiteX164" fmla="*/ 2813343 w 7467600"/>
              <a:gd name="connsiteY164" fmla="*/ 4998369 h 6858000"/>
              <a:gd name="connsiteX165" fmla="*/ 2646245 w 7467600"/>
              <a:gd name="connsiteY165" fmla="*/ 4930999 h 6858000"/>
              <a:gd name="connsiteX166" fmla="*/ 1999243 w 7467600"/>
              <a:gd name="connsiteY166" fmla="*/ 4730524 h 6858000"/>
              <a:gd name="connsiteX167" fmla="*/ 1979527 w 7467600"/>
              <a:gd name="connsiteY167" fmla="*/ 4726651 h 6858000"/>
              <a:gd name="connsiteX168" fmla="*/ 1927410 w 7467600"/>
              <a:gd name="connsiteY168" fmla="*/ 4716164 h 6858000"/>
              <a:gd name="connsiteX169" fmla="*/ 1997014 w 7467600"/>
              <a:gd name="connsiteY169" fmla="*/ 4698007 h 6858000"/>
              <a:gd name="connsiteX170" fmla="*/ 2005458 w 7467600"/>
              <a:gd name="connsiteY170" fmla="*/ 4699540 h 6858000"/>
              <a:gd name="connsiteX171" fmla="*/ 2657186 w 7467600"/>
              <a:gd name="connsiteY171" fmla="*/ 4901687 h 6858000"/>
              <a:gd name="connsiteX172" fmla="*/ 2826662 w 7467600"/>
              <a:gd name="connsiteY172" fmla="*/ 4970362 h 6858000"/>
              <a:gd name="connsiteX173" fmla="*/ 2876100 w 7467600"/>
              <a:gd name="connsiteY173" fmla="*/ 4995397 h 6858000"/>
              <a:gd name="connsiteX174" fmla="*/ 3042600 w 7467600"/>
              <a:gd name="connsiteY174" fmla="*/ 5059532 h 6858000"/>
              <a:gd name="connsiteX175" fmla="*/ 1997014 w 7467600"/>
              <a:gd name="connsiteY175" fmla="*/ 4698007 h 6858000"/>
              <a:gd name="connsiteX176" fmla="*/ 2305292 w 7467600"/>
              <a:gd name="connsiteY176" fmla="*/ 4219492 h 6858000"/>
              <a:gd name="connsiteX177" fmla="*/ 3360922 w 7467600"/>
              <a:gd name="connsiteY177" fmla="*/ 4529373 h 6858000"/>
              <a:gd name="connsiteX178" fmla="*/ 3492420 w 7467600"/>
              <a:gd name="connsiteY178" fmla="*/ 4510145 h 6858000"/>
              <a:gd name="connsiteX179" fmla="*/ 3364086 w 7467600"/>
              <a:gd name="connsiteY179" fmla="*/ 4480340 h 6858000"/>
              <a:gd name="connsiteX180" fmla="*/ 3225818 w 7467600"/>
              <a:gd name="connsiteY180" fmla="*/ 4411822 h 6858000"/>
              <a:gd name="connsiteX181" fmla="*/ 3129696 w 7467600"/>
              <a:gd name="connsiteY181" fmla="*/ 4360704 h 6858000"/>
              <a:gd name="connsiteX182" fmla="*/ 2814545 w 7467600"/>
              <a:gd name="connsiteY182" fmla="*/ 4282955 h 6858000"/>
              <a:gd name="connsiteX183" fmla="*/ 2305292 w 7467600"/>
              <a:gd name="connsiteY183" fmla="*/ 4219492 h 6858000"/>
              <a:gd name="connsiteX184" fmla="*/ 2626982 w 7467600"/>
              <a:gd name="connsiteY184" fmla="*/ 4206450 h 6858000"/>
              <a:gd name="connsiteX185" fmla="*/ 2490617 w 7467600"/>
              <a:gd name="connsiteY185" fmla="*/ 4206951 h 6858000"/>
              <a:gd name="connsiteX186" fmla="*/ 2819869 w 7467600"/>
              <a:gd name="connsiteY186" fmla="*/ 4252936 h 6858000"/>
              <a:gd name="connsiteX187" fmla="*/ 3143018 w 7467600"/>
              <a:gd name="connsiteY187" fmla="*/ 4332698 h 6858000"/>
              <a:gd name="connsiteX188" fmla="*/ 3241520 w 7467600"/>
              <a:gd name="connsiteY188" fmla="*/ 4385112 h 6858000"/>
              <a:gd name="connsiteX189" fmla="*/ 3374575 w 7467600"/>
              <a:gd name="connsiteY189" fmla="*/ 4451517 h 6858000"/>
              <a:gd name="connsiteX190" fmla="*/ 3505221 w 7467600"/>
              <a:gd name="connsiteY190" fmla="*/ 4480757 h 6858000"/>
              <a:gd name="connsiteX191" fmla="*/ 2626982 w 7467600"/>
              <a:gd name="connsiteY191" fmla="*/ 4206450 h 6858000"/>
              <a:gd name="connsiteX192" fmla="*/ 1310106 w 7467600"/>
              <a:gd name="connsiteY192" fmla="*/ 3943217 h 6858000"/>
              <a:gd name="connsiteX193" fmla="*/ 854994 w 7467600"/>
              <a:gd name="connsiteY193" fmla="*/ 4399136 h 6858000"/>
              <a:gd name="connsiteX194" fmla="*/ 742462 w 7467600"/>
              <a:gd name="connsiteY194" fmla="*/ 4594648 h 6858000"/>
              <a:gd name="connsiteX195" fmla="*/ 820602 w 7467600"/>
              <a:gd name="connsiteY195" fmla="*/ 4485915 h 6858000"/>
              <a:gd name="connsiteX196" fmla="*/ 878295 w 7467600"/>
              <a:gd name="connsiteY196" fmla="*/ 4403594 h 6858000"/>
              <a:gd name="connsiteX197" fmla="*/ 1240607 w 7467600"/>
              <a:gd name="connsiteY197" fmla="*/ 4010401 h 6858000"/>
              <a:gd name="connsiteX198" fmla="*/ 1310106 w 7467600"/>
              <a:gd name="connsiteY198" fmla="*/ 3943217 h 6858000"/>
              <a:gd name="connsiteX199" fmla="*/ 1423113 w 7467600"/>
              <a:gd name="connsiteY199" fmla="*/ 3874565 h 6858000"/>
              <a:gd name="connsiteX200" fmla="*/ 1260565 w 7467600"/>
              <a:gd name="connsiteY200" fmla="*/ 4031982 h 6858000"/>
              <a:gd name="connsiteX201" fmla="*/ 901900 w 7467600"/>
              <a:gd name="connsiteY201" fmla="*/ 4421236 h 6858000"/>
              <a:gd name="connsiteX202" fmla="*/ 845044 w 7467600"/>
              <a:gd name="connsiteY202" fmla="*/ 4502436 h 6858000"/>
              <a:gd name="connsiteX203" fmla="*/ 685926 w 7467600"/>
              <a:gd name="connsiteY203" fmla="*/ 4703069 h 6858000"/>
              <a:gd name="connsiteX204" fmla="*/ 684248 w 7467600"/>
              <a:gd name="connsiteY204" fmla="*/ 4706721 h 6858000"/>
              <a:gd name="connsiteX205" fmla="*/ 1423113 w 7467600"/>
              <a:gd name="connsiteY205" fmla="*/ 3874565 h 6858000"/>
              <a:gd name="connsiteX206" fmla="*/ 3316479 w 7467600"/>
              <a:gd name="connsiteY206" fmla="*/ 3872136 h 6858000"/>
              <a:gd name="connsiteX207" fmla="*/ 3546806 w 7467600"/>
              <a:gd name="connsiteY207" fmla="*/ 4356139 h 6858000"/>
              <a:gd name="connsiteX208" fmla="*/ 3364433 w 7467600"/>
              <a:gd name="connsiteY208" fmla="*/ 3953121 h 6858000"/>
              <a:gd name="connsiteX209" fmla="*/ 3316479 w 7467600"/>
              <a:gd name="connsiteY209" fmla="*/ 3872136 h 6858000"/>
              <a:gd name="connsiteX210" fmla="*/ 3291335 w 7467600"/>
              <a:gd name="connsiteY210" fmla="*/ 3767420 h 6858000"/>
              <a:gd name="connsiteX211" fmla="*/ 3390805 w 7467600"/>
              <a:gd name="connsiteY211" fmla="*/ 3937163 h 6858000"/>
              <a:gd name="connsiteX212" fmla="*/ 3579062 w 7467600"/>
              <a:gd name="connsiteY212" fmla="*/ 4359040 h 6858000"/>
              <a:gd name="connsiteX213" fmla="*/ 3467355 w 7467600"/>
              <a:gd name="connsiteY213" fmla="*/ 3988130 h 6858000"/>
              <a:gd name="connsiteX214" fmla="*/ 3310753 w 7467600"/>
              <a:gd name="connsiteY214" fmla="*/ 3787140 h 6858000"/>
              <a:gd name="connsiteX215" fmla="*/ 3291335 w 7467600"/>
              <a:gd name="connsiteY215" fmla="*/ 3767420 h 6858000"/>
              <a:gd name="connsiteX216" fmla="*/ 1635889 w 7467600"/>
              <a:gd name="connsiteY216" fmla="*/ 3709494 h 6858000"/>
              <a:gd name="connsiteX217" fmla="*/ 1634800 w 7467600"/>
              <a:gd name="connsiteY217" fmla="*/ 3731111 h 6858000"/>
              <a:gd name="connsiteX218" fmla="*/ 1635889 w 7467600"/>
              <a:gd name="connsiteY218" fmla="*/ 3709494 h 6858000"/>
              <a:gd name="connsiteX219" fmla="*/ 1510397 w 7467600"/>
              <a:gd name="connsiteY219" fmla="*/ 3684705 h 6858000"/>
              <a:gd name="connsiteX220" fmla="*/ 1146550 w 7467600"/>
              <a:gd name="connsiteY220" fmla="*/ 3802012 h 6858000"/>
              <a:gd name="connsiteX221" fmla="*/ 698834 w 7467600"/>
              <a:gd name="connsiteY221" fmla="*/ 3952272 h 6858000"/>
              <a:gd name="connsiteX222" fmla="*/ 34256 w 7467600"/>
              <a:gd name="connsiteY222" fmla="*/ 4347603 h 6858000"/>
              <a:gd name="connsiteX223" fmla="*/ 527241 w 7467600"/>
              <a:gd name="connsiteY223" fmla="*/ 4065078 h 6858000"/>
              <a:gd name="connsiteX224" fmla="*/ 1510397 w 7467600"/>
              <a:gd name="connsiteY224" fmla="*/ 3684705 h 6858000"/>
              <a:gd name="connsiteX225" fmla="*/ 1313114 w 7467600"/>
              <a:gd name="connsiteY225" fmla="*/ 3655216 h 6858000"/>
              <a:gd name="connsiteX226" fmla="*/ 1109304 w 7467600"/>
              <a:gd name="connsiteY226" fmla="*/ 3669030 h 6858000"/>
              <a:gd name="connsiteX227" fmla="*/ 8129 w 7467600"/>
              <a:gd name="connsiteY227" fmla="*/ 4330519 h 6858000"/>
              <a:gd name="connsiteX228" fmla="*/ 687572 w 7467600"/>
              <a:gd name="connsiteY228" fmla="*/ 3925629 h 6858000"/>
              <a:gd name="connsiteX229" fmla="*/ 1138365 w 7467600"/>
              <a:gd name="connsiteY229" fmla="*/ 3774515 h 6858000"/>
              <a:gd name="connsiteX230" fmla="*/ 1505579 w 7467600"/>
              <a:gd name="connsiteY230" fmla="*/ 3655526 h 6858000"/>
              <a:gd name="connsiteX231" fmla="*/ 1313114 w 7467600"/>
              <a:gd name="connsiteY231" fmla="*/ 3655216 h 6858000"/>
              <a:gd name="connsiteX232" fmla="*/ 3655073 w 7467600"/>
              <a:gd name="connsiteY232" fmla="*/ 3650884 h 6858000"/>
              <a:gd name="connsiteX233" fmla="*/ 3989938 w 7467600"/>
              <a:gd name="connsiteY233" fmla="*/ 3991685 h 6858000"/>
              <a:gd name="connsiteX234" fmla="*/ 4393907 w 7467600"/>
              <a:gd name="connsiteY234" fmla="*/ 4261258 h 6858000"/>
              <a:gd name="connsiteX235" fmla="*/ 4648051 w 7467600"/>
              <a:gd name="connsiteY235" fmla="*/ 4374051 h 6858000"/>
              <a:gd name="connsiteX236" fmla="*/ 4383389 w 7467600"/>
              <a:gd name="connsiteY236" fmla="*/ 4184369 h 6858000"/>
              <a:gd name="connsiteX237" fmla="*/ 4165508 w 7467600"/>
              <a:gd name="connsiteY237" fmla="*/ 4035196 h 6858000"/>
              <a:gd name="connsiteX238" fmla="*/ 4068162 w 7467600"/>
              <a:gd name="connsiteY238" fmla="*/ 3953394 h 6858000"/>
              <a:gd name="connsiteX239" fmla="*/ 3981416 w 7467600"/>
              <a:gd name="connsiteY239" fmla="*/ 3880482 h 6858000"/>
              <a:gd name="connsiteX240" fmla="*/ 3800147 w 7467600"/>
              <a:gd name="connsiteY240" fmla="*/ 3749872 h 6858000"/>
              <a:gd name="connsiteX241" fmla="*/ 3655073 w 7467600"/>
              <a:gd name="connsiteY241" fmla="*/ 3650884 h 6858000"/>
              <a:gd name="connsiteX242" fmla="*/ 3670252 w 7467600"/>
              <a:gd name="connsiteY242" fmla="*/ 3622798 h 6858000"/>
              <a:gd name="connsiteX243" fmla="*/ 3817258 w 7467600"/>
              <a:gd name="connsiteY243" fmla="*/ 3723577 h 6858000"/>
              <a:gd name="connsiteX244" fmla="*/ 4000461 w 7467600"/>
              <a:gd name="connsiteY244" fmla="*/ 3855966 h 6858000"/>
              <a:gd name="connsiteX245" fmla="*/ 4088180 w 7467600"/>
              <a:gd name="connsiteY245" fmla="*/ 3929774 h 6858000"/>
              <a:gd name="connsiteX246" fmla="*/ 4184555 w 7467600"/>
              <a:gd name="connsiteY246" fmla="*/ 4010683 h 6858000"/>
              <a:gd name="connsiteX247" fmla="*/ 4399563 w 7467600"/>
              <a:gd name="connsiteY247" fmla="*/ 4158106 h 6858000"/>
              <a:gd name="connsiteX248" fmla="*/ 4684469 w 7467600"/>
              <a:gd name="connsiteY248" fmla="*/ 4364680 h 6858000"/>
              <a:gd name="connsiteX249" fmla="*/ 4690271 w 7467600"/>
              <a:gd name="connsiteY249" fmla="*/ 4370034 h 6858000"/>
              <a:gd name="connsiteX250" fmla="*/ 4136093 w 7467600"/>
              <a:gd name="connsiteY250" fmla="*/ 3858466 h 6858000"/>
              <a:gd name="connsiteX251" fmla="*/ 3670252 w 7467600"/>
              <a:gd name="connsiteY251" fmla="*/ 3622798 h 6858000"/>
              <a:gd name="connsiteX252" fmla="*/ 4440129 w 7467600"/>
              <a:gd name="connsiteY252" fmla="*/ 3448571 h 6858000"/>
              <a:gd name="connsiteX253" fmla="*/ 4856525 w 7467600"/>
              <a:gd name="connsiteY253" fmla="*/ 3915351 h 6858000"/>
              <a:gd name="connsiteX254" fmla="*/ 5059055 w 7467600"/>
              <a:gd name="connsiteY254" fmla="*/ 4108918 h 6858000"/>
              <a:gd name="connsiteX255" fmla="*/ 5290070 w 7467600"/>
              <a:gd name="connsiteY255" fmla="*/ 4263619 h 6858000"/>
              <a:gd name="connsiteX256" fmla="*/ 4834991 w 7467600"/>
              <a:gd name="connsiteY256" fmla="*/ 3830985 h 6858000"/>
              <a:gd name="connsiteX257" fmla="*/ 4440129 w 7467600"/>
              <a:gd name="connsiteY257" fmla="*/ 3448571 h 6858000"/>
              <a:gd name="connsiteX258" fmla="*/ 4441737 w 7467600"/>
              <a:gd name="connsiteY258" fmla="*/ 3399734 h 6858000"/>
              <a:gd name="connsiteX259" fmla="*/ 4431236 w 7467600"/>
              <a:gd name="connsiteY259" fmla="*/ 3400954 h 6858000"/>
              <a:gd name="connsiteX260" fmla="*/ 4557150 w 7467600"/>
              <a:gd name="connsiteY260" fmla="*/ 3510023 h 6858000"/>
              <a:gd name="connsiteX261" fmla="*/ 4856936 w 7467600"/>
              <a:gd name="connsiteY261" fmla="*/ 3809146 h 6858000"/>
              <a:gd name="connsiteX262" fmla="*/ 5111996 w 7467600"/>
              <a:gd name="connsiteY262" fmla="*/ 4065759 h 6858000"/>
              <a:gd name="connsiteX263" fmla="*/ 5388878 w 7467600"/>
              <a:gd name="connsiteY263" fmla="*/ 4300185 h 6858000"/>
              <a:gd name="connsiteX264" fmla="*/ 5425556 w 7467600"/>
              <a:gd name="connsiteY264" fmla="*/ 4308967 h 6858000"/>
              <a:gd name="connsiteX265" fmla="*/ 4943646 w 7467600"/>
              <a:gd name="connsiteY265" fmla="*/ 3822916 h 6858000"/>
              <a:gd name="connsiteX266" fmla="*/ 4594837 w 7467600"/>
              <a:gd name="connsiteY266" fmla="*/ 3532274 h 6858000"/>
              <a:gd name="connsiteX267" fmla="*/ 4441737 w 7467600"/>
              <a:gd name="connsiteY267" fmla="*/ 3399734 h 6858000"/>
              <a:gd name="connsiteX268" fmla="*/ 5425834 w 7467600"/>
              <a:gd name="connsiteY268" fmla="*/ 3162785 h 6858000"/>
              <a:gd name="connsiteX269" fmla="*/ 5401644 w 7467600"/>
              <a:gd name="connsiteY269" fmla="*/ 3617847 h 6858000"/>
              <a:gd name="connsiteX270" fmla="*/ 5467256 w 7467600"/>
              <a:gd name="connsiteY270" fmla="*/ 4175494 h 6858000"/>
              <a:gd name="connsiteX271" fmla="*/ 5448069 w 7467600"/>
              <a:gd name="connsiteY271" fmla="*/ 3567554 h 6858000"/>
              <a:gd name="connsiteX272" fmla="*/ 5425834 w 7467600"/>
              <a:gd name="connsiteY272" fmla="*/ 3162785 h 6858000"/>
              <a:gd name="connsiteX273" fmla="*/ 1318687 w 7467600"/>
              <a:gd name="connsiteY273" fmla="*/ 3113840 h 6858000"/>
              <a:gd name="connsiteX274" fmla="*/ 1066793 w 7467600"/>
              <a:gd name="connsiteY274" fmla="*/ 3212171 h 6858000"/>
              <a:gd name="connsiteX275" fmla="*/ 993319 w 7467600"/>
              <a:gd name="connsiteY275" fmla="*/ 3247648 h 6858000"/>
              <a:gd name="connsiteX276" fmla="*/ 853081 w 7467600"/>
              <a:gd name="connsiteY276" fmla="*/ 3312410 h 6858000"/>
              <a:gd name="connsiteX277" fmla="*/ 805957 w 7467600"/>
              <a:gd name="connsiteY277" fmla="*/ 3330443 h 6858000"/>
              <a:gd name="connsiteX278" fmla="*/ 1318687 w 7467600"/>
              <a:gd name="connsiteY278" fmla="*/ 3113840 h 6858000"/>
              <a:gd name="connsiteX279" fmla="*/ 5453702 w 7467600"/>
              <a:gd name="connsiteY279" fmla="*/ 3090882 h 6858000"/>
              <a:gd name="connsiteX280" fmla="*/ 5480135 w 7467600"/>
              <a:gd name="connsiteY280" fmla="*/ 3565802 h 6858000"/>
              <a:gd name="connsiteX281" fmla="*/ 5499023 w 7467600"/>
              <a:gd name="connsiteY281" fmla="*/ 4166310 h 6858000"/>
              <a:gd name="connsiteX282" fmla="*/ 5547022 w 7467600"/>
              <a:gd name="connsiteY282" fmla="*/ 3607838 h 6858000"/>
              <a:gd name="connsiteX283" fmla="*/ 5515964 w 7467600"/>
              <a:gd name="connsiteY283" fmla="*/ 3378541 h 6858000"/>
              <a:gd name="connsiteX284" fmla="*/ 5453702 w 7467600"/>
              <a:gd name="connsiteY284" fmla="*/ 3090882 h 6858000"/>
              <a:gd name="connsiteX285" fmla="*/ 1238695 w 7467600"/>
              <a:gd name="connsiteY285" fmla="*/ 3076820 h 6858000"/>
              <a:gd name="connsiteX286" fmla="*/ 716371 w 7467600"/>
              <a:gd name="connsiteY286" fmla="*/ 3293249 h 6858000"/>
              <a:gd name="connsiteX287" fmla="*/ 579522 w 7467600"/>
              <a:gd name="connsiteY287" fmla="*/ 3371759 h 6858000"/>
              <a:gd name="connsiteX288" fmla="*/ 600288 w 7467600"/>
              <a:gd name="connsiteY288" fmla="*/ 3365555 h 6858000"/>
              <a:gd name="connsiteX289" fmla="*/ 840692 w 7467600"/>
              <a:gd name="connsiteY289" fmla="*/ 3284921 h 6858000"/>
              <a:gd name="connsiteX290" fmla="*/ 979248 w 7467600"/>
              <a:gd name="connsiteY290" fmla="*/ 3221003 h 6858000"/>
              <a:gd name="connsiteX291" fmla="*/ 1053282 w 7467600"/>
              <a:gd name="connsiteY291" fmla="*/ 3185247 h 6858000"/>
              <a:gd name="connsiteX292" fmla="*/ 1320603 w 7467600"/>
              <a:gd name="connsiteY292" fmla="*/ 3081281 h 6858000"/>
              <a:gd name="connsiteX293" fmla="*/ 1238695 w 7467600"/>
              <a:gd name="connsiteY293" fmla="*/ 3076820 h 6858000"/>
              <a:gd name="connsiteX294" fmla="*/ 5425627 w 7467600"/>
              <a:gd name="connsiteY294" fmla="*/ 2954192 h 6858000"/>
              <a:gd name="connsiteX295" fmla="*/ 5470770 w 7467600"/>
              <a:gd name="connsiteY295" fmla="*/ 3005435 h 6858000"/>
              <a:gd name="connsiteX296" fmla="*/ 5519779 w 7467600"/>
              <a:gd name="connsiteY296" fmla="*/ 4359223 h 6858000"/>
              <a:gd name="connsiteX297" fmla="*/ 5520293 w 7467600"/>
              <a:gd name="connsiteY297" fmla="*/ 4360602 h 6858000"/>
              <a:gd name="connsiteX298" fmla="*/ 5767221 w 7467600"/>
              <a:gd name="connsiteY298" fmla="*/ 4665564 h 6858000"/>
              <a:gd name="connsiteX299" fmla="*/ 6937169 w 7467600"/>
              <a:gd name="connsiteY299" fmla="*/ 4815941 h 6858000"/>
              <a:gd name="connsiteX300" fmla="*/ 6953922 w 7467600"/>
              <a:gd name="connsiteY300" fmla="*/ 4890068 h 6858000"/>
              <a:gd name="connsiteX301" fmla="*/ 6071359 w 7467600"/>
              <a:gd name="connsiteY301" fmla="*/ 4770770 h 6858000"/>
              <a:gd name="connsiteX302" fmla="*/ 6038839 w 7467600"/>
              <a:gd name="connsiteY302" fmla="*/ 4764474 h 6858000"/>
              <a:gd name="connsiteX303" fmla="*/ 6038706 w 7467600"/>
              <a:gd name="connsiteY303" fmla="*/ 4763847 h 6858000"/>
              <a:gd name="connsiteX304" fmla="*/ 6037784 w 7467600"/>
              <a:gd name="connsiteY304" fmla="*/ 4764270 h 6858000"/>
              <a:gd name="connsiteX305" fmla="*/ 6038839 w 7467600"/>
              <a:gd name="connsiteY305" fmla="*/ 4764474 h 6858000"/>
              <a:gd name="connsiteX306" fmla="*/ 6040338 w 7467600"/>
              <a:gd name="connsiteY306" fmla="*/ 4771418 h 6858000"/>
              <a:gd name="connsiteX307" fmla="*/ 6024488 w 7467600"/>
              <a:gd name="connsiteY307" fmla="*/ 4809903 h 6858000"/>
              <a:gd name="connsiteX308" fmla="*/ 5599771 w 7467600"/>
              <a:gd name="connsiteY308" fmla="*/ 5509652 h 6858000"/>
              <a:gd name="connsiteX309" fmla="*/ 5548843 w 7467600"/>
              <a:gd name="connsiteY309" fmla="*/ 5563845 h 6858000"/>
              <a:gd name="connsiteX310" fmla="*/ 5940952 w 7467600"/>
              <a:gd name="connsiteY310" fmla="*/ 6250028 h 6858000"/>
              <a:gd name="connsiteX311" fmla="*/ 6043441 w 7467600"/>
              <a:gd name="connsiteY311" fmla="*/ 6665847 h 6858000"/>
              <a:gd name="connsiteX312" fmla="*/ 6093432 w 7467600"/>
              <a:gd name="connsiteY312" fmla="*/ 6858000 h 6858000"/>
              <a:gd name="connsiteX313" fmla="*/ 6034344 w 7467600"/>
              <a:gd name="connsiteY313" fmla="*/ 6858000 h 6858000"/>
              <a:gd name="connsiteX314" fmla="*/ 6026679 w 7467600"/>
              <a:gd name="connsiteY314" fmla="*/ 6836959 h 6858000"/>
              <a:gd name="connsiteX315" fmla="*/ 5800441 w 7467600"/>
              <a:gd name="connsiteY315" fmla="*/ 6335286 h 6858000"/>
              <a:gd name="connsiteX316" fmla="*/ 5526562 w 7467600"/>
              <a:gd name="connsiteY316" fmla="*/ 5705388 h 6858000"/>
              <a:gd name="connsiteX317" fmla="*/ 5519640 w 7467600"/>
              <a:gd name="connsiteY317" fmla="*/ 5683774 h 6858000"/>
              <a:gd name="connsiteX318" fmla="*/ 5844559 w 7467600"/>
              <a:gd name="connsiteY318" fmla="*/ 6553349 h 6858000"/>
              <a:gd name="connsiteX319" fmla="*/ 5975994 w 7467600"/>
              <a:gd name="connsiteY319" fmla="*/ 6858000 h 6858000"/>
              <a:gd name="connsiteX320" fmla="*/ 5898547 w 7467600"/>
              <a:gd name="connsiteY320" fmla="*/ 6858000 h 6858000"/>
              <a:gd name="connsiteX321" fmla="*/ 5682041 w 7467600"/>
              <a:gd name="connsiteY321" fmla="*/ 6355860 h 6858000"/>
              <a:gd name="connsiteX322" fmla="*/ 5461758 w 7467600"/>
              <a:gd name="connsiteY322" fmla="*/ 5820220 h 6858000"/>
              <a:gd name="connsiteX323" fmla="*/ 5237282 w 7467600"/>
              <a:gd name="connsiteY323" fmla="*/ 6579086 h 6858000"/>
              <a:gd name="connsiteX324" fmla="*/ 5115009 w 7467600"/>
              <a:gd name="connsiteY324" fmla="*/ 6858000 h 6858000"/>
              <a:gd name="connsiteX325" fmla="*/ 5028074 w 7467600"/>
              <a:gd name="connsiteY325" fmla="*/ 6858000 h 6858000"/>
              <a:gd name="connsiteX326" fmla="*/ 5079508 w 7467600"/>
              <a:gd name="connsiteY326" fmla="*/ 6749074 h 6858000"/>
              <a:gd name="connsiteX327" fmla="*/ 5371846 w 7467600"/>
              <a:gd name="connsiteY327" fmla="*/ 5924413 h 6858000"/>
              <a:gd name="connsiteX328" fmla="*/ 5270512 w 7467600"/>
              <a:gd name="connsiteY328" fmla="*/ 6138975 h 6858000"/>
              <a:gd name="connsiteX329" fmla="*/ 5062409 w 7467600"/>
              <a:gd name="connsiteY329" fmla="*/ 6653544 h 6858000"/>
              <a:gd name="connsiteX330" fmla="*/ 5036628 w 7467600"/>
              <a:gd name="connsiteY330" fmla="*/ 6754247 h 6858000"/>
              <a:gd name="connsiteX331" fmla="*/ 5009112 w 7467600"/>
              <a:gd name="connsiteY331" fmla="*/ 6858000 h 6858000"/>
              <a:gd name="connsiteX332" fmla="*/ 4976679 w 7467600"/>
              <a:gd name="connsiteY332" fmla="*/ 6858000 h 6858000"/>
              <a:gd name="connsiteX333" fmla="*/ 5006537 w 7467600"/>
              <a:gd name="connsiteY333" fmla="*/ 6747068 h 6858000"/>
              <a:gd name="connsiteX334" fmla="*/ 5032723 w 7467600"/>
              <a:gd name="connsiteY334" fmla="*/ 6644957 h 6858000"/>
              <a:gd name="connsiteX335" fmla="*/ 5242949 w 7467600"/>
              <a:gd name="connsiteY335" fmla="*/ 6125175 h 6858000"/>
              <a:gd name="connsiteX336" fmla="*/ 5286321 w 7467600"/>
              <a:gd name="connsiteY336" fmla="*/ 6033555 h 6858000"/>
              <a:gd name="connsiteX337" fmla="*/ 5008210 w 7467600"/>
              <a:gd name="connsiteY337" fmla="*/ 6649194 h 6858000"/>
              <a:gd name="connsiteX338" fmla="*/ 4986321 w 7467600"/>
              <a:gd name="connsiteY338" fmla="*/ 6765687 h 6858000"/>
              <a:gd name="connsiteX339" fmla="*/ 4973474 w 7467600"/>
              <a:gd name="connsiteY339" fmla="*/ 6858000 h 6858000"/>
              <a:gd name="connsiteX340" fmla="*/ 4907178 w 7467600"/>
              <a:gd name="connsiteY340" fmla="*/ 6858000 h 6858000"/>
              <a:gd name="connsiteX341" fmla="*/ 4910810 w 7467600"/>
              <a:gd name="connsiteY341" fmla="*/ 6829660 h 6858000"/>
              <a:gd name="connsiteX342" fmla="*/ 4987461 w 7467600"/>
              <a:gd name="connsiteY342" fmla="*/ 6432994 h 6858000"/>
              <a:gd name="connsiteX343" fmla="*/ 5179262 w 7467600"/>
              <a:gd name="connsiteY343" fmla="*/ 6035044 h 6858000"/>
              <a:gd name="connsiteX344" fmla="*/ 4689678 w 7467600"/>
              <a:gd name="connsiteY344" fmla="*/ 6440241 h 6858000"/>
              <a:gd name="connsiteX345" fmla="*/ 4477543 w 7467600"/>
              <a:gd name="connsiteY345" fmla="*/ 6674836 h 6858000"/>
              <a:gd name="connsiteX346" fmla="*/ 4329957 w 7467600"/>
              <a:gd name="connsiteY346" fmla="*/ 6858000 h 6858000"/>
              <a:gd name="connsiteX347" fmla="*/ 4218595 w 7467600"/>
              <a:gd name="connsiteY347" fmla="*/ 6858000 h 6858000"/>
              <a:gd name="connsiteX348" fmla="*/ 4368888 w 7467600"/>
              <a:gd name="connsiteY348" fmla="*/ 6668412 h 6858000"/>
              <a:gd name="connsiteX349" fmla="*/ 4563091 w 7467600"/>
              <a:gd name="connsiteY349" fmla="*/ 6442508 h 6858000"/>
              <a:gd name="connsiteX350" fmla="*/ 5387324 w 7467600"/>
              <a:gd name="connsiteY350" fmla="*/ 5705830 h 6858000"/>
              <a:gd name="connsiteX351" fmla="*/ 5073620 w 7467600"/>
              <a:gd name="connsiteY351" fmla="*/ 5955437 h 6858000"/>
              <a:gd name="connsiteX352" fmla="*/ 4689789 w 7467600"/>
              <a:gd name="connsiteY352" fmla="*/ 6268382 h 6858000"/>
              <a:gd name="connsiteX353" fmla="*/ 4418722 w 7467600"/>
              <a:gd name="connsiteY353" fmla="*/ 6570886 h 6858000"/>
              <a:gd name="connsiteX354" fmla="*/ 4214944 w 7467600"/>
              <a:gd name="connsiteY354" fmla="*/ 6858000 h 6858000"/>
              <a:gd name="connsiteX355" fmla="*/ 4177898 w 7467600"/>
              <a:gd name="connsiteY355" fmla="*/ 6858000 h 6858000"/>
              <a:gd name="connsiteX356" fmla="*/ 4391597 w 7467600"/>
              <a:gd name="connsiteY356" fmla="*/ 6556370 h 6858000"/>
              <a:gd name="connsiteX357" fmla="*/ 4668889 w 7467600"/>
              <a:gd name="connsiteY357" fmla="*/ 6246399 h 6858000"/>
              <a:gd name="connsiteX358" fmla="*/ 5055427 w 7467600"/>
              <a:gd name="connsiteY358" fmla="*/ 5931476 h 6858000"/>
              <a:gd name="connsiteX359" fmla="*/ 5371814 w 7467600"/>
              <a:gd name="connsiteY359" fmla="*/ 5678975 h 6858000"/>
              <a:gd name="connsiteX360" fmla="*/ 4987918 w 7467600"/>
              <a:gd name="connsiteY360" fmla="*/ 5838701 h 6858000"/>
              <a:gd name="connsiteX361" fmla="*/ 4317146 w 7467600"/>
              <a:gd name="connsiteY361" fmla="*/ 6587716 h 6858000"/>
              <a:gd name="connsiteX362" fmla="*/ 4171627 w 7467600"/>
              <a:gd name="connsiteY362" fmla="*/ 6858000 h 6858000"/>
              <a:gd name="connsiteX363" fmla="*/ 4081585 w 7467600"/>
              <a:gd name="connsiteY363" fmla="*/ 6858000 h 6858000"/>
              <a:gd name="connsiteX364" fmla="*/ 4238603 w 7467600"/>
              <a:gd name="connsiteY364" fmla="*/ 6559341 h 6858000"/>
              <a:gd name="connsiteX365" fmla="*/ 4778333 w 7467600"/>
              <a:gd name="connsiteY365" fmla="*/ 5873626 h 6858000"/>
              <a:gd name="connsiteX366" fmla="*/ 5414185 w 7467600"/>
              <a:gd name="connsiteY366" fmla="*/ 5573882 h 6858000"/>
              <a:gd name="connsiteX367" fmla="*/ 5959648 w 7467600"/>
              <a:gd name="connsiteY367" fmla="*/ 4760797 h 6858000"/>
              <a:gd name="connsiteX368" fmla="*/ 5355019 w 7467600"/>
              <a:gd name="connsiteY368" fmla="*/ 4734672 h 6858000"/>
              <a:gd name="connsiteX369" fmla="*/ 5083565 w 7467600"/>
              <a:gd name="connsiteY369" fmla="*/ 5179121 h 6858000"/>
              <a:gd name="connsiteX370" fmla="*/ 4713577 w 7467600"/>
              <a:gd name="connsiteY370" fmla="*/ 5616803 h 6858000"/>
              <a:gd name="connsiteX371" fmla="*/ 3989559 w 7467600"/>
              <a:gd name="connsiteY371" fmla="*/ 6145945 h 6858000"/>
              <a:gd name="connsiteX372" fmla="*/ 3939824 w 7467600"/>
              <a:gd name="connsiteY372" fmla="*/ 6066900 h 6858000"/>
              <a:gd name="connsiteX373" fmla="*/ 4584537 w 7467600"/>
              <a:gd name="connsiteY373" fmla="*/ 5324826 h 6858000"/>
              <a:gd name="connsiteX374" fmla="*/ 5037105 w 7467600"/>
              <a:gd name="connsiteY374" fmla="*/ 5088765 h 6858000"/>
              <a:gd name="connsiteX375" fmla="*/ 5039930 w 7467600"/>
              <a:gd name="connsiteY375" fmla="*/ 5089585 h 6858000"/>
              <a:gd name="connsiteX376" fmla="*/ 5263764 w 7467600"/>
              <a:gd name="connsiteY376" fmla="*/ 4735525 h 6858000"/>
              <a:gd name="connsiteX377" fmla="*/ 4086300 w 7467600"/>
              <a:gd name="connsiteY377" fmla="*/ 4884599 h 6858000"/>
              <a:gd name="connsiteX378" fmla="*/ 4085485 w 7467600"/>
              <a:gd name="connsiteY378" fmla="*/ 4899070 h 6858000"/>
              <a:gd name="connsiteX379" fmla="*/ 3871915 w 7467600"/>
              <a:gd name="connsiteY379" fmla="*/ 5253645 h 6858000"/>
              <a:gd name="connsiteX380" fmla="*/ 3799374 w 7467600"/>
              <a:gd name="connsiteY380" fmla="*/ 5466127 h 6858000"/>
              <a:gd name="connsiteX381" fmla="*/ 3498850 w 7467600"/>
              <a:gd name="connsiteY381" fmla="*/ 6661888 h 6858000"/>
              <a:gd name="connsiteX382" fmla="*/ 3399216 w 7467600"/>
              <a:gd name="connsiteY382" fmla="*/ 6858000 h 6858000"/>
              <a:gd name="connsiteX383" fmla="*/ 3303688 w 7467600"/>
              <a:gd name="connsiteY383" fmla="*/ 6858000 h 6858000"/>
              <a:gd name="connsiteX384" fmla="*/ 3391774 w 7467600"/>
              <a:gd name="connsiteY384" fmla="*/ 6697181 h 6858000"/>
              <a:gd name="connsiteX385" fmla="*/ 3735540 w 7467600"/>
              <a:gd name="connsiteY385" fmla="*/ 5546923 h 6858000"/>
              <a:gd name="connsiteX386" fmla="*/ 3729438 w 7467600"/>
              <a:gd name="connsiteY386" fmla="*/ 5569058 h 6858000"/>
              <a:gd name="connsiteX387" fmla="*/ 3707782 w 7467600"/>
              <a:gd name="connsiteY387" fmla="*/ 5644908 h 6858000"/>
              <a:gd name="connsiteX388" fmla="*/ 3583827 w 7467600"/>
              <a:gd name="connsiteY388" fmla="*/ 6039215 h 6858000"/>
              <a:gd name="connsiteX389" fmla="*/ 3547861 w 7467600"/>
              <a:gd name="connsiteY389" fmla="*/ 6129609 h 6858000"/>
              <a:gd name="connsiteX390" fmla="*/ 3490905 w 7467600"/>
              <a:gd name="connsiteY390" fmla="*/ 6277660 h 6858000"/>
              <a:gd name="connsiteX391" fmla="*/ 3455859 w 7467600"/>
              <a:gd name="connsiteY391" fmla="*/ 6391301 h 6858000"/>
              <a:gd name="connsiteX392" fmla="*/ 3429112 w 7467600"/>
              <a:gd name="connsiteY392" fmla="*/ 6479469 h 6858000"/>
              <a:gd name="connsiteX393" fmla="*/ 3304862 w 7467600"/>
              <a:gd name="connsiteY393" fmla="*/ 6796476 h 6858000"/>
              <a:gd name="connsiteX394" fmla="*/ 3276071 w 7467600"/>
              <a:gd name="connsiteY394" fmla="*/ 6858000 h 6858000"/>
              <a:gd name="connsiteX395" fmla="*/ 3240805 w 7467600"/>
              <a:gd name="connsiteY395" fmla="*/ 6858000 h 6858000"/>
              <a:gd name="connsiteX396" fmla="*/ 3275917 w 7467600"/>
              <a:gd name="connsiteY396" fmla="*/ 6783192 h 6858000"/>
              <a:gd name="connsiteX397" fmla="*/ 3399358 w 7467600"/>
              <a:gd name="connsiteY397" fmla="*/ 6469011 h 6858000"/>
              <a:gd name="connsiteX398" fmla="*/ 3425650 w 7467600"/>
              <a:gd name="connsiteY398" fmla="*/ 6381333 h 6858000"/>
              <a:gd name="connsiteX399" fmla="*/ 3460661 w 7467600"/>
              <a:gd name="connsiteY399" fmla="*/ 6266763 h 6858000"/>
              <a:gd name="connsiteX400" fmla="*/ 3518021 w 7467600"/>
              <a:gd name="connsiteY400" fmla="*/ 6117298 h 6858000"/>
              <a:gd name="connsiteX401" fmla="*/ 3554035 w 7467600"/>
              <a:gd name="connsiteY401" fmla="*/ 6027832 h 6858000"/>
              <a:gd name="connsiteX402" fmla="*/ 3677174 w 7467600"/>
              <a:gd name="connsiteY402" fmla="*/ 5636351 h 6858000"/>
              <a:gd name="connsiteX403" fmla="*/ 3698819 w 7467600"/>
              <a:gd name="connsiteY403" fmla="*/ 5560503 h 6858000"/>
              <a:gd name="connsiteX404" fmla="*/ 3702094 w 7467600"/>
              <a:gd name="connsiteY404" fmla="*/ 5549194 h 6858000"/>
              <a:gd name="connsiteX405" fmla="*/ 3398355 w 7467600"/>
              <a:gd name="connsiteY405" fmla="*/ 6094603 h 6858000"/>
              <a:gd name="connsiteX406" fmla="*/ 3193941 w 7467600"/>
              <a:gd name="connsiteY406" fmla="*/ 6798775 h 6858000"/>
              <a:gd name="connsiteX407" fmla="*/ 3184140 w 7467600"/>
              <a:gd name="connsiteY407" fmla="*/ 6858000 h 6858000"/>
              <a:gd name="connsiteX408" fmla="*/ 3099978 w 7467600"/>
              <a:gd name="connsiteY408" fmla="*/ 6858000 h 6858000"/>
              <a:gd name="connsiteX409" fmla="*/ 3101556 w 7467600"/>
              <a:gd name="connsiteY409" fmla="*/ 6843337 h 6858000"/>
              <a:gd name="connsiteX410" fmla="*/ 3370162 w 7467600"/>
              <a:gd name="connsiteY410" fmla="*/ 5785550 h 6858000"/>
              <a:gd name="connsiteX411" fmla="*/ 3746477 w 7467600"/>
              <a:gd name="connsiteY411" fmla="*/ 5377889 h 6858000"/>
              <a:gd name="connsiteX412" fmla="*/ 3863399 w 7467600"/>
              <a:gd name="connsiteY412" fmla="*/ 5087257 h 6858000"/>
              <a:gd name="connsiteX413" fmla="*/ 3968712 w 7467600"/>
              <a:gd name="connsiteY413" fmla="*/ 4913989 h 6858000"/>
              <a:gd name="connsiteX414" fmla="*/ 2792390 w 7467600"/>
              <a:gd name="connsiteY414" fmla="*/ 5382974 h 6858000"/>
              <a:gd name="connsiteX415" fmla="*/ 2714982 w 7467600"/>
              <a:gd name="connsiteY415" fmla="*/ 5427051 h 6858000"/>
              <a:gd name="connsiteX416" fmla="*/ 2813361 w 7467600"/>
              <a:gd name="connsiteY416" fmla="*/ 6023912 h 6858000"/>
              <a:gd name="connsiteX417" fmla="*/ 2688430 w 7467600"/>
              <a:gd name="connsiteY417" fmla="*/ 6801564 h 6858000"/>
              <a:gd name="connsiteX418" fmla="*/ 2629626 w 7467600"/>
              <a:gd name="connsiteY418" fmla="*/ 6763394 h 6858000"/>
              <a:gd name="connsiteX419" fmla="*/ 2565328 w 7467600"/>
              <a:gd name="connsiteY419" fmla="*/ 5516399 h 6858000"/>
              <a:gd name="connsiteX420" fmla="*/ 1922999 w 7467600"/>
              <a:gd name="connsiteY420" fmla="*/ 5980343 h 6858000"/>
              <a:gd name="connsiteX421" fmla="*/ 1950261 w 7467600"/>
              <a:gd name="connsiteY421" fmla="*/ 6405858 h 6858000"/>
              <a:gd name="connsiteX422" fmla="*/ 2365554 w 7467600"/>
              <a:gd name="connsiteY422" fmla="*/ 6759107 h 6858000"/>
              <a:gd name="connsiteX423" fmla="*/ 2424142 w 7467600"/>
              <a:gd name="connsiteY423" fmla="*/ 6858000 h 6858000"/>
              <a:gd name="connsiteX424" fmla="*/ 2395994 w 7467600"/>
              <a:gd name="connsiteY424" fmla="*/ 6858000 h 6858000"/>
              <a:gd name="connsiteX425" fmla="*/ 2392863 w 7467600"/>
              <a:gd name="connsiteY425" fmla="*/ 6852964 h 6858000"/>
              <a:gd name="connsiteX426" fmla="*/ 2017589 w 7467600"/>
              <a:gd name="connsiteY426" fmla="*/ 6493982 h 6858000"/>
              <a:gd name="connsiteX427" fmla="*/ 2147336 w 7467600"/>
              <a:gd name="connsiteY427" fmla="*/ 6594052 h 6858000"/>
              <a:gd name="connsiteX428" fmla="*/ 2207047 w 7467600"/>
              <a:gd name="connsiteY428" fmla="*/ 6654540 h 6858000"/>
              <a:gd name="connsiteX429" fmla="*/ 2299106 w 7467600"/>
              <a:gd name="connsiteY429" fmla="*/ 6778931 h 6858000"/>
              <a:gd name="connsiteX430" fmla="*/ 2314430 w 7467600"/>
              <a:gd name="connsiteY430" fmla="*/ 6801144 h 6858000"/>
              <a:gd name="connsiteX431" fmla="*/ 2352406 w 7467600"/>
              <a:gd name="connsiteY431" fmla="*/ 6858000 h 6858000"/>
              <a:gd name="connsiteX432" fmla="*/ 2314492 w 7467600"/>
              <a:gd name="connsiteY432" fmla="*/ 6858000 h 6858000"/>
              <a:gd name="connsiteX433" fmla="*/ 2288095 w 7467600"/>
              <a:gd name="connsiteY433" fmla="*/ 6818030 h 6858000"/>
              <a:gd name="connsiteX434" fmla="*/ 2272768 w 7467600"/>
              <a:gd name="connsiteY434" fmla="*/ 6795822 h 6858000"/>
              <a:gd name="connsiteX435" fmla="*/ 2182715 w 7467600"/>
              <a:gd name="connsiteY435" fmla="*/ 6675071 h 6858000"/>
              <a:gd name="connsiteX436" fmla="*/ 2032061 w 7467600"/>
              <a:gd name="connsiteY436" fmla="*/ 6541380 h 6858000"/>
              <a:gd name="connsiteX437" fmla="*/ 2257220 w 7467600"/>
              <a:gd name="connsiteY437" fmla="*/ 6826257 h 6858000"/>
              <a:gd name="connsiteX438" fmla="*/ 2281324 w 7467600"/>
              <a:gd name="connsiteY438" fmla="*/ 6858000 h 6858000"/>
              <a:gd name="connsiteX439" fmla="*/ 2242860 w 7467600"/>
              <a:gd name="connsiteY439" fmla="*/ 6858000 h 6858000"/>
              <a:gd name="connsiteX440" fmla="*/ 2232818 w 7467600"/>
              <a:gd name="connsiteY440" fmla="*/ 6844926 h 6858000"/>
              <a:gd name="connsiteX441" fmla="*/ 1990172 w 7467600"/>
              <a:gd name="connsiteY441" fmla="*/ 6542121 h 6858000"/>
              <a:gd name="connsiteX442" fmla="*/ 2124090 w 7467600"/>
              <a:gd name="connsiteY442" fmla="*/ 6761017 h 6858000"/>
              <a:gd name="connsiteX443" fmla="*/ 2200380 w 7467600"/>
              <a:gd name="connsiteY443" fmla="*/ 6858000 h 6858000"/>
              <a:gd name="connsiteX444" fmla="*/ 2147507 w 7467600"/>
              <a:gd name="connsiteY444" fmla="*/ 6858000 h 6858000"/>
              <a:gd name="connsiteX445" fmla="*/ 2070668 w 7467600"/>
              <a:gd name="connsiteY445" fmla="*/ 6761520 h 6858000"/>
              <a:gd name="connsiteX446" fmla="*/ 1975142 w 7467600"/>
              <a:gd name="connsiteY446" fmla="*/ 6585570 h 6858000"/>
              <a:gd name="connsiteX447" fmla="*/ 2050035 w 7467600"/>
              <a:gd name="connsiteY447" fmla="*/ 6813345 h 6858000"/>
              <a:gd name="connsiteX448" fmla="*/ 2063025 w 7467600"/>
              <a:gd name="connsiteY448" fmla="*/ 6858000 h 6858000"/>
              <a:gd name="connsiteX449" fmla="*/ 2021675 w 7467600"/>
              <a:gd name="connsiteY449" fmla="*/ 6858000 h 6858000"/>
              <a:gd name="connsiteX450" fmla="*/ 2019308 w 7467600"/>
              <a:gd name="connsiteY450" fmla="*/ 6847118 h 6858000"/>
              <a:gd name="connsiteX451" fmla="*/ 1938835 w 7467600"/>
              <a:gd name="connsiteY451" fmla="*/ 6551160 h 6858000"/>
              <a:gd name="connsiteX452" fmla="*/ 1953230 w 7467600"/>
              <a:gd name="connsiteY452" fmla="*/ 6759699 h 6858000"/>
              <a:gd name="connsiteX453" fmla="*/ 1956763 w 7467600"/>
              <a:gd name="connsiteY453" fmla="*/ 6778191 h 6858000"/>
              <a:gd name="connsiteX454" fmla="*/ 1967925 w 7467600"/>
              <a:gd name="connsiteY454" fmla="*/ 6858000 h 6858000"/>
              <a:gd name="connsiteX455" fmla="*/ 1936622 w 7467600"/>
              <a:gd name="connsiteY455" fmla="*/ 6858000 h 6858000"/>
              <a:gd name="connsiteX456" fmla="*/ 1926261 w 7467600"/>
              <a:gd name="connsiteY456" fmla="*/ 6784064 h 6858000"/>
              <a:gd name="connsiteX457" fmla="*/ 1922724 w 7467600"/>
              <a:gd name="connsiteY457" fmla="*/ 6765577 h 6858000"/>
              <a:gd name="connsiteX458" fmla="*/ 1904650 w 7467600"/>
              <a:gd name="connsiteY458" fmla="*/ 6639616 h 6858000"/>
              <a:gd name="connsiteX459" fmla="*/ 1885273 w 7467600"/>
              <a:gd name="connsiteY459" fmla="*/ 6858000 h 6858000"/>
              <a:gd name="connsiteX460" fmla="*/ 1854363 w 7467600"/>
              <a:gd name="connsiteY460" fmla="*/ 6858000 h 6858000"/>
              <a:gd name="connsiteX461" fmla="*/ 1880391 w 7467600"/>
              <a:gd name="connsiteY461" fmla="*/ 6603796 h 6858000"/>
              <a:gd name="connsiteX462" fmla="*/ 1818273 w 7467600"/>
              <a:gd name="connsiteY462" fmla="*/ 6715729 h 6858000"/>
              <a:gd name="connsiteX463" fmla="*/ 1794691 w 7467600"/>
              <a:gd name="connsiteY463" fmla="*/ 6843239 h 6858000"/>
              <a:gd name="connsiteX464" fmla="*/ 1794914 w 7467600"/>
              <a:gd name="connsiteY464" fmla="*/ 6858000 h 6858000"/>
              <a:gd name="connsiteX465" fmla="*/ 1746128 w 7467600"/>
              <a:gd name="connsiteY465" fmla="*/ 6858000 h 6858000"/>
              <a:gd name="connsiteX466" fmla="*/ 1753934 w 7467600"/>
              <a:gd name="connsiteY466" fmla="*/ 6724796 h 6858000"/>
              <a:gd name="connsiteX467" fmla="*/ 1792053 w 7467600"/>
              <a:gd name="connsiteY467" fmla="*/ 6572396 h 6858000"/>
              <a:gd name="connsiteX468" fmla="*/ 1862248 w 7467600"/>
              <a:gd name="connsiteY468" fmla="*/ 6266397 h 6858000"/>
              <a:gd name="connsiteX469" fmla="*/ 1862250 w 7467600"/>
              <a:gd name="connsiteY469" fmla="*/ 6033531 h 6858000"/>
              <a:gd name="connsiteX470" fmla="*/ 1211999 w 7467600"/>
              <a:gd name="connsiteY470" fmla="*/ 6683610 h 6858000"/>
              <a:gd name="connsiteX471" fmla="*/ 1213266 w 7467600"/>
              <a:gd name="connsiteY471" fmla="*/ 6691947 h 6858000"/>
              <a:gd name="connsiteX472" fmla="*/ 1203370 w 7467600"/>
              <a:gd name="connsiteY472" fmla="*/ 6850676 h 6858000"/>
              <a:gd name="connsiteX473" fmla="*/ 1203671 w 7467600"/>
              <a:gd name="connsiteY473" fmla="*/ 6858000 h 6858000"/>
              <a:gd name="connsiteX474" fmla="*/ 1143180 w 7467600"/>
              <a:gd name="connsiteY474" fmla="*/ 6858000 h 6858000"/>
              <a:gd name="connsiteX475" fmla="*/ 1142176 w 7467600"/>
              <a:gd name="connsiteY475" fmla="*/ 6766045 h 6858000"/>
              <a:gd name="connsiteX476" fmla="*/ 1067484 w 7467600"/>
              <a:gd name="connsiteY476" fmla="*/ 6858000 h 6858000"/>
              <a:gd name="connsiteX477" fmla="*/ 953928 w 7467600"/>
              <a:gd name="connsiteY477" fmla="*/ 6858000 h 6858000"/>
              <a:gd name="connsiteX478" fmla="*/ 959715 w 7467600"/>
              <a:gd name="connsiteY478" fmla="*/ 6850185 h 6858000"/>
              <a:gd name="connsiteX479" fmla="*/ 1483788 w 7467600"/>
              <a:gd name="connsiteY479" fmla="*/ 6259174 h 6858000"/>
              <a:gd name="connsiteX480" fmla="*/ 1100671 w 7467600"/>
              <a:gd name="connsiteY480" fmla="*/ 6252137 h 6858000"/>
              <a:gd name="connsiteX481" fmla="*/ 1090144 w 7467600"/>
              <a:gd name="connsiteY481" fmla="*/ 6256748 h 6858000"/>
              <a:gd name="connsiteX482" fmla="*/ 1095872 w 7467600"/>
              <a:gd name="connsiteY482" fmla="*/ 6271892 h 6858000"/>
              <a:gd name="connsiteX483" fmla="*/ 262785 w 7467600"/>
              <a:gd name="connsiteY483" fmla="*/ 6845450 h 6858000"/>
              <a:gd name="connsiteX484" fmla="*/ 209968 w 7467600"/>
              <a:gd name="connsiteY484" fmla="*/ 6770713 h 6858000"/>
              <a:gd name="connsiteX485" fmla="*/ 873460 w 7467600"/>
              <a:gd name="connsiteY485" fmla="*/ 6253768 h 6858000"/>
              <a:gd name="connsiteX486" fmla="*/ 192686 w 7467600"/>
              <a:gd name="connsiteY486" fmla="*/ 5849257 h 6858000"/>
              <a:gd name="connsiteX487" fmla="*/ 4696 w 7467600"/>
              <a:gd name="connsiteY487" fmla="*/ 5697668 h 6858000"/>
              <a:gd name="connsiteX488" fmla="*/ 0 w 7467600"/>
              <a:gd name="connsiteY488" fmla="*/ 5689984 h 6858000"/>
              <a:gd name="connsiteX489" fmla="*/ 0 w 7467600"/>
              <a:gd name="connsiteY489" fmla="*/ 5513472 h 6858000"/>
              <a:gd name="connsiteX490" fmla="*/ 174101 w 7467600"/>
              <a:gd name="connsiteY490" fmla="*/ 5620277 h 6858000"/>
              <a:gd name="connsiteX491" fmla="*/ 891800 w 7467600"/>
              <a:gd name="connsiteY491" fmla="*/ 6036935 h 6858000"/>
              <a:gd name="connsiteX492" fmla="*/ 1072219 w 7467600"/>
              <a:gd name="connsiteY492" fmla="*/ 6169443 h 6858000"/>
              <a:gd name="connsiteX493" fmla="*/ 1074117 w 7467600"/>
              <a:gd name="connsiteY493" fmla="*/ 6170301 h 6858000"/>
              <a:gd name="connsiteX494" fmla="*/ 1083114 w 7467600"/>
              <a:gd name="connsiteY494" fmla="*/ 6174131 h 6858000"/>
              <a:gd name="connsiteX495" fmla="*/ 1543010 w 7467600"/>
              <a:gd name="connsiteY495" fmla="*/ 6191140 h 6858000"/>
              <a:gd name="connsiteX496" fmla="*/ 1551080 w 7467600"/>
              <a:gd name="connsiteY496" fmla="*/ 6195006 h 6858000"/>
              <a:gd name="connsiteX497" fmla="*/ 2345443 w 7467600"/>
              <a:gd name="connsiteY497" fmla="*/ 5549882 h 6858000"/>
              <a:gd name="connsiteX498" fmla="*/ 1721499 w 7467600"/>
              <a:gd name="connsiteY498" fmla="*/ 5599969 h 6858000"/>
              <a:gd name="connsiteX499" fmla="*/ 767716 w 7467600"/>
              <a:gd name="connsiteY499" fmla="*/ 5472768 h 6858000"/>
              <a:gd name="connsiteX500" fmla="*/ 722147 w 7467600"/>
              <a:gd name="connsiteY500" fmla="*/ 5393091 h 6858000"/>
              <a:gd name="connsiteX501" fmla="*/ 1485552 w 7467600"/>
              <a:gd name="connsiteY501" fmla="*/ 5313202 h 6858000"/>
              <a:gd name="connsiteX502" fmla="*/ 2143004 w 7467600"/>
              <a:gd name="connsiteY502" fmla="*/ 5402420 h 6858000"/>
              <a:gd name="connsiteX503" fmla="*/ 1933391 w 7467600"/>
              <a:gd name="connsiteY503" fmla="*/ 5156971 h 6858000"/>
              <a:gd name="connsiteX504" fmla="*/ 1827118 w 7467600"/>
              <a:gd name="connsiteY504" fmla="*/ 4968410 h 6858000"/>
              <a:gd name="connsiteX505" fmla="*/ 1837349 w 7467600"/>
              <a:gd name="connsiteY505" fmla="*/ 4956357 h 6858000"/>
              <a:gd name="connsiteX506" fmla="*/ 2162835 w 7467600"/>
              <a:gd name="connsiteY506" fmla="*/ 5187853 h 6858000"/>
              <a:gd name="connsiteX507" fmla="*/ 2257167 w 7467600"/>
              <a:gd name="connsiteY507" fmla="*/ 5462123 h 6858000"/>
              <a:gd name="connsiteX508" fmla="*/ 2261598 w 7467600"/>
              <a:gd name="connsiteY508" fmla="*/ 5467998 h 6858000"/>
              <a:gd name="connsiteX509" fmla="*/ 2437177 w 7467600"/>
              <a:gd name="connsiteY509" fmla="*/ 5479608 h 6858000"/>
              <a:gd name="connsiteX510" fmla="*/ 2445247 w 7467600"/>
              <a:gd name="connsiteY510" fmla="*/ 5483476 h 6858000"/>
              <a:gd name="connsiteX511" fmla="*/ 2743626 w 7467600"/>
              <a:gd name="connsiteY511" fmla="*/ 5304819 h 6858000"/>
              <a:gd name="connsiteX512" fmla="*/ 3048102 w 7467600"/>
              <a:gd name="connsiteY512" fmla="*/ 5150595 h 6858000"/>
              <a:gd name="connsiteX513" fmla="*/ 1799414 w 7467600"/>
              <a:gd name="connsiteY513" fmla="*/ 4694732 h 6858000"/>
              <a:gd name="connsiteX514" fmla="*/ 1771735 w 7467600"/>
              <a:gd name="connsiteY514" fmla="*/ 4619929 h 6858000"/>
              <a:gd name="connsiteX515" fmla="*/ 3104273 w 7467600"/>
              <a:gd name="connsiteY515" fmla="*/ 5076159 h 6858000"/>
              <a:gd name="connsiteX516" fmla="*/ 3113245 w 7467600"/>
              <a:gd name="connsiteY516" fmla="*/ 5090705 h 6858000"/>
              <a:gd name="connsiteX517" fmla="*/ 3126294 w 7467600"/>
              <a:gd name="connsiteY517" fmla="*/ 5114400 h 6858000"/>
              <a:gd name="connsiteX518" fmla="*/ 3937433 w 7467600"/>
              <a:gd name="connsiteY518" fmla="*/ 4830473 h 6858000"/>
              <a:gd name="connsiteX519" fmla="*/ 3590475 w 7467600"/>
              <a:gd name="connsiteY519" fmla="*/ 4597974 h 6858000"/>
              <a:gd name="connsiteX520" fmla="*/ 3100264 w 7467600"/>
              <a:gd name="connsiteY520" fmla="*/ 4579845 h 6858000"/>
              <a:gd name="connsiteX521" fmla="*/ 2183576 w 7467600"/>
              <a:gd name="connsiteY521" fmla="*/ 4227150 h 6858000"/>
              <a:gd name="connsiteX522" fmla="*/ 2151029 w 7467600"/>
              <a:gd name="connsiteY522" fmla="*/ 4146947 h 6858000"/>
              <a:gd name="connsiteX523" fmla="*/ 3563434 w 7467600"/>
              <a:gd name="connsiteY523" fmla="*/ 4469115 h 6858000"/>
              <a:gd name="connsiteX524" fmla="*/ 3177952 w 7467600"/>
              <a:gd name="connsiteY524" fmla="*/ 3657386 h 6858000"/>
              <a:gd name="connsiteX525" fmla="*/ 3189263 w 7467600"/>
              <a:gd name="connsiteY525" fmla="*/ 3625726 h 6858000"/>
              <a:gd name="connsiteX526" fmla="*/ 3560912 w 7467600"/>
              <a:gd name="connsiteY526" fmla="*/ 4079863 h 6858000"/>
              <a:gd name="connsiteX527" fmla="*/ 3626636 w 7467600"/>
              <a:gd name="connsiteY527" fmla="*/ 4512230 h 6858000"/>
              <a:gd name="connsiteX528" fmla="*/ 3653088 w 7467600"/>
              <a:gd name="connsiteY528" fmla="*/ 4521417 h 6858000"/>
              <a:gd name="connsiteX529" fmla="*/ 3988128 w 7467600"/>
              <a:gd name="connsiteY529" fmla="*/ 4817267 h 6858000"/>
              <a:gd name="connsiteX530" fmla="*/ 4830582 w 7467600"/>
              <a:gd name="connsiteY530" fmla="*/ 4676000 h 6858000"/>
              <a:gd name="connsiteX531" fmla="*/ 4830100 w 7467600"/>
              <a:gd name="connsiteY531" fmla="*/ 4675554 h 6858000"/>
              <a:gd name="connsiteX532" fmla="*/ 4036318 w 7467600"/>
              <a:gd name="connsiteY532" fmla="*/ 4147013 h 6858000"/>
              <a:gd name="connsiteX533" fmla="*/ 3432098 w 7467600"/>
              <a:gd name="connsiteY533" fmla="*/ 3537312 h 6858000"/>
              <a:gd name="connsiteX534" fmla="*/ 3446761 w 7467600"/>
              <a:gd name="connsiteY534" fmla="*/ 3461278 h 6858000"/>
              <a:gd name="connsiteX535" fmla="*/ 4419733 w 7467600"/>
              <a:gd name="connsiteY535" fmla="*/ 3963555 h 6858000"/>
              <a:gd name="connsiteX536" fmla="*/ 4781371 w 7467600"/>
              <a:gd name="connsiteY536" fmla="*/ 4458604 h 6858000"/>
              <a:gd name="connsiteX537" fmla="*/ 4780440 w 7467600"/>
              <a:gd name="connsiteY537" fmla="*/ 4470290 h 6858000"/>
              <a:gd name="connsiteX538" fmla="*/ 4898954 w 7467600"/>
              <a:gd name="connsiteY538" fmla="*/ 4662092 h 6858000"/>
              <a:gd name="connsiteX539" fmla="*/ 4900699 w 7467600"/>
              <a:gd name="connsiteY539" fmla="*/ 4670867 h 6858000"/>
              <a:gd name="connsiteX540" fmla="*/ 5714511 w 7467600"/>
              <a:gd name="connsiteY540" fmla="*/ 4663483 h 6858000"/>
              <a:gd name="connsiteX541" fmla="*/ 5464793 w 7467600"/>
              <a:gd name="connsiteY541" fmla="*/ 4393556 h 6858000"/>
              <a:gd name="connsiteX542" fmla="*/ 5461897 w 7467600"/>
              <a:gd name="connsiteY542" fmla="*/ 4390879 h 6858000"/>
              <a:gd name="connsiteX543" fmla="*/ 4294126 w 7467600"/>
              <a:gd name="connsiteY543" fmla="*/ 3303048 h 6858000"/>
              <a:gd name="connsiteX544" fmla="*/ 4305321 w 7467600"/>
              <a:gd name="connsiteY544" fmla="*/ 3256953 h 6858000"/>
              <a:gd name="connsiteX545" fmla="*/ 4949299 w 7467600"/>
              <a:gd name="connsiteY545" fmla="*/ 3766336 h 6858000"/>
              <a:gd name="connsiteX546" fmla="*/ 5291452 w 7467600"/>
              <a:gd name="connsiteY546" fmla="*/ 4076801 h 6858000"/>
              <a:gd name="connsiteX547" fmla="*/ 5434998 w 7467600"/>
              <a:gd name="connsiteY547" fmla="*/ 4254100 h 6858000"/>
              <a:gd name="connsiteX548" fmla="*/ 5351015 w 7467600"/>
              <a:gd name="connsiteY548" fmla="*/ 3760989 h 6858000"/>
              <a:gd name="connsiteX549" fmla="*/ 5413780 w 7467600"/>
              <a:gd name="connsiteY549" fmla="*/ 2966265 h 6858000"/>
              <a:gd name="connsiteX550" fmla="*/ 5425627 w 7467600"/>
              <a:gd name="connsiteY550" fmla="*/ 2954192 h 6858000"/>
              <a:gd name="connsiteX551" fmla="*/ 6604735 w 7467600"/>
              <a:gd name="connsiteY551" fmla="*/ 2041381 h 6858000"/>
              <a:gd name="connsiteX552" fmla="*/ 7204487 w 7467600"/>
              <a:gd name="connsiteY552" fmla="*/ 2742112 h 6858000"/>
              <a:gd name="connsiteX553" fmla="*/ 7131592 w 7467600"/>
              <a:gd name="connsiteY553" fmla="*/ 2672096 h 6858000"/>
              <a:gd name="connsiteX554" fmla="*/ 6996344 w 7467600"/>
              <a:gd name="connsiteY554" fmla="*/ 2518310 h 6858000"/>
              <a:gd name="connsiteX555" fmla="*/ 6735495 w 7467600"/>
              <a:gd name="connsiteY555" fmla="*/ 2196890 h 6858000"/>
              <a:gd name="connsiteX556" fmla="*/ 6721901 w 7467600"/>
              <a:gd name="connsiteY556" fmla="*/ 2179274 h 6858000"/>
              <a:gd name="connsiteX557" fmla="*/ 6604735 w 7467600"/>
              <a:gd name="connsiteY557" fmla="*/ 2041381 h 6858000"/>
              <a:gd name="connsiteX558" fmla="*/ 6591670 w 7467600"/>
              <a:gd name="connsiteY558" fmla="*/ 1988277 h 6858000"/>
              <a:gd name="connsiteX559" fmla="*/ 6747349 w 7467600"/>
              <a:gd name="connsiteY559" fmla="*/ 2160069 h 6858000"/>
              <a:gd name="connsiteX560" fmla="*/ 6760943 w 7467600"/>
              <a:gd name="connsiteY560" fmla="*/ 2177686 h 6858000"/>
              <a:gd name="connsiteX561" fmla="*/ 7021065 w 7467600"/>
              <a:gd name="connsiteY561" fmla="*/ 2498102 h 6858000"/>
              <a:gd name="connsiteX562" fmla="*/ 7155223 w 7467600"/>
              <a:gd name="connsiteY562" fmla="*/ 2650386 h 6858000"/>
              <a:gd name="connsiteX563" fmla="*/ 7203167 w 7467600"/>
              <a:gd name="connsiteY563" fmla="*/ 2697288 h 6858000"/>
              <a:gd name="connsiteX564" fmla="*/ 6937703 w 7467600"/>
              <a:gd name="connsiteY564" fmla="*/ 2321981 h 6858000"/>
              <a:gd name="connsiteX565" fmla="*/ 6591670 w 7467600"/>
              <a:gd name="connsiteY565" fmla="*/ 1988277 h 6858000"/>
              <a:gd name="connsiteX566" fmla="*/ 5798671 w 7467600"/>
              <a:gd name="connsiteY566" fmla="*/ 1981601 h 6858000"/>
              <a:gd name="connsiteX567" fmla="*/ 5754709 w 7467600"/>
              <a:gd name="connsiteY567" fmla="*/ 2071454 h 6858000"/>
              <a:gd name="connsiteX568" fmla="*/ 5763044 w 7467600"/>
              <a:gd name="connsiteY568" fmla="*/ 2842206 h 6858000"/>
              <a:gd name="connsiteX569" fmla="*/ 5764974 w 7467600"/>
              <a:gd name="connsiteY569" fmla="*/ 2799609 h 6858000"/>
              <a:gd name="connsiteX570" fmla="*/ 5767665 w 7467600"/>
              <a:gd name="connsiteY570" fmla="*/ 2666409 h 6858000"/>
              <a:gd name="connsiteX571" fmla="*/ 5763055 w 7467600"/>
              <a:gd name="connsiteY571" fmla="*/ 2579705 h 6858000"/>
              <a:gd name="connsiteX572" fmla="*/ 5758079 w 7467600"/>
              <a:gd name="connsiteY572" fmla="*/ 2492508 h 6858000"/>
              <a:gd name="connsiteX573" fmla="*/ 5779325 w 7467600"/>
              <a:gd name="connsiteY573" fmla="*/ 2197069 h 6858000"/>
              <a:gd name="connsiteX574" fmla="*/ 5798671 w 7467600"/>
              <a:gd name="connsiteY574" fmla="*/ 1981601 h 6858000"/>
              <a:gd name="connsiteX575" fmla="*/ 5829202 w 7467600"/>
              <a:gd name="connsiteY575" fmla="*/ 1971679 h 6858000"/>
              <a:gd name="connsiteX576" fmla="*/ 5809558 w 7467600"/>
              <a:gd name="connsiteY576" fmla="*/ 2198043 h 6858000"/>
              <a:gd name="connsiteX577" fmla="*/ 5788653 w 7467600"/>
              <a:gd name="connsiteY577" fmla="*/ 2489430 h 6858000"/>
              <a:gd name="connsiteX578" fmla="*/ 5793439 w 7467600"/>
              <a:gd name="connsiteY578" fmla="*/ 2575235 h 6858000"/>
              <a:gd name="connsiteX579" fmla="*/ 5796837 w 7467600"/>
              <a:gd name="connsiteY579" fmla="*/ 2637633 h 6858000"/>
              <a:gd name="connsiteX580" fmla="*/ 5818614 w 7467600"/>
              <a:gd name="connsiteY580" fmla="*/ 2473055 h 6858000"/>
              <a:gd name="connsiteX581" fmla="*/ 5829202 w 7467600"/>
              <a:gd name="connsiteY581" fmla="*/ 1971679 h 6858000"/>
              <a:gd name="connsiteX582" fmla="*/ 5911389 w 7467600"/>
              <a:gd name="connsiteY582" fmla="*/ 1898371 h 6858000"/>
              <a:gd name="connsiteX583" fmla="*/ 6237627 w 7467600"/>
              <a:gd name="connsiteY583" fmla="*/ 2231921 h 6858000"/>
              <a:gd name="connsiteX584" fmla="*/ 5911389 w 7467600"/>
              <a:gd name="connsiteY584" fmla="*/ 1898371 h 6858000"/>
              <a:gd name="connsiteX585" fmla="*/ 6944437 w 7467600"/>
              <a:gd name="connsiteY585" fmla="*/ 1575402 h 6858000"/>
              <a:gd name="connsiteX586" fmla="*/ 6304730 w 7467600"/>
              <a:gd name="connsiteY586" fmla="*/ 1766654 h 6858000"/>
              <a:gd name="connsiteX587" fmla="*/ 6944437 w 7467600"/>
              <a:gd name="connsiteY587" fmla="*/ 1575402 h 6858000"/>
              <a:gd name="connsiteX588" fmla="*/ 7019523 w 7467600"/>
              <a:gd name="connsiteY588" fmla="*/ 1519450 h 6858000"/>
              <a:gd name="connsiteX589" fmla="*/ 6298091 w 7467600"/>
              <a:gd name="connsiteY589" fmla="*/ 1737122 h 6858000"/>
              <a:gd name="connsiteX590" fmla="*/ 7019523 w 7467600"/>
              <a:gd name="connsiteY590" fmla="*/ 1519450 h 6858000"/>
              <a:gd name="connsiteX591" fmla="*/ 2399523 w 7467600"/>
              <a:gd name="connsiteY591" fmla="*/ 1428234 h 6858000"/>
              <a:gd name="connsiteX592" fmla="*/ 2224982 w 7467600"/>
              <a:gd name="connsiteY592" fmla="*/ 1826201 h 6858000"/>
              <a:gd name="connsiteX593" fmla="*/ 2096099 w 7467600"/>
              <a:gd name="connsiteY593" fmla="*/ 2345900 h 6858000"/>
              <a:gd name="connsiteX594" fmla="*/ 2283317 w 7467600"/>
              <a:gd name="connsiteY594" fmla="*/ 1796925 h 6858000"/>
              <a:gd name="connsiteX595" fmla="*/ 2399523 w 7467600"/>
              <a:gd name="connsiteY595" fmla="*/ 1428234 h 6858000"/>
              <a:gd name="connsiteX596" fmla="*/ 2448558 w 7467600"/>
              <a:gd name="connsiteY596" fmla="*/ 1373435 h 6858000"/>
              <a:gd name="connsiteX597" fmla="*/ 2312521 w 7467600"/>
              <a:gd name="connsiteY597" fmla="*/ 1806140 h 6858000"/>
              <a:gd name="connsiteX598" fmla="*/ 2127533 w 7467600"/>
              <a:gd name="connsiteY598" fmla="*/ 2348380 h 6858000"/>
              <a:gd name="connsiteX599" fmla="*/ 2358080 w 7467600"/>
              <a:gd name="connsiteY599" fmla="*/ 1866134 h 6858000"/>
              <a:gd name="connsiteX600" fmla="*/ 2407436 w 7467600"/>
              <a:gd name="connsiteY600" fmla="*/ 1651070 h 6858000"/>
              <a:gd name="connsiteX601" fmla="*/ 2448558 w 7467600"/>
              <a:gd name="connsiteY601" fmla="*/ 1373435 h 6858000"/>
              <a:gd name="connsiteX602" fmla="*/ 278707 w 7467600"/>
              <a:gd name="connsiteY602" fmla="*/ 1352270 h 6858000"/>
              <a:gd name="connsiteX603" fmla="*/ 321570 w 7467600"/>
              <a:gd name="connsiteY603" fmla="*/ 1861610 h 6858000"/>
              <a:gd name="connsiteX604" fmla="*/ 294281 w 7467600"/>
              <a:gd name="connsiteY604" fmla="*/ 1440658 h 6858000"/>
              <a:gd name="connsiteX605" fmla="*/ 278707 w 7467600"/>
              <a:gd name="connsiteY605" fmla="*/ 1352270 h 6858000"/>
              <a:gd name="connsiteX606" fmla="*/ 1423821 w 7467600"/>
              <a:gd name="connsiteY606" fmla="*/ 1351958 h 6858000"/>
              <a:gd name="connsiteX607" fmla="*/ 1638521 w 7467600"/>
              <a:gd name="connsiteY607" fmla="*/ 1908470 h 6858000"/>
              <a:gd name="connsiteX608" fmla="*/ 1754199 w 7467600"/>
              <a:gd name="connsiteY608" fmla="*/ 2149284 h 6858000"/>
              <a:gd name="connsiteX609" fmla="*/ 1908359 w 7467600"/>
              <a:gd name="connsiteY609" fmla="*/ 2364988 h 6858000"/>
              <a:gd name="connsiteX610" fmla="*/ 1647661 w 7467600"/>
              <a:gd name="connsiteY610" fmla="*/ 1825945 h 6858000"/>
              <a:gd name="connsiteX611" fmla="*/ 1423821 w 7467600"/>
              <a:gd name="connsiteY611" fmla="*/ 1351958 h 6858000"/>
              <a:gd name="connsiteX612" fmla="*/ 1431890 w 7467600"/>
              <a:gd name="connsiteY612" fmla="*/ 1306475 h 6858000"/>
              <a:gd name="connsiteX613" fmla="*/ 1507597 w 7467600"/>
              <a:gd name="connsiteY613" fmla="*/ 1446132 h 6858000"/>
              <a:gd name="connsiteX614" fmla="*/ 1674586 w 7467600"/>
              <a:gd name="connsiteY614" fmla="*/ 1813832 h 6858000"/>
              <a:gd name="connsiteX615" fmla="*/ 1815950 w 7467600"/>
              <a:gd name="connsiteY615" fmla="*/ 2128564 h 6858000"/>
              <a:gd name="connsiteX616" fmla="*/ 1984242 w 7467600"/>
              <a:gd name="connsiteY616" fmla="*/ 2430829 h 6858000"/>
              <a:gd name="connsiteX617" fmla="*/ 2014023 w 7467600"/>
              <a:gd name="connsiteY617" fmla="*/ 2450995 h 6858000"/>
              <a:gd name="connsiteX618" fmla="*/ 1747337 w 7467600"/>
              <a:gd name="connsiteY618" fmla="*/ 1855264 h 6858000"/>
              <a:gd name="connsiteX619" fmla="*/ 1533749 w 7467600"/>
              <a:gd name="connsiteY619" fmla="*/ 1478656 h 6858000"/>
              <a:gd name="connsiteX620" fmla="*/ 1431890 w 7467600"/>
              <a:gd name="connsiteY620" fmla="*/ 1306475 h 6858000"/>
              <a:gd name="connsiteX621" fmla="*/ 5052692 w 7467600"/>
              <a:gd name="connsiteY621" fmla="*/ 1292994 h 6858000"/>
              <a:gd name="connsiteX622" fmla="*/ 5200661 w 7467600"/>
              <a:gd name="connsiteY622" fmla="*/ 1635186 h 6858000"/>
              <a:gd name="connsiteX623" fmla="*/ 5297138 w 7467600"/>
              <a:gd name="connsiteY623" fmla="*/ 1906351 h 6858000"/>
              <a:gd name="connsiteX624" fmla="*/ 5052692 w 7467600"/>
              <a:gd name="connsiteY624" fmla="*/ 1292994 h 6858000"/>
              <a:gd name="connsiteX625" fmla="*/ 5009948 w 7467600"/>
              <a:gd name="connsiteY625" fmla="*/ 1273619 h 6858000"/>
              <a:gd name="connsiteX626" fmla="*/ 5121777 w 7467600"/>
              <a:gd name="connsiteY626" fmla="*/ 1654213 h 6858000"/>
              <a:gd name="connsiteX627" fmla="*/ 5293545 w 7467600"/>
              <a:gd name="connsiteY627" fmla="*/ 2072247 h 6858000"/>
              <a:gd name="connsiteX628" fmla="*/ 5294042 w 7467600"/>
              <a:gd name="connsiteY628" fmla="*/ 2065019 h 6858000"/>
              <a:gd name="connsiteX629" fmla="*/ 5171936 w 7467600"/>
              <a:gd name="connsiteY629" fmla="*/ 1647613 h 6858000"/>
              <a:gd name="connsiteX630" fmla="*/ 5009948 w 7467600"/>
              <a:gd name="connsiteY630" fmla="*/ 1273619 h 6858000"/>
              <a:gd name="connsiteX631" fmla="*/ 655236 w 7467600"/>
              <a:gd name="connsiteY631" fmla="*/ 1268632 h 6858000"/>
              <a:gd name="connsiteX632" fmla="*/ 839521 w 7467600"/>
              <a:gd name="connsiteY632" fmla="*/ 1685315 h 6858000"/>
              <a:gd name="connsiteX633" fmla="*/ 1109416 w 7467600"/>
              <a:gd name="connsiteY633" fmla="*/ 2061663 h 6858000"/>
              <a:gd name="connsiteX634" fmla="*/ 1298300 w 7467600"/>
              <a:gd name="connsiteY634" fmla="*/ 2247742 h 6858000"/>
              <a:gd name="connsiteX635" fmla="*/ 1125871 w 7467600"/>
              <a:gd name="connsiteY635" fmla="*/ 1989513 h 6858000"/>
              <a:gd name="connsiteX636" fmla="*/ 981574 w 7467600"/>
              <a:gd name="connsiteY636" fmla="*/ 1783157 h 6858000"/>
              <a:gd name="connsiteX637" fmla="*/ 922198 w 7467600"/>
              <a:gd name="connsiteY637" fmla="*/ 1677437 h 6858000"/>
              <a:gd name="connsiteX638" fmla="*/ 869293 w 7467600"/>
              <a:gd name="connsiteY638" fmla="*/ 1583214 h 6858000"/>
              <a:gd name="connsiteX639" fmla="*/ 751431 w 7467600"/>
              <a:gd name="connsiteY639" fmla="*/ 1405731 h 6858000"/>
              <a:gd name="connsiteX640" fmla="*/ 655236 w 7467600"/>
              <a:gd name="connsiteY640" fmla="*/ 1268632 h 6858000"/>
              <a:gd name="connsiteX641" fmla="*/ 6516292 w 7467600"/>
              <a:gd name="connsiteY641" fmla="*/ 1263064 h 6858000"/>
              <a:gd name="connsiteX642" fmla="*/ 5736320 w 7467600"/>
              <a:gd name="connsiteY642" fmla="*/ 1501803 h 6858000"/>
              <a:gd name="connsiteX643" fmla="*/ 6516292 w 7467600"/>
              <a:gd name="connsiteY643" fmla="*/ 1263064 h 6858000"/>
              <a:gd name="connsiteX644" fmla="*/ 291466 w 7467600"/>
              <a:gd name="connsiteY644" fmla="*/ 1250369 h 6858000"/>
              <a:gd name="connsiteX645" fmla="*/ 323180 w 7467600"/>
              <a:gd name="connsiteY645" fmla="*/ 1435283 h 6858000"/>
              <a:gd name="connsiteX646" fmla="*/ 349381 w 7467600"/>
              <a:gd name="connsiteY646" fmla="*/ 1875041 h 6858000"/>
              <a:gd name="connsiteX647" fmla="*/ 374363 w 7467600"/>
              <a:gd name="connsiteY647" fmla="*/ 1506494 h 6858000"/>
              <a:gd name="connsiteX648" fmla="*/ 302168 w 7467600"/>
              <a:gd name="connsiteY648" fmla="*/ 1274495 h 6858000"/>
              <a:gd name="connsiteX649" fmla="*/ 291466 w 7467600"/>
              <a:gd name="connsiteY649" fmla="*/ 1250369 h 6858000"/>
              <a:gd name="connsiteX650" fmla="*/ 678222 w 7467600"/>
              <a:gd name="connsiteY650" fmla="*/ 1248670 h 6858000"/>
              <a:gd name="connsiteX651" fmla="*/ 775536 w 7467600"/>
              <a:gd name="connsiteY651" fmla="*/ 1388015 h 6858000"/>
              <a:gd name="connsiteX652" fmla="*/ 894529 w 7467600"/>
              <a:gd name="connsiteY652" fmla="*/ 1567739 h 6858000"/>
              <a:gd name="connsiteX653" fmla="*/ 948000 w 7467600"/>
              <a:gd name="connsiteY653" fmla="*/ 1663088 h 6858000"/>
              <a:gd name="connsiteX654" fmla="*/ 1006812 w 7467600"/>
              <a:gd name="connsiteY654" fmla="*/ 1767683 h 6858000"/>
              <a:gd name="connsiteX655" fmla="*/ 1149133 w 7467600"/>
              <a:gd name="connsiteY655" fmla="*/ 1971513 h 6858000"/>
              <a:gd name="connsiteX656" fmla="*/ 1333952 w 7467600"/>
              <a:gd name="connsiteY656" fmla="*/ 2251620 h 6858000"/>
              <a:gd name="connsiteX657" fmla="*/ 1337329 w 7467600"/>
              <a:gd name="connsiteY657" fmla="*/ 2258350 h 6858000"/>
              <a:gd name="connsiteX658" fmla="*/ 1014726 w 7467600"/>
              <a:gd name="connsiteY658" fmla="*/ 1615556 h 6858000"/>
              <a:gd name="connsiteX659" fmla="*/ 678222 w 7467600"/>
              <a:gd name="connsiteY659" fmla="*/ 1248670 h 6858000"/>
              <a:gd name="connsiteX660" fmla="*/ 6691602 w 7467600"/>
              <a:gd name="connsiteY660" fmla="*/ 1140573 h 6858000"/>
              <a:gd name="connsiteX661" fmla="*/ 6571100 w 7467600"/>
              <a:gd name="connsiteY661" fmla="*/ 1183662 h 6858000"/>
              <a:gd name="connsiteX662" fmla="*/ 6241687 w 7467600"/>
              <a:gd name="connsiteY662" fmla="*/ 1257600 h 6858000"/>
              <a:gd name="connsiteX663" fmla="*/ 5693009 w 7467600"/>
              <a:gd name="connsiteY663" fmla="*/ 1478256 h 6858000"/>
              <a:gd name="connsiteX664" fmla="*/ 6548420 w 7467600"/>
              <a:gd name="connsiteY664" fmla="*/ 1214599 h 6858000"/>
              <a:gd name="connsiteX665" fmla="*/ 6605473 w 7467600"/>
              <a:gd name="connsiteY665" fmla="*/ 1184686 h 6858000"/>
              <a:gd name="connsiteX666" fmla="*/ 6691602 w 7467600"/>
              <a:gd name="connsiteY666" fmla="*/ 1140573 h 6858000"/>
              <a:gd name="connsiteX667" fmla="*/ 4002475 w 7467600"/>
              <a:gd name="connsiteY667" fmla="*/ 1037802 h 6858000"/>
              <a:gd name="connsiteX668" fmla="*/ 4000324 w 7467600"/>
              <a:gd name="connsiteY668" fmla="*/ 1039362 h 6858000"/>
              <a:gd name="connsiteX669" fmla="*/ 4002862 w 7467600"/>
              <a:gd name="connsiteY669" fmla="*/ 1042866 h 6858000"/>
              <a:gd name="connsiteX670" fmla="*/ 4002475 w 7467600"/>
              <a:gd name="connsiteY670" fmla="*/ 1037802 h 6858000"/>
              <a:gd name="connsiteX671" fmla="*/ 506322 w 7467600"/>
              <a:gd name="connsiteY671" fmla="*/ 1020997 h 6858000"/>
              <a:gd name="connsiteX672" fmla="*/ 533068 w 7467600"/>
              <a:gd name="connsiteY672" fmla="*/ 1029409 h 6858000"/>
              <a:gd name="connsiteX673" fmla="*/ 1232525 w 7467600"/>
              <a:gd name="connsiteY673" fmla="*/ 1804675 h 6858000"/>
              <a:gd name="connsiteX674" fmla="*/ 1388858 w 7467600"/>
              <a:gd name="connsiteY674" fmla="*/ 2368011 h 6858000"/>
              <a:gd name="connsiteX675" fmla="*/ 1384098 w 7467600"/>
              <a:gd name="connsiteY675" fmla="*/ 2378125 h 6858000"/>
              <a:gd name="connsiteX676" fmla="*/ 1425393 w 7467600"/>
              <a:gd name="connsiteY676" fmla="*/ 2589124 h 6858000"/>
              <a:gd name="connsiteX677" fmla="*/ 1424001 w 7467600"/>
              <a:gd name="connsiteY677" fmla="*/ 2597541 h 6858000"/>
              <a:gd name="connsiteX678" fmla="*/ 2152729 w 7467600"/>
              <a:gd name="connsiteY678" fmla="*/ 2864487 h 6858000"/>
              <a:gd name="connsiteX679" fmla="*/ 2020609 w 7467600"/>
              <a:gd name="connsiteY679" fmla="*/ 2539671 h 6858000"/>
              <a:gd name="connsiteX680" fmla="*/ 2018920 w 7467600"/>
              <a:gd name="connsiteY680" fmla="*/ 2536309 h 6858000"/>
              <a:gd name="connsiteX681" fmla="*/ 1342441 w 7467600"/>
              <a:gd name="connsiteY681" fmla="*/ 1173017 h 6858000"/>
              <a:gd name="connsiteX682" fmla="*/ 1367925 w 7467600"/>
              <a:gd name="connsiteY682" fmla="*/ 1135648 h 6858000"/>
              <a:gd name="connsiteX683" fmla="*/ 1771401 w 7467600"/>
              <a:gd name="connsiteY683" fmla="*/ 1806673 h 6858000"/>
              <a:gd name="connsiteX684" fmla="*/ 1972385 w 7467600"/>
              <a:gd name="connsiteY684" fmla="*/ 2198735 h 6858000"/>
              <a:gd name="connsiteX685" fmla="*/ 2040892 w 7467600"/>
              <a:gd name="connsiteY685" fmla="*/ 2405205 h 6858000"/>
              <a:gd name="connsiteX686" fmla="*/ 2131689 w 7467600"/>
              <a:gd name="connsiteY686" fmla="*/ 1936926 h 6858000"/>
              <a:gd name="connsiteX687" fmla="*/ 2454820 w 7467600"/>
              <a:gd name="connsiteY687" fmla="*/ 1248808 h 6858000"/>
              <a:gd name="connsiteX688" fmla="*/ 2492512 w 7467600"/>
              <a:gd name="connsiteY688" fmla="*/ 1302920 h 6858000"/>
              <a:gd name="connsiteX689" fmla="*/ 2081216 w 7467600"/>
              <a:gd name="connsiteY689" fmla="*/ 2527513 h 6858000"/>
              <a:gd name="connsiteX690" fmla="*/ 2081211 w 7467600"/>
              <a:gd name="connsiteY690" fmla="*/ 2528916 h 6858000"/>
              <a:gd name="connsiteX691" fmla="*/ 2199067 w 7467600"/>
              <a:gd name="connsiteY691" fmla="*/ 2884061 h 6858000"/>
              <a:gd name="connsiteX692" fmla="*/ 3192586 w 7467600"/>
              <a:gd name="connsiteY692" fmla="*/ 3411496 h 6858000"/>
              <a:gd name="connsiteX693" fmla="*/ 3182620 w 7467600"/>
              <a:gd name="connsiteY693" fmla="*/ 3483279 h 6858000"/>
              <a:gd name="connsiteX694" fmla="*/ 2435119 w 7467600"/>
              <a:gd name="connsiteY694" fmla="*/ 3080173 h 6858000"/>
              <a:gd name="connsiteX695" fmla="*/ 2410152 w 7467600"/>
              <a:gd name="connsiteY695" fmla="*/ 3063751 h 6858000"/>
              <a:gd name="connsiteX696" fmla="*/ 2408099 w 7467600"/>
              <a:gd name="connsiteY696" fmla="*/ 3064403 h 6858000"/>
              <a:gd name="connsiteX697" fmla="*/ 2407218 w 7467600"/>
              <a:gd name="connsiteY697" fmla="*/ 3070324 h 6858000"/>
              <a:gd name="connsiteX698" fmla="*/ 2380138 w 7467600"/>
              <a:gd name="connsiteY698" fmla="*/ 3099341 h 6858000"/>
              <a:gd name="connsiteX699" fmla="*/ 1765923 w 7467600"/>
              <a:gd name="connsiteY699" fmla="*/ 3581043 h 6858000"/>
              <a:gd name="connsiteX700" fmla="*/ 1702258 w 7467600"/>
              <a:gd name="connsiteY700" fmla="*/ 3612286 h 6858000"/>
              <a:gd name="connsiteX701" fmla="*/ 1538370 w 7467600"/>
              <a:gd name="connsiteY701" fmla="*/ 3811804 h 6858000"/>
              <a:gd name="connsiteX702" fmla="*/ 542867 w 7467600"/>
              <a:gd name="connsiteY702" fmla="*/ 4944092 h 6858000"/>
              <a:gd name="connsiteX703" fmla="*/ 515800 w 7467600"/>
              <a:gd name="connsiteY703" fmla="*/ 4862180 h 6858000"/>
              <a:gd name="connsiteX704" fmla="*/ 909145 w 7467600"/>
              <a:gd name="connsiteY704" fmla="*/ 4199225 h 6858000"/>
              <a:gd name="connsiteX705" fmla="*/ 1214067 w 7467600"/>
              <a:gd name="connsiteY705" fmla="*/ 3908561 h 6858000"/>
              <a:gd name="connsiteX706" fmla="*/ 640967 w 7467600"/>
              <a:gd name="connsiteY706" fmla="*/ 4105601 h 6858000"/>
              <a:gd name="connsiteX707" fmla="*/ 112563 w 7467600"/>
              <a:gd name="connsiteY707" fmla="*/ 4396952 h 6858000"/>
              <a:gd name="connsiteX708" fmla="*/ 0 w 7467600"/>
              <a:gd name="connsiteY708" fmla="*/ 4466006 h 6858000"/>
              <a:gd name="connsiteX709" fmla="*/ 0 w 7467600"/>
              <a:gd name="connsiteY709" fmla="*/ 4233763 h 6858000"/>
              <a:gd name="connsiteX710" fmla="*/ 36881 w 7467600"/>
              <a:gd name="connsiteY710" fmla="*/ 4200118 h 6858000"/>
              <a:gd name="connsiteX711" fmla="*/ 910534 w 7467600"/>
              <a:gd name="connsiteY711" fmla="*/ 3629753 h 6858000"/>
              <a:gd name="connsiteX712" fmla="*/ 1578717 w 7467600"/>
              <a:gd name="connsiteY712" fmla="*/ 3575982 h 6858000"/>
              <a:gd name="connsiteX713" fmla="*/ 2338780 w 7467600"/>
              <a:gd name="connsiteY713" fmla="*/ 3033725 h 6858000"/>
              <a:gd name="connsiteX714" fmla="*/ 1807991 w 7467600"/>
              <a:gd name="connsiteY714" fmla="*/ 2807184 h 6858000"/>
              <a:gd name="connsiteX715" fmla="*/ 1416358 w 7467600"/>
              <a:gd name="connsiteY715" fmla="*/ 3112571 h 6858000"/>
              <a:gd name="connsiteX716" fmla="*/ 939066 w 7467600"/>
              <a:gd name="connsiteY716" fmla="*/ 3378798 h 6858000"/>
              <a:gd name="connsiteX717" fmla="*/ 115099 w 7467600"/>
              <a:gd name="connsiteY717" fmla="*/ 3607650 h 6858000"/>
              <a:gd name="connsiteX718" fmla="*/ 97284 w 7467600"/>
              <a:gd name="connsiteY718" fmla="*/ 3520393 h 6858000"/>
              <a:gd name="connsiteX719" fmla="*/ 922050 w 7467600"/>
              <a:gd name="connsiteY719" fmla="*/ 3074867 h 6858000"/>
              <a:gd name="connsiteX720" fmla="*/ 1405265 w 7467600"/>
              <a:gd name="connsiteY720" fmla="*/ 3016319 h 6858000"/>
              <a:gd name="connsiteX721" fmla="*/ 1407512 w 7467600"/>
              <a:gd name="connsiteY721" fmla="*/ 3018001 h 6858000"/>
              <a:gd name="connsiteX722" fmla="*/ 1726266 w 7467600"/>
              <a:gd name="connsiteY722" fmla="*/ 2777274 h 6858000"/>
              <a:gd name="connsiteX723" fmla="*/ 625390 w 7467600"/>
              <a:gd name="connsiteY723" fmla="*/ 2514541 h 6858000"/>
              <a:gd name="connsiteX724" fmla="*/ 619799 w 7467600"/>
              <a:gd name="connsiteY724" fmla="*/ 2527180 h 6858000"/>
              <a:gd name="connsiteX725" fmla="*/ 310030 w 7467600"/>
              <a:gd name="connsiteY725" fmla="*/ 2771818 h 6858000"/>
              <a:gd name="connsiteX726" fmla="*/ 173877 w 7467600"/>
              <a:gd name="connsiteY726" fmla="*/ 2937056 h 6858000"/>
              <a:gd name="connsiteX727" fmla="*/ 77889 w 7467600"/>
              <a:gd name="connsiteY727" fmla="*/ 3138440 h 6858000"/>
              <a:gd name="connsiteX728" fmla="*/ 0 w 7467600"/>
              <a:gd name="connsiteY728" fmla="*/ 3271395 h 6858000"/>
              <a:gd name="connsiteX729" fmla="*/ 0 w 7467600"/>
              <a:gd name="connsiteY729" fmla="*/ 3153002 h 6858000"/>
              <a:gd name="connsiteX730" fmla="*/ 2386 w 7467600"/>
              <a:gd name="connsiteY730" fmla="*/ 3149203 h 6858000"/>
              <a:gd name="connsiteX731" fmla="*/ 89753 w 7467600"/>
              <a:gd name="connsiteY731" fmla="*/ 2987702 h 6858000"/>
              <a:gd name="connsiteX732" fmla="*/ 76869 w 7467600"/>
              <a:gd name="connsiteY732" fmla="*/ 3005404 h 6858000"/>
              <a:gd name="connsiteX733" fmla="*/ 32049 w 7467600"/>
              <a:gd name="connsiteY733" fmla="*/ 3065814 h 6858000"/>
              <a:gd name="connsiteX734" fmla="*/ 0 w 7467600"/>
              <a:gd name="connsiteY734" fmla="*/ 3108744 h 6858000"/>
              <a:gd name="connsiteX735" fmla="*/ 0 w 7467600"/>
              <a:gd name="connsiteY735" fmla="*/ 3058059 h 6858000"/>
              <a:gd name="connsiteX736" fmla="*/ 7610 w 7467600"/>
              <a:gd name="connsiteY736" fmla="*/ 3047889 h 6858000"/>
              <a:gd name="connsiteX737" fmla="*/ 52419 w 7467600"/>
              <a:gd name="connsiteY737" fmla="*/ 2987479 h 6858000"/>
              <a:gd name="connsiteX738" fmla="*/ 59142 w 7467600"/>
              <a:gd name="connsiteY738" fmla="*/ 2978488 h 6858000"/>
              <a:gd name="connsiteX739" fmla="*/ 0 w 7467600"/>
              <a:gd name="connsiteY739" fmla="*/ 3015334 h 6858000"/>
              <a:gd name="connsiteX740" fmla="*/ 0 w 7467600"/>
              <a:gd name="connsiteY740" fmla="*/ 2914286 h 6858000"/>
              <a:gd name="connsiteX741" fmla="*/ 36383 w 7467600"/>
              <a:gd name="connsiteY741" fmla="*/ 2901128 h 6858000"/>
              <a:gd name="connsiteX742" fmla="*/ 156329 w 7467600"/>
              <a:gd name="connsiteY742" fmla="*/ 2840533 h 6858000"/>
              <a:gd name="connsiteX743" fmla="*/ 358355 w 7467600"/>
              <a:gd name="connsiteY743" fmla="*/ 2620471 h 6858000"/>
              <a:gd name="connsiteX744" fmla="*/ 510577 w 7467600"/>
              <a:gd name="connsiteY744" fmla="*/ 2501244 h 6858000"/>
              <a:gd name="connsiteX745" fmla="*/ 211967 w 7467600"/>
              <a:gd name="connsiteY745" fmla="*/ 2479171 h 6858000"/>
              <a:gd name="connsiteX746" fmla="*/ 0 w 7467600"/>
              <a:gd name="connsiteY746" fmla="*/ 2476398 h 6858000"/>
              <a:gd name="connsiteX747" fmla="*/ 0 w 7467600"/>
              <a:gd name="connsiteY747" fmla="*/ 2389189 h 6858000"/>
              <a:gd name="connsiteX748" fmla="*/ 103062 w 7467600"/>
              <a:gd name="connsiteY748" fmla="*/ 2389518 h 6858000"/>
              <a:gd name="connsiteX749" fmla="*/ 510734 w 7467600"/>
              <a:gd name="connsiteY749" fmla="*/ 2416201 h 6858000"/>
              <a:gd name="connsiteX750" fmla="*/ 279257 w 7467600"/>
              <a:gd name="connsiteY750" fmla="*/ 2092102 h 6858000"/>
              <a:gd name="connsiteX751" fmla="*/ 65265 w 7467600"/>
              <a:gd name="connsiteY751" fmla="*/ 2006049 h 6858000"/>
              <a:gd name="connsiteX752" fmla="*/ 0 w 7467600"/>
              <a:gd name="connsiteY752" fmla="*/ 1982532 h 6858000"/>
              <a:gd name="connsiteX753" fmla="*/ 0 w 7467600"/>
              <a:gd name="connsiteY753" fmla="*/ 1912789 h 6858000"/>
              <a:gd name="connsiteX754" fmla="*/ 97460 w 7467600"/>
              <a:gd name="connsiteY754" fmla="*/ 1953725 h 6858000"/>
              <a:gd name="connsiteX755" fmla="*/ 221272 w 7467600"/>
              <a:gd name="connsiteY755" fmla="*/ 1980766 h 6858000"/>
              <a:gd name="connsiteX756" fmla="*/ 116765 w 7467600"/>
              <a:gd name="connsiteY756" fmla="*/ 1911033 h 6858000"/>
              <a:gd name="connsiteX757" fmla="*/ 16405 w 7467600"/>
              <a:gd name="connsiteY757" fmla="*/ 1803412 h 6858000"/>
              <a:gd name="connsiteX758" fmla="*/ 0 w 7467600"/>
              <a:gd name="connsiteY758" fmla="*/ 1784777 h 6858000"/>
              <a:gd name="connsiteX759" fmla="*/ 0 w 7467600"/>
              <a:gd name="connsiteY759" fmla="*/ 1740082 h 6858000"/>
              <a:gd name="connsiteX760" fmla="*/ 39394 w 7467600"/>
              <a:gd name="connsiteY760" fmla="*/ 1784856 h 6858000"/>
              <a:gd name="connsiteX761" fmla="*/ 135813 w 7467600"/>
              <a:gd name="connsiteY761" fmla="*/ 1888838 h 6858000"/>
              <a:gd name="connsiteX762" fmla="*/ 242575 w 7467600"/>
              <a:gd name="connsiteY762" fmla="*/ 1958841 h 6858000"/>
              <a:gd name="connsiteX763" fmla="*/ 82197 w 7467600"/>
              <a:gd name="connsiteY763" fmla="*/ 1754826 h 6858000"/>
              <a:gd name="connsiteX764" fmla="*/ 0 w 7467600"/>
              <a:gd name="connsiteY764" fmla="*/ 1679650 h 6858000"/>
              <a:gd name="connsiteX765" fmla="*/ 0 w 7467600"/>
              <a:gd name="connsiteY765" fmla="*/ 1602463 h 6858000"/>
              <a:gd name="connsiteX766" fmla="*/ 84689 w 7467600"/>
              <a:gd name="connsiteY766" fmla="*/ 1677442 h 6858000"/>
              <a:gd name="connsiteX767" fmla="*/ 298437 w 7467600"/>
              <a:gd name="connsiteY767" fmla="*/ 1968019 h 6858000"/>
              <a:gd name="connsiteX768" fmla="*/ 227269 w 7467600"/>
              <a:gd name="connsiteY768" fmla="*/ 1114064 h 6858000"/>
              <a:gd name="connsiteX769" fmla="*/ 248003 w 7467600"/>
              <a:gd name="connsiteY769" fmla="*/ 1089613 h 6858000"/>
              <a:gd name="connsiteX770" fmla="*/ 427020 w 7467600"/>
              <a:gd name="connsiteY770" fmla="*/ 1619803 h 6858000"/>
              <a:gd name="connsiteX771" fmla="*/ 340345 w 7467600"/>
              <a:gd name="connsiteY771" fmla="*/ 2027739 h 6858000"/>
              <a:gd name="connsiteX772" fmla="*/ 360865 w 7467600"/>
              <a:gd name="connsiteY772" fmla="*/ 2044827 h 6858000"/>
              <a:gd name="connsiteX773" fmla="*/ 560414 w 7467600"/>
              <a:gd name="connsiteY773" fmla="*/ 2421457 h 6858000"/>
              <a:gd name="connsiteX774" fmla="*/ 1359703 w 7467600"/>
              <a:gd name="connsiteY774" fmla="*/ 2578554 h 6858000"/>
              <a:gd name="connsiteX775" fmla="*/ 1359422 w 7467600"/>
              <a:gd name="connsiteY775" fmla="*/ 2577994 h 6858000"/>
              <a:gd name="connsiteX776" fmla="*/ 828701 w 7467600"/>
              <a:gd name="connsiteY776" fmla="*/ 1839520 h 6858000"/>
              <a:gd name="connsiteX777" fmla="*/ 494427 w 7467600"/>
              <a:gd name="connsiteY777" fmla="*/ 1092333 h 6858000"/>
              <a:gd name="connsiteX778" fmla="*/ 506322 w 7467600"/>
              <a:gd name="connsiteY778" fmla="*/ 1020997 h 6858000"/>
              <a:gd name="connsiteX779" fmla="*/ 4570198 w 7467600"/>
              <a:gd name="connsiteY779" fmla="*/ 978081 h 6858000"/>
              <a:gd name="connsiteX780" fmla="*/ 4523691 w 7467600"/>
              <a:gd name="connsiteY780" fmla="*/ 1127776 h 6858000"/>
              <a:gd name="connsiteX781" fmla="*/ 4509875 w 7467600"/>
              <a:gd name="connsiteY781" fmla="*/ 1167552 h 6858000"/>
              <a:gd name="connsiteX782" fmla="*/ 4478168 w 7467600"/>
              <a:gd name="connsiteY782" fmla="*/ 1260735 h 6858000"/>
              <a:gd name="connsiteX783" fmla="*/ 4409309 w 7467600"/>
              <a:gd name="connsiteY783" fmla="*/ 1666996 h 6858000"/>
              <a:gd name="connsiteX784" fmla="*/ 4370031 w 7467600"/>
              <a:gd name="connsiteY784" fmla="*/ 1955666 h 6858000"/>
              <a:gd name="connsiteX785" fmla="*/ 4570198 w 7467600"/>
              <a:gd name="connsiteY785" fmla="*/ 978081 h 6858000"/>
              <a:gd name="connsiteX786" fmla="*/ 4557898 w 7467600"/>
              <a:gd name="connsiteY786" fmla="*/ 900011 h 6858000"/>
              <a:gd name="connsiteX787" fmla="*/ 4344840 w 7467600"/>
              <a:gd name="connsiteY787" fmla="*/ 1922038 h 6858000"/>
              <a:gd name="connsiteX788" fmla="*/ 4378710 w 7467600"/>
              <a:gd name="connsiteY788" fmla="*/ 1665516 h 6858000"/>
              <a:gd name="connsiteX789" fmla="*/ 4448798 w 7467600"/>
              <a:gd name="connsiteY789" fmla="*/ 1253024 h 6858000"/>
              <a:gd name="connsiteX790" fmla="*/ 4480315 w 7467600"/>
              <a:gd name="connsiteY790" fmla="*/ 1158454 h 6858000"/>
              <a:gd name="connsiteX791" fmla="*/ 4494133 w 7467600"/>
              <a:gd name="connsiteY791" fmla="*/ 1118676 h 6858000"/>
              <a:gd name="connsiteX792" fmla="*/ 4557898 w 7467600"/>
              <a:gd name="connsiteY792" fmla="*/ 900011 h 6858000"/>
              <a:gd name="connsiteX793" fmla="*/ 5870151 w 7467600"/>
              <a:gd name="connsiteY793" fmla="*/ 898890 h 6858000"/>
              <a:gd name="connsiteX794" fmla="*/ 5861335 w 7467600"/>
              <a:gd name="connsiteY794" fmla="*/ 899177 h 6858000"/>
              <a:gd name="connsiteX795" fmla="*/ 5843702 w 7467600"/>
              <a:gd name="connsiteY795" fmla="*/ 899748 h 6858000"/>
              <a:gd name="connsiteX796" fmla="*/ 5651107 w 7467600"/>
              <a:gd name="connsiteY796" fmla="*/ 920306 h 6858000"/>
              <a:gd name="connsiteX797" fmla="*/ 5459407 w 7467600"/>
              <a:gd name="connsiteY797" fmla="*/ 940975 h 6858000"/>
              <a:gd name="connsiteX798" fmla="*/ 5374846 w 7467600"/>
              <a:gd name="connsiteY798" fmla="*/ 941988 h 6858000"/>
              <a:gd name="connsiteX799" fmla="*/ 5256105 w 7467600"/>
              <a:gd name="connsiteY799" fmla="*/ 945632 h 6858000"/>
              <a:gd name="connsiteX800" fmla="*/ 5107071 w 7467600"/>
              <a:gd name="connsiteY800" fmla="*/ 969720 h 6858000"/>
              <a:gd name="connsiteX801" fmla="*/ 4998681 w 7467600"/>
              <a:gd name="connsiteY801" fmla="*/ 988771 h 6858000"/>
              <a:gd name="connsiteX802" fmla="*/ 5870151 w 7467600"/>
              <a:gd name="connsiteY802" fmla="*/ 898890 h 6858000"/>
              <a:gd name="connsiteX803" fmla="*/ 5504425 w 7467600"/>
              <a:gd name="connsiteY803" fmla="*/ 848067 h 6858000"/>
              <a:gd name="connsiteX804" fmla="*/ 4968849 w 7467600"/>
              <a:gd name="connsiteY804" fmla="*/ 962318 h 6858000"/>
              <a:gd name="connsiteX805" fmla="*/ 5104039 w 7467600"/>
              <a:gd name="connsiteY805" fmla="*/ 940634 h 6858000"/>
              <a:gd name="connsiteX806" fmla="*/ 5256311 w 7467600"/>
              <a:gd name="connsiteY806" fmla="*/ 916490 h 6858000"/>
              <a:gd name="connsiteX807" fmla="*/ 5377381 w 7467600"/>
              <a:gd name="connsiteY807" fmla="*/ 912671 h 6858000"/>
              <a:gd name="connsiteX808" fmla="*/ 5460148 w 7467600"/>
              <a:gd name="connsiteY808" fmla="*/ 911442 h 6858000"/>
              <a:gd name="connsiteX809" fmla="*/ 5648971 w 7467600"/>
              <a:gd name="connsiteY809" fmla="*/ 891331 h 6858000"/>
              <a:gd name="connsiteX810" fmla="*/ 5844807 w 7467600"/>
              <a:gd name="connsiteY810" fmla="*/ 870718 h 6858000"/>
              <a:gd name="connsiteX811" fmla="*/ 5862975 w 7467600"/>
              <a:gd name="connsiteY811" fmla="*/ 869756 h 6858000"/>
              <a:gd name="connsiteX812" fmla="*/ 5920887 w 7467600"/>
              <a:gd name="connsiteY812" fmla="*/ 865929 h 6858000"/>
              <a:gd name="connsiteX813" fmla="*/ 5504425 w 7467600"/>
              <a:gd name="connsiteY813" fmla="*/ 848067 h 6858000"/>
              <a:gd name="connsiteX814" fmla="*/ 3607114 w 7467600"/>
              <a:gd name="connsiteY814" fmla="*/ 467441 h 6858000"/>
              <a:gd name="connsiteX815" fmla="*/ 3296242 w 7467600"/>
              <a:gd name="connsiteY815" fmla="*/ 807991 h 6858000"/>
              <a:gd name="connsiteX816" fmla="*/ 3174674 w 7467600"/>
              <a:gd name="connsiteY816" fmla="*/ 919759 h 6858000"/>
              <a:gd name="connsiteX817" fmla="*/ 3042978 w 7467600"/>
              <a:gd name="connsiteY817" fmla="*/ 1054894 h 6858000"/>
              <a:gd name="connsiteX818" fmla="*/ 2968914 w 7467600"/>
              <a:gd name="connsiteY818" fmla="*/ 1133756 h 6858000"/>
              <a:gd name="connsiteX819" fmla="*/ 3103823 w 7467600"/>
              <a:gd name="connsiteY819" fmla="*/ 1026814 h 6858000"/>
              <a:gd name="connsiteX820" fmla="*/ 3607114 w 7467600"/>
              <a:gd name="connsiteY820" fmla="*/ 467441 h 6858000"/>
              <a:gd name="connsiteX821" fmla="*/ 3744487 w 7467600"/>
              <a:gd name="connsiteY821" fmla="*/ 383136 h 6858000"/>
              <a:gd name="connsiteX822" fmla="*/ 3970213 w 7467600"/>
              <a:gd name="connsiteY822" fmla="*/ 995559 h 6858000"/>
              <a:gd name="connsiteX823" fmla="*/ 3744487 w 7467600"/>
              <a:gd name="connsiteY823" fmla="*/ 383136 h 6858000"/>
              <a:gd name="connsiteX824" fmla="*/ 3624562 w 7467600"/>
              <a:gd name="connsiteY824" fmla="*/ 367041 h 6858000"/>
              <a:gd name="connsiteX825" fmla="*/ 3489712 w 7467600"/>
              <a:gd name="connsiteY825" fmla="*/ 485386 h 6858000"/>
              <a:gd name="connsiteX826" fmla="*/ 3182994 w 7467600"/>
              <a:gd name="connsiteY826" fmla="*/ 828265 h 6858000"/>
              <a:gd name="connsiteX827" fmla="*/ 2892114 w 7467600"/>
              <a:gd name="connsiteY827" fmla="*/ 1172635 h 6858000"/>
              <a:gd name="connsiteX828" fmla="*/ 3021459 w 7467600"/>
              <a:gd name="connsiteY828" fmla="*/ 1035385 h 6858000"/>
              <a:gd name="connsiteX829" fmla="*/ 3153873 w 7467600"/>
              <a:gd name="connsiteY829" fmla="*/ 898971 h 6858000"/>
              <a:gd name="connsiteX830" fmla="*/ 3276511 w 7467600"/>
              <a:gd name="connsiteY830" fmla="*/ 786423 h 6858000"/>
              <a:gd name="connsiteX831" fmla="*/ 3584154 w 7467600"/>
              <a:gd name="connsiteY831" fmla="*/ 448218 h 6858000"/>
              <a:gd name="connsiteX832" fmla="*/ 3624562 w 7467600"/>
              <a:gd name="connsiteY832" fmla="*/ 367041 h 6858000"/>
              <a:gd name="connsiteX833" fmla="*/ 3766672 w 7467600"/>
              <a:gd name="connsiteY833" fmla="*/ 359429 h 6858000"/>
              <a:gd name="connsiteX834" fmla="*/ 3996338 w 7467600"/>
              <a:gd name="connsiteY834" fmla="*/ 968237 h 6858000"/>
              <a:gd name="connsiteX835" fmla="*/ 3766672 w 7467600"/>
              <a:gd name="connsiteY835" fmla="*/ 359429 h 6858000"/>
              <a:gd name="connsiteX836" fmla="*/ 5805386 w 7467600"/>
              <a:gd name="connsiteY836" fmla="*/ 239240 h 6858000"/>
              <a:gd name="connsiteX837" fmla="*/ 5736947 w 7467600"/>
              <a:gd name="connsiteY837" fmla="*/ 261367 h 6858000"/>
              <a:gd name="connsiteX838" fmla="*/ 5427012 w 7467600"/>
              <a:gd name="connsiteY838" fmla="*/ 311272 h 6858000"/>
              <a:gd name="connsiteX839" fmla="*/ 5147818 w 7467600"/>
              <a:gd name="connsiteY839" fmla="*/ 322112 h 6858000"/>
              <a:gd name="connsiteX840" fmla="*/ 5060854 w 7467600"/>
              <a:gd name="connsiteY840" fmla="*/ 311882 h 6858000"/>
              <a:gd name="connsiteX841" fmla="*/ 4945989 w 7467600"/>
              <a:gd name="connsiteY841" fmla="*/ 300516 h 6858000"/>
              <a:gd name="connsiteX842" fmla="*/ 5410479 w 7467600"/>
              <a:gd name="connsiteY842" fmla="*/ 348434 h 6858000"/>
              <a:gd name="connsiteX843" fmla="*/ 5805386 w 7467600"/>
              <a:gd name="connsiteY843" fmla="*/ 239240 h 6858000"/>
              <a:gd name="connsiteX844" fmla="*/ 5905192 w 7467600"/>
              <a:gd name="connsiteY844" fmla="*/ 163079 h 6858000"/>
              <a:gd name="connsiteX845" fmla="*/ 5865655 w 7467600"/>
              <a:gd name="connsiteY845" fmla="*/ 171901 h 6858000"/>
              <a:gd name="connsiteX846" fmla="*/ 5259740 w 7467600"/>
              <a:gd name="connsiteY846" fmla="*/ 257013 h 6858000"/>
              <a:gd name="connsiteX847" fmla="*/ 5208466 w 7467600"/>
              <a:gd name="connsiteY847" fmla="*/ 257550 h 6858000"/>
              <a:gd name="connsiteX848" fmla="*/ 4980204 w 7467600"/>
              <a:gd name="connsiteY848" fmla="*/ 271903 h 6858000"/>
              <a:gd name="connsiteX849" fmla="*/ 5068068 w 7467600"/>
              <a:gd name="connsiteY849" fmla="*/ 282244 h 6858000"/>
              <a:gd name="connsiteX850" fmla="*/ 5153231 w 7467600"/>
              <a:gd name="connsiteY850" fmla="*/ 292240 h 6858000"/>
              <a:gd name="connsiteX851" fmla="*/ 5426491 w 7467600"/>
              <a:gd name="connsiteY851" fmla="*/ 281128 h 6858000"/>
              <a:gd name="connsiteX852" fmla="*/ 5731212 w 7467600"/>
              <a:gd name="connsiteY852" fmla="*/ 231951 h 6858000"/>
              <a:gd name="connsiteX853" fmla="*/ 5905192 w 7467600"/>
              <a:gd name="connsiteY853" fmla="*/ 163079 h 6858000"/>
              <a:gd name="connsiteX854" fmla="*/ 5944437 w 7467600"/>
              <a:gd name="connsiteY854" fmla="*/ 113829 h 6858000"/>
              <a:gd name="connsiteX855" fmla="*/ 5825032 w 7467600"/>
              <a:gd name="connsiteY855" fmla="*/ 146405 h 6858000"/>
              <a:gd name="connsiteX856" fmla="*/ 4955599 w 7467600"/>
              <a:gd name="connsiteY856" fmla="*/ 247008 h 6858000"/>
              <a:gd name="connsiteX857" fmla="*/ 5210104 w 7467600"/>
              <a:gd name="connsiteY857" fmla="*/ 228123 h 6858000"/>
              <a:gd name="connsiteX858" fmla="*/ 5261015 w 7467600"/>
              <a:gd name="connsiteY858" fmla="*/ 227087 h 6858000"/>
              <a:gd name="connsiteX859" fmla="*/ 5861181 w 7467600"/>
              <a:gd name="connsiteY859" fmla="*/ 143093 h 6858000"/>
              <a:gd name="connsiteX860" fmla="*/ 5961252 w 7467600"/>
              <a:gd name="connsiteY860" fmla="*/ 114820 h 6858000"/>
              <a:gd name="connsiteX861" fmla="*/ 5944437 w 7467600"/>
              <a:gd name="connsiteY861" fmla="*/ 113829 h 6858000"/>
              <a:gd name="connsiteX862" fmla="*/ 3882765 w 7467600"/>
              <a:gd name="connsiteY862" fmla="*/ 0 h 6858000"/>
              <a:gd name="connsiteX863" fmla="*/ 3995099 w 7467600"/>
              <a:gd name="connsiteY863" fmla="*/ 0 h 6858000"/>
              <a:gd name="connsiteX864" fmla="*/ 4163818 w 7467600"/>
              <a:gd name="connsiteY864" fmla="*/ 234104 h 6858000"/>
              <a:gd name="connsiteX865" fmla="*/ 4172099 w 7467600"/>
              <a:gd name="connsiteY865" fmla="*/ 234207 h 6858000"/>
              <a:gd name="connsiteX866" fmla="*/ 4784282 w 7467600"/>
              <a:gd name="connsiteY866" fmla="*/ 276561 h 6858000"/>
              <a:gd name="connsiteX867" fmla="*/ 4801687 w 7467600"/>
              <a:gd name="connsiteY867" fmla="*/ 267764 h 6858000"/>
              <a:gd name="connsiteX868" fmla="*/ 6082788 w 7467600"/>
              <a:gd name="connsiteY868" fmla="*/ 64119 h 6858000"/>
              <a:gd name="connsiteX869" fmla="*/ 6099442 w 7467600"/>
              <a:gd name="connsiteY869" fmla="*/ 82568 h 6858000"/>
              <a:gd name="connsiteX870" fmla="*/ 4804137 w 7467600"/>
              <a:gd name="connsiteY870" fmla="*/ 320931 h 6858000"/>
              <a:gd name="connsiteX871" fmla="*/ 4227047 w 7467600"/>
              <a:gd name="connsiteY871" fmla="*/ 313415 h 6858000"/>
              <a:gd name="connsiteX872" fmla="*/ 4346041 w 7467600"/>
              <a:gd name="connsiteY872" fmla="*/ 456086 h 6858000"/>
              <a:gd name="connsiteX873" fmla="*/ 4870967 w 7467600"/>
              <a:gd name="connsiteY873" fmla="*/ 963061 h 6858000"/>
              <a:gd name="connsiteX874" fmla="*/ 4889647 w 7467600"/>
              <a:gd name="connsiteY874" fmla="*/ 957147 h 6858000"/>
              <a:gd name="connsiteX875" fmla="*/ 5422504 w 7467600"/>
              <a:gd name="connsiteY875" fmla="*/ 805191 h 6858000"/>
              <a:gd name="connsiteX876" fmla="*/ 6087656 w 7467600"/>
              <a:gd name="connsiteY876" fmla="*/ 826703 h 6858000"/>
              <a:gd name="connsiteX877" fmla="*/ 6058717 w 7467600"/>
              <a:gd name="connsiteY877" fmla="*/ 865992 h 6858000"/>
              <a:gd name="connsiteX878" fmla="*/ 4974153 w 7467600"/>
              <a:gd name="connsiteY878" fmla="*/ 1045456 h 6858000"/>
              <a:gd name="connsiteX879" fmla="*/ 5627835 w 7467600"/>
              <a:gd name="connsiteY879" fmla="*/ 1472077 h 6858000"/>
              <a:gd name="connsiteX880" fmla="*/ 5629817 w 7467600"/>
              <a:gd name="connsiteY880" fmla="*/ 1471412 h 6858000"/>
              <a:gd name="connsiteX881" fmla="*/ 5634124 w 7467600"/>
              <a:gd name="connsiteY881" fmla="*/ 1470572 h 6858000"/>
              <a:gd name="connsiteX882" fmla="*/ 5755832 w 7467600"/>
              <a:gd name="connsiteY882" fmla="*/ 1383886 h 6858000"/>
              <a:gd name="connsiteX883" fmla="*/ 6014186 w 7467600"/>
              <a:gd name="connsiteY883" fmla="*/ 1279799 h 6858000"/>
              <a:gd name="connsiteX884" fmla="*/ 6901619 w 7467600"/>
              <a:gd name="connsiteY884" fmla="*/ 1047874 h 6858000"/>
              <a:gd name="connsiteX885" fmla="*/ 6931566 w 7467600"/>
              <a:gd name="connsiteY885" fmla="*/ 1062034 h 6858000"/>
              <a:gd name="connsiteX886" fmla="*/ 5790982 w 7467600"/>
              <a:gd name="connsiteY886" fmla="*/ 1561380 h 6858000"/>
              <a:gd name="connsiteX887" fmla="*/ 6188971 w 7467600"/>
              <a:gd name="connsiteY887" fmla="*/ 1755168 h 6858000"/>
              <a:gd name="connsiteX888" fmla="*/ 6202446 w 7467600"/>
              <a:gd name="connsiteY888" fmla="*/ 1752268 h 6858000"/>
              <a:gd name="connsiteX889" fmla="*/ 7179560 w 7467600"/>
              <a:gd name="connsiteY889" fmla="*/ 1467551 h 6858000"/>
              <a:gd name="connsiteX890" fmla="*/ 7158730 w 7467600"/>
              <a:gd name="connsiteY890" fmla="*/ 1507835 h 6858000"/>
              <a:gd name="connsiteX891" fmla="*/ 6326959 w 7467600"/>
              <a:gd name="connsiteY891" fmla="*/ 1817686 h 6858000"/>
              <a:gd name="connsiteX892" fmla="*/ 6537433 w 7467600"/>
              <a:gd name="connsiteY892" fmla="*/ 1907790 h 6858000"/>
              <a:gd name="connsiteX893" fmla="*/ 6550221 w 7467600"/>
              <a:gd name="connsiteY893" fmla="*/ 1910729 h 6858000"/>
              <a:gd name="connsiteX894" fmla="*/ 6964438 w 7467600"/>
              <a:gd name="connsiteY894" fmla="*/ 2209505 h 6858000"/>
              <a:gd name="connsiteX895" fmla="*/ 7367862 w 7467600"/>
              <a:gd name="connsiteY895" fmla="*/ 2806833 h 6858000"/>
              <a:gd name="connsiteX896" fmla="*/ 7364329 w 7467600"/>
              <a:gd name="connsiteY896" fmla="*/ 2826907 h 6858000"/>
              <a:gd name="connsiteX897" fmla="*/ 7290545 w 7467600"/>
              <a:gd name="connsiteY897" fmla="*/ 2850663 h 6858000"/>
              <a:gd name="connsiteX898" fmla="*/ 6472036 w 7467600"/>
              <a:gd name="connsiteY898" fmla="*/ 1959003 h 6858000"/>
              <a:gd name="connsiteX899" fmla="*/ 5792897 w 7467600"/>
              <a:gd name="connsiteY899" fmla="*/ 1647747 h 6858000"/>
              <a:gd name="connsiteX900" fmla="*/ 5842751 w 7467600"/>
              <a:gd name="connsiteY900" fmla="*/ 1816112 h 6858000"/>
              <a:gd name="connsiteX901" fmla="*/ 5847424 w 7467600"/>
              <a:gd name="connsiteY901" fmla="*/ 1815776 h 6858000"/>
              <a:gd name="connsiteX902" fmla="*/ 6399821 w 7467600"/>
              <a:gd name="connsiteY902" fmla="*/ 2344799 h 6858000"/>
              <a:gd name="connsiteX903" fmla="*/ 6323232 w 7467600"/>
              <a:gd name="connsiteY903" fmla="*/ 2389634 h 6858000"/>
              <a:gd name="connsiteX904" fmla="*/ 5942958 w 7467600"/>
              <a:gd name="connsiteY904" fmla="*/ 2077708 h 6858000"/>
              <a:gd name="connsiteX905" fmla="*/ 5921559 w 7467600"/>
              <a:gd name="connsiteY905" fmla="*/ 2378596 h 6858000"/>
              <a:gd name="connsiteX906" fmla="*/ 5817651 w 7467600"/>
              <a:gd name="connsiteY906" fmla="*/ 3023919 h 6858000"/>
              <a:gd name="connsiteX907" fmla="*/ 5729634 w 7467600"/>
              <a:gd name="connsiteY907" fmla="*/ 3051849 h 6858000"/>
              <a:gd name="connsiteX908" fmla="*/ 5611018 w 7467600"/>
              <a:gd name="connsiteY908" fmla="*/ 2316769 h 6858000"/>
              <a:gd name="connsiteX909" fmla="*/ 5687608 w 7467600"/>
              <a:gd name="connsiteY909" fmla="*/ 2039972 h 6858000"/>
              <a:gd name="connsiteX910" fmla="*/ 5657554 w 7467600"/>
              <a:gd name="connsiteY910" fmla="*/ 1576445 h 6858000"/>
              <a:gd name="connsiteX911" fmla="*/ 5150475 w 7467600"/>
              <a:gd name="connsiteY911" fmla="*/ 1274012 h 6858000"/>
              <a:gd name="connsiteX912" fmla="*/ 5349142 w 7467600"/>
              <a:gd name="connsiteY912" fmla="*/ 2204405 h 6858000"/>
              <a:gd name="connsiteX913" fmla="*/ 5262214 w 7467600"/>
              <a:gd name="connsiteY913" fmla="*/ 2233836 h 6858000"/>
              <a:gd name="connsiteX914" fmla="*/ 4981539 w 7467600"/>
              <a:gd name="connsiteY914" fmla="*/ 1542201 h 6858000"/>
              <a:gd name="connsiteX915" fmla="*/ 4958461 w 7467600"/>
              <a:gd name="connsiteY915" fmla="*/ 1136957 h 6858000"/>
              <a:gd name="connsiteX916" fmla="*/ 4655015 w 7467600"/>
              <a:gd name="connsiteY916" fmla="*/ 891426 h 6858000"/>
              <a:gd name="connsiteX917" fmla="*/ 4348002 w 7467600"/>
              <a:gd name="connsiteY917" fmla="*/ 2205895 h 6858000"/>
              <a:gd name="connsiteX918" fmla="*/ 4262250 w 7467600"/>
              <a:gd name="connsiteY918" fmla="*/ 2219972 h 6858000"/>
              <a:gd name="connsiteX919" fmla="*/ 4550611 w 7467600"/>
              <a:gd name="connsiteY919" fmla="*/ 817540 h 6858000"/>
              <a:gd name="connsiteX920" fmla="*/ 4564418 w 7467600"/>
              <a:gd name="connsiteY920" fmla="*/ 808293 h 6858000"/>
              <a:gd name="connsiteX921" fmla="*/ 4266388 w 7467600"/>
              <a:gd name="connsiteY921" fmla="*/ 500083 h 6858000"/>
              <a:gd name="connsiteX922" fmla="*/ 4032842 w 7467600"/>
              <a:gd name="connsiteY922" fmla="*/ 211809 h 6858000"/>
              <a:gd name="connsiteX923" fmla="*/ 3882765 w 7467600"/>
              <a:gd name="connsiteY923" fmla="*/ 0 h 6858000"/>
              <a:gd name="connsiteX924" fmla="*/ 3721337 w 7467600"/>
              <a:gd name="connsiteY924" fmla="*/ 0 h 6858000"/>
              <a:gd name="connsiteX925" fmla="*/ 3797544 w 7467600"/>
              <a:gd name="connsiteY925" fmla="*/ 0 h 6858000"/>
              <a:gd name="connsiteX926" fmla="*/ 3775734 w 7467600"/>
              <a:gd name="connsiteY926" fmla="*/ 95131 h 6858000"/>
              <a:gd name="connsiteX927" fmla="*/ 3724807 w 7467600"/>
              <a:gd name="connsiteY927" fmla="*/ 272257 h 6858000"/>
              <a:gd name="connsiteX928" fmla="*/ 3726844 w 7467600"/>
              <a:gd name="connsiteY928" fmla="*/ 282988 h 6858000"/>
              <a:gd name="connsiteX929" fmla="*/ 3742664 w 7467600"/>
              <a:gd name="connsiteY929" fmla="*/ 279918 h 6858000"/>
              <a:gd name="connsiteX930" fmla="*/ 4103910 w 7467600"/>
              <a:gd name="connsiteY930" fmla="*/ 1161917 h 6858000"/>
              <a:gd name="connsiteX931" fmla="*/ 4020269 w 7467600"/>
              <a:gd name="connsiteY931" fmla="*/ 1200406 h 6858000"/>
              <a:gd name="connsiteX932" fmla="*/ 3674882 w 7467600"/>
              <a:gd name="connsiteY932" fmla="*/ 488524 h 6858000"/>
              <a:gd name="connsiteX933" fmla="*/ 3132682 w 7467600"/>
              <a:gd name="connsiteY933" fmla="*/ 1072284 h 6858000"/>
              <a:gd name="connsiteX934" fmla="*/ 2716346 w 7467600"/>
              <a:gd name="connsiteY934" fmla="*/ 1276376 h 6858000"/>
              <a:gd name="connsiteX935" fmla="*/ 2716772 w 7467600"/>
              <a:gd name="connsiteY935" fmla="*/ 1255462 h 6858000"/>
              <a:gd name="connsiteX936" fmla="*/ 3471096 w 7467600"/>
              <a:gd name="connsiteY936" fmla="*/ 437072 h 6858000"/>
              <a:gd name="connsiteX937" fmla="*/ 3639057 w 7467600"/>
              <a:gd name="connsiteY937" fmla="*/ 286334 h 6858000"/>
              <a:gd name="connsiteX938" fmla="*/ 3640309 w 7467600"/>
              <a:gd name="connsiteY938" fmla="*/ 284664 h 6858000"/>
              <a:gd name="connsiteX939" fmla="*/ 3646022 w 7467600"/>
              <a:gd name="connsiteY939" fmla="*/ 276711 h 6858000"/>
              <a:gd name="connsiteX940" fmla="*/ 3707943 w 7467600"/>
              <a:gd name="connsiteY940" fmla="*/ 65958 h 6858000"/>
              <a:gd name="connsiteX941" fmla="*/ 3721337 w 7467600"/>
              <a:gd name="connsiteY941" fmla="*/ 0 h 6858000"/>
              <a:gd name="connsiteX942" fmla="*/ 2867960 w 7467600"/>
              <a:gd name="connsiteY942" fmla="*/ 0 h 6858000"/>
              <a:gd name="connsiteX943" fmla="*/ 2926351 w 7467600"/>
              <a:gd name="connsiteY943" fmla="*/ 0 h 6858000"/>
              <a:gd name="connsiteX944" fmla="*/ 2902823 w 7467600"/>
              <a:gd name="connsiteY944" fmla="*/ 262929 h 6858000"/>
              <a:gd name="connsiteX945" fmla="*/ 2940663 w 7467600"/>
              <a:gd name="connsiteY945" fmla="*/ 140884 h 6858000"/>
              <a:gd name="connsiteX946" fmla="*/ 2947039 w 7467600"/>
              <a:gd name="connsiteY946" fmla="*/ 122524 h 6858000"/>
              <a:gd name="connsiteX947" fmla="*/ 2984316 w 7467600"/>
              <a:gd name="connsiteY947" fmla="*/ 0 h 6858000"/>
              <a:gd name="connsiteX948" fmla="*/ 3016114 w 7467600"/>
              <a:gd name="connsiteY948" fmla="*/ 0 h 6858000"/>
              <a:gd name="connsiteX949" fmla="*/ 2979949 w 7467600"/>
              <a:gd name="connsiteY949" fmla="*/ 119274 h 6858000"/>
              <a:gd name="connsiteX950" fmla="*/ 3023879 w 7467600"/>
              <a:gd name="connsiteY950" fmla="*/ 0 h 6858000"/>
              <a:gd name="connsiteX951" fmla="*/ 3105400 w 7467600"/>
              <a:gd name="connsiteY951" fmla="*/ 0 h 6858000"/>
              <a:gd name="connsiteX952" fmla="*/ 3094669 w 7467600"/>
              <a:gd name="connsiteY952" fmla="*/ 30308 h 6858000"/>
              <a:gd name="connsiteX953" fmla="*/ 2901945 w 7467600"/>
              <a:gd name="connsiteY953" fmla="*/ 466538 h 6858000"/>
              <a:gd name="connsiteX954" fmla="*/ 2815209 w 7467600"/>
              <a:gd name="connsiteY954" fmla="*/ 497361 h 6858000"/>
              <a:gd name="connsiteX955" fmla="*/ 2844845 w 7467600"/>
              <a:gd name="connsiteY955" fmla="*/ 127638 h 6858000"/>
              <a:gd name="connsiteX956" fmla="*/ 2867960 w 7467600"/>
              <a:gd name="connsiteY956" fmla="*/ 0 h 6858000"/>
              <a:gd name="connsiteX957" fmla="*/ 1057230 w 7467600"/>
              <a:gd name="connsiteY957" fmla="*/ 0 h 6858000"/>
              <a:gd name="connsiteX958" fmla="*/ 1111003 w 7467600"/>
              <a:gd name="connsiteY958" fmla="*/ 0 h 6858000"/>
              <a:gd name="connsiteX959" fmla="*/ 1125553 w 7467600"/>
              <a:gd name="connsiteY959" fmla="*/ 52588 h 6858000"/>
              <a:gd name="connsiteX960" fmla="*/ 1304276 w 7467600"/>
              <a:gd name="connsiteY960" fmla="*/ 476275 h 6858000"/>
              <a:gd name="connsiteX961" fmla="*/ 1492066 w 7467600"/>
              <a:gd name="connsiteY961" fmla="*/ 886333 h 6858000"/>
              <a:gd name="connsiteX962" fmla="*/ 1423698 w 7467600"/>
              <a:gd name="connsiteY962" fmla="*/ 710817 h 6858000"/>
              <a:gd name="connsiteX963" fmla="*/ 1357609 w 7467600"/>
              <a:gd name="connsiteY963" fmla="*/ 532892 h 6858000"/>
              <a:gd name="connsiteX964" fmla="*/ 1309550 w 7467600"/>
              <a:gd name="connsiteY964" fmla="*/ 374031 h 6858000"/>
              <a:gd name="connsiteX965" fmla="*/ 1193673 w 7467600"/>
              <a:gd name="connsiteY965" fmla="*/ 49533 h 6858000"/>
              <a:gd name="connsiteX966" fmla="*/ 1164391 w 7467600"/>
              <a:gd name="connsiteY966" fmla="*/ 0 h 6858000"/>
              <a:gd name="connsiteX967" fmla="*/ 1200666 w 7467600"/>
              <a:gd name="connsiteY967" fmla="*/ 0 h 6858000"/>
              <a:gd name="connsiteX968" fmla="*/ 1223408 w 7467600"/>
              <a:gd name="connsiteY968" fmla="*/ 38996 h 6858000"/>
              <a:gd name="connsiteX969" fmla="*/ 1339635 w 7467600"/>
              <a:gd name="connsiteY969" fmla="*/ 365517 h 6858000"/>
              <a:gd name="connsiteX970" fmla="*/ 1387469 w 7467600"/>
              <a:gd name="connsiteY970" fmla="*/ 523079 h 6858000"/>
              <a:gd name="connsiteX971" fmla="*/ 1452685 w 7467600"/>
              <a:gd name="connsiteY971" fmla="*/ 699806 h 6858000"/>
              <a:gd name="connsiteX972" fmla="*/ 1492092 w 7467600"/>
              <a:gd name="connsiteY972" fmla="*/ 800424 h 6858000"/>
              <a:gd name="connsiteX973" fmla="*/ 1455302 w 7467600"/>
              <a:gd name="connsiteY973" fmla="*/ 632913 h 6858000"/>
              <a:gd name="connsiteX974" fmla="*/ 1222336 w 7467600"/>
              <a:gd name="connsiteY974" fmla="*/ 9480 h 6858000"/>
              <a:gd name="connsiteX975" fmla="*/ 1214634 w 7467600"/>
              <a:gd name="connsiteY975" fmla="*/ 0 h 6858000"/>
              <a:gd name="connsiteX976" fmla="*/ 1289827 w 7467600"/>
              <a:gd name="connsiteY976" fmla="*/ 0 h 6858000"/>
              <a:gd name="connsiteX977" fmla="*/ 1321076 w 7467600"/>
              <a:gd name="connsiteY977" fmla="*/ 59722 h 6858000"/>
              <a:gd name="connsiteX978" fmla="*/ 1512579 w 7467600"/>
              <a:gd name="connsiteY978" fmla="*/ 626441 h 6858000"/>
              <a:gd name="connsiteX979" fmla="*/ 1506076 w 7467600"/>
              <a:gd name="connsiteY979" fmla="*/ 1089289 h 6858000"/>
              <a:gd name="connsiteX980" fmla="*/ 1486346 w 7467600"/>
              <a:gd name="connsiteY980" fmla="*/ 1079919 h 6858000"/>
              <a:gd name="connsiteX981" fmla="*/ 1070511 w 7467600"/>
              <a:gd name="connsiteY981" fmla="*/ 48609 h 6858000"/>
              <a:gd name="connsiteX982" fmla="*/ 1057230 w 7467600"/>
              <a:gd name="connsiteY982" fmla="*/ 0 h 6858000"/>
              <a:gd name="connsiteX983" fmla="*/ 43151 w 7467600"/>
              <a:gd name="connsiteY983" fmla="*/ 0 h 6858000"/>
              <a:gd name="connsiteX984" fmla="*/ 95283 w 7467600"/>
              <a:gd name="connsiteY984" fmla="*/ 0 h 6858000"/>
              <a:gd name="connsiteX985" fmla="*/ 300708 w 7467600"/>
              <a:gd name="connsiteY985" fmla="*/ 154571 h 6858000"/>
              <a:gd name="connsiteX986" fmla="*/ 530414 w 7467600"/>
              <a:gd name="connsiteY986" fmla="*/ 354673 h 6858000"/>
              <a:gd name="connsiteX987" fmla="*/ 333785 w 7467600"/>
              <a:gd name="connsiteY987" fmla="*/ 161564 h 6858000"/>
              <a:gd name="connsiteX988" fmla="*/ 147005 w 7467600"/>
              <a:gd name="connsiteY988" fmla="*/ 0 h 6858000"/>
              <a:gd name="connsiteX989" fmla="*/ 272509 w 7467600"/>
              <a:gd name="connsiteY989" fmla="*/ 0 h 6858000"/>
              <a:gd name="connsiteX990" fmla="*/ 326276 w 7467600"/>
              <a:gd name="connsiteY990" fmla="*/ 45847 h 6858000"/>
              <a:gd name="connsiteX991" fmla="*/ 823759 w 7467600"/>
              <a:gd name="connsiteY991" fmla="*/ 574145 h 6858000"/>
              <a:gd name="connsiteX992" fmla="*/ 811254 w 7467600"/>
              <a:gd name="connsiteY992" fmla="*/ 665546 h 6858000"/>
              <a:gd name="connsiteX993" fmla="*/ 154042 w 7467600"/>
              <a:gd name="connsiteY993" fmla="*/ 261522 h 6858000"/>
              <a:gd name="connsiteX994" fmla="*/ 13550 w 7467600"/>
              <a:gd name="connsiteY994" fmla="*/ 158423 h 6858000"/>
              <a:gd name="connsiteX995" fmla="*/ 0 w 7467600"/>
              <a:gd name="connsiteY995" fmla="*/ 146618 h 6858000"/>
              <a:gd name="connsiteX996" fmla="*/ 0 w 7467600"/>
              <a:gd name="connsiteY996" fmla="*/ 59161 h 6858000"/>
              <a:gd name="connsiteX997" fmla="*/ 45427 w 7467600"/>
              <a:gd name="connsiteY997" fmla="*/ 101078 h 6858000"/>
              <a:gd name="connsiteX998" fmla="*/ 630103 w 7467600"/>
              <a:gd name="connsiteY998" fmla="*/ 485885 h 6858000"/>
              <a:gd name="connsiteX999" fmla="*/ 532040 w 7467600"/>
              <a:gd name="connsiteY999" fmla="*/ 399359 h 6858000"/>
              <a:gd name="connsiteX1000" fmla="*/ 517618 w 7467600"/>
              <a:gd name="connsiteY1000" fmla="*/ 385726 h 6858000"/>
              <a:gd name="connsiteX1001" fmla="*/ 285074 w 7467600"/>
              <a:gd name="connsiteY1001" fmla="*/ 182755 h 6858000"/>
              <a:gd name="connsiteX1002" fmla="*/ 43151 w 7467600"/>
              <a:gd name="connsiteY1002"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131946 w 7467600"/>
              <a:gd name="connsiteY127" fmla="*/ 5075653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7327465 w 7467600"/>
              <a:gd name="connsiteY139" fmla="*/ 5174181 h 6858000"/>
              <a:gd name="connsiteX140" fmla="*/ 7244057 w 7467600"/>
              <a:gd name="connsiteY140" fmla="*/ 5124233 h 6858000"/>
              <a:gd name="connsiteX141" fmla="*/ 7353035 w 7467600"/>
              <a:gd name="connsiteY141" fmla="*/ 5197318 h 6858000"/>
              <a:gd name="connsiteX142" fmla="*/ 7467600 w 7467600"/>
              <a:gd name="connsiteY142" fmla="*/ 5297634 h 6858000"/>
              <a:gd name="connsiteX143" fmla="*/ 7467600 w 7467600"/>
              <a:gd name="connsiteY143" fmla="*/ 5361850 h 6858000"/>
              <a:gd name="connsiteX144" fmla="*/ 7368569 w 7467600"/>
              <a:gd name="connsiteY144" fmla="*/ 5270182 h 6858000"/>
              <a:gd name="connsiteX145" fmla="*/ 7131946 w 7467600"/>
              <a:gd name="connsiteY145" fmla="*/ 5075653 h 6858000"/>
              <a:gd name="connsiteX146" fmla="*/ 1903353 w 7467600"/>
              <a:gd name="connsiteY146" fmla="*/ 5044827 h 6858000"/>
              <a:gd name="connsiteX147" fmla="*/ 1936931 w 7467600"/>
              <a:gd name="connsiteY147" fmla="*/ 5093954 h 6858000"/>
              <a:gd name="connsiteX148" fmla="*/ 2195868 w 7467600"/>
              <a:gd name="connsiteY148" fmla="*/ 5396574 h 6858000"/>
              <a:gd name="connsiteX149" fmla="*/ 2088852 w 7467600"/>
              <a:gd name="connsiteY149" fmla="*/ 5166123 h 6858000"/>
              <a:gd name="connsiteX150" fmla="*/ 1958241 w 7467600"/>
              <a:gd name="connsiteY150" fmla="*/ 5067955 h 6858000"/>
              <a:gd name="connsiteX151" fmla="*/ 1903353 w 7467600"/>
              <a:gd name="connsiteY151" fmla="*/ 5044827 h 6858000"/>
              <a:gd name="connsiteX152" fmla="*/ 1979378 w 7467600"/>
              <a:gd name="connsiteY152" fmla="*/ 4769504 h 6858000"/>
              <a:gd name="connsiteX153" fmla="*/ 2882120 w 7467600"/>
              <a:gd name="connsiteY153" fmla="*/ 5064547 h 6858000"/>
              <a:gd name="connsiteX154" fmla="*/ 2793103 w 7467600"/>
              <a:gd name="connsiteY154" fmla="*/ 5039699 h 6858000"/>
              <a:gd name="connsiteX155" fmla="*/ 2770041 w 7467600"/>
              <a:gd name="connsiteY155" fmla="*/ 5033634 h 6858000"/>
              <a:gd name="connsiteX156" fmla="*/ 1979378 w 7467600"/>
              <a:gd name="connsiteY156" fmla="*/ 4769504 h 6858000"/>
              <a:gd name="connsiteX157" fmla="*/ 1927410 w 7467600"/>
              <a:gd name="connsiteY157" fmla="*/ 4716164 h 6858000"/>
              <a:gd name="connsiteX158" fmla="*/ 1959587 w 7467600"/>
              <a:gd name="connsiteY158" fmla="*/ 4728849 h 6858000"/>
              <a:gd name="connsiteX159" fmla="*/ 2777707 w 7467600"/>
              <a:gd name="connsiteY159" fmla="*/ 5003991 h 6858000"/>
              <a:gd name="connsiteX160" fmla="*/ 2800768 w 7467600"/>
              <a:gd name="connsiteY160" fmla="*/ 5010056 h 6858000"/>
              <a:gd name="connsiteX161" fmla="*/ 2879408 w 7467600"/>
              <a:gd name="connsiteY161" fmla="*/ 5031590 h 6858000"/>
              <a:gd name="connsiteX162" fmla="*/ 2862295 w 7467600"/>
              <a:gd name="connsiteY162" fmla="*/ 5022958 h 6858000"/>
              <a:gd name="connsiteX163" fmla="*/ 2813343 w 7467600"/>
              <a:gd name="connsiteY163" fmla="*/ 4998369 h 6858000"/>
              <a:gd name="connsiteX164" fmla="*/ 2646245 w 7467600"/>
              <a:gd name="connsiteY164" fmla="*/ 4930999 h 6858000"/>
              <a:gd name="connsiteX165" fmla="*/ 1999243 w 7467600"/>
              <a:gd name="connsiteY165" fmla="*/ 4730524 h 6858000"/>
              <a:gd name="connsiteX166" fmla="*/ 1979527 w 7467600"/>
              <a:gd name="connsiteY166" fmla="*/ 4726651 h 6858000"/>
              <a:gd name="connsiteX167" fmla="*/ 1927410 w 7467600"/>
              <a:gd name="connsiteY167" fmla="*/ 4716164 h 6858000"/>
              <a:gd name="connsiteX168" fmla="*/ 1997014 w 7467600"/>
              <a:gd name="connsiteY168" fmla="*/ 4698007 h 6858000"/>
              <a:gd name="connsiteX169" fmla="*/ 2005458 w 7467600"/>
              <a:gd name="connsiteY169" fmla="*/ 4699540 h 6858000"/>
              <a:gd name="connsiteX170" fmla="*/ 2657186 w 7467600"/>
              <a:gd name="connsiteY170" fmla="*/ 4901687 h 6858000"/>
              <a:gd name="connsiteX171" fmla="*/ 2826662 w 7467600"/>
              <a:gd name="connsiteY171" fmla="*/ 4970362 h 6858000"/>
              <a:gd name="connsiteX172" fmla="*/ 2876100 w 7467600"/>
              <a:gd name="connsiteY172" fmla="*/ 4995397 h 6858000"/>
              <a:gd name="connsiteX173" fmla="*/ 3042600 w 7467600"/>
              <a:gd name="connsiteY173" fmla="*/ 5059532 h 6858000"/>
              <a:gd name="connsiteX174" fmla="*/ 1997014 w 7467600"/>
              <a:gd name="connsiteY174" fmla="*/ 4698007 h 6858000"/>
              <a:gd name="connsiteX175" fmla="*/ 2305292 w 7467600"/>
              <a:gd name="connsiteY175" fmla="*/ 4219492 h 6858000"/>
              <a:gd name="connsiteX176" fmla="*/ 3360922 w 7467600"/>
              <a:gd name="connsiteY176" fmla="*/ 4529373 h 6858000"/>
              <a:gd name="connsiteX177" fmla="*/ 3492420 w 7467600"/>
              <a:gd name="connsiteY177" fmla="*/ 4510145 h 6858000"/>
              <a:gd name="connsiteX178" fmla="*/ 3364086 w 7467600"/>
              <a:gd name="connsiteY178" fmla="*/ 4480340 h 6858000"/>
              <a:gd name="connsiteX179" fmla="*/ 3225818 w 7467600"/>
              <a:gd name="connsiteY179" fmla="*/ 4411822 h 6858000"/>
              <a:gd name="connsiteX180" fmla="*/ 3129696 w 7467600"/>
              <a:gd name="connsiteY180" fmla="*/ 4360704 h 6858000"/>
              <a:gd name="connsiteX181" fmla="*/ 2814545 w 7467600"/>
              <a:gd name="connsiteY181" fmla="*/ 4282955 h 6858000"/>
              <a:gd name="connsiteX182" fmla="*/ 2305292 w 7467600"/>
              <a:gd name="connsiteY182" fmla="*/ 4219492 h 6858000"/>
              <a:gd name="connsiteX183" fmla="*/ 2626982 w 7467600"/>
              <a:gd name="connsiteY183" fmla="*/ 4206450 h 6858000"/>
              <a:gd name="connsiteX184" fmla="*/ 2490617 w 7467600"/>
              <a:gd name="connsiteY184" fmla="*/ 4206951 h 6858000"/>
              <a:gd name="connsiteX185" fmla="*/ 2819869 w 7467600"/>
              <a:gd name="connsiteY185" fmla="*/ 4252936 h 6858000"/>
              <a:gd name="connsiteX186" fmla="*/ 3143018 w 7467600"/>
              <a:gd name="connsiteY186" fmla="*/ 4332698 h 6858000"/>
              <a:gd name="connsiteX187" fmla="*/ 3241520 w 7467600"/>
              <a:gd name="connsiteY187" fmla="*/ 4385112 h 6858000"/>
              <a:gd name="connsiteX188" fmla="*/ 3374575 w 7467600"/>
              <a:gd name="connsiteY188" fmla="*/ 4451517 h 6858000"/>
              <a:gd name="connsiteX189" fmla="*/ 3505221 w 7467600"/>
              <a:gd name="connsiteY189" fmla="*/ 4480757 h 6858000"/>
              <a:gd name="connsiteX190" fmla="*/ 2626982 w 7467600"/>
              <a:gd name="connsiteY190" fmla="*/ 4206450 h 6858000"/>
              <a:gd name="connsiteX191" fmla="*/ 1310106 w 7467600"/>
              <a:gd name="connsiteY191" fmla="*/ 3943217 h 6858000"/>
              <a:gd name="connsiteX192" fmla="*/ 854994 w 7467600"/>
              <a:gd name="connsiteY192" fmla="*/ 4399136 h 6858000"/>
              <a:gd name="connsiteX193" fmla="*/ 742462 w 7467600"/>
              <a:gd name="connsiteY193" fmla="*/ 4594648 h 6858000"/>
              <a:gd name="connsiteX194" fmla="*/ 820602 w 7467600"/>
              <a:gd name="connsiteY194" fmla="*/ 4485915 h 6858000"/>
              <a:gd name="connsiteX195" fmla="*/ 878295 w 7467600"/>
              <a:gd name="connsiteY195" fmla="*/ 4403594 h 6858000"/>
              <a:gd name="connsiteX196" fmla="*/ 1240607 w 7467600"/>
              <a:gd name="connsiteY196" fmla="*/ 4010401 h 6858000"/>
              <a:gd name="connsiteX197" fmla="*/ 1310106 w 7467600"/>
              <a:gd name="connsiteY197" fmla="*/ 3943217 h 6858000"/>
              <a:gd name="connsiteX198" fmla="*/ 1423113 w 7467600"/>
              <a:gd name="connsiteY198" fmla="*/ 3874565 h 6858000"/>
              <a:gd name="connsiteX199" fmla="*/ 1260565 w 7467600"/>
              <a:gd name="connsiteY199" fmla="*/ 4031982 h 6858000"/>
              <a:gd name="connsiteX200" fmla="*/ 901900 w 7467600"/>
              <a:gd name="connsiteY200" fmla="*/ 4421236 h 6858000"/>
              <a:gd name="connsiteX201" fmla="*/ 845044 w 7467600"/>
              <a:gd name="connsiteY201" fmla="*/ 4502436 h 6858000"/>
              <a:gd name="connsiteX202" fmla="*/ 685926 w 7467600"/>
              <a:gd name="connsiteY202" fmla="*/ 4703069 h 6858000"/>
              <a:gd name="connsiteX203" fmla="*/ 684248 w 7467600"/>
              <a:gd name="connsiteY203" fmla="*/ 4706721 h 6858000"/>
              <a:gd name="connsiteX204" fmla="*/ 1423113 w 7467600"/>
              <a:gd name="connsiteY204" fmla="*/ 3874565 h 6858000"/>
              <a:gd name="connsiteX205" fmla="*/ 3316479 w 7467600"/>
              <a:gd name="connsiteY205" fmla="*/ 3872136 h 6858000"/>
              <a:gd name="connsiteX206" fmla="*/ 3546806 w 7467600"/>
              <a:gd name="connsiteY206" fmla="*/ 4356139 h 6858000"/>
              <a:gd name="connsiteX207" fmla="*/ 3364433 w 7467600"/>
              <a:gd name="connsiteY207" fmla="*/ 3953121 h 6858000"/>
              <a:gd name="connsiteX208" fmla="*/ 3316479 w 7467600"/>
              <a:gd name="connsiteY208" fmla="*/ 3872136 h 6858000"/>
              <a:gd name="connsiteX209" fmla="*/ 3291335 w 7467600"/>
              <a:gd name="connsiteY209" fmla="*/ 3767420 h 6858000"/>
              <a:gd name="connsiteX210" fmla="*/ 3390805 w 7467600"/>
              <a:gd name="connsiteY210" fmla="*/ 3937163 h 6858000"/>
              <a:gd name="connsiteX211" fmla="*/ 3579062 w 7467600"/>
              <a:gd name="connsiteY211" fmla="*/ 4359040 h 6858000"/>
              <a:gd name="connsiteX212" fmla="*/ 3467355 w 7467600"/>
              <a:gd name="connsiteY212" fmla="*/ 3988130 h 6858000"/>
              <a:gd name="connsiteX213" fmla="*/ 3310753 w 7467600"/>
              <a:gd name="connsiteY213" fmla="*/ 3787140 h 6858000"/>
              <a:gd name="connsiteX214" fmla="*/ 3291335 w 7467600"/>
              <a:gd name="connsiteY214" fmla="*/ 3767420 h 6858000"/>
              <a:gd name="connsiteX215" fmla="*/ 1635889 w 7467600"/>
              <a:gd name="connsiteY215" fmla="*/ 3709494 h 6858000"/>
              <a:gd name="connsiteX216" fmla="*/ 1634800 w 7467600"/>
              <a:gd name="connsiteY216" fmla="*/ 3731111 h 6858000"/>
              <a:gd name="connsiteX217" fmla="*/ 1635889 w 7467600"/>
              <a:gd name="connsiteY217" fmla="*/ 3709494 h 6858000"/>
              <a:gd name="connsiteX218" fmla="*/ 1510397 w 7467600"/>
              <a:gd name="connsiteY218" fmla="*/ 3684705 h 6858000"/>
              <a:gd name="connsiteX219" fmla="*/ 1146550 w 7467600"/>
              <a:gd name="connsiteY219" fmla="*/ 3802012 h 6858000"/>
              <a:gd name="connsiteX220" fmla="*/ 698834 w 7467600"/>
              <a:gd name="connsiteY220" fmla="*/ 3952272 h 6858000"/>
              <a:gd name="connsiteX221" fmla="*/ 34256 w 7467600"/>
              <a:gd name="connsiteY221" fmla="*/ 4347603 h 6858000"/>
              <a:gd name="connsiteX222" fmla="*/ 527241 w 7467600"/>
              <a:gd name="connsiteY222" fmla="*/ 4065078 h 6858000"/>
              <a:gd name="connsiteX223" fmla="*/ 1510397 w 7467600"/>
              <a:gd name="connsiteY223" fmla="*/ 3684705 h 6858000"/>
              <a:gd name="connsiteX224" fmla="*/ 1313114 w 7467600"/>
              <a:gd name="connsiteY224" fmla="*/ 3655216 h 6858000"/>
              <a:gd name="connsiteX225" fmla="*/ 1109304 w 7467600"/>
              <a:gd name="connsiteY225" fmla="*/ 3669030 h 6858000"/>
              <a:gd name="connsiteX226" fmla="*/ 8129 w 7467600"/>
              <a:gd name="connsiteY226" fmla="*/ 4330519 h 6858000"/>
              <a:gd name="connsiteX227" fmla="*/ 687572 w 7467600"/>
              <a:gd name="connsiteY227" fmla="*/ 3925629 h 6858000"/>
              <a:gd name="connsiteX228" fmla="*/ 1138365 w 7467600"/>
              <a:gd name="connsiteY228" fmla="*/ 3774515 h 6858000"/>
              <a:gd name="connsiteX229" fmla="*/ 1505579 w 7467600"/>
              <a:gd name="connsiteY229" fmla="*/ 3655526 h 6858000"/>
              <a:gd name="connsiteX230" fmla="*/ 1313114 w 7467600"/>
              <a:gd name="connsiteY230" fmla="*/ 3655216 h 6858000"/>
              <a:gd name="connsiteX231" fmla="*/ 3655073 w 7467600"/>
              <a:gd name="connsiteY231" fmla="*/ 3650884 h 6858000"/>
              <a:gd name="connsiteX232" fmla="*/ 3989938 w 7467600"/>
              <a:gd name="connsiteY232" fmla="*/ 3991685 h 6858000"/>
              <a:gd name="connsiteX233" fmla="*/ 4393907 w 7467600"/>
              <a:gd name="connsiteY233" fmla="*/ 4261258 h 6858000"/>
              <a:gd name="connsiteX234" fmla="*/ 4648051 w 7467600"/>
              <a:gd name="connsiteY234" fmla="*/ 4374051 h 6858000"/>
              <a:gd name="connsiteX235" fmla="*/ 4383389 w 7467600"/>
              <a:gd name="connsiteY235" fmla="*/ 4184369 h 6858000"/>
              <a:gd name="connsiteX236" fmla="*/ 4165508 w 7467600"/>
              <a:gd name="connsiteY236" fmla="*/ 4035196 h 6858000"/>
              <a:gd name="connsiteX237" fmla="*/ 4068162 w 7467600"/>
              <a:gd name="connsiteY237" fmla="*/ 3953394 h 6858000"/>
              <a:gd name="connsiteX238" fmla="*/ 3981416 w 7467600"/>
              <a:gd name="connsiteY238" fmla="*/ 3880482 h 6858000"/>
              <a:gd name="connsiteX239" fmla="*/ 3800147 w 7467600"/>
              <a:gd name="connsiteY239" fmla="*/ 3749872 h 6858000"/>
              <a:gd name="connsiteX240" fmla="*/ 3655073 w 7467600"/>
              <a:gd name="connsiteY240" fmla="*/ 3650884 h 6858000"/>
              <a:gd name="connsiteX241" fmla="*/ 3670252 w 7467600"/>
              <a:gd name="connsiteY241" fmla="*/ 3622798 h 6858000"/>
              <a:gd name="connsiteX242" fmla="*/ 3817258 w 7467600"/>
              <a:gd name="connsiteY242" fmla="*/ 3723577 h 6858000"/>
              <a:gd name="connsiteX243" fmla="*/ 4000461 w 7467600"/>
              <a:gd name="connsiteY243" fmla="*/ 3855966 h 6858000"/>
              <a:gd name="connsiteX244" fmla="*/ 4088180 w 7467600"/>
              <a:gd name="connsiteY244" fmla="*/ 3929774 h 6858000"/>
              <a:gd name="connsiteX245" fmla="*/ 4184555 w 7467600"/>
              <a:gd name="connsiteY245" fmla="*/ 4010683 h 6858000"/>
              <a:gd name="connsiteX246" fmla="*/ 4399563 w 7467600"/>
              <a:gd name="connsiteY246" fmla="*/ 4158106 h 6858000"/>
              <a:gd name="connsiteX247" fmla="*/ 4684469 w 7467600"/>
              <a:gd name="connsiteY247" fmla="*/ 4364680 h 6858000"/>
              <a:gd name="connsiteX248" fmla="*/ 4690271 w 7467600"/>
              <a:gd name="connsiteY248" fmla="*/ 4370034 h 6858000"/>
              <a:gd name="connsiteX249" fmla="*/ 4136093 w 7467600"/>
              <a:gd name="connsiteY249" fmla="*/ 3858466 h 6858000"/>
              <a:gd name="connsiteX250" fmla="*/ 3670252 w 7467600"/>
              <a:gd name="connsiteY250" fmla="*/ 3622798 h 6858000"/>
              <a:gd name="connsiteX251" fmla="*/ 4440129 w 7467600"/>
              <a:gd name="connsiteY251" fmla="*/ 3448571 h 6858000"/>
              <a:gd name="connsiteX252" fmla="*/ 4856525 w 7467600"/>
              <a:gd name="connsiteY252" fmla="*/ 3915351 h 6858000"/>
              <a:gd name="connsiteX253" fmla="*/ 5059055 w 7467600"/>
              <a:gd name="connsiteY253" fmla="*/ 4108918 h 6858000"/>
              <a:gd name="connsiteX254" fmla="*/ 5290070 w 7467600"/>
              <a:gd name="connsiteY254" fmla="*/ 4263619 h 6858000"/>
              <a:gd name="connsiteX255" fmla="*/ 4834991 w 7467600"/>
              <a:gd name="connsiteY255" fmla="*/ 3830985 h 6858000"/>
              <a:gd name="connsiteX256" fmla="*/ 4440129 w 7467600"/>
              <a:gd name="connsiteY256" fmla="*/ 3448571 h 6858000"/>
              <a:gd name="connsiteX257" fmla="*/ 4441737 w 7467600"/>
              <a:gd name="connsiteY257" fmla="*/ 3399734 h 6858000"/>
              <a:gd name="connsiteX258" fmla="*/ 4431236 w 7467600"/>
              <a:gd name="connsiteY258" fmla="*/ 3400954 h 6858000"/>
              <a:gd name="connsiteX259" fmla="*/ 4557150 w 7467600"/>
              <a:gd name="connsiteY259" fmla="*/ 3510023 h 6858000"/>
              <a:gd name="connsiteX260" fmla="*/ 4856936 w 7467600"/>
              <a:gd name="connsiteY260" fmla="*/ 3809146 h 6858000"/>
              <a:gd name="connsiteX261" fmla="*/ 5111996 w 7467600"/>
              <a:gd name="connsiteY261" fmla="*/ 4065759 h 6858000"/>
              <a:gd name="connsiteX262" fmla="*/ 5388878 w 7467600"/>
              <a:gd name="connsiteY262" fmla="*/ 4300185 h 6858000"/>
              <a:gd name="connsiteX263" fmla="*/ 5425556 w 7467600"/>
              <a:gd name="connsiteY263" fmla="*/ 4308967 h 6858000"/>
              <a:gd name="connsiteX264" fmla="*/ 4943646 w 7467600"/>
              <a:gd name="connsiteY264" fmla="*/ 3822916 h 6858000"/>
              <a:gd name="connsiteX265" fmla="*/ 4594837 w 7467600"/>
              <a:gd name="connsiteY265" fmla="*/ 3532274 h 6858000"/>
              <a:gd name="connsiteX266" fmla="*/ 4441737 w 7467600"/>
              <a:gd name="connsiteY266" fmla="*/ 3399734 h 6858000"/>
              <a:gd name="connsiteX267" fmla="*/ 5425834 w 7467600"/>
              <a:gd name="connsiteY267" fmla="*/ 3162785 h 6858000"/>
              <a:gd name="connsiteX268" fmla="*/ 5401644 w 7467600"/>
              <a:gd name="connsiteY268" fmla="*/ 3617847 h 6858000"/>
              <a:gd name="connsiteX269" fmla="*/ 5467256 w 7467600"/>
              <a:gd name="connsiteY269" fmla="*/ 4175494 h 6858000"/>
              <a:gd name="connsiteX270" fmla="*/ 5448069 w 7467600"/>
              <a:gd name="connsiteY270" fmla="*/ 3567554 h 6858000"/>
              <a:gd name="connsiteX271" fmla="*/ 5425834 w 7467600"/>
              <a:gd name="connsiteY271" fmla="*/ 3162785 h 6858000"/>
              <a:gd name="connsiteX272" fmla="*/ 1318687 w 7467600"/>
              <a:gd name="connsiteY272" fmla="*/ 3113840 h 6858000"/>
              <a:gd name="connsiteX273" fmla="*/ 1066793 w 7467600"/>
              <a:gd name="connsiteY273" fmla="*/ 3212171 h 6858000"/>
              <a:gd name="connsiteX274" fmla="*/ 993319 w 7467600"/>
              <a:gd name="connsiteY274" fmla="*/ 3247648 h 6858000"/>
              <a:gd name="connsiteX275" fmla="*/ 853081 w 7467600"/>
              <a:gd name="connsiteY275" fmla="*/ 3312410 h 6858000"/>
              <a:gd name="connsiteX276" fmla="*/ 805957 w 7467600"/>
              <a:gd name="connsiteY276" fmla="*/ 3330443 h 6858000"/>
              <a:gd name="connsiteX277" fmla="*/ 1318687 w 7467600"/>
              <a:gd name="connsiteY277" fmla="*/ 3113840 h 6858000"/>
              <a:gd name="connsiteX278" fmla="*/ 5453702 w 7467600"/>
              <a:gd name="connsiteY278" fmla="*/ 3090882 h 6858000"/>
              <a:gd name="connsiteX279" fmla="*/ 5480135 w 7467600"/>
              <a:gd name="connsiteY279" fmla="*/ 3565802 h 6858000"/>
              <a:gd name="connsiteX280" fmla="*/ 5499023 w 7467600"/>
              <a:gd name="connsiteY280" fmla="*/ 4166310 h 6858000"/>
              <a:gd name="connsiteX281" fmla="*/ 5547022 w 7467600"/>
              <a:gd name="connsiteY281" fmla="*/ 3607838 h 6858000"/>
              <a:gd name="connsiteX282" fmla="*/ 5515964 w 7467600"/>
              <a:gd name="connsiteY282" fmla="*/ 3378541 h 6858000"/>
              <a:gd name="connsiteX283" fmla="*/ 5453702 w 7467600"/>
              <a:gd name="connsiteY283" fmla="*/ 3090882 h 6858000"/>
              <a:gd name="connsiteX284" fmla="*/ 1238695 w 7467600"/>
              <a:gd name="connsiteY284" fmla="*/ 3076820 h 6858000"/>
              <a:gd name="connsiteX285" fmla="*/ 716371 w 7467600"/>
              <a:gd name="connsiteY285" fmla="*/ 3293249 h 6858000"/>
              <a:gd name="connsiteX286" fmla="*/ 579522 w 7467600"/>
              <a:gd name="connsiteY286" fmla="*/ 3371759 h 6858000"/>
              <a:gd name="connsiteX287" fmla="*/ 600288 w 7467600"/>
              <a:gd name="connsiteY287" fmla="*/ 3365555 h 6858000"/>
              <a:gd name="connsiteX288" fmla="*/ 840692 w 7467600"/>
              <a:gd name="connsiteY288" fmla="*/ 3284921 h 6858000"/>
              <a:gd name="connsiteX289" fmla="*/ 979248 w 7467600"/>
              <a:gd name="connsiteY289" fmla="*/ 3221003 h 6858000"/>
              <a:gd name="connsiteX290" fmla="*/ 1053282 w 7467600"/>
              <a:gd name="connsiteY290" fmla="*/ 3185247 h 6858000"/>
              <a:gd name="connsiteX291" fmla="*/ 1320603 w 7467600"/>
              <a:gd name="connsiteY291" fmla="*/ 3081281 h 6858000"/>
              <a:gd name="connsiteX292" fmla="*/ 1238695 w 7467600"/>
              <a:gd name="connsiteY292" fmla="*/ 3076820 h 6858000"/>
              <a:gd name="connsiteX293" fmla="*/ 5425627 w 7467600"/>
              <a:gd name="connsiteY293" fmla="*/ 2954192 h 6858000"/>
              <a:gd name="connsiteX294" fmla="*/ 5470770 w 7467600"/>
              <a:gd name="connsiteY294" fmla="*/ 3005435 h 6858000"/>
              <a:gd name="connsiteX295" fmla="*/ 5519779 w 7467600"/>
              <a:gd name="connsiteY295" fmla="*/ 4359223 h 6858000"/>
              <a:gd name="connsiteX296" fmla="*/ 5520293 w 7467600"/>
              <a:gd name="connsiteY296" fmla="*/ 4360602 h 6858000"/>
              <a:gd name="connsiteX297" fmla="*/ 5767221 w 7467600"/>
              <a:gd name="connsiteY297" fmla="*/ 4665564 h 6858000"/>
              <a:gd name="connsiteX298" fmla="*/ 6937169 w 7467600"/>
              <a:gd name="connsiteY298" fmla="*/ 4815941 h 6858000"/>
              <a:gd name="connsiteX299" fmla="*/ 6953922 w 7467600"/>
              <a:gd name="connsiteY299" fmla="*/ 4890068 h 6858000"/>
              <a:gd name="connsiteX300" fmla="*/ 6071359 w 7467600"/>
              <a:gd name="connsiteY300" fmla="*/ 4770770 h 6858000"/>
              <a:gd name="connsiteX301" fmla="*/ 6038839 w 7467600"/>
              <a:gd name="connsiteY301" fmla="*/ 4764474 h 6858000"/>
              <a:gd name="connsiteX302" fmla="*/ 6038706 w 7467600"/>
              <a:gd name="connsiteY302" fmla="*/ 4763847 h 6858000"/>
              <a:gd name="connsiteX303" fmla="*/ 6037784 w 7467600"/>
              <a:gd name="connsiteY303" fmla="*/ 4764270 h 6858000"/>
              <a:gd name="connsiteX304" fmla="*/ 6038839 w 7467600"/>
              <a:gd name="connsiteY304" fmla="*/ 4764474 h 6858000"/>
              <a:gd name="connsiteX305" fmla="*/ 6040338 w 7467600"/>
              <a:gd name="connsiteY305" fmla="*/ 4771418 h 6858000"/>
              <a:gd name="connsiteX306" fmla="*/ 6024488 w 7467600"/>
              <a:gd name="connsiteY306" fmla="*/ 4809903 h 6858000"/>
              <a:gd name="connsiteX307" fmla="*/ 5599771 w 7467600"/>
              <a:gd name="connsiteY307" fmla="*/ 5509652 h 6858000"/>
              <a:gd name="connsiteX308" fmla="*/ 5548843 w 7467600"/>
              <a:gd name="connsiteY308" fmla="*/ 5563845 h 6858000"/>
              <a:gd name="connsiteX309" fmla="*/ 5940952 w 7467600"/>
              <a:gd name="connsiteY309" fmla="*/ 6250028 h 6858000"/>
              <a:gd name="connsiteX310" fmla="*/ 6043441 w 7467600"/>
              <a:gd name="connsiteY310" fmla="*/ 6665847 h 6858000"/>
              <a:gd name="connsiteX311" fmla="*/ 6093432 w 7467600"/>
              <a:gd name="connsiteY311" fmla="*/ 6858000 h 6858000"/>
              <a:gd name="connsiteX312" fmla="*/ 6034344 w 7467600"/>
              <a:gd name="connsiteY312" fmla="*/ 6858000 h 6858000"/>
              <a:gd name="connsiteX313" fmla="*/ 6026679 w 7467600"/>
              <a:gd name="connsiteY313" fmla="*/ 6836959 h 6858000"/>
              <a:gd name="connsiteX314" fmla="*/ 5800441 w 7467600"/>
              <a:gd name="connsiteY314" fmla="*/ 6335286 h 6858000"/>
              <a:gd name="connsiteX315" fmla="*/ 5526562 w 7467600"/>
              <a:gd name="connsiteY315" fmla="*/ 5705388 h 6858000"/>
              <a:gd name="connsiteX316" fmla="*/ 5519640 w 7467600"/>
              <a:gd name="connsiteY316" fmla="*/ 5683774 h 6858000"/>
              <a:gd name="connsiteX317" fmla="*/ 5844559 w 7467600"/>
              <a:gd name="connsiteY317" fmla="*/ 6553349 h 6858000"/>
              <a:gd name="connsiteX318" fmla="*/ 5975994 w 7467600"/>
              <a:gd name="connsiteY318" fmla="*/ 6858000 h 6858000"/>
              <a:gd name="connsiteX319" fmla="*/ 5898547 w 7467600"/>
              <a:gd name="connsiteY319" fmla="*/ 6858000 h 6858000"/>
              <a:gd name="connsiteX320" fmla="*/ 5682041 w 7467600"/>
              <a:gd name="connsiteY320" fmla="*/ 6355860 h 6858000"/>
              <a:gd name="connsiteX321" fmla="*/ 5461758 w 7467600"/>
              <a:gd name="connsiteY321" fmla="*/ 5820220 h 6858000"/>
              <a:gd name="connsiteX322" fmla="*/ 5237282 w 7467600"/>
              <a:gd name="connsiteY322" fmla="*/ 6579086 h 6858000"/>
              <a:gd name="connsiteX323" fmla="*/ 5115009 w 7467600"/>
              <a:gd name="connsiteY323" fmla="*/ 6858000 h 6858000"/>
              <a:gd name="connsiteX324" fmla="*/ 5028074 w 7467600"/>
              <a:gd name="connsiteY324" fmla="*/ 6858000 h 6858000"/>
              <a:gd name="connsiteX325" fmla="*/ 5079508 w 7467600"/>
              <a:gd name="connsiteY325" fmla="*/ 6749074 h 6858000"/>
              <a:gd name="connsiteX326" fmla="*/ 5371846 w 7467600"/>
              <a:gd name="connsiteY326" fmla="*/ 5924413 h 6858000"/>
              <a:gd name="connsiteX327" fmla="*/ 5270512 w 7467600"/>
              <a:gd name="connsiteY327" fmla="*/ 6138975 h 6858000"/>
              <a:gd name="connsiteX328" fmla="*/ 5062409 w 7467600"/>
              <a:gd name="connsiteY328" fmla="*/ 6653544 h 6858000"/>
              <a:gd name="connsiteX329" fmla="*/ 5036628 w 7467600"/>
              <a:gd name="connsiteY329" fmla="*/ 6754247 h 6858000"/>
              <a:gd name="connsiteX330" fmla="*/ 5009112 w 7467600"/>
              <a:gd name="connsiteY330" fmla="*/ 6858000 h 6858000"/>
              <a:gd name="connsiteX331" fmla="*/ 4976679 w 7467600"/>
              <a:gd name="connsiteY331" fmla="*/ 6858000 h 6858000"/>
              <a:gd name="connsiteX332" fmla="*/ 5006537 w 7467600"/>
              <a:gd name="connsiteY332" fmla="*/ 6747068 h 6858000"/>
              <a:gd name="connsiteX333" fmla="*/ 5032723 w 7467600"/>
              <a:gd name="connsiteY333" fmla="*/ 6644957 h 6858000"/>
              <a:gd name="connsiteX334" fmla="*/ 5242949 w 7467600"/>
              <a:gd name="connsiteY334" fmla="*/ 6125175 h 6858000"/>
              <a:gd name="connsiteX335" fmla="*/ 5286321 w 7467600"/>
              <a:gd name="connsiteY335" fmla="*/ 6033555 h 6858000"/>
              <a:gd name="connsiteX336" fmla="*/ 5008210 w 7467600"/>
              <a:gd name="connsiteY336" fmla="*/ 6649194 h 6858000"/>
              <a:gd name="connsiteX337" fmla="*/ 4986321 w 7467600"/>
              <a:gd name="connsiteY337" fmla="*/ 6765687 h 6858000"/>
              <a:gd name="connsiteX338" fmla="*/ 4973474 w 7467600"/>
              <a:gd name="connsiteY338" fmla="*/ 6858000 h 6858000"/>
              <a:gd name="connsiteX339" fmla="*/ 4907178 w 7467600"/>
              <a:gd name="connsiteY339" fmla="*/ 6858000 h 6858000"/>
              <a:gd name="connsiteX340" fmla="*/ 4910810 w 7467600"/>
              <a:gd name="connsiteY340" fmla="*/ 6829660 h 6858000"/>
              <a:gd name="connsiteX341" fmla="*/ 4987461 w 7467600"/>
              <a:gd name="connsiteY341" fmla="*/ 6432994 h 6858000"/>
              <a:gd name="connsiteX342" fmla="*/ 5179262 w 7467600"/>
              <a:gd name="connsiteY342" fmla="*/ 6035044 h 6858000"/>
              <a:gd name="connsiteX343" fmla="*/ 4689678 w 7467600"/>
              <a:gd name="connsiteY343" fmla="*/ 6440241 h 6858000"/>
              <a:gd name="connsiteX344" fmla="*/ 4477543 w 7467600"/>
              <a:gd name="connsiteY344" fmla="*/ 6674836 h 6858000"/>
              <a:gd name="connsiteX345" fmla="*/ 4329957 w 7467600"/>
              <a:gd name="connsiteY345" fmla="*/ 6858000 h 6858000"/>
              <a:gd name="connsiteX346" fmla="*/ 4218595 w 7467600"/>
              <a:gd name="connsiteY346" fmla="*/ 6858000 h 6858000"/>
              <a:gd name="connsiteX347" fmla="*/ 4368888 w 7467600"/>
              <a:gd name="connsiteY347" fmla="*/ 6668412 h 6858000"/>
              <a:gd name="connsiteX348" fmla="*/ 4563091 w 7467600"/>
              <a:gd name="connsiteY348" fmla="*/ 6442508 h 6858000"/>
              <a:gd name="connsiteX349" fmla="*/ 5387324 w 7467600"/>
              <a:gd name="connsiteY349" fmla="*/ 5705830 h 6858000"/>
              <a:gd name="connsiteX350" fmla="*/ 5073620 w 7467600"/>
              <a:gd name="connsiteY350" fmla="*/ 5955437 h 6858000"/>
              <a:gd name="connsiteX351" fmla="*/ 4689789 w 7467600"/>
              <a:gd name="connsiteY351" fmla="*/ 6268382 h 6858000"/>
              <a:gd name="connsiteX352" fmla="*/ 4418722 w 7467600"/>
              <a:gd name="connsiteY352" fmla="*/ 6570886 h 6858000"/>
              <a:gd name="connsiteX353" fmla="*/ 4214944 w 7467600"/>
              <a:gd name="connsiteY353" fmla="*/ 6858000 h 6858000"/>
              <a:gd name="connsiteX354" fmla="*/ 4177898 w 7467600"/>
              <a:gd name="connsiteY354" fmla="*/ 6858000 h 6858000"/>
              <a:gd name="connsiteX355" fmla="*/ 4391597 w 7467600"/>
              <a:gd name="connsiteY355" fmla="*/ 6556370 h 6858000"/>
              <a:gd name="connsiteX356" fmla="*/ 4668889 w 7467600"/>
              <a:gd name="connsiteY356" fmla="*/ 6246399 h 6858000"/>
              <a:gd name="connsiteX357" fmla="*/ 5055427 w 7467600"/>
              <a:gd name="connsiteY357" fmla="*/ 5931476 h 6858000"/>
              <a:gd name="connsiteX358" fmla="*/ 5371814 w 7467600"/>
              <a:gd name="connsiteY358" fmla="*/ 5678975 h 6858000"/>
              <a:gd name="connsiteX359" fmla="*/ 4987918 w 7467600"/>
              <a:gd name="connsiteY359" fmla="*/ 5838701 h 6858000"/>
              <a:gd name="connsiteX360" fmla="*/ 4317146 w 7467600"/>
              <a:gd name="connsiteY360" fmla="*/ 6587716 h 6858000"/>
              <a:gd name="connsiteX361" fmla="*/ 4171627 w 7467600"/>
              <a:gd name="connsiteY361" fmla="*/ 6858000 h 6858000"/>
              <a:gd name="connsiteX362" fmla="*/ 4081585 w 7467600"/>
              <a:gd name="connsiteY362" fmla="*/ 6858000 h 6858000"/>
              <a:gd name="connsiteX363" fmla="*/ 4238603 w 7467600"/>
              <a:gd name="connsiteY363" fmla="*/ 6559341 h 6858000"/>
              <a:gd name="connsiteX364" fmla="*/ 4778333 w 7467600"/>
              <a:gd name="connsiteY364" fmla="*/ 5873626 h 6858000"/>
              <a:gd name="connsiteX365" fmla="*/ 5414185 w 7467600"/>
              <a:gd name="connsiteY365" fmla="*/ 5573882 h 6858000"/>
              <a:gd name="connsiteX366" fmla="*/ 5959648 w 7467600"/>
              <a:gd name="connsiteY366" fmla="*/ 4760797 h 6858000"/>
              <a:gd name="connsiteX367" fmla="*/ 5355019 w 7467600"/>
              <a:gd name="connsiteY367" fmla="*/ 4734672 h 6858000"/>
              <a:gd name="connsiteX368" fmla="*/ 5083565 w 7467600"/>
              <a:gd name="connsiteY368" fmla="*/ 5179121 h 6858000"/>
              <a:gd name="connsiteX369" fmla="*/ 4713577 w 7467600"/>
              <a:gd name="connsiteY369" fmla="*/ 5616803 h 6858000"/>
              <a:gd name="connsiteX370" fmla="*/ 3989559 w 7467600"/>
              <a:gd name="connsiteY370" fmla="*/ 6145945 h 6858000"/>
              <a:gd name="connsiteX371" fmla="*/ 3939824 w 7467600"/>
              <a:gd name="connsiteY371" fmla="*/ 6066900 h 6858000"/>
              <a:gd name="connsiteX372" fmla="*/ 4584537 w 7467600"/>
              <a:gd name="connsiteY372" fmla="*/ 5324826 h 6858000"/>
              <a:gd name="connsiteX373" fmla="*/ 5037105 w 7467600"/>
              <a:gd name="connsiteY373" fmla="*/ 5088765 h 6858000"/>
              <a:gd name="connsiteX374" fmla="*/ 5039930 w 7467600"/>
              <a:gd name="connsiteY374" fmla="*/ 5089585 h 6858000"/>
              <a:gd name="connsiteX375" fmla="*/ 5263764 w 7467600"/>
              <a:gd name="connsiteY375" fmla="*/ 4735525 h 6858000"/>
              <a:gd name="connsiteX376" fmla="*/ 4086300 w 7467600"/>
              <a:gd name="connsiteY376" fmla="*/ 4884599 h 6858000"/>
              <a:gd name="connsiteX377" fmla="*/ 4085485 w 7467600"/>
              <a:gd name="connsiteY377" fmla="*/ 4899070 h 6858000"/>
              <a:gd name="connsiteX378" fmla="*/ 3871915 w 7467600"/>
              <a:gd name="connsiteY378" fmla="*/ 5253645 h 6858000"/>
              <a:gd name="connsiteX379" fmla="*/ 3799374 w 7467600"/>
              <a:gd name="connsiteY379" fmla="*/ 5466127 h 6858000"/>
              <a:gd name="connsiteX380" fmla="*/ 3498850 w 7467600"/>
              <a:gd name="connsiteY380" fmla="*/ 6661888 h 6858000"/>
              <a:gd name="connsiteX381" fmla="*/ 3399216 w 7467600"/>
              <a:gd name="connsiteY381" fmla="*/ 6858000 h 6858000"/>
              <a:gd name="connsiteX382" fmla="*/ 3303688 w 7467600"/>
              <a:gd name="connsiteY382" fmla="*/ 6858000 h 6858000"/>
              <a:gd name="connsiteX383" fmla="*/ 3391774 w 7467600"/>
              <a:gd name="connsiteY383" fmla="*/ 6697181 h 6858000"/>
              <a:gd name="connsiteX384" fmla="*/ 3735540 w 7467600"/>
              <a:gd name="connsiteY384" fmla="*/ 5546923 h 6858000"/>
              <a:gd name="connsiteX385" fmla="*/ 3729438 w 7467600"/>
              <a:gd name="connsiteY385" fmla="*/ 5569058 h 6858000"/>
              <a:gd name="connsiteX386" fmla="*/ 3707782 w 7467600"/>
              <a:gd name="connsiteY386" fmla="*/ 5644908 h 6858000"/>
              <a:gd name="connsiteX387" fmla="*/ 3583827 w 7467600"/>
              <a:gd name="connsiteY387" fmla="*/ 6039215 h 6858000"/>
              <a:gd name="connsiteX388" fmla="*/ 3547861 w 7467600"/>
              <a:gd name="connsiteY388" fmla="*/ 6129609 h 6858000"/>
              <a:gd name="connsiteX389" fmla="*/ 3490905 w 7467600"/>
              <a:gd name="connsiteY389" fmla="*/ 6277660 h 6858000"/>
              <a:gd name="connsiteX390" fmla="*/ 3455859 w 7467600"/>
              <a:gd name="connsiteY390" fmla="*/ 6391301 h 6858000"/>
              <a:gd name="connsiteX391" fmla="*/ 3429112 w 7467600"/>
              <a:gd name="connsiteY391" fmla="*/ 6479469 h 6858000"/>
              <a:gd name="connsiteX392" fmla="*/ 3304862 w 7467600"/>
              <a:gd name="connsiteY392" fmla="*/ 6796476 h 6858000"/>
              <a:gd name="connsiteX393" fmla="*/ 3276071 w 7467600"/>
              <a:gd name="connsiteY393" fmla="*/ 6858000 h 6858000"/>
              <a:gd name="connsiteX394" fmla="*/ 3240805 w 7467600"/>
              <a:gd name="connsiteY394" fmla="*/ 6858000 h 6858000"/>
              <a:gd name="connsiteX395" fmla="*/ 3275917 w 7467600"/>
              <a:gd name="connsiteY395" fmla="*/ 6783192 h 6858000"/>
              <a:gd name="connsiteX396" fmla="*/ 3399358 w 7467600"/>
              <a:gd name="connsiteY396" fmla="*/ 6469011 h 6858000"/>
              <a:gd name="connsiteX397" fmla="*/ 3425650 w 7467600"/>
              <a:gd name="connsiteY397" fmla="*/ 6381333 h 6858000"/>
              <a:gd name="connsiteX398" fmla="*/ 3460661 w 7467600"/>
              <a:gd name="connsiteY398" fmla="*/ 6266763 h 6858000"/>
              <a:gd name="connsiteX399" fmla="*/ 3518021 w 7467600"/>
              <a:gd name="connsiteY399" fmla="*/ 6117298 h 6858000"/>
              <a:gd name="connsiteX400" fmla="*/ 3554035 w 7467600"/>
              <a:gd name="connsiteY400" fmla="*/ 6027832 h 6858000"/>
              <a:gd name="connsiteX401" fmla="*/ 3677174 w 7467600"/>
              <a:gd name="connsiteY401" fmla="*/ 5636351 h 6858000"/>
              <a:gd name="connsiteX402" fmla="*/ 3698819 w 7467600"/>
              <a:gd name="connsiteY402" fmla="*/ 5560503 h 6858000"/>
              <a:gd name="connsiteX403" fmla="*/ 3702094 w 7467600"/>
              <a:gd name="connsiteY403" fmla="*/ 5549194 h 6858000"/>
              <a:gd name="connsiteX404" fmla="*/ 3398355 w 7467600"/>
              <a:gd name="connsiteY404" fmla="*/ 6094603 h 6858000"/>
              <a:gd name="connsiteX405" fmla="*/ 3193941 w 7467600"/>
              <a:gd name="connsiteY405" fmla="*/ 6798775 h 6858000"/>
              <a:gd name="connsiteX406" fmla="*/ 3184140 w 7467600"/>
              <a:gd name="connsiteY406" fmla="*/ 6858000 h 6858000"/>
              <a:gd name="connsiteX407" fmla="*/ 3099978 w 7467600"/>
              <a:gd name="connsiteY407" fmla="*/ 6858000 h 6858000"/>
              <a:gd name="connsiteX408" fmla="*/ 3101556 w 7467600"/>
              <a:gd name="connsiteY408" fmla="*/ 6843337 h 6858000"/>
              <a:gd name="connsiteX409" fmla="*/ 3370162 w 7467600"/>
              <a:gd name="connsiteY409" fmla="*/ 5785550 h 6858000"/>
              <a:gd name="connsiteX410" fmla="*/ 3746477 w 7467600"/>
              <a:gd name="connsiteY410" fmla="*/ 5377889 h 6858000"/>
              <a:gd name="connsiteX411" fmla="*/ 3863399 w 7467600"/>
              <a:gd name="connsiteY411" fmla="*/ 5087257 h 6858000"/>
              <a:gd name="connsiteX412" fmla="*/ 3968712 w 7467600"/>
              <a:gd name="connsiteY412" fmla="*/ 4913989 h 6858000"/>
              <a:gd name="connsiteX413" fmla="*/ 2792390 w 7467600"/>
              <a:gd name="connsiteY413" fmla="*/ 5382974 h 6858000"/>
              <a:gd name="connsiteX414" fmla="*/ 2714982 w 7467600"/>
              <a:gd name="connsiteY414" fmla="*/ 5427051 h 6858000"/>
              <a:gd name="connsiteX415" fmla="*/ 2813361 w 7467600"/>
              <a:gd name="connsiteY415" fmla="*/ 6023912 h 6858000"/>
              <a:gd name="connsiteX416" fmla="*/ 2688430 w 7467600"/>
              <a:gd name="connsiteY416" fmla="*/ 6801564 h 6858000"/>
              <a:gd name="connsiteX417" fmla="*/ 2629626 w 7467600"/>
              <a:gd name="connsiteY417" fmla="*/ 6763394 h 6858000"/>
              <a:gd name="connsiteX418" fmla="*/ 2565328 w 7467600"/>
              <a:gd name="connsiteY418" fmla="*/ 5516399 h 6858000"/>
              <a:gd name="connsiteX419" fmla="*/ 1922999 w 7467600"/>
              <a:gd name="connsiteY419" fmla="*/ 5980343 h 6858000"/>
              <a:gd name="connsiteX420" fmla="*/ 1950261 w 7467600"/>
              <a:gd name="connsiteY420" fmla="*/ 6405858 h 6858000"/>
              <a:gd name="connsiteX421" fmla="*/ 2365554 w 7467600"/>
              <a:gd name="connsiteY421" fmla="*/ 6759107 h 6858000"/>
              <a:gd name="connsiteX422" fmla="*/ 2424142 w 7467600"/>
              <a:gd name="connsiteY422" fmla="*/ 6858000 h 6858000"/>
              <a:gd name="connsiteX423" fmla="*/ 2395994 w 7467600"/>
              <a:gd name="connsiteY423" fmla="*/ 6858000 h 6858000"/>
              <a:gd name="connsiteX424" fmla="*/ 2392863 w 7467600"/>
              <a:gd name="connsiteY424" fmla="*/ 6852964 h 6858000"/>
              <a:gd name="connsiteX425" fmla="*/ 2017589 w 7467600"/>
              <a:gd name="connsiteY425" fmla="*/ 6493982 h 6858000"/>
              <a:gd name="connsiteX426" fmla="*/ 2147336 w 7467600"/>
              <a:gd name="connsiteY426" fmla="*/ 6594052 h 6858000"/>
              <a:gd name="connsiteX427" fmla="*/ 2207047 w 7467600"/>
              <a:gd name="connsiteY427" fmla="*/ 6654540 h 6858000"/>
              <a:gd name="connsiteX428" fmla="*/ 2299106 w 7467600"/>
              <a:gd name="connsiteY428" fmla="*/ 6778931 h 6858000"/>
              <a:gd name="connsiteX429" fmla="*/ 2314430 w 7467600"/>
              <a:gd name="connsiteY429" fmla="*/ 6801144 h 6858000"/>
              <a:gd name="connsiteX430" fmla="*/ 2352406 w 7467600"/>
              <a:gd name="connsiteY430" fmla="*/ 6858000 h 6858000"/>
              <a:gd name="connsiteX431" fmla="*/ 2314492 w 7467600"/>
              <a:gd name="connsiteY431" fmla="*/ 6858000 h 6858000"/>
              <a:gd name="connsiteX432" fmla="*/ 2288095 w 7467600"/>
              <a:gd name="connsiteY432" fmla="*/ 6818030 h 6858000"/>
              <a:gd name="connsiteX433" fmla="*/ 2272768 w 7467600"/>
              <a:gd name="connsiteY433" fmla="*/ 6795822 h 6858000"/>
              <a:gd name="connsiteX434" fmla="*/ 2182715 w 7467600"/>
              <a:gd name="connsiteY434" fmla="*/ 6675071 h 6858000"/>
              <a:gd name="connsiteX435" fmla="*/ 2032061 w 7467600"/>
              <a:gd name="connsiteY435" fmla="*/ 6541380 h 6858000"/>
              <a:gd name="connsiteX436" fmla="*/ 2257220 w 7467600"/>
              <a:gd name="connsiteY436" fmla="*/ 6826257 h 6858000"/>
              <a:gd name="connsiteX437" fmla="*/ 2281324 w 7467600"/>
              <a:gd name="connsiteY437" fmla="*/ 6858000 h 6858000"/>
              <a:gd name="connsiteX438" fmla="*/ 2242860 w 7467600"/>
              <a:gd name="connsiteY438" fmla="*/ 6858000 h 6858000"/>
              <a:gd name="connsiteX439" fmla="*/ 2232818 w 7467600"/>
              <a:gd name="connsiteY439" fmla="*/ 6844926 h 6858000"/>
              <a:gd name="connsiteX440" fmla="*/ 1990172 w 7467600"/>
              <a:gd name="connsiteY440" fmla="*/ 6542121 h 6858000"/>
              <a:gd name="connsiteX441" fmla="*/ 2124090 w 7467600"/>
              <a:gd name="connsiteY441" fmla="*/ 6761017 h 6858000"/>
              <a:gd name="connsiteX442" fmla="*/ 2200380 w 7467600"/>
              <a:gd name="connsiteY442" fmla="*/ 6858000 h 6858000"/>
              <a:gd name="connsiteX443" fmla="*/ 2147507 w 7467600"/>
              <a:gd name="connsiteY443" fmla="*/ 6858000 h 6858000"/>
              <a:gd name="connsiteX444" fmla="*/ 2070668 w 7467600"/>
              <a:gd name="connsiteY444" fmla="*/ 6761520 h 6858000"/>
              <a:gd name="connsiteX445" fmla="*/ 1975142 w 7467600"/>
              <a:gd name="connsiteY445" fmla="*/ 6585570 h 6858000"/>
              <a:gd name="connsiteX446" fmla="*/ 2050035 w 7467600"/>
              <a:gd name="connsiteY446" fmla="*/ 6813345 h 6858000"/>
              <a:gd name="connsiteX447" fmla="*/ 2063025 w 7467600"/>
              <a:gd name="connsiteY447" fmla="*/ 6858000 h 6858000"/>
              <a:gd name="connsiteX448" fmla="*/ 2021675 w 7467600"/>
              <a:gd name="connsiteY448" fmla="*/ 6858000 h 6858000"/>
              <a:gd name="connsiteX449" fmla="*/ 2019308 w 7467600"/>
              <a:gd name="connsiteY449" fmla="*/ 6847118 h 6858000"/>
              <a:gd name="connsiteX450" fmla="*/ 1938835 w 7467600"/>
              <a:gd name="connsiteY450" fmla="*/ 6551160 h 6858000"/>
              <a:gd name="connsiteX451" fmla="*/ 1953230 w 7467600"/>
              <a:gd name="connsiteY451" fmla="*/ 6759699 h 6858000"/>
              <a:gd name="connsiteX452" fmla="*/ 1956763 w 7467600"/>
              <a:gd name="connsiteY452" fmla="*/ 6778191 h 6858000"/>
              <a:gd name="connsiteX453" fmla="*/ 1967925 w 7467600"/>
              <a:gd name="connsiteY453" fmla="*/ 6858000 h 6858000"/>
              <a:gd name="connsiteX454" fmla="*/ 1936622 w 7467600"/>
              <a:gd name="connsiteY454" fmla="*/ 6858000 h 6858000"/>
              <a:gd name="connsiteX455" fmla="*/ 1926261 w 7467600"/>
              <a:gd name="connsiteY455" fmla="*/ 6784064 h 6858000"/>
              <a:gd name="connsiteX456" fmla="*/ 1922724 w 7467600"/>
              <a:gd name="connsiteY456" fmla="*/ 6765577 h 6858000"/>
              <a:gd name="connsiteX457" fmla="*/ 1904650 w 7467600"/>
              <a:gd name="connsiteY457" fmla="*/ 6639616 h 6858000"/>
              <a:gd name="connsiteX458" fmla="*/ 1885273 w 7467600"/>
              <a:gd name="connsiteY458" fmla="*/ 6858000 h 6858000"/>
              <a:gd name="connsiteX459" fmla="*/ 1854363 w 7467600"/>
              <a:gd name="connsiteY459" fmla="*/ 6858000 h 6858000"/>
              <a:gd name="connsiteX460" fmla="*/ 1880391 w 7467600"/>
              <a:gd name="connsiteY460" fmla="*/ 6603796 h 6858000"/>
              <a:gd name="connsiteX461" fmla="*/ 1818273 w 7467600"/>
              <a:gd name="connsiteY461" fmla="*/ 6715729 h 6858000"/>
              <a:gd name="connsiteX462" fmla="*/ 1794691 w 7467600"/>
              <a:gd name="connsiteY462" fmla="*/ 6843239 h 6858000"/>
              <a:gd name="connsiteX463" fmla="*/ 1794914 w 7467600"/>
              <a:gd name="connsiteY463" fmla="*/ 6858000 h 6858000"/>
              <a:gd name="connsiteX464" fmla="*/ 1746128 w 7467600"/>
              <a:gd name="connsiteY464" fmla="*/ 6858000 h 6858000"/>
              <a:gd name="connsiteX465" fmla="*/ 1753934 w 7467600"/>
              <a:gd name="connsiteY465" fmla="*/ 6724796 h 6858000"/>
              <a:gd name="connsiteX466" fmla="*/ 1792053 w 7467600"/>
              <a:gd name="connsiteY466" fmla="*/ 6572396 h 6858000"/>
              <a:gd name="connsiteX467" fmla="*/ 1862248 w 7467600"/>
              <a:gd name="connsiteY467" fmla="*/ 6266397 h 6858000"/>
              <a:gd name="connsiteX468" fmla="*/ 1862250 w 7467600"/>
              <a:gd name="connsiteY468" fmla="*/ 6033531 h 6858000"/>
              <a:gd name="connsiteX469" fmla="*/ 1211999 w 7467600"/>
              <a:gd name="connsiteY469" fmla="*/ 6683610 h 6858000"/>
              <a:gd name="connsiteX470" fmla="*/ 1213266 w 7467600"/>
              <a:gd name="connsiteY470" fmla="*/ 6691947 h 6858000"/>
              <a:gd name="connsiteX471" fmla="*/ 1203370 w 7467600"/>
              <a:gd name="connsiteY471" fmla="*/ 6850676 h 6858000"/>
              <a:gd name="connsiteX472" fmla="*/ 1203671 w 7467600"/>
              <a:gd name="connsiteY472" fmla="*/ 6858000 h 6858000"/>
              <a:gd name="connsiteX473" fmla="*/ 1143180 w 7467600"/>
              <a:gd name="connsiteY473" fmla="*/ 6858000 h 6858000"/>
              <a:gd name="connsiteX474" fmla="*/ 1142176 w 7467600"/>
              <a:gd name="connsiteY474" fmla="*/ 6766045 h 6858000"/>
              <a:gd name="connsiteX475" fmla="*/ 1067484 w 7467600"/>
              <a:gd name="connsiteY475" fmla="*/ 6858000 h 6858000"/>
              <a:gd name="connsiteX476" fmla="*/ 953928 w 7467600"/>
              <a:gd name="connsiteY476" fmla="*/ 6858000 h 6858000"/>
              <a:gd name="connsiteX477" fmla="*/ 959715 w 7467600"/>
              <a:gd name="connsiteY477" fmla="*/ 6850185 h 6858000"/>
              <a:gd name="connsiteX478" fmla="*/ 1483788 w 7467600"/>
              <a:gd name="connsiteY478" fmla="*/ 6259174 h 6858000"/>
              <a:gd name="connsiteX479" fmla="*/ 1100671 w 7467600"/>
              <a:gd name="connsiteY479" fmla="*/ 6252137 h 6858000"/>
              <a:gd name="connsiteX480" fmla="*/ 1090144 w 7467600"/>
              <a:gd name="connsiteY480" fmla="*/ 6256748 h 6858000"/>
              <a:gd name="connsiteX481" fmla="*/ 1095872 w 7467600"/>
              <a:gd name="connsiteY481" fmla="*/ 6271892 h 6858000"/>
              <a:gd name="connsiteX482" fmla="*/ 262785 w 7467600"/>
              <a:gd name="connsiteY482" fmla="*/ 6845450 h 6858000"/>
              <a:gd name="connsiteX483" fmla="*/ 209968 w 7467600"/>
              <a:gd name="connsiteY483" fmla="*/ 6770713 h 6858000"/>
              <a:gd name="connsiteX484" fmla="*/ 873460 w 7467600"/>
              <a:gd name="connsiteY484" fmla="*/ 6253768 h 6858000"/>
              <a:gd name="connsiteX485" fmla="*/ 192686 w 7467600"/>
              <a:gd name="connsiteY485" fmla="*/ 5849257 h 6858000"/>
              <a:gd name="connsiteX486" fmla="*/ 4696 w 7467600"/>
              <a:gd name="connsiteY486" fmla="*/ 5697668 h 6858000"/>
              <a:gd name="connsiteX487" fmla="*/ 0 w 7467600"/>
              <a:gd name="connsiteY487" fmla="*/ 5689984 h 6858000"/>
              <a:gd name="connsiteX488" fmla="*/ 0 w 7467600"/>
              <a:gd name="connsiteY488" fmla="*/ 5513472 h 6858000"/>
              <a:gd name="connsiteX489" fmla="*/ 174101 w 7467600"/>
              <a:gd name="connsiteY489" fmla="*/ 5620277 h 6858000"/>
              <a:gd name="connsiteX490" fmla="*/ 891800 w 7467600"/>
              <a:gd name="connsiteY490" fmla="*/ 6036935 h 6858000"/>
              <a:gd name="connsiteX491" fmla="*/ 1072219 w 7467600"/>
              <a:gd name="connsiteY491" fmla="*/ 6169443 h 6858000"/>
              <a:gd name="connsiteX492" fmla="*/ 1074117 w 7467600"/>
              <a:gd name="connsiteY492" fmla="*/ 6170301 h 6858000"/>
              <a:gd name="connsiteX493" fmla="*/ 1083114 w 7467600"/>
              <a:gd name="connsiteY493" fmla="*/ 6174131 h 6858000"/>
              <a:gd name="connsiteX494" fmla="*/ 1543010 w 7467600"/>
              <a:gd name="connsiteY494" fmla="*/ 6191140 h 6858000"/>
              <a:gd name="connsiteX495" fmla="*/ 1551080 w 7467600"/>
              <a:gd name="connsiteY495" fmla="*/ 6195006 h 6858000"/>
              <a:gd name="connsiteX496" fmla="*/ 2345443 w 7467600"/>
              <a:gd name="connsiteY496" fmla="*/ 5549882 h 6858000"/>
              <a:gd name="connsiteX497" fmla="*/ 1721499 w 7467600"/>
              <a:gd name="connsiteY497" fmla="*/ 5599969 h 6858000"/>
              <a:gd name="connsiteX498" fmla="*/ 767716 w 7467600"/>
              <a:gd name="connsiteY498" fmla="*/ 5472768 h 6858000"/>
              <a:gd name="connsiteX499" fmla="*/ 722147 w 7467600"/>
              <a:gd name="connsiteY499" fmla="*/ 5393091 h 6858000"/>
              <a:gd name="connsiteX500" fmla="*/ 1485552 w 7467600"/>
              <a:gd name="connsiteY500" fmla="*/ 5313202 h 6858000"/>
              <a:gd name="connsiteX501" fmla="*/ 2143004 w 7467600"/>
              <a:gd name="connsiteY501" fmla="*/ 5402420 h 6858000"/>
              <a:gd name="connsiteX502" fmla="*/ 1933391 w 7467600"/>
              <a:gd name="connsiteY502" fmla="*/ 5156971 h 6858000"/>
              <a:gd name="connsiteX503" fmla="*/ 1827118 w 7467600"/>
              <a:gd name="connsiteY503" fmla="*/ 4968410 h 6858000"/>
              <a:gd name="connsiteX504" fmla="*/ 1837349 w 7467600"/>
              <a:gd name="connsiteY504" fmla="*/ 4956357 h 6858000"/>
              <a:gd name="connsiteX505" fmla="*/ 2162835 w 7467600"/>
              <a:gd name="connsiteY505" fmla="*/ 5187853 h 6858000"/>
              <a:gd name="connsiteX506" fmla="*/ 2257167 w 7467600"/>
              <a:gd name="connsiteY506" fmla="*/ 5462123 h 6858000"/>
              <a:gd name="connsiteX507" fmla="*/ 2261598 w 7467600"/>
              <a:gd name="connsiteY507" fmla="*/ 5467998 h 6858000"/>
              <a:gd name="connsiteX508" fmla="*/ 2437177 w 7467600"/>
              <a:gd name="connsiteY508" fmla="*/ 5479608 h 6858000"/>
              <a:gd name="connsiteX509" fmla="*/ 2445247 w 7467600"/>
              <a:gd name="connsiteY509" fmla="*/ 5483476 h 6858000"/>
              <a:gd name="connsiteX510" fmla="*/ 2743626 w 7467600"/>
              <a:gd name="connsiteY510" fmla="*/ 5304819 h 6858000"/>
              <a:gd name="connsiteX511" fmla="*/ 3048102 w 7467600"/>
              <a:gd name="connsiteY511" fmla="*/ 5150595 h 6858000"/>
              <a:gd name="connsiteX512" fmla="*/ 1799414 w 7467600"/>
              <a:gd name="connsiteY512" fmla="*/ 4694732 h 6858000"/>
              <a:gd name="connsiteX513" fmla="*/ 1771735 w 7467600"/>
              <a:gd name="connsiteY513" fmla="*/ 4619929 h 6858000"/>
              <a:gd name="connsiteX514" fmla="*/ 3104273 w 7467600"/>
              <a:gd name="connsiteY514" fmla="*/ 5076159 h 6858000"/>
              <a:gd name="connsiteX515" fmla="*/ 3113245 w 7467600"/>
              <a:gd name="connsiteY515" fmla="*/ 5090705 h 6858000"/>
              <a:gd name="connsiteX516" fmla="*/ 3126294 w 7467600"/>
              <a:gd name="connsiteY516" fmla="*/ 5114400 h 6858000"/>
              <a:gd name="connsiteX517" fmla="*/ 3937433 w 7467600"/>
              <a:gd name="connsiteY517" fmla="*/ 4830473 h 6858000"/>
              <a:gd name="connsiteX518" fmla="*/ 3590475 w 7467600"/>
              <a:gd name="connsiteY518" fmla="*/ 4597974 h 6858000"/>
              <a:gd name="connsiteX519" fmla="*/ 3100264 w 7467600"/>
              <a:gd name="connsiteY519" fmla="*/ 4579845 h 6858000"/>
              <a:gd name="connsiteX520" fmla="*/ 2183576 w 7467600"/>
              <a:gd name="connsiteY520" fmla="*/ 4227150 h 6858000"/>
              <a:gd name="connsiteX521" fmla="*/ 2151029 w 7467600"/>
              <a:gd name="connsiteY521" fmla="*/ 4146947 h 6858000"/>
              <a:gd name="connsiteX522" fmla="*/ 3563434 w 7467600"/>
              <a:gd name="connsiteY522" fmla="*/ 4469115 h 6858000"/>
              <a:gd name="connsiteX523" fmla="*/ 3177952 w 7467600"/>
              <a:gd name="connsiteY523" fmla="*/ 3657386 h 6858000"/>
              <a:gd name="connsiteX524" fmla="*/ 3189263 w 7467600"/>
              <a:gd name="connsiteY524" fmla="*/ 3625726 h 6858000"/>
              <a:gd name="connsiteX525" fmla="*/ 3560912 w 7467600"/>
              <a:gd name="connsiteY525" fmla="*/ 4079863 h 6858000"/>
              <a:gd name="connsiteX526" fmla="*/ 3626636 w 7467600"/>
              <a:gd name="connsiteY526" fmla="*/ 4512230 h 6858000"/>
              <a:gd name="connsiteX527" fmla="*/ 3653088 w 7467600"/>
              <a:gd name="connsiteY527" fmla="*/ 4521417 h 6858000"/>
              <a:gd name="connsiteX528" fmla="*/ 3988128 w 7467600"/>
              <a:gd name="connsiteY528" fmla="*/ 4817267 h 6858000"/>
              <a:gd name="connsiteX529" fmla="*/ 4830582 w 7467600"/>
              <a:gd name="connsiteY529" fmla="*/ 4676000 h 6858000"/>
              <a:gd name="connsiteX530" fmla="*/ 4830100 w 7467600"/>
              <a:gd name="connsiteY530" fmla="*/ 4675554 h 6858000"/>
              <a:gd name="connsiteX531" fmla="*/ 4036318 w 7467600"/>
              <a:gd name="connsiteY531" fmla="*/ 4147013 h 6858000"/>
              <a:gd name="connsiteX532" fmla="*/ 3432098 w 7467600"/>
              <a:gd name="connsiteY532" fmla="*/ 3537312 h 6858000"/>
              <a:gd name="connsiteX533" fmla="*/ 3446761 w 7467600"/>
              <a:gd name="connsiteY533" fmla="*/ 3461278 h 6858000"/>
              <a:gd name="connsiteX534" fmla="*/ 4419733 w 7467600"/>
              <a:gd name="connsiteY534" fmla="*/ 3963555 h 6858000"/>
              <a:gd name="connsiteX535" fmla="*/ 4781371 w 7467600"/>
              <a:gd name="connsiteY535" fmla="*/ 4458604 h 6858000"/>
              <a:gd name="connsiteX536" fmla="*/ 4780440 w 7467600"/>
              <a:gd name="connsiteY536" fmla="*/ 4470290 h 6858000"/>
              <a:gd name="connsiteX537" fmla="*/ 4898954 w 7467600"/>
              <a:gd name="connsiteY537" fmla="*/ 4662092 h 6858000"/>
              <a:gd name="connsiteX538" fmla="*/ 4900699 w 7467600"/>
              <a:gd name="connsiteY538" fmla="*/ 4670867 h 6858000"/>
              <a:gd name="connsiteX539" fmla="*/ 5714511 w 7467600"/>
              <a:gd name="connsiteY539" fmla="*/ 4663483 h 6858000"/>
              <a:gd name="connsiteX540" fmla="*/ 5464793 w 7467600"/>
              <a:gd name="connsiteY540" fmla="*/ 4393556 h 6858000"/>
              <a:gd name="connsiteX541" fmla="*/ 5461897 w 7467600"/>
              <a:gd name="connsiteY541" fmla="*/ 4390879 h 6858000"/>
              <a:gd name="connsiteX542" fmla="*/ 4294126 w 7467600"/>
              <a:gd name="connsiteY542" fmla="*/ 3303048 h 6858000"/>
              <a:gd name="connsiteX543" fmla="*/ 4305321 w 7467600"/>
              <a:gd name="connsiteY543" fmla="*/ 3256953 h 6858000"/>
              <a:gd name="connsiteX544" fmla="*/ 4949299 w 7467600"/>
              <a:gd name="connsiteY544" fmla="*/ 3766336 h 6858000"/>
              <a:gd name="connsiteX545" fmla="*/ 5291452 w 7467600"/>
              <a:gd name="connsiteY545" fmla="*/ 4076801 h 6858000"/>
              <a:gd name="connsiteX546" fmla="*/ 5434998 w 7467600"/>
              <a:gd name="connsiteY546" fmla="*/ 4254100 h 6858000"/>
              <a:gd name="connsiteX547" fmla="*/ 5351015 w 7467600"/>
              <a:gd name="connsiteY547" fmla="*/ 3760989 h 6858000"/>
              <a:gd name="connsiteX548" fmla="*/ 5413780 w 7467600"/>
              <a:gd name="connsiteY548" fmla="*/ 2966265 h 6858000"/>
              <a:gd name="connsiteX549" fmla="*/ 5425627 w 7467600"/>
              <a:gd name="connsiteY549" fmla="*/ 2954192 h 6858000"/>
              <a:gd name="connsiteX550" fmla="*/ 6604735 w 7467600"/>
              <a:gd name="connsiteY550" fmla="*/ 2041381 h 6858000"/>
              <a:gd name="connsiteX551" fmla="*/ 7204487 w 7467600"/>
              <a:gd name="connsiteY551" fmla="*/ 2742112 h 6858000"/>
              <a:gd name="connsiteX552" fmla="*/ 7131592 w 7467600"/>
              <a:gd name="connsiteY552" fmla="*/ 2672096 h 6858000"/>
              <a:gd name="connsiteX553" fmla="*/ 6996344 w 7467600"/>
              <a:gd name="connsiteY553" fmla="*/ 2518310 h 6858000"/>
              <a:gd name="connsiteX554" fmla="*/ 6735495 w 7467600"/>
              <a:gd name="connsiteY554" fmla="*/ 2196890 h 6858000"/>
              <a:gd name="connsiteX555" fmla="*/ 6721901 w 7467600"/>
              <a:gd name="connsiteY555" fmla="*/ 2179274 h 6858000"/>
              <a:gd name="connsiteX556" fmla="*/ 6604735 w 7467600"/>
              <a:gd name="connsiteY556" fmla="*/ 2041381 h 6858000"/>
              <a:gd name="connsiteX557" fmla="*/ 6591670 w 7467600"/>
              <a:gd name="connsiteY557" fmla="*/ 1988277 h 6858000"/>
              <a:gd name="connsiteX558" fmla="*/ 6747349 w 7467600"/>
              <a:gd name="connsiteY558" fmla="*/ 2160069 h 6858000"/>
              <a:gd name="connsiteX559" fmla="*/ 6760943 w 7467600"/>
              <a:gd name="connsiteY559" fmla="*/ 2177686 h 6858000"/>
              <a:gd name="connsiteX560" fmla="*/ 7021065 w 7467600"/>
              <a:gd name="connsiteY560" fmla="*/ 2498102 h 6858000"/>
              <a:gd name="connsiteX561" fmla="*/ 7155223 w 7467600"/>
              <a:gd name="connsiteY561" fmla="*/ 2650386 h 6858000"/>
              <a:gd name="connsiteX562" fmla="*/ 7203167 w 7467600"/>
              <a:gd name="connsiteY562" fmla="*/ 2697288 h 6858000"/>
              <a:gd name="connsiteX563" fmla="*/ 6937703 w 7467600"/>
              <a:gd name="connsiteY563" fmla="*/ 2321981 h 6858000"/>
              <a:gd name="connsiteX564" fmla="*/ 6591670 w 7467600"/>
              <a:gd name="connsiteY564" fmla="*/ 1988277 h 6858000"/>
              <a:gd name="connsiteX565" fmla="*/ 5798671 w 7467600"/>
              <a:gd name="connsiteY565" fmla="*/ 1981601 h 6858000"/>
              <a:gd name="connsiteX566" fmla="*/ 5754709 w 7467600"/>
              <a:gd name="connsiteY566" fmla="*/ 2071454 h 6858000"/>
              <a:gd name="connsiteX567" fmla="*/ 5763044 w 7467600"/>
              <a:gd name="connsiteY567" fmla="*/ 2842206 h 6858000"/>
              <a:gd name="connsiteX568" fmla="*/ 5764974 w 7467600"/>
              <a:gd name="connsiteY568" fmla="*/ 2799609 h 6858000"/>
              <a:gd name="connsiteX569" fmla="*/ 5767665 w 7467600"/>
              <a:gd name="connsiteY569" fmla="*/ 2666409 h 6858000"/>
              <a:gd name="connsiteX570" fmla="*/ 5763055 w 7467600"/>
              <a:gd name="connsiteY570" fmla="*/ 2579705 h 6858000"/>
              <a:gd name="connsiteX571" fmla="*/ 5758079 w 7467600"/>
              <a:gd name="connsiteY571" fmla="*/ 2492508 h 6858000"/>
              <a:gd name="connsiteX572" fmla="*/ 5779325 w 7467600"/>
              <a:gd name="connsiteY572" fmla="*/ 2197069 h 6858000"/>
              <a:gd name="connsiteX573" fmla="*/ 5798671 w 7467600"/>
              <a:gd name="connsiteY573" fmla="*/ 1981601 h 6858000"/>
              <a:gd name="connsiteX574" fmla="*/ 5829202 w 7467600"/>
              <a:gd name="connsiteY574" fmla="*/ 1971679 h 6858000"/>
              <a:gd name="connsiteX575" fmla="*/ 5809558 w 7467600"/>
              <a:gd name="connsiteY575" fmla="*/ 2198043 h 6858000"/>
              <a:gd name="connsiteX576" fmla="*/ 5788653 w 7467600"/>
              <a:gd name="connsiteY576" fmla="*/ 2489430 h 6858000"/>
              <a:gd name="connsiteX577" fmla="*/ 5793439 w 7467600"/>
              <a:gd name="connsiteY577" fmla="*/ 2575235 h 6858000"/>
              <a:gd name="connsiteX578" fmla="*/ 5796837 w 7467600"/>
              <a:gd name="connsiteY578" fmla="*/ 2637633 h 6858000"/>
              <a:gd name="connsiteX579" fmla="*/ 5818614 w 7467600"/>
              <a:gd name="connsiteY579" fmla="*/ 2473055 h 6858000"/>
              <a:gd name="connsiteX580" fmla="*/ 5829202 w 7467600"/>
              <a:gd name="connsiteY580" fmla="*/ 1971679 h 6858000"/>
              <a:gd name="connsiteX581" fmla="*/ 5911389 w 7467600"/>
              <a:gd name="connsiteY581" fmla="*/ 1898371 h 6858000"/>
              <a:gd name="connsiteX582" fmla="*/ 6237627 w 7467600"/>
              <a:gd name="connsiteY582" fmla="*/ 2231921 h 6858000"/>
              <a:gd name="connsiteX583" fmla="*/ 5911389 w 7467600"/>
              <a:gd name="connsiteY583" fmla="*/ 1898371 h 6858000"/>
              <a:gd name="connsiteX584" fmla="*/ 6944437 w 7467600"/>
              <a:gd name="connsiteY584" fmla="*/ 1575402 h 6858000"/>
              <a:gd name="connsiteX585" fmla="*/ 6304730 w 7467600"/>
              <a:gd name="connsiteY585" fmla="*/ 1766654 h 6858000"/>
              <a:gd name="connsiteX586" fmla="*/ 6944437 w 7467600"/>
              <a:gd name="connsiteY586" fmla="*/ 1575402 h 6858000"/>
              <a:gd name="connsiteX587" fmla="*/ 7019523 w 7467600"/>
              <a:gd name="connsiteY587" fmla="*/ 1519450 h 6858000"/>
              <a:gd name="connsiteX588" fmla="*/ 6298091 w 7467600"/>
              <a:gd name="connsiteY588" fmla="*/ 1737122 h 6858000"/>
              <a:gd name="connsiteX589" fmla="*/ 7019523 w 7467600"/>
              <a:gd name="connsiteY589" fmla="*/ 1519450 h 6858000"/>
              <a:gd name="connsiteX590" fmla="*/ 2399523 w 7467600"/>
              <a:gd name="connsiteY590" fmla="*/ 1428234 h 6858000"/>
              <a:gd name="connsiteX591" fmla="*/ 2224982 w 7467600"/>
              <a:gd name="connsiteY591" fmla="*/ 1826201 h 6858000"/>
              <a:gd name="connsiteX592" fmla="*/ 2096099 w 7467600"/>
              <a:gd name="connsiteY592" fmla="*/ 2345900 h 6858000"/>
              <a:gd name="connsiteX593" fmla="*/ 2283317 w 7467600"/>
              <a:gd name="connsiteY593" fmla="*/ 1796925 h 6858000"/>
              <a:gd name="connsiteX594" fmla="*/ 2399523 w 7467600"/>
              <a:gd name="connsiteY594" fmla="*/ 1428234 h 6858000"/>
              <a:gd name="connsiteX595" fmla="*/ 2448558 w 7467600"/>
              <a:gd name="connsiteY595" fmla="*/ 1373435 h 6858000"/>
              <a:gd name="connsiteX596" fmla="*/ 2312521 w 7467600"/>
              <a:gd name="connsiteY596" fmla="*/ 1806140 h 6858000"/>
              <a:gd name="connsiteX597" fmla="*/ 2127533 w 7467600"/>
              <a:gd name="connsiteY597" fmla="*/ 2348380 h 6858000"/>
              <a:gd name="connsiteX598" fmla="*/ 2358080 w 7467600"/>
              <a:gd name="connsiteY598" fmla="*/ 1866134 h 6858000"/>
              <a:gd name="connsiteX599" fmla="*/ 2407436 w 7467600"/>
              <a:gd name="connsiteY599" fmla="*/ 1651070 h 6858000"/>
              <a:gd name="connsiteX600" fmla="*/ 2448558 w 7467600"/>
              <a:gd name="connsiteY600" fmla="*/ 1373435 h 6858000"/>
              <a:gd name="connsiteX601" fmla="*/ 278707 w 7467600"/>
              <a:gd name="connsiteY601" fmla="*/ 1352270 h 6858000"/>
              <a:gd name="connsiteX602" fmla="*/ 321570 w 7467600"/>
              <a:gd name="connsiteY602" fmla="*/ 1861610 h 6858000"/>
              <a:gd name="connsiteX603" fmla="*/ 294281 w 7467600"/>
              <a:gd name="connsiteY603" fmla="*/ 1440658 h 6858000"/>
              <a:gd name="connsiteX604" fmla="*/ 278707 w 7467600"/>
              <a:gd name="connsiteY604" fmla="*/ 1352270 h 6858000"/>
              <a:gd name="connsiteX605" fmla="*/ 1423821 w 7467600"/>
              <a:gd name="connsiteY605" fmla="*/ 1351958 h 6858000"/>
              <a:gd name="connsiteX606" fmla="*/ 1638521 w 7467600"/>
              <a:gd name="connsiteY606" fmla="*/ 1908470 h 6858000"/>
              <a:gd name="connsiteX607" fmla="*/ 1754199 w 7467600"/>
              <a:gd name="connsiteY607" fmla="*/ 2149284 h 6858000"/>
              <a:gd name="connsiteX608" fmla="*/ 1908359 w 7467600"/>
              <a:gd name="connsiteY608" fmla="*/ 2364988 h 6858000"/>
              <a:gd name="connsiteX609" fmla="*/ 1647661 w 7467600"/>
              <a:gd name="connsiteY609" fmla="*/ 1825945 h 6858000"/>
              <a:gd name="connsiteX610" fmla="*/ 1423821 w 7467600"/>
              <a:gd name="connsiteY610" fmla="*/ 1351958 h 6858000"/>
              <a:gd name="connsiteX611" fmla="*/ 1431890 w 7467600"/>
              <a:gd name="connsiteY611" fmla="*/ 1306475 h 6858000"/>
              <a:gd name="connsiteX612" fmla="*/ 1507597 w 7467600"/>
              <a:gd name="connsiteY612" fmla="*/ 1446132 h 6858000"/>
              <a:gd name="connsiteX613" fmla="*/ 1674586 w 7467600"/>
              <a:gd name="connsiteY613" fmla="*/ 1813832 h 6858000"/>
              <a:gd name="connsiteX614" fmla="*/ 1815950 w 7467600"/>
              <a:gd name="connsiteY614" fmla="*/ 2128564 h 6858000"/>
              <a:gd name="connsiteX615" fmla="*/ 1984242 w 7467600"/>
              <a:gd name="connsiteY615" fmla="*/ 2430829 h 6858000"/>
              <a:gd name="connsiteX616" fmla="*/ 2014023 w 7467600"/>
              <a:gd name="connsiteY616" fmla="*/ 2450995 h 6858000"/>
              <a:gd name="connsiteX617" fmla="*/ 1747337 w 7467600"/>
              <a:gd name="connsiteY617" fmla="*/ 1855264 h 6858000"/>
              <a:gd name="connsiteX618" fmla="*/ 1533749 w 7467600"/>
              <a:gd name="connsiteY618" fmla="*/ 1478656 h 6858000"/>
              <a:gd name="connsiteX619" fmla="*/ 1431890 w 7467600"/>
              <a:gd name="connsiteY619" fmla="*/ 1306475 h 6858000"/>
              <a:gd name="connsiteX620" fmla="*/ 5052692 w 7467600"/>
              <a:gd name="connsiteY620" fmla="*/ 1292994 h 6858000"/>
              <a:gd name="connsiteX621" fmla="*/ 5200661 w 7467600"/>
              <a:gd name="connsiteY621" fmla="*/ 1635186 h 6858000"/>
              <a:gd name="connsiteX622" fmla="*/ 5297138 w 7467600"/>
              <a:gd name="connsiteY622" fmla="*/ 1906351 h 6858000"/>
              <a:gd name="connsiteX623" fmla="*/ 5052692 w 7467600"/>
              <a:gd name="connsiteY623" fmla="*/ 1292994 h 6858000"/>
              <a:gd name="connsiteX624" fmla="*/ 5009948 w 7467600"/>
              <a:gd name="connsiteY624" fmla="*/ 1273619 h 6858000"/>
              <a:gd name="connsiteX625" fmla="*/ 5121777 w 7467600"/>
              <a:gd name="connsiteY625" fmla="*/ 1654213 h 6858000"/>
              <a:gd name="connsiteX626" fmla="*/ 5293545 w 7467600"/>
              <a:gd name="connsiteY626" fmla="*/ 2072247 h 6858000"/>
              <a:gd name="connsiteX627" fmla="*/ 5294042 w 7467600"/>
              <a:gd name="connsiteY627" fmla="*/ 2065019 h 6858000"/>
              <a:gd name="connsiteX628" fmla="*/ 5171936 w 7467600"/>
              <a:gd name="connsiteY628" fmla="*/ 1647613 h 6858000"/>
              <a:gd name="connsiteX629" fmla="*/ 5009948 w 7467600"/>
              <a:gd name="connsiteY629" fmla="*/ 1273619 h 6858000"/>
              <a:gd name="connsiteX630" fmla="*/ 655236 w 7467600"/>
              <a:gd name="connsiteY630" fmla="*/ 1268632 h 6858000"/>
              <a:gd name="connsiteX631" fmla="*/ 839521 w 7467600"/>
              <a:gd name="connsiteY631" fmla="*/ 1685315 h 6858000"/>
              <a:gd name="connsiteX632" fmla="*/ 1109416 w 7467600"/>
              <a:gd name="connsiteY632" fmla="*/ 2061663 h 6858000"/>
              <a:gd name="connsiteX633" fmla="*/ 1298300 w 7467600"/>
              <a:gd name="connsiteY633" fmla="*/ 2247742 h 6858000"/>
              <a:gd name="connsiteX634" fmla="*/ 1125871 w 7467600"/>
              <a:gd name="connsiteY634" fmla="*/ 1989513 h 6858000"/>
              <a:gd name="connsiteX635" fmla="*/ 981574 w 7467600"/>
              <a:gd name="connsiteY635" fmla="*/ 1783157 h 6858000"/>
              <a:gd name="connsiteX636" fmla="*/ 922198 w 7467600"/>
              <a:gd name="connsiteY636" fmla="*/ 1677437 h 6858000"/>
              <a:gd name="connsiteX637" fmla="*/ 869293 w 7467600"/>
              <a:gd name="connsiteY637" fmla="*/ 1583214 h 6858000"/>
              <a:gd name="connsiteX638" fmla="*/ 751431 w 7467600"/>
              <a:gd name="connsiteY638" fmla="*/ 1405731 h 6858000"/>
              <a:gd name="connsiteX639" fmla="*/ 655236 w 7467600"/>
              <a:gd name="connsiteY639" fmla="*/ 1268632 h 6858000"/>
              <a:gd name="connsiteX640" fmla="*/ 6516292 w 7467600"/>
              <a:gd name="connsiteY640" fmla="*/ 1263064 h 6858000"/>
              <a:gd name="connsiteX641" fmla="*/ 5736320 w 7467600"/>
              <a:gd name="connsiteY641" fmla="*/ 1501803 h 6858000"/>
              <a:gd name="connsiteX642" fmla="*/ 6516292 w 7467600"/>
              <a:gd name="connsiteY642" fmla="*/ 1263064 h 6858000"/>
              <a:gd name="connsiteX643" fmla="*/ 291466 w 7467600"/>
              <a:gd name="connsiteY643" fmla="*/ 1250369 h 6858000"/>
              <a:gd name="connsiteX644" fmla="*/ 323180 w 7467600"/>
              <a:gd name="connsiteY644" fmla="*/ 1435283 h 6858000"/>
              <a:gd name="connsiteX645" fmla="*/ 349381 w 7467600"/>
              <a:gd name="connsiteY645" fmla="*/ 1875041 h 6858000"/>
              <a:gd name="connsiteX646" fmla="*/ 374363 w 7467600"/>
              <a:gd name="connsiteY646" fmla="*/ 1506494 h 6858000"/>
              <a:gd name="connsiteX647" fmla="*/ 302168 w 7467600"/>
              <a:gd name="connsiteY647" fmla="*/ 1274495 h 6858000"/>
              <a:gd name="connsiteX648" fmla="*/ 291466 w 7467600"/>
              <a:gd name="connsiteY648" fmla="*/ 1250369 h 6858000"/>
              <a:gd name="connsiteX649" fmla="*/ 678222 w 7467600"/>
              <a:gd name="connsiteY649" fmla="*/ 1248670 h 6858000"/>
              <a:gd name="connsiteX650" fmla="*/ 775536 w 7467600"/>
              <a:gd name="connsiteY650" fmla="*/ 1388015 h 6858000"/>
              <a:gd name="connsiteX651" fmla="*/ 894529 w 7467600"/>
              <a:gd name="connsiteY651" fmla="*/ 1567739 h 6858000"/>
              <a:gd name="connsiteX652" fmla="*/ 948000 w 7467600"/>
              <a:gd name="connsiteY652" fmla="*/ 1663088 h 6858000"/>
              <a:gd name="connsiteX653" fmla="*/ 1006812 w 7467600"/>
              <a:gd name="connsiteY653" fmla="*/ 1767683 h 6858000"/>
              <a:gd name="connsiteX654" fmla="*/ 1149133 w 7467600"/>
              <a:gd name="connsiteY654" fmla="*/ 1971513 h 6858000"/>
              <a:gd name="connsiteX655" fmla="*/ 1333952 w 7467600"/>
              <a:gd name="connsiteY655" fmla="*/ 2251620 h 6858000"/>
              <a:gd name="connsiteX656" fmla="*/ 1337329 w 7467600"/>
              <a:gd name="connsiteY656" fmla="*/ 2258350 h 6858000"/>
              <a:gd name="connsiteX657" fmla="*/ 1014726 w 7467600"/>
              <a:gd name="connsiteY657" fmla="*/ 1615556 h 6858000"/>
              <a:gd name="connsiteX658" fmla="*/ 678222 w 7467600"/>
              <a:gd name="connsiteY658" fmla="*/ 1248670 h 6858000"/>
              <a:gd name="connsiteX659" fmla="*/ 6691602 w 7467600"/>
              <a:gd name="connsiteY659" fmla="*/ 1140573 h 6858000"/>
              <a:gd name="connsiteX660" fmla="*/ 6571100 w 7467600"/>
              <a:gd name="connsiteY660" fmla="*/ 1183662 h 6858000"/>
              <a:gd name="connsiteX661" fmla="*/ 6241687 w 7467600"/>
              <a:gd name="connsiteY661" fmla="*/ 1257600 h 6858000"/>
              <a:gd name="connsiteX662" fmla="*/ 5693009 w 7467600"/>
              <a:gd name="connsiteY662" fmla="*/ 1478256 h 6858000"/>
              <a:gd name="connsiteX663" fmla="*/ 6548420 w 7467600"/>
              <a:gd name="connsiteY663" fmla="*/ 1214599 h 6858000"/>
              <a:gd name="connsiteX664" fmla="*/ 6605473 w 7467600"/>
              <a:gd name="connsiteY664" fmla="*/ 1184686 h 6858000"/>
              <a:gd name="connsiteX665" fmla="*/ 6691602 w 7467600"/>
              <a:gd name="connsiteY665" fmla="*/ 1140573 h 6858000"/>
              <a:gd name="connsiteX666" fmla="*/ 4002475 w 7467600"/>
              <a:gd name="connsiteY666" fmla="*/ 1037802 h 6858000"/>
              <a:gd name="connsiteX667" fmla="*/ 4000324 w 7467600"/>
              <a:gd name="connsiteY667" fmla="*/ 1039362 h 6858000"/>
              <a:gd name="connsiteX668" fmla="*/ 4002862 w 7467600"/>
              <a:gd name="connsiteY668" fmla="*/ 1042866 h 6858000"/>
              <a:gd name="connsiteX669" fmla="*/ 4002475 w 7467600"/>
              <a:gd name="connsiteY669" fmla="*/ 1037802 h 6858000"/>
              <a:gd name="connsiteX670" fmla="*/ 506322 w 7467600"/>
              <a:gd name="connsiteY670" fmla="*/ 1020997 h 6858000"/>
              <a:gd name="connsiteX671" fmla="*/ 533068 w 7467600"/>
              <a:gd name="connsiteY671" fmla="*/ 1029409 h 6858000"/>
              <a:gd name="connsiteX672" fmla="*/ 1232525 w 7467600"/>
              <a:gd name="connsiteY672" fmla="*/ 1804675 h 6858000"/>
              <a:gd name="connsiteX673" fmla="*/ 1388858 w 7467600"/>
              <a:gd name="connsiteY673" fmla="*/ 2368011 h 6858000"/>
              <a:gd name="connsiteX674" fmla="*/ 1384098 w 7467600"/>
              <a:gd name="connsiteY674" fmla="*/ 2378125 h 6858000"/>
              <a:gd name="connsiteX675" fmla="*/ 1425393 w 7467600"/>
              <a:gd name="connsiteY675" fmla="*/ 2589124 h 6858000"/>
              <a:gd name="connsiteX676" fmla="*/ 1424001 w 7467600"/>
              <a:gd name="connsiteY676" fmla="*/ 2597541 h 6858000"/>
              <a:gd name="connsiteX677" fmla="*/ 2152729 w 7467600"/>
              <a:gd name="connsiteY677" fmla="*/ 2864487 h 6858000"/>
              <a:gd name="connsiteX678" fmla="*/ 2020609 w 7467600"/>
              <a:gd name="connsiteY678" fmla="*/ 2539671 h 6858000"/>
              <a:gd name="connsiteX679" fmla="*/ 2018920 w 7467600"/>
              <a:gd name="connsiteY679" fmla="*/ 2536309 h 6858000"/>
              <a:gd name="connsiteX680" fmla="*/ 1342441 w 7467600"/>
              <a:gd name="connsiteY680" fmla="*/ 1173017 h 6858000"/>
              <a:gd name="connsiteX681" fmla="*/ 1367925 w 7467600"/>
              <a:gd name="connsiteY681" fmla="*/ 1135648 h 6858000"/>
              <a:gd name="connsiteX682" fmla="*/ 1771401 w 7467600"/>
              <a:gd name="connsiteY682" fmla="*/ 1806673 h 6858000"/>
              <a:gd name="connsiteX683" fmla="*/ 1972385 w 7467600"/>
              <a:gd name="connsiteY683" fmla="*/ 2198735 h 6858000"/>
              <a:gd name="connsiteX684" fmla="*/ 2040892 w 7467600"/>
              <a:gd name="connsiteY684" fmla="*/ 2405205 h 6858000"/>
              <a:gd name="connsiteX685" fmla="*/ 2131689 w 7467600"/>
              <a:gd name="connsiteY685" fmla="*/ 1936926 h 6858000"/>
              <a:gd name="connsiteX686" fmla="*/ 2454820 w 7467600"/>
              <a:gd name="connsiteY686" fmla="*/ 1248808 h 6858000"/>
              <a:gd name="connsiteX687" fmla="*/ 2492512 w 7467600"/>
              <a:gd name="connsiteY687" fmla="*/ 1302920 h 6858000"/>
              <a:gd name="connsiteX688" fmla="*/ 2081216 w 7467600"/>
              <a:gd name="connsiteY688" fmla="*/ 2527513 h 6858000"/>
              <a:gd name="connsiteX689" fmla="*/ 2081211 w 7467600"/>
              <a:gd name="connsiteY689" fmla="*/ 2528916 h 6858000"/>
              <a:gd name="connsiteX690" fmla="*/ 2199067 w 7467600"/>
              <a:gd name="connsiteY690" fmla="*/ 2884061 h 6858000"/>
              <a:gd name="connsiteX691" fmla="*/ 3192586 w 7467600"/>
              <a:gd name="connsiteY691" fmla="*/ 3411496 h 6858000"/>
              <a:gd name="connsiteX692" fmla="*/ 3182620 w 7467600"/>
              <a:gd name="connsiteY692" fmla="*/ 3483279 h 6858000"/>
              <a:gd name="connsiteX693" fmla="*/ 2435119 w 7467600"/>
              <a:gd name="connsiteY693" fmla="*/ 3080173 h 6858000"/>
              <a:gd name="connsiteX694" fmla="*/ 2410152 w 7467600"/>
              <a:gd name="connsiteY694" fmla="*/ 3063751 h 6858000"/>
              <a:gd name="connsiteX695" fmla="*/ 2408099 w 7467600"/>
              <a:gd name="connsiteY695" fmla="*/ 3064403 h 6858000"/>
              <a:gd name="connsiteX696" fmla="*/ 2407218 w 7467600"/>
              <a:gd name="connsiteY696" fmla="*/ 3070324 h 6858000"/>
              <a:gd name="connsiteX697" fmla="*/ 2380138 w 7467600"/>
              <a:gd name="connsiteY697" fmla="*/ 3099341 h 6858000"/>
              <a:gd name="connsiteX698" fmla="*/ 1765923 w 7467600"/>
              <a:gd name="connsiteY698" fmla="*/ 3581043 h 6858000"/>
              <a:gd name="connsiteX699" fmla="*/ 1702258 w 7467600"/>
              <a:gd name="connsiteY699" fmla="*/ 3612286 h 6858000"/>
              <a:gd name="connsiteX700" fmla="*/ 1538370 w 7467600"/>
              <a:gd name="connsiteY700" fmla="*/ 3811804 h 6858000"/>
              <a:gd name="connsiteX701" fmla="*/ 542867 w 7467600"/>
              <a:gd name="connsiteY701" fmla="*/ 4944092 h 6858000"/>
              <a:gd name="connsiteX702" fmla="*/ 515800 w 7467600"/>
              <a:gd name="connsiteY702" fmla="*/ 4862180 h 6858000"/>
              <a:gd name="connsiteX703" fmla="*/ 909145 w 7467600"/>
              <a:gd name="connsiteY703" fmla="*/ 4199225 h 6858000"/>
              <a:gd name="connsiteX704" fmla="*/ 1214067 w 7467600"/>
              <a:gd name="connsiteY704" fmla="*/ 3908561 h 6858000"/>
              <a:gd name="connsiteX705" fmla="*/ 640967 w 7467600"/>
              <a:gd name="connsiteY705" fmla="*/ 4105601 h 6858000"/>
              <a:gd name="connsiteX706" fmla="*/ 112563 w 7467600"/>
              <a:gd name="connsiteY706" fmla="*/ 4396952 h 6858000"/>
              <a:gd name="connsiteX707" fmla="*/ 0 w 7467600"/>
              <a:gd name="connsiteY707" fmla="*/ 4466006 h 6858000"/>
              <a:gd name="connsiteX708" fmla="*/ 0 w 7467600"/>
              <a:gd name="connsiteY708" fmla="*/ 4233763 h 6858000"/>
              <a:gd name="connsiteX709" fmla="*/ 36881 w 7467600"/>
              <a:gd name="connsiteY709" fmla="*/ 4200118 h 6858000"/>
              <a:gd name="connsiteX710" fmla="*/ 910534 w 7467600"/>
              <a:gd name="connsiteY710" fmla="*/ 3629753 h 6858000"/>
              <a:gd name="connsiteX711" fmla="*/ 1578717 w 7467600"/>
              <a:gd name="connsiteY711" fmla="*/ 3575982 h 6858000"/>
              <a:gd name="connsiteX712" fmla="*/ 2338780 w 7467600"/>
              <a:gd name="connsiteY712" fmla="*/ 3033725 h 6858000"/>
              <a:gd name="connsiteX713" fmla="*/ 1807991 w 7467600"/>
              <a:gd name="connsiteY713" fmla="*/ 2807184 h 6858000"/>
              <a:gd name="connsiteX714" fmla="*/ 1416358 w 7467600"/>
              <a:gd name="connsiteY714" fmla="*/ 3112571 h 6858000"/>
              <a:gd name="connsiteX715" fmla="*/ 939066 w 7467600"/>
              <a:gd name="connsiteY715" fmla="*/ 3378798 h 6858000"/>
              <a:gd name="connsiteX716" fmla="*/ 115099 w 7467600"/>
              <a:gd name="connsiteY716" fmla="*/ 3607650 h 6858000"/>
              <a:gd name="connsiteX717" fmla="*/ 97284 w 7467600"/>
              <a:gd name="connsiteY717" fmla="*/ 3520393 h 6858000"/>
              <a:gd name="connsiteX718" fmla="*/ 922050 w 7467600"/>
              <a:gd name="connsiteY718" fmla="*/ 3074867 h 6858000"/>
              <a:gd name="connsiteX719" fmla="*/ 1405265 w 7467600"/>
              <a:gd name="connsiteY719" fmla="*/ 3016319 h 6858000"/>
              <a:gd name="connsiteX720" fmla="*/ 1407512 w 7467600"/>
              <a:gd name="connsiteY720" fmla="*/ 3018001 h 6858000"/>
              <a:gd name="connsiteX721" fmla="*/ 1726266 w 7467600"/>
              <a:gd name="connsiteY721" fmla="*/ 2777274 h 6858000"/>
              <a:gd name="connsiteX722" fmla="*/ 625390 w 7467600"/>
              <a:gd name="connsiteY722" fmla="*/ 2514541 h 6858000"/>
              <a:gd name="connsiteX723" fmla="*/ 619799 w 7467600"/>
              <a:gd name="connsiteY723" fmla="*/ 2527180 h 6858000"/>
              <a:gd name="connsiteX724" fmla="*/ 310030 w 7467600"/>
              <a:gd name="connsiteY724" fmla="*/ 2771818 h 6858000"/>
              <a:gd name="connsiteX725" fmla="*/ 173877 w 7467600"/>
              <a:gd name="connsiteY725" fmla="*/ 2937056 h 6858000"/>
              <a:gd name="connsiteX726" fmla="*/ 77889 w 7467600"/>
              <a:gd name="connsiteY726" fmla="*/ 3138440 h 6858000"/>
              <a:gd name="connsiteX727" fmla="*/ 0 w 7467600"/>
              <a:gd name="connsiteY727" fmla="*/ 3271395 h 6858000"/>
              <a:gd name="connsiteX728" fmla="*/ 0 w 7467600"/>
              <a:gd name="connsiteY728" fmla="*/ 3153002 h 6858000"/>
              <a:gd name="connsiteX729" fmla="*/ 2386 w 7467600"/>
              <a:gd name="connsiteY729" fmla="*/ 3149203 h 6858000"/>
              <a:gd name="connsiteX730" fmla="*/ 89753 w 7467600"/>
              <a:gd name="connsiteY730" fmla="*/ 2987702 h 6858000"/>
              <a:gd name="connsiteX731" fmla="*/ 76869 w 7467600"/>
              <a:gd name="connsiteY731" fmla="*/ 3005404 h 6858000"/>
              <a:gd name="connsiteX732" fmla="*/ 32049 w 7467600"/>
              <a:gd name="connsiteY732" fmla="*/ 3065814 h 6858000"/>
              <a:gd name="connsiteX733" fmla="*/ 0 w 7467600"/>
              <a:gd name="connsiteY733" fmla="*/ 3108744 h 6858000"/>
              <a:gd name="connsiteX734" fmla="*/ 0 w 7467600"/>
              <a:gd name="connsiteY734" fmla="*/ 3058059 h 6858000"/>
              <a:gd name="connsiteX735" fmla="*/ 7610 w 7467600"/>
              <a:gd name="connsiteY735" fmla="*/ 3047889 h 6858000"/>
              <a:gd name="connsiteX736" fmla="*/ 52419 w 7467600"/>
              <a:gd name="connsiteY736" fmla="*/ 2987479 h 6858000"/>
              <a:gd name="connsiteX737" fmla="*/ 59142 w 7467600"/>
              <a:gd name="connsiteY737" fmla="*/ 2978488 h 6858000"/>
              <a:gd name="connsiteX738" fmla="*/ 0 w 7467600"/>
              <a:gd name="connsiteY738" fmla="*/ 3015334 h 6858000"/>
              <a:gd name="connsiteX739" fmla="*/ 0 w 7467600"/>
              <a:gd name="connsiteY739" fmla="*/ 2914286 h 6858000"/>
              <a:gd name="connsiteX740" fmla="*/ 36383 w 7467600"/>
              <a:gd name="connsiteY740" fmla="*/ 2901128 h 6858000"/>
              <a:gd name="connsiteX741" fmla="*/ 156329 w 7467600"/>
              <a:gd name="connsiteY741" fmla="*/ 2840533 h 6858000"/>
              <a:gd name="connsiteX742" fmla="*/ 358355 w 7467600"/>
              <a:gd name="connsiteY742" fmla="*/ 2620471 h 6858000"/>
              <a:gd name="connsiteX743" fmla="*/ 510577 w 7467600"/>
              <a:gd name="connsiteY743" fmla="*/ 2501244 h 6858000"/>
              <a:gd name="connsiteX744" fmla="*/ 211967 w 7467600"/>
              <a:gd name="connsiteY744" fmla="*/ 2479171 h 6858000"/>
              <a:gd name="connsiteX745" fmla="*/ 0 w 7467600"/>
              <a:gd name="connsiteY745" fmla="*/ 2476398 h 6858000"/>
              <a:gd name="connsiteX746" fmla="*/ 0 w 7467600"/>
              <a:gd name="connsiteY746" fmla="*/ 2389189 h 6858000"/>
              <a:gd name="connsiteX747" fmla="*/ 103062 w 7467600"/>
              <a:gd name="connsiteY747" fmla="*/ 2389518 h 6858000"/>
              <a:gd name="connsiteX748" fmla="*/ 510734 w 7467600"/>
              <a:gd name="connsiteY748" fmla="*/ 2416201 h 6858000"/>
              <a:gd name="connsiteX749" fmla="*/ 279257 w 7467600"/>
              <a:gd name="connsiteY749" fmla="*/ 2092102 h 6858000"/>
              <a:gd name="connsiteX750" fmla="*/ 65265 w 7467600"/>
              <a:gd name="connsiteY750" fmla="*/ 2006049 h 6858000"/>
              <a:gd name="connsiteX751" fmla="*/ 0 w 7467600"/>
              <a:gd name="connsiteY751" fmla="*/ 1982532 h 6858000"/>
              <a:gd name="connsiteX752" fmla="*/ 0 w 7467600"/>
              <a:gd name="connsiteY752" fmla="*/ 1912789 h 6858000"/>
              <a:gd name="connsiteX753" fmla="*/ 97460 w 7467600"/>
              <a:gd name="connsiteY753" fmla="*/ 1953725 h 6858000"/>
              <a:gd name="connsiteX754" fmla="*/ 221272 w 7467600"/>
              <a:gd name="connsiteY754" fmla="*/ 1980766 h 6858000"/>
              <a:gd name="connsiteX755" fmla="*/ 116765 w 7467600"/>
              <a:gd name="connsiteY755" fmla="*/ 1911033 h 6858000"/>
              <a:gd name="connsiteX756" fmla="*/ 16405 w 7467600"/>
              <a:gd name="connsiteY756" fmla="*/ 1803412 h 6858000"/>
              <a:gd name="connsiteX757" fmla="*/ 0 w 7467600"/>
              <a:gd name="connsiteY757" fmla="*/ 1784777 h 6858000"/>
              <a:gd name="connsiteX758" fmla="*/ 0 w 7467600"/>
              <a:gd name="connsiteY758" fmla="*/ 1740082 h 6858000"/>
              <a:gd name="connsiteX759" fmla="*/ 39394 w 7467600"/>
              <a:gd name="connsiteY759" fmla="*/ 1784856 h 6858000"/>
              <a:gd name="connsiteX760" fmla="*/ 135813 w 7467600"/>
              <a:gd name="connsiteY760" fmla="*/ 1888838 h 6858000"/>
              <a:gd name="connsiteX761" fmla="*/ 242575 w 7467600"/>
              <a:gd name="connsiteY761" fmla="*/ 1958841 h 6858000"/>
              <a:gd name="connsiteX762" fmla="*/ 82197 w 7467600"/>
              <a:gd name="connsiteY762" fmla="*/ 1754826 h 6858000"/>
              <a:gd name="connsiteX763" fmla="*/ 0 w 7467600"/>
              <a:gd name="connsiteY763" fmla="*/ 1679650 h 6858000"/>
              <a:gd name="connsiteX764" fmla="*/ 0 w 7467600"/>
              <a:gd name="connsiteY764" fmla="*/ 1602463 h 6858000"/>
              <a:gd name="connsiteX765" fmla="*/ 84689 w 7467600"/>
              <a:gd name="connsiteY765" fmla="*/ 1677442 h 6858000"/>
              <a:gd name="connsiteX766" fmla="*/ 298437 w 7467600"/>
              <a:gd name="connsiteY766" fmla="*/ 1968019 h 6858000"/>
              <a:gd name="connsiteX767" fmla="*/ 227269 w 7467600"/>
              <a:gd name="connsiteY767" fmla="*/ 1114064 h 6858000"/>
              <a:gd name="connsiteX768" fmla="*/ 248003 w 7467600"/>
              <a:gd name="connsiteY768" fmla="*/ 1089613 h 6858000"/>
              <a:gd name="connsiteX769" fmla="*/ 427020 w 7467600"/>
              <a:gd name="connsiteY769" fmla="*/ 1619803 h 6858000"/>
              <a:gd name="connsiteX770" fmla="*/ 340345 w 7467600"/>
              <a:gd name="connsiteY770" fmla="*/ 2027739 h 6858000"/>
              <a:gd name="connsiteX771" fmla="*/ 360865 w 7467600"/>
              <a:gd name="connsiteY771" fmla="*/ 2044827 h 6858000"/>
              <a:gd name="connsiteX772" fmla="*/ 560414 w 7467600"/>
              <a:gd name="connsiteY772" fmla="*/ 2421457 h 6858000"/>
              <a:gd name="connsiteX773" fmla="*/ 1359703 w 7467600"/>
              <a:gd name="connsiteY773" fmla="*/ 2578554 h 6858000"/>
              <a:gd name="connsiteX774" fmla="*/ 1359422 w 7467600"/>
              <a:gd name="connsiteY774" fmla="*/ 2577994 h 6858000"/>
              <a:gd name="connsiteX775" fmla="*/ 828701 w 7467600"/>
              <a:gd name="connsiteY775" fmla="*/ 1839520 h 6858000"/>
              <a:gd name="connsiteX776" fmla="*/ 494427 w 7467600"/>
              <a:gd name="connsiteY776" fmla="*/ 1092333 h 6858000"/>
              <a:gd name="connsiteX777" fmla="*/ 506322 w 7467600"/>
              <a:gd name="connsiteY777" fmla="*/ 1020997 h 6858000"/>
              <a:gd name="connsiteX778" fmla="*/ 4570198 w 7467600"/>
              <a:gd name="connsiteY778" fmla="*/ 978081 h 6858000"/>
              <a:gd name="connsiteX779" fmla="*/ 4523691 w 7467600"/>
              <a:gd name="connsiteY779" fmla="*/ 1127776 h 6858000"/>
              <a:gd name="connsiteX780" fmla="*/ 4509875 w 7467600"/>
              <a:gd name="connsiteY780" fmla="*/ 1167552 h 6858000"/>
              <a:gd name="connsiteX781" fmla="*/ 4478168 w 7467600"/>
              <a:gd name="connsiteY781" fmla="*/ 1260735 h 6858000"/>
              <a:gd name="connsiteX782" fmla="*/ 4409309 w 7467600"/>
              <a:gd name="connsiteY782" fmla="*/ 1666996 h 6858000"/>
              <a:gd name="connsiteX783" fmla="*/ 4370031 w 7467600"/>
              <a:gd name="connsiteY783" fmla="*/ 1955666 h 6858000"/>
              <a:gd name="connsiteX784" fmla="*/ 4570198 w 7467600"/>
              <a:gd name="connsiteY784" fmla="*/ 978081 h 6858000"/>
              <a:gd name="connsiteX785" fmla="*/ 4557898 w 7467600"/>
              <a:gd name="connsiteY785" fmla="*/ 900011 h 6858000"/>
              <a:gd name="connsiteX786" fmla="*/ 4344840 w 7467600"/>
              <a:gd name="connsiteY786" fmla="*/ 1922038 h 6858000"/>
              <a:gd name="connsiteX787" fmla="*/ 4378710 w 7467600"/>
              <a:gd name="connsiteY787" fmla="*/ 1665516 h 6858000"/>
              <a:gd name="connsiteX788" fmla="*/ 4448798 w 7467600"/>
              <a:gd name="connsiteY788" fmla="*/ 1253024 h 6858000"/>
              <a:gd name="connsiteX789" fmla="*/ 4480315 w 7467600"/>
              <a:gd name="connsiteY789" fmla="*/ 1158454 h 6858000"/>
              <a:gd name="connsiteX790" fmla="*/ 4494133 w 7467600"/>
              <a:gd name="connsiteY790" fmla="*/ 1118676 h 6858000"/>
              <a:gd name="connsiteX791" fmla="*/ 4557898 w 7467600"/>
              <a:gd name="connsiteY791" fmla="*/ 900011 h 6858000"/>
              <a:gd name="connsiteX792" fmla="*/ 5870151 w 7467600"/>
              <a:gd name="connsiteY792" fmla="*/ 898890 h 6858000"/>
              <a:gd name="connsiteX793" fmla="*/ 5861335 w 7467600"/>
              <a:gd name="connsiteY793" fmla="*/ 899177 h 6858000"/>
              <a:gd name="connsiteX794" fmla="*/ 5843702 w 7467600"/>
              <a:gd name="connsiteY794" fmla="*/ 899748 h 6858000"/>
              <a:gd name="connsiteX795" fmla="*/ 5651107 w 7467600"/>
              <a:gd name="connsiteY795" fmla="*/ 920306 h 6858000"/>
              <a:gd name="connsiteX796" fmla="*/ 5459407 w 7467600"/>
              <a:gd name="connsiteY796" fmla="*/ 940975 h 6858000"/>
              <a:gd name="connsiteX797" fmla="*/ 5374846 w 7467600"/>
              <a:gd name="connsiteY797" fmla="*/ 941988 h 6858000"/>
              <a:gd name="connsiteX798" fmla="*/ 5256105 w 7467600"/>
              <a:gd name="connsiteY798" fmla="*/ 945632 h 6858000"/>
              <a:gd name="connsiteX799" fmla="*/ 5107071 w 7467600"/>
              <a:gd name="connsiteY799" fmla="*/ 969720 h 6858000"/>
              <a:gd name="connsiteX800" fmla="*/ 4998681 w 7467600"/>
              <a:gd name="connsiteY800" fmla="*/ 988771 h 6858000"/>
              <a:gd name="connsiteX801" fmla="*/ 5870151 w 7467600"/>
              <a:gd name="connsiteY801" fmla="*/ 898890 h 6858000"/>
              <a:gd name="connsiteX802" fmla="*/ 5504425 w 7467600"/>
              <a:gd name="connsiteY802" fmla="*/ 848067 h 6858000"/>
              <a:gd name="connsiteX803" fmla="*/ 4968849 w 7467600"/>
              <a:gd name="connsiteY803" fmla="*/ 962318 h 6858000"/>
              <a:gd name="connsiteX804" fmla="*/ 5104039 w 7467600"/>
              <a:gd name="connsiteY804" fmla="*/ 940634 h 6858000"/>
              <a:gd name="connsiteX805" fmla="*/ 5256311 w 7467600"/>
              <a:gd name="connsiteY805" fmla="*/ 916490 h 6858000"/>
              <a:gd name="connsiteX806" fmla="*/ 5377381 w 7467600"/>
              <a:gd name="connsiteY806" fmla="*/ 912671 h 6858000"/>
              <a:gd name="connsiteX807" fmla="*/ 5460148 w 7467600"/>
              <a:gd name="connsiteY807" fmla="*/ 911442 h 6858000"/>
              <a:gd name="connsiteX808" fmla="*/ 5648971 w 7467600"/>
              <a:gd name="connsiteY808" fmla="*/ 891331 h 6858000"/>
              <a:gd name="connsiteX809" fmla="*/ 5844807 w 7467600"/>
              <a:gd name="connsiteY809" fmla="*/ 870718 h 6858000"/>
              <a:gd name="connsiteX810" fmla="*/ 5862975 w 7467600"/>
              <a:gd name="connsiteY810" fmla="*/ 869756 h 6858000"/>
              <a:gd name="connsiteX811" fmla="*/ 5920887 w 7467600"/>
              <a:gd name="connsiteY811" fmla="*/ 865929 h 6858000"/>
              <a:gd name="connsiteX812" fmla="*/ 5504425 w 7467600"/>
              <a:gd name="connsiteY812" fmla="*/ 848067 h 6858000"/>
              <a:gd name="connsiteX813" fmla="*/ 3607114 w 7467600"/>
              <a:gd name="connsiteY813" fmla="*/ 467441 h 6858000"/>
              <a:gd name="connsiteX814" fmla="*/ 3296242 w 7467600"/>
              <a:gd name="connsiteY814" fmla="*/ 807991 h 6858000"/>
              <a:gd name="connsiteX815" fmla="*/ 3174674 w 7467600"/>
              <a:gd name="connsiteY815" fmla="*/ 919759 h 6858000"/>
              <a:gd name="connsiteX816" fmla="*/ 3042978 w 7467600"/>
              <a:gd name="connsiteY816" fmla="*/ 1054894 h 6858000"/>
              <a:gd name="connsiteX817" fmla="*/ 2968914 w 7467600"/>
              <a:gd name="connsiteY817" fmla="*/ 1133756 h 6858000"/>
              <a:gd name="connsiteX818" fmla="*/ 3103823 w 7467600"/>
              <a:gd name="connsiteY818" fmla="*/ 1026814 h 6858000"/>
              <a:gd name="connsiteX819" fmla="*/ 3607114 w 7467600"/>
              <a:gd name="connsiteY819" fmla="*/ 467441 h 6858000"/>
              <a:gd name="connsiteX820" fmla="*/ 3744487 w 7467600"/>
              <a:gd name="connsiteY820" fmla="*/ 383136 h 6858000"/>
              <a:gd name="connsiteX821" fmla="*/ 3970213 w 7467600"/>
              <a:gd name="connsiteY821" fmla="*/ 995559 h 6858000"/>
              <a:gd name="connsiteX822" fmla="*/ 3744487 w 7467600"/>
              <a:gd name="connsiteY822" fmla="*/ 383136 h 6858000"/>
              <a:gd name="connsiteX823" fmla="*/ 3624562 w 7467600"/>
              <a:gd name="connsiteY823" fmla="*/ 367041 h 6858000"/>
              <a:gd name="connsiteX824" fmla="*/ 3489712 w 7467600"/>
              <a:gd name="connsiteY824" fmla="*/ 485386 h 6858000"/>
              <a:gd name="connsiteX825" fmla="*/ 3182994 w 7467600"/>
              <a:gd name="connsiteY825" fmla="*/ 828265 h 6858000"/>
              <a:gd name="connsiteX826" fmla="*/ 2892114 w 7467600"/>
              <a:gd name="connsiteY826" fmla="*/ 1172635 h 6858000"/>
              <a:gd name="connsiteX827" fmla="*/ 3021459 w 7467600"/>
              <a:gd name="connsiteY827" fmla="*/ 1035385 h 6858000"/>
              <a:gd name="connsiteX828" fmla="*/ 3153873 w 7467600"/>
              <a:gd name="connsiteY828" fmla="*/ 898971 h 6858000"/>
              <a:gd name="connsiteX829" fmla="*/ 3276511 w 7467600"/>
              <a:gd name="connsiteY829" fmla="*/ 786423 h 6858000"/>
              <a:gd name="connsiteX830" fmla="*/ 3584154 w 7467600"/>
              <a:gd name="connsiteY830" fmla="*/ 448218 h 6858000"/>
              <a:gd name="connsiteX831" fmla="*/ 3624562 w 7467600"/>
              <a:gd name="connsiteY831" fmla="*/ 367041 h 6858000"/>
              <a:gd name="connsiteX832" fmla="*/ 3766672 w 7467600"/>
              <a:gd name="connsiteY832" fmla="*/ 359429 h 6858000"/>
              <a:gd name="connsiteX833" fmla="*/ 3996338 w 7467600"/>
              <a:gd name="connsiteY833" fmla="*/ 968237 h 6858000"/>
              <a:gd name="connsiteX834" fmla="*/ 3766672 w 7467600"/>
              <a:gd name="connsiteY834" fmla="*/ 359429 h 6858000"/>
              <a:gd name="connsiteX835" fmla="*/ 5805386 w 7467600"/>
              <a:gd name="connsiteY835" fmla="*/ 239240 h 6858000"/>
              <a:gd name="connsiteX836" fmla="*/ 5736947 w 7467600"/>
              <a:gd name="connsiteY836" fmla="*/ 261367 h 6858000"/>
              <a:gd name="connsiteX837" fmla="*/ 5427012 w 7467600"/>
              <a:gd name="connsiteY837" fmla="*/ 311272 h 6858000"/>
              <a:gd name="connsiteX838" fmla="*/ 5147818 w 7467600"/>
              <a:gd name="connsiteY838" fmla="*/ 322112 h 6858000"/>
              <a:gd name="connsiteX839" fmla="*/ 5060854 w 7467600"/>
              <a:gd name="connsiteY839" fmla="*/ 311882 h 6858000"/>
              <a:gd name="connsiteX840" fmla="*/ 4945989 w 7467600"/>
              <a:gd name="connsiteY840" fmla="*/ 300516 h 6858000"/>
              <a:gd name="connsiteX841" fmla="*/ 5410479 w 7467600"/>
              <a:gd name="connsiteY841" fmla="*/ 348434 h 6858000"/>
              <a:gd name="connsiteX842" fmla="*/ 5805386 w 7467600"/>
              <a:gd name="connsiteY842" fmla="*/ 239240 h 6858000"/>
              <a:gd name="connsiteX843" fmla="*/ 5905192 w 7467600"/>
              <a:gd name="connsiteY843" fmla="*/ 163079 h 6858000"/>
              <a:gd name="connsiteX844" fmla="*/ 5865655 w 7467600"/>
              <a:gd name="connsiteY844" fmla="*/ 171901 h 6858000"/>
              <a:gd name="connsiteX845" fmla="*/ 5259740 w 7467600"/>
              <a:gd name="connsiteY845" fmla="*/ 257013 h 6858000"/>
              <a:gd name="connsiteX846" fmla="*/ 5208466 w 7467600"/>
              <a:gd name="connsiteY846" fmla="*/ 257550 h 6858000"/>
              <a:gd name="connsiteX847" fmla="*/ 4980204 w 7467600"/>
              <a:gd name="connsiteY847" fmla="*/ 271903 h 6858000"/>
              <a:gd name="connsiteX848" fmla="*/ 5068068 w 7467600"/>
              <a:gd name="connsiteY848" fmla="*/ 282244 h 6858000"/>
              <a:gd name="connsiteX849" fmla="*/ 5153231 w 7467600"/>
              <a:gd name="connsiteY849" fmla="*/ 292240 h 6858000"/>
              <a:gd name="connsiteX850" fmla="*/ 5426491 w 7467600"/>
              <a:gd name="connsiteY850" fmla="*/ 281128 h 6858000"/>
              <a:gd name="connsiteX851" fmla="*/ 5731212 w 7467600"/>
              <a:gd name="connsiteY851" fmla="*/ 231951 h 6858000"/>
              <a:gd name="connsiteX852" fmla="*/ 5905192 w 7467600"/>
              <a:gd name="connsiteY852" fmla="*/ 163079 h 6858000"/>
              <a:gd name="connsiteX853" fmla="*/ 5944437 w 7467600"/>
              <a:gd name="connsiteY853" fmla="*/ 113829 h 6858000"/>
              <a:gd name="connsiteX854" fmla="*/ 5825032 w 7467600"/>
              <a:gd name="connsiteY854" fmla="*/ 146405 h 6858000"/>
              <a:gd name="connsiteX855" fmla="*/ 4955599 w 7467600"/>
              <a:gd name="connsiteY855" fmla="*/ 247008 h 6858000"/>
              <a:gd name="connsiteX856" fmla="*/ 5210104 w 7467600"/>
              <a:gd name="connsiteY856" fmla="*/ 228123 h 6858000"/>
              <a:gd name="connsiteX857" fmla="*/ 5261015 w 7467600"/>
              <a:gd name="connsiteY857" fmla="*/ 227087 h 6858000"/>
              <a:gd name="connsiteX858" fmla="*/ 5861181 w 7467600"/>
              <a:gd name="connsiteY858" fmla="*/ 143093 h 6858000"/>
              <a:gd name="connsiteX859" fmla="*/ 5961252 w 7467600"/>
              <a:gd name="connsiteY859" fmla="*/ 114820 h 6858000"/>
              <a:gd name="connsiteX860" fmla="*/ 5944437 w 7467600"/>
              <a:gd name="connsiteY860" fmla="*/ 113829 h 6858000"/>
              <a:gd name="connsiteX861" fmla="*/ 3882765 w 7467600"/>
              <a:gd name="connsiteY861" fmla="*/ 0 h 6858000"/>
              <a:gd name="connsiteX862" fmla="*/ 3995099 w 7467600"/>
              <a:gd name="connsiteY862" fmla="*/ 0 h 6858000"/>
              <a:gd name="connsiteX863" fmla="*/ 4163818 w 7467600"/>
              <a:gd name="connsiteY863" fmla="*/ 234104 h 6858000"/>
              <a:gd name="connsiteX864" fmla="*/ 4172099 w 7467600"/>
              <a:gd name="connsiteY864" fmla="*/ 234207 h 6858000"/>
              <a:gd name="connsiteX865" fmla="*/ 4784282 w 7467600"/>
              <a:gd name="connsiteY865" fmla="*/ 276561 h 6858000"/>
              <a:gd name="connsiteX866" fmla="*/ 4801687 w 7467600"/>
              <a:gd name="connsiteY866" fmla="*/ 267764 h 6858000"/>
              <a:gd name="connsiteX867" fmla="*/ 6082788 w 7467600"/>
              <a:gd name="connsiteY867" fmla="*/ 64119 h 6858000"/>
              <a:gd name="connsiteX868" fmla="*/ 6099442 w 7467600"/>
              <a:gd name="connsiteY868" fmla="*/ 82568 h 6858000"/>
              <a:gd name="connsiteX869" fmla="*/ 4804137 w 7467600"/>
              <a:gd name="connsiteY869" fmla="*/ 320931 h 6858000"/>
              <a:gd name="connsiteX870" fmla="*/ 4227047 w 7467600"/>
              <a:gd name="connsiteY870" fmla="*/ 313415 h 6858000"/>
              <a:gd name="connsiteX871" fmla="*/ 4346041 w 7467600"/>
              <a:gd name="connsiteY871" fmla="*/ 456086 h 6858000"/>
              <a:gd name="connsiteX872" fmla="*/ 4870967 w 7467600"/>
              <a:gd name="connsiteY872" fmla="*/ 963061 h 6858000"/>
              <a:gd name="connsiteX873" fmla="*/ 4889647 w 7467600"/>
              <a:gd name="connsiteY873" fmla="*/ 957147 h 6858000"/>
              <a:gd name="connsiteX874" fmla="*/ 5422504 w 7467600"/>
              <a:gd name="connsiteY874" fmla="*/ 805191 h 6858000"/>
              <a:gd name="connsiteX875" fmla="*/ 6087656 w 7467600"/>
              <a:gd name="connsiteY875" fmla="*/ 826703 h 6858000"/>
              <a:gd name="connsiteX876" fmla="*/ 6058717 w 7467600"/>
              <a:gd name="connsiteY876" fmla="*/ 865992 h 6858000"/>
              <a:gd name="connsiteX877" fmla="*/ 4974153 w 7467600"/>
              <a:gd name="connsiteY877" fmla="*/ 1045456 h 6858000"/>
              <a:gd name="connsiteX878" fmla="*/ 5627835 w 7467600"/>
              <a:gd name="connsiteY878" fmla="*/ 1472077 h 6858000"/>
              <a:gd name="connsiteX879" fmla="*/ 5629817 w 7467600"/>
              <a:gd name="connsiteY879" fmla="*/ 1471412 h 6858000"/>
              <a:gd name="connsiteX880" fmla="*/ 5634124 w 7467600"/>
              <a:gd name="connsiteY880" fmla="*/ 1470572 h 6858000"/>
              <a:gd name="connsiteX881" fmla="*/ 5755832 w 7467600"/>
              <a:gd name="connsiteY881" fmla="*/ 1383886 h 6858000"/>
              <a:gd name="connsiteX882" fmla="*/ 6014186 w 7467600"/>
              <a:gd name="connsiteY882" fmla="*/ 1279799 h 6858000"/>
              <a:gd name="connsiteX883" fmla="*/ 6901619 w 7467600"/>
              <a:gd name="connsiteY883" fmla="*/ 1047874 h 6858000"/>
              <a:gd name="connsiteX884" fmla="*/ 6931566 w 7467600"/>
              <a:gd name="connsiteY884" fmla="*/ 1062034 h 6858000"/>
              <a:gd name="connsiteX885" fmla="*/ 5790982 w 7467600"/>
              <a:gd name="connsiteY885" fmla="*/ 1561380 h 6858000"/>
              <a:gd name="connsiteX886" fmla="*/ 6188971 w 7467600"/>
              <a:gd name="connsiteY886" fmla="*/ 1755168 h 6858000"/>
              <a:gd name="connsiteX887" fmla="*/ 6202446 w 7467600"/>
              <a:gd name="connsiteY887" fmla="*/ 1752268 h 6858000"/>
              <a:gd name="connsiteX888" fmla="*/ 7179560 w 7467600"/>
              <a:gd name="connsiteY888" fmla="*/ 1467551 h 6858000"/>
              <a:gd name="connsiteX889" fmla="*/ 7158730 w 7467600"/>
              <a:gd name="connsiteY889" fmla="*/ 1507835 h 6858000"/>
              <a:gd name="connsiteX890" fmla="*/ 6326959 w 7467600"/>
              <a:gd name="connsiteY890" fmla="*/ 1817686 h 6858000"/>
              <a:gd name="connsiteX891" fmla="*/ 6537433 w 7467600"/>
              <a:gd name="connsiteY891" fmla="*/ 1907790 h 6858000"/>
              <a:gd name="connsiteX892" fmla="*/ 6550221 w 7467600"/>
              <a:gd name="connsiteY892" fmla="*/ 1910729 h 6858000"/>
              <a:gd name="connsiteX893" fmla="*/ 6964438 w 7467600"/>
              <a:gd name="connsiteY893" fmla="*/ 2209505 h 6858000"/>
              <a:gd name="connsiteX894" fmla="*/ 7367862 w 7467600"/>
              <a:gd name="connsiteY894" fmla="*/ 2806833 h 6858000"/>
              <a:gd name="connsiteX895" fmla="*/ 7364329 w 7467600"/>
              <a:gd name="connsiteY895" fmla="*/ 2826907 h 6858000"/>
              <a:gd name="connsiteX896" fmla="*/ 7290545 w 7467600"/>
              <a:gd name="connsiteY896" fmla="*/ 2850663 h 6858000"/>
              <a:gd name="connsiteX897" fmla="*/ 6472036 w 7467600"/>
              <a:gd name="connsiteY897" fmla="*/ 1959003 h 6858000"/>
              <a:gd name="connsiteX898" fmla="*/ 5792897 w 7467600"/>
              <a:gd name="connsiteY898" fmla="*/ 1647747 h 6858000"/>
              <a:gd name="connsiteX899" fmla="*/ 5842751 w 7467600"/>
              <a:gd name="connsiteY899" fmla="*/ 1816112 h 6858000"/>
              <a:gd name="connsiteX900" fmla="*/ 5847424 w 7467600"/>
              <a:gd name="connsiteY900" fmla="*/ 1815776 h 6858000"/>
              <a:gd name="connsiteX901" fmla="*/ 6399821 w 7467600"/>
              <a:gd name="connsiteY901" fmla="*/ 2344799 h 6858000"/>
              <a:gd name="connsiteX902" fmla="*/ 6323232 w 7467600"/>
              <a:gd name="connsiteY902" fmla="*/ 2389634 h 6858000"/>
              <a:gd name="connsiteX903" fmla="*/ 5942958 w 7467600"/>
              <a:gd name="connsiteY903" fmla="*/ 2077708 h 6858000"/>
              <a:gd name="connsiteX904" fmla="*/ 5921559 w 7467600"/>
              <a:gd name="connsiteY904" fmla="*/ 2378596 h 6858000"/>
              <a:gd name="connsiteX905" fmla="*/ 5817651 w 7467600"/>
              <a:gd name="connsiteY905" fmla="*/ 3023919 h 6858000"/>
              <a:gd name="connsiteX906" fmla="*/ 5729634 w 7467600"/>
              <a:gd name="connsiteY906" fmla="*/ 3051849 h 6858000"/>
              <a:gd name="connsiteX907" fmla="*/ 5611018 w 7467600"/>
              <a:gd name="connsiteY907" fmla="*/ 2316769 h 6858000"/>
              <a:gd name="connsiteX908" fmla="*/ 5687608 w 7467600"/>
              <a:gd name="connsiteY908" fmla="*/ 2039972 h 6858000"/>
              <a:gd name="connsiteX909" fmla="*/ 5657554 w 7467600"/>
              <a:gd name="connsiteY909" fmla="*/ 1576445 h 6858000"/>
              <a:gd name="connsiteX910" fmla="*/ 5150475 w 7467600"/>
              <a:gd name="connsiteY910" fmla="*/ 1274012 h 6858000"/>
              <a:gd name="connsiteX911" fmla="*/ 5349142 w 7467600"/>
              <a:gd name="connsiteY911" fmla="*/ 2204405 h 6858000"/>
              <a:gd name="connsiteX912" fmla="*/ 5262214 w 7467600"/>
              <a:gd name="connsiteY912" fmla="*/ 2233836 h 6858000"/>
              <a:gd name="connsiteX913" fmla="*/ 4981539 w 7467600"/>
              <a:gd name="connsiteY913" fmla="*/ 1542201 h 6858000"/>
              <a:gd name="connsiteX914" fmla="*/ 4958461 w 7467600"/>
              <a:gd name="connsiteY914" fmla="*/ 1136957 h 6858000"/>
              <a:gd name="connsiteX915" fmla="*/ 4655015 w 7467600"/>
              <a:gd name="connsiteY915" fmla="*/ 891426 h 6858000"/>
              <a:gd name="connsiteX916" fmla="*/ 4348002 w 7467600"/>
              <a:gd name="connsiteY916" fmla="*/ 2205895 h 6858000"/>
              <a:gd name="connsiteX917" fmla="*/ 4262250 w 7467600"/>
              <a:gd name="connsiteY917" fmla="*/ 2219972 h 6858000"/>
              <a:gd name="connsiteX918" fmla="*/ 4550611 w 7467600"/>
              <a:gd name="connsiteY918" fmla="*/ 817540 h 6858000"/>
              <a:gd name="connsiteX919" fmla="*/ 4564418 w 7467600"/>
              <a:gd name="connsiteY919" fmla="*/ 808293 h 6858000"/>
              <a:gd name="connsiteX920" fmla="*/ 4266388 w 7467600"/>
              <a:gd name="connsiteY920" fmla="*/ 500083 h 6858000"/>
              <a:gd name="connsiteX921" fmla="*/ 4032842 w 7467600"/>
              <a:gd name="connsiteY921" fmla="*/ 211809 h 6858000"/>
              <a:gd name="connsiteX922" fmla="*/ 3882765 w 7467600"/>
              <a:gd name="connsiteY922" fmla="*/ 0 h 6858000"/>
              <a:gd name="connsiteX923" fmla="*/ 3721337 w 7467600"/>
              <a:gd name="connsiteY923" fmla="*/ 0 h 6858000"/>
              <a:gd name="connsiteX924" fmla="*/ 3797544 w 7467600"/>
              <a:gd name="connsiteY924" fmla="*/ 0 h 6858000"/>
              <a:gd name="connsiteX925" fmla="*/ 3775734 w 7467600"/>
              <a:gd name="connsiteY925" fmla="*/ 95131 h 6858000"/>
              <a:gd name="connsiteX926" fmla="*/ 3724807 w 7467600"/>
              <a:gd name="connsiteY926" fmla="*/ 272257 h 6858000"/>
              <a:gd name="connsiteX927" fmla="*/ 3726844 w 7467600"/>
              <a:gd name="connsiteY927" fmla="*/ 282988 h 6858000"/>
              <a:gd name="connsiteX928" fmla="*/ 3742664 w 7467600"/>
              <a:gd name="connsiteY928" fmla="*/ 279918 h 6858000"/>
              <a:gd name="connsiteX929" fmla="*/ 4103910 w 7467600"/>
              <a:gd name="connsiteY929" fmla="*/ 1161917 h 6858000"/>
              <a:gd name="connsiteX930" fmla="*/ 4020269 w 7467600"/>
              <a:gd name="connsiteY930" fmla="*/ 1200406 h 6858000"/>
              <a:gd name="connsiteX931" fmla="*/ 3674882 w 7467600"/>
              <a:gd name="connsiteY931" fmla="*/ 488524 h 6858000"/>
              <a:gd name="connsiteX932" fmla="*/ 3132682 w 7467600"/>
              <a:gd name="connsiteY932" fmla="*/ 1072284 h 6858000"/>
              <a:gd name="connsiteX933" fmla="*/ 2716346 w 7467600"/>
              <a:gd name="connsiteY933" fmla="*/ 1276376 h 6858000"/>
              <a:gd name="connsiteX934" fmla="*/ 2716772 w 7467600"/>
              <a:gd name="connsiteY934" fmla="*/ 1255462 h 6858000"/>
              <a:gd name="connsiteX935" fmla="*/ 3471096 w 7467600"/>
              <a:gd name="connsiteY935" fmla="*/ 437072 h 6858000"/>
              <a:gd name="connsiteX936" fmla="*/ 3639057 w 7467600"/>
              <a:gd name="connsiteY936" fmla="*/ 286334 h 6858000"/>
              <a:gd name="connsiteX937" fmla="*/ 3640309 w 7467600"/>
              <a:gd name="connsiteY937" fmla="*/ 284664 h 6858000"/>
              <a:gd name="connsiteX938" fmla="*/ 3646022 w 7467600"/>
              <a:gd name="connsiteY938" fmla="*/ 276711 h 6858000"/>
              <a:gd name="connsiteX939" fmla="*/ 3707943 w 7467600"/>
              <a:gd name="connsiteY939" fmla="*/ 65958 h 6858000"/>
              <a:gd name="connsiteX940" fmla="*/ 3721337 w 7467600"/>
              <a:gd name="connsiteY940" fmla="*/ 0 h 6858000"/>
              <a:gd name="connsiteX941" fmla="*/ 2867960 w 7467600"/>
              <a:gd name="connsiteY941" fmla="*/ 0 h 6858000"/>
              <a:gd name="connsiteX942" fmla="*/ 2926351 w 7467600"/>
              <a:gd name="connsiteY942" fmla="*/ 0 h 6858000"/>
              <a:gd name="connsiteX943" fmla="*/ 2902823 w 7467600"/>
              <a:gd name="connsiteY943" fmla="*/ 262929 h 6858000"/>
              <a:gd name="connsiteX944" fmla="*/ 2940663 w 7467600"/>
              <a:gd name="connsiteY944" fmla="*/ 140884 h 6858000"/>
              <a:gd name="connsiteX945" fmla="*/ 2947039 w 7467600"/>
              <a:gd name="connsiteY945" fmla="*/ 122524 h 6858000"/>
              <a:gd name="connsiteX946" fmla="*/ 2984316 w 7467600"/>
              <a:gd name="connsiteY946" fmla="*/ 0 h 6858000"/>
              <a:gd name="connsiteX947" fmla="*/ 3016114 w 7467600"/>
              <a:gd name="connsiteY947" fmla="*/ 0 h 6858000"/>
              <a:gd name="connsiteX948" fmla="*/ 2979949 w 7467600"/>
              <a:gd name="connsiteY948" fmla="*/ 119274 h 6858000"/>
              <a:gd name="connsiteX949" fmla="*/ 3023879 w 7467600"/>
              <a:gd name="connsiteY949" fmla="*/ 0 h 6858000"/>
              <a:gd name="connsiteX950" fmla="*/ 3105400 w 7467600"/>
              <a:gd name="connsiteY950" fmla="*/ 0 h 6858000"/>
              <a:gd name="connsiteX951" fmla="*/ 3094669 w 7467600"/>
              <a:gd name="connsiteY951" fmla="*/ 30308 h 6858000"/>
              <a:gd name="connsiteX952" fmla="*/ 2901945 w 7467600"/>
              <a:gd name="connsiteY952" fmla="*/ 466538 h 6858000"/>
              <a:gd name="connsiteX953" fmla="*/ 2815209 w 7467600"/>
              <a:gd name="connsiteY953" fmla="*/ 497361 h 6858000"/>
              <a:gd name="connsiteX954" fmla="*/ 2844845 w 7467600"/>
              <a:gd name="connsiteY954" fmla="*/ 127638 h 6858000"/>
              <a:gd name="connsiteX955" fmla="*/ 2867960 w 7467600"/>
              <a:gd name="connsiteY955" fmla="*/ 0 h 6858000"/>
              <a:gd name="connsiteX956" fmla="*/ 1057230 w 7467600"/>
              <a:gd name="connsiteY956" fmla="*/ 0 h 6858000"/>
              <a:gd name="connsiteX957" fmla="*/ 1111003 w 7467600"/>
              <a:gd name="connsiteY957" fmla="*/ 0 h 6858000"/>
              <a:gd name="connsiteX958" fmla="*/ 1125553 w 7467600"/>
              <a:gd name="connsiteY958" fmla="*/ 52588 h 6858000"/>
              <a:gd name="connsiteX959" fmla="*/ 1304276 w 7467600"/>
              <a:gd name="connsiteY959" fmla="*/ 476275 h 6858000"/>
              <a:gd name="connsiteX960" fmla="*/ 1492066 w 7467600"/>
              <a:gd name="connsiteY960" fmla="*/ 886333 h 6858000"/>
              <a:gd name="connsiteX961" fmla="*/ 1423698 w 7467600"/>
              <a:gd name="connsiteY961" fmla="*/ 710817 h 6858000"/>
              <a:gd name="connsiteX962" fmla="*/ 1357609 w 7467600"/>
              <a:gd name="connsiteY962" fmla="*/ 532892 h 6858000"/>
              <a:gd name="connsiteX963" fmla="*/ 1309550 w 7467600"/>
              <a:gd name="connsiteY963" fmla="*/ 374031 h 6858000"/>
              <a:gd name="connsiteX964" fmla="*/ 1193673 w 7467600"/>
              <a:gd name="connsiteY964" fmla="*/ 49533 h 6858000"/>
              <a:gd name="connsiteX965" fmla="*/ 1164391 w 7467600"/>
              <a:gd name="connsiteY965" fmla="*/ 0 h 6858000"/>
              <a:gd name="connsiteX966" fmla="*/ 1200666 w 7467600"/>
              <a:gd name="connsiteY966" fmla="*/ 0 h 6858000"/>
              <a:gd name="connsiteX967" fmla="*/ 1223408 w 7467600"/>
              <a:gd name="connsiteY967" fmla="*/ 38996 h 6858000"/>
              <a:gd name="connsiteX968" fmla="*/ 1339635 w 7467600"/>
              <a:gd name="connsiteY968" fmla="*/ 365517 h 6858000"/>
              <a:gd name="connsiteX969" fmla="*/ 1387469 w 7467600"/>
              <a:gd name="connsiteY969" fmla="*/ 523079 h 6858000"/>
              <a:gd name="connsiteX970" fmla="*/ 1452685 w 7467600"/>
              <a:gd name="connsiteY970" fmla="*/ 699806 h 6858000"/>
              <a:gd name="connsiteX971" fmla="*/ 1492092 w 7467600"/>
              <a:gd name="connsiteY971" fmla="*/ 800424 h 6858000"/>
              <a:gd name="connsiteX972" fmla="*/ 1455302 w 7467600"/>
              <a:gd name="connsiteY972" fmla="*/ 632913 h 6858000"/>
              <a:gd name="connsiteX973" fmla="*/ 1222336 w 7467600"/>
              <a:gd name="connsiteY973" fmla="*/ 9480 h 6858000"/>
              <a:gd name="connsiteX974" fmla="*/ 1214634 w 7467600"/>
              <a:gd name="connsiteY974" fmla="*/ 0 h 6858000"/>
              <a:gd name="connsiteX975" fmla="*/ 1289827 w 7467600"/>
              <a:gd name="connsiteY975" fmla="*/ 0 h 6858000"/>
              <a:gd name="connsiteX976" fmla="*/ 1321076 w 7467600"/>
              <a:gd name="connsiteY976" fmla="*/ 59722 h 6858000"/>
              <a:gd name="connsiteX977" fmla="*/ 1512579 w 7467600"/>
              <a:gd name="connsiteY977" fmla="*/ 626441 h 6858000"/>
              <a:gd name="connsiteX978" fmla="*/ 1506076 w 7467600"/>
              <a:gd name="connsiteY978" fmla="*/ 1089289 h 6858000"/>
              <a:gd name="connsiteX979" fmla="*/ 1486346 w 7467600"/>
              <a:gd name="connsiteY979" fmla="*/ 1079919 h 6858000"/>
              <a:gd name="connsiteX980" fmla="*/ 1070511 w 7467600"/>
              <a:gd name="connsiteY980" fmla="*/ 48609 h 6858000"/>
              <a:gd name="connsiteX981" fmla="*/ 1057230 w 7467600"/>
              <a:gd name="connsiteY981" fmla="*/ 0 h 6858000"/>
              <a:gd name="connsiteX982" fmla="*/ 43151 w 7467600"/>
              <a:gd name="connsiteY982" fmla="*/ 0 h 6858000"/>
              <a:gd name="connsiteX983" fmla="*/ 95283 w 7467600"/>
              <a:gd name="connsiteY983" fmla="*/ 0 h 6858000"/>
              <a:gd name="connsiteX984" fmla="*/ 300708 w 7467600"/>
              <a:gd name="connsiteY984" fmla="*/ 154571 h 6858000"/>
              <a:gd name="connsiteX985" fmla="*/ 530414 w 7467600"/>
              <a:gd name="connsiteY985" fmla="*/ 354673 h 6858000"/>
              <a:gd name="connsiteX986" fmla="*/ 333785 w 7467600"/>
              <a:gd name="connsiteY986" fmla="*/ 161564 h 6858000"/>
              <a:gd name="connsiteX987" fmla="*/ 147005 w 7467600"/>
              <a:gd name="connsiteY987" fmla="*/ 0 h 6858000"/>
              <a:gd name="connsiteX988" fmla="*/ 272509 w 7467600"/>
              <a:gd name="connsiteY988" fmla="*/ 0 h 6858000"/>
              <a:gd name="connsiteX989" fmla="*/ 326276 w 7467600"/>
              <a:gd name="connsiteY989" fmla="*/ 45847 h 6858000"/>
              <a:gd name="connsiteX990" fmla="*/ 823759 w 7467600"/>
              <a:gd name="connsiteY990" fmla="*/ 574145 h 6858000"/>
              <a:gd name="connsiteX991" fmla="*/ 811254 w 7467600"/>
              <a:gd name="connsiteY991" fmla="*/ 665546 h 6858000"/>
              <a:gd name="connsiteX992" fmla="*/ 154042 w 7467600"/>
              <a:gd name="connsiteY992" fmla="*/ 261522 h 6858000"/>
              <a:gd name="connsiteX993" fmla="*/ 13550 w 7467600"/>
              <a:gd name="connsiteY993" fmla="*/ 158423 h 6858000"/>
              <a:gd name="connsiteX994" fmla="*/ 0 w 7467600"/>
              <a:gd name="connsiteY994" fmla="*/ 146618 h 6858000"/>
              <a:gd name="connsiteX995" fmla="*/ 0 w 7467600"/>
              <a:gd name="connsiteY995" fmla="*/ 59161 h 6858000"/>
              <a:gd name="connsiteX996" fmla="*/ 45427 w 7467600"/>
              <a:gd name="connsiteY996" fmla="*/ 101078 h 6858000"/>
              <a:gd name="connsiteX997" fmla="*/ 630103 w 7467600"/>
              <a:gd name="connsiteY997" fmla="*/ 485885 h 6858000"/>
              <a:gd name="connsiteX998" fmla="*/ 532040 w 7467600"/>
              <a:gd name="connsiteY998" fmla="*/ 399359 h 6858000"/>
              <a:gd name="connsiteX999" fmla="*/ 517618 w 7467600"/>
              <a:gd name="connsiteY999" fmla="*/ 385726 h 6858000"/>
              <a:gd name="connsiteX1000" fmla="*/ 285074 w 7467600"/>
              <a:gd name="connsiteY1000" fmla="*/ 182755 h 6858000"/>
              <a:gd name="connsiteX1001" fmla="*/ 43151 w 7467600"/>
              <a:gd name="connsiteY1001"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68569 w 7467600"/>
              <a:gd name="connsiteY127" fmla="*/ 5270182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7327465 w 7467600"/>
              <a:gd name="connsiteY139" fmla="*/ 5174181 h 6858000"/>
              <a:gd name="connsiteX140" fmla="*/ 7244057 w 7467600"/>
              <a:gd name="connsiteY140" fmla="*/ 5124233 h 6858000"/>
              <a:gd name="connsiteX141" fmla="*/ 7353035 w 7467600"/>
              <a:gd name="connsiteY141" fmla="*/ 5197318 h 6858000"/>
              <a:gd name="connsiteX142" fmla="*/ 7467600 w 7467600"/>
              <a:gd name="connsiteY142" fmla="*/ 5297634 h 6858000"/>
              <a:gd name="connsiteX143" fmla="*/ 7467600 w 7467600"/>
              <a:gd name="connsiteY143" fmla="*/ 5361850 h 6858000"/>
              <a:gd name="connsiteX144" fmla="*/ 7368569 w 7467600"/>
              <a:gd name="connsiteY144" fmla="*/ 5270182 h 6858000"/>
              <a:gd name="connsiteX145" fmla="*/ 1903353 w 7467600"/>
              <a:gd name="connsiteY145" fmla="*/ 5044827 h 6858000"/>
              <a:gd name="connsiteX146" fmla="*/ 1936931 w 7467600"/>
              <a:gd name="connsiteY146" fmla="*/ 5093954 h 6858000"/>
              <a:gd name="connsiteX147" fmla="*/ 2195868 w 7467600"/>
              <a:gd name="connsiteY147" fmla="*/ 5396574 h 6858000"/>
              <a:gd name="connsiteX148" fmla="*/ 2088852 w 7467600"/>
              <a:gd name="connsiteY148" fmla="*/ 5166123 h 6858000"/>
              <a:gd name="connsiteX149" fmla="*/ 1958241 w 7467600"/>
              <a:gd name="connsiteY149" fmla="*/ 5067955 h 6858000"/>
              <a:gd name="connsiteX150" fmla="*/ 1903353 w 7467600"/>
              <a:gd name="connsiteY150" fmla="*/ 5044827 h 6858000"/>
              <a:gd name="connsiteX151" fmla="*/ 1979378 w 7467600"/>
              <a:gd name="connsiteY151" fmla="*/ 4769504 h 6858000"/>
              <a:gd name="connsiteX152" fmla="*/ 2882120 w 7467600"/>
              <a:gd name="connsiteY152" fmla="*/ 5064547 h 6858000"/>
              <a:gd name="connsiteX153" fmla="*/ 2793103 w 7467600"/>
              <a:gd name="connsiteY153" fmla="*/ 5039699 h 6858000"/>
              <a:gd name="connsiteX154" fmla="*/ 2770041 w 7467600"/>
              <a:gd name="connsiteY154" fmla="*/ 5033634 h 6858000"/>
              <a:gd name="connsiteX155" fmla="*/ 1979378 w 7467600"/>
              <a:gd name="connsiteY155" fmla="*/ 4769504 h 6858000"/>
              <a:gd name="connsiteX156" fmla="*/ 1927410 w 7467600"/>
              <a:gd name="connsiteY156" fmla="*/ 4716164 h 6858000"/>
              <a:gd name="connsiteX157" fmla="*/ 1959587 w 7467600"/>
              <a:gd name="connsiteY157" fmla="*/ 4728849 h 6858000"/>
              <a:gd name="connsiteX158" fmla="*/ 2777707 w 7467600"/>
              <a:gd name="connsiteY158" fmla="*/ 5003991 h 6858000"/>
              <a:gd name="connsiteX159" fmla="*/ 2800768 w 7467600"/>
              <a:gd name="connsiteY159" fmla="*/ 5010056 h 6858000"/>
              <a:gd name="connsiteX160" fmla="*/ 2879408 w 7467600"/>
              <a:gd name="connsiteY160" fmla="*/ 5031590 h 6858000"/>
              <a:gd name="connsiteX161" fmla="*/ 2862295 w 7467600"/>
              <a:gd name="connsiteY161" fmla="*/ 5022958 h 6858000"/>
              <a:gd name="connsiteX162" fmla="*/ 2813343 w 7467600"/>
              <a:gd name="connsiteY162" fmla="*/ 4998369 h 6858000"/>
              <a:gd name="connsiteX163" fmla="*/ 2646245 w 7467600"/>
              <a:gd name="connsiteY163" fmla="*/ 4930999 h 6858000"/>
              <a:gd name="connsiteX164" fmla="*/ 1999243 w 7467600"/>
              <a:gd name="connsiteY164" fmla="*/ 4730524 h 6858000"/>
              <a:gd name="connsiteX165" fmla="*/ 1979527 w 7467600"/>
              <a:gd name="connsiteY165" fmla="*/ 4726651 h 6858000"/>
              <a:gd name="connsiteX166" fmla="*/ 1927410 w 7467600"/>
              <a:gd name="connsiteY166" fmla="*/ 4716164 h 6858000"/>
              <a:gd name="connsiteX167" fmla="*/ 1997014 w 7467600"/>
              <a:gd name="connsiteY167" fmla="*/ 4698007 h 6858000"/>
              <a:gd name="connsiteX168" fmla="*/ 2005458 w 7467600"/>
              <a:gd name="connsiteY168" fmla="*/ 4699540 h 6858000"/>
              <a:gd name="connsiteX169" fmla="*/ 2657186 w 7467600"/>
              <a:gd name="connsiteY169" fmla="*/ 4901687 h 6858000"/>
              <a:gd name="connsiteX170" fmla="*/ 2826662 w 7467600"/>
              <a:gd name="connsiteY170" fmla="*/ 4970362 h 6858000"/>
              <a:gd name="connsiteX171" fmla="*/ 2876100 w 7467600"/>
              <a:gd name="connsiteY171" fmla="*/ 4995397 h 6858000"/>
              <a:gd name="connsiteX172" fmla="*/ 3042600 w 7467600"/>
              <a:gd name="connsiteY172" fmla="*/ 5059532 h 6858000"/>
              <a:gd name="connsiteX173" fmla="*/ 1997014 w 7467600"/>
              <a:gd name="connsiteY173" fmla="*/ 4698007 h 6858000"/>
              <a:gd name="connsiteX174" fmla="*/ 2305292 w 7467600"/>
              <a:gd name="connsiteY174" fmla="*/ 4219492 h 6858000"/>
              <a:gd name="connsiteX175" fmla="*/ 3360922 w 7467600"/>
              <a:gd name="connsiteY175" fmla="*/ 4529373 h 6858000"/>
              <a:gd name="connsiteX176" fmla="*/ 3492420 w 7467600"/>
              <a:gd name="connsiteY176" fmla="*/ 4510145 h 6858000"/>
              <a:gd name="connsiteX177" fmla="*/ 3364086 w 7467600"/>
              <a:gd name="connsiteY177" fmla="*/ 4480340 h 6858000"/>
              <a:gd name="connsiteX178" fmla="*/ 3225818 w 7467600"/>
              <a:gd name="connsiteY178" fmla="*/ 4411822 h 6858000"/>
              <a:gd name="connsiteX179" fmla="*/ 3129696 w 7467600"/>
              <a:gd name="connsiteY179" fmla="*/ 4360704 h 6858000"/>
              <a:gd name="connsiteX180" fmla="*/ 2814545 w 7467600"/>
              <a:gd name="connsiteY180" fmla="*/ 4282955 h 6858000"/>
              <a:gd name="connsiteX181" fmla="*/ 2305292 w 7467600"/>
              <a:gd name="connsiteY181" fmla="*/ 4219492 h 6858000"/>
              <a:gd name="connsiteX182" fmla="*/ 2626982 w 7467600"/>
              <a:gd name="connsiteY182" fmla="*/ 4206450 h 6858000"/>
              <a:gd name="connsiteX183" fmla="*/ 2490617 w 7467600"/>
              <a:gd name="connsiteY183" fmla="*/ 4206951 h 6858000"/>
              <a:gd name="connsiteX184" fmla="*/ 2819869 w 7467600"/>
              <a:gd name="connsiteY184" fmla="*/ 4252936 h 6858000"/>
              <a:gd name="connsiteX185" fmla="*/ 3143018 w 7467600"/>
              <a:gd name="connsiteY185" fmla="*/ 4332698 h 6858000"/>
              <a:gd name="connsiteX186" fmla="*/ 3241520 w 7467600"/>
              <a:gd name="connsiteY186" fmla="*/ 4385112 h 6858000"/>
              <a:gd name="connsiteX187" fmla="*/ 3374575 w 7467600"/>
              <a:gd name="connsiteY187" fmla="*/ 4451517 h 6858000"/>
              <a:gd name="connsiteX188" fmla="*/ 3505221 w 7467600"/>
              <a:gd name="connsiteY188" fmla="*/ 4480757 h 6858000"/>
              <a:gd name="connsiteX189" fmla="*/ 2626982 w 7467600"/>
              <a:gd name="connsiteY189" fmla="*/ 4206450 h 6858000"/>
              <a:gd name="connsiteX190" fmla="*/ 1310106 w 7467600"/>
              <a:gd name="connsiteY190" fmla="*/ 3943217 h 6858000"/>
              <a:gd name="connsiteX191" fmla="*/ 854994 w 7467600"/>
              <a:gd name="connsiteY191" fmla="*/ 4399136 h 6858000"/>
              <a:gd name="connsiteX192" fmla="*/ 742462 w 7467600"/>
              <a:gd name="connsiteY192" fmla="*/ 4594648 h 6858000"/>
              <a:gd name="connsiteX193" fmla="*/ 820602 w 7467600"/>
              <a:gd name="connsiteY193" fmla="*/ 4485915 h 6858000"/>
              <a:gd name="connsiteX194" fmla="*/ 878295 w 7467600"/>
              <a:gd name="connsiteY194" fmla="*/ 4403594 h 6858000"/>
              <a:gd name="connsiteX195" fmla="*/ 1240607 w 7467600"/>
              <a:gd name="connsiteY195" fmla="*/ 4010401 h 6858000"/>
              <a:gd name="connsiteX196" fmla="*/ 1310106 w 7467600"/>
              <a:gd name="connsiteY196" fmla="*/ 3943217 h 6858000"/>
              <a:gd name="connsiteX197" fmla="*/ 1423113 w 7467600"/>
              <a:gd name="connsiteY197" fmla="*/ 3874565 h 6858000"/>
              <a:gd name="connsiteX198" fmla="*/ 1260565 w 7467600"/>
              <a:gd name="connsiteY198" fmla="*/ 4031982 h 6858000"/>
              <a:gd name="connsiteX199" fmla="*/ 901900 w 7467600"/>
              <a:gd name="connsiteY199" fmla="*/ 4421236 h 6858000"/>
              <a:gd name="connsiteX200" fmla="*/ 845044 w 7467600"/>
              <a:gd name="connsiteY200" fmla="*/ 4502436 h 6858000"/>
              <a:gd name="connsiteX201" fmla="*/ 685926 w 7467600"/>
              <a:gd name="connsiteY201" fmla="*/ 4703069 h 6858000"/>
              <a:gd name="connsiteX202" fmla="*/ 684248 w 7467600"/>
              <a:gd name="connsiteY202" fmla="*/ 4706721 h 6858000"/>
              <a:gd name="connsiteX203" fmla="*/ 1423113 w 7467600"/>
              <a:gd name="connsiteY203" fmla="*/ 3874565 h 6858000"/>
              <a:gd name="connsiteX204" fmla="*/ 3316479 w 7467600"/>
              <a:gd name="connsiteY204" fmla="*/ 3872136 h 6858000"/>
              <a:gd name="connsiteX205" fmla="*/ 3546806 w 7467600"/>
              <a:gd name="connsiteY205" fmla="*/ 4356139 h 6858000"/>
              <a:gd name="connsiteX206" fmla="*/ 3364433 w 7467600"/>
              <a:gd name="connsiteY206" fmla="*/ 3953121 h 6858000"/>
              <a:gd name="connsiteX207" fmla="*/ 3316479 w 7467600"/>
              <a:gd name="connsiteY207" fmla="*/ 3872136 h 6858000"/>
              <a:gd name="connsiteX208" fmla="*/ 3291335 w 7467600"/>
              <a:gd name="connsiteY208" fmla="*/ 3767420 h 6858000"/>
              <a:gd name="connsiteX209" fmla="*/ 3390805 w 7467600"/>
              <a:gd name="connsiteY209" fmla="*/ 3937163 h 6858000"/>
              <a:gd name="connsiteX210" fmla="*/ 3579062 w 7467600"/>
              <a:gd name="connsiteY210" fmla="*/ 4359040 h 6858000"/>
              <a:gd name="connsiteX211" fmla="*/ 3467355 w 7467600"/>
              <a:gd name="connsiteY211" fmla="*/ 3988130 h 6858000"/>
              <a:gd name="connsiteX212" fmla="*/ 3310753 w 7467600"/>
              <a:gd name="connsiteY212" fmla="*/ 3787140 h 6858000"/>
              <a:gd name="connsiteX213" fmla="*/ 3291335 w 7467600"/>
              <a:gd name="connsiteY213" fmla="*/ 3767420 h 6858000"/>
              <a:gd name="connsiteX214" fmla="*/ 1635889 w 7467600"/>
              <a:gd name="connsiteY214" fmla="*/ 3709494 h 6858000"/>
              <a:gd name="connsiteX215" fmla="*/ 1634800 w 7467600"/>
              <a:gd name="connsiteY215" fmla="*/ 3731111 h 6858000"/>
              <a:gd name="connsiteX216" fmla="*/ 1635889 w 7467600"/>
              <a:gd name="connsiteY216" fmla="*/ 3709494 h 6858000"/>
              <a:gd name="connsiteX217" fmla="*/ 1510397 w 7467600"/>
              <a:gd name="connsiteY217" fmla="*/ 3684705 h 6858000"/>
              <a:gd name="connsiteX218" fmla="*/ 1146550 w 7467600"/>
              <a:gd name="connsiteY218" fmla="*/ 3802012 h 6858000"/>
              <a:gd name="connsiteX219" fmla="*/ 698834 w 7467600"/>
              <a:gd name="connsiteY219" fmla="*/ 3952272 h 6858000"/>
              <a:gd name="connsiteX220" fmla="*/ 34256 w 7467600"/>
              <a:gd name="connsiteY220" fmla="*/ 4347603 h 6858000"/>
              <a:gd name="connsiteX221" fmla="*/ 527241 w 7467600"/>
              <a:gd name="connsiteY221" fmla="*/ 4065078 h 6858000"/>
              <a:gd name="connsiteX222" fmla="*/ 1510397 w 7467600"/>
              <a:gd name="connsiteY222" fmla="*/ 3684705 h 6858000"/>
              <a:gd name="connsiteX223" fmla="*/ 1313114 w 7467600"/>
              <a:gd name="connsiteY223" fmla="*/ 3655216 h 6858000"/>
              <a:gd name="connsiteX224" fmla="*/ 1109304 w 7467600"/>
              <a:gd name="connsiteY224" fmla="*/ 3669030 h 6858000"/>
              <a:gd name="connsiteX225" fmla="*/ 8129 w 7467600"/>
              <a:gd name="connsiteY225" fmla="*/ 4330519 h 6858000"/>
              <a:gd name="connsiteX226" fmla="*/ 687572 w 7467600"/>
              <a:gd name="connsiteY226" fmla="*/ 3925629 h 6858000"/>
              <a:gd name="connsiteX227" fmla="*/ 1138365 w 7467600"/>
              <a:gd name="connsiteY227" fmla="*/ 3774515 h 6858000"/>
              <a:gd name="connsiteX228" fmla="*/ 1505579 w 7467600"/>
              <a:gd name="connsiteY228" fmla="*/ 3655526 h 6858000"/>
              <a:gd name="connsiteX229" fmla="*/ 1313114 w 7467600"/>
              <a:gd name="connsiteY229" fmla="*/ 3655216 h 6858000"/>
              <a:gd name="connsiteX230" fmla="*/ 3655073 w 7467600"/>
              <a:gd name="connsiteY230" fmla="*/ 3650884 h 6858000"/>
              <a:gd name="connsiteX231" fmla="*/ 3989938 w 7467600"/>
              <a:gd name="connsiteY231" fmla="*/ 3991685 h 6858000"/>
              <a:gd name="connsiteX232" fmla="*/ 4393907 w 7467600"/>
              <a:gd name="connsiteY232" fmla="*/ 4261258 h 6858000"/>
              <a:gd name="connsiteX233" fmla="*/ 4648051 w 7467600"/>
              <a:gd name="connsiteY233" fmla="*/ 4374051 h 6858000"/>
              <a:gd name="connsiteX234" fmla="*/ 4383389 w 7467600"/>
              <a:gd name="connsiteY234" fmla="*/ 4184369 h 6858000"/>
              <a:gd name="connsiteX235" fmla="*/ 4165508 w 7467600"/>
              <a:gd name="connsiteY235" fmla="*/ 4035196 h 6858000"/>
              <a:gd name="connsiteX236" fmla="*/ 4068162 w 7467600"/>
              <a:gd name="connsiteY236" fmla="*/ 3953394 h 6858000"/>
              <a:gd name="connsiteX237" fmla="*/ 3981416 w 7467600"/>
              <a:gd name="connsiteY237" fmla="*/ 3880482 h 6858000"/>
              <a:gd name="connsiteX238" fmla="*/ 3800147 w 7467600"/>
              <a:gd name="connsiteY238" fmla="*/ 3749872 h 6858000"/>
              <a:gd name="connsiteX239" fmla="*/ 3655073 w 7467600"/>
              <a:gd name="connsiteY239" fmla="*/ 3650884 h 6858000"/>
              <a:gd name="connsiteX240" fmla="*/ 3670252 w 7467600"/>
              <a:gd name="connsiteY240" fmla="*/ 3622798 h 6858000"/>
              <a:gd name="connsiteX241" fmla="*/ 3817258 w 7467600"/>
              <a:gd name="connsiteY241" fmla="*/ 3723577 h 6858000"/>
              <a:gd name="connsiteX242" fmla="*/ 4000461 w 7467600"/>
              <a:gd name="connsiteY242" fmla="*/ 3855966 h 6858000"/>
              <a:gd name="connsiteX243" fmla="*/ 4088180 w 7467600"/>
              <a:gd name="connsiteY243" fmla="*/ 3929774 h 6858000"/>
              <a:gd name="connsiteX244" fmla="*/ 4184555 w 7467600"/>
              <a:gd name="connsiteY244" fmla="*/ 4010683 h 6858000"/>
              <a:gd name="connsiteX245" fmla="*/ 4399563 w 7467600"/>
              <a:gd name="connsiteY245" fmla="*/ 4158106 h 6858000"/>
              <a:gd name="connsiteX246" fmla="*/ 4684469 w 7467600"/>
              <a:gd name="connsiteY246" fmla="*/ 4364680 h 6858000"/>
              <a:gd name="connsiteX247" fmla="*/ 4690271 w 7467600"/>
              <a:gd name="connsiteY247" fmla="*/ 4370034 h 6858000"/>
              <a:gd name="connsiteX248" fmla="*/ 4136093 w 7467600"/>
              <a:gd name="connsiteY248" fmla="*/ 3858466 h 6858000"/>
              <a:gd name="connsiteX249" fmla="*/ 3670252 w 7467600"/>
              <a:gd name="connsiteY249" fmla="*/ 3622798 h 6858000"/>
              <a:gd name="connsiteX250" fmla="*/ 4440129 w 7467600"/>
              <a:gd name="connsiteY250" fmla="*/ 3448571 h 6858000"/>
              <a:gd name="connsiteX251" fmla="*/ 4856525 w 7467600"/>
              <a:gd name="connsiteY251" fmla="*/ 3915351 h 6858000"/>
              <a:gd name="connsiteX252" fmla="*/ 5059055 w 7467600"/>
              <a:gd name="connsiteY252" fmla="*/ 4108918 h 6858000"/>
              <a:gd name="connsiteX253" fmla="*/ 5290070 w 7467600"/>
              <a:gd name="connsiteY253" fmla="*/ 4263619 h 6858000"/>
              <a:gd name="connsiteX254" fmla="*/ 4834991 w 7467600"/>
              <a:gd name="connsiteY254" fmla="*/ 3830985 h 6858000"/>
              <a:gd name="connsiteX255" fmla="*/ 4440129 w 7467600"/>
              <a:gd name="connsiteY255" fmla="*/ 3448571 h 6858000"/>
              <a:gd name="connsiteX256" fmla="*/ 4441737 w 7467600"/>
              <a:gd name="connsiteY256" fmla="*/ 3399734 h 6858000"/>
              <a:gd name="connsiteX257" fmla="*/ 4431236 w 7467600"/>
              <a:gd name="connsiteY257" fmla="*/ 3400954 h 6858000"/>
              <a:gd name="connsiteX258" fmla="*/ 4557150 w 7467600"/>
              <a:gd name="connsiteY258" fmla="*/ 3510023 h 6858000"/>
              <a:gd name="connsiteX259" fmla="*/ 4856936 w 7467600"/>
              <a:gd name="connsiteY259" fmla="*/ 3809146 h 6858000"/>
              <a:gd name="connsiteX260" fmla="*/ 5111996 w 7467600"/>
              <a:gd name="connsiteY260" fmla="*/ 4065759 h 6858000"/>
              <a:gd name="connsiteX261" fmla="*/ 5388878 w 7467600"/>
              <a:gd name="connsiteY261" fmla="*/ 4300185 h 6858000"/>
              <a:gd name="connsiteX262" fmla="*/ 5425556 w 7467600"/>
              <a:gd name="connsiteY262" fmla="*/ 4308967 h 6858000"/>
              <a:gd name="connsiteX263" fmla="*/ 4943646 w 7467600"/>
              <a:gd name="connsiteY263" fmla="*/ 3822916 h 6858000"/>
              <a:gd name="connsiteX264" fmla="*/ 4594837 w 7467600"/>
              <a:gd name="connsiteY264" fmla="*/ 3532274 h 6858000"/>
              <a:gd name="connsiteX265" fmla="*/ 4441737 w 7467600"/>
              <a:gd name="connsiteY265" fmla="*/ 3399734 h 6858000"/>
              <a:gd name="connsiteX266" fmla="*/ 5425834 w 7467600"/>
              <a:gd name="connsiteY266" fmla="*/ 3162785 h 6858000"/>
              <a:gd name="connsiteX267" fmla="*/ 5401644 w 7467600"/>
              <a:gd name="connsiteY267" fmla="*/ 3617847 h 6858000"/>
              <a:gd name="connsiteX268" fmla="*/ 5467256 w 7467600"/>
              <a:gd name="connsiteY268" fmla="*/ 4175494 h 6858000"/>
              <a:gd name="connsiteX269" fmla="*/ 5448069 w 7467600"/>
              <a:gd name="connsiteY269" fmla="*/ 3567554 h 6858000"/>
              <a:gd name="connsiteX270" fmla="*/ 5425834 w 7467600"/>
              <a:gd name="connsiteY270" fmla="*/ 3162785 h 6858000"/>
              <a:gd name="connsiteX271" fmla="*/ 1318687 w 7467600"/>
              <a:gd name="connsiteY271" fmla="*/ 3113840 h 6858000"/>
              <a:gd name="connsiteX272" fmla="*/ 1066793 w 7467600"/>
              <a:gd name="connsiteY272" fmla="*/ 3212171 h 6858000"/>
              <a:gd name="connsiteX273" fmla="*/ 993319 w 7467600"/>
              <a:gd name="connsiteY273" fmla="*/ 3247648 h 6858000"/>
              <a:gd name="connsiteX274" fmla="*/ 853081 w 7467600"/>
              <a:gd name="connsiteY274" fmla="*/ 3312410 h 6858000"/>
              <a:gd name="connsiteX275" fmla="*/ 805957 w 7467600"/>
              <a:gd name="connsiteY275" fmla="*/ 3330443 h 6858000"/>
              <a:gd name="connsiteX276" fmla="*/ 1318687 w 7467600"/>
              <a:gd name="connsiteY276" fmla="*/ 3113840 h 6858000"/>
              <a:gd name="connsiteX277" fmla="*/ 5453702 w 7467600"/>
              <a:gd name="connsiteY277" fmla="*/ 3090882 h 6858000"/>
              <a:gd name="connsiteX278" fmla="*/ 5480135 w 7467600"/>
              <a:gd name="connsiteY278" fmla="*/ 3565802 h 6858000"/>
              <a:gd name="connsiteX279" fmla="*/ 5499023 w 7467600"/>
              <a:gd name="connsiteY279" fmla="*/ 4166310 h 6858000"/>
              <a:gd name="connsiteX280" fmla="*/ 5547022 w 7467600"/>
              <a:gd name="connsiteY280" fmla="*/ 3607838 h 6858000"/>
              <a:gd name="connsiteX281" fmla="*/ 5515964 w 7467600"/>
              <a:gd name="connsiteY281" fmla="*/ 3378541 h 6858000"/>
              <a:gd name="connsiteX282" fmla="*/ 5453702 w 7467600"/>
              <a:gd name="connsiteY282" fmla="*/ 3090882 h 6858000"/>
              <a:gd name="connsiteX283" fmla="*/ 1238695 w 7467600"/>
              <a:gd name="connsiteY283" fmla="*/ 3076820 h 6858000"/>
              <a:gd name="connsiteX284" fmla="*/ 716371 w 7467600"/>
              <a:gd name="connsiteY284" fmla="*/ 3293249 h 6858000"/>
              <a:gd name="connsiteX285" fmla="*/ 579522 w 7467600"/>
              <a:gd name="connsiteY285" fmla="*/ 3371759 h 6858000"/>
              <a:gd name="connsiteX286" fmla="*/ 600288 w 7467600"/>
              <a:gd name="connsiteY286" fmla="*/ 3365555 h 6858000"/>
              <a:gd name="connsiteX287" fmla="*/ 840692 w 7467600"/>
              <a:gd name="connsiteY287" fmla="*/ 3284921 h 6858000"/>
              <a:gd name="connsiteX288" fmla="*/ 979248 w 7467600"/>
              <a:gd name="connsiteY288" fmla="*/ 3221003 h 6858000"/>
              <a:gd name="connsiteX289" fmla="*/ 1053282 w 7467600"/>
              <a:gd name="connsiteY289" fmla="*/ 3185247 h 6858000"/>
              <a:gd name="connsiteX290" fmla="*/ 1320603 w 7467600"/>
              <a:gd name="connsiteY290" fmla="*/ 3081281 h 6858000"/>
              <a:gd name="connsiteX291" fmla="*/ 1238695 w 7467600"/>
              <a:gd name="connsiteY291" fmla="*/ 3076820 h 6858000"/>
              <a:gd name="connsiteX292" fmla="*/ 5425627 w 7467600"/>
              <a:gd name="connsiteY292" fmla="*/ 2954192 h 6858000"/>
              <a:gd name="connsiteX293" fmla="*/ 5470770 w 7467600"/>
              <a:gd name="connsiteY293" fmla="*/ 3005435 h 6858000"/>
              <a:gd name="connsiteX294" fmla="*/ 5519779 w 7467600"/>
              <a:gd name="connsiteY294" fmla="*/ 4359223 h 6858000"/>
              <a:gd name="connsiteX295" fmla="*/ 5520293 w 7467600"/>
              <a:gd name="connsiteY295" fmla="*/ 4360602 h 6858000"/>
              <a:gd name="connsiteX296" fmla="*/ 5767221 w 7467600"/>
              <a:gd name="connsiteY296" fmla="*/ 4665564 h 6858000"/>
              <a:gd name="connsiteX297" fmla="*/ 6937169 w 7467600"/>
              <a:gd name="connsiteY297" fmla="*/ 4815941 h 6858000"/>
              <a:gd name="connsiteX298" fmla="*/ 6953922 w 7467600"/>
              <a:gd name="connsiteY298" fmla="*/ 4890068 h 6858000"/>
              <a:gd name="connsiteX299" fmla="*/ 6071359 w 7467600"/>
              <a:gd name="connsiteY299" fmla="*/ 4770770 h 6858000"/>
              <a:gd name="connsiteX300" fmla="*/ 6038839 w 7467600"/>
              <a:gd name="connsiteY300" fmla="*/ 4764474 h 6858000"/>
              <a:gd name="connsiteX301" fmla="*/ 6038706 w 7467600"/>
              <a:gd name="connsiteY301" fmla="*/ 4763847 h 6858000"/>
              <a:gd name="connsiteX302" fmla="*/ 6037784 w 7467600"/>
              <a:gd name="connsiteY302" fmla="*/ 4764270 h 6858000"/>
              <a:gd name="connsiteX303" fmla="*/ 6038839 w 7467600"/>
              <a:gd name="connsiteY303" fmla="*/ 4764474 h 6858000"/>
              <a:gd name="connsiteX304" fmla="*/ 6040338 w 7467600"/>
              <a:gd name="connsiteY304" fmla="*/ 4771418 h 6858000"/>
              <a:gd name="connsiteX305" fmla="*/ 6024488 w 7467600"/>
              <a:gd name="connsiteY305" fmla="*/ 4809903 h 6858000"/>
              <a:gd name="connsiteX306" fmla="*/ 5599771 w 7467600"/>
              <a:gd name="connsiteY306" fmla="*/ 5509652 h 6858000"/>
              <a:gd name="connsiteX307" fmla="*/ 5548843 w 7467600"/>
              <a:gd name="connsiteY307" fmla="*/ 5563845 h 6858000"/>
              <a:gd name="connsiteX308" fmla="*/ 5940952 w 7467600"/>
              <a:gd name="connsiteY308" fmla="*/ 6250028 h 6858000"/>
              <a:gd name="connsiteX309" fmla="*/ 6043441 w 7467600"/>
              <a:gd name="connsiteY309" fmla="*/ 6665847 h 6858000"/>
              <a:gd name="connsiteX310" fmla="*/ 6093432 w 7467600"/>
              <a:gd name="connsiteY310" fmla="*/ 6858000 h 6858000"/>
              <a:gd name="connsiteX311" fmla="*/ 6034344 w 7467600"/>
              <a:gd name="connsiteY311" fmla="*/ 6858000 h 6858000"/>
              <a:gd name="connsiteX312" fmla="*/ 6026679 w 7467600"/>
              <a:gd name="connsiteY312" fmla="*/ 6836959 h 6858000"/>
              <a:gd name="connsiteX313" fmla="*/ 5800441 w 7467600"/>
              <a:gd name="connsiteY313" fmla="*/ 6335286 h 6858000"/>
              <a:gd name="connsiteX314" fmla="*/ 5526562 w 7467600"/>
              <a:gd name="connsiteY314" fmla="*/ 5705388 h 6858000"/>
              <a:gd name="connsiteX315" fmla="*/ 5519640 w 7467600"/>
              <a:gd name="connsiteY315" fmla="*/ 5683774 h 6858000"/>
              <a:gd name="connsiteX316" fmla="*/ 5844559 w 7467600"/>
              <a:gd name="connsiteY316" fmla="*/ 6553349 h 6858000"/>
              <a:gd name="connsiteX317" fmla="*/ 5975994 w 7467600"/>
              <a:gd name="connsiteY317" fmla="*/ 6858000 h 6858000"/>
              <a:gd name="connsiteX318" fmla="*/ 5898547 w 7467600"/>
              <a:gd name="connsiteY318" fmla="*/ 6858000 h 6858000"/>
              <a:gd name="connsiteX319" fmla="*/ 5682041 w 7467600"/>
              <a:gd name="connsiteY319" fmla="*/ 6355860 h 6858000"/>
              <a:gd name="connsiteX320" fmla="*/ 5461758 w 7467600"/>
              <a:gd name="connsiteY320" fmla="*/ 5820220 h 6858000"/>
              <a:gd name="connsiteX321" fmla="*/ 5237282 w 7467600"/>
              <a:gd name="connsiteY321" fmla="*/ 6579086 h 6858000"/>
              <a:gd name="connsiteX322" fmla="*/ 5115009 w 7467600"/>
              <a:gd name="connsiteY322" fmla="*/ 6858000 h 6858000"/>
              <a:gd name="connsiteX323" fmla="*/ 5028074 w 7467600"/>
              <a:gd name="connsiteY323" fmla="*/ 6858000 h 6858000"/>
              <a:gd name="connsiteX324" fmla="*/ 5079508 w 7467600"/>
              <a:gd name="connsiteY324" fmla="*/ 6749074 h 6858000"/>
              <a:gd name="connsiteX325" fmla="*/ 5371846 w 7467600"/>
              <a:gd name="connsiteY325" fmla="*/ 5924413 h 6858000"/>
              <a:gd name="connsiteX326" fmla="*/ 5270512 w 7467600"/>
              <a:gd name="connsiteY326" fmla="*/ 6138975 h 6858000"/>
              <a:gd name="connsiteX327" fmla="*/ 5062409 w 7467600"/>
              <a:gd name="connsiteY327" fmla="*/ 6653544 h 6858000"/>
              <a:gd name="connsiteX328" fmla="*/ 5036628 w 7467600"/>
              <a:gd name="connsiteY328" fmla="*/ 6754247 h 6858000"/>
              <a:gd name="connsiteX329" fmla="*/ 5009112 w 7467600"/>
              <a:gd name="connsiteY329" fmla="*/ 6858000 h 6858000"/>
              <a:gd name="connsiteX330" fmla="*/ 4976679 w 7467600"/>
              <a:gd name="connsiteY330" fmla="*/ 6858000 h 6858000"/>
              <a:gd name="connsiteX331" fmla="*/ 5006537 w 7467600"/>
              <a:gd name="connsiteY331" fmla="*/ 6747068 h 6858000"/>
              <a:gd name="connsiteX332" fmla="*/ 5032723 w 7467600"/>
              <a:gd name="connsiteY332" fmla="*/ 6644957 h 6858000"/>
              <a:gd name="connsiteX333" fmla="*/ 5242949 w 7467600"/>
              <a:gd name="connsiteY333" fmla="*/ 6125175 h 6858000"/>
              <a:gd name="connsiteX334" fmla="*/ 5286321 w 7467600"/>
              <a:gd name="connsiteY334" fmla="*/ 6033555 h 6858000"/>
              <a:gd name="connsiteX335" fmla="*/ 5008210 w 7467600"/>
              <a:gd name="connsiteY335" fmla="*/ 6649194 h 6858000"/>
              <a:gd name="connsiteX336" fmla="*/ 4986321 w 7467600"/>
              <a:gd name="connsiteY336" fmla="*/ 6765687 h 6858000"/>
              <a:gd name="connsiteX337" fmla="*/ 4973474 w 7467600"/>
              <a:gd name="connsiteY337" fmla="*/ 6858000 h 6858000"/>
              <a:gd name="connsiteX338" fmla="*/ 4907178 w 7467600"/>
              <a:gd name="connsiteY338" fmla="*/ 6858000 h 6858000"/>
              <a:gd name="connsiteX339" fmla="*/ 4910810 w 7467600"/>
              <a:gd name="connsiteY339" fmla="*/ 6829660 h 6858000"/>
              <a:gd name="connsiteX340" fmla="*/ 4987461 w 7467600"/>
              <a:gd name="connsiteY340" fmla="*/ 6432994 h 6858000"/>
              <a:gd name="connsiteX341" fmla="*/ 5179262 w 7467600"/>
              <a:gd name="connsiteY341" fmla="*/ 6035044 h 6858000"/>
              <a:gd name="connsiteX342" fmla="*/ 4689678 w 7467600"/>
              <a:gd name="connsiteY342" fmla="*/ 6440241 h 6858000"/>
              <a:gd name="connsiteX343" fmla="*/ 4477543 w 7467600"/>
              <a:gd name="connsiteY343" fmla="*/ 6674836 h 6858000"/>
              <a:gd name="connsiteX344" fmla="*/ 4329957 w 7467600"/>
              <a:gd name="connsiteY344" fmla="*/ 6858000 h 6858000"/>
              <a:gd name="connsiteX345" fmla="*/ 4218595 w 7467600"/>
              <a:gd name="connsiteY345" fmla="*/ 6858000 h 6858000"/>
              <a:gd name="connsiteX346" fmla="*/ 4368888 w 7467600"/>
              <a:gd name="connsiteY346" fmla="*/ 6668412 h 6858000"/>
              <a:gd name="connsiteX347" fmla="*/ 4563091 w 7467600"/>
              <a:gd name="connsiteY347" fmla="*/ 6442508 h 6858000"/>
              <a:gd name="connsiteX348" fmla="*/ 5387324 w 7467600"/>
              <a:gd name="connsiteY348" fmla="*/ 5705830 h 6858000"/>
              <a:gd name="connsiteX349" fmla="*/ 5073620 w 7467600"/>
              <a:gd name="connsiteY349" fmla="*/ 5955437 h 6858000"/>
              <a:gd name="connsiteX350" fmla="*/ 4689789 w 7467600"/>
              <a:gd name="connsiteY350" fmla="*/ 6268382 h 6858000"/>
              <a:gd name="connsiteX351" fmla="*/ 4418722 w 7467600"/>
              <a:gd name="connsiteY351" fmla="*/ 6570886 h 6858000"/>
              <a:gd name="connsiteX352" fmla="*/ 4214944 w 7467600"/>
              <a:gd name="connsiteY352" fmla="*/ 6858000 h 6858000"/>
              <a:gd name="connsiteX353" fmla="*/ 4177898 w 7467600"/>
              <a:gd name="connsiteY353" fmla="*/ 6858000 h 6858000"/>
              <a:gd name="connsiteX354" fmla="*/ 4391597 w 7467600"/>
              <a:gd name="connsiteY354" fmla="*/ 6556370 h 6858000"/>
              <a:gd name="connsiteX355" fmla="*/ 4668889 w 7467600"/>
              <a:gd name="connsiteY355" fmla="*/ 6246399 h 6858000"/>
              <a:gd name="connsiteX356" fmla="*/ 5055427 w 7467600"/>
              <a:gd name="connsiteY356" fmla="*/ 5931476 h 6858000"/>
              <a:gd name="connsiteX357" fmla="*/ 5371814 w 7467600"/>
              <a:gd name="connsiteY357" fmla="*/ 5678975 h 6858000"/>
              <a:gd name="connsiteX358" fmla="*/ 4987918 w 7467600"/>
              <a:gd name="connsiteY358" fmla="*/ 5838701 h 6858000"/>
              <a:gd name="connsiteX359" fmla="*/ 4317146 w 7467600"/>
              <a:gd name="connsiteY359" fmla="*/ 6587716 h 6858000"/>
              <a:gd name="connsiteX360" fmla="*/ 4171627 w 7467600"/>
              <a:gd name="connsiteY360" fmla="*/ 6858000 h 6858000"/>
              <a:gd name="connsiteX361" fmla="*/ 4081585 w 7467600"/>
              <a:gd name="connsiteY361" fmla="*/ 6858000 h 6858000"/>
              <a:gd name="connsiteX362" fmla="*/ 4238603 w 7467600"/>
              <a:gd name="connsiteY362" fmla="*/ 6559341 h 6858000"/>
              <a:gd name="connsiteX363" fmla="*/ 4778333 w 7467600"/>
              <a:gd name="connsiteY363" fmla="*/ 5873626 h 6858000"/>
              <a:gd name="connsiteX364" fmla="*/ 5414185 w 7467600"/>
              <a:gd name="connsiteY364" fmla="*/ 5573882 h 6858000"/>
              <a:gd name="connsiteX365" fmla="*/ 5959648 w 7467600"/>
              <a:gd name="connsiteY365" fmla="*/ 4760797 h 6858000"/>
              <a:gd name="connsiteX366" fmla="*/ 5355019 w 7467600"/>
              <a:gd name="connsiteY366" fmla="*/ 4734672 h 6858000"/>
              <a:gd name="connsiteX367" fmla="*/ 5083565 w 7467600"/>
              <a:gd name="connsiteY367" fmla="*/ 5179121 h 6858000"/>
              <a:gd name="connsiteX368" fmla="*/ 4713577 w 7467600"/>
              <a:gd name="connsiteY368" fmla="*/ 5616803 h 6858000"/>
              <a:gd name="connsiteX369" fmla="*/ 3989559 w 7467600"/>
              <a:gd name="connsiteY369" fmla="*/ 6145945 h 6858000"/>
              <a:gd name="connsiteX370" fmla="*/ 3939824 w 7467600"/>
              <a:gd name="connsiteY370" fmla="*/ 6066900 h 6858000"/>
              <a:gd name="connsiteX371" fmla="*/ 4584537 w 7467600"/>
              <a:gd name="connsiteY371" fmla="*/ 5324826 h 6858000"/>
              <a:gd name="connsiteX372" fmla="*/ 5037105 w 7467600"/>
              <a:gd name="connsiteY372" fmla="*/ 5088765 h 6858000"/>
              <a:gd name="connsiteX373" fmla="*/ 5039930 w 7467600"/>
              <a:gd name="connsiteY373" fmla="*/ 5089585 h 6858000"/>
              <a:gd name="connsiteX374" fmla="*/ 5263764 w 7467600"/>
              <a:gd name="connsiteY374" fmla="*/ 4735525 h 6858000"/>
              <a:gd name="connsiteX375" fmla="*/ 4086300 w 7467600"/>
              <a:gd name="connsiteY375" fmla="*/ 4884599 h 6858000"/>
              <a:gd name="connsiteX376" fmla="*/ 4085485 w 7467600"/>
              <a:gd name="connsiteY376" fmla="*/ 4899070 h 6858000"/>
              <a:gd name="connsiteX377" fmla="*/ 3871915 w 7467600"/>
              <a:gd name="connsiteY377" fmla="*/ 5253645 h 6858000"/>
              <a:gd name="connsiteX378" fmla="*/ 3799374 w 7467600"/>
              <a:gd name="connsiteY378" fmla="*/ 5466127 h 6858000"/>
              <a:gd name="connsiteX379" fmla="*/ 3498850 w 7467600"/>
              <a:gd name="connsiteY379" fmla="*/ 6661888 h 6858000"/>
              <a:gd name="connsiteX380" fmla="*/ 3399216 w 7467600"/>
              <a:gd name="connsiteY380" fmla="*/ 6858000 h 6858000"/>
              <a:gd name="connsiteX381" fmla="*/ 3303688 w 7467600"/>
              <a:gd name="connsiteY381" fmla="*/ 6858000 h 6858000"/>
              <a:gd name="connsiteX382" fmla="*/ 3391774 w 7467600"/>
              <a:gd name="connsiteY382" fmla="*/ 6697181 h 6858000"/>
              <a:gd name="connsiteX383" fmla="*/ 3735540 w 7467600"/>
              <a:gd name="connsiteY383" fmla="*/ 5546923 h 6858000"/>
              <a:gd name="connsiteX384" fmla="*/ 3729438 w 7467600"/>
              <a:gd name="connsiteY384" fmla="*/ 5569058 h 6858000"/>
              <a:gd name="connsiteX385" fmla="*/ 3707782 w 7467600"/>
              <a:gd name="connsiteY385" fmla="*/ 5644908 h 6858000"/>
              <a:gd name="connsiteX386" fmla="*/ 3583827 w 7467600"/>
              <a:gd name="connsiteY386" fmla="*/ 6039215 h 6858000"/>
              <a:gd name="connsiteX387" fmla="*/ 3547861 w 7467600"/>
              <a:gd name="connsiteY387" fmla="*/ 6129609 h 6858000"/>
              <a:gd name="connsiteX388" fmla="*/ 3490905 w 7467600"/>
              <a:gd name="connsiteY388" fmla="*/ 6277660 h 6858000"/>
              <a:gd name="connsiteX389" fmla="*/ 3455859 w 7467600"/>
              <a:gd name="connsiteY389" fmla="*/ 6391301 h 6858000"/>
              <a:gd name="connsiteX390" fmla="*/ 3429112 w 7467600"/>
              <a:gd name="connsiteY390" fmla="*/ 6479469 h 6858000"/>
              <a:gd name="connsiteX391" fmla="*/ 3304862 w 7467600"/>
              <a:gd name="connsiteY391" fmla="*/ 6796476 h 6858000"/>
              <a:gd name="connsiteX392" fmla="*/ 3276071 w 7467600"/>
              <a:gd name="connsiteY392" fmla="*/ 6858000 h 6858000"/>
              <a:gd name="connsiteX393" fmla="*/ 3240805 w 7467600"/>
              <a:gd name="connsiteY393" fmla="*/ 6858000 h 6858000"/>
              <a:gd name="connsiteX394" fmla="*/ 3275917 w 7467600"/>
              <a:gd name="connsiteY394" fmla="*/ 6783192 h 6858000"/>
              <a:gd name="connsiteX395" fmla="*/ 3399358 w 7467600"/>
              <a:gd name="connsiteY395" fmla="*/ 6469011 h 6858000"/>
              <a:gd name="connsiteX396" fmla="*/ 3425650 w 7467600"/>
              <a:gd name="connsiteY396" fmla="*/ 6381333 h 6858000"/>
              <a:gd name="connsiteX397" fmla="*/ 3460661 w 7467600"/>
              <a:gd name="connsiteY397" fmla="*/ 6266763 h 6858000"/>
              <a:gd name="connsiteX398" fmla="*/ 3518021 w 7467600"/>
              <a:gd name="connsiteY398" fmla="*/ 6117298 h 6858000"/>
              <a:gd name="connsiteX399" fmla="*/ 3554035 w 7467600"/>
              <a:gd name="connsiteY399" fmla="*/ 6027832 h 6858000"/>
              <a:gd name="connsiteX400" fmla="*/ 3677174 w 7467600"/>
              <a:gd name="connsiteY400" fmla="*/ 5636351 h 6858000"/>
              <a:gd name="connsiteX401" fmla="*/ 3698819 w 7467600"/>
              <a:gd name="connsiteY401" fmla="*/ 5560503 h 6858000"/>
              <a:gd name="connsiteX402" fmla="*/ 3702094 w 7467600"/>
              <a:gd name="connsiteY402" fmla="*/ 5549194 h 6858000"/>
              <a:gd name="connsiteX403" fmla="*/ 3398355 w 7467600"/>
              <a:gd name="connsiteY403" fmla="*/ 6094603 h 6858000"/>
              <a:gd name="connsiteX404" fmla="*/ 3193941 w 7467600"/>
              <a:gd name="connsiteY404" fmla="*/ 6798775 h 6858000"/>
              <a:gd name="connsiteX405" fmla="*/ 3184140 w 7467600"/>
              <a:gd name="connsiteY405" fmla="*/ 6858000 h 6858000"/>
              <a:gd name="connsiteX406" fmla="*/ 3099978 w 7467600"/>
              <a:gd name="connsiteY406" fmla="*/ 6858000 h 6858000"/>
              <a:gd name="connsiteX407" fmla="*/ 3101556 w 7467600"/>
              <a:gd name="connsiteY407" fmla="*/ 6843337 h 6858000"/>
              <a:gd name="connsiteX408" fmla="*/ 3370162 w 7467600"/>
              <a:gd name="connsiteY408" fmla="*/ 5785550 h 6858000"/>
              <a:gd name="connsiteX409" fmla="*/ 3746477 w 7467600"/>
              <a:gd name="connsiteY409" fmla="*/ 5377889 h 6858000"/>
              <a:gd name="connsiteX410" fmla="*/ 3863399 w 7467600"/>
              <a:gd name="connsiteY410" fmla="*/ 5087257 h 6858000"/>
              <a:gd name="connsiteX411" fmla="*/ 3968712 w 7467600"/>
              <a:gd name="connsiteY411" fmla="*/ 4913989 h 6858000"/>
              <a:gd name="connsiteX412" fmla="*/ 2792390 w 7467600"/>
              <a:gd name="connsiteY412" fmla="*/ 5382974 h 6858000"/>
              <a:gd name="connsiteX413" fmla="*/ 2714982 w 7467600"/>
              <a:gd name="connsiteY413" fmla="*/ 5427051 h 6858000"/>
              <a:gd name="connsiteX414" fmla="*/ 2813361 w 7467600"/>
              <a:gd name="connsiteY414" fmla="*/ 6023912 h 6858000"/>
              <a:gd name="connsiteX415" fmla="*/ 2688430 w 7467600"/>
              <a:gd name="connsiteY415" fmla="*/ 6801564 h 6858000"/>
              <a:gd name="connsiteX416" fmla="*/ 2629626 w 7467600"/>
              <a:gd name="connsiteY416" fmla="*/ 6763394 h 6858000"/>
              <a:gd name="connsiteX417" fmla="*/ 2565328 w 7467600"/>
              <a:gd name="connsiteY417" fmla="*/ 5516399 h 6858000"/>
              <a:gd name="connsiteX418" fmla="*/ 1922999 w 7467600"/>
              <a:gd name="connsiteY418" fmla="*/ 5980343 h 6858000"/>
              <a:gd name="connsiteX419" fmla="*/ 1950261 w 7467600"/>
              <a:gd name="connsiteY419" fmla="*/ 6405858 h 6858000"/>
              <a:gd name="connsiteX420" fmla="*/ 2365554 w 7467600"/>
              <a:gd name="connsiteY420" fmla="*/ 6759107 h 6858000"/>
              <a:gd name="connsiteX421" fmla="*/ 2424142 w 7467600"/>
              <a:gd name="connsiteY421" fmla="*/ 6858000 h 6858000"/>
              <a:gd name="connsiteX422" fmla="*/ 2395994 w 7467600"/>
              <a:gd name="connsiteY422" fmla="*/ 6858000 h 6858000"/>
              <a:gd name="connsiteX423" fmla="*/ 2392863 w 7467600"/>
              <a:gd name="connsiteY423" fmla="*/ 6852964 h 6858000"/>
              <a:gd name="connsiteX424" fmla="*/ 2017589 w 7467600"/>
              <a:gd name="connsiteY424" fmla="*/ 6493982 h 6858000"/>
              <a:gd name="connsiteX425" fmla="*/ 2147336 w 7467600"/>
              <a:gd name="connsiteY425" fmla="*/ 6594052 h 6858000"/>
              <a:gd name="connsiteX426" fmla="*/ 2207047 w 7467600"/>
              <a:gd name="connsiteY426" fmla="*/ 6654540 h 6858000"/>
              <a:gd name="connsiteX427" fmla="*/ 2299106 w 7467600"/>
              <a:gd name="connsiteY427" fmla="*/ 6778931 h 6858000"/>
              <a:gd name="connsiteX428" fmla="*/ 2314430 w 7467600"/>
              <a:gd name="connsiteY428" fmla="*/ 6801144 h 6858000"/>
              <a:gd name="connsiteX429" fmla="*/ 2352406 w 7467600"/>
              <a:gd name="connsiteY429" fmla="*/ 6858000 h 6858000"/>
              <a:gd name="connsiteX430" fmla="*/ 2314492 w 7467600"/>
              <a:gd name="connsiteY430" fmla="*/ 6858000 h 6858000"/>
              <a:gd name="connsiteX431" fmla="*/ 2288095 w 7467600"/>
              <a:gd name="connsiteY431" fmla="*/ 6818030 h 6858000"/>
              <a:gd name="connsiteX432" fmla="*/ 2272768 w 7467600"/>
              <a:gd name="connsiteY432" fmla="*/ 6795822 h 6858000"/>
              <a:gd name="connsiteX433" fmla="*/ 2182715 w 7467600"/>
              <a:gd name="connsiteY433" fmla="*/ 6675071 h 6858000"/>
              <a:gd name="connsiteX434" fmla="*/ 2032061 w 7467600"/>
              <a:gd name="connsiteY434" fmla="*/ 6541380 h 6858000"/>
              <a:gd name="connsiteX435" fmla="*/ 2257220 w 7467600"/>
              <a:gd name="connsiteY435" fmla="*/ 6826257 h 6858000"/>
              <a:gd name="connsiteX436" fmla="*/ 2281324 w 7467600"/>
              <a:gd name="connsiteY436" fmla="*/ 6858000 h 6858000"/>
              <a:gd name="connsiteX437" fmla="*/ 2242860 w 7467600"/>
              <a:gd name="connsiteY437" fmla="*/ 6858000 h 6858000"/>
              <a:gd name="connsiteX438" fmla="*/ 2232818 w 7467600"/>
              <a:gd name="connsiteY438" fmla="*/ 6844926 h 6858000"/>
              <a:gd name="connsiteX439" fmla="*/ 1990172 w 7467600"/>
              <a:gd name="connsiteY439" fmla="*/ 6542121 h 6858000"/>
              <a:gd name="connsiteX440" fmla="*/ 2124090 w 7467600"/>
              <a:gd name="connsiteY440" fmla="*/ 6761017 h 6858000"/>
              <a:gd name="connsiteX441" fmla="*/ 2200380 w 7467600"/>
              <a:gd name="connsiteY441" fmla="*/ 6858000 h 6858000"/>
              <a:gd name="connsiteX442" fmla="*/ 2147507 w 7467600"/>
              <a:gd name="connsiteY442" fmla="*/ 6858000 h 6858000"/>
              <a:gd name="connsiteX443" fmla="*/ 2070668 w 7467600"/>
              <a:gd name="connsiteY443" fmla="*/ 6761520 h 6858000"/>
              <a:gd name="connsiteX444" fmla="*/ 1975142 w 7467600"/>
              <a:gd name="connsiteY444" fmla="*/ 6585570 h 6858000"/>
              <a:gd name="connsiteX445" fmla="*/ 2050035 w 7467600"/>
              <a:gd name="connsiteY445" fmla="*/ 6813345 h 6858000"/>
              <a:gd name="connsiteX446" fmla="*/ 2063025 w 7467600"/>
              <a:gd name="connsiteY446" fmla="*/ 6858000 h 6858000"/>
              <a:gd name="connsiteX447" fmla="*/ 2021675 w 7467600"/>
              <a:gd name="connsiteY447" fmla="*/ 6858000 h 6858000"/>
              <a:gd name="connsiteX448" fmla="*/ 2019308 w 7467600"/>
              <a:gd name="connsiteY448" fmla="*/ 6847118 h 6858000"/>
              <a:gd name="connsiteX449" fmla="*/ 1938835 w 7467600"/>
              <a:gd name="connsiteY449" fmla="*/ 6551160 h 6858000"/>
              <a:gd name="connsiteX450" fmla="*/ 1953230 w 7467600"/>
              <a:gd name="connsiteY450" fmla="*/ 6759699 h 6858000"/>
              <a:gd name="connsiteX451" fmla="*/ 1956763 w 7467600"/>
              <a:gd name="connsiteY451" fmla="*/ 6778191 h 6858000"/>
              <a:gd name="connsiteX452" fmla="*/ 1967925 w 7467600"/>
              <a:gd name="connsiteY452" fmla="*/ 6858000 h 6858000"/>
              <a:gd name="connsiteX453" fmla="*/ 1936622 w 7467600"/>
              <a:gd name="connsiteY453" fmla="*/ 6858000 h 6858000"/>
              <a:gd name="connsiteX454" fmla="*/ 1926261 w 7467600"/>
              <a:gd name="connsiteY454" fmla="*/ 6784064 h 6858000"/>
              <a:gd name="connsiteX455" fmla="*/ 1922724 w 7467600"/>
              <a:gd name="connsiteY455" fmla="*/ 6765577 h 6858000"/>
              <a:gd name="connsiteX456" fmla="*/ 1904650 w 7467600"/>
              <a:gd name="connsiteY456" fmla="*/ 6639616 h 6858000"/>
              <a:gd name="connsiteX457" fmla="*/ 1885273 w 7467600"/>
              <a:gd name="connsiteY457" fmla="*/ 6858000 h 6858000"/>
              <a:gd name="connsiteX458" fmla="*/ 1854363 w 7467600"/>
              <a:gd name="connsiteY458" fmla="*/ 6858000 h 6858000"/>
              <a:gd name="connsiteX459" fmla="*/ 1880391 w 7467600"/>
              <a:gd name="connsiteY459" fmla="*/ 6603796 h 6858000"/>
              <a:gd name="connsiteX460" fmla="*/ 1818273 w 7467600"/>
              <a:gd name="connsiteY460" fmla="*/ 6715729 h 6858000"/>
              <a:gd name="connsiteX461" fmla="*/ 1794691 w 7467600"/>
              <a:gd name="connsiteY461" fmla="*/ 6843239 h 6858000"/>
              <a:gd name="connsiteX462" fmla="*/ 1794914 w 7467600"/>
              <a:gd name="connsiteY462" fmla="*/ 6858000 h 6858000"/>
              <a:gd name="connsiteX463" fmla="*/ 1746128 w 7467600"/>
              <a:gd name="connsiteY463" fmla="*/ 6858000 h 6858000"/>
              <a:gd name="connsiteX464" fmla="*/ 1753934 w 7467600"/>
              <a:gd name="connsiteY464" fmla="*/ 6724796 h 6858000"/>
              <a:gd name="connsiteX465" fmla="*/ 1792053 w 7467600"/>
              <a:gd name="connsiteY465" fmla="*/ 6572396 h 6858000"/>
              <a:gd name="connsiteX466" fmla="*/ 1862248 w 7467600"/>
              <a:gd name="connsiteY466" fmla="*/ 6266397 h 6858000"/>
              <a:gd name="connsiteX467" fmla="*/ 1862250 w 7467600"/>
              <a:gd name="connsiteY467" fmla="*/ 6033531 h 6858000"/>
              <a:gd name="connsiteX468" fmla="*/ 1211999 w 7467600"/>
              <a:gd name="connsiteY468" fmla="*/ 6683610 h 6858000"/>
              <a:gd name="connsiteX469" fmla="*/ 1213266 w 7467600"/>
              <a:gd name="connsiteY469" fmla="*/ 6691947 h 6858000"/>
              <a:gd name="connsiteX470" fmla="*/ 1203370 w 7467600"/>
              <a:gd name="connsiteY470" fmla="*/ 6850676 h 6858000"/>
              <a:gd name="connsiteX471" fmla="*/ 1203671 w 7467600"/>
              <a:gd name="connsiteY471" fmla="*/ 6858000 h 6858000"/>
              <a:gd name="connsiteX472" fmla="*/ 1143180 w 7467600"/>
              <a:gd name="connsiteY472" fmla="*/ 6858000 h 6858000"/>
              <a:gd name="connsiteX473" fmla="*/ 1142176 w 7467600"/>
              <a:gd name="connsiteY473" fmla="*/ 6766045 h 6858000"/>
              <a:gd name="connsiteX474" fmla="*/ 1067484 w 7467600"/>
              <a:gd name="connsiteY474" fmla="*/ 6858000 h 6858000"/>
              <a:gd name="connsiteX475" fmla="*/ 953928 w 7467600"/>
              <a:gd name="connsiteY475" fmla="*/ 6858000 h 6858000"/>
              <a:gd name="connsiteX476" fmla="*/ 959715 w 7467600"/>
              <a:gd name="connsiteY476" fmla="*/ 6850185 h 6858000"/>
              <a:gd name="connsiteX477" fmla="*/ 1483788 w 7467600"/>
              <a:gd name="connsiteY477" fmla="*/ 6259174 h 6858000"/>
              <a:gd name="connsiteX478" fmla="*/ 1100671 w 7467600"/>
              <a:gd name="connsiteY478" fmla="*/ 6252137 h 6858000"/>
              <a:gd name="connsiteX479" fmla="*/ 1090144 w 7467600"/>
              <a:gd name="connsiteY479" fmla="*/ 6256748 h 6858000"/>
              <a:gd name="connsiteX480" fmla="*/ 1095872 w 7467600"/>
              <a:gd name="connsiteY480" fmla="*/ 6271892 h 6858000"/>
              <a:gd name="connsiteX481" fmla="*/ 262785 w 7467600"/>
              <a:gd name="connsiteY481" fmla="*/ 6845450 h 6858000"/>
              <a:gd name="connsiteX482" fmla="*/ 209968 w 7467600"/>
              <a:gd name="connsiteY482" fmla="*/ 6770713 h 6858000"/>
              <a:gd name="connsiteX483" fmla="*/ 873460 w 7467600"/>
              <a:gd name="connsiteY483" fmla="*/ 6253768 h 6858000"/>
              <a:gd name="connsiteX484" fmla="*/ 192686 w 7467600"/>
              <a:gd name="connsiteY484" fmla="*/ 5849257 h 6858000"/>
              <a:gd name="connsiteX485" fmla="*/ 4696 w 7467600"/>
              <a:gd name="connsiteY485" fmla="*/ 5697668 h 6858000"/>
              <a:gd name="connsiteX486" fmla="*/ 0 w 7467600"/>
              <a:gd name="connsiteY486" fmla="*/ 5689984 h 6858000"/>
              <a:gd name="connsiteX487" fmla="*/ 0 w 7467600"/>
              <a:gd name="connsiteY487" fmla="*/ 5513472 h 6858000"/>
              <a:gd name="connsiteX488" fmla="*/ 174101 w 7467600"/>
              <a:gd name="connsiteY488" fmla="*/ 5620277 h 6858000"/>
              <a:gd name="connsiteX489" fmla="*/ 891800 w 7467600"/>
              <a:gd name="connsiteY489" fmla="*/ 6036935 h 6858000"/>
              <a:gd name="connsiteX490" fmla="*/ 1072219 w 7467600"/>
              <a:gd name="connsiteY490" fmla="*/ 6169443 h 6858000"/>
              <a:gd name="connsiteX491" fmla="*/ 1074117 w 7467600"/>
              <a:gd name="connsiteY491" fmla="*/ 6170301 h 6858000"/>
              <a:gd name="connsiteX492" fmla="*/ 1083114 w 7467600"/>
              <a:gd name="connsiteY492" fmla="*/ 6174131 h 6858000"/>
              <a:gd name="connsiteX493" fmla="*/ 1543010 w 7467600"/>
              <a:gd name="connsiteY493" fmla="*/ 6191140 h 6858000"/>
              <a:gd name="connsiteX494" fmla="*/ 1551080 w 7467600"/>
              <a:gd name="connsiteY494" fmla="*/ 6195006 h 6858000"/>
              <a:gd name="connsiteX495" fmla="*/ 2345443 w 7467600"/>
              <a:gd name="connsiteY495" fmla="*/ 5549882 h 6858000"/>
              <a:gd name="connsiteX496" fmla="*/ 1721499 w 7467600"/>
              <a:gd name="connsiteY496" fmla="*/ 5599969 h 6858000"/>
              <a:gd name="connsiteX497" fmla="*/ 767716 w 7467600"/>
              <a:gd name="connsiteY497" fmla="*/ 5472768 h 6858000"/>
              <a:gd name="connsiteX498" fmla="*/ 722147 w 7467600"/>
              <a:gd name="connsiteY498" fmla="*/ 5393091 h 6858000"/>
              <a:gd name="connsiteX499" fmla="*/ 1485552 w 7467600"/>
              <a:gd name="connsiteY499" fmla="*/ 5313202 h 6858000"/>
              <a:gd name="connsiteX500" fmla="*/ 2143004 w 7467600"/>
              <a:gd name="connsiteY500" fmla="*/ 5402420 h 6858000"/>
              <a:gd name="connsiteX501" fmla="*/ 1933391 w 7467600"/>
              <a:gd name="connsiteY501" fmla="*/ 5156971 h 6858000"/>
              <a:gd name="connsiteX502" fmla="*/ 1827118 w 7467600"/>
              <a:gd name="connsiteY502" fmla="*/ 4968410 h 6858000"/>
              <a:gd name="connsiteX503" fmla="*/ 1837349 w 7467600"/>
              <a:gd name="connsiteY503" fmla="*/ 4956357 h 6858000"/>
              <a:gd name="connsiteX504" fmla="*/ 2162835 w 7467600"/>
              <a:gd name="connsiteY504" fmla="*/ 5187853 h 6858000"/>
              <a:gd name="connsiteX505" fmla="*/ 2257167 w 7467600"/>
              <a:gd name="connsiteY505" fmla="*/ 5462123 h 6858000"/>
              <a:gd name="connsiteX506" fmla="*/ 2261598 w 7467600"/>
              <a:gd name="connsiteY506" fmla="*/ 5467998 h 6858000"/>
              <a:gd name="connsiteX507" fmla="*/ 2437177 w 7467600"/>
              <a:gd name="connsiteY507" fmla="*/ 5479608 h 6858000"/>
              <a:gd name="connsiteX508" fmla="*/ 2445247 w 7467600"/>
              <a:gd name="connsiteY508" fmla="*/ 5483476 h 6858000"/>
              <a:gd name="connsiteX509" fmla="*/ 2743626 w 7467600"/>
              <a:gd name="connsiteY509" fmla="*/ 5304819 h 6858000"/>
              <a:gd name="connsiteX510" fmla="*/ 3048102 w 7467600"/>
              <a:gd name="connsiteY510" fmla="*/ 5150595 h 6858000"/>
              <a:gd name="connsiteX511" fmla="*/ 1799414 w 7467600"/>
              <a:gd name="connsiteY511" fmla="*/ 4694732 h 6858000"/>
              <a:gd name="connsiteX512" fmla="*/ 1771735 w 7467600"/>
              <a:gd name="connsiteY512" fmla="*/ 4619929 h 6858000"/>
              <a:gd name="connsiteX513" fmla="*/ 3104273 w 7467600"/>
              <a:gd name="connsiteY513" fmla="*/ 5076159 h 6858000"/>
              <a:gd name="connsiteX514" fmla="*/ 3113245 w 7467600"/>
              <a:gd name="connsiteY514" fmla="*/ 5090705 h 6858000"/>
              <a:gd name="connsiteX515" fmla="*/ 3126294 w 7467600"/>
              <a:gd name="connsiteY515" fmla="*/ 5114400 h 6858000"/>
              <a:gd name="connsiteX516" fmla="*/ 3937433 w 7467600"/>
              <a:gd name="connsiteY516" fmla="*/ 4830473 h 6858000"/>
              <a:gd name="connsiteX517" fmla="*/ 3590475 w 7467600"/>
              <a:gd name="connsiteY517" fmla="*/ 4597974 h 6858000"/>
              <a:gd name="connsiteX518" fmla="*/ 3100264 w 7467600"/>
              <a:gd name="connsiteY518" fmla="*/ 4579845 h 6858000"/>
              <a:gd name="connsiteX519" fmla="*/ 2183576 w 7467600"/>
              <a:gd name="connsiteY519" fmla="*/ 4227150 h 6858000"/>
              <a:gd name="connsiteX520" fmla="*/ 2151029 w 7467600"/>
              <a:gd name="connsiteY520" fmla="*/ 4146947 h 6858000"/>
              <a:gd name="connsiteX521" fmla="*/ 3563434 w 7467600"/>
              <a:gd name="connsiteY521" fmla="*/ 4469115 h 6858000"/>
              <a:gd name="connsiteX522" fmla="*/ 3177952 w 7467600"/>
              <a:gd name="connsiteY522" fmla="*/ 3657386 h 6858000"/>
              <a:gd name="connsiteX523" fmla="*/ 3189263 w 7467600"/>
              <a:gd name="connsiteY523" fmla="*/ 3625726 h 6858000"/>
              <a:gd name="connsiteX524" fmla="*/ 3560912 w 7467600"/>
              <a:gd name="connsiteY524" fmla="*/ 4079863 h 6858000"/>
              <a:gd name="connsiteX525" fmla="*/ 3626636 w 7467600"/>
              <a:gd name="connsiteY525" fmla="*/ 4512230 h 6858000"/>
              <a:gd name="connsiteX526" fmla="*/ 3653088 w 7467600"/>
              <a:gd name="connsiteY526" fmla="*/ 4521417 h 6858000"/>
              <a:gd name="connsiteX527" fmla="*/ 3988128 w 7467600"/>
              <a:gd name="connsiteY527" fmla="*/ 4817267 h 6858000"/>
              <a:gd name="connsiteX528" fmla="*/ 4830582 w 7467600"/>
              <a:gd name="connsiteY528" fmla="*/ 4676000 h 6858000"/>
              <a:gd name="connsiteX529" fmla="*/ 4830100 w 7467600"/>
              <a:gd name="connsiteY529" fmla="*/ 4675554 h 6858000"/>
              <a:gd name="connsiteX530" fmla="*/ 4036318 w 7467600"/>
              <a:gd name="connsiteY530" fmla="*/ 4147013 h 6858000"/>
              <a:gd name="connsiteX531" fmla="*/ 3432098 w 7467600"/>
              <a:gd name="connsiteY531" fmla="*/ 3537312 h 6858000"/>
              <a:gd name="connsiteX532" fmla="*/ 3446761 w 7467600"/>
              <a:gd name="connsiteY532" fmla="*/ 3461278 h 6858000"/>
              <a:gd name="connsiteX533" fmla="*/ 4419733 w 7467600"/>
              <a:gd name="connsiteY533" fmla="*/ 3963555 h 6858000"/>
              <a:gd name="connsiteX534" fmla="*/ 4781371 w 7467600"/>
              <a:gd name="connsiteY534" fmla="*/ 4458604 h 6858000"/>
              <a:gd name="connsiteX535" fmla="*/ 4780440 w 7467600"/>
              <a:gd name="connsiteY535" fmla="*/ 4470290 h 6858000"/>
              <a:gd name="connsiteX536" fmla="*/ 4898954 w 7467600"/>
              <a:gd name="connsiteY536" fmla="*/ 4662092 h 6858000"/>
              <a:gd name="connsiteX537" fmla="*/ 4900699 w 7467600"/>
              <a:gd name="connsiteY537" fmla="*/ 4670867 h 6858000"/>
              <a:gd name="connsiteX538" fmla="*/ 5714511 w 7467600"/>
              <a:gd name="connsiteY538" fmla="*/ 4663483 h 6858000"/>
              <a:gd name="connsiteX539" fmla="*/ 5464793 w 7467600"/>
              <a:gd name="connsiteY539" fmla="*/ 4393556 h 6858000"/>
              <a:gd name="connsiteX540" fmla="*/ 5461897 w 7467600"/>
              <a:gd name="connsiteY540" fmla="*/ 4390879 h 6858000"/>
              <a:gd name="connsiteX541" fmla="*/ 4294126 w 7467600"/>
              <a:gd name="connsiteY541" fmla="*/ 3303048 h 6858000"/>
              <a:gd name="connsiteX542" fmla="*/ 4305321 w 7467600"/>
              <a:gd name="connsiteY542" fmla="*/ 3256953 h 6858000"/>
              <a:gd name="connsiteX543" fmla="*/ 4949299 w 7467600"/>
              <a:gd name="connsiteY543" fmla="*/ 3766336 h 6858000"/>
              <a:gd name="connsiteX544" fmla="*/ 5291452 w 7467600"/>
              <a:gd name="connsiteY544" fmla="*/ 4076801 h 6858000"/>
              <a:gd name="connsiteX545" fmla="*/ 5434998 w 7467600"/>
              <a:gd name="connsiteY545" fmla="*/ 4254100 h 6858000"/>
              <a:gd name="connsiteX546" fmla="*/ 5351015 w 7467600"/>
              <a:gd name="connsiteY546" fmla="*/ 3760989 h 6858000"/>
              <a:gd name="connsiteX547" fmla="*/ 5413780 w 7467600"/>
              <a:gd name="connsiteY547" fmla="*/ 2966265 h 6858000"/>
              <a:gd name="connsiteX548" fmla="*/ 5425627 w 7467600"/>
              <a:gd name="connsiteY548" fmla="*/ 2954192 h 6858000"/>
              <a:gd name="connsiteX549" fmla="*/ 6604735 w 7467600"/>
              <a:gd name="connsiteY549" fmla="*/ 2041381 h 6858000"/>
              <a:gd name="connsiteX550" fmla="*/ 7204487 w 7467600"/>
              <a:gd name="connsiteY550" fmla="*/ 2742112 h 6858000"/>
              <a:gd name="connsiteX551" fmla="*/ 7131592 w 7467600"/>
              <a:gd name="connsiteY551" fmla="*/ 2672096 h 6858000"/>
              <a:gd name="connsiteX552" fmla="*/ 6996344 w 7467600"/>
              <a:gd name="connsiteY552" fmla="*/ 2518310 h 6858000"/>
              <a:gd name="connsiteX553" fmla="*/ 6735495 w 7467600"/>
              <a:gd name="connsiteY553" fmla="*/ 2196890 h 6858000"/>
              <a:gd name="connsiteX554" fmla="*/ 6721901 w 7467600"/>
              <a:gd name="connsiteY554" fmla="*/ 2179274 h 6858000"/>
              <a:gd name="connsiteX555" fmla="*/ 6604735 w 7467600"/>
              <a:gd name="connsiteY555" fmla="*/ 2041381 h 6858000"/>
              <a:gd name="connsiteX556" fmla="*/ 6591670 w 7467600"/>
              <a:gd name="connsiteY556" fmla="*/ 1988277 h 6858000"/>
              <a:gd name="connsiteX557" fmla="*/ 6747349 w 7467600"/>
              <a:gd name="connsiteY557" fmla="*/ 2160069 h 6858000"/>
              <a:gd name="connsiteX558" fmla="*/ 6760943 w 7467600"/>
              <a:gd name="connsiteY558" fmla="*/ 2177686 h 6858000"/>
              <a:gd name="connsiteX559" fmla="*/ 7021065 w 7467600"/>
              <a:gd name="connsiteY559" fmla="*/ 2498102 h 6858000"/>
              <a:gd name="connsiteX560" fmla="*/ 7155223 w 7467600"/>
              <a:gd name="connsiteY560" fmla="*/ 2650386 h 6858000"/>
              <a:gd name="connsiteX561" fmla="*/ 7203167 w 7467600"/>
              <a:gd name="connsiteY561" fmla="*/ 2697288 h 6858000"/>
              <a:gd name="connsiteX562" fmla="*/ 6937703 w 7467600"/>
              <a:gd name="connsiteY562" fmla="*/ 2321981 h 6858000"/>
              <a:gd name="connsiteX563" fmla="*/ 6591670 w 7467600"/>
              <a:gd name="connsiteY563" fmla="*/ 1988277 h 6858000"/>
              <a:gd name="connsiteX564" fmla="*/ 5798671 w 7467600"/>
              <a:gd name="connsiteY564" fmla="*/ 1981601 h 6858000"/>
              <a:gd name="connsiteX565" fmla="*/ 5754709 w 7467600"/>
              <a:gd name="connsiteY565" fmla="*/ 2071454 h 6858000"/>
              <a:gd name="connsiteX566" fmla="*/ 5763044 w 7467600"/>
              <a:gd name="connsiteY566" fmla="*/ 2842206 h 6858000"/>
              <a:gd name="connsiteX567" fmla="*/ 5764974 w 7467600"/>
              <a:gd name="connsiteY567" fmla="*/ 2799609 h 6858000"/>
              <a:gd name="connsiteX568" fmla="*/ 5767665 w 7467600"/>
              <a:gd name="connsiteY568" fmla="*/ 2666409 h 6858000"/>
              <a:gd name="connsiteX569" fmla="*/ 5763055 w 7467600"/>
              <a:gd name="connsiteY569" fmla="*/ 2579705 h 6858000"/>
              <a:gd name="connsiteX570" fmla="*/ 5758079 w 7467600"/>
              <a:gd name="connsiteY570" fmla="*/ 2492508 h 6858000"/>
              <a:gd name="connsiteX571" fmla="*/ 5779325 w 7467600"/>
              <a:gd name="connsiteY571" fmla="*/ 2197069 h 6858000"/>
              <a:gd name="connsiteX572" fmla="*/ 5798671 w 7467600"/>
              <a:gd name="connsiteY572" fmla="*/ 1981601 h 6858000"/>
              <a:gd name="connsiteX573" fmla="*/ 5829202 w 7467600"/>
              <a:gd name="connsiteY573" fmla="*/ 1971679 h 6858000"/>
              <a:gd name="connsiteX574" fmla="*/ 5809558 w 7467600"/>
              <a:gd name="connsiteY574" fmla="*/ 2198043 h 6858000"/>
              <a:gd name="connsiteX575" fmla="*/ 5788653 w 7467600"/>
              <a:gd name="connsiteY575" fmla="*/ 2489430 h 6858000"/>
              <a:gd name="connsiteX576" fmla="*/ 5793439 w 7467600"/>
              <a:gd name="connsiteY576" fmla="*/ 2575235 h 6858000"/>
              <a:gd name="connsiteX577" fmla="*/ 5796837 w 7467600"/>
              <a:gd name="connsiteY577" fmla="*/ 2637633 h 6858000"/>
              <a:gd name="connsiteX578" fmla="*/ 5818614 w 7467600"/>
              <a:gd name="connsiteY578" fmla="*/ 2473055 h 6858000"/>
              <a:gd name="connsiteX579" fmla="*/ 5829202 w 7467600"/>
              <a:gd name="connsiteY579" fmla="*/ 1971679 h 6858000"/>
              <a:gd name="connsiteX580" fmla="*/ 5911389 w 7467600"/>
              <a:gd name="connsiteY580" fmla="*/ 1898371 h 6858000"/>
              <a:gd name="connsiteX581" fmla="*/ 6237627 w 7467600"/>
              <a:gd name="connsiteY581" fmla="*/ 2231921 h 6858000"/>
              <a:gd name="connsiteX582" fmla="*/ 5911389 w 7467600"/>
              <a:gd name="connsiteY582" fmla="*/ 1898371 h 6858000"/>
              <a:gd name="connsiteX583" fmla="*/ 6944437 w 7467600"/>
              <a:gd name="connsiteY583" fmla="*/ 1575402 h 6858000"/>
              <a:gd name="connsiteX584" fmla="*/ 6304730 w 7467600"/>
              <a:gd name="connsiteY584" fmla="*/ 1766654 h 6858000"/>
              <a:gd name="connsiteX585" fmla="*/ 6944437 w 7467600"/>
              <a:gd name="connsiteY585" fmla="*/ 1575402 h 6858000"/>
              <a:gd name="connsiteX586" fmla="*/ 7019523 w 7467600"/>
              <a:gd name="connsiteY586" fmla="*/ 1519450 h 6858000"/>
              <a:gd name="connsiteX587" fmla="*/ 6298091 w 7467600"/>
              <a:gd name="connsiteY587" fmla="*/ 1737122 h 6858000"/>
              <a:gd name="connsiteX588" fmla="*/ 7019523 w 7467600"/>
              <a:gd name="connsiteY588" fmla="*/ 1519450 h 6858000"/>
              <a:gd name="connsiteX589" fmla="*/ 2399523 w 7467600"/>
              <a:gd name="connsiteY589" fmla="*/ 1428234 h 6858000"/>
              <a:gd name="connsiteX590" fmla="*/ 2224982 w 7467600"/>
              <a:gd name="connsiteY590" fmla="*/ 1826201 h 6858000"/>
              <a:gd name="connsiteX591" fmla="*/ 2096099 w 7467600"/>
              <a:gd name="connsiteY591" fmla="*/ 2345900 h 6858000"/>
              <a:gd name="connsiteX592" fmla="*/ 2283317 w 7467600"/>
              <a:gd name="connsiteY592" fmla="*/ 1796925 h 6858000"/>
              <a:gd name="connsiteX593" fmla="*/ 2399523 w 7467600"/>
              <a:gd name="connsiteY593" fmla="*/ 1428234 h 6858000"/>
              <a:gd name="connsiteX594" fmla="*/ 2448558 w 7467600"/>
              <a:gd name="connsiteY594" fmla="*/ 1373435 h 6858000"/>
              <a:gd name="connsiteX595" fmla="*/ 2312521 w 7467600"/>
              <a:gd name="connsiteY595" fmla="*/ 1806140 h 6858000"/>
              <a:gd name="connsiteX596" fmla="*/ 2127533 w 7467600"/>
              <a:gd name="connsiteY596" fmla="*/ 2348380 h 6858000"/>
              <a:gd name="connsiteX597" fmla="*/ 2358080 w 7467600"/>
              <a:gd name="connsiteY597" fmla="*/ 1866134 h 6858000"/>
              <a:gd name="connsiteX598" fmla="*/ 2407436 w 7467600"/>
              <a:gd name="connsiteY598" fmla="*/ 1651070 h 6858000"/>
              <a:gd name="connsiteX599" fmla="*/ 2448558 w 7467600"/>
              <a:gd name="connsiteY599" fmla="*/ 1373435 h 6858000"/>
              <a:gd name="connsiteX600" fmla="*/ 278707 w 7467600"/>
              <a:gd name="connsiteY600" fmla="*/ 1352270 h 6858000"/>
              <a:gd name="connsiteX601" fmla="*/ 321570 w 7467600"/>
              <a:gd name="connsiteY601" fmla="*/ 1861610 h 6858000"/>
              <a:gd name="connsiteX602" fmla="*/ 294281 w 7467600"/>
              <a:gd name="connsiteY602" fmla="*/ 1440658 h 6858000"/>
              <a:gd name="connsiteX603" fmla="*/ 278707 w 7467600"/>
              <a:gd name="connsiteY603" fmla="*/ 1352270 h 6858000"/>
              <a:gd name="connsiteX604" fmla="*/ 1423821 w 7467600"/>
              <a:gd name="connsiteY604" fmla="*/ 1351958 h 6858000"/>
              <a:gd name="connsiteX605" fmla="*/ 1638521 w 7467600"/>
              <a:gd name="connsiteY605" fmla="*/ 1908470 h 6858000"/>
              <a:gd name="connsiteX606" fmla="*/ 1754199 w 7467600"/>
              <a:gd name="connsiteY606" fmla="*/ 2149284 h 6858000"/>
              <a:gd name="connsiteX607" fmla="*/ 1908359 w 7467600"/>
              <a:gd name="connsiteY607" fmla="*/ 2364988 h 6858000"/>
              <a:gd name="connsiteX608" fmla="*/ 1647661 w 7467600"/>
              <a:gd name="connsiteY608" fmla="*/ 1825945 h 6858000"/>
              <a:gd name="connsiteX609" fmla="*/ 1423821 w 7467600"/>
              <a:gd name="connsiteY609" fmla="*/ 1351958 h 6858000"/>
              <a:gd name="connsiteX610" fmla="*/ 1431890 w 7467600"/>
              <a:gd name="connsiteY610" fmla="*/ 1306475 h 6858000"/>
              <a:gd name="connsiteX611" fmla="*/ 1507597 w 7467600"/>
              <a:gd name="connsiteY611" fmla="*/ 1446132 h 6858000"/>
              <a:gd name="connsiteX612" fmla="*/ 1674586 w 7467600"/>
              <a:gd name="connsiteY612" fmla="*/ 1813832 h 6858000"/>
              <a:gd name="connsiteX613" fmla="*/ 1815950 w 7467600"/>
              <a:gd name="connsiteY613" fmla="*/ 2128564 h 6858000"/>
              <a:gd name="connsiteX614" fmla="*/ 1984242 w 7467600"/>
              <a:gd name="connsiteY614" fmla="*/ 2430829 h 6858000"/>
              <a:gd name="connsiteX615" fmla="*/ 2014023 w 7467600"/>
              <a:gd name="connsiteY615" fmla="*/ 2450995 h 6858000"/>
              <a:gd name="connsiteX616" fmla="*/ 1747337 w 7467600"/>
              <a:gd name="connsiteY616" fmla="*/ 1855264 h 6858000"/>
              <a:gd name="connsiteX617" fmla="*/ 1533749 w 7467600"/>
              <a:gd name="connsiteY617" fmla="*/ 1478656 h 6858000"/>
              <a:gd name="connsiteX618" fmla="*/ 1431890 w 7467600"/>
              <a:gd name="connsiteY618" fmla="*/ 1306475 h 6858000"/>
              <a:gd name="connsiteX619" fmla="*/ 5052692 w 7467600"/>
              <a:gd name="connsiteY619" fmla="*/ 1292994 h 6858000"/>
              <a:gd name="connsiteX620" fmla="*/ 5200661 w 7467600"/>
              <a:gd name="connsiteY620" fmla="*/ 1635186 h 6858000"/>
              <a:gd name="connsiteX621" fmla="*/ 5297138 w 7467600"/>
              <a:gd name="connsiteY621" fmla="*/ 1906351 h 6858000"/>
              <a:gd name="connsiteX622" fmla="*/ 5052692 w 7467600"/>
              <a:gd name="connsiteY622" fmla="*/ 1292994 h 6858000"/>
              <a:gd name="connsiteX623" fmla="*/ 5009948 w 7467600"/>
              <a:gd name="connsiteY623" fmla="*/ 1273619 h 6858000"/>
              <a:gd name="connsiteX624" fmla="*/ 5121777 w 7467600"/>
              <a:gd name="connsiteY624" fmla="*/ 1654213 h 6858000"/>
              <a:gd name="connsiteX625" fmla="*/ 5293545 w 7467600"/>
              <a:gd name="connsiteY625" fmla="*/ 2072247 h 6858000"/>
              <a:gd name="connsiteX626" fmla="*/ 5294042 w 7467600"/>
              <a:gd name="connsiteY626" fmla="*/ 2065019 h 6858000"/>
              <a:gd name="connsiteX627" fmla="*/ 5171936 w 7467600"/>
              <a:gd name="connsiteY627" fmla="*/ 1647613 h 6858000"/>
              <a:gd name="connsiteX628" fmla="*/ 5009948 w 7467600"/>
              <a:gd name="connsiteY628" fmla="*/ 1273619 h 6858000"/>
              <a:gd name="connsiteX629" fmla="*/ 655236 w 7467600"/>
              <a:gd name="connsiteY629" fmla="*/ 1268632 h 6858000"/>
              <a:gd name="connsiteX630" fmla="*/ 839521 w 7467600"/>
              <a:gd name="connsiteY630" fmla="*/ 1685315 h 6858000"/>
              <a:gd name="connsiteX631" fmla="*/ 1109416 w 7467600"/>
              <a:gd name="connsiteY631" fmla="*/ 2061663 h 6858000"/>
              <a:gd name="connsiteX632" fmla="*/ 1298300 w 7467600"/>
              <a:gd name="connsiteY632" fmla="*/ 2247742 h 6858000"/>
              <a:gd name="connsiteX633" fmla="*/ 1125871 w 7467600"/>
              <a:gd name="connsiteY633" fmla="*/ 1989513 h 6858000"/>
              <a:gd name="connsiteX634" fmla="*/ 981574 w 7467600"/>
              <a:gd name="connsiteY634" fmla="*/ 1783157 h 6858000"/>
              <a:gd name="connsiteX635" fmla="*/ 922198 w 7467600"/>
              <a:gd name="connsiteY635" fmla="*/ 1677437 h 6858000"/>
              <a:gd name="connsiteX636" fmla="*/ 869293 w 7467600"/>
              <a:gd name="connsiteY636" fmla="*/ 1583214 h 6858000"/>
              <a:gd name="connsiteX637" fmla="*/ 751431 w 7467600"/>
              <a:gd name="connsiteY637" fmla="*/ 1405731 h 6858000"/>
              <a:gd name="connsiteX638" fmla="*/ 655236 w 7467600"/>
              <a:gd name="connsiteY638" fmla="*/ 1268632 h 6858000"/>
              <a:gd name="connsiteX639" fmla="*/ 6516292 w 7467600"/>
              <a:gd name="connsiteY639" fmla="*/ 1263064 h 6858000"/>
              <a:gd name="connsiteX640" fmla="*/ 5736320 w 7467600"/>
              <a:gd name="connsiteY640" fmla="*/ 1501803 h 6858000"/>
              <a:gd name="connsiteX641" fmla="*/ 6516292 w 7467600"/>
              <a:gd name="connsiteY641" fmla="*/ 1263064 h 6858000"/>
              <a:gd name="connsiteX642" fmla="*/ 291466 w 7467600"/>
              <a:gd name="connsiteY642" fmla="*/ 1250369 h 6858000"/>
              <a:gd name="connsiteX643" fmla="*/ 323180 w 7467600"/>
              <a:gd name="connsiteY643" fmla="*/ 1435283 h 6858000"/>
              <a:gd name="connsiteX644" fmla="*/ 349381 w 7467600"/>
              <a:gd name="connsiteY644" fmla="*/ 1875041 h 6858000"/>
              <a:gd name="connsiteX645" fmla="*/ 374363 w 7467600"/>
              <a:gd name="connsiteY645" fmla="*/ 1506494 h 6858000"/>
              <a:gd name="connsiteX646" fmla="*/ 302168 w 7467600"/>
              <a:gd name="connsiteY646" fmla="*/ 1274495 h 6858000"/>
              <a:gd name="connsiteX647" fmla="*/ 291466 w 7467600"/>
              <a:gd name="connsiteY647" fmla="*/ 1250369 h 6858000"/>
              <a:gd name="connsiteX648" fmla="*/ 678222 w 7467600"/>
              <a:gd name="connsiteY648" fmla="*/ 1248670 h 6858000"/>
              <a:gd name="connsiteX649" fmla="*/ 775536 w 7467600"/>
              <a:gd name="connsiteY649" fmla="*/ 1388015 h 6858000"/>
              <a:gd name="connsiteX650" fmla="*/ 894529 w 7467600"/>
              <a:gd name="connsiteY650" fmla="*/ 1567739 h 6858000"/>
              <a:gd name="connsiteX651" fmla="*/ 948000 w 7467600"/>
              <a:gd name="connsiteY651" fmla="*/ 1663088 h 6858000"/>
              <a:gd name="connsiteX652" fmla="*/ 1006812 w 7467600"/>
              <a:gd name="connsiteY652" fmla="*/ 1767683 h 6858000"/>
              <a:gd name="connsiteX653" fmla="*/ 1149133 w 7467600"/>
              <a:gd name="connsiteY653" fmla="*/ 1971513 h 6858000"/>
              <a:gd name="connsiteX654" fmla="*/ 1333952 w 7467600"/>
              <a:gd name="connsiteY654" fmla="*/ 2251620 h 6858000"/>
              <a:gd name="connsiteX655" fmla="*/ 1337329 w 7467600"/>
              <a:gd name="connsiteY655" fmla="*/ 2258350 h 6858000"/>
              <a:gd name="connsiteX656" fmla="*/ 1014726 w 7467600"/>
              <a:gd name="connsiteY656" fmla="*/ 1615556 h 6858000"/>
              <a:gd name="connsiteX657" fmla="*/ 678222 w 7467600"/>
              <a:gd name="connsiteY657" fmla="*/ 1248670 h 6858000"/>
              <a:gd name="connsiteX658" fmla="*/ 6691602 w 7467600"/>
              <a:gd name="connsiteY658" fmla="*/ 1140573 h 6858000"/>
              <a:gd name="connsiteX659" fmla="*/ 6571100 w 7467600"/>
              <a:gd name="connsiteY659" fmla="*/ 1183662 h 6858000"/>
              <a:gd name="connsiteX660" fmla="*/ 6241687 w 7467600"/>
              <a:gd name="connsiteY660" fmla="*/ 1257600 h 6858000"/>
              <a:gd name="connsiteX661" fmla="*/ 5693009 w 7467600"/>
              <a:gd name="connsiteY661" fmla="*/ 1478256 h 6858000"/>
              <a:gd name="connsiteX662" fmla="*/ 6548420 w 7467600"/>
              <a:gd name="connsiteY662" fmla="*/ 1214599 h 6858000"/>
              <a:gd name="connsiteX663" fmla="*/ 6605473 w 7467600"/>
              <a:gd name="connsiteY663" fmla="*/ 1184686 h 6858000"/>
              <a:gd name="connsiteX664" fmla="*/ 6691602 w 7467600"/>
              <a:gd name="connsiteY664" fmla="*/ 1140573 h 6858000"/>
              <a:gd name="connsiteX665" fmla="*/ 4002475 w 7467600"/>
              <a:gd name="connsiteY665" fmla="*/ 1037802 h 6858000"/>
              <a:gd name="connsiteX666" fmla="*/ 4000324 w 7467600"/>
              <a:gd name="connsiteY666" fmla="*/ 1039362 h 6858000"/>
              <a:gd name="connsiteX667" fmla="*/ 4002862 w 7467600"/>
              <a:gd name="connsiteY667" fmla="*/ 1042866 h 6858000"/>
              <a:gd name="connsiteX668" fmla="*/ 4002475 w 7467600"/>
              <a:gd name="connsiteY668" fmla="*/ 1037802 h 6858000"/>
              <a:gd name="connsiteX669" fmla="*/ 506322 w 7467600"/>
              <a:gd name="connsiteY669" fmla="*/ 1020997 h 6858000"/>
              <a:gd name="connsiteX670" fmla="*/ 533068 w 7467600"/>
              <a:gd name="connsiteY670" fmla="*/ 1029409 h 6858000"/>
              <a:gd name="connsiteX671" fmla="*/ 1232525 w 7467600"/>
              <a:gd name="connsiteY671" fmla="*/ 1804675 h 6858000"/>
              <a:gd name="connsiteX672" fmla="*/ 1388858 w 7467600"/>
              <a:gd name="connsiteY672" fmla="*/ 2368011 h 6858000"/>
              <a:gd name="connsiteX673" fmla="*/ 1384098 w 7467600"/>
              <a:gd name="connsiteY673" fmla="*/ 2378125 h 6858000"/>
              <a:gd name="connsiteX674" fmla="*/ 1425393 w 7467600"/>
              <a:gd name="connsiteY674" fmla="*/ 2589124 h 6858000"/>
              <a:gd name="connsiteX675" fmla="*/ 1424001 w 7467600"/>
              <a:gd name="connsiteY675" fmla="*/ 2597541 h 6858000"/>
              <a:gd name="connsiteX676" fmla="*/ 2152729 w 7467600"/>
              <a:gd name="connsiteY676" fmla="*/ 2864487 h 6858000"/>
              <a:gd name="connsiteX677" fmla="*/ 2020609 w 7467600"/>
              <a:gd name="connsiteY677" fmla="*/ 2539671 h 6858000"/>
              <a:gd name="connsiteX678" fmla="*/ 2018920 w 7467600"/>
              <a:gd name="connsiteY678" fmla="*/ 2536309 h 6858000"/>
              <a:gd name="connsiteX679" fmla="*/ 1342441 w 7467600"/>
              <a:gd name="connsiteY679" fmla="*/ 1173017 h 6858000"/>
              <a:gd name="connsiteX680" fmla="*/ 1367925 w 7467600"/>
              <a:gd name="connsiteY680" fmla="*/ 1135648 h 6858000"/>
              <a:gd name="connsiteX681" fmla="*/ 1771401 w 7467600"/>
              <a:gd name="connsiteY681" fmla="*/ 1806673 h 6858000"/>
              <a:gd name="connsiteX682" fmla="*/ 1972385 w 7467600"/>
              <a:gd name="connsiteY682" fmla="*/ 2198735 h 6858000"/>
              <a:gd name="connsiteX683" fmla="*/ 2040892 w 7467600"/>
              <a:gd name="connsiteY683" fmla="*/ 2405205 h 6858000"/>
              <a:gd name="connsiteX684" fmla="*/ 2131689 w 7467600"/>
              <a:gd name="connsiteY684" fmla="*/ 1936926 h 6858000"/>
              <a:gd name="connsiteX685" fmla="*/ 2454820 w 7467600"/>
              <a:gd name="connsiteY685" fmla="*/ 1248808 h 6858000"/>
              <a:gd name="connsiteX686" fmla="*/ 2492512 w 7467600"/>
              <a:gd name="connsiteY686" fmla="*/ 1302920 h 6858000"/>
              <a:gd name="connsiteX687" fmla="*/ 2081216 w 7467600"/>
              <a:gd name="connsiteY687" fmla="*/ 2527513 h 6858000"/>
              <a:gd name="connsiteX688" fmla="*/ 2081211 w 7467600"/>
              <a:gd name="connsiteY688" fmla="*/ 2528916 h 6858000"/>
              <a:gd name="connsiteX689" fmla="*/ 2199067 w 7467600"/>
              <a:gd name="connsiteY689" fmla="*/ 2884061 h 6858000"/>
              <a:gd name="connsiteX690" fmla="*/ 3192586 w 7467600"/>
              <a:gd name="connsiteY690" fmla="*/ 3411496 h 6858000"/>
              <a:gd name="connsiteX691" fmla="*/ 3182620 w 7467600"/>
              <a:gd name="connsiteY691" fmla="*/ 3483279 h 6858000"/>
              <a:gd name="connsiteX692" fmla="*/ 2435119 w 7467600"/>
              <a:gd name="connsiteY692" fmla="*/ 3080173 h 6858000"/>
              <a:gd name="connsiteX693" fmla="*/ 2410152 w 7467600"/>
              <a:gd name="connsiteY693" fmla="*/ 3063751 h 6858000"/>
              <a:gd name="connsiteX694" fmla="*/ 2408099 w 7467600"/>
              <a:gd name="connsiteY694" fmla="*/ 3064403 h 6858000"/>
              <a:gd name="connsiteX695" fmla="*/ 2407218 w 7467600"/>
              <a:gd name="connsiteY695" fmla="*/ 3070324 h 6858000"/>
              <a:gd name="connsiteX696" fmla="*/ 2380138 w 7467600"/>
              <a:gd name="connsiteY696" fmla="*/ 3099341 h 6858000"/>
              <a:gd name="connsiteX697" fmla="*/ 1765923 w 7467600"/>
              <a:gd name="connsiteY697" fmla="*/ 3581043 h 6858000"/>
              <a:gd name="connsiteX698" fmla="*/ 1702258 w 7467600"/>
              <a:gd name="connsiteY698" fmla="*/ 3612286 h 6858000"/>
              <a:gd name="connsiteX699" fmla="*/ 1538370 w 7467600"/>
              <a:gd name="connsiteY699" fmla="*/ 3811804 h 6858000"/>
              <a:gd name="connsiteX700" fmla="*/ 542867 w 7467600"/>
              <a:gd name="connsiteY700" fmla="*/ 4944092 h 6858000"/>
              <a:gd name="connsiteX701" fmla="*/ 515800 w 7467600"/>
              <a:gd name="connsiteY701" fmla="*/ 4862180 h 6858000"/>
              <a:gd name="connsiteX702" fmla="*/ 909145 w 7467600"/>
              <a:gd name="connsiteY702" fmla="*/ 4199225 h 6858000"/>
              <a:gd name="connsiteX703" fmla="*/ 1214067 w 7467600"/>
              <a:gd name="connsiteY703" fmla="*/ 3908561 h 6858000"/>
              <a:gd name="connsiteX704" fmla="*/ 640967 w 7467600"/>
              <a:gd name="connsiteY704" fmla="*/ 4105601 h 6858000"/>
              <a:gd name="connsiteX705" fmla="*/ 112563 w 7467600"/>
              <a:gd name="connsiteY705" fmla="*/ 4396952 h 6858000"/>
              <a:gd name="connsiteX706" fmla="*/ 0 w 7467600"/>
              <a:gd name="connsiteY706" fmla="*/ 4466006 h 6858000"/>
              <a:gd name="connsiteX707" fmla="*/ 0 w 7467600"/>
              <a:gd name="connsiteY707" fmla="*/ 4233763 h 6858000"/>
              <a:gd name="connsiteX708" fmla="*/ 36881 w 7467600"/>
              <a:gd name="connsiteY708" fmla="*/ 4200118 h 6858000"/>
              <a:gd name="connsiteX709" fmla="*/ 910534 w 7467600"/>
              <a:gd name="connsiteY709" fmla="*/ 3629753 h 6858000"/>
              <a:gd name="connsiteX710" fmla="*/ 1578717 w 7467600"/>
              <a:gd name="connsiteY710" fmla="*/ 3575982 h 6858000"/>
              <a:gd name="connsiteX711" fmla="*/ 2338780 w 7467600"/>
              <a:gd name="connsiteY711" fmla="*/ 3033725 h 6858000"/>
              <a:gd name="connsiteX712" fmla="*/ 1807991 w 7467600"/>
              <a:gd name="connsiteY712" fmla="*/ 2807184 h 6858000"/>
              <a:gd name="connsiteX713" fmla="*/ 1416358 w 7467600"/>
              <a:gd name="connsiteY713" fmla="*/ 3112571 h 6858000"/>
              <a:gd name="connsiteX714" fmla="*/ 939066 w 7467600"/>
              <a:gd name="connsiteY714" fmla="*/ 3378798 h 6858000"/>
              <a:gd name="connsiteX715" fmla="*/ 115099 w 7467600"/>
              <a:gd name="connsiteY715" fmla="*/ 3607650 h 6858000"/>
              <a:gd name="connsiteX716" fmla="*/ 97284 w 7467600"/>
              <a:gd name="connsiteY716" fmla="*/ 3520393 h 6858000"/>
              <a:gd name="connsiteX717" fmla="*/ 922050 w 7467600"/>
              <a:gd name="connsiteY717" fmla="*/ 3074867 h 6858000"/>
              <a:gd name="connsiteX718" fmla="*/ 1405265 w 7467600"/>
              <a:gd name="connsiteY718" fmla="*/ 3016319 h 6858000"/>
              <a:gd name="connsiteX719" fmla="*/ 1407512 w 7467600"/>
              <a:gd name="connsiteY719" fmla="*/ 3018001 h 6858000"/>
              <a:gd name="connsiteX720" fmla="*/ 1726266 w 7467600"/>
              <a:gd name="connsiteY720" fmla="*/ 2777274 h 6858000"/>
              <a:gd name="connsiteX721" fmla="*/ 625390 w 7467600"/>
              <a:gd name="connsiteY721" fmla="*/ 2514541 h 6858000"/>
              <a:gd name="connsiteX722" fmla="*/ 619799 w 7467600"/>
              <a:gd name="connsiteY722" fmla="*/ 2527180 h 6858000"/>
              <a:gd name="connsiteX723" fmla="*/ 310030 w 7467600"/>
              <a:gd name="connsiteY723" fmla="*/ 2771818 h 6858000"/>
              <a:gd name="connsiteX724" fmla="*/ 173877 w 7467600"/>
              <a:gd name="connsiteY724" fmla="*/ 2937056 h 6858000"/>
              <a:gd name="connsiteX725" fmla="*/ 77889 w 7467600"/>
              <a:gd name="connsiteY725" fmla="*/ 3138440 h 6858000"/>
              <a:gd name="connsiteX726" fmla="*/ 0 w 7467600"/>
              <a:gd name="connsiteY726" fmla="*/ 3271395 h 6858000"/>
              <a:gd name="connsiteX727" fmla="*/ 0 w 7467600"/>
              <a:gd name="connsiteY727" fmla="*/ 3153002 h 6858000"/>
              <a:gd name="connsiteX728" fmla="*/ 2386 w 7467600"/>
              <a:gd name="connsiteY728" fmla="*/ 3149203 h 6858000"/>
              <a:gd name="connsiteX729" fmla="*/ 89753 w 7467600"/>
              <a:gd name="connsiteY729" fmla="*/ 2987702 h 6858000"/>
              <a:gd name="connsiteX730" fmla="*/ 76869 w 7467600"/>
              <a:gd name="connsiteY730" fmla="*/ 3005404 h 6858000"/>
              <a:gd name="connsiteX731" fmla="*/ 32049 w 7467600"/>
              <a:gd name="connsiteY731" fmla="*/ 3065814 h 6858000"/>
              <a:gd name="connsiteX732" fmla="*/ 0 w 7467600"/>
              <a:gd name="connsiteY732" fmla="*/ 3108744 h 6858000"/>
              <a:gd name="connsiteX733" fmla="*/ 0 w 7467600"/>
              <a:gd name="connsiteY733" fmla="*/ 3058059 h 6858000"/>
              <a:gd name="connsiteX734" fmla="*/ 7610 w 7467600"/>
              <a:gd name="connsiteY734" fmla="*/ 3047889 h 6858000"/>
              <a:gd name="connsiteX735" fmla="*/ 52419 w 7467600"/>
              <a:gd name="connsiteY735" fmla="*/ 2987479 h 6858000"/>
              <a:gd name="connsiteX736" fmla="*/ 59142 w 7467600"/>
              <a:gd name="connsiteY736" fmla="*/ 2978488 h 6858000"/>
              <a:gd name="connsiteX737" fmla="*/ 0 w 7467600"/>
              <a:gd name="connsiteY737" fmla="*/ 3015334 h 6858000"/>
              <a:gd name="connsiteX738" fmla="*/ 0 w 7467600"/>
              <a:gd name="connsiteY738" fmla="*/ 2914286 h 6858000"/>
              <a:gd name="connsiteX739" fmla="*/ 36383 w 7467600"/>
              <a:gd name="connsiteY739" fmla="*/ 2901128 h 6858000"/>
              <a:gd name="connsiteX740" fmla="*/ 156329 w 7467600"/>
              <a:gd name="connsiteY740" fmla="*/ 2840533 h 6858000"/>
              <a:gd name="connsiteX741" fmla="*/ 358355 w 7467600"/>
              <a:gd name="connsiteY741" fmla="*/ 2620471 h 6858000"/>
              <a:gd name="connsiteX742" fmla="*/ 510577 w 7467600"/>
              <a:gd name="connsiteY742" fmla="*/ 2501244 h 6858000"/>
              <a:gd name="connsiteX743" fmla="*/ 211967 w 7467600"/>
              <a:gd name="connsiteY743" fmla="*/ 2479171 h 6858000"/>
              <a:gd name="connsiteX744" fmla="*/ 0 w 7467600"/>
              <a:gd name="connsiteY744" fmla="*/ 2476398 h 6858000"/>
              <a:gd name="connsiteX745" fmla="*/ 0 w 7467600"/>
              <a:gd name="connsiteY745" fmla="*/ 2389189 h 6858000"/>
              <a:gd name="connsiteX746" fmla="*/ 103062 w 7467600"/>
              <a:gd name="connsiteY746" fmla="*/ 2389518 h 6858000"/>
              <a:gd name="connsiteX747" fmla="*/ 510734 w 7467600"/>
              <a:gd name="connsiteY747" fmla="*/ 2416201 h 6858000"/>
              <a:gd name="connsiteX748" fmla="*/ 279257 w 7467600"/>
              <a:gd name="connsiteY748" fmla="*/ 2092102 h 6858000"/>
              <a:gd name="connsiteX749" fmla="*/ 65265 w 7467600"/>
              <a:gd name="connsiteY749" fmla="*/ 2006049 h 6858000"/>
              <a:gd name="connsiteX750" fmla="*/ 0 w 7467600"/>
              <a:gd name="connsiteY750" fmla="*/ 1982532 h 6858000"/>
              <a:gd name="connsiteX751" fmla="*/ 0 w 7467600"/>
              <a:gd name="connsiteY751" fmla="*/ 1912789 h 6858000"/>
              <a:gd name="connsiteX752" fmla="*/ 97460 w 7467600"/>
              <a:gd name="connsiteY752" fmla="*/ 1953725 h 6858000"/>
              <a:gd name="connsiteX753" fmla="*/ 221272 w 7467600"/>
              <a:gd name="connsiteY753" fmla="*/ 1980766 h 6858000"/>
              <a:gd name="connsiteX754" fmla="*/ 116765 w 7467600"/>
              <a:gd name="connsiteY754" fmla="*/ 1911033 h 6858000"/>
              <a:gd name="connsiteX755" fmla="*/ 16405 w 7467600"/>
              <a:gd name="connsiteY755" fmla="*/ 1803412 h 6858000"/>
              <a:gd name="connsiteX756" fmla="*/ 0 w 7467600"/>
              <a:gd name="connsiteY756" fmla="*/ 1784777 h 6858000"/>
              <a:gd name="connsiteX757" fmla="*/ 0 w 7467600"/>
              <a:gd name="connsiteY757" fmla="*/ 1740082 h 6858000"/>
              <a:gd name="connsiteX758" fmla="*/ 39394 w 7467600"/>
              <a:gd name="connsiteY758" fmla="*/ 1784856 h 6858000"/>
              <a:gd name="connsiteX759" fmla="*/ 135813 w 7467600"/>
              <a:gd name="connsiteY759" fmla="*/ 1888838 h 6858000"/>
              <a:gd name="connsiteX760" fmla="*/ 242575 w 7467600"/>
              <a:gd name="connsiteY760" fmla="*/ 1958841 h 6858000"/>
              <a:gd name="connsiteX761" fmla="*/ 82197 w 7467600"/>
              <a:gd name="connsiteY761" fmla="*/ 1754826 h 6858000"/>
              <a:gd name="connsiteX762" fmla="*/ 0 w 7467600"/>
              <a:gd name="connsiteY762" fmla="*/ 1679650 h 6858000"/>
              <a:gd name="connsiteX763" fmla="*/ 0 w 7467600"/>
              <a:gd name="connsiteY763" fmla="*/ 1602463 h 6858000"/>
              <a:gd name="connsiteX764" fmla="*/ 84689 w 7467600"/>
              <a:gd name="connsiteY764" fmla="*/ 1677442 h 6858000"/>
              <a:gd name="connsiteX765" fmla="*/ 298437 w 7467600"/>
              <a:gd name="connsiteY765" fmla="*/ 1968019 h 6858000"/>
              <a:gd name="connsiteX766" fmla="*/ 227269 w 7467600"/>
              <a:gd name="connsiteY766" fmla="*/ 1114064 h 6858000"/>
              <a:gd name="connsiteX767" fmla="*/ 248003 w 7467600"/>
              <a:gd name="connsiteY767" fmla="*/ 1089613 h 6858000"/>
              <a:gd name="connsiteX768" fmla="*/ 427020 w 7467600"/>
              <a:gd name="connsiteY768" fmla="*/ 1619803 h 6858000"/>
              <a:gd name="connsiteX769" fmla="*/ 340345 w 7467600"/>
              <a:gd name="connsiteY769" fmla="*/ 2027739 h 6858000"/>
              <a:gd name="connsiteX770" fmla="*/ 360865 w 7467600"/>
              <a:gd name="connsiteY770" fmla="*/ 2044827 h 6858000"/>
              <a:gd name="connsiteX771" fmla="*/ 560414 w 7467600"/>
              <a:gd name="connsiteY771" fmla="*/ 2421457 h 6858000"/>
              <a:gd name="connsiteX772" fmla="*/ 1359703 w 7467600"/>
              <a:gd name="connsiteY772" fmla="*/ 2578554 h 6858000"/>
              <a:gd name="connsiteX773" fmla="*/ 1359422 w 7467600"/>
              <a:gd name="connsiteY773" fmla="*/ 2577994 h 6858000"/>
              <a:gd name="connsiteX774" fmla="*/ 828701 w 7467600"/>
              <a:gd name="connsiteY774" fmla="*/ 1839520 h 6858000"/>
              <a:gd name="connsiteX775" fmla="*/ 494427 w 7467600"/>
              <a:gd name="connsiteY775" fmla="*/ 1092333 h 6858000"/>
              <a:gd name="connsiteX776" fmla="*/ 506322 w 7467600"/>
              <a:gd name="connsiteY776" fmla="*/ 1020997 h 6858000"/>
              <a:gd name="connsiteX777" fmla="*/ 4570198 w 7467600"/>
              <a:gd name="connsiteY777" fmla="*/ 978081 h 6858000"/>
              <a:gd name="connsiteX778" fmla="*/ 4523691 w 7467600"/>
              <a:gd name="connsiteY778" fmla="*/ 1127776 h 6858000"/>
              <a:gd name="connsiteX779" fmla="*/ 4509875 w 7467600"/>
              <a:gd name="connsiteY779" fmla="*/ 1167552 h 6858000"/>
              <a:gd name="connsiteX780" fmla="*/ 4478168 w 7467600"/>
              <a:gd name="connsiteY780" fmla="*/ 1260735 h 6858000"/>
              <a:gd name="connsiteX781" fmla="*/ 4409309 w 7467600"/>
              <a:gd name="connsiteY781" fmla="*/ 1666996 h 6858000"/>
              <a:gd name="connsiteX782" fmla="*/ 4370031 w 7467600"/>
              <a:gd name="connsiteY782" fmla="*/ 1955666 h 6858000"/>
              <a:gd name="connsiteX783" fmla="*/ 4570198 w 7467600"/>
              <a:gd name="connsiteY783" fmla="*/ 978081 h 6858000"/>
              <a:gd name="connsiteX784" fmla="*/ 4557898 w 7467600"/>
              <a:gd name="connsiteY784" fmla="*/ 900011 h 6858000"/>
              <a:gd name="connsiteX785" fmla="*/ 4344840 w 7467600"/>
              <a:gd name="connsiteY785" fmla="*/ 1922038 h 6858000"/>
              <a:gd name="connsiteX786" fmla="*/ 4378710 w 7467600"/>
              <a:gd name="connsiteY786" fmla="*/ 1665516 h 6858000"/>
              <a:gd name="connsiteX787" fmla="*/ 4448798 w 7467600"/>
              <a:gd name="connsiteY787" fmla="*/ 1253024 h 6858000"/>
              <a:gd name="connsiteX788" fmla="*/ 4480315 w 7467600"/>
              <a:gd name="connsiteY788" fmla="*/ 1158454 h 6858000"/>
              <a:gd name="connsiteX789" fmla="*/ 4494133 w 7467600"/>
              <a:gd name="connsiteY789" fmla="*/ 1118676 h 6858000"/>
              <a:gd name="connsiteX790" fmla="*/ 4557898 w 7467600"/>
              <a:gd name="connsiteY790" fmla="*/ 900011 h 6858000"/>
              <a:gd name="connsiteX791" fmla="*/ 5870151 w 7467600"/>
              <a:gd name="connsiteY791" fmla="*/ 898890 h 6858000"/>
              <a:gd name="connsiteX792" fmla="*/ 5861335 w 7467600"/>
              <a:gd name="connsiteY792" fmla="*/ 899177 h 6858000"/>
              <a:gd name="connsiteX793" fmla="*/ 5843702 w 7467600"/>
              <a:gd name="connsiteY793" fmla="*/ 899748 h 6858000"/>
              <a:gd name="connsiteX794" fmla="*/ 5651107 w 7467600"/>
              <a:gd name="connsiteY794" fmla="*/ 920306 h 6858000"/>
              <a:gd name="connsiteX795" fmla="*/ 5459407 w 7467600"/>
              <a:gd name="connsiteY795" fmla="*/ 940975 h 6858000"/>
              <a:gd name="connsiteX796" fmla="*/ 5374846 w 7467600"/>
              <a:gd name="connsiteY796" fmla="*/ 941988 h 6858000"/>
              <a:gd name="connsiteX797" fmla="*/ 5256105 w 7467600"/>
              <a:gd name="connsiteY797" fmla="*/ 945632 h 6858000"/>
              <a:gd name="connsiteX798" fmla="*/ 5107071 w 7467600"/>
              <a:gd name="connsiteY798" fmla="*/ 969720 h 6858000"/>
              <a:gd name="connsiteX799" fmla="*/ 4998681 w 7467600"/>
              <a:gd name="connsiteY799" fmla="*/ 988771 h 6858000"/>
              <a:gd name="connsiteX800" fmla="*/ 5870151 w 7467600"/>
              <a:gd name="connsiteY800" fmla="*/ 898890 h 6858000"/>
              <a:gd name="connsiteX801" fmla="*/ 5504425 w 7467600"/>
              <a:gd name="connsiteY801" fmla="*/ 848067 h 6858000"/>
              <a:gd name="connsiteX802" fmla="*/ 4968849 w 7467600"/>
              <a:gd name="connsiteY802" fmla="*/ 962318 h 6858000"/>
              <a:gd name="connsiteX803" fmla="*/ 5104039 w 7467600"/>
              <a:gd name="connsiteY803" fmla="*/ 940634 h 6858000"/>
              <a:gd name="connsiteX804" fmla="*/ 5256311 w 7467600"/>
              <a:gd name="connsiteY804" fmla="*/ 916490 h 6858000"/>
              <a:gd name="connsiteX805" fmla="*/ 5377381 w 7467600"/>
              <a:gd name="connsiteY805" fmla="*/ 912671 h 6858000"/>
              <a:gd name="connsiteX806" fmla="*/ 5460148 w 7467600"/>
              <a:gd name="connsiteY806" fmla="*/ 911442 h 6858000"/>
              <a:gd name="connsiteX807" fmla="*/ 5648971 w 7467600"/>
              <a:gd name="connsiteY807" fmla="*/ 891331 h 6858000"/>
              <a:gd name="connsiteX808" fmla="*/ 5844807 w 7467600"/>
              <a:gd name="connsiteY808" fmla="*/ 870718 h 6858000"/>
              <a:gd name="connsiteX809" fmla="*/ 5862975 w 7467600"/>
              <a:gd name="connsiteY809" fmla="*/ 869756 h 6858000"/>
              <a:gd name="connsiteX810" fmla="*/ 5920887 w 7467600"/>
              <a:gd name="connsiteY810" fmla="*/ 865929 h 6858000"/>
              <a:gd name="connsiteX811" fmla="*/ 5504425 w 7467600"/>
              <a:gd name="connsiteY811" fmla="*/ 848067 h 6858000"/>
              <a:gd name="connsiteX812" fmla="*/ 3607114 w 7467600"/>
              <a:gd name="connsiteY812" fmla="*/ 467441 h 6858000"/>
              <a:gd name="connsiteX813" fmla="*/ 3296242 w 7467600"/>
              <a:gd name="connsiteY813" fmla="*/ 807991 h 6858000"/>
              <a:gd name="connsiteX814" fmla="*/ 3174674 w 7467600"/>
              <a:gd name="connsiteY814" fmla="*/ 919759 h 6858000"/>
              <a:gd name="connsiteX815" fmla="*/ 3042978 w 7467600"/>
              <a:gd name="connsiteY815" fmla="*/ 1054894 h 6858000"/>
              <a:gd name="connsiteX816" fmla="*/ 2968914 w 7467600"/>
              <a:gd name="connsiteY816" fmla="*/ 1133756 h 6858000"/>
              <a:gd name="connsiteX817" fmla="*/ 3103823 w 7467600"/>
              <a:gd name="connsiteY817" fmla="*/ 1026814 h 6858000"/>
              <a:gd name="connsiteX818" fmla="*/ 3607114 w 7467600"/>
              <a:gd name="connsiteY818" fmla="*/ 467441 h 6858000"/>
              <a:gd name="connsiteX819" fmla="*/ 3744487 w 7467600"/>
              <a:gd name="connsiteY819" fmla="*/ 383136 h 6858000"/>
              <a:gd name="connsiteX820" fmla="*/ 3970213 w 7467600"/>
              <a:gd name="connsiteY820" fmla="*/ 995559 h 6858000"/>
              <a:gd name="connsiteX821" fmla="*/ 3744487 w 7467600"/>
              <a:gd name="connsiteY821" fmla="*/ 383136 h 6858000"/>
              <a:gd name="connsiteX822" fmla="*/ 3624562 w 7467600"/>
              <a:gd name="connsiteY822" fmla="*/ 367041 h 6858000"/>
              <a:gd name="connsiteX823" fmla="*/ 3489712 w 7467600"/>
              <a:gd name="connsiteY823" fmla="*/ 485386 h 6858000"/>
              <a:gd name="connsiteX824" fmla="*/ 3182994 w 7467600"/>
              <a:gd name="connsiteY824" fmla="*/ 828265 h 6858000"/>
              <a:gd name="connsiteX825" fmla="*/ 2892114 w 7467600"/>
              <a:gd name="connsiteY825" fmla="*/ 1172635 h 6858000"/>
              <a:gd name="connsiteX826" fmla="*/ 3021459 w 7467600"/>
              <a:gd name="connsiteY826" fmla="*/ 1035385 h 6858000"/>
              <a:gd name="connsiteX827" fmla="*/ 3153873 w 7467600"/>
              <a:gd name="connsiteY827" fmla="*/ 898971 h 6858000"/>
              <a:gd name="connsiteX828" fmla="*/ 3276511 w 7467600"/>
              <a:gd name="connsiteY828" fmla="*/ 786423 h 6858000"/>
              <a:gd name="connsiteX829" fmla="*/ 3584154 w 7467600"/>
              <a:gd name="connsiteY829" fmla="*/ 448218 h 6858000"/>
              <a:gd name="connsiteX830" fmla="*/ 3624562 w 7467600"/>
              <a:gd name="connsiteY830" fmla="*/ 367041 h 6858000"/>
              <a:gd name="connsiteX831" fmla="*/ 3766672 w 7467600"/>
              <a:gd name="connsiteY831" fmla="*/ 359429 h 6858000"/>
              <a:gd name="connsiteX832" fmla="*/ 3996338 w 7467600"/>
              <a:gd name="connsiteY832" fmla="*/ 968237 h 6858000"/>
              <a:gd name="connsiteX833" fmla="*/ 3766672 w 7467600"/>
              <a:gd name="connsiteY833" fmla="*/ 359429 h 6858000"/>
              <a:gd name="connsiteX834" fmla="*/ 5805386 w 7467600"/>
              <a:gd name="connsiteY834" fmla="*/ 239240 h 6858000"/>
              <a:gd name="connsiteX835" fmla="*/ 5736947 w 7467600"/>
              <a:gd name="connsiteY835" fmla="*/ 261367 h 6858000"/>
              <a:gd name="connsiteX836" fmla="*/ 5427012 w 7467600"/>
              <a:gd name="connsiteY836" fmla="*/ 311272 h 6858000"/>
              <a:gd name="connsiteX837" fmla="*/ 5147818 w 7467600"/>
              <a:gd name="connsiteY837" fmla="*/ 322112 h 6858000"/>
              <a:gd name="connsiteX838" fmla="*/ 5060854 w 7467600"/>
              <a:gd name="connsiteY838" fmla="*/ 311882 h 6858000"/>
              <a:gd name="connsiteX839" fmla="*/ 4945989 w 7467600"/>
              <a:gd name="connsiteY839" fmla="*/ 300516 h 6858000"/>
              <a:gd name="connsiteX840" fmla="*/ 5410479 w 7467600"/>
              <a:gd name="connsiteY840" fmla="*/ 348434 h 6858000"/>
              <a:gd name="connsiteX841" fmla="*/ 5805386 w 7467600"/>
              <a:gd name="connsiteY841" fmla="*/ 239240 h 6858000"/>
              <a:gd name="connsiteX842" fmla="*/ 5905192 w 7467600"/>
              <a:gd name="connsiteY842" fmla="*/ 163079 h 6858000"/>
              <a:gd name="connsiteX843" fmla="*/ 5865655 w 7467600"/>
              <a:gd name="connsiteY843" fmla="*/ 171901 h 6858000"/>
              <a:gd name="connsiteX844" fmla="*/ 5259740 w 7467600"/>
              <a:gd name="connsiteY844" fmla="*/ 257013 h 6858000"/>
              <a:gd name="connsiteX845" fmla="*/ 5208466 w 7467600"/>
              <a:gd name="connsiteY845" fmla="*/ 257550 h 6858000"/>
              <a:gd name="connsiteX846" fmla="*/ 4980204 w 7467600"/>
              <a:gd name="connsiteY846" fmla="*/ 271903 h 6858000"/>
              <a:gd name="connsiteX847" fmla="*/ 5068068 w 7467600"/>
              <a:gd name="connsiteY847" fmla="*/ 282244 h 6858000"/>
              <a:gd name="connsiteX848" fmla="*/ 5153231 w 7467600"/>
              <a:gd name="connsiteY848" fmla="*/ 292240 h 6858000"/>
              <a:gd name="connsiteX849" fmla="*/ 5426491 w 7467600"/>
              <a:gd name="connsiteY849" fmla="*/ 281128 h 6858000"/>
              <a:gd name="connsiteX850" fmla="*/ 5731212 w 7467600"/>
              <a:gd name="connsiteY850" fmla="*/ 231951 h 6858000"/>
              <a:gd name="connsiteX851" fmla="*/ 5905192 w 7467600"/>
              <a:gd name="connsiteY851" fmla="*/ 163079 h 6858000"/>
              <a:gd name="connsiteX852" fmla="*/ 5944437 w 7467600"/>
              <a:gd name="connsiteY852" fmla="*/ 113829 h 6858000"/>
              <a:gd name="connsiteX853" fmla="*/ 5825032 w 7467600"/>
              <a:gd name="connsiteY853" fmla="*/ 146405 h 6858000"/>
              <a:gd name="connsiteX854" fmla="*/ 4955599 w 7467600"/>
              <a:gd name="connsiteY854" fmla="*/ 247008 h 6858000"/>
              <a:gd name="connsiteX855" fmla="*/ 5210104 w 7467600"/>
              <a:gd name="connsiteY855" fmla="*/ 228123 h 6858000"/>
              <a:gd name="connsiteX856" fmla="*/ 5261015 w 7467600"/>
              <a:gd name="connsiteY856" fmla="*/ 227087 h 6858000"/>
              <a:gd name="connsiteX857" fmla="*/ 5861181 w 7467600"/>
              <a:gd name="connsiteY857" fmla="*/ 143093 h 6858000"/>
              <a:gd name="connsiteX858" fmla="*/ 5961252 w 7467600"/>
              <a:gd name="connsiteY858" fmla="*/ 114820 h 6858000"/>
              <a:gd name="connsiteX859" fmla="*/ 5944437 w 7467600"/>
              <a:gd name="connsiteY859" fmla="*/ 113829 h 6858000"/>
              <a:gd name="connsiteX860" fmla="*/ 3882765 w 7467600"/>
              <a:gd name="connsiteY860" fmla="*/ 0 h 6858000"/>
              <a:gd name="connsiteX861" fmla="*/ 3995099 w 7467600"/>
              <a:gd name="connsiteY861" fmla="*/ 0 h 6858000"/>
              <a:gd name="connsiteX862" fmla="*/ 4163818 w 7467600"/>
              <a:gd name="connsiteY862" fmla="*/ 234104 h 6858000"/>
              <a:gd name="connsiteX863" fmla="*/ 4172099 w 7467600"/>
              <a:gd name="connsiteY863" fmla="*/ 234207 h 6858000"/>
              <a:gd name="connsiteX864" fmla="*/ 4784282 w 7467600"/>
              <a:gd name="connsiteY864" fmla="*/ 276561 h 6858000"/>
              <a:gd name="connsiteX865" fmla="*/ 4801687 w 7467600"/>
              <a:gd name="connsiteY865" fmla="*/ 267764 h 6858000"/>
              <a:gd name="connsiteX866" fmla="*/ 6082788 w 7467600"/>
              <a:gd name="connsiteY866" fmla="*/ 64119 h 6858000"/>
              <a:gd name="connsiteX867" fmla="*/ 6099442 w 7467600"/>
              <a:gd name="connsiteY867" fmla="*/ 82568 h 6858000"/>
              <a:gd name="connsiteX868" fmla="*/ 4804137 w 7467600"/>
              <a:gd name="connsiteY868" fmla="*/ 320931 h 6858000"/>
              <a:gd name="connsiteX869" fmla="*/ 4227047 w 7467600"/>
              <a:gd name="connsiteY869" fmla="*/ 313415 h 6858000"/>
              <a:gd name="connsiteX870" fmla="*/ 4346041 w 7467600"/>
              <a:gd name="connsiteY870" fmla="*/ 456086 h 6858000"/>
              <a:gd name="connsiteX871" fmla="*/ 4870967 w 7467600"/>
              <a:gd name="connsiteY871" fmla="*/ 963061 h 6858000"/>
              <a:gd name="connsiteX872" fmla="*/ 4889647 w 7467600"/>
              <a:gd name="connsiteY872" fmla="*/ 957147 h 6858000"/>
              <a:gd name="connsiteX873" fmla="*/ 5422504 w 7467600"/>
              <a:gd name="connsiteY873" fmla="*/ 805191 h 6858000"/>
              <a:gd name="connsiteX874" fmla="*/ 6087656 w 7467600"/>
              <a:gd name="connsiteY874" fmla="*/ 826703 h 6858000"/>
              <a:gd name="connsiteX875" fmla="*/ 6058717 w 7467600"/>
              <a:gd name="connsiteY875" fmla="*/ 865992 h 6858000"/>
              <a:gd name="connsiteX876" fmla="*/ 4974153 w 7467600"/>
              <a:gd name="connsiteY876" fmla="*/ 1045456 h 6858000"/>
              <a:gd name="connsiteX877" fmla="*/ 5627835 w 7467600"/>
              <a:gd name="connsiteY877" fmla="*/ 1472077 h 6858000"/>
              <a:gd name="connsiteX878" fmla="*/ 5629817 w 7467600"/>
              <a:gd name="connsiteY878" fmla="*/ 1471412 h 6858000"/>
              <a:gd name="connsiteX879" fmla="*/ 5634124 w 7467600"/>
              <a:gd name="connsiteY879" fmla="*/ 1470572 h 6858000"/>
              <a:gd name="connsiteX880" fmla="*/ 5755832 w 7467600"/>
              <a:gd name="connsiteY880" fmla="*/ 1383886 h 6858000"/>
              <a:gd name="connsiteX881" fmla="*/ 6014186 w 7467600"/>
              <a:gd name="connsiteY881" fmla="*/ 1279799 h 6858000"/>
              <a:gd name="connsiteX882" fmla="*/ 6901619 w 7467600"/>
              <a:gd name="connsiteY882" fmla="*/ 1047874 h 6858000"/>
              <a:gd name="connsiteX883" fmla="*/ 6931566 w 7467600"/>
              <a:gd name="connsiteY883" fmla="*/ 1062034 h 6858000"/>
              <a:gd name="connsiteX884" fmla="*/ 5790982 w 7467600"/>
              <a:gd name="connsiteY884" fmla="*/ 1561380 h 6858000"/>
              <a:gd name="connsiteX885" fmla="*/ 6188971 w 7467600"/>
              <a:gd name="connsiteY885" fmla="*/ 1755168 h 6858000"/>
              <a:gd name="connsiteX886" fmla="*/ 6202446 w 7467600"/>
              <a:gd name="connsiteY886" fmla="*/ 1752268 h 6858000"/>
              <a:gd name="connsiteX887" fmla="*/ 7179560 w 7467600"/>
              <a:gd name="connsiteY887" fmla="*/ 1467551 h 6858000"/>
              <a:gd name="connsiteX888" fmla="*/ 7158730 w 7467600"/>
              <a:gd name="connsiteY888" fmla="*/ 1507835 h 6858000"/>
              <a:gd name="connsiteX889" fmla="*/ 6326959 w 7467600"/>
              <a:gd name="connsiteY889" fmla="*/ 1817686 h 6858000"/>
              <a:gd name="connsiteX890" fmla="*/ 6537433 w 7467600"/>
              <a:gd name="connsiteY890" fmla="*/ 1907790 h 6858000"/>
              <a:gd name="connsiteX891" fmla="*/ 6550221 w 7467600"/>
              <a:gd name="connsiteY891" fmla="*/ 1910729 h 6858000"/>
              <a:gd name="connsiteX892" fmla="*/ 6964438 w 7467600"/>
              <a:gd name="connsiteY892" fmla="*/ 2209505 h 6858000"/>
              <a:gd name="connsiteX893" fmla="*/ 7367862 w 7467600"/>
              <a:gd name="connsiteY893" fmla="*/ 2806833 h 6858000"/>
              <a:gd name="connsiteX894" fmla="*/ 7364329 w 7467600"/>
              <a:gd name="connsiteY894" fmla="*/ 2826907 h 6858000"/>
              <a:gd name="connsiteX895" fmla="*/ 7290545 w 7467600"/>
              <a:gd name="connsiteY895" fmla="*/ 2850663 h 6858000"/>
              <a:gd name="connsiteX896" fmla="*/ 6472036 w 7467600"/>
              <a:gd name="connsiteY896" fmla="*/ 1959003 h 6858000"/>
              <a:gd name="connsiteX897" fmla="*/ 5792897 w 7467600"/>
              <a:gd name="connsiteY897" fmla="*/ 1647747 h 6858000"/>
              <a:gd name="connsiteX898" fmla="*/ 5842751 w 7467600"/>
              <a:gd name="connsiteY898" fmla="*/ 1816112 h 6858000"/>
              <a:gd name="connsiteX899" fmla="*/ 5847424 w 7467600"/>
              <a:gd name="connsiteY899" fmla="*/ 1815776 h 6858000"/>
              <a:gd name="connsiteX900" fmla="*/ 6399821 w 7467600"/>
              <a:gd name="connsiteY900" fmla="*/ 2344799 h 6858000"/>
              <a:gd name="connsiteX901" fmla="*/ 6323232 w 7467600"/>
              <a:gd name="connsiteY901" fmla="*/ 2389634 h 6858000"/>
              <a:gd name="connsiteX902" fmla="*/ 5942958 w 7467600"/>
              <a:gd name="connsiteY902" fmla="*/ 2077708 h 6858000"/>
              <a:gd name="connsiteX903" fmla="*/ 5921559 w 7467600"/>
              <a:gd name="connsiteY903" fmla="*/ 2378596 h 6858000"/>
              <a:gd name="connsiteX904" fmla="*/ 5817651 w 7467600"/>
              <a:gd name="connsiteY904" fmla="*/ 3023919 h 6858000"/>
              <a:gd name="connsiteX905" fmla="*/ 5729634 w 7467600"/>
              <a:gd name="connsiteY905" fmla="*/ 3051849 h 6858000"/>
              <a:gd name="connsiteX906" fmla="*/ 5611018 w 7467600"/>
              <a:gd name="connsiteY906" fmla="*/ 2316769 h 6858000"/>
              <a:gd name="connsiteX907" fmla="*/ 5687608 w 7467600"/>
              <a:gd name="connsiteY907" fmla="*/ 2039972 h 6858000"/>
              <a:gd name="connsiteX908" fmla="*/ 5657554 w 7467600"/>
              <a:gd name="connsiteY908" fmla="*/ 1576445 h 6858000"/>
              <a:gd name="connsiteX909" fmla="*/ 5150475 w 7467600"/>
              <a:gd name="connsiteY909" fmla="*/ 1274012 h 6858000"/>
              <a:gd name="connsiteX910" fmla="*/ 5349142 w 7467600"/>
              <a:gd name="connsiteY910" fmla="*/ 2204405 h 6858000"/>
              <a:gd name="connsiteX911" fmla="*/ 5262214 w 7467600"/>
              <a:gd name="connsiteY911" fmla="*/ 2233836 h 6858000"/>
              <a:gd name="connsiteX912" fmla="*/ 4981539 w 7467600"/>
              <a:gd name="connsiteY912" fmla="*/ 1542201 h 6858000"/>
              <a:gd name="connsiteX913" fmla="*/ 4958461 w 7467600"/>
              <a:gd name="connsiteY913" fmla="*/ 1136957 h 6858000"/>
              <a:gd name="connsiteX914" fmla="*/ 4655015 w 7467600"/>
              <a:gd name="connsiteY914" fmla="*/ 891426 h 6858000"/>
              <a:gd name="connsiteX915" fmla="*/ 4348002 w 7467600"/>
              <a:gd name="connsiteY915" fmla="*/ 2205895 h 6858000"/>
              <a:gd name="connsiteX916" fmla="*/ 4262250 w 7467600"/>
              <a:gd name="connsiteY916" fmla="*/ 2219972 h 6858000"/>
              <a:gd name="connsiteX917" fmla="*/ 4550611 w 7467600"/>
              <a:gd name="connsiteY917" fmla="*/ 817540 h 6858000"/>
              <a:gd name="connsiteX918" fmla="*/ 4564418 w 7467600"/>
              <a:gd name="connsiteY918" fmla="*/ 808293 h 6858000"/>
              <a:gd name="connsiteX919" fmla="*/ 4266388 w 7467600"/>
              <a:gd name="connsiteY919" fmla="*/ 500083 h 6858000"/>
              <a:gd name="connsiteX920" fmla="*/ 4032842 w 7467600"/>
              <a:gd name="connsiteY920" fmla="*/ 211809 h 6858000"/>
              <a:gd name="connsiteX921" fmla="*/ 3882765 w 7467600"/>
              <a:gd name="connsiteY921" fmla="*/ 0 h 6858000"/>
              <a:gd name="connsiteX922" fmla="*/ 3721337 w 7467600"/>
              <a:gd name="connsiteY922" fmla="*/ 0 h 6858000"/>
              <a:gd name="connsiteX923" fmla="*/ 3797544 w 7467600"/>
              <a:gd name="connsiteY923" fmla="*/ 0 h 6858000"/>
              <a:gd name="connsiteX924" fmla="*/ 3775734 w 7467600"/>
              <a:gd name="connsiteY924" fmla="*/ 95131 h 6858000"/>
              <a:gd name="connsiteX925" fmla="*/ 3724807 w 7467600"/>
              <a:gd name="connsiteY925" fmla="*/ 272257 h 6858000"/>
              <a:gd name="connsiteX926" fmla="*/ 3726844 w 7467600"/>
              <a:gd name="connsiteY926" fmla="*/ 282988 h 6858000"/>
              <a:gd name="connsiteX927" fmla="*/ 3742664 w 7467600"/>
              <a:gd name="connsiteY927" fmla="*/ 279918 h 6858000"/>
              <a:gd name="connsiteX928" fmla="*/ 4103910 w 7467600"/>
              <a:gd name="connsiteY928" fmla="*/ 1161917 h 6858000"/>
              <a:gd name="connsiteX929" fmla="*/ 4020269 w 7467600"/>
              <a:gd name="connsiteY929" fmla="*/ 1200406 h 6858000"/>
              <a:gd name="connsiteX930" fmla="*/ 3674882 w 7467600"/>
              <a:gd name="connsiteY930" fmla="*/ 488524 h 6858000"/>
              <a:gd name="connsiteX931" fmla="*/ 3132682 w 7467600"/>
              <a:gd name="connsiteY931" fmla="*/ 1072284 h 6858000"/>
              <a:gd name="connsiteX932" fmla="*/ 2716346 w 7467600"/>
              <a:gd name="connsiteY932" fmla="*/ 1276376 h 6858000"/>
              <a:gd name="connsiteX933" fmla="*/ 2716772 w 7467600"/>
              <a:gd name="connsiteY933" fmla="*/ 1255462 h 6858000"/>
              <a:gd name="connsiteX934" fmla="*/ 3471096 w 7467600"/>
              <a:gd name="connsiteY934" fmla="*/ 437072 h 6858000"/>
              <a:gd name="connsiteX935" fmla="*/ 3639057 w 7467600"/>
              <a:gd name="connsiteY935" fmla="*/ 286334 h 6858000"/>
              <a:gd name="connsiteX936" fmla="*/ 3640309 w 7467600"/>
              <a:gd name="connsiteY936" fmla="*/ 284664 h 6858000"/>
              <a:gd name="connsiteX937" fmla="*/ 3646022 w 7467600"/>
              <a:gd name="connsiteY937" fmla="*/ 276711 h 6858000"/>
              <a:gd name="connsiteX938" fmla="*/ 3707943 w 7467600"/>
              <a:gd name="connsiteY938" fmla="*/ 65958 h 6858000"/>
              <a:gd name="connsiteX939" fmla="*/ 3721337 w 7467600"/>
              <a:gd name="connsiteY939" fmla="*/ 0 h 6858000"/>
              <a:gd name="connsiteX940" fmla="*/ 2867960 w 7467600"/>
              <a:gd name="connsiteY940" fmla="*/ 0 h 6858000"/>
              <a:gd name="connsiteX941" fmla="*/ 2926351 w 7467600"/>
              <a:gd name="connsiteY941" fmla="*/ 0 h 6858000"/>
              <a:gd name="connsiteX942" fmla="*/ 2902823 w 7467600"/>
              <a:gd name="connsiteY942" fmla="*/ 262929 h 6858000"/>
              <a:gd name="connsiteX943" fmla="*/ 2940663 w 7467600"/>
              <a:gd name="connsiteY943" fmla="*/ 140884 h 6858000"/>
              <a:gd name="connsiteX944" fmla="*/ 2947039 w 7467600"/>
              <a:gd name="connsiteY944" fmla="*/ 122524 h 6858000"/>
              <a:gd name="connsiteX945" fmla="*/ 2984316 w 7467600"/>
              <a:gd name="connsiteY945" fmla="*/ 0 h 6858000"/>
              <a:gd name="connsiteX946" fmla="*/ 3016114 w 7467600"/>
              <a:gd name="connsiteY946" fmla="*/ 0 h 6858000"/>
              <a:gd name="connsiteX947" fmla="*/ 2979949 w 7467600"/>
              <a:gd name="connsiteY947" fmla="*/ 119274 h 6858000"/>
              <a:gd name="connsiteX948" fmla="*/ 3023879 w 7467600"/>
              <a:gd name="connsiteY948" fmla="*/ 0 h 6858000"/>
              <a:gd name="connsiteX949" fmla="*/ 3105400 w 7467600"/>
              <a:gd name="connsiteY949" fmla="*/ 0 h 6858000"/>
              <a:gd name="connsiteX950" fmla="*/ 3094669 w 7467600"/>
              <a:gd name="connsiteY950" fmla="*/ 30308 h 6858000"/>
              <a:gd name="connsiteX951" fmla="*/ 2901945 w 7467600"/>
              <a:gd name="connsiteY951" fmla="*/ 466538 h 6858000"/>
              <a:gd name="connsiteX952" fmla="*/ 2815209 w 7467600"/>
              <a:gd name="connsiteY952" fmla="*/ 497361 h 6858000"/>
              <a:gd name="connsiteX953" fmla="*/ 2844845 w 7467600"/>
              <a:gd name="connsiteY953" fmla="*/ 127638 h 6858000"/>
              <a:gd name="connsiteX954" fmla="*/ 2867960 w 7467600"/>
              <a:gd name="connsiteY954" fmla="*/ 0 h 6858000"/>
              <a:gd name="connsiteX955" fmla="*/ 1057230 w 7467600"/>
              <a:gd name="connsiteY955" fmla="*/ 0 h 6858000"/>
              <a:gd name="connsiteX956" fmla="*/ 1111003 w 7467600"/>
              <a:gd name="connsiteY956" fmla="*/ 0 h 6858000"/>
              <a:gd name="connsiteX957" fmla="*/ 1125553 w 7467600"/>
              <a:gd name="connsiteY957" fmla="*/ 52588 h 6858000"/>
              <a:gd name="connsiteX958" fmla="*/ 1304276 w 7467600"/>
              <a:gd name="connsiteY958" fmla="*/ 476275 h 6858000"/>
              <a:gd name="connsiteX959" fmla="*/ 1492066 w 7467600"/>
              <a:gd name="connsiteY959" fmla="*/ 886333 h 6858000"/>
              <a:gd name="connsiteX960" fmla="*/ 1423698 w 7467600"/>
              <a:gd name="connsiteY960" fmla="*/ 710817 h 6858000"/>
              <a:gd name="connsiteX961" fmla="*/ 1357609 w 7467600"/>
              <a:gd name="connsiteY961" fmla="*/ 532892 h 6858000"/>
              <a:gd name="connsiteX962" fmla="*/ 1309550 w 7467600"/>
              <a:gd name="connsiteY962" fmla="*/ 374031 h 6858000"/>
              <a:gd name="connsiteX963" fmla="*/ 1193673 w 7467600"/>
              <a:gd name="connsiteY963" fmla="*/ 49533 h 6858000"/>
              <a:gd name="connsiteX964" fmla="*/ 1164391 w 7467600"/>
              <a:gd name="connsiteY964" fmla="*/ 0 h 6858000"/>
              <a:gd name="connsiteX965" fmla="*/ 1200666 w 7467600"/>
              <a:gd name="connsiteY965" fmla="*/ 0 h 6858000"/>
              <a:gd name="connsiteX966" fmla="*/ 1223408 w 7467600"/>
              <a:gd name="connsiteY966" fmla="*/ 38996 h 6858000"/>
              <a:gd name="connsiteX967" fmla="*/ 1339635 w 7467600"/>
              <a:gd name="connsiteY967" fmla="*/ 365517 h 6858000"/>
              <a:gd name="connsiteX968" fmla="*/ 1387469 w 7467600"/>
              <a:gd name="connsiteY968" fmla="*/ 523079 h 6858000"/>
              <a:gd name="connsiteX969" fmla="*/ 1452685 w 7467600"/>
              <a:gd name="connsiteY969" fmla="*/ 699806 h 6858000"/>
              <a:gd name="connsiteX970" fmla="*/ 1492092 w 7467600"/>
              <a:gd name="connsiteY970" fmla="*/ 800424 h 6858000"/>
              <a:gd name="connsiteX971" fmla="*/ 1455302 w 7467600"/>
              <a:gd name="connsiteY971" fmla="*/ 632913 h 6858000"/>
              <a:gd name="connsiteX972" fmla="*/ 1222336 w 7467600"/>
              <a:gd name="connsiteY972" fmla="*/ 9480 h 6858000"/>
              <a:gd name="connsiteX973" fmla="*/ 1214634 w 7467600"/>
              <a:gd name="connsiteY973" fmla="*/ 0 h 6858000"/>
              <a:gd name="connsiteX974" fmla="*/ 1289827 w 7467600"/>
              <a:gd name="connsiteY974" fmla="*/ 0 h 6858000"/>
              <a:gd name="connsiteX975" fmla="*/ 1321076 w 7467600"/>
              <a:gd name="connsiteY975" fmla="*/ 59722 h 6858000"/>
              <a:gd name="connsiteX976" fmla="*/ 1512579 w 7467600"/>
              <a:gd name="connsiteY976" fmla="*/ 626441 h 6858000"/>
              <a:gd name="connsiteX977" fmla="*/ 1506076 w 7467600"/>
              <a:gd name="connsiteY977" fmla="*/ 1089289 h 6858000"/>
              <a:gd name="connsiteX978" fmla="*/ 1486346 w 7467600"/>
              <a:gd name="connsiteY978" fmla="*/ 1079919 h 6858000"/>
              <a:gd name="connsiteX979" fmla="*/ 1070511 w 7467600"/>
              <a:gd name="connsiteY979" fmla="*/ 48609 h 6858000"/>
              <a:gd name="connsiteX980" fmla="*/ 1057230 w 7467600"/>
              <a:gd name="connsiteY980" fmla="*/ 0 h 6858000"/>
              <a:gd name="connsiteX981" fmla="*/ 43151 w 7467600"/>
              <a:gd name="connsiteY981" fmla="*/ 0 h 6858000"/>
              <a:gd name="connsiteX982" fmla="*/ 95283 w 7467600"/>
              <a:gd name="connsiteY982" fmla="*/ 0 h 6858000"/>
              <a:gd name="connsiteX983" fmla="*/ 300708 w 7467600"/>
              <a:gd name="connsiteY983" fmla="*/ 154571 h 6858000"/>
              <a:gd name="connsiteX984" fmla="*/ 530414 w 7467600"/>
              <a:gd name="connsiteY984" fmla="*/ 354673 h 6858000"/>
              <a:gd name="connsiteX985" fmla="*/ 333785 w 7467600"/>
              <a:gd name="connsiteY985" fmla="*/ 161564 h 6858000"/>
              <a:gd name="connsiteX986" fmla="*/ 147005 w 7467600"/>
              <a:gd name="connsiteY986" fmla="*/ 0 h 6858000"/>
              <a:gd name="connsiteX987" fmla="*/ 272509 w 7467600"/>
              <a:gd name="connsiteY987" fmla="*/ 0 h 6858000"/>
              <a:gd name="connsiteX988" fmla="*/ 326276 w 7467600"/>
              <a:gd name="connsiteY988" fmla="*/ 45847 h 6858000"/>
              <a:gd name="connsiteX989" fmla="*/ 823759 w 7467600"/>
              <a:gd name="connsiteY989" fmla="*/ 574145 h 6858000"/>
              <a:gd name="connsiteX990" fmla="*/ 811254 w 7467600"/>
              <a:gd name="connsiteY990" fmla="*/ 665546 h 6858000"/>
              <a:gd name="connsiteX991" fmla="*/ 154042 w 7467600"/>
              <a:gd name="connsiteY991" fmla="*/ 261522 h 6858000"/>
              <a:gd name="connsiteX992" fmla="*/ 13550 w 7467600"/>
              <a:gd name="connsiteY992" fmla="*/ 158423 h 6858000"/>
              <a:gd name="connsiteX993" fmla="*/ 0 w 7467600"/>
              <a:gd name="connsiteY993" fmla="*/ 146618 h 6858000"/>
              <a:gd name="connsiteX994" fmla="*/ 0 w 7467600"/>
              <a:gd name="connsiteY994" fmla="*/ 59161 h 6858000"/>
              <a:gd name="connsiteX995" fmla="*/ 45427 w 7467600"/>
              <a:gd name="connsiteY995" fmla="*/ 101078 h 6858000"/>
              <a:gd name="connsiteX996" fmla="*/ 630103 w 7467600"/>
              <a:gd name="connsiteY996" fmla="*/ 485885 h 6858000"/>
              <a:gd name="connsiteX997" fmla="*/ 532040 w 7467600"/>
              <a:gd name="connsiteY997" fmla="*/ 399359 h 6858000"/>
              <a:gd name="connsiteX998" fmla="*/ 517618 w 7467600"/>
              <a:gd name="connsiteY998" fmla="*/ 385726 h 6858000"/>
              <a:gd name="connsiteX999" fmla="*/ 285074 w 7467600"/>
              <a:gd name="connsiteY999" fmla="*/ 182755 h 6858000"/>
              <a:gd name="connsiteX1000" fmla="*/ 43151 w 7467600"/>
              <a:gd name="connsiteY1000"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68569 w 7467600"/>
              <a:gd name="connsiteY127" fmla="*/ 5270182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7327465 w 7467600"/>
              <a:gd name="connsiteY139" fmla="*/ 5174181 h 6858000"/>
              <a:gd name="connsiteX140" fmla="*/ 7353035 w 7467600"/>
              <a:gd name="connsiteY140" fmla="*/ 5197318 h 6858000"/>
              <a:gd name="connsiteX141" fmla="*/ 7467600 w 7467600"/>
              <a:gd name="connsiteY141" fmla="*/ 5297634 h 6858000"/>
              <a:gd name="connsiteX142" fmla="*/ 7467600 w 7467600"/>
              <a:gd name="connsiteY142" fmla="*/ 5361850 h 6858000"/>
              <a:gd name="connsiteX143" fmla="*/ 7368569 w 7467600"/>
              <a:gd name="connsiteY143" fmla="*/ 5270182 h 6858000"/>
              <a:gd name="connsiteX144" fmla="*/ 1903353 w 7467600"/>
              <a:gd name="connsiteY144" fmla="*/ 5044827 h 6858000"/>
              <a:gd name="connsiteX145" fmla="*/ 1936931 w 7467600"/>
              <a:gd name="connsiteY145" fmla="*/ 5093954 h 6858000"/>
              <a:gd name="connsiteX146" fmla="*/ 2195868 w 7467600"/>
              <a:gd name="connsiteY146" fmla="*/ 5396574 h 6858000"/>
              <a:gd name="connsiteX147" fmla="*/ 2088852 w 7467600"/>
              <a:gd name="connsiteY147" fmla="*/ 5166123 h 6858000"/>
              <a:gd name="connsiteX148" fmla="*/ 1958241 w 7467600"/>
              <a:gd name="connsiteY148" fmla="*/ 5067955 h 6858000"/>
              <a:gd name="connsiteX149" fmla="*/ 1903353 w 7467600"/>
              <a:gd name="connsiteY149" fmla="*/ 5044827 h 6858000"/>
              <a:gd name="connsiteX150" fmla="*/ 1979378 w 7467600"/>
              <a:gd name="connsiteY150" fmla="*/ 4769504 h 6858000"/>
              <a:gd name="connsiteX151" fmla="*/ 2882120 w 7467600"/>
              <a:gd name="connsiteY151" fmla="*/ 5064547 h 6858000"/>
              <a:gd name="connsiteX152" fmla="*/ 2793103 w 7467600"/>
              <a:gd name="connsiteY152" fmla="*/ 5039699 h 6858000"/>
              <a:gd name="connsiteX153" fmla="*/ 2770041 w 7467600"/>
              <a:gd name="connsiteY153" fmla="*/ 5033634 h 6858000"/>
              <a:gd name="connsiteX154" fmla="*/ 1979378 w 7467600"/>
              <a:gd name="connsiteY154" fmla="*/ 4769504 h 6858000"/>
              <a:gd name="connsiteX155" fmla="*/ 1927410 w 7467600"/>
              <a:gd name="connsiteY155" fmla="*/ 4716164 h 6858000"/>
              <a:gd name="connsiteX156" fmla="*/ 1959587 w 7467600"/>
              <a:gd name="connsiteY156" fmla="*/ 4728849 h 6858000"/>
              <a:gd name="connsiteX157" fmla="*/ 2777707 w 7467600"/>
              <a:gd name="connsiteY157" fmla="*/ 5003991 h 6858000"/>
              <a:gd name="connsiteX158" fmla="*/ 2800768 w 7467600"/>
              <a:gd name="connsiteY158" fmla="*/ 5010056 h 6858000"/>
              <a:gd name="connsiteX159" fmla="*/ 2879408 w 7467600"/>
              <a:gd name="connsiteY159" fmla="*/ 5031590 h 6858000"/>
              <a:gd name="connsiteX160" fmla="*/ 2862295 w 7467600"/>
              <a:gd name="connsiteY160" fmla="*/ 5022958 h 6858000"/>
              <a:gd name="connsiteX161" fmla="*/ 2813343 w 7467600"/>
              <a:gd name="connsiteY161" fmla="*/ 4998369 h 6858000"/>
              <a:gd name="connsiteX162" fmla="*/ 2646245 w 7467600"/>
              <a:gd name="connsiteY162" fmla="*/ 4930999 h 6858000"/>
              <a:gd name="connsiteX163" fmla="*/ 1999243 w 7467600"/>
              <a:gd name="connsiteY163" fmla="*/ 4730524 h 6858000"/>
              <a:gd name="connsiteX164" fmla="*/ 1979527 w 7467600"/>
              <a:gd name="connsiteY164" fmla="*/ 4726651 h 6858000"/>
              <a:gd name="connsiteX165" fmla="*/ 1927410 w 7467600"/>
              <a:gd name="connsiteY165" fmla="*/ 4716164 h 6858000"/>
              <a:gd name="connsiteX166" fmla="*/ 1997014 w 7467600"/>
              <a:gd name="connsiteY166" fmla="*/ 4698007 h 6858000"/>
              <a:gd name="connsiteX167" fmla="*/ 2005458 w 7467600"/>
              <a:gd name="connsiteY167" fmla="*/ 4699540 h 6858000"/>
              <a:gd name="connsiteX168" fmla="*/ 2657186 w 7467600"/>
              <a:gd name="connsiteY168" fmla="*/ 4901687 h 6858000"/>
              <a:gd name="connsiteX169" fmla="*/ 2826662 w 7467600"/>
              <a:gd name="connsiteY169" fmla="*/ 4970362 h 6858000"/>
              <a:gd name="connsiteX170" fmla="*/ 2876100 w 7467600"/>
              <a:gd name="connsiteY170" fmla="*/ 4995397 h 6858000"/>
              <a:gd name="connsiteX171" fmla="*/ 3042600 w 7467600"/>
              <a:gd name="connsiteY171" fmla="*/ 5059532 h 6858000"/>
              <a:gd name="connsiteX172" fmla="*/ 1997014 w 7467600"/>
              <a:gd name="connsiteY172" fmla="*/ 4698007 h 6858000"/>
              <a:gd name="connsiteX173" fmla="*/ 2305292 w 7467600"/>
              <a:gd name="connsiteY173" fmla="*/ 4219492 h 6858000"/>
              <a:gd name="connsiteX174" fmla="*/ 3360922 w 7467600"/>
              <a:gd name="connsiteY174" fmla="*/ 4529373 h 6858000"/>
              <a:gd name="connsiteX175" fmla="*/ 3492420 w 7467600"/>
              <a:gd name="connsiteY175" fmla="*/ 4510145 h 6858000"/>
              <a:gd name="connsiteX176" fmla="*/ 3364086 w 7467600"/>
              <a:gd name="connsiteY176" fmla="*/ 4480340 h 6858000"/>
              <a:gd name="connsiteX177" fmla="*/ 3225818 w 7467600"/>
              <a:gd name="connsiteY177" fmla="*/ 4411822 h 6858000"/>
              <a:gd name="connsiteX178" fmla="*/ 3129696 w 7467600"/>
              <a:gd name="connsiteY178" fmla="*/ 4360704 h 6858000"/>
              <a:gd name="connsiteX179" fmla="*/ 2814545 w 7467600"/>
              <a:gd name="connsiteY179" fmla="*/ 4282955 h 6858000"/>
              <a:gd name="connsiteX180" fmla="*/ 2305292 w 7467600"/>
              <a:gd name="connsiteY180" fmla="*/ 4219492 h 6858000"/>
              <a:gd name="connsiteX181" fmla="*/ 2626982 w 7467600"/>
              <a:gd name="connsiteY181" fmla="*/ 4206450 h 6858000"/>
              <a:gd name="connsiteX182" fmla="*/ 2490617 w 7467600"/>
              <a:gd name="connsiteY182" fmla="*/ 4206951 h 6858000"/>
              <a:gd name="connsiteX183" fmla="*/ 2819869 w 7467600"/>
              <a:gd name="connsiteY183" fmla="*/ 4252936 h 6858000"/>
              <a:gd name="connsiteX184" fmla="*/ 3143018 w 7467600"/>
              <a:gd name="connsiteY184" fmla="*/ 4332698 h 6858000"/>
              <a:gd name="connsiteX185" fmla="*/ 3241520 w 7467600"/>
              <a:gd name="connsiteY185" fmla="*/ 4385112 h 6858000"/>
              <a:gd name="connsiteX186" fmla="*/ 3374575 w 7467600"/>
              <a:gd name="connsiteY186" fmla="*/ 4451517 h 6858000"/>
              <a:gd name="connsiteX187" fmla="*/ 3505221 w 7467600"/>
              <a:gd name="connsiteY187" fmla="*/ 4480757 h 6858000"/>
              <a:gd name="connsiteX188" fmla="*/ 2626982 w 7467600"/>
              <a:gd name="connsiteY188" fmla="*/ 4206450 h 6858000"/>
              <a:gd name="connsiteX189" fmla="*/ 1310106 w 7467600"/>
              <a:gd name="connsiteY189" fmla="*/ 3943217 h 6858000"/>
              <a:gd name="connsiteX190" fmla="*/ 854994 w 7467600"/>
              <a:gd name="connsiteY190" fmla="*/ 4399136 h 6858000"/>
              <a:gd name="connsiteX191" fmla="*/ 742462 w 7467600"/>
              <a:gd name="connsiteY191" fmla="*/ 4594648 h 6858000"/>
              <a:gd name="connsiteX192" fmla="*/ 820602 w 7467600"/>
              <a:gd name="connsiteY192" fmla="*/ 4485915 h 6858000"/>
              <a:gd name="connsiteX193" fmla="*/ 878295 w 7467600"/>
              <a:gd name="connsiteY193" fmla="*/ 4403594 h 6858000"/>
              <a:gd name="connsiteX194" fmla="*/ 1240607 w 7467600"/>
              <a:gd name="connsiteY194" fmla="*/ 4010401 h 6858000"/>
              <a:gd name="connsiteX195" fmla="*/ 1310106 w 7467600"/>
              <a:gd name="connsiteY195" fmla="*/ 3943217 h 6858000"/>
              <a:gd name="connsiteX196" fmla="*/ 1423113 w 7467600"/>
              <a:gd name="connsiteY196" fmla="*/ 3874565 h 6858000"/>
              <a:gd name="connsiteX197" fmla="*/ 1260565 w 7467600"/>
              <a:gd name="connsiteY197" fmla="*/ 4031982 h 6858000"/>
              <a:gd name="connsiteX198" fmla="*/ 901900 w 7467600"/>
              <a:gd name="connsiteY198" fmla="*/ 4421236 h 6858000"/>
              <a:gd name="connsiteX199" fmla="*/ 845044 w 7467600"/>
              <a:gd name="connsiteY199" fmla="*/ 4502436 h 6858000"/>
              <a:gd name="connsiteX200" fmla="*/ 685926 w 7467600"/>
              <a:gd name="connsiteY200" fmla="*/ 4703069 h 6858000"/>
              <a:gd name="connsiteX201" fmla="*/ 684248 w 7467600"/>
              <a:gd name="connsiteY201" fmla="*/ 4706721 h 6858000"/>
              <a:gd name="connsiteX202" fmla="*/ 1423113 w 7467600"/>
              <a:gd name="connsiteY202" fmla="*/ 3874565 h 6858000"/>
              <a:gd name="connsiteX203" fmla="*/ 3316479 w 7467600"/>
              <a:gd name="connsiteY203" fmla="*/ 3872136 h 6858000"/>
              <a:gd name="connsiteX204" fmla="*/ 3546806 w 7467600"/>
              <a:gd name="connsiteY204" fmla="*/ 4356139 h 6858000"/>
              <a:gd name="connsiteX205" fmla="*/ 3364433 w 7467600"/>
              <a:gd name="connsiteY205" fmla="*/ 3953121 h 6858000"/>
              <a:gd name="connsiteX206" fmla="*/ 3316479 w 7467600"/>
              <a:gd name="connsiteY206" fmla="*/ 3872136 h 6858000"/>
              <a:gd name="connsiteX207" fmla="*/ 3291335 w 7467600"/>
              <a:gd name="connsiteY207" fmla="*/ 3767420 h 6858000"/>
              <a:gd name="connsiteX208" fmla="*/ 3390805 w 7467600"/>
              <a:gd name="connsiteY208" fmla="*/ 3937163 h 6858000"/>
              <a:gd name="connsiteX209" fmla="*/ 3579062 w 7467600"/>
              <a:gd name="connsiteY209" fmla="*/ 4359040 h 6858000"/>
              <a:gd name="connsiteX210" fmla="*/ 3467355 w 7467600"/>
              <a:gd name="connsiteY210" fmla="*/ 3988130 h 6858000"/>
              <a:gd name="connsiteX211" fmla="*/ 3310753 w 7467600"/>
              <a:gd name="connsiteY211" fmla="*/ 3787140 h 6858000"/>
              <a:gd name="connsiteX212" fmla="*/ 3291335 w 7467600"/>
              <a:gd name="connsiteY212" fmla="*/ 3767420 h 6858000"/>
              <a:gd name="connsiteX213" fmla="*/ 1635889 w 7467600"/>
              <a:gd name="connsiteY213" fmla="*/ 3709494 h 6858000"/>
              <a:gd name="connsiteX214" fmla="*/ 1634800 w 7467600"/>
              <a:gd name="connsiteY214" fmla="*/ 3731111 h 6858000"/>
              <a:gd name="connsiteX215" fmla="*/ 1635889 w 7467600"/>
              <a:gd name="connsiteY215" fmla="*/ 3709494 h 6858000"/>
              <a:gd name="connsiteX216" fmla="*/ 1510397 w 7467600"/>
              <a:gd name="connsiteY216" fmla="*/ 3684705 h 6858000"/>
              <a:gd name="connsiteX217" fmla="*/ 1146550 w 7467600"/>
              <a:gd name="connsiteY217" fmla="*/ 3802012 h 6858000"/>
              <a:gd name="connsiteX218" fmla="*/ 698834 w 7467600"/>
              <a:gd name="connsiteY218" fmla="*/ 3952272 h 6858000"/>
              <a:gd name="connsiteX219" fmla="*/ 34256 w 7467600"/>
              <a:gd name="connsiteY219" fmla="*/ 4347603 h 6858000"/>
              <a:gd name="connsiteX220" fmla="*/ 527241 w 7467600"/>
              <a:gd name="connsiteY220" fmla="*/ 4065078 h 6858000"/>
              <a:gd name="connsiteX221" fmla="*/ 1510397 w 7467600"/>
              <a:gd name="connsiteY221" fmla="*/ 3684705 h 6858000"/>
              <a:gd name="connsiteX222" fmla="*/ 1313114 w 7467600"/>
              <a:gd name="connsiteY222" fmla="*/ 3655216 h 6858000"/>
              <a:gd name="connsiteX223" fmla="*/ 1109304 w 7467600"/>
              <a:gd name="connsiteY223" fmla="*/ 3669030 h 6858000"/>
              <a:gd name="connsiteX224" fmla="*/ 8129 w 7467600"/>
              <a:gd name="connsiteY224" fmla="*/ 4330519 h 6858000"/>
              <a:gd name="connsiteX225" fmla="*/ 687572 w 7467600"/>
              <a:gd name="connsiteY225" fmla="*/ 3925629 h 6858000"/>
              <a:gd name="connsiteX226" fmla="*/ 1138365 w 7467600"/>
              <a:gd name="connsiteY226" fmla="*/ 3774515 h 6858000"/>
              <a:gd name="connsiteX227" fmla="*/ 1505579 w 7467600"/>
              <a:gd name="connsiteY227" fmla="*/ 3655526 h 6858000"/>
              <a:gd name="connsiteX228" fmla="*/ 1313114 w 7467600"/>
              <a:gd name="connsiteY228" fmla="*/ 3655216 h 6858000"/>
              <a:gd name="connsiteX229" fmla="*/ 3655073 w 7467600"/>
              <a:gd name="connsiteY229" fmla="*/ 3650884 h 6858000"/>
              <a:gd name="connsiteX230" fmla="*/ 3989938 w 7467600"/>
              <a:gd name="connsiteY230" fmla="*/ 3991685 h 6858000"/>
              <a:gd name="connsiteX231" fmla="*/ 4393907 w 7467600"/>
              <a:gd name="connsiteY231" fmla="*/ 4261258 h 6858000"/>
              <a:gd name="connsiteX232" fmla="*/ 4648051 w 7467600"/>
              <a:gd name="connsiteY232" fmla="*/ 4374051 h 6858000"/>
              <a:gd name="connsiteX233" fmla="*/ 4383389 w 7467600"/>
              <a:gd name="connsiteY233" fmla="*/ 4184369 h 6858000"/>
              <a:gd name="connsiteX234" fmla="*/ 4165508 w 7467600"/>
              <a:gd name="connsiteY234" fmla="*/ 4035196 h 6858000"/>
              <a:gd name="connsiteX235" fmla="*/ 4068162 w 7467600"/>
              <a:gd name="connsiteY235" fmla="*/ 3953394 h 6858000"/>
              <a:gd name="connsiteX236" fmla="*/ 3981416 w 7467600"/>
              <a:gd name="connsiteY236" fmla="*/ 3880482 h 6858000"/>
              <a:gd name="connsiteX237" fmla="*/ 3800147 w 7467600"/>
              <a:gd name="connsiteY237" fmla="*/ 3749872 h 6858000"/>
              <a:gd name="connsiteX238" fmla="*/ 3655073 w 7467600"/>
              <a:gd name="connsiteY238" fmla="*/ 3650884 h 6858000"/>
              <a:gd name="connsiteX239" fmla="*/ 3670252 w 7467600"/>
              <a:gd name="connsiteY239" fmla="*/ 3622798 h 6858000"/>
              <a:gd name="connsiteX240" fmla="*/ 3817258 w 7467600"/>
              <a:gd name="connsiteY240" fmla="*/ 3723577 h 6858000"/>
              <a:gd name="connsiteX241" fmla="*/ 4000461 w 7467600"/>
              <a:gd name="connsiteY241" fmla="*/ 3855966 h 6858000"/>
              <a:gd name="connsiteX242" fmla="*/ 4088180 w 7467600"/>
              <a:gd name="connsiteY242" fmla="*/ 3929774 h 6858000"/>
              <a:gd name="connsiteX243" fmla="*/ 4184555 w 7467600"/>
              <a:gd name="connsiteY243" fmla="*/ 4010683 h 6858000"/>
              <a:gd name="connsiteX244" fmla="*/ 4399563 w 7467600"/>
              <a:gd name="connsiteY244" fmla="*/ 4158106 h 6858000"/>
              <a:gd name="connsiteX245" fmla="*/ 4684469 w 7467600"/>
              <a:gd name="connsiteY245" fmla="*/ 4364680 h 6858000"/>
              <a:gd name="connsiteX246" fmla="*/ 4690271 w 7467600"/>
              <a:gd name="connsiteY246" fmla="*/ 4370034 h 6858000"/>
              <a:gd name="connsiteX247" fmla="*/ 4136093 w 7467600"/>
              <a:gd name="connsiteY247" fmla="*/ 3858466 h 6858000"/>
              <a:gd name="connsiteX248" fmla="*/ 3670252 w 7467600"/>
              <a:gd name="connsiteY248" fmla="*/ 3622798 h 6858000"/>
              <a:gd name="connsiteX249" fmla="*/ 4440129 w 7467600"/>
              <a:gd name="connsiteY249" fmla="*/ 3448571 h 6858000"/>
              <a:gd name="connsiteX250" fmla="*/ 4856525 w 7467600"/>
              <a:gd name="connsiteY250" fmla="*/ 3915351 h 6858000"/>
              <a:gd name="connsiteX251" fmla="*/ 5059055 w 7467600"/>
              <a:gd name="connsiteY251" fmla="*/ 4108918 h 6858000"/>
              <a:gd name="connsiteX252" fmla="*/ 5290070 w 7467600"/>
              <a:gd name="connsiteY252" fmla="*/ 4263619 h 6858000"/>
              <a:gd name="connsiteX253" fmla="*/ 4834991 w 7467600"/>
              <a:gd name="connsiteY253" fmla="*/ 3830985 h 6858000"/>
              <a:gd name="connsiteX254" fmla="*/ 4440129 w 7467600"/>
              <a:gd name="connsiteY254" fmla="*/ 3448571 h 6858000"/>
              <a:gd name="connsiteX255" fmla="*/ 4441737 w 7467600"/>
              <a:gd name="connsiteY255" fmla="*/ 3399734 h 6858000"/>
              <a:gd name="connsiteX256" fmla="*/ 4431236 w 7467600"/>
              <a:gd name="connsiteY256" fmla="*/ 3400954 h 6858000"/>
              <a:gd name="connsiteX257" fmla="*/ 4557150 w 7467600"/>
              <a:gd name="connsiteY257" fmla="*/ 3510023 h 6858000"/>
              <a:gd name="connsiteX258" fmla="*/ 4856936 w 7467600"/>
              <a:gd name="connsiteY258" fmla="*/ 3809146 h 6858000"/>
              <a:gd name="connsiteX259" fmla="*/ 5111996 w 7467600"/>
              <a:gd name="connsiteY259" fmla="*/ 4065759 h 6858000"/>
              <a:gd name="connsiteX260" fmla="*/ 5388878 w 7467600"/>
              <a:gd name="connsiteY260" fmla="*/ 4300185 h 6858000"/>
              <a:gd name="connsiteX261" fmla="*/ 5425556 w 7467600"/>
              <a:gd name="connsiteY261" fmla="*/ 4308967 h 6858000"/>
              <a:gd name="connsiteX262" fmla="*/ 4943646 w 7467600"/>
              <a:gd name="connsiteY262" fmla="*/ 3822916 h 6858000"/>
              <a:gd name="connsiteX263" fmla="*/ 4594837 w 7467600"/>
              <a:gd name="connsiteY263" fmla="*/ 3532274 h 6858000"/>
              <a:gd name="connsiteX264" fmla="*/ 4441737 w 7467600"/>
              <a:gd name="connsiteY264" fmla="*/ 3399734 h 6858000"/>
              <a:gd name="connsiteX265" fmla="*/ 5425834 w 7467600"/>
              <a:gd name="connsiteY265" fmla="*/ 3162785 h 6858000"/>
              <a:gd name="connsiteX266" fmla="*/ 5401644 w 7467600"/>
              <a:gd name="connsiteY266" fmla="*/ 3617847 h 6858000"/>
              <a:gd name="connsiteX267" fmla="*/ 5467256 w 7467600"/>
              <a:gd name="connsiteY267" fmla="*/ 4175494 h 6858000"/>
              <a:gd name="connsiteX268" fmla="*/ 5448069 w 7467600"/>
              <a:gd name="connsiteY268" fmla="*/ 3567554 h 6858000"/>
              <a:gd name="connsiteX269" fmla="*/ 5425834 w 7467600"/>
              <a:gd name="connsiteY269" fmla="*/ 3162785 h 6858000"/>
              <a:gd name="connsiteX270" fmla="*/ 1318687 w 7467600"/>
              <a:gd name="connsiteY270" fmla="*/ 3113840 h 6858000"/>
              <a:gd name="connsiteX271" fmla="*/ 1066793 w 7467600"/>
              <a:gd name="connsiteY271" fmla="*/ 3212171 h 6858000"/>
              <a:gd name="connsiteX272" fmla="*/ 993319 w 7467600"/>
              <a:gd name="connsiteY272" fmla="*/ 3247648 h 6858000"/>
              <a:gd name="connsiteX273" fmla="*/ 853081 w 7467600"/>
              <a:gd name="connsiteY273" fmla="*/ 3312410 h 6858000"/>
              <a:gd name="connsiteX274" fmla="*/ 805957 w 7467600"/>
              <a:gd name="connsiteY274" fmla="*/ 3330443 h 6858000"/>
              <a:gd name="connsiteX275" fmla="*/ 1318687 w 7467600"/>
              <a:gd name="connsiteY275" fmla="*/ 3113840 h 6858000"/>
              <a:gd name="connsiteX276" fmla="*/ 5453702 w 7467600"/>
              <a:gd name="connsiteY276" fmla="*/ 3090882 h 6858000"/>
              <a:gd name="connsiteX277" fmla="*/ 5480135 w 7467600"/>
              <a:gd name="connsiteY277" fmla="*/ 3565802 h 6858000"/>
              <a:gd name="connsiteX278" fmla="*/ 5499023 w 7467600"/>
              <a:gd name="connsiteY278" fmla="*/ 4166310 h 6858000"/>
              <a:gd name="connsiteX279" fmla="*/ 5547022 w 7467600"/>
              <a:gd name="connsiteY279" fmla="*/ 3607838 h 6858000"/>
              <a:gd name="connsiteX280" fmla="*/ 5515964 w 7467600"/>
              <a:gd name="connsiteY280" fmla="*/ 3378541 h 6858000"/>
              <a:gd name="connsiteX281" fmla="*/ 5453702 w 7467600"/>
              <a:gd name="connsiteY281" fmla="*/ 3090882 h 6858000"/>
              <a:gd name="connsiteX282" fmla="*/ 1238695 w 7467600"/>
              <a:gd name="connsiteY282" fmla="*/ 3076820 h 6858000"/>
              <a:gd name="connsiteX283" fmla="*/ 716371 w 7467600"/>
              <a:gd name="connsiteY283" fmla="*/ 3293249 h 6858000"/>
              <a:gd name="connsiteX284" fmla="*/ 579522 w 7467600"/>
              <a:gd name="connsiteY284" fmla="*/ 3371759 h 6858000"/>
              <a:gd name="connsiteX285" fmla="*/ 600288 w 7467600"/>
              <a:gd name="connsiteY285" fmla="*/ 3365555 h 6858000"/>
              <a:gd name="connsiteX286" fmla="*/ 840692 w 7467600"/>
              <a:gd name="connsiteY286" fmla="*/ 3284921 h 6858000"/>
              <a:gd name="connsiteX287" fmla="*/ 979248 w 7467600"/>
              <a:gd name="connsiteY287" fmla="*/ 3221003 h 6858000"/>
              <a:gd name="connsiteX288" fmla="*/ 1053282 w 7467600"/>
              <a:gd name="connsiteY288" fmla="*/ 3185247 h 6858000"/>
              <a:gd name="connsiteX289" fmla="*/ 1320603 w 7467600"/>
              <a:gd name="connsiteY289" fmla="*/ 3081281 h 6858000"/>
              <a:gd name="connsiteX290" fmla="*/ 1238695 w 7467600"/>
              <a:gd name="connsiteY290" fmla="*/ 3076820 h 6858000"/>
              <a:gd name="connsiteX291" fmla="*/ 5425627 w 7467600"/>
              <a:gd name="connsiteY291" fmla="*/ 2954192 h 6858000"/>
              <a:gd name="connsiteX292" fmla="*/ 5470770 w 7467600"/>
              <a:gd name="connsiteY292" fmla="*/ 3005435 h 6858000"/>
              <a:gd name="connsiteX293" fmla="*/ 5519779 w 7467600"/>
              <a:gd name="connsiteY293" fmla="*/ 4359223 h 6858000"/>
              <a:gd name="connsiteX294" fmla="*/ 5520293 w 7467600"/>
              <a:gd name="connsiteY294" fmla="*/ 4360602 h 6858000"/>
              <a:gd name="connsiteX295" fmla="*/ 5767221 w 7467600"/>
              <a:gd name="connsiteY295" fmla="*/ 4665564 h 6858000"/>
              <a:gd name="connsiteX296" fmla="*/ 6937169 w 7467600"/>
              <a:gd name="connsiteY296" fmla="*/ 4815941 h 6858000"/>
              <a:gd name="connsiteX297" fmla="*/ 6953922 w 7467600"/>
              <a:gd name="connsiteY297" fmla="*/ 4890068 h 6858000"/>
              <a:gd name="connsiteX298" fmla="*/ 6071359 w 7467600"/>
              <a:gd name="connsiteY298" fmla="*/ 4770770 h 6858000"/>
              <a:gd name="connsiteX299" fmla="*/ 6038839 w 7467600"/>
              <a:gd name="connsiteY299" fmla="*/ 4764474 h 6858000"/>
              <a:gd name="connsiteX300" fmla="*/ 6038706 w 7467600"/>
              <a:gd name="connsiteY300" fmla="*/ 4763847 h 6858000"/>
              <a:gd name="connsiteX301" fmla="*/ 6037784 w 7467600"/>
              <a:gd name="connsiteY301" fmla="*/ 4764270 h 6858000"/>
              <a:gd name="connsiteX302" fmla="*/ 6038839 w 7467600"/>
              <a:gd name="connsiteY302" fmla="*/ 4764474 h 6858000"/>
              <a:gd name="connsiteX303" fmla="*/ 6040338 w 7467600"/>
              <a:gd name="connsiteY303" fmla="*/ 4771418 h 6858000"/>
              <a:gd name="connsiteX304" fmla="*/ 6024488 w 7467600"/>
              <a:gd name="connsiteY304" fmla="*/ 4809903 h 6858000"/>
              <a:gd name="connsiteX305" fmla="*/ 5599771 w 7467600"/>
              <a:gd name="connsiteY305" fmla="*/ 5509652 h 6858000"/>
              <a:gd name="connsiteX306" fmla="*/ 5548843 w 7467600"/>
              <a:gd name="connsiteY306" fmla="*/ 5563845 h 6858000"/>
              <a:gd name="connsiteX307" fmla="*/ 5940952 w 7467600"/>
              <a:gd name="connsiteY307" fmla="*/ 6250028 h 6858000"/>
              <a:gd name="connsiteX308" fmla="*/ 6043441 w 7467600"/>
              <a:gd name="connsiteY308" fmla="*/ 6665847 h 6858000"/>
              <a:gd name="connsiteX309" fmla="*/ 6093432 w 7467600"/>
              <a:gd name="connsiteY309" fmla="*/ 6858000 h 6858000"/>
              <a:gd name="connsiteX310" fmla="*/ 6034344 w 7467600"/>
              <a:gd name="connsiteY310" fmla="*/ 6858000 h 6858000"/>
              <a:gd name="connsiteX311" fmla="*/ 6026679 w 7467600"/>
              <a:gd name="connsiteY311" fmla="*/ 6836959 h 6858000"/>
              <a:gd name="connsiteX312" fmla="*/ 5800441 w 7467600"/>
              <a:gd name="connsiteY312" fmla="*/ 6335286 h 6858000"/>
              <a:gd name="connsiteX313" fmla="*/ 5526562 w 7467600"/>
              <a:gd name="connsiteY313" fmla="*/ 5705388 h 6858000"/>
              <a:gd name="connsiteX314" fmla="*/ 5519640 w 7467600"/>
              <a:gd name="connsiteY314" fmla="*/ 5683774 h 6858000"/>
              <a:gd name="connsiteX315" fmla="*/ 5844559 w 7467600"/>
              <a:gd name="connsiteY315" fmla="*/ 6553349 h 6858000"/>
              <a:gd name="connsiteX316" fmla="*/ 5975994 w 7467600"/>
              <a:gd name="connsiteY316" fmla="*/ 6858000 h 6858000"/>
              <a:gd name="connsiteX317" fmla="*/ 5898547 w 7467600"/>
              <a:gd name="connsiteY317" fmla="*/ 6858000 h 6858000"/>
              <a:gd name="connsiteX318" fmla="*/ 5682041 w 7467600"/>
              <a:gd name="connsiteY318" fmla="*/ 6355860 h 6858000"/>
              <a:gd name="connsiteX319" fmla="*/ 5461758 w 7467600"/>
              <a:gd name="connsiteY319" fmla="*/ 5820220 h 6858000"/>
              <a:gd name="connsiteX320" fmla="*/ 5237282 w 7467600"/>
              <a:gd name="connsiteY320" fmla="*/ 6579086 h 6858000"/>
              <a:gd name="connsiteX321" fmla="*/ 5115009 w 7467600"/>
              <a:gd name="connsiteY321" fmla="*/ 6858000 h 6858000"/>
              <a:gd name="connsiteX322" fmla="*/ 5028074 w 7467600"/>
              <a:gd name="connsiteY322" fmla="*/ 6858000 h 6858000"/>
              <a:gd name="connsiteX323" fmla="*/ 5079508 w 7467600"/>
              <a:gd name="connsiteY323" fmla="*/ 6749074 h 6858000"/>
              <a:gd name="connsiteX324" fmla="*/ 5371846 w 7467600"/>
              <a:gd name="connsiteY324" fmla="*/ 5924413 h 6858000"/>
              <a:gd name="connsiteX325" fmla="*/ 5270512 w 7467600"/>
              <a:gd name="connsiteY325" fmla="*/ 6138975 h 6858000"/>
              <a:gd name="connsiteX326" fmla="*/ 5062409 w 7467600"/>
              <a:gd name="connsiteY326" fmla="*/ 6653544 h 6858000"/>
              <a:gd name="connsiteX327" fmla="*/ 5036628 w 7467600"/>
              <a:gd name="connsiteY327" fmla="*/ 6754247 h 6858000"/>
              <a:gd name="connsiteX328" fmla="*/ 5009112 w 7467600"/>
              <a:gd name="connsiteY328" fmla="*/ 6858000 h 6858000"/>
              <a:gd name="connsiteX329" fmla="*/ 4976679 w 7467600"/>
              <a:gd name="connsiteY329" fmla="*/ 6858000 h 6858000"/>
              <a:gd name="connsiteX330" fmla="*/ 5006537 w 7467600"/>
              <a:gd name="connsiteY330" fmla="*/ 6747068 h 6858000"/>
              <a:gd name="connsiteX331" fmla="*/ 5032723 w 7467600"/>
              <a:gd name="connsiteY331" fmla="*/ 6644957 h 6858000"/>
              <a:gd name="connsiteX332" fmla="*/ 5242949 w 7467600"/>
              <a:gd name="connsiteY332" fmla="*/ 6125175 h 6858000"/>
              <a:gd name="connsiteX333" fmla="*/ 5286321 w 7467600"/>
              <a:gd name="connsiteY333" fmla="*/ 6033555 h 6858000"/>
              <a:gd name="connsiteX334" fmla="*/ 5008210 w 7467600"/>
              <a:gd name="connsiteY334" fmla="*/ 6649194 h 6858000"/>
              <a:gd name="connsiteX335" fmla="*/ 4986321 w 7467600"/>
              <a:gd name="connsiteY335" fmla="*/ 6765687 h 6858000"/>
              <a:gd name="connsiteX336" fmla="*/ 4973474 w 7467600"/>
              <a:gd name="connsiteY336" fmla="*/ 6858000 h 6858000"/>
              <a:gd name="connsiteX337" fmla="*/ 4907178 w 7467600"/>
              <a:gd name="connsiteY337" fmla="*/ 6858000 h 6858000"/>
              <a:gd name="connsiteX338" fmla="*/ 4910810 w 7467600"/>
              <a:gd name="connsiteY338" fmla="*/ 6829660 h 6858000"/>
              <a:gd name="connsiteX339" fmla="*/ 4987461 w 7467600"/>
              <a:gd name="connsiteY339" fmla="*/ 6432994 h 6858000"/>
              <a:gd name="connsiteX340" fmla="*/ 5179262 w 7467600"/>
              <a:gd name="connsiteY340" fmla="*/ 6035044 h 6858000"/>
              <a:gd name="connsiteX341" fmla="*/ 4689678 w 7467600"/>
              <a:gd name="connsiteY341" fmla="*/ 6440241 h 6858000"/>
              <a:gd name="connsiteX342" fmla="*/ 4477543 w 7467600"/>
              <a:gd name="connsiteY342" fmla="*/ 6674836 h 6858000"/>
              <a:gd name="connsiteX343" fmla="*/ 4329957 w 7467600"/>
              <a:gd name="connsiteY343" fmla="*/ 6858000 h 6858000"/>
              <a:gd name="connsiteX344" fmla="*/ 4218595 w 7467600"/>
              <a:gd name="connsiteY344" fmla="*/ 6858000 h 6858000"/>
              <a:gd name="connsiteX345" fmla="*/ 4368888 w 7467600"/>
              <a:gd name="connsiteY345" fmla="*/ 6668412 h 6858000"/>
              <a:gd name="connsiteX346" fmla="*/ 4563091 w 7467600"/>
              <a:gd name="connsiteY346" fmla="*/ 6442508 h 6858000"/>
              <a:gd name="connsiteX347" fmla="*/ 5387324 w 7467600"/>
              <a:gd name="connsiteY347" fmla="*/ 5705830 h 6858000"/>
              <a:gd name="connsiteX348" fmla="*/ 5073620 w 7467600"/>
              <a:gd name="connsiteY348" fmla="*/ 5955437 h 6858000"/>
              <a:gd name="connsiteX349" fmla="*/ 4689789 w 7467600"/>
              <a:gd name="connsiteY349" fmla="*/ 6268382 h 6858000"/>
              <a:gd name="connsiteX350" fmla="*/ 4418722 w 7467600"/>
              <a:gd name="connsiteY350" fmla="*/ 6570886 h 6858000"/>
              <a:gd name="connsiteX351" fmla="*/ 4214944 w 7467600"/>
              <a:gd name="connsiteY351" fmla="*/ 6858000 h 6858000"/>
              <a:gd name="connsiteX352" fmla="*/ 4177898 w 7467600"/>
              <a:gd name="connsiteY352" fmla="*/ 6858000 h 6858000"/>
              <a:gd name="connsiteX353" fmla="*/ 4391597 w 7467600"/>
              <a:gd name="connsiteY353" fmla="*/ 6556370 h 6858000"/>
              <a:gd name="connsiteX354" fmla="*/ 4668889 w 7467600"/>
              <a:gd name="connsiteY354" fmla="*/ 6246399 h 6858000"/>
              <a:gd name="connsiteX355" fmla="*/ 5055427 w 7467600"/>
              <a:gd name="connsiteY355" fmla="*/ 5931476 h 6858000"/>
              <a:gd name="connsiteX356" fmla="*/ 5371814 w 7467600"/>
              <a:gd name="connsiteY356" fmla="*/ 5678975 h 6858000"/>
              <a:gd name="connsiteX357" fmla="*/ 4987918 w 7467600"/>
              <a:gd name="connsiteY357" fmla="*/ 5838701 h 6858000"/>
              <a:gd name="connsiteX358" fmla="*/ 4317146 w 7467600"/>
              <a:gd name="connsiteY358" fmla="*/ 6587716 h 6858000"/>
              <a:gd name="connsiteX359" fmla="*/ 4171627 w 7467600"/>
              <a:gd name="connsiteY359" fmla="*/ 6858000 h 6858000"/>
              <a:gd name="connsiteX360" fmla="*/ 4081585 w 7467600"/>
              <a:gd name="connsiteY360" fmla="*/ 6858000 h 6858000"/>
              <a:gd name="connsiteX361" fmla="*/ 4238603 w 7467600"/>
              <a:gd name="connsiteY361" fmla="*/ 6559341 h 6858000"/>
              <a:gd name="connsiteX362" fmla="*/ 4778333 w 7467600"/>
              <a:gd name="connsiteY362" fmla="*/ 5873626 h 6858000"/>
              <a:gd name="connsiteX363" fmla="*/ 5414185 w 7467600"/>
              <a:gd name="connsiteY363" fmla="*/ 5573882 h 6858000"/>
              <a:gd name="connsiteX364" fmla="*/ 5959648 w 7467600"/>
              <a:gd name="connsiteY364" fmla="*/ 4760797 h 6858000"/>
              <a:gd name="connsiteX365" fmla="*/ 5355019 w 7467600"/>
              <a:gd name="connsiteY365" fmla="*/ 4734672 h 6858000"/>
              <a:gd name="connsiteX366" fmla="*/ 5083565 w 7467600"/>
              <a:gd name="connsiteY366" fmla="*/ 5179121 h 6858000"/>
              <a:gd name="connsiteX367" fmla="*/ 4713577 w 7467600"/>
              <a:gd name="connsiteY367" fmla="*/ 5616803 h 6858000"/>
              <a:gd name="connsiteX368" fmla="*/ 3989559 w 7467600"/>
              <a:gd name="connsiteY368" fmla="*/ 6145945 h 6858000"/>
              <a:gd name="connsiteX369" fmla="*/ 3939824 w 7467600"/>
              <a:gd name="connsiteY369" fmla="*/ 6066900 h 6858000"/>
              <a:gd name="connsiteX370" fmla="*/ 4584537 w 7467600"/>
              <a:gd name="connsiteY370" fmla="*/ 5324826 h 6858000"/>
              <a:gd name="connsiteX371" fmla="*/ 5037105 w 7467600"/>
              <a:gd name="connsiteY371" fmla="*/ 5088765 h 6858000"/>
              <a:gd name="connsiteX372" fmla="*/ 5039930 w 7467600"/>
              <a:gd name="connsiteY372" fmla="*/ 5089585 h 6858000"/>
              <a:gd name="connsiteX373" fmla="*/ 5263764 w 7467600"/>
              <a:gd name="connsiteY373" fmla="*/ 4735525 h 6858000"/>
              <a:gd name="connsiteX374" fmla="*/ 4086300 w 7467600"/>
              <a:gd name="connsiteY374" fmla="*/ 4884599 h 6858000"/>
              <a:gd name="connsiteX375" fmla="*/ 4085485 w 7467600"/>
              <a:gd name="connsiteY375" fmla="*/ 4899070 h 6858000"/>
              <a:gd name="connsiteX376" fmla="*/ 3871915 w 7467600"/>
              <a:gd name="connsiteY376" fmla="*/ 5253645 h 6858000"/>
              <a:gd name="connsiteX377" fmla="*/ 3799374 w 7467600"/>
              <a:gd name="connsiteY377" fmla="*/ 5466127 h 6858000"/>
              <a:gd name="connsiteX378" fmla="*/ 3498850 w 7467600"/>
              <a:gd name="connsiteY378" fmla="*/ 6661888 h 6858000"/>
              <a:gd name="connsiteX379" fmla="*/ 3399216 w 7467600"/>
              <a:gd name="connsiteY379" fmla="*/ 6858000 h 6858000"/>
              <a:gd name="connsiteX380" fmla="*/ 3303688 w 7467600"/>
              <a:gd name="connsiteY380" fmla="*/ 6858000 h 6858000"/>
              <a:gd name="connsiteX381" fmla="*/ 3391774 w 7467600"/>
              <a:gd name="connsiteY381" fmla="*/ 6697181 h 6858000"/>
              <a:gd name="connsiteX382" fmla="*/ 3735540 w 7467600"/>
              <a:gd name="connsiteY382" fmla="*/ 5546923 h 6858000"/>
              <a:gd name="connsiteX383" fmla="*/ 3729438 w 7467600"/>
              <a:gd name="connsiteY383" fmla="*/ 5569058 h 6858000"/>
              <a:gd name="connsiteX384" fmla="*/ 3707782 w 7467600"/>
              <a:gd name="connsiteY384" fmla="*/ 5644908 h 6858000"/>
              <a:gd name="connsiteX385" fmla="*/ 3583827 w 7467600"/>
              <a:gd name="connsiteY385" fmla="*/ 6039215 h 6858000"/>
              <a:gd name="connsiteX386" fmla="*/ 3547861 w 7467600"/>
              <a:gd name="connsiteY386" fmla="*/ 6129609 h 6858000"/>
              <a:gd name="connsiteX387" fmla="*/ 3490905 w 7467600"/>
              <a:gd name="connsiteY387" fmla="*/ 6277660 h 6858000"/>
              <a:gd name="connsiteX388" fmla="*/ 3455859 w 7467600"/>
              <a:gd name="connsiteY388" fmla="*/ 6391301 h 6858000"/>
              <a:gd name="connsiteX389" fmla="*/ 3429112 w 7467600"/>
              <a:gd name="connsiteY389" fmla="*/ 6479469 h 6858000"/>
              <a:gd name="connsiteX390" fmla="*/ 3304862 w 7467600"/>
              <a:gd name="connsiteY390" fmla="*/ 6796476 h 6858000"/>
              <a:gd name="connsiteX391" fmla="*/ 3276071 w 7467600"/>
              <a:gd name="connsiteY391" fmla="*/ 6858000 h 6858000"/>
              <a:gd name="connsiteX392" fmla="*/ 3240805 w 7467600"/>
              <a:gd name="connsiteY392" fmla="*/ 6858000 h 6858000"/>
              <a:gd name="connsiteX393" fmla="*/ 3275917 w 7467600"/>
              <a:gd name="connsiteY393" fmla="*/ 6783192 h 6858000"/>
              <a:gd name="connsiteX394" fmla="*/ 3399358 w 7467600"/>
              <a:gd name="connsiteY394" fmla="*/ 6469011 h 6858000"/>
              <a:gd name="connsiteX395" fmla="*/ 3425650 w 7467600"/>
              <a:gd name="connsiteY395" fmla="*/ 6381333 h 6858000"/>
              <a:gd name="connsiteX396" fmla="*/ 3460661 w 7467600"/>
              <a:gd name="connsiteY396" fmla="*/ 6266763 h 6858000"/>
              <a:gd name="connsiteX397" fmla="*/ 3518021 w 7467600"/>
              <a:gd name="connsiteY397" fmla="*/ 6117298 h 6858000"/>
              <a:gd name="connsiteX398" fmla="*/ 3554035 w 7467600"/>
              <a:gd name="connsiteY398" fmla="*/ 6027832 h 6858000"/>
              <a:gd name="connsiteX399" fmla="*/ 3677174 w 7467600"/>
              <a:gd name="connsiteY399" fmla="*/ 5636351 h 6858000"/>
              <a:gd name="connsiteX400" fmla="*/ 3698819 w 7467600"/>
              <a:gd name="connsiteY400" fmla="*/ 5560503 h 6858000"/>
              <a:gd name="connsiteX401" fmla="*/ 3702094 w 7467600"/>
              <a:gd name="connsiteY401" fmla="*/ 5549194 h 6858000"/>
              <a:gd name="connsiteX402" fmla="*/ 3398355 w 7467600"/>
              <a:gd name="connsiteY402" fmla="*/ 6094603 h 6858000"/>
              <a:gd name="connsiteX403" fmla="*/ 3193941 w 7467600"/>
              <a:gd name="connsiteY403" fmla="*/ 6798775 h 6858000"/>
              <a:gd name="connsiteX404" fmla="*/ 3184140 w 7467600"/>
              <a:gd name="connsiteY404" fmla="*/ 6858000 h 6858000"/>
              <a:gd name="connsiteX405" fmla="*/ 3099978 w 7467600"/>
              <a:gd name="connsiteY405" fmla="*/ 6858000 h 6858000"/>
              <a:gd name="connsiteX406" fmla="*/ 3101556 w 7467600"/>
              <a:gd name="connsiteY406" fmla="*/ 6843337 h 6858000"/>
              <a:gd name="connsiteX407" fmla="*/ 3370162 w 7467600"/>
              <a:gd name="connsiteY407" fmla="*/ 5785550 h 6858000"/>
              <a:gd name="connsiteX408" fmla="*/ 3746477 w 7467600"/>
              <a:gd name="connsiteY408" fmla="*/ 5377889 h 6858000"/>
              <a:gd name="connsiteX409" fmla="*/ 3863399 w 7467600"/>
              <a:gd name="connsiteY409" fmla="*/ 5087257 h 6858000"/>
              <a:gd name="connsiteX410" fmla="*/ 3968712 w 7467600"/>
              <a:gd name="connsiteY410" fmla="*/ 4913989 h 6858000"/>
              <a:gd name="connsiteX411" fmla="*/ 2792390 w 7467600"/>
              <a:gd name="connsiteY411" fmla="*/ 5382974 h 6858000"/>
              <a:gd name="connsiteX412" fmla="*/ 2714982 w 7467600"/>
              <a:gd name="connsiteY412" fmla="*/ 5427051 h 6858000"/>
              <a:gd name="connsiteX413" fmla="*/ 2813361 w 7467600"/>
              <a:gd name="connsiteY413" fmla="*/ 6023912 h 6858000"/>
              <a:gd name="connsiteX414" fmla="*/ 2688430 w 7467600"/>
              <a:gd name="connsiteY414" fmla="*/ 6801564 h 6858000"/>
              <a:gd name="connsiteX415" fmla="*/ 2629626 w 7467600"/>
              <a:gd name="connsiteY415" fmla="*/ 6763394 h 6858000"/>
              <a:gd name="connsiteX416" fmla="*/ 2565328 w 7467600"/>
              <a:gd name="connsiteY416" fmla="*/ 5516399 h 6858000"/>
              <a:gd name="connsiteX417" fmla="*/ 1922999 w 7467600"/>
              <a:gd name="connsiteY417" fmla="*/ 5980343 h 6858000"/>
              <a:gd name="connsiteX418" fmla="*/ 1950261 w 7467600"/>
              <a:gd name="connsiteY418" fmla="*/ 6405858 h 6858000"/>
              <a:gd name="connsiteX419" fmla="*/ 2365554 w 7467600"/>
              <a:gd name="connsiteY419" fmla="*/ 6759107 h 6858000"/>
              <a:gd name="connsiteX420" fmla="*/ 2424142 w 7467600"/>
              <a:gd name="connsiteY420" fmla="*/ 6858000 h 6858000"/>
              <a:gd name="connsiteX421" fmla="*/ 2395994 w 7467600"/>
              <a:gd name="connsiteY421" fmla="*/ 6858000 h 6858000"/>
              <a:gd name="connsiteX422" fmla="*/ 2392863 w 7467600"/>
              <a:gd name="connsiteY422" fmla="*/ 6852964 h 6858000"/>
              <a:gd name="connsiteX423" fmla="*/ 2017589 w 7467600"/>
              <a:gd name="connsiteY423" fmla="*/ 6493982 h 6858000"/>
              <a:gd name="connsiteX424" fmla="*/ 2147336 w 7467600"/>
              <a:gd name="connsiteY424" fmla="*/ 6594052 h 6858000"/>
              <a:gd name="connsiteX425" fmla="*/ 2207047 w 7467600"/>
              <a:gd name="connsiteY425" fmla="*/ 6654540 h 6858000"/>
              <a:gd name="connsiteX426" fmla="*/ 2299106 w 7467600"/>
              <a:gd name="connsiteY426" fmla="*/ 6778931 h 6858000"/>
              <a:gd name="connsiteX427" fmla="*/ 2314430 w 7467600"/>
              <a:gd name="connsiteY427" fmla="*/ 6801144 h 6858000"/>
              <a:gd name="connsiteX428" fmla="*/ 2352406 w 7467600"/>
              <a:gd name="connsiteY428" fmla="*/ 6858000 h 6858000"/>
              <a:gd name="connsiteX429" fmla="*/ 2314492 w 7467600"/>
              <a:gd name="connsiteY429" fmla="*/ 6858000 h 6858000"/>
              <a:gd name="connsiteX430" fmla="*/ 2288095 w 7467600"/>
              <a:gd name="connsiteY430" fmla="*/ 6818030 h 6858000"/>
              <a:gd name="connsiteX431" fmla="*/ 2272768 w 7467600"/>
              <a:gd name="connsiteY431" fmla="*/ 6795822 h 6858000"/>
              <a:gd name="connsiteX432" fmla="*/ 2182715 w 7467600"/>
              <a:gd name="connsiteY432" fmla="*/ 6675071 h 6858000"/>
              <a:gd name="connsiteX433" fmla="*/ 2032061 w 7467600"/>
              <a:gd name="connsiteY433" fmla="*/ 6541380 h 6858000"/>
              <a:gd name="connsiteX434" fmla="*/ 2257220 w 7467600"/>
              <a:gd name="connsiteY434" fmla="*/ 6826257 h 6858000"/>
              <a:gd name="connsiteX435" fmla="*/ 2281324 w 7467600"/>
              <a:gd name="connsiteY435" fmla="*/ 6858000 h 6858000"/>
              <a:gd name="connsiteX436" fmla="*/ 2242860 w 7467600"/>
              <a:gd name="connsiteY436" fmla="*/ 6858000 h 6858000"/>
              <a:gd name="connsiteX437" fmla="*/ 2232818 w 7467600"/>
              <a:gd name="connsiteY437" fmla="*/ 6844926 h 6858000"/>
              <a:gd name="connsiteX438" fmla="*/ 1990172 w 7467600"/>
              <a:gd name="connsiteY438" fmla="*/ 6542121 h 6858000"/>
              <a:gd name="connsiteX439" fmla="*/ 2124090 w 7467600"/>
              <a:gd name="connsiteY439" fmla="*/ 6761017 h 6858000"/>
              <a:gd name="connsiteX440" fmla="*/ 2200380 w 7467600"/>
              <a:gd name="connsiteY440" fmla="*/ 6858000 h 6858000"/>
              <a:gd name="connsiteX441" fmla="*/ 2147507 w 7467600"/>
              <a:gd name="connsiteY441" fmla="*/ 6858000 h 6858000"/>
              <a:gd name="connsiteX442" fmla="*/ 2070668 w 7467600"/>
              <a:gd name="connsiteY442" fmla="*/ 6761520 h 6858000"/>
              <a:gd name="connsiteX443" fmla="*/ 1975142 w 7467600"/>
              <a:gd name="connsiteY443" fmla="*/ 6585570 h 6858000"/>
              <a:gd name="connsiteX444" fmla="*/ 2050035 w 7467600"/>
              <a:gd name="connsiteY444" fmla="*/ 6813345 h 6858000"/>
              <a:gd name="connsiteX445" fmla="*/ 2063025 w 7467600"/>
              <a:gd name="connsiteY445" fmla="*/ 6858000 h 6858000"/>
              <a:gd name="connsiteX446" fmla="*/ 2021675 w 7467600"/>
              <a:gd name="connsiteY446" fmla="*/ 6858000 h 6858000"/>
              <a:gd name="connsiteX447" fmla="*/ 2019308 w 7467600"/>
              <a:gd name="connsiteY447" fmla="*/ 6847118 h 6858000"/>
              <a:gd name="connsiteX448" fmla="*/ 1938835 w 7467600"/>
              <a:gd name="connsiteY448" fmla="*/ 6551160 h 6858000"/>
              <a:gd name="connsiteX449" fmla="*/ 1953230 w 7467600"/>
              <a:gd name="connsiteY449" fmla="*/ 6759699 h 6858000"/>
              <a:gd name="connsiteX450" fmla="*/ 1956763 w 7467600"/>
              <a:gd name="connsiteY450" fmla="*/ 6778191 h 6858000"/>
              <a:gd name="connsiteX451" fmla="*/ 1967925 w 7467600"/>
              <a:gd name="connsiteY451" fmla="*/ 6858000 h 6858000"/>
              <a:gd name="connsiteX452" fmla="*/ 1936622 w 7467600"/>
              <a:gd name="connsiteY452" fmla="*/ 6858000 h 6858000"/>
              <a:gd name="connsiteX453" fmla="*/ 1926261 w 7467600"/>
              <a:gd name="connsiteY453" fmla="*/ 6784064 h 6858000"/>
              <a:gd name="connsiteX454" fmla="*/ 1922724 w 7467600"/>
              <a:gd name="connsiteY454" fmla="*/ 6765577 h 6858000"/>
              <a:gd name="connsiteX455" fmla="*/ 1904650 w 7467600"/>
              <a:gd name="connsiteY455" fmla="*/ 6639616 h 6858000"/>
              <a:gd name="connsiteX456" fmla="*/ 1885273 w 7467600"/>
              <a:gd name="connsiteY456" fmla="*/ 6858000 h 6858000"/>
              <a:gd name="connsiteX457" fmla="*/ 1854363 w 7467600"/>
              <a:gd name="connsiteY457" fmla="*/ 6858000 h 6858000"/>
              <a:gd name="connsiteX458" fmla="*/ 1880391 w 7467600"/>
              <a:gd name="connsiteY458" fmla="*/ 6603796 h 6858000"/>
              <a:gd name="connsiteX459" fmla="*/ 1818273 w 7467600"/>
              <a:gd name="connsiteY459" fmla="*/ 6715729 h 6858000"/>
              <a:gd name="connsiteX460" fmla="*/ 1794691 w 7467600"/>
              <a:gd name="connsiteY460" fmla="*/ 6843239 h 6858000"/>
              <a:gd name="connsiteX461" fmla="*/ 1794914 w 7467600"/>
              <a:gd name="connsiteY461" fmla="*/ 6858000 h 6858000"/>
              <a:gd name="connsiteX462" fmla="*/ 1746128 w 7467600"/>
              <a:gd name="connsiteY462" fmla="*/ 6858000 h 6858000"/>
              <a:gd name="connsiteX463" fmla="*/ 1753934 w 7467600"/>
              <a:gd name="connsiteY463" fmla="*/ 6724796 h 6858000"/>
              <a:gd name="connsiteX464" fmla="*/ 1792053 w 7467600"/>
              <a:gd name="connsiteY464" fmla="*/ 6572396 h 6858000"/>
              <a:gd name="connsiteX465" fmla="*/ 1862248 w 7467600"/>
              <a:gd name="connsiteY465" fmla="*/ 6266397 h 6858000"/>
              <a:gd name="connsiteX466" fmla="*/ 1862250 w 7467600"/>
              <a:gd name="connsiteY466" fmla="*/ 6033531 h 6858000"/>
              <a:gd name="connsiteX467" fmla="*/ 1211999 w 7467600"/>
              <a:gd name="connsiteY467" fmla="*/ 6683610 h 6858000"/>
              <a:gd name="connsiteX468" fmla="*/ 1213266 w 7467600"/>
              <a:gd name="connsiteY468" fmla="*/ 6691947 h 6858000"/>
              <a:gd name="connsiteX469" fmla="*/ 1203370 w 7467600"/>
              <a:gd name="connsiteY469" fmla="*/ 6850676 h 6858000"/>
              <a:gd name="connsiteX470" fmla="*/ 1203671 w 7467600"/>
              <a:gd name="connsiteY470" fmla="*/ 6858000 h 6858000"/>
              <a:gd name="connsiteX471" fmla="*/ 1143180 w 7467600"/>
              <a:gd name="connsiteY471" fmla="*/ 6858000 h 6858000"/>
              <a:gd name="connsiteX472" fmla="*/ 1142176 w 7467600"/>
              <a:gd name="connsiteY472" fmla="*/ 6766045 h 6858000"/>
              <a:gd name="connsiteX473" fmla="*/ 1067484 w 7467600"/>
              <a:gd name="connsiteY473" fmla="*/ 6858000 h 6858000"/>
              <a:gd name="connsiteX474" fmla="*/ 953928 w 7467600"/>
              <a:gd name="connsiteY474" fmla="*/ 6858000 h 6858000"/>
              <a:gd name="connsiteX475" fmla="*/ 959715 w 7467600"/>
              <a:gd name="connsiteY475" fmla="*/ 6850185 h 6858000"/>
              <a:gd name="connsiteX476" fmla="*/ 1483788 w 7467600"/>
              <a:gd name="connsiteY476" fmla="*/ 6259174 h 6858000"/>
              <a:gd name="connsiteX477" fmla="*/ 1100671 w 7467600"/>
              <a:gd name="connsiteY477" fmla="*/ 6252137 h 6858000"/>
              <a:gd name="connsiteX478" fmla="*/ 1090144 w 7467600"/>
              <a:gd name="connsiteY478" fmla="*/ 6256748 h 6858000"/>
              <a:gd name="connsiteX479" fmla="*/ 1095872 w 7467600"/>
              <a:gd name="connsiteY479" fmla="*/ 6271892 h 6858000"/>
              <a:gd name="connsiteX480" fmla="*/ 262785 w 7467600"/>
              <a:gd name="connsiteY480" fmla="*/ 6845450 h 6858000"/>
              <a:gd name="connsiteX481" fmla="*/ 209968 w 7467600"/>
              <a:gd name="connsiteY481" fmla="*/ 6770713 h 6858000"/>
              <a:gd name="connsiteX482" fmla="*/ 873460 w 7467600"/>
              <a:gd name="connsiteY482" fmla="*/ 6253768 h 6858000"/>
              <a:gd name="connsiteX483" fmla="*/ 192686 w 7467600"/>
              <a:gd name="connsiteY483" fmla="*/ 5849257 h 6858000"/>
              <a:gd name="connsiteX484" fmla="*/ 4696 w 7467600"/>
              <a:gd name="connsiteY484" fmla="*/ 5697668 h 6858000"/>
              <a:gd name="connsiteX485" fmla="*/ 0 w 7467600"/>
              <a:gd name="connsiteY485" fmla="*/ 5689984 h 6858000"/>
              <a:gd name="connsiteX486" fmla="*/ 0 w 7467600"/>
              <a:gd name="connsiteY486" fmla="*/ 5513472 h 6858000"/>
              <a:gd name="connsiteX487" fmla="*/ 174101 w 7467600"/>
              <a:gd name="connsiteY487" fmla="*/ 5620277 h 6858000"/>
              <a:gd name="connsiteX488" fmla="*/ 891800 w 7467600"/>
              <a:gd name="connsiteY488" fmla="*/ 6036935 h 6858000"/>
              <a:gd name="connsiteX489" fmla="*/ 1072219 w 7467600"/>
              <a:gd name="connsiteY489" fmla="*/ 6169443 h 6858000"/>
              <a:gd name="connsiteX490" fmla="*/ 1074117 w 7467600"/>
              <a:gd name="connsiteY490" fmla="*/ 6170301 h 6858000"/>
              <a:gd name="connsiteX491" fmla="*/ 1083114 w 7467600"/>
              <a:gd name="connsiteY491" fmla="*/ 6174131 h 6858000"/>
              <a:gd name="connsiteX492" fmla="*/ 1543010 w 7467600"/>
              <a:gd name="connsiteY492" fmla="*/ 6191140 h 6858000"/>
              <a:gd name="connsiteX493" fmla="*/ 1551080 w 7467600"/>
              <a:gd name="connsiteY493" fmla="*/ 6195006 h 6858000"/>
              <a:gd name="connsiteX494" fmla="*/ 2345443 w 7467600"/>
              <a:gd name="connsiteY494" fmla="*/ 5549882 h 6858000"/>
              <a:gd name="connsiteX495" fmla="*/ 1721499 w 7467600"/>
              <a:gd name="connsiteY495" fmla="*/ 5599969 h 6858000"/>
              <a:gd name="connsiteX496" fmla="*/ 767716 w 7467600"/>
              <a:gd name="connsiteY496" fmla="*/ 5472768 h 6858000"/>
              <a:gd name="connsiteX497" fmla="*/ 722147 w 7467600"/>
              <a:gd name="connsiteY497" fmla="*/ 5393091 h 6858000"/>
              <a:gd name="connsiteX498" fmla="*/ 1485552 w 7467600"/>
              <a:gd name="connsiteY498" fmla="*/ 5313202 h 6858000"/>
              <a:gd name="connsiteX499" fmla="*/ 2143004 w 7467600"/>
              <a:gd name="connsiteY499" fmla="*/ 5402420 h 6858000"/>
              <a:gd name="connsiteX500" fmla="*/ 1933391 w 7467600"/>
              <a:gd name="connsiteY500" fmla="*/ 5156971 h 6858000"/>
              <a:gd name="connsiteX501" fmla="*/ 1827118 w 7467600"/>
              <a:gd name="connsiteY501" fmla="*/ 4968410 h 6858000"/>
              <a:gd name="connsiteX502" fmla="*/ 1837349 w 7467600"/>
              <a:gd name="connsiteY502" fmla="*/ 4956357 h 6858000"/>
              <a:gd name="connsiteX503" fmla="*/ 2162835 w 7467600"/>
              <a:gd name="connsiteY503" fmla="*/ 5187853 h 6858000"/>
              <a:gd name="connsiteX504" fmla="*/ 2257167 w 7467600"/>
              <a:gd name="connsiteY504" fmla="*/ 5462123 h 6858000"/>
              <a:gd name="connsiteX505" fmla="*/ 2261598 w 7467600"/>
              <a:gd name="connsiteY505" fmla="*/ 5467998 h 6858000"/>
              <a:gd name="connsiteX506" fmla="*/ 2437177 w 7467600"/>
              <a:gd name="connsiteY506" fmla="*/ 5479608 h 6858000"/>
              <a:gd name="connsiteX507" fmla="*/ 2445247 w 7467600"/>
              <a:gd name="connsiteY507" fmla="*/ 5483476 h 6858000"/>
              <a:gd name="connsiteX508" fmla="*/ 2743626 w 7467600"/>
              <a:gd name="connsiteY508" fmla="*/ 5304819 h 6858000"/>
              <a:gd name="connsiteX509" fmla="*/ 3048102 w 7467600"/>
              <a:gd name="connsiteY509" fmla="*/ 5150595 h 6858000"/>
              <a:gd name="connsiteX510" fmla="*/ 1799414 w 7467600"/>
              <a:gd name="connsiteY510" fmla="*/ 4694732 h 6858000"/>
              <a:gd name="connsiteX511" fmla="*/ 1771735 w 7467600"/>
              <a:gd name="connsiteY511" fmla="*/ 4619929 h 6858000"/>
              <a:gd name="connsiteX512" fmla="*/ 3104273 w 7467600"/>
              <a:gd name="connsiteY512" fmla="*/ 5076159 h 6858000"/>
              <a:gd name="connsiteX513" fmla="*/ 3113245 w 7467600"/>
              <a:gd name="connsiteY513" fmla="*/ 5090705 h 6858000"/>
              <a:gd name="connsiteX514" fmla="*/ 3126294 w 7467600"/>
              <a:gd name="connsiteY514" fmla="*/ 5114400 h 6858000"/>
              <a:gd name="connsiteX515" fmla="*/ 3937433 w 7467600"/>
              <a:gd name="connsiteY515" fmla="*/ 4830473 h 6858000"/>
              <a:gd name="connsiteX516" fmla="*/ 3590475 w 7467600"/>
              <a:gd name="connsiteY516" fmla="*/ 4597974 h 6858000"/>
              <a:gd name="connsiteX517" fmla="*/ 3100264 w 7467600"/>
              <a:gd name="connsiteY517" fmla="*/ 4579845 h 6858000"/>
              <a:gd name="connsiteX518" fmla="*/ 2183576 w 7467600"/>
              <a:gd name="connsiteY518" fmla="*/ 4227150 h 6858000"/>
              <a:gd name="connsiteX519" fmla="*/ 2151029 w 7467600"/>
              <a:gd name="connsiteY519" fmla="*/ 4146947 h 6858000"/>
              <a:gd name="connsiteX520" fmla="*/ 3563434 w 7467600"/>
              <a:gd name="connsiteY520" fmla="*/ 4469115 h 6858000"/>
              <a:gd name="connsiteX521" fmla="*/ 3177952 w 7467600"/>
              <a:gd name="connsiteY521" fmla="*/ 3657386 h 6858000"/>
              <a:gd name="connsiteX522" fmla="*/ 3189263 w 7467600"/>
              <a:gd name="connsiteY522" fmla="*/ 3625726 h 6858000"/>
              <a:gd name="connsiteX523" fmla="*/ 3560912 w 7467600"/>
              <a:gd name="connsiteY523" fmla="*/ 4079863 h 6858000"/>
              <a:gd name="connsiteX524" fmla="*/ 3626636 w 7467600"/>
              <a:gd name="connsiteY524" fmla="*/ 4512230 h 6858000"/>
              <a:gd name="connsiteX525" fmla="*/ 3653088 w 7467600"/>
              <a:gd name="connsiteY525" fmla="*/ 4521417 h 6858000"/>
              <a:gd name="connsiteX526" fmla="*/ 3988128 w 7467600"/>
              <a:gd name="connsiteY526" fmla="*/ 4817267 h 6858000"/>
              <a:gd name="connsiteX527" fmla="*/ 4830582 w 7467600"/>
              <a:gd name="connsiteY527" fmla="*/ 4676000 h 6858000"/>
              <a:gd name="connsiteX528" fmla="*/ 4830100 w 7467600"/>
              <a:gd name="connsiteY528" fmla="*/ 4675554 h 6858000"/>
              <a:gd name="connsiteX529" fmla="*/ 4036318 w 7467600"/>
              <a:gd name="connsiteY529" fmla="*/ 4147013 h 6858000"/>
              <a:gd name="connsiteX530" fmla="*/ 3432098 w 7467600"/>
              <a:gd name="connsiteY530" fmla="*/ 3537312 h 6858000"/>
              <a:gd name="connsiteX531" fmla="*/ 3446761 w 7467600"/>
              <a:gd name="connsiteY531" fmla="*/ 3461278 h 6858000"/>
              <a:gd name="connsiteX532" fmla="*/ 4419733 w 7467600"/>
              <a:gd name="connsiteY532" fmla="*/ 3963555 h 6858000"/>
              <a:gd name="connsiteX533" fmla="*/ 4781371 w 7467600"/>
              <a:gd name="connsiteY533" fmla="*/ 4458604 h 6858000"/>
              <a:gd name="connsiteX534" fmla="*/ 4780440 w 7467600"/>
              <a:gd name="connsiteY534" fmla="*/ 4470290 h 6858000"/>
              <a:gd name="connsiteX535" fmla="*/ 4898954 w 7467600"/>
              <a:gd name="connsiteY535" fmla="*/ 4662092 h 6858000"/>
              <a:gd name="connsiteX536" fmla="*/ 4900699 w 7467600"/>
              <a:gd name="connsiteY536" fmla="*/ 4670867 h 6858000"/>
              <a:gd name="connsiteX537" fmla="*/ 5714511 w 7467600"/>
              <a:gd name="connsiteY537" fmla="*/ 4663483 h 6858000"/>
              <a:gd name="connsiteX538" fmla="*/ 5464793 w 7467600"/>
              <a:gd name="connsiteY538" fmla="*/ 4393556 h 6858000"/>
              <a:gd name="connsiteX539" fmla="*/ 5461897 w 7467600"/>
              <a:gd name="connsiteY539" fmla="*/ 4390879 h 6858000"/>
              <a:gd name="connsiteX540" fmla="*/ 4294126 w 7467600"/>
              <a:gd name="connsiteY540" fmla="*/ 3303048 h 6858000"/>
              <a:gd name="connsiteX541" fmla="*/ 4305321 w 7467600"/>
              <a:gd name="connsiteY541" fmla="*/ 3256953 h 6858000"/>
              <a:gd name="connsiteX542" fmla="*/ 4949299 w 7467600"/>
              <a:gd name="connsiteY542" fmla="*/ 3766336 h 6858000"/>
              <a:gd name="connsiteX543" fmla="*/ 5291452 w 7467600"/>
              <a:gd name="connsiteY543" fmla="*/ 4076801 h 6858000"/>
              <a:gd name="connsiteX544" fmla="*/ 5434998 w 7467600"/>
              <a:gd name="connsiteY544" fmla="*/ 4254100 h 6858000"/>
              <a:gd name="connsiteX545" fmla="*/ 5351015 w 7467600"/>
              <a:gd name="connsiteY545" fmla="*/ 3760989 h 6858000"/>
              <a:gd name="connsiteX546" fmla="*/ 5413780 w 7467600"/>
              <a:gd name="connsiteY546" fmla="*/ 2966265 h 6858000"/>
              <a:gd name="connsiteX547" fmla="*/ 5425627 w 7467600"/>
              <a:gd name="connsiteY547" fmla="*/ 2954192 h 6858000"/>
              <a:gd name="connsiteX548" fmla="*/ 6604735 w 7467600"/>
              <a:gd name="connsiteY548" fmla="*/ 2041381 h 6858000"/>
              <a:gd name="connsiteX549" fmla="*/ 7204487 w 7467600"/>
              <a:gd name="connsiteY549" fmla="*/ 2742112 h 6858000"/>
              <a:gd name="connsiteX550" fmla="*/ 7131592 w 7467600"/>
              <a:gd name="connsiteY550" fmla="*/ 2672096 h 6858000"/>
              <a:gd name="connsiteX551" fmla="*/ 6996344 w 7467600"/>
              <a:gd name="connsiteY551" fmla="*/ 2518310 h 6858000"/>
              <a:gd name="connsiteX552" fmla="*/ 6735495 w 7467600"/>
              <a:gd name="connsiteY552" fmla="*/ 2196890 h 6858000"/>
              <a:gd name="connsiteX553" fmla="*/ 6721901 w 7467600"/>
              <a:gd name="connsiteY553" fmla="*/ 2179274 h 6858000"/>
              <a:gd name="connsiteX554" fmla="*/ 6604735 w 7467600"/>
              <a:gd name="connsiteY554" fmla="*/ 2041381 h 6858000"/>
              <a:gd name="connsiteX555" fmla="*/ 6591670 w 7467600"/>
              <a:gd name="connsiteY555" fmla="*/ 1988277 h 6858000"/>
              <a:gd name="connsiteX556" fmla="*/ 6747349 w 7467600"/>
              <a:gd name="connsiteY556" fmla="*/ 2160069 h 6858000"/>
              <a:gd name="connsiteX557" fmla="*/ 6760943 w 7467600"/>
              <a:gd name="connsiteY557" fmla="*/ 2177686 h 6858000"/>
              <a:gd name="connsiteX558" fmla="*/ 7021065 w 7467600"/>
              <a:gd name="connsiteY558" fmla="*/ 2498102 h 6858000"/>
              <a:gd name="connsiteX559" fmla="*/ 7155223 w 7467600"/>
              <a:gd name="connsiteY559" fmla="*/ 2650386 h 6858000"/>
              <a:gd name="connsiteX560" fmla="*/ 7203167 w 7467600"/>
              <a:gd name="connsiteY560" fmla="*/ 2697288 h 6858000"/>
              <a:gd name="connsiteX561" fmla="*/ 6937703 w 7467600"/>
              <a:gd name="connsiteY561" fmla="*/ 2321981 h 6858000"/>
              <a:gd name="connsiteX562" fmla="*/ 6591670 w 7467600"/>
              <a:gd name="connsiteY562" fmla="*/ 1988277 h 6858000"/>
              <a:gd name="connsiteX563" fmla="*/ 5798671 w 7467600"/>
              <a:gd name="connsiteY563" fmla="*/ 1981601 h 6858000"/>
              <a:gd name="connsiteX564" fmla="*/ 5754709 w 7467600"/>
              <a:gd name="connsiteY564" fmla="*/ 2071454 h 6858000"/>
              <a:gd name="connsiteX565" fmla="*/ 5763044 w 7467600"/>
              <a:gd name="connsiteY565" fmla="*/ 2842206 h 6858000"/>
              <a:gd name="connsiteX566" fmla="*/ 5764974 w 7467600"/>
              <a:gd name="connsiteY566" fmla="*/ 2799609 h 6858000"/>
              <a:gd name="connsiteX567" fmla="*/ 5767665 w 7467600"/>
              <a:gd name="connsiteY567" fmla="*/ 2666409 h 6858000"/>
              <a:gd name="connsiteX568" fmla="*/ 5763055 w 7467600"/>
              <a:gd name="connsiteY568" fmla="*/ 2579705 h 6858000"/>
              <a:gd name="connsiteX569" fmla="*/ 5758079 w 7467600"/>
              <a:gd name="connsiteY569" fmla="*/ 2492508 h 6858000"/>
              <a:gd name="connsiteX570" fmla="*/ 5779325 w 7467600"/>
              <a:gd name="connsiteY570" fmla="*/ 2197069 h 6858000"/>
              <a:gd name="connsiteX571" fmla="*/ 5798671 w 7467600"/>
              <a:gd name="connsiteY571" fmla="*/ 1981601 h 6858000"/>
              <a:gd name="connsiteX572" fmla="*/ 5829202 w 7467600"/>
              <a:gd name="connsiteY572" fmla="*/ 1971679 h 6858000"/>
              <a:gd name="connsiteX573" fmla="*/ 5809558 w 7467600"/>
              <a:gd name="connsiteY573" fmla="*/ 2198043 h 6858000"/>
              <a:gd name="connsiteX574" fmla="*/ 5788653 w 7467600"/>
              <a:gd name="connsiteY574" fmla="*/ 2489430 h 6858000"/>
              <a:gd name="connsiteX575" fmla="*/ 5793439 w 7467600"/>
              <a:gd name="connsiteY575" fmla="*/ 2575235 h 6858000"/>
              <a:gd name="connsiteX576" fmla="*/ 5796837 w 7467600"/>
              <a:gd name="connsiteY576" fmla="*/ 2637633 h 6858000"/>
              <a:gd name="connsiteX577" fmla="*/ 5818614 w 7467600"/>
              <a:gd name="connsiteY577" fmla="*/ 2473055 h 6858000"/>
              <a:gd name="connsiteX578" fmla="*/ 5829202 w 7467600"/>
              <a:gd name="connsiteY578" fmla="*/ 1971679 h 6858000"/>
              <a:gd name="connsiteX579" fmla="*/ 5911389 w 7467600"/>
              <a:gd name="connsiteY579" fmla="*/ 1898371 h 6858000"/>
              <a:gd name="connsiteX580" fmla="*/ 6237627 w 7467600"/>
              <a:gd name="connsiteY580" fmla="*/ 2231921 h 6858000"/>
              <a:gd name="connsiteX581" fmla="*/ 5911389 w 7467600"/>
              <a:gd name="connsiteY581" fmla="*/ 1898371 h 6858000"/>
              <a:gd name="connsiteX582" fmla="*/ 6944437 w 7467600"/>
              <a:gd name="connsiteY582" fmla="*/ 1575402 h 6858000"/>
              <a:gd name="connsiteX583" fmla="*/ 6304730 w 7467600"/>
              <a:gd name="connsiteY583" fmla="*/ 1766654 h 6858000"/>
              <a:gd name="connsiteX584" fmla="*/ 6944437 w 7467600"/>
              <a:gd name="connsiteY584" fmla="*/ 1575402 h 6858000"/>
              <a:gd name="connsiteX585" fmla="*/ 7019523 w 7467600"/>
              <a:gd name="connsiteY585" fmla="*/ 1519450 h 6858000"/>
              <a:gd name="connsiteX586" fmla="*/ 6298091 w 7467600"/>
              <a:gd name="connsiteY586" fmla="*/ 1737122 h 6858000"/>
              <a:gd name="connsiteX587" fmla="*/ 7019523 w 7467600"/>
              <a:gd name="connsiteY587" fmla="*/ 1519450 h 6858000"/>
              <a:gd name="connsiteX588" fmla="*/ 2399523 w 7467600"/>
              <a:gd name="connsiteY588" fmla="*/ 1428234 h 6858000"/>
              <a:gd name="connsiteX589" fmla="*/ 2224982 w 7467600"/>
              <a:gd name="connsiteY589" fmla="*/ 1826201 h 6858000"/>
              <a:gd name="connsiteX590" fmla="*/ 2096099 w 7467600"/>
              <a:gd name="connsiteY590" fmla="*/ 2345900 h 6858000"/>
              <a:gd name="connsiteX591" fmla="*/ 2283317 w 7467600"/>
              <a:gd name="connsiteY591" fmla="*/ 1796925 h 6858000"/>
              <a:gd name="connsiteX592" fmla="*/ 2399523 w 7467600"/>
              <a:gd name="connsiteY592" fmla="*/ 1428234 h 6858000"/>
              <a:gd name="connsiteX593" fmla="*/ 2448558 w 7467600"/>
              <a:gd name="connsiteY593" fmla="*/ 1373435 h 6858000"/>
              <a:gd name="connsiteX594" fmla="*/ 2312521 w 7467600"/>
              <a:gd name="connsiteY594" fmla="*/ 1806140 h 6858000"/>
              <a:gd name="connsiteX595" fmla="*/ 2127533 w 7467600"/>
              <a:gd name="connsiteY595" fmla="*/ 2348380 h 6858000"/>
              <a:gd name="connsiteX596" fmla="*/ 2358080 w 7467600"/>
              <a:gd name="connsiteY596" fmla="*/ 1866134 h 6858000"/>
              <a:gd name="connsiteX597" fmla="*/ 2407436 w 7467600"/>
              <a:gd name="connsiteY597" fmla="*/ 1651070 h 6858000"/>
              <a:gd name="connsiteX598" fmla="*/ 2448558 w 7467600"/>
              <a:gd name="connsiteY598" fmla="*/ 1373435 h 6858000"/>
              <a:gd name="connsiteX599" fmla="*/ 278707 w 7467600"/>
              <a:gd name="connsiteY599" fmla="*/ 1352270 h 6858000"/>
              <a:gd name="connsiteX600" fmla="*/ 321570 w 7467600"/>
              <a:gd name="connsiteY600" fmla="*/ 1861610 h 6858000"/>
              <a:gd name="connsiteX601" fmla="*/ 294281 w 7467600"/>
              <a:gd name="connsiteY601" fmla="*/ 1440658 h 6858000"/>
              <a:gd name="connsiteX602" fmla="*/ 278707 w 7467600"/>
              <a:gd name="connsiteY602" fmla="*/ 1352270 h 6858000"/>
              <a:gd name="connsiteX603" fmla="*/ 1423821 w 7467600"/>
              <a:gd name="connsiteY603" fmla="*/ 1351958 h 6858000"/>
              <a:gd name="connsiteX604" fmla="*/ 1638521 w 7467600"/>
              <a:gd name="connsiteY604" fmla="*/ 1908470 h 6858000"/>
              <a:gd name="connsiteX605" fmla="*/ 1754199 w 7467600"/>
              <a:gd name="connsiteY605" fmla="*/ 2149284 h 6858000"/>
              <a:gd name="connsiteX606" fmla="*/ 1908359 w 7467600"/>
              <a:gd name="connsiteY606" fmla="*/ 2364988 h 6858000"/>
              <a:gd name="connsiteX607" fmla="*/ 1647661 w 7467600"/>
              <a:gd name="connsiteY607" fmla="*/ 1825945 h 6858000"/>
              <a:gd name="connsiteX608" fmla="*/ 1423821 w 7467600"/>
              <a:gd name="connsiteY608" fmla="*/ 1351958 h 6858000"/>
              <a:gd name="connsiteX609" fmla="*/ 1431890 w 7467600"/>
              <a:gd name="connsiteY609" fmla="*/ 1306475 h 6858000"/>
              <a:gd name="connsiteX610" fmla="*/ 1507597 w 7467600"/>
              <a:gd name="connsiteY610" fmla="*/ 1446132 h 6858000"/>
              <a:gd name="connsiteX611" fmla="*/ 1674586 w 7467600"/>
              <a:gd name="connsiteY611" fmla="*/ 1813832 h 6858000"/>
              <a:gd name="connsiteX612" fmla="*/ 1815950 w 7467600"/>
              <a:gd name="connsiteY612" fmla="*/ 2128564 h 6858000"/>
              <a:gd name="connsiteX613" fmla="*/ 1984242 w 7467600"/>
              <a:gd name="connsiteY613" fmla="*/ 2430829 h 6858000"/>
              <a:gd name="connsiteX614" fmla="*/ 2014023 w 7467600"/>
              <a:gd name="connsiteY614" fmla="*/ 2450995 h 6858000"/>
              <a:gd name="connsiteX615" fmla="*/ 1747337 w 7467600"/>
              <a:gd name="connsiteY615" fmla="*/ 1855264 h 6858000"/>
              <a:gd name="connsiteX616" fmla="*/ 1533749 w 7467600"/>
              <a:gd name="connsiteY616" fmla="*/ 1478656 h 6858000"/>
              <a:gd name="connsiteX617" fmla="*/ 1431890 w 7467600"/>
              <a:gd name="connsiteY617" fmla="*/ 1306475 h 6858000"/>
              <a:gd name="connsiteX618" fmla="*/ 5052692 w 7467600"/>
              <a:gd name="connsiteY618" fmla="*/ 1292994 h 6858000"/>
              <a:gd name="connsiteX619" fmla="*/ 5200661 w 7467600"/>
              <a:gd name="connsiteY619" fmla="*/ 1635186 h 6858000"/>
              <a:gd name="connsiteX620" fmla="*/ 5297138 w 7467600"/>
              <a:gd name="connsiteY620" fmla="*/ 1906351 h 6858000"/>
              <a:gd name="connsiteX621" fmla="*/ 5052692 w 7467600"/>
              <a:gd name="connsiteY621" fmla="*/ 1292994 h 6858000"/>
              <a:gd name="connsiteX622" fmla="*/ 5009948 w 7467600"/>
              <a:gd name="connsiteY622" fmla="*/ 1273619 h 6858000"/>
              <a:gd name="connsiteX623" fmla="*/ 5121777 w 7467600"/>
              <a:gd name="connsiteY623" fmla="*/ 1654213 h 6858000"/>
              <a:gd name="connsiteX624" fmla="*/ 5293545 w 7467600"/>
              <a:gd name="connsiteY624" fmla="*/ 2072247 h 6858000"/>
              <a:gd name="connsiteX625" fmla="*/ 5294042 w 7467600"/>
              <a:gd name="connsiteY625" fmla="*/ 2065019 h 6858000"/>
              <a:gd name="connsiteX626" fmla="*/ 5171936 w 7467600"/>
              <a:gd name="connsiteY626" fmla="*/ 1647613 h 6858000"/>
              <a:gd name="connsiteX627" fmla="*/ 5009948 w 7467600"/>
              <a:gd name="connsiteY627" fmla="*/ 1273619 h 6858000"/>
              <a:gd name="connsiteX628" fmla="*/ 655236 w 7467600"/>
              <a:gd name="connsiteY628" fmla="*/ 1268632 h 6858000"/>
              <a:gd name="connsiteX629" fmla="*/ 839521 w 7467600"/>
              <a:gd name="connsiteY629" fmla="*/ 1685315 h 6858000"/>
              <a:gd name="connsiteX630" fmla="*/ 1109416 w 7467600"/>
              <a:gd name="connsiteY630" fmla="*/ 2061663 h 6858000"/>
              <a:gd name="connsiteX631" fmla="*/ 1298300 w 7467600"/>
              <a:gd name="connsiteY631" fmla="*/ 2247742 h 6858000"/>
              <a:gd name="connsiteX632" fmla="*/ 1125871 w 7467600"/>
              <a:gd name="connsiteY632" fmla="*/ 1989513 h 6858000"/>
              <a:gd name="connsiteX633" fmla="*/ 981574 w 7467600"/>
              <a:gd name="connsiteY633" fmla="*/ 1783157 h 6858000"/>
              <a:gd name="connsiteX634" fmla="*/ 922198 w 7467600"/>
              <a:gd name="connsiteY634" fmla="*/ 1677437 h 6858000"/>
              <a:gd name="connsiteX635" fmla="*/ 869293 w 7467600"/>
              <a:gd name="connsiteY635" fmla="*/ 1583214 h 6858000"/>
              <a:gd name="connsiteX636" fmla="*/ 751431 w 7467600"/>
              <a:gd name="connsiteY636" fmla="*/ 1405731 h 6858000"/>
              <a:gd name="connsiteX637" fmla="*/ 655236 w 7467600"/>
              <a:gd name="connsiteY637" fmla="*/ 1268632 h 6858000"/>
              <a:gd name="connsiteX638" fmla="*/ 6516292 w 7467600"/>
              <a:gd name="connsiteY638" fmla="*/ 1263064 h 6858000"/>
              <a:gd name="connsiteX639" fmla="*/ 5736320 w 7467600"/>
              <a:gd name="connsiteY639" fmla="*/ 1501803 h 6858000"/>
              <a:gd name="connsiteX640" fmla="*/ 6516292 w 7467600"/>
              <a:gd name="connsiteY640" fmla="*/ 1263064 h 6858000"/>
              <a:gd name="connsiteX641" fmla="*/ 291466 w 7467600"/>
              <a:gd name="connsiteY641" fmla="*/ 1250369 h 6858000"/>
              <a:gd name="connsiteX642" fmla="*/ 323180 w 7467600"/>
              <a:gd name="connsiteY642" fmla="*/ 1435283 h 6858000"/>
              <a:gd name="connsiteX643" fmla="*/ 349381 w 7467600"/>
              <a:gd name="connsiteY643" fmla="*/ 1875041 h 6858000"/>
              <a:gd name="connsiteX644" fmla="*/ 374363 w 7467600"/>
              <a:gd name="connsiteY644" fmla="*/ 1506494 h 6858000"/>
              <a:gd name="connsiteX645" fmla="*/ 302168 w 7467600"/>
              <a:gd name="connsiteY645" fmla="*/ 1274495 h 6858000"/>
              <a:gd name="connsiteX646" fmla="*/ 291466 w 7467600"/>
              <a:gd name="connsiteY646" fmla="*/ 1250369 h 6858000"/>
              <a:gd name="connsiteX647" fmla="*/ 678222 w 7467600"/>
              <a:gd name="connsiteY647" fmla="*/ 1248670 h 6858000"/>
              <a:gd name="connsiteX648" fmla="*/ 775536 w 7467600"/>
              <a:gd name="connsiteY648" fmla="*/ 1388015 h 6858000"/>
              <a:gd name="connsiteX649" fmla="*/ 894529 w 7467600"/>
              <a:gd name="connsiteY649" fmla="*/ 1567739 h 6858000"/>
              <a:gd name="connsiteX650" fmla="*/ 948000 w 7467600"/>
              <a:gd name="connsiteY650" fmla="*/ 1663088 h 6858000"/>
              <a:gd name="connsiteX651" fmla="*/ 1006812 w 7467600"/>
              <a:gd name="connsiteY651" fmla="*/ 1767683 h 6858000"/>
              <a:gd name="connsiteX652" fmla="*/ 1149133 w 7467600"/>
              <a:gd name="connsiteY652" fmla="*/ 1971513 h 6858000"/>
              <a:gd name="connsiteX653" fmla="*/ 1333952 w 7467600"/>
              <a:gd name="connsiteY653" fmla="*/ 2251620 h 6858000"/>
              <a:gd name="connsiteX654" fmla="*/ 1337329 w 7467600"/>
              <a:gd name="connsiteY654" fmla="*/ 2258350 h 6858000"/>
              <a:gd name="connsiteX655" fmla="*/ 1014726 w 7467600"/>
              <a:gd name="connsiteY655" fmla="*/ 1615556 h 6858000"/>
              <a:gd name="connsiteX656" fmla="*/ 678222 w 7467600"/>
              <a:gd name="connsiteY656" fmla="*/ 1248670 h 6858000"/>
              <a:gd name="connsiteX657" fmla="*/ 6691602 w 7467600"/>
              <a:gd name="connsiteY657" fmla="*/ 1140573 h 6858000"/>
              <a:gd name="connsiteX658" fmla="*/ 6571100 w 7467600"/>
              <a:gd name="connsiteY658" fmla="*/ 1183662 h 6858000"/>
              <a:gd name="connsiteX659" fmla="*/ 6241687 w 7467600"/>
              <a:gd name="connsiteY659" fmla="*/ 1257600 h 6858000"/>
              <a:gd name="connsiteX660" fmla="*/ 5693009 w 7467600"/>
              <a:gd name="connsiteY660" fmla="*/ 1478256 h 6858000"/>
              <a:gd name="connsiteX661" fmla="*/ 6548420 w 7467600"/>
              <a:gd name="connsiteY661" fmla="*/ 1214599 h 6858000"/>
              <a:gd name="connsiteX662" fmla="*/ 6605473 w 7467600"/>
              <a:gd name="connsiteY662" fmla="*/ 1184686 h 6858000"/>
              <a:gd name="connsiteX663" fmla="*/ 6691602 w 7467600"/>
              <a:gd name="connsiteY663" fmla="*/ 1140573 h 6858000"/>
              <a:gd name="connsiteX664" fmla="*/ 4002475 w 7467600"/>
              <a:gd name="connsiteY664" fmla="*/ 1037802 h 6858000"/>
              <a:gd name="connsiteX665" fmla="*/ 4000324 w 7467600"/>
              <a:gd name="connsiteY665" fmla="*/ 1039362 h 6858000"/>
              <a:gd name="connsiteX666" fmla="*/ 4002862 w 7467600"/>
              <a:gd name="connsiteY666" fmla="*/ 1042866 h 6858000"/>
              <a:gd name="connsiteX667" fmla="*/ 4002475 w 7467600"/>
              <a:gd name="connsiteY667" fmla="*/ 1037802 h 6858000"/>
              <a:gd name="connsiteX668" fmla="*/ 506322 w 7467600"/>
              <a:gd name="connsiteY668" fmla="*/ 1020997 h 6858000"/>
              <a:gd name="connsiteX669" fmla="*/ 533068 w 7467600"/>
              <a:gd name="connsiteY669" fmla="*/ 1029409 h 6858000"/>
              <a:gd name="connsiteX670" fmla="*/ 1232525 w 7467600"/>
              <a:gd name="connsiteY670" fmla="*/ 1804675 h 6858000"/>
              <a:gd name="connsiteX671" fmla="*/ 1388858 w 7467600"/>
              <a:gd name="connsiteY671" fmla="*/ 2368011 h 6858000"/>
              <a:gd name="connsiteX672" fmla="*/ 1384098 w 7467600"/>
              <a:gd name="connsiteY672" fmla="*/ 2378125 h 6858000"/>
              <a:gd name="connsiteX673" fmla="*/ 1425393 w 7467600"/>
              <a:gd name="connsiteY673" fmla="*/ 2589124 h 6858000"/>
              <a:gd name="connsiteX674" fmla="*/ 1424001 w 7467600"/>
              <a:gd name="connsiteY674" fmla="*/ 2597541 h 6858000"/>
              <a:gd name="connsiteX675" fmla="*/ 2152729 w 7467600"/>
              <a:gd name="connsiteY675" fmla="*/ 2864487 h 6858000"/>
              <a:gd name="connsiteX676" fmla="*/ 2020609 w 7467600"/>
              <a:gd name="connsiteY676" fmla="*/ 2539671 h 6858000"/>
              <a:gd name="connsiteX677" fmla="*/ 2018920 w 7467600"/>
              <a:gd name="connsiteY677" fmla="*/ 2536309 h 6858000"/>
              <a:gd name="connsiteX678" fmla="*/ 1342441 w 7467600"/>
              <a:gd name="connsiteY678" fmla="*/ 1173017 h 6858000"/>
              <a:gd name="connsiteX679" fmla="*/ 1367925 w 7467600"/>
              <a:gd name="connsiteY679" fmla="*/ 1135648 h 6858000"/>
              <a:gd name="connsiteX680" fmla="*/ 1771401 w 7467600"/>
              <a:gd name="connsiteY680" fmla="*/ 1806673 h 6858000"/>
              <a:gd name="connsiteX681" fmla="*/ 1972385 w 7467600"/>
              <a:gd name="connsiteY681" fmla="*/ 2198735 h 6858000"/>
              <a:gd name="connsiteX682" fmla="*/ 2040892 w 7467600"/>
              <a:gd name="connsiteY682" fmla="*/ 2405205 h 6858000"/>
              <a:gd name="connsiteX683" fmla="*/ 2131689 w 7467600"/>
              <a:gd name="connsiteY683" fmla="*/ 1936926 h 6858000"/>
              <a:gd name="connsiteX684" fmla="*/ 2454820 w 7467600"/>
              <a:gd name="connsiteY684" fmla="*/ 1248808 h 6858000"/>
              <a:gd name="connsiteX685" fmla="*/ 2492512 w 7467600"/>
              <a:gd name="connsiteY685" fmla="*/ 1302920 h 6858000"/>
              <a:gd name="connsiteX686" fmla="*/ 2081216 w 7467600"/>
              <a:gd name="connsiteY686" fmla="*/ 2527513 h 6858000"/>
              <a:gd name="connsiteX687" fmla="*/ 2081211 w 7467600"/>
              <a:gd name="connsiteY687" fmla="*/ 2528916 h 6858000"/>
              <a:gd name="connsiteX688" fmla="*/ 2199067 w 7467600"/>
              <a:gd name="connsiteY688" fmla="*/ 2884061 h 6858000"/>
              <a:gd name="connsiteX689" fmla="*/ 3192586 w 7467600"/>
              <a:gd name="connsiteY689" fmla="*/ 3411496 h 6858000"/>
              <a:gd name="connsiteX690" fmla="*/ 3182620 w 7467600"/>
              <a:gd name="connsiteY690" fmla="*/ 3483279 h 6858000"/>
              <a:gd name="connsiteX691" fmla="*/ 2435119 w 7467600"/>
              <a:gd name="connsiteY691" fmla="*/ 3080173 h 6858000"/>
              <a:gd name="connsiteX692" fmla="*/ 2410152 w 7467600"/>
              <a:gd name="connsiteY692" fmla="*/ 3063751 h 6858000"/>
              <a:gd name="connsiteX693" fmla="*/ 2408099 w 7467600"/>
              <a:gd name="connsiteY693" fmla="*/ 3064403 h 6858000"/>
              <a:gd name="connsiteX694" fmla="*/ 2407218 w 7467600"/>
              <a:gd name="connsiteY694" fmla="*/ 3070324 h 6858000"/>
              <a:gd name="connsiteX695" fmla="*/ 2380138 w 7467600"/>
              <a:gd name="connsiteY695" fmla="*/ 3099341 h 6858000"/>
              <a:gd name="connsiteX696" fmla="*/ 1765923 w 7467600"/>
              <a:gd name="connsiteY696" fmla="*/ 3581043 h 6858000"/>
              <a:gd name="connsiteX697" fmla="*/ 1702258 w 7467600"/>
              <a:gd name="connsiteY697" fmla="*/ 3612286 h 6858000"/>
              <a:gd name="connsiteX698" fmla="*/ 1538370 w 7467600"/>
              <a:gd name="connsiteY698" fmla="*/ 3811804 h 6858000"/>
              <a:gd name="connsiteX699" fmla="*/ 542867 w 7467600"/>
              <a:gd name="connsiteY699" fmla="*/ 4944092 h 6858000"/>
              <a:gd name="connsiteX700" fmla="*/ 515800 w 7467600"/>
              <a:gd name="connsiteY700" fmla="*/ 4862180 h 6858000"/>
              <a:gd name="connsiteX701" fmla="*/ 909145 w 7467600"/>
              <a:gd name="connsiteY701" fmla="*/ 4199225 h 6858000"/>
              <a:gd name="connsiteX702" fmla="*/ 1214067 w 7467600"/>
              <a:gd name="connsiteY702" fmla="*/ 3908561 h 6858000"/>
              <a:gd name="connsiteX703" fmla="*/ 640967 w 7467600"/>
              <a:gd name="connsiteY703" fmla="*/ 4105601 h 6858000"/>
              <a:gd name="connsiteX704" fmla="*/ 112563 w 7467600"/>
              <a:gd name="connsiteY704" fmla="*/ 4396952 h 6858000"/>
              <a:gd name="connsiteX705" fmla="*/ 0 w 7467600"/>
              <a:gd name="connsiteY705" fmla="*/ 4466006 h 6858000"/>
              <a:gd name="connsiteX706" fmla="*/ 0 w 7467600"/>
              <a:gd name="connsiteY706" fmla="*/ 4233763 h 6858000"/>
              <a:gd name="connsiteX707" fmla="*/ 36881 w 7467600"/>
              <a:gd name="connsiteY707" fmla="*/ 4200118 h 6858000"/>
              <a:gd name="connsiteX708" fmla="*/ 910534 w 7467600"/>
              <a:gd name="connsiteY708" fmla="*/ 3629753 h 6858000"/>
              <a:gd name="connsiteX709" fmla="*/ 1578717 w 7467600"/>
              <a:gd name="connsiteY709" fmla="*/ 3575982 h 6858000"/>
              <a:gd name="connsiteX710" fmla="*/ 2338780 w 7467600"/>
              <a:gd name="connsiteY710" fmla="*/ 3033725 h 6858000"/>
              <a:gd name="connsiteX711" fmla="*/ 1807991 w 7467600"/>
              <a:gd name="connsiteY711" fmla="*/ 2807184 h 6858000"/>
              <a:gd name="connsiteX712" fmla="*/ 1416358 w 7467600"/>
              <a:gd name="connsiteY712" fmla="*/ 3112571 h 6858000"/>
              <a:gd name="connsiteX713" fmla="*/ 939066 w 7467600"/>
              <a:gd name="connsiteY713" fmla="*/ 3378798 h 6858000"/>
              <a:gd name="connsiteX714" fmla="*/ 115099 w 7467600"/>
              <a:gd name="connsiteY714" fmla="*/ 3607650 h 6858000"/>
              <a:gd name="connsiteX715" fmla="*/ 97284 w 7467600"/>
              <a:gd name="connsiteY715" fmla="*/ 3520393 h 6858000"/>
              <a:gd name="connsiteX716" fmla="*/ 922050 w 7467600"/>
              <a:gd name="connsiteY716" fmla="*/ 3074867 h 6858000"/>
              <a:gd name="connsiteX717" fmla="*/ 1405265 w 7467600"/>
              <a:gd name="connsiteY717" fmla="*/ 3016319 h 6858000"/>
              <a:gd name="connsiteX718" fmla="*/ 1407512 w 7467600"/>
              <a:gd name="connsiteY718" fmla="*/ 3018001 h 6858000"/>
              <a:gd name="connsiteX719" fmla="*/ 1726266 w 7467600"/>
              <a:gd name="connsiteY719" fmla="*/ 2777274 h 6858000"/>
              <a:gd name="connsiteX720" fmla="*/ 625390 w 7467600"/>
              <a:gd name="connsiteY720" fmla="*/ 2514541 h 6858000"/>
              <a:gd name="connsiteX721" fmla="*/ 619799 w 7467600"/>
              <a:gd name="connsiteY721" fmla="*/ 2527180 h 6858000"/>
              <a:gd name="connsiteX722" fmla="*/ 310030 w 7467600"/>
              <a:gd name="connsiteY722" fmla="*/ 2771818 h 6858000"/>
              <a:gd name="connsiteX723" fmla="*/ 173877 w 7467600"/>
              <a:gd name="connsiteY723" fmla="*/ 2937056 h 6858000"/>
              <a:gd name="connsiteX724" fmla="*/ 77889 w 7467600"/>
              <a:gd name="connsiteY724" fmla="*/ 3138440 h 6858000"/>
              <a:gd name="connsiteX725" fmla="*/ 0 w 7467600"/>
              <a:gd name="connsiteY725" fmla="*/ 3271395 h 6858000"/>
              <a:gd name="connsiteX726" fmla="*/ 0 w 7467600"/>
              <a:gd name="connsiteY726" fmla="*/ 3153002 h 6858000"/>
              <a:gd name="connsiteX727" fmla="*/ 2386 w 7467600"/>
              <a:gd name="connsiteY727" fmla="*/ 3149203 h 6858000"/>
              <a:gd name="connsiteX728" fmla="*/ 89753 w 7467600"/>
              <a:gd name="connsiteY728" fmla="*/ 2987702 h 6858000"/>
              <a:gd name="connsiteX729" fmla="*/ 76869 w 7467600"/>
              <a:gd name="connsiteY729" fmla="*/ 3005404 h 6858000"/>
              <a:gd name="connsiteX730" fmla="*/ 32049 w 7467600"/>
              <a:gd name="connsiteY730" fmla="*/ 3065814 h 6858000"/>
              <a:gd name="connsiteX731" fmla="*/ 0 w 7467600"/>
              <a:gd name="connsiteY731" fmla="*/ 3108744 h 6858000"/>
              <a:gd name="connsiteX732" fmla="*/ 0 w 7467600"/>
              <a:gd name="connsiteY732" fmla="*/ 3058059 h 6858000"/>
              <a:gd name="connsiteX733" fmla="*/ 7610 w 7467600"/>
              <a:gd name="connsiteY733" fmla="*/ 3047889 h 6858000"/>
              <a:gd name="connsiteX734" fmla="*/ 52419 w 7467600"/>
              <a:gd name="connsiteY734" fmla="*/ 2987479 h 6858000"/>
              <a:gd name="connsiteX735" fmla="*/ 59142 w 7467600"/>
              <a:gd name="connsiteY735" fmla="*/ 2978488 h 6858000"/>
              <a:gd name="connsiteX736" fmla="*/ 0 w 7467600"/>
              <a:gd name="connsiteY736" fmla="*/ 3015334 h 6858000"/>
              <a:gd name="connsiteX737" fmla="*/ 0 w 7467600"/>
              <a:gd name="connsiteY737" fmla="*/ 2914286 h 6858000"/>
              <a:gd name="connsiteX738" fmla="*/ 36383 w 7467600"/>
              <a:gd name="connsiteY738" fmla="*/ 2901128 h 6858000"/>
              <a:gd name="connsiteX739" fmla="*/ 156329 w 7467600"/>
              <a:gd name="connsiteY739" fmla="*/ 2840533 h 6858000"/>
              <a:gd name="connsiteX740" fmla="*/ 358355 w 7467600"/>
              <a:gd name="connsiteY740" fmla="*/ 2620471 h 6858000"/>
              <a:gd name="connsiteX741" fmla="*/ 510577 w 7467600"/>
              <a:gd name="connsiteY741" fmla="*/ 2501244 h 6858000"/>
              <a:gd name="connsiteX742" fmla="*/ 211967 w 7467600"/>
              <a:gd name="connsiteY742" fmla="*/ 2479171 h 6858000"/>
              <a:gd name="connsiteX743" fmla="*/ 0 w 7467600"/>
              <a:gd name="connsiteY743" fmla="*/ 2476398 h 6858000"/>
              <a:gd name="connsiteX744" fmla="*/ 0 w 7467600"/>
              <a:gd name="connsiteY744" fmla="*/ 2389189 h 6858000"/>
              <a:gd name="connsiteX745" fmla="*/ 103062 w 7467600"/>
              <a:gd name="connsiteY745" fmla="*/ 2389518 h 6858000"/>
              <a:gd name="connsiteX746" fmla="*/ 510734 w 7467600"/>
              <a:gd name="connsiteY746" fmla="*/ 2416201 h 6858000"/>
              <a:gd name="connsiteX747" fmla="*/ 279257 w 7467600"/>
              <a:gd name="connsiteY747" fmla="*/ 2092102 h 6858000"/>
              <a:gd name="connsiteX748" fmla="*/ 65265 w 7467600"/>
              <a:gd name="connsiteY748" fmla="*/ 2006049 h 6858000"/>
              <a:gd name="connsiteX749" fmla="*/ 0 w 7467600"/>
              <a:gd name="connsiteY749" fmla="*/ 1982532 h 6858000"/>
              <a:gd name="connsiteX750" fmla="*/ 0 w 7467600"/>
              <a:gd name="connsiteY750" fmla="*/ 1912789 h 6858000"/>
              <a:gd name="connsiteX751" fmla="*/ 97460 w 7467600"/>
              <a:gd name="connsiteY751" fmla="*/ 1953725 h 6858000"/>
              <a:gd name="connsiteX752" fmla="*/ 221272 w 7467600"/>
              <a:gd name="connsiteY752" fmla="*/ 1980766 h 6858000"/>
              <a:gd name="connsiteX753" fmla="*/ 116765 w 7467600"/>
              <a:gd name="connsiteY753" fmla="*/ 1911033 h 6858000"/>
              <a:gd name="connsiteX754" fmla="*/ 16405 w 7467600"/>
              <a:gd name="connsiteY754" fmla="*/ 1803412 h 6858000"/>
              <a:gd name="connsiteX755" fmla="*/ 0 w 7467600"/>
              <a:gd name="connsiteY755" fmla="*/ 1784777 h 6858000"/>
              <a:gd name="connsiteX756" fmla="*/ 0 w 7467600"/>
              <a:gd name="connsiteY756" fmla="*/ 1740082 h 6858000"/>
              <a:gd name="connsiteX757" fmla="*/ 39394 w 7467600"/>
              <a:gd name="connsiteY757" fmla="*/ 1784856 h 6858000"/>
              <a:gd name="connsiteX758" fmla="*/ 135813 w 7467600"/>
              <a:gd name="connsiteY758" fmla="*/ 1888838 h 6858000"/>
              <a:gd name="connsiteX759" fmla="*/ 242575 w 7467600"/>
              <a:gd name="connsiteY759" fmla="*/ 1958841 h 6858000"/>
              <a:gd name="connsiteX760" fmla="*/ 82197 w 7467600"/>
              <a:gd name="connsiteY760" fmla="*/ 1754826 h 6858000"/>
              <a:gd name="connsiteX761" fmla="*/ 0 w 7467600"/>
              <a:gd name="connsiteY761" fmla="*/ 1679650 h 6858000"/>
              <a:gd name="connsiteX762" fmla="*/ 0 w 7467600"/>
              <a:gd name="connsiteY762" fmla="*/ 1602463 h 6858000"/>
              <a:gd name="connsiteX763" fmla="*/ 84689 w 7467600"/>
              <a:gd name="connsiteY763" fmla="*/ 1677442 h 6858000"/>
              <a:gd name="connsiteX764" fmla="*/ 298437 w 7467600"/>
              <a:gd name="connsiteY764" fmla="*/ 1968019 h 6858000"/>
              <a:gd name="connsiteX765" fmla="*/ 227269 w 7467600"/>
              <a:gd name="connsiteY765" fmla="*/ 1114064 h 6858000"/>
              <a:gd name="connsiteX766" fmla="*/ 248003 w 7467600"/>
              <a:gd name="connsiteY766" fmla="*/ 1089613 h 6858000"/>
              <a:gd name="connsiteX767" fmla="*/ 427020 w 7467600"/>
              <a:gd name="connsiteY767" fmla="*/ 1619803 h 6858000"/>
              <a:gd name="connsiteX768" fmla="*/ 340345 w 7467600"/>
              <a:gd name="connsiteY768" fmla="*/ 2027739 h 6858000"/>
              <a:gd name="connsiteX769" fmla="*/ 360865 w 7467600"/>
              <a:gd name="connsiteY769" fmla="*/ 2044827 h 6858000"/>
              <a:gd name="connsiteX770" fmla="*/ 560414 w 7467600"/>
              <a:gd name="connsiteY770" fmla="*/ 2421457 h 6858000"/>
              <a:gd name="connsiteX771" fmla="*/ 1359703 w 7467600"/>
              <a:gd name="connsiteY771" fmla="*/ 2578554 h 6858000"/>
              <a:gd name="connsiteX772" fmla="*/ 1359422 w 7467600"/>
              <a:gd name="connsiteY772" fmla="*/ 2577994 h 6858000"/>
              <a:gd name="connsiteX773" fmla="*/ 828701 w 7467600"/>
              <a:gd name="connsiteY773" fmla="*/ 1839520 h 6858000"/>
              <a:gd name="connsiteX774" fmla="*/ 494427 w 7467600"/>
              <a:gd name="connsiteY774" fmla="*/ 1092333 h 6858000"/>
              <a:gd name="connsiteX775" fmla="*/ 506322 w 7467600"/>
              <a:gd name="connsiteY775" fmla="*/ 1020997 h 6858000"/>
              <a:gd name="connsiteX776" fmla="*/ 4570198 w 7467600"/>
              <a:gd name="connsiteY776" fmla="*/ 978081 h 6858000"/>
              <a:gd name="connsiteX777" fmla="*/ 4523691 w 7467600"/>
              <a:gd name="connsiteY777" fmla="*/ 1127776 h 6858000"/>
              <a:gd name="connsiteX778" fmla="*/ 4509875 w 7467600"/>
              <a:gd name="connsiteY778" fmla="*/ 1167552 h 6858000"/>
              <a:gd name="connsiteX779" fmla="*/ 4478168 w 7467600"/>
              <a:gd name="connsiteY779" fmla="*/ 1260735 h 6858000"/>
              <a:gd name="connsiteX780" fmla="*/ 4409309 w 7467600"/>
              <a:gd name="connsiteY780" fmla="*/ 1666996 h 6858000"/>
              <a:gd name="connsiteX781" fmla="*/ 4370031 w 7467600"/>
              <a:gd name="connsiteY781" fmla="*/ 1955666 h 6858000"/>
              <a:gd name="connsiteX782" fmla="*/ 4570198 w 7467600"/>
              <a:gd name="connsiteY782" fmla="*/ 978081 h 6858000"/>
              <a:gd name="connsiteX783" fmla="*/ 4557898 w 7467600"/>
              <a:gd name="connsiteY783" fmla="*/ 900011 h 6858000"/>
              <a:gd name="connsiteX784" fmla="*/ 4344840 w 7467600"/>
              <a:gd name="connsiteY784" fmla="*/ 1922038 h 6858000"/>
              <a:gd name="connsiteX785" fmla="*/ 4378710 w 7467600"/>
              <a:gd name="connsiteY785" fmla="*/ 1665516 h 6858000"/>
              <a:gd name="connsiteX786" fmla="*/ 4448798 w 7467600"/>
              <a:gd name="connsiteY786" fmla="*/ 1253024 h 6858000"/>
              <a:gd name="connsiteX787" fmla="*/ 4480315 w 7467600"/>
              <a:gd name="connsiteY787" fmla="*/ 1158454 h 6858000"/>
              <a:gd name="connsiteX788" fmla="*/ 4494133 w 7467600"/>
              <a:gd name="connsiteY788" fmla="*/ 1118676 h 6858000"/>
              <a:gd name="connsiteX789" fmla="*/ 4557898 w 7467600"/>
              <a:gd name="connsiteY789" fmla="*/ 900011 h 6858000"/>
              <a:gd name="connsiteX790" fmla="*/ 5870151 w 7467600"/>
              <a:gd name="connsiteY790" fmla="*/ 898890 h 6858000"/>
              <a:gd name="connsiteX791" fmla="*/ 5861335 w 7467600"/>
              <a:gd name="connsiteY791" fmla="*/ 899177 h 6858000"/>
              <a:gd name="connsiteX792" fmla="*/ 5843702 w 7467600"/>
              <a:gd name="connsiteY792" fmla="*/ 899748 h 6858000"/>
              <a:gd name="connsiteX793" fmla="*/ 5651107 w 7467600"/>
              <a:gd name="connsiteY793" fmla="*/ 920306 h 6858000"/>
              <a:gd name="connsiteX794" fmla="*/ 5459407 w 7467600"/>
              <a:gd name="connsiteY794" fmla="*/ 940975 h 6858000"/>
              <a:gd name="connsiteX795" fmla="*/ 5374846 w 7467600"/>
              <a:gd name="connsiteY795" fmla="*/ 941988 h 6858000"/>
              <a:gd name="connsiteX796" fmla="*/ 5256105 w 7467600"/>
              <a:gd name="connsiteY796" fmla="*/ 945632 h 6858000"/>
              <a:gd name="connsiteX797" fmla="*/ 5107071 w 7467600"/>
              <a:gd name="connsiteY797" fmla="*/ 969720 h 6858000"/>
              <a:gd name="connsiteX798" fmla="*/ 4998681 w 7467600"/>
              <a:gd name="connsiteY798" fmla="*/ 988771 h 6858000"/>
              <a:gd name="connsiteX799" fmla="*/ 5870151 w 7467600"/>
              <a:gd name="connsiteY799" fmla="*/ 898890 h 6858000"/>
              <a:gd name="connsiteX800" fmla="*/ 5504425 w 7467600"/>
              <a:gd name="connsiteY800" fmla="*/ 848067 h 6858000"/>
              <a:gd name="connsiteX801" fmla="*/ 4968849 w 7467600"/>
              <a:gd name="connsiteY801" fmla="*/ 962318 h 6858000"/>
              <a:gd name="connsiteX802" fmla="*/ 5104039 w 7467600"/>
              <a:gd name="connsiteY802" fmla="*/ 940634 h 6858000"/>
              <a:gd name="connsiteX803" fmla="*/ 5256311 w 7467600"/>
              <a:gd name="connsiteY803" fmla="*/ 916490 h 6858000"/>
              <a:gd name="connsiteX804" fmla="*/ 5377381 w 7467600"/>
              <a:gd name="connsiteY804" fmla="*/ 912671 h 6858000"/>
              <a:gd name="connsiteX805" fmla="*/ 5460148 w 7467600"/>
              <a:gd name="connsiteY805" fmla="*/ 911442 h 6858000"/>
              <a:gd name="connsiteX806" fmla="*/ 5648971 w 7467600"/>
              <a:gd name="connsiteY806" fmla="*/ 891331 h 6858000"/>
              <a:gd name="connsiteX807" fmla="*/ 5844807 w 7467600"/>
              <a:gd name="connsiteY807" fmla="*/ 870718 h 6858000"/>
              <a:gd name="connsiteX808" fmla="*/ 5862975 w 7467600"/>
              <a:gd name="connsiteY808" fmla="*/ 869756 h 6858000"/>
              <a:gd name="connsiteX809" fmla="*/ 5920887 w 7467600"/>
              <a:gd name="connsiteY809" fmla="*/ 865929 h 6858000"/>
              <a:gd name="connsiteX810" fmla="*/ 5504425 w 7467600"/>
              <a:gd name="connsiteY810" fmla="*/ 848067 h 6858000"/>
              <a:gd name="connsiteX811" fmla="*/ 3607114 w 7467600"/>
              <a:gd name="connsiteY811" fmla="*/ 467441 h 6858000"/>
              <a:gd name="connsiteX812" fmla="*/ 3296242 w 7467600"/>
              <a:gd name="connsiteY812" fmla="*/ 807991 h 6858000"/>
              <a:gd name="connsiteX813" fmla="*/ 3174674 w 7467600"/>
              <a:gd name="connsiteY813" fmla="*/ 919759 h 6858000"/>
              <a:gd name="connsiteX814" fmla="*/ 3042978 w 7467600"/>
              <a:gd name="connsiteY814" fmla="*/ 1054894 h 6858000"/>
              <a:gd name="connsiteX815" fmla="*/ 2968914 w 7467600"/>
              <a:gd name="connsiteY815" fmla="*/ 1133756 h 6858000"/>
              <a:gd name="connsiteX816" fmla="*/ 3103823 w 7467600"/>
              <a:gd name="connsiteY816" fmla="*/ 1026814 h 6858000"/>
              <a:gd name="connsiteX817" fmla="*/ 3607114 w 7467600"/>
              <a:gd name="connsiteY817" fmla="*/ 467441 h 6858000"/>
              <a:gd name="connsiteX818" fmla="*/ 3744487 w 7467600"/>
              <a:gd name="connsiteY818" fmla="*/ 383136 h 6858000"/>
              <a:gd name="connsiteX819" fmla="*/ 3970213 w 7467600"/>
              <a:gd name="connsiteY819" fmla="*/ 995559 h 6858000"/>
              <a:gd name="connsiteX820" fmla="*/ 3744487 w 7467600"/>
              <a:gd name="connsiteY820" fmla="*/ 383136 h 6858000"/>
              <a:gd name="connsiteX821" fmla="*/ 3624562 w 7467600"/>
              <a:gd name="connsiteY821" fmla="*/ 367041 h 6858000"/>
              <a:gd name="connsiteX822" fmla="*/ 3489712 w 7467600"/>
              <a:gd name="connsiteY822" fmla="*/ 485386 h 6858000"/>
              <a:gd name="connsiteX823" fmla="*/ 3182994 w 7467600"/>
              <a:gd name="connsiteY823" fmla="*/ 828265 h 6858000"/>
              <a:gd name="connsiteX824" fmla="*/ 2892114 w 7467600"/>
              <a:gd name="connsiteY824" fmla="*/ 1172635 h 6858000"/>
              <a:gd name="connsiteX825" fmla="*/ 3021459 w 7467600"/>
              <a:gd name="connsiteY825" fmla="*/ 1035385 h 6858000"/>
              <a:gd name="connsiteX826" fmla="*/ 3153873 w 7467600"/>
              <a:gd name="connsiteY826" fmla="*/ 898971 h 6858000"/>
              <a:gd name="connsiteX827" fmla="*/ 3276511 w 7467600"/>
              <a:gd name="connsiteY827" fmla="*/ 786423 h 6858000"/>
              <a:gd name="connsiteX828" fmla="*/ 3584154 w 7467600"/>
              <a:gd name="connsiteY828" fmla="*/ 448218 h 6858000"/>
              <a:gd name="connsiteX829" fmla="*/ 3624562 w 7467600"/>
              <a:gd name="connsiteY829" fmla="*/ 367041 h 6858000"/>
              <a:gd name="connsiteX830" fmla="*/ 3766672 w 7467600"/>
              <a:gd name="connsiteY830" fmla="*/ 359429 h 6858000"/>
              <a:gd name="connsiteX831" fmla="*/ 3996338 w 7467600"/>
              <a:gd name="connsiteY831" fmla="*/ 968237 h 6858000"/>
              <a:gd name="connsiteX832" fmla="*/ 3766672 w 7467600"/>
              <a:gd name="connsiteY832" fmla="*/ 359429 h 6858000"/>
              <a:gd name="connsiteX833" fmla="*/ 5805386 w 7467600"/>
              <a:gd name="connsiteY833" fmla="*/ 239240 h 6858000"/>
              <a:gd name="connsiteX834" fmla="*/ 5736947 w 7467600"/>
              <a:gd name="connsiteY834" fmla="*/ 261367 h 6858000"/>
              <a:gd name="connsiteX835" fmla="*/ 5427012 w 7467600"/>
              <a:gd name="connsiteY835" fmla="*/ 311272 h 6858000"/>
              <a:gd name="connsiteX836" fmla="*/ 5147818 w 7467600"/>
              <a:gd name="connsiteY836" fmla="*/ 322112 h 6858000"/>
              <a:gd name="connsiteX837" fmla="*/ 5060854 w 7467600"/>
              <a:gd name="connsiteY837" fmla="*/ 311882 h 6858000"/>
              <a:gd name="connsiteX838" fmla="*/ 4945989 w 7467600"/>
              <a:gd name="connsiteY838" fmla="*/ 300516 h 6858000"/>
              <a:gd name="connsiteX839" fmla="*/ 5410479 w 7467600"/>
              <a:gd name="connsiteY839" fmla="*/ 348434 h 6858000"/>
              <a:gd name="connsiteX840" fmla="*/ 5805386 w 7467600"/>
              <a:gd name="connsiteY840" fmla="*/ 239240 h 6858000"/>
              <a:gd name="connsiteX841" fmla="*/ 5905192 w 7467600"/>
              <a:gd name="connsiteY841" fmla="*/ 163079 h 6858000"/>
              <a:gd name="connsiteX842" fmla="*/ 5865655 w 7467600"/>
              <a:gd name="connsiteY842" fmla="*/ 171901 h 6858000"/>
              <a:gd name="connsiteX843" fmla="*/ 5259740 w 7467600"/>
              <a:gd name="connsiteY843" fmla="*/ 257013 h 6858000"/>
              <a:gd name="connsiteX844" fmla="*/ 5208466 w 7467600"/>
              <a:gd name="connsiteY844" fmla="*/ 257550 h 6858000"/>
              <a:gd name="connsiteX845" fmla="*/ 4980204 w 7467600"/>
              <a:gd name="connsiteY845" fmla="*/ 271903 h 6858000"/>
              <a:gd name="connsiteX846" fmla="*/ 5068068 w 7467600"/>
              <a:gd name="connsiteY846" fmla="*/ 282244 h 6858000"/>
              <a:gd name="connsiteX847" fmla="*/ 5153231 w 7467600"/>
              <a:gd name="connsiteY847" fmla="*/ 292240 h 6858000"/>
              <a:gd name="connsiteX848" fmla="*/ 5426491 w 7467600"/>
              <a:gd name="connsiteY848" fmla="*/ 281128 h 6858000"/>
              <a:gd name="connsiteX849" fmla="*/ 5731212 w 7467600"/>
              <a:gd name="connsiteY849" fmla="*/ 231951 h 6858000"/>
              <a:gd name="connsiteX850" fmla="*/ 5905192 w 7467600"/>
              <a:gd name="connsiteY850" fmla="*/ 163079 h 6858000"/>
              <a:gd name="connsiteX851" fmla="*/ 5944437 w 7467600"/>
              <a:gd name="connsiteY851" fmla="*/ 113829 h 6858000"/>
              <a:gd name="connsiteX852" fmla="*/ 5825032 w 7467600"/>
              <a:gd name="connsiteY852" fmla="*/ 146405 h 6858000"/>
              <a:gd name="connsiteX853" fmla="*/ 4955599 w 7467600"/>
              <a:gd name="connsiteY853" fmla="*/ 247008 h 6858000"/>
              <a:gd name="connsiteX854" fmla="*/ 5210104 w 7467600"/>
              <a:gd name="connsiteY854" fmla="*/ 228123 h 6858000"/>
              <a:gd name="connsiteX855" fmla="*/ 5261015 w 7467600"/>
              <a:gd name="connsiteY855" fmla="*/ 227087 h 6858000"/>
              <a:gd name="connsiteX856" fmla="*/ 5861181 w 7467600"/>
              <a:gd name="connsiteY856" fmla="*/ 143093 h 6858000"/>
              <a:gd name="connsiteX857" fmla="*/ 5961252 w 7467600"/>
              <a:gd name="connsiteY857" fmla="*/ 114820 h 6858000"/>
              <a:gd name="connsiteX858" fmla="*/ 5944437 w 7467600"/>
              <a:gd name="connsiteY858" fmla="*/ 113829 h 6858000"/>
              <a:gd name="connsiteX859" fmla="*/ 3882765 w 7467600"/>
              <a:gd name="connsiteY859" fmla="*/ 0 h 6858000"/>
              <a:gd name="connsiteX860" fmla="*/ 3995099 w 7467600"/>
              <a:gd name="connsiteY860" fmla="*/ 0 h 6858000"/>
              <a:gd name="connsiteX861" fmla="*/ 4163818 w 7467600"/>
              <a:gd name="connsiteY861" fmla="*/ 234104 h 6858000"/>
              <a:gd name="connsiteX862" fmla="*/ 4172099 w 7467600"/>
              <a:gd name="connsiteY862" fmla="*/ 234207 h 6858000"/>
              <a:gd name="connsiteX863" fmla="*/ 4784282 w 7467600"/>
              <a:gd name="connsiteY863" fmla="*/ 276561 h 6858000"/>
              <a:gd name="connsiteX864" fmla="*/ 4801687 w 7467600"/>
              <a:gd name="connsiteY864" fmla="*/ 267764 h 6858000"/>
              <a:gd name="connsiteX865" fmla="*/ 6082788 w 7467600"/>
              <a:gd name="connsiteY865" fmla="*/ 64119 h 6858000"/>
              <a:gd name="connsiteX866" fmla="*/ 6099442 w 7467600"/>
              <a:gd name="connsiteY866" fmla="*/ 82568 h 6858000"/>
              <a:gd name="connsiteX867" fmla="*/ 4804137 w 7467600"/>
              <a:gd name="connsiteY867" fmla="*/ 320931 h 6858000"/>
              <a:gd name="connsiteX868" fmla="*/ 4227047 w 7467600"/>
              <a:gd name="connsiteY868" fmla="*/ 313415 h 6858000"/>
              <a:gd name="connsiteX869" fmla="*/ 4346041 w 7467600"/>
              <a:gd name="connsiteY869" fmla="*/ 456086 h 6858000"/>
              <a:gd name="connsiteX870" fmla="*/ 4870967 w 7467600"/>
              <a:gd name="connsiteY870" fmla="*/ 963061 h 6858000"/>
              <a:gd name="connsiteX871" fmla="*/ 4889647 w 7467600"/>
              <a:gd name="connsiteY871" fmla="*/ 957147 h 6858000"/>
              <a:gd name="connsiteX872" fmla="*/ 5422504 w 7467600"/>
              <a:gd name="connsiteY872" fmla="*/ 805191 h 6858000"/>
              <a:gd name="connsiteX873" fmla="*/ 6087656 w 7467600"/>
              <a:gd name="connsiteY873" fmla="*/ 826703 h 6858000"/>
              <a:gd name="connsiteX874" fmla="*/ 6058717 w 7467600"/>
              <a:gd name="connsiteY874" fmla="*/ 865992 h 6858000"/>
              <a:gd name="connsiteX875" fmla="*/ 4974153 w 7467600"/>
              <a:gd name="connsiteY875" fmla="*/ 1045456 h 6858000"/>
              <a:gd name="connsiteX876" fmla="*/ 5627835 w 7467600"/>
              <a:gd name="connsiteY876" fmla="*/ 1472077 h 6858000"/>
              <a:gd name="connsiteX877" fmla="*/ 5629817 w 7467600"/>
              <a:gd name="connsiteY877" fmla="*/ 1471412 h 6858000"/>
              <a:gd name="connsiteX878" fmla="*/ 5634124 w 7467600"/>
              <a:gd name="connsiteY878" fmla="*/ 1470572 h 6858000"/>
              <a:gd name="connsiteX879" fmla="*/ 5755832 w 7467600"/>
              <a:gd name="connsiteY879" fmla="*/ 1383886 h 6858000"/>
              <a:gd name="connsiteX880" fmla="*/ 6014186 w 7467600"/>
              <a:gd name="connsiteY880" fmla="*/ 1279799 h 6858000"/>
              <a:gd name="connsiteX881" fmla="*/ 6901619 w 7467600"/>
              <a:gd name="connsiteY881" fmla="*/ 1047874 h 6858000"/>
              <a:gd name="connsiteX882" fmla="*/ 6931566 w 7467600"/>
              <a:gd name="connsiteY882" fmla="*/ 1062034 h 6858000"/>
              <a:gd name="connsiteX883" fmla="*/ 5790982 w 7467600"/>
              <a:gd name="connsiteY883" fmla="*/ 1561380 h 6858000"/>
              <a:gd name="connsiteX884" fmla="*/ 6188971 w 7467600"/>
              <a:gd name="connsiteY884" fmla="*/ 1755168 h 6858000"/>
              <a:gd name="connsiteX885" fmla="*/ 6202446 w 7467600"/>
              <a:gd name="connsiteY885" fmla="*/ 1752268 h 6858000"/>
              <a:gd name="connsiteX886" fmla="*/ 7179560 w 7467600"/>
              <a:gd name="connsiteY886" fmla="*/ 1467551 h 6858000"/>
              <a:gd name="connsiteX887" fmla="*/ 7158730 w 7467600"/>
              <a:gd name="connsiteY887" fmla="*/ 1507835 h 6858000"/>
              <a:gd name="connsiteX888" fmla="*/ 6326959 w 7467600"/>
              <a:gd name="connsiteY888" fmla="*/ 1817686 h 6858000"/>
              <a:gd name="connsiteX889" fmla="*/ 6537433 w 7467600"/>
              <a:gd name="connsiteY889" fmla="*/ 1907790 h 6858000"/>
              <a:gd name="connsiteX890" fmla="*/ 6550221 w 7467600"/>
              <a:gd name="connsiteY890" fmla="*/ 1910729 h 6858000"/>
              <a:gd name="connsiteX891" fmla="*/ 6964438 w 7467600"/>
              <a:gd name="connsiteY891" fmla="*/ 2209505 h 6858000"/>
              <a:gd name="connsiteX892" fmla="*/ 7367862 w 7467600"/>
              <a:gd name="connsiteY892" fmla="*/ 2806833 h 6858000"/>
              <a:gd name="connsiteX893" fmla="*/ 7364329 w 7467600"/>
              <a:gd name="connsiteY893" fmla="*/ 2826907 h 6858000"/>
              <a:gd name="connsiteX894" fmla="*/ 7290545 w 7467600"/>
              <a:gd name="connsiteY894" fmla="*/ 2850663 h 6858000"/>
              <a:gd name="connsiteX895" fmla="*/ 6472036 w 7467600"/>
              <a:gd name="connsiteY895" fmla="*/ 1959003 h 6858000"/>
              <a:gd name="connsiteX896" fmla="*/ 5792897 w 7467600"/>
              <a:gd name="connsiteY896" fmla="*/ 1647747 h 6858000"/>
              <a:gd name="connsiteX897" fmla="*/ 5842751 w 7467600"/>
              <a:gd name="connsiteY897" fmla="*/ 1816112 h 6858000"/>
              <a:gd name="connsiteX898" fmla="*/ 5847424 w 7467600"/>
              <a:gd name="connsiteY898" fmla="*/ 1815776 h 6858000"/>
              <a:gd name="connsiteX899" fmla="*/ 6399821 w 7467600"/>
              <a:gd name="connsiteY899" fmla="*/ 2344799 h 6858000"/>
              <a:gd name="connsiteX900" fmla="*/ 6323232 w 7467600"/>
              <a:gd name="connsiteY900" fmla="*/ 2389634 h 6858000"/>
              <a:gd name="connsiteX901" fmla="*/ 5942958 w 7467600"/>
              <a:gd name="connsiteY901" fmla="*/ 2077708 h 6858000"/>
              <a:gd name="connsiteX902" fmla="*/ 5921559 w 7467600"/>
              <a:gd name="connsiteY902" fmla="*/ 2378596 h 6858000"/>
              <a:gd name="connsiteX903" fmla="*/ 5817651 w 7467600"/>
              <a:gd name="connsiteY903" fmla="*/ 3023919 h 6858000"/>
              <a:gd name="connsiteX904" fmla="*/ 5729634 w 7467600"/>
              <a:gd name="connsiteY904" fmla="*/ 3051849 h 6858000"/>
              <a:gd name="connsiteX905" fmla="*/ 5611018 w 7467600"/>
              <a:gd name="connsiteY905" fmla="*/ 2316769 h 6858000"/>
              <a:gd name="connsiteX906" fmla="*/ 5687608 w 7467600"/>
              <a:gd name="connsiteY906" fmla="*/ 2039972 h 6858000"/>
              <a:gd name="connsiteX907" fmla="*/ 5657554 w 7467600"/>
              <a:gd name="connsiteY907" fmla="*/ 1576445 h 6858000"/>
              <a:gd name="connsiteX908" fmla="*/ 5150475 w 7467600"/>
              <a:gd name="connsiteY908" fmla="*/ 1274012 h 6858000"/>
              <a:gd name="connsiteX909" fmla="*/ 5349142 w 7467600"/>
              <a:gd name="connsiteY909" fmla="*/ 2204405 h 6858000"/>
              <a:gd name="connsiteX910" fmla="*/ 5262214 w 7467600"/>
              <a:gd name="connsiteY910" fmla="*/ 2233836 h 6858000"/>
              <a:gd name="connsiteX911" fmla="*/ 4981539 w 7467600"/>
              <a:gd name="connsiteY911" fmla="*/ 1542201 h 6858000"/>
              <a:gd name="connsiteX912" fmla="*/ 4958461 w 7467600"/>
              <a:gd name="connsiteY912" fmla="*/ 1136957 h 6858000"/>
              <a:gd name="connsiteX913" fmla="*/ 4655015 w 7467600"/>
              <a:gd name="connsiteY913" fmla="*/ 891426 h 6858000"/>
              <a:gd name="connsiteX914" fmla="*/ 4348002 w 7467600"/>
              <a:gd name="connsiteY914" fmla="*/ 2205895 h 6858000"/>
              <a:gd name="connsiteX915" fmla="*/ 4262250 w 7467600"/>
              <a:gd name="connsiteY915" fmla="*/ 2219972 h 6858000"/>
              <a:gd name="connsiteX916" fmla="*/ 4550611 w 7467600"/>
              <a:gd name="connsiteY916" fmla="*/ 817540 h 6858000"/>
              <a:gd name="connsiteX917" fmla="*/ 4564418 w 7467600"/>
              <a:gd name="connsiteY917" fmla="*/ 808293 h 6858000"/>
              <a:gd name="connsiteX918" fmla="*/ 4266388 w 7467600"/>
              <a:gd name="connsiteY918" fmla="*/ 500083 h 6858000"/>
              <a:gd name="connsiteX919" fmla="*/ 4032842 w 7467600"/>
              <a:gd name="connsiteY919" fmla="*/ 211809 h 6858000"/>
              <a:gd name="connsiteX920" fmla="*/ 3882765 w 7467600"/>
              <a:gd name="connsiteY920" fmla="*/ 0 h 6858000"/>
              <a:gd name="connsiteX921" fmla="*/ 3721337 w 7467600"/>
              <a:gd name="connsiteY921" fmla="*/ 0 h 6858000"/>
              <a:gd name="connsiteX922" fmla="*/ 3797544 w 7467600"/>
              <a:gd name="connsiteY922" fmla="*/ 0 h 6858000"/>
              <a:gd name="connsiteX923" fmla="*/ 3775734 w 7467600"/>
              <a:gd name="connsiteY923" fmla="*/ 95131 h 6858000"/>
              <a:gd name="connsiteX924" fmla="*/ 3724807 w 7467600"/>
              <a:gd name="connsiteY924" fmla="*/ 272257 h 6858000"/>
              <a:gd name="connsiteX925" fmla="*/ 3726844 w 7467600"/>
              <a:gd name="connsiteY925" fmla="*/ 282988 h 6858000"/>
              <a:gd name="connsiteX926" fmla="*/ 3742664 w 7467600"/>
              <a:gd name="connsiteY926" fmla="*/ 279918 h 6858000"/>
              <a:gd name="connsiteX927" fmla="*/ 4103910 w 7467600"/>
              <a:gd name="connsiteY927" fmla="*/ 1161917 h 6858000"/>
              <a:gd name="connsiteX928" fmla="*/ 4020269 w 7467600"/>
              <a:gd name="connsiteY928" fmla="*/ 1200406 h 6858000"/>
              <a:gd name="connsiteX929" fmla="*/ 3674882 w 7467600"/>
              <a:gd name="connsiteY929" fmla="*/ 488524 h 6858000"/>
              <a:gd name="connsiteX930" fmla="*/ 3132682 w 7467600"/>
              <a:gd name="connsiteY930" fmla="*/ 1072284 h 6858000"/>
              <a:gd name="connsiteX931" fmla="*/ 2716346 w 7467600"/>
              <a:gd name="connsiteY931" fmla="*/ 1276376 h 6858000"/>
              <a:gd name="connsiteX932" fmla="*/ 2716772 w 7467600"/>
              <a:gd name="connsiteY932" fmla="*/ 1255462 h 6858000"/>
              <a:gd name="connsiteX933" fmla="*/ 3471096 w 7467600"/>
              <a:gd name="connsiteY933" fmla="*/ 437072 h 6858000"/>
              <a:gd name="connsiteX934" fmla="*/ 3639057 w 7467600"/>
              <a:gd name="connsiteY934" fmla="*/ 286334 h 6858000"/>
              <a:gd name="connsiteX935" fmla="*/ 3640309 w 7467600"/>
              <a:gd name="connsiteY935" fmla="*/ 284664 h 6858000"/>
              <a:gd name="connsiteX936" fmla="*/ 3646022 w 7467600"/>
              <a:gd name="connsiteY936" fmla="*/ 276711 h 6858000"/>
              <a:gd name="connsiteX937" fmla="*/ 3707943 w 7467600"/>
              <a:gd name="connsiteY937" fmla="*/ 65958 h 6858000"/>
              <a:gd name="connsiteX938" fmla="*/ 3721337 w 7467600"/>
              <a:gd name="connsiteY938" fmla="*/ 0 h 6858000"/>
              <a:gd name="connsiteX939" fmla="*/ 2867960 w 7467600"/>
              <a:gd name="connsiteY939" fmla="*/ 0 h 6858000"/>
              <a:gd name="connsiteX940" fmla="*/ 2926351 w 7467600"/>
              <a:gd name="connsiteY940" fmla="*/ 0 h 6858000"/>
              <a:gd name="connsiteX941" fmla="*/ 2902823 w 7467600"/>
              <a:gd name="connsiteY941" fmla="*/ 262929 h 6858000"/>
              <a:gd name="connsiteX942" fmla="*/ 2940663 w 7467600"/>
              <a:gd name="connsiteY942" fmla="*/ 140884 h 6858000"/>
              <a:gd name="connsiteX943" fmla="*/ 2947039 w 7467600"/>
              <a:gd name="connsiteY943" fmla="*/ 122524 h 6858000"/>
              <a:gd name="connsiteX944" fmla="*/ 2984316 w 7467600"/>
              <a:gd name="connsiteY944" fmla="*/ 0 h 6858000"/>
              <a:gd name="connsiteX945" fmla="*/ 3016114 w 7467600"/>
              <a:gd name="connsiteY945" fmla="*/ 0 h 6858000"/>
              <a:gd name="connsiteX946" fmla="*/ 2979949 w 7467600"/>
              <a:gd name="connsiteY946" fmla="*/ 119274 h 6858000"/>
              <a:gd name="connsiteX947" fmla="*/ 3023879 w 7467600"/>
              <a:gd name="connsiteY947" fmla="*/ 0 h 6858000"/>
              <a:gd name="connsiteX948" fmla="*/ 3105400 w 7467600"/>
              <a:gd name="connsiteY948" fmla="*/ 0 h 6858000"/>
              <a:gd name="connsiteX949" fmla="*/ 3094669 w 7467600"/>
              <a:gd name="connsiteY949" fmla="*/ 30308 h 6858000"/>
              <a:gd name="connsiteX950" fmla="*/ 2901945 w 7467600"/>
              <a:gd name="connsiteY950" fmla="*/ 466538 h 6858000"/>
              <a:gd name="connsiteX951" fmla="*/ 2815209 w 7467600"/>
              <a:gd name="connsiteY951" fmla="*/ 497361 h 6858000"/>
              <a:gd name="connsiteX952" fmla="*/ 2844845 w 7467600"/>
              <a:gd name="connsiteY952" fmla="*/ 127638 h 6858000"/>
              <a:gd name="connsiteX953" fmla="*/ 2867960 w 7467600"/>
              <a:gd name="connsiteY953" fmla="*/ 0 h 6858000"/>
              <a:gd name="connsiteX954" fmla="*/ 1057230 w 7467600"/>
              <a:gd name="connsiteY954" fmla="*/ 0 h 6858000"/>
              <a:gd name="connsiteX955" fmla="*/ 1111003 w 7467600"/>
              <a:gd name="connsiteY955" fmla="*/ 0 h 6858000"/>
              <a:gd name="connsiteX956" fmla="*/ 1125553 w 7467600"/>
              <a:gd name="connsiteY956" fmla="*/ 52588 h 6858000"/>
              <a:gd name="connsiteX957" fmla="*/ 1304276 w 7467600"/>
              <a:gd name="connsiteY957" fmla="*/ 476275 h 6858000"/>
              <a:gd name="connsiteX958" fmla="*/ 1492066 w 7467600"/>
              <a:gd name="connsiteY958" fmla="*/ 886333 h 6858000"/>
              <a:gd name="connsiteX959" fmla="*/ 1423698 w 7467600"/>
              <a:gd name="connsiteY959" fmla="*/ 710817 h 6858000"/>
              <a:gd name="connsiteX960" fmla="*/ 1357609 w 7467600"/>
              <a:gd name="connsiteY960" fmla="*/ 532892 h 6858000"/>
              <a:gd name="connsiteX961" fmla="*/ 1309550 w 7467600"/>
              <a:gd name="connsiteY961" fmla="*/ 374031 h 6858000"/>
              <a:gd name="connsiteX962" fmla="*/ 1193673 w 7467600"/>
              <a:gd name="connsiteY962" fmla="*/ 49533 h 6858000"/>
              <a:gd name="connsiteX963" fmla="*/ 1164391 w 7467600"/>
              <a:gd name="connsiteY963" fmla="*/ 0 h 6858000"/>
              <a:gd name="connsiteX964" fmla="*/ 1200666 w 7467600"/>
              <a:gd name="connsiteY964" fmla="*/ 0 h 6858000"/>
              <a:gd name="connsiteX965" fmla="*/ 1223408 w 7467600"/>
              <a:gd name="connsiteY965" fmla="*/ 38996 h 6858000"/>
              <a:gd name="connsiteX966" fmla="*/ 1339635 w 7467600"/>
              <a:gd name="connsiteY966" fmla="*/ 365517 h 6858000"/>
              <a:gd name="connsiteX967" fmla="*/ 1387469 w 7467600"/>
              <a:gd name="connsiteY967" fmla="*/ 523079 h 6858000"/>
              <a:gd name="connsiteX968" fmla="*/ 1452685 w 7467600"/>
              <a:gd name="connsiteY968" fmla="*/ 699806 h 6858000"/>
              <a:gd name="connsiteX969" fmla="*/ 1492092 w 7467600"/>
              <a:gd name="connsiteY969" fmla="*/ 800424 h 6858000"/>
              <a:gd name="connsiteX970" fmla="*/ 1455302 w 7467600"/>
              <a:gd name="connsiteY970" fmla="*/ 632913 h 6858000"/>
              <a:gd name="connsiteX971" fmla="*/ 1222336 w 7467600"/>
              <a:gd name="connsiteY971" fmla="*/ 9480 h 6858000"/>
              <a:gd name="connsiteX972" fmla="*/ 1214634 w 7467600"/>
              <a:gd name="connsiteY972" fmla="*/ 0 h 6858000"/>
              <a:gd name="connsiteX973" fmla="*/ 1289827 w 7467600"/>
              <a:gd name="connsiteY973" fmla="*/ 0 h 6858000"/>
              <a:gd name="connsiteX974" fmla="*/ 1321076 w 7467600"/>
              <a:gd name="connsiteY974" fmla="*/ 59722 h 6858000"/>
              <a:gd name="connsiteX975" fmla="*/ 1512579 w 7467600"/>
              <a:gd name="connsiteY975" fmla="*/ 626441 h 6858000"/>
              <a:gd name="connsiteX976" fmla="*/ 1506076 w 7467600"/>
              <a:gd name="connsiteY976" fmla="*/ 1089289 h 6858000"/>
              <a:gd name="connsiteX977" fmla="*/ 1486346 w 7467600"/>
              <a:gd name="connsiteY977" fmla="*/ 1079919 h 6858000"/>
              <a:gd name="connsiteX978" fmla="*/ 1070511 w 7467600"/>
              <a:gd name="connsiteY978" fmla="*/ 48609 h 6858000"/>
              <a:gd name="connsiteX979" fmla="*/ 1057230 w 7467600"/>
              <a:gd name="connsiteY979" fmla="*/ 0 h 6858000"/>
              <a:gd name="connsiteX980" fmla="*/ 43151 w 7467600"/>
              <a:gd name="connsiteY980" fmla="*/ 0 h 6858000"/>
              <a:gd name="connsiteX981" fmla="*/ 95283 w 7467600"/>
              <a:gd name="connsiteY981" fmla="*/ 0 h 6858000"/>
              <a:gd name="connsiteX982" fmla="*/ 300708 w 7467600"/>
              <a:gd name="connsiteY982" fmla="*/ 154571 h 6858000"/>
              <a:gd name="connsiteX983" fmla="*/ 530414 w 7467600"/>
              <a:gd name="connsiteY983" fmla="*/ 354673 h 6858000"/>
              <a:gd name="connsiteX984" fmla="*/ 333785 w 7467600"/>
              <a:gd name="connsiteY984" fmla="*/ 161564 h 6858000"/>
              <a:gd name="connsiteX985" fmla="*/ 147005 w 7467600"/>
              <a:gd name="connsiteY985" fmla="*/ 0 h 6858000"/>
              <a:gd name="connsiteX986" fmla="*/ 272509 w 7467600"/>
              <a:gd name="connsiteY986" fmla="*/ 0 h 6858000"/>
              <a:gd name="connsiteX987" fmla="*/ 326276 w 7467600"/>
              <a:gd name="connsiteY987" fmla="*/ 45847 h 6858000"/>
              <a:gd name="connsiteX988" fmla="*/ 823759 w 7467600"/>
              <a:gd name="connsiteY988" fmla="*/ 574145 h 6858000"/>
              <a:gd name="connsiteX989" fmla="*/ 811254 w 7467600"/>
              <a:gd name="connsiteY989" fmla="*/ 665546 h 6858000"/>
              <a:gd name="connsiteX990" fmla="*/ 154042 w 7467600"/>
              <a:gd name="connsiteY990" fmla="*/ 261522 h 6858000"/>
              <a:gd name="connsiteX991" fmla="*/ 13550 w 7467600"/>
              <a:gd name="connsiteY991" fmla="*/ 158423 h 6858000"/>
              <a:gd name="connsiteX992" fmla="*/ 0 w 7467600"/>
              <a:gd name="connsiteY992" fmla="*/ 146618 h 6858000"/>
              <a:gd name="connsiteX993" fmla="*/ 0 w 7467600"/>
              <a:gd name="connsiteY993" fmla="*/ 59161 h 6858000"/>
              <a:gd name="connsiteX994" fmla="*/ 45427 w 7467600"/>
              <a:gd name="connsiteY994" fmla="*/ 101078 h 6858000"/>
              <a:gd name="connsiteX995" fmla="*/ 630103 w 7467600"/>
              <a:gd name="connsiteY995" fmla="*/ 485885 h 6858000"/>
              <a:gd name="connsiteX996" fmla="*/ 532040 w 7467600"/>
              <a:gd name="connsiteY996" fmla="*/ 399359 h 6858000"/>
              <a:gd name="connsiteX997" fmla="*/ 517618 w 7467600"/>
              <a:gd name="connsiteY997" fmla="*/ 385726 h 6858000"/>
              <a:gd name="connsiteX998" fmla="*/ 285074 w 7467600"/>
              <a:gd name="connsiteY998" fmla="*/ 182755 h 6858000"/>
              <a:gd name="connsiteX999" fmla="*/ 43151 w 7467600"/>
              <a:gd name="connsiteY999"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467600 w 7467600"/>
              <a:gd name="connsiteY127" fmla="*/ 5361850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7327465 w 7467600"/>
              <a:gd name="connsiteY139" fmla="*/ 5174181 h 6858000"/>
              <a:gd name="connsiteX140" fmla="*/ 7353035 w 7467600"/>
              <a:gd name="connsiteY140" fmla="*/ 5197318 h 6858000"/>
              <a:gd name="connsiteX141" fmla="*/ 7467600 w 7467600"/>
              <a:gd name="connsiteY141" fmla="*/ 5297634 h 6858000"/>
              <a:gd name="connsiteX142" fmla="*/ 7467600 w 7467600"/>
              <a:gd name="connsiteY142" fmla="*/ 5361850 h 6858000"/>
              <a:gd name="connsiteX143" fmla="*/ 1903353 w 7467600"/>
              <a:gd name="connsiteY143" fmla="*/ 5044827 h 6858000"/>
              <a:gd name="connsiteX144" fmla="*/ 1936931 w 7467600"/>
              <a:gd name="connsiteY144" fmla="*/ 5093954 h 6858000"/>
              <a:gd name="connsiteX145" fmla="*/ 2195868 w 7467600"/>
              <a:gd name="connsiteY145" fmla="*/ 5396574 h 6858000"/>
              <a:gd name="connsiteX146" fmla="*/ 2088852 w 7467600"/>
              <a:gd name="connsiteY146" fmla="*/ 5166123 h 6858000"/>
              <a:gd name="connsiteX147" fmla="*/ 1958241 w 7467600"/>
              <a:gd name="connsiteY147" fmla="*/ 5067955 h 6858000"/>
              <a:gd name="connsiteX148" fmla="*/ 1903353 w 7467600"/>
              <a:gd name="connsiteY148" fmla="*/ 5044827 h 6858000"/>
              <a:gd name="connsiteX149" fmla="*/ 1979378 w 7467600"/>
              <a:gd name="connsiteY149" fmla="*/ 4769504 h 6858000"/>
              <a:gd name="connsiteX150" fmla="*/ 2882120 w 7467600"/>
              <a:gd name="connsiteY150" fmla="*/ 5064547 h 6858000"/>
              <a:gd name="connsiteX151" fmla="*/ 2793103 w 7467600"/>
              <a:gd name="connsiteY151" fmla="*/ 5039699 h 6858000"/>
              <a:gd name="connsiteX152" fmla="*/ 2770041 w 7467600"/>
              <a:gd name="connsiteY152" fmla="*/ 5033634 h 6858000"/>
              <a:gd name="connsiteX153" fmla="*/ 1979378 w 7467600"/>
              <a:gd name="connsiteY153" fmla="*/ 4769504 h 6858000"/>
              <a:gd name="connsiteX154" fmla="*/ 1927410 w 7467600"/>
              <a:gd name="connsiteY154" fmla="*/ 4716164 h 6858000"/>
              <a:gd name="connsiteX155" fmla="*/ 1959587 w 7467600"/>
              <a:gd name="connsiteY155" fmla="*/ 4728849 h 6858000"/>
              <a:gd name="connsiteX156" fmla="*/ 2777707 w 7467600"/>
              <a:gd name="connsiteY156" fmla="*/ 5003991 h 6858000"/>
              <a:gd name="connsiteX157" fmla="*/ 2800768 w 7467600"/>
              <a:gd name="connsiteY157" fmla="*/ 5010056 h 6858000"/>
              <a:gd name="connsiteX158" fmla="*/ 2879408 w 7467600"/>
              <a:gd name="connsiteY158" fmla="*/ 5031590 h 6858000"/>
              <a:gd name="connsiteX159" fmla="*/ 2862295 w 7467600"/>
              <a:gd name="connsiteY159" fmla="*/ 5022958 h 6858000"/>
              <a:gd name="connsiteX160" fmla="*/ 2813343 w 7467600"/>
              <a:gd name="connsiteY160" fmla="*/ 4998369 h 6858000"/>
              <a:gd name="connsiteX161" fmla="*/ 2646245 w 7467600"/>
              <a:gd name="connsiteY161" fmla="*/ 4930999 h 6858000"/>
              <a:gd name="connsiteX162" fmla="*/ 1999243 w 7467600"/>
              <a:gd name="connsiteY162" fmla="*/ 4730524 h 6858000"/>
              <a:gd name="connsiteX163" fmla="*/ 1979527 w 7467600"/>
              <a:gd name="connsiteY163" fmla="*/ 4726651 h 6858000"/>
              <a:gd name="connsiteX164" fmla="*/ 1927410 w 7467600"/>
              <a:gd name="connsiteY164" fmla="*/ 4716164 h 6858000"/>
              <a:gd name="connsiteX165" fmla="*/ 1997014 w 7467600"/>
              <a:gd name="connsiteY165" fmla="*/ 4698007 h 6858000"/>
              <a:gd name="connsiteX166" fmla="*/ 2005458 w 7467600"/>
              <a:gd name="connsiteY166" fmla="*/ 4699540 h 6858000"/>
              <a:gd name="connsiteX167" fmla="*/ 2657186 w 7467600"/>
              <a:gd name="connsiteY167" fmla="*/ 4901687 h 6858000"/>
              <a:gd name="connsiteX168" fmla="*/ 2826662 w 7467600"/>
              <a:gd name="connsiteY168" fmla="*/ 4970362 h 6858000"/>
              <a:gd name="connsiteX169" fmla="*/ 2876100 w 7467600"/>
              <a:gd name="connsiteY169" fmla="*/ 4995397 h 6858000"/>
              <a:gd name="connsiteX170" fmla="*/ 3042600 w 7467600"/>
              <a:gd name="connsiteY170" fmla="*/ 5059532 h 6858000"/>
              <a:gd name="connsiteX171" fmla="*/ 1997014 w 7467600"/>
              <a:gd name="connsiteY171" fmla="*/ 4698007 h 6858000"/>
              <a:gd name="connsiteX172" fmla="*/ 2305292 w 7467600"/>
              <a:gd name="connsiteY172" fmla="*/ 4219492 h 6858000"/>
              <a:gd name="connsiteX173" fmla="*/ 3360922 w 7467600"/>
              <a:gd name="connsiteY173" fmla="*/ 4529373 h 6858000"/>
              <a:gd name="connsiteX174" fmla="*/ 3492420 w 7467600"/>
              <a:gd name="connsiteY174" fmla="*/ 4510145 h 6858000"/>
              <a:gd name="connsiteX175" fmla="*/ 3364086 w 7467600"/>
              <a:gd name="connsiteY175" fmla="*/ 4480340 h 6858000"/>
              <a:gd name="connsiteX176" fmla="*/ 3225818 w 7467600"/>
              <a:gd name="connsiteY176" fmla="*/ 4411822 h 6858000"/>
              <a:gd name="connsiteX177" fmla="*/ 3129696 w 7467600"/>
              <a:gd name="connsiteY177" fmla="*/ 4360704 h 6858000"/>
              <a:gd name="connsiteX178" fmla="*/ 2814545 w 7467600"/>
              <a:gd name="connsiteY178" fmla="*/ 4282955 h 6858000"/>
              <a:gd name="connsiteX179" fmla="*/ 2305292 w 7467600"/>
              <a:gd name="connsiteY179" fmla="*/ 4219492 h 6858000"/>
              <a:gd name="connsiteX180" fmla="*/ 2626982 w 7467600"/>
              <a:gd name="connsiteY180" fmla="*/ 4206450 h 6858000"/>
              <a:gd name="connsiteX181" fmla="*/ 2490617 w 7467600"/>
              <a:gd name="connsiteY181" fmla="*/ 4206951 h 6858000"/>
              <a:gd name="connsiteX182" fmla="*/ 2819869 w 7467600"/>
              <a:gd name="connsiteY182" fmla="*/ 4252936 h 6858000"/>
              <a:gd name="connsiteX183" fmla="*/ 3143018 w 7467600"/>
              <a:gd name="connsiteY183" fmla="*/ 4332698 h 6858000"/>
              <a:gd name="connsiteX184" fmla="*/ 3241520 w 7467600"/>
              <a:gd name="connsiteY184" fmla="*/ 4385112 h 6858000"/>
              <a:gd name="connsiteX185" fmla="*/ 3374575 w 7467600"/>
              <a:gd name="connsiteY185" fmla="*/ 4451517 h 6858000"/>
              <a:gd name="connsiteX186" fmla="*/ 3505221 w 7467600"/>
              <a:gd name="connsiteY186" fmla="*/ 4480757 h 6858000"/>
              <a:gd name="connsiteX187" fmla="*/ 2626982 w 7467600"/>
              <a:gd name="connsiteY187" fmla="*/ 4206450 h 6858000"/>
              <a:gd name="connsiteX188" fmla="*/ 1310106 w 7467600"/>
              <a:gd name="connsiteY188" fmla="*/ 3943217 h 6858000"/>
              <a:gd name="connsiteX189" fmla="*/ 854994 w 7467600"/>
              <a:gd name="connsiteY189" fmla="*/ 4399136 h 6858000"/>
              <a:gd name="connsiteX190" fmla="*/ 742462 w 7467600"/>
              <a:gd name="connsiteY190" fmla="*/ 4594648 h 6858000"/>
              <a:gd name="connsiteX191" fmla="*/ 820602 w 7467600"/>
              <a:gd name="connsiteY191" fmla="*/ 4485915 h 6858000"/>
              <a:gd name="connsiteX192" fmla="*/ 878295 w 7467600"/>
              <a:gd name="connsiteY192" fmla="*/ 4403594 h 6858000"/>
              <a:gd name="connsiteX193" fmla="*/ 1240607 w 7467600"/>
              <a:gd name="connsiteY193" fmla="*/ 4010401 h 6858000"/>
              <a:gd name="connsiteX194" fmla="*/ 1310106 w 7467600"/>
              <a:gd name="connsiteY194" fmla="*/ 3943217 h 6858000"/>
              <a:gd name="connsiteX195" fmla="*/ 1423113 w 7467600"/>
              <a:gd name="connsiteY195" fmla="*/ 3874565 h 6858000"/>
              <a:gd name="connsiteX196" fmla="*/ 1260565 w 7467600"/>
              <a:gd name="connsiteY196" fmla="*/ 4031982 h 6858000"/>
              <a:gd name="connsiteX197" fmla="*/ 901900 w 7467600"/>
              <a:gd name="connsiteY197" fmla="*/ 4421236 h 6858000"/>
              <a:gd name="connsiteX198" fmla="*/ 845044 w 7467600"/>
              <a:gd name="connsiteY198" fmla="*/ 4502436 h 6858000"/>
              <a:gd name="connsiteX199" fmla="*/ 685926 w 7467600"/>
              <a:gd name="connsiteY199" fmla="*/ 4703069 h 6858000"/>
              <a:gd name="connsiteX200" fmla="*/ 684248 w 7467600"/>
              <a:gd name="connsiteY200" fmla="*/ 4706721 h 6858000"/>
              <a:gd name="connsiteX201" fmla="*/ 1423113 w 7467600"/>
              <a:gd name="connsiteY201" fmla="*/ 3874565 h 6858000"/>
              <a:gd name="connsiteX202" fmla="*/ 3316479 w 7467600"/>
              <a:gd name="connsiteY202" fmla="*/ 3872136 h 6858000"/>
              <a:gd name="connsiteX203" fmla="*/ 3546806 w 7467600"/>
              <a:gd name="connsiteY203" fmla="*/ 4356139 h 6858000"/>
              <a:gd name="connsiteX204" fmla="*/ 3364433 w 7467600"/>
              <a:gd name="connsiteY204" fmla="*/ 3953121 h 6858000"/>
              <a:gd name="connsiteX205" fmla="*/ 3316479 w 7467600"/>
              <a:gd name="connsiteY205" fmla="*/ 3872136 h 6858000"/>
              <a:gd name="connsiteX206" fmla="*/ 3291335 w 7467600"/>
              <a:gd name="connsiteY206" fmla="*/ 3767420 h 6858000"/>
              <a:gd name="connsiteX207" fmla="*/ 3390805 w 7467600"/>
              <a:gd name="connsiteY207" fmla="*/ 3937163 h 6858000"/>
              <a:gd name="connsiteX208" fmla="*/ 3579062 w 7467600"/>
              <a:gd name="connsiteY208" fmla="*/ 4359040 h 6858000"/>
              <a:gd name="connsiteX209" fmla="*/ 3467355 w 7467600"/>
              <a:gd name="connsiteY209" fmla="*/ 3988130 h 6858000"/>
              <a:gd name="connsiteX210" fmla="*/ 3310753 w 7467600"/>
              <a:gd name="connsiteY210" fmla="*/ 3787140 h 6858000"/>
              <a:gd name="connsiteX211" fmla="*/ 3291335 w 7467600"/>
              <a:gd name="connsiteY211" fmla="*/ 3767420 h 6858000"/>
              <a:gd name="connsiteX212" fmla="*/ 1635889 w 7467600"/>
              <a:gd name="connsiteY212" fmla="*/ 3709494 h 6858000"/>
              <a:gd name="connsiteX213" fmla="*/ 1634800 w 7467600"/>
              <a:gd name="connsiteY213" fmla="*/ 3731111 h 6858000"/>
              <a:gd name="connsiteX214" fmla="*/ 1635889 w 7467600"/>
              <a:gd name="connsiteY214" fmla="*/ 3709494 h 6858000"/>
              <a:gd name="connsiteX215" fmla="*/ 1510397 w 7467600"/>
              <a:gd name="connsiteY215" fmla="*/ 3684705 h 6858000"/>
              <a:gd name="connsiteX216" fmla="*/ 1146550 w 7467600"/>
              <a:gd name="connsiteY216" fmla="*/ 3802012 h 6858000"/>
              <a:gd name="connsiteX217" fmla="*/ 698834 w 7467600"/>
              <a:gd name="connsiteY217" fmla="*/ 3952272 h 6858000"/>
              <a:gd name="connsiteX218" fmla="*/ 34256 w 7467600"/>
              <a:gd name="connsiteY218" fmla="*/ 4347603 h 6858000"/>
              <a:gd name="connsiteX219" fmla="*/ 527241 w 7467600"/>
              <a:gd name="connsiteY219" fmla="*/ 4065078 h 6858000"/>
              <a:gd name="connsiteX220" fmla="*/ 1510397 w 7467600"/>
              <a:gd name="connsiteY220" fmla="*/ 3684705 h 6858000"/>
              <a:gd name="connsiteX221" fmla="*/ 1313114 w 7467600"/>
              <a:gd name="connsiteY221" fmla="*/ 3655216 h 6858000"/>
              <a:gd name="connsiteX222" fmla="*/ 1109304 w 7467600"/>
              <a:gd name="connsiteY222" fmla="*/ 3669030 h 6858000"/>
              <a:gd name="connsiteX223" fmla="*/ 8129 w 7467600"/>
              <a:gd name="connsiteY223" fmla="*/ 4330519 h 6858000"/>
              <a:gd name="connsiteX224" fmla="*/ 687572 w 7467600"/>
              <a:gd name="connsiteY224" fmla="*/ 3925629 h 6858000"/>
              <a:gd name="connsiteX225" fmla="*/ 1138365 w 7467600"/>
              <a:gd name="connsiteY225" fmla="*/ 3774515 h 6858000"/>
              <a:gd name="connsiteX226" fmla="*/ 1505579 w 7467600"/>
              <a:gd name="connsiteY226" fmla="*/ 3655526 h 6858000"/>
              <a:gd name="connsiteX227" fmla="*/ 1313114 w 7467600"/>
              <a:gd name="connsiteY227" fmla="*/ 3655216 h 6858000"/>
              <a:gd name="connsiteX228" fmla="*/ 3655073 w 7467600"/>
              <a:gd name="connsiteY228" fmla="*/ 3650884 h 6858000"/>
              <a:gd name="connsiteX229" fmla="*/ 3989938 w 7467600"/>
              <a:gd name="connsiteY229" fmla="*/ 3991685 h 6858000"/>
              <a:gd name="connsiteX230" fmla="*/ 4393907 w 7467600"/>
              <a:gd name="connsiteY230" fmla="*/ 4261258 h 6858000"/>
              <a:gd name="connsiteX231" fmla="*/ 4648051 w 7467600"/>
              <a:gd name="connsiteY231" fmla="*/ 4374051 h 6858000"/>
              <a:gd name="connsiteX232" fmla="*/ 4383389 w 7467600"/>
              <a:gd name="connsiteY232" fmla="*/ 4184369 h 6858000"/>
              <a:gd name="connsiteX233" fmla="*/ 4165508 w 7467600"/>
              <a:gd name="connsiteY233" fmla="*/ 4035196 h 6858000"/>
              <a:gd name="connsiteX234" fmla="*/ 4068162 w 7467600"/>
              <a:gd name="connsiteY234" fmla="*/ 3953394 h 6858000"/>
              <a:gd name="connsiteX235" fmla="*/ 3981416 w 7467600"/>
              <a:gd name="connsiteY235" fmla="*/ 3880482 h 6858000"/>
              <a:gd name="connsiteX236" fmla="*/ 3800147 w 7467600"/>
              <a:gd name="connsiteY236" fmla="*/ 3749872 h 6858000"/>
              <a:gd name="connsiteX237" fmla="*/ 3655073 w 7467600"/>
              <a:gd name="connsiteY237" fmla="*/ 3650884 h 6858000"/>
              <a:gd name="connsiteX238" fmla="*/ 3670252 w 7467600"/>
              <a:gd name="connsiteY238" fmla="*/ 3622798 h 6858000"/>
              <a:gd name="connsiteX239" fmla="*/ 3817258 w 7467600"/>
              <a:gd name="connsiteY239" fmla="*/ 3723577 h 6858000"/>
              <a:gd name="connsiteX240" fmla="*/ 4000461 w 7467600"/>
              <a:gd name="connsiteY240" fmla="*/ 3855966 h 6858000"/>
              <a:gd name="connsiteX241" fmla="*/ 4088180 w 7467600"/>
              <a:gd name="connsiteY241" fmla="*/ 3929774 h 6858000"/>
              <a:gd name="connsiteX242" fmla="*/ 4184555 w 7467600"/>
              <a:gd name="connsiteY242" fmla="*/ 4010683 h 6858000"/>
              <a:gd name="connsiteX243" fmla="*/ 4399563 w 7467600"/>
              <a:gd name="connsiteY243" fmla="*/ 4158106 h 6858000"/>
              <a:gd name="connsiteX244" fmla="*/ 4684469 w 7467600"/>
              <a:gd name="connsiteY244" fmla="*/ 4364680 h 6858000"/>
              <a:gd name="connsiteX245" fmla="*/ 4690271 w 7467600"/>
              <a:gd name="connsiteY245" fmla="*/ 4370034 h 6858000"/>
              <a:gd name="connsiteX246" fmla="*/ 4136093 w 7467600"/>
              <a:gd name="connsiteY246" fmla="*/ 3858466 h 6858000"/>
              <a:gd name="connsiteX247" fmla="*/ 3670252 w 7467600"/>
              <a:gd name="connsiteY247" fmla="*/ 3622798 h 6858000"/>
              <a:gd name="connsiteX248" fmla="*/ 4440129 w 7467600"/>
              <a:gd name="connsiteY248" fmla="*/ 3448571 h 6858000"/>
              <a:gd name="connsiteX249" fmla="*/ 4856525 w 7467600"/>
              <a:gd name="connsiteY249" fmla="*/ 3915351 h 6858000"/>
              <a:gd name="connsiteX250" fmla="*/ 5059055 w 7467600"/>
              <a:gd name="connsiteY250" fmla="*/ 4108918 h 6858000"/>
              <a:gd name="connsiteX251" fmla="*/ 5290070 w 7467600"/>
              <a:gd name="connsiteY251" fmla="*/ 4263619 h 6858000"/>
              <a:gd name="connsiteX252" fmla="*/ 4834991 w 7467600"/>
              <a:gd name="connsiteY252" fmla="*/ 3830985 h 6858000"/>
              <a:gd name="connsiteX253" fmla="*/ 4440129 w 7467600"/>
              <a:gd name="connsiteY253" fmla="*/ 3448571 h 6858000"/>
              <a:gd name="connsiteX254" fmla="*/ 4441737 w 7467600"/>
              <a:gd name="connsiteY254" fmla="*/ 3399734 h 6858000"/>
              <a:gd name="connsiteX255" fmla="*/ 4431236 w 7467600"/>
              <a:gd name="connsiteY255" fmla="*/ 3400954 h 6858000"/>
              <a:gd name="connsiteX256" fmla="*/ 4557150 w 7467600"/>
              <a:gd name="connsiteY256" fmla="*/ 3510023 h 6858000"/>
              <a:gd name="connsiteX257" fmla="*/ 4856936 w 7467600"/>
              <a:gd name="connsiteY257" fmla="*/ 3809146 h 6858000"/>
              <a:gd name="connsiteX258" fmla="*/ 5111996 w 7467600"/>
              <a:gd name="connsiteY258" fmla="*/ 4065759 h 6858000"/>
              <a:gd name="connsiteX259" fmla="*/ 5388878 w 7467600"/>
              <a:gd name="connsiteY259" fmla="*/ 4300185 h 6858000"/>
              <a:gd name="connsiteX260" fmla="*/ 5425556 w 7467600"/>
              <a:gd name="connsiteY260" fmla="*/ 4308967 h 6858000"/>
              <a:gd name="connsiteX261" fmla="*/ 4943646 w 7467600"/>
              <a:gd name="connsiteY261" fmla="*/ 3822916 h 6858000"/>
              <a:gd name="connsiteX262" fmla="*/ 4594837 w 7467600"/>
              <a:gd name="connsiteY262" fmla="*/ 3532274 h 6858000"/>
              <a:gd name="connsiteX263" fmla="*/ 4441737 w 7467600"/>
              <a:gd name="connsiteY263" fmla="*/ 3399734 h 6858000"/>
              <a:gd name="connsiteX264" fmla="*/ 5425834 w 7467600"/>
              <a:gd name="connsiteY264" fmla="*/ 3162785 h 6858000"/>
              <a:gd name="connsiteX265" fmla="*/ 5401644 w 7467600"/>
              <a:gd name="connsiteY265" fmla="*/ 3617847 h 6858000"/>
              <a:gd name="connsiteX266" fmla="*/ 5467256 w 7467600"/>
              <a:gd name="connsiteY266" fmla="*/ 4175494 h 6858000"/>
              <a:gd name="connsiteX267" fmla="*/ 5448069 w 7467600"/>
              <a:gd name="connsiteY267" fmla="*/ 3567554 h 6858000"/>
              <a:gd name="connsiteX268" fmla="*/ 5425834 w 7467600"/>
              <a:gd name="connsiteY268" fmla="*/ 3162785 h 6858000"/>
              <a:gd name="connsiteX269" fmla="*/ 1318687 w 7467600"/>
              <a:gd name="connsiteY269" fmla="*/ 3113840 h 6858000"/>
              <a:gd name="connsiteX270" fmla="*/ 1066793 w 7467600"/>
              <a:gd name="connsiteY270" fmla="*/ 3212171 h 6858000"/>
              <a:gd name="connsiteX271" fmla="*/ 993319 w 7467600"/>
              <a:gd name="connsiteY271" fmla="*/ 3247648 h 6858000"/>
              <a:gd name="connsiteX272" fmla="*/ 853081 w 7467600"/>
              <a:gd name="connsiteY272" fmla="*/ 3312410 h 6858000"/>
              <a:gd name="connsiteX273" fmla="*/ 805957 w 7467600"/>
              <a:gd name="connsiteY273" fmla="*/ 3330443 h 6858000"/>
              <a:gd name="connsiteX274" fmla="*/ 1318687 w 7467600"/>
              <a:gd name="connsiteY274" fmla="*/ 3113840 h 6858000"/>
              <a:gd name="connsiteX275" fmla="*/ 5453702 w 7467600"/>
              <a:gd name="connsiteY275" fmla="*/ 3090882 h 6858000"/>
              <a:gd name="connsiteX276" fmla="*/ 5480135 w 7467600"/>
              <a:gd name="connsiteY276" fmla="*/ 3565802 h 6858000"/>
              <a:gd name="connsiteX277" fmla="*/ 5499023 w 7467600"/>
              <a:gd name="connsiteY277" fmla="*/ 4166310 h 6858000"/>
              <a:gd name="connsiteX278" fmla="*/ 5547022 w 7467600"/>
              <a:gd name="connsiteY278" fmla="*/ 3607838 h 6858000"/>
              <a:gd name="connsiteX279" fmla="*/ 5515964 w 7467600"/>
              <a:gd name="connsiteY279" fmla="*/ 3378541 h 6858000"/>
              <a:gd name="connsiteX280" fmla="*/ 5453702 w 7467600"/>
              <a:gd name="connsiteY280" fmla="*/ 3090882 h 6858000"/>
              <a:gd name="connsiteX281" fmla="*/ 1238695 w 7467600"/>
              <a:gd name="connsiteY281" fmla="*/ 3076820 h 6858000"/>
              <a:gd name="connsiteX282" fmla="*/ 716371 w 7467600"/>
              <a:gd name="connsiteY282" fmla="*/ 3293249 h 6858000"/>
              <a:gd name="connsiteX283" fmla="*/ 579522 w 7467600"/>
              <a:gd name="connsiteY283" fmla="*/ 3371759 h 6858000"/>
              <a:gd name="connsiteX284" fmla="*/ 600288 w 7467600"/>
              <a:gd name="connsiteY284" fmla="*/ 3365555 h 6858000"/>
              <a:gd name="connsiteX285" fmla="*/ 840692 w 7467600"/>
              <a:gd name="connsiteY285" fmla="*/ 3284921 h 6858000"/>
              <a:gd name="connsiteX286" fmla="*/ 979248 w 7467600"/>
              <a:gd name="connsiteY286" fmla="*/ 3221003 h 6858000"/>
              <a:gd name="connsiteX287" fmla="*/ 1053282 w 7467600"/>
              <a:gd name="connsiteY287" fmla="*/ 3185247 h 6858000"/>
              <a:gd name="connsiteX288" fmla="*/ 1320603 w 7467600"/>
              <a:gd name="connsiteY288" fmla="*/ 3081281 h 6858000"/>
              <a:gd name="connsiteX289" fmla="*/ 1238695 w 7467600"/>
              <a:gd name="connsiteY289" fmla="*/ 3076820 h 6858000"/>
              <a:gd name="connsiteX290" fmla="*/ 5425627 w 7467600"/>
              <a:gd name="connsiteY290" fmla="*/ 2954192 h 6858000"/>
              <a:gd name="connsiteX291" fmla="*/ 5470770 w 7467600"/>
              <a:gd name="connsiteY291" fmla="*/ 3005435 h 6858000"/>
              <a:gd name="connsiteX292" fmla="*/ 5519779 w 7467600"/>
              <a:gd name="connsiteY292" fmla="*/ 4359223 h 6858000"/>
              <a:gd name="connsiteX293" fmla="*/ 5520293 w 7467600"/>
              <a:gd name="connsiteY293" fmla="*/ 4360602 h 6858000"/>
              <a:gd name="connsiteX294" fmla="*/ 5767221 w 7467600"/>
              <a:gd name="connsiteY294" fmla="*/ 4665564 h 6858000"/>
              <a:gd name="connsiteX295" fmla="*/ 6937169 w 7467600"/>
              <a:gd name="connsiteY295" fmla="*/ 4815941 h 6858000"/>
              <a:gd name="connsiteX296" fmla="*/ 6953922 w 7467600"/>
              <a:gd name="connsiteY296" fmla="*/ 4890068 h 6858000"/>
              <a:gd name="connsiteX297" fmla="*/ 6071359 w 7467600"/>
              <a:gd name="connsiteY297" fmla="*/ 4770770 h 6858000"/>
              <a:gd name="connsiteX298" fmla="*/ 6038839 w 7467600"/>
              <a:gd name="connsiteY298" fmla="*/ 4764474 h 6858000"/>
              <a:gd name="connsiteX299" fmla="*/ 6038706 w 7467600"/>
              <a:gd name="connsiteY299" fmla="*/ 4763847 h 6858000"/>
              <a:gd name="connsiteX300" fmla="*/ 6037784 w 7467600"/>
              <a:gd name="connsiteY300" fmla="*/ 4764270 h 6858000"/>
              <a:gd name="connsiteX301" fmla="*/ 6038839 w 7467600"/>
              <a:gd name="connsiteY301" fmla="*/ 4764474 h 6858000"/>
              <a:gd name="connsiteX302" fmla="*/ 6040338 w 7467600"/>
              <a:gd name="connsiteY302" fmla="*/ 4771418 h 6858000"/>
              <a:gd name="connsiteX303" fmla="*/ 6024488 w 7467600"/>
              <a:gd name="connsiteY303" fmla="*/ 4809903 h 6858000"/>
              <a:gd name="connsiteX304" fmla="*/ 5599771 w 7467600"/>
              <a:gd name="connsiteY304" fmla="*/ 5509652 h 6858000"/>
              <a:gd name="connsiteX305" fmla="*/ 5548843 w 7467600"/>
              <a:gd name="connsiteY305" fmla="*/ 5563845 h 6858000"/>
              <a:gd name="connsiteX306" fmla="*/ 5940952 w 7467600"/>
              <a:gd name="connsiteY306" fmla="*/ 6250028 h 6858000"/>
              <a:gd name="connsiteX307" fmla="*/ 6043441 w 7467600"/>
              <a:gd name="connsiteY307" fmla="*/ 6665847 h 6858000"/>
              <a:gd name="connsiteX308" fmla="*/ 6093432 w 7467600"/>
              <a:gd name="connsiteY308" fmla="*/ 6858000 h 6858000"/>
              <a:gd name="connsiteX309" fmla="*/ 6034344 w 7467600"/>
              <a:gd name="connsiteY309" fmla="*/ 6858000 h 6858000"/>
              <a:gd name="connsiteX310" fmla="*/ 6026679 w 7467600"/>
              <a:gd name="connsiteY310" fmla="*/ 6836959 h 6858000"/>
              <a:gd name="connsiteX311" fmla="*/ 5800441 w 7467600"/>
              <a:gd name="connsiteY311" fmla="*/ 6335286 h 6858000"/>
              <a:gd name="connsiteX312" fmla="*/ 5526562 w 7467600"/>
              <a:gd name="connsiteY312" fmla="*/ 5705388 h 6858000"/>
              <a:gd name="connsiteX313" fmla="*/ 5519640 w 7467600"/>
              <a:gd name="connsiteY313" fmla="*/ 5683774 h 6858000"/>
              <a:gd name="connsiteX314" fmla="*/ 5844559 w 7467600"/>
              <a:gd name="connsiteY314" fmla="*/ 6553349 h 6858000"/>
              <a:gd name="connsiteX315" fmla="*/ 5975994 w 7467600"/>
              <a:gd name="connsiteY315" fmla="*/ 6858000 h 6858000"/>
              <a:gd name="connsiteX316" fmla="*/ 5898547 w 7467600"/>
              <a:gd name="connsiteY316" fmla="*/ 6858000 h 6858000"/>
              <a:gd name="connsiteX317" fmla="*/ 5682041 w 7467600"/>
              <a:gd name="connsiteY317" fmla="*/ 6355860 h 6858000"/>
              <a:gd name="connsiteX318" fmla="*/ 5461758 w 7467600"/>
              <a:gd name="connsiteY318" fmla="*/ 5820220 h 6858000"/>
              <a:gd name="connsiteX319" fmla="*/ 5237282 w 7467600"/>
              <a:gd name="connsiteY319" fmla="*/ 6579086 h 6858000"/>
              <a:gd name="connsiteX320" fmla="*/ 5115009 w 7467600"/>
              <a:gd name="connsiteY320" fmla="*/ 6858000 h 6858000"/>
              <a:gd name="connsiteX321" fmla="*/ 5028074 w 7467600"/>
              <a:gd name="connsiteY321" fmla="*/ 6858000 h 6858000"/>
              <a:gd name="connsiteX322" fmla="*/ 5079508 w 7467600"/>
              <a:gd name="connsiteY322" fmla="*/ 6749074 h 6858000"/>
              <a:gd name="connsiteX323" fmla="*/ 5371846 w 7467600"/>
              <a:gd name="connsiteY323" fmla="*/ 5924413 h 6858000"/>
              <a:gd name="connsiteX324" fmla="*/ 5270512 w 7467600"/>
              <a:gd name="connsiteY324" fmla="*/ 6138975 h 6858000"/>
              <a:gd name="connsiteX325" fmla="*/ 5062409 w 7467600"/>
              <a:gd name="connsiteY325" fmla="*/ 6653544 h 6858000"/>
              <a:gd name="connsiteX326" fmla="*/ 5036628 w 7467600"/>
              <a:gd name="connsiteY326" fmla="*/ 6754247 h 6858000"/>
              <a:gd name="connsiteX327" fmla="*/ 5009112 w 7467600"/>
              <a:gd name="connsiteY327" fmla="*/ 6858000 h 6858000"/>
              <a:gd name="connsiteX328" fmla="*/ 4976679 w 7467600"/>
              <a:gd name="connsiteY328" fmla="*/ 6858000 h 6858000"/>
              <a:gd name="connsiteX329" fmla="*/ 5006537 w 7467600"/>
              <a:gd name="connsiteY329" fmla="*/ 6747068 h 6858000"/>
              <a:gd name="connsiteX330" fmla="*/ 5032723 w 7467600"/>
              <a:gd name="connsiteY330" fmla="*/ 6644957 h 6858000"/>
              <a:gd name="connsiteX331" fmla="*/ 5242949 w 7467600"/>
              <a:gd name="connsiteY331" fmla="*/ 6125175 h 6858000"/>
              <a:gd name="connsiteX332" fmla="*/ 5286321 w 7467600"/>
              <a:gd name="connsiteY332" fmla="*/ 6033555 h 6858000"/>
              <a:gd name="connsiteX333" fmla="*/ 5008210 w 7467600"/>
              <a:gd name="connsiteY333" fmla="*/ 6649194 h 6858000"/>
              <a:gd name="connsiteX334" fmla="*/ 4986321 w 7467600"/>
              <a:gd name="connsiteY334" fmla="*/ 6765687 h 6858000"/>
              <a:gd name="connsiteX335" fmla="*/ 4973474 w 7467600"/>
              <a:gd name="connsiteY335" fmla="*/ 6858000 h 6858000"/>
              <a:gd name="connsiteX336" fmla="*/ 4907178 w 7467600"/>
              <a:gd name="connsiteY336" fmla="*/ 6858000 h 6858000"/>
              <a:gd name="connsiteX337" fmla="*/ 4910810 w 7467600"/>
              <a:gd name="connsiteY337" fmla="*/ 6829660 h 6858000"/>
              <a:gd name="connsiteX338" fmla="*/ 4987461 w 7467600"/>
              <a:gd name="connsiteY338" fmla="*/ 6432994 h 6858000"/>
              <a:gd name="connsiteX339" fmla="*/ 5179262 w 7467600"/>
              <a:gd name="connsiteY339" fmla="*/ 6035044 h 6858000"/>
              <a:gd name="connsiteX340" fmla="*/ 4689678 w 7467600"/>
              <a:gd name="connsiteY340" fmla="*/ 6440241 h 6858000"/>
              <a:gd name="connsiteX341" fmla="*/ 4477543 w 7467600"/>
              <a:gd name="connsiteY341" fmla="*/ 6674836 h 6858000"/>
              <a:gd name="connsiteX342" fmla="*/ 4329957 w 7467600"/>
              <a:gd name="connsiteY342" fmla="*/ 6858000 h 6858000"/>
              <a:gd name="connsiteX343" fmla="*/ 4218595 w 7467600"/>
              <a:gd name="connsiteY343" fmla="*/ 6858000 h 6858000"/>
              <a:gd name="connsiteX344" fmla="*/ 4368888 w 7467600"/>
              <a:gd name="connsiteY344" fmla="*/ 6668412 h 6858000"/>
              <a:gd name="connsiteX345" fmla="*/ 4563091 w 7467600"/>
              <a:gd name="connsiteY345" fmla="*/ 6442508 h 6858000"/>
              <a:gd name="connsiteX346" fmla="*/ 5387324 w 7467600"/>
              <a:gd name="connsiteY346" fmla="*/ 5705830 h 6858000"/>
              <a:gd name="connsiteX347" fmla="*/ 5073620 w 7467600"/>
              <a:gd name="connsiteY347" fmla="*/ 5955437 h 6858000"/>
              <a:gd name="connsiteX348" fmla="*/ 4689789 w 7467600"/>
              <a:gd name="connsiteY348" fmla="*/ 6268382 h 6858000"/>
              <a:gd name="connsiteX349" fmla="*/ 4418722 w 7467600"/>
              <a:gd name="connsiteY349" fmla="*/ 6570886 h 6858000"/>
              <a:gd name="connsiteX350" fmla="*/ 4214944 w 7467600"/>
              <a:gd name="connsiteY350" fmla="*/ 6858000 h 6858000"/>
              <a:gd name="connsiteX351" fmla="*/ 4177898 w 7467600"/>
              <a:gd name="connsiteY351" fmla="*/ 6858000 h 6858000"/>
              <a:gd name="connsiteX352" fmla="*/ 4391597 w 7467600"/>
              <a:gd name="connsiteY352" fmla="*/ 6556370 h 6858000"/>
              <a:gd name="connsiteX353" fmla="*/ 4668889 w 7467600"/>
              <a:gd name="connsiteY353" fmla="*/ 6246399 h 6858000"/>
              <a:gd name="connsiteX354" fmla="*/ 5055427 w 7467600"/>
              <a:gd name="connsiteY354" fmla="*/ 5931476 h 6858000"/>
              <a:gd name="connsiteX355" fmla="*/ 5371814 w 7467600"/>
              <a:gd name="connsiteY355" fmla="*/ 5678975 h 6858000"/>
              <a:gd name="connsiteX356" fmla="*/ 4987918 w 7467600"/>
              <a:gd name="connsiteY356" fmla="*/ 5838701 h 6858000"/>
              <a:gd name="connsiteX357" fmla="*/ 4317146 w 7467600"/>
              <a:gd name="connsiteY357" fmla="*/ 6587716 h 6858000"/>
              <a:gd name="connsiteX358" fmla="*/ 4171627 w 7467600"/>
              <a:gd name="connsiteY358" fmla="*/ 6858000 h 6858000"/>
              <a:gd name="connsiteX359" fmla="*/ 4081585 w 7467600"/>
              <a:gd name="connsiteY359" fmla="*/ 6858000 h 6858000"/>
              <a:gd name="connsiteX360" fmla="*/ 4238603 w 7467600"/>
              <a:gd name="connsiteY360" fmla="*/ 6559341 h 6858000"/>
              <a:gd name="connsiteX361" fmla="*/ 4778333 w 7467600"/>
              <a:gd name="connsiteY361" fmla="*/ 5873626 h 6858000"/>
              <a:gd name="connsiteX362" fmla="*/ 5414185 w 7467600"/>
              <a:gd name="connsiteY362" fmla="*/ 5573882 h 6858000"/>
              <a:gd name="connsiteX363" fmla="*/ 5959648 w 7467600"/>
              <a:gd name="connsiteY363" fmla="*/ 4760797 h 6858000"/>
              <a:gd name="connsiteX364" fmla="*/ 5355019 w 7467600"/>
              <a:gd name="connsiteY364" fmla="*/ 4734672 h 6858000"/>
              <a:gd name="connsiteX365" fmla="*/ 5083565 w 7467600"/>
              <a:gd name="connsiteY365" fmla="*/ 5179121 h 6858000"/>
              <a:gd name="connsiteX366" fmla="*/ 4713577 w 7467600"/>
              <a:gd name="connsiteY366" fmla="*/ 5616803 h 6858000"/>
              <a:gd name="connsiteX367" fmla="*/ 3989559 w 7467600"/>
              <a:gd name="connsiteY367" fmla="*/ 6145945 h 6858000"/>
              <a:gd name="connsiteX368" fmla="*/ 3939824 w 7467600"/>
              <a:gd name="connsiteY368" fmla="*/ 6066900 h 6858000"/>
              <a:gd name="connsiteX369" fmla="*/ 4584537 w 7467600"/>
              <a:gd name="connsiteY369" fmla="*/ 5324826 h 6858000"/>
              <a:gd name="connsiteX370" fmla="*/ 5037105 w 7467600"/>
              <a:gd name="connsiteY370" fmla="*/ 5088765 h 6858000"/>
              <a:gd name="connsiteX371" fmla="*/ 5039930 w 7467600"/>
              <a:gd name="connsiteY371" fmla="*/ 5089585 h 6858000"/>
              <a:gd name="connsiteX372" fmla="*/ 5263764 w 7467600"/>
              <a:gd name="connsiteY372" fmla="*/ 4735525 h 6858000"/>
              <a:gd name="connsiteX373" fmla="*/ 4086300 w 7467600"/>
              <a:gd name="connsiteY373" fmla="*/ 4884599 h 6858000"/>
              <a:gd name="connsiteX374" fmla="*/ 4085485 w 7467600"/>
              <a:gd name="connsiteY374" fmla="*/ 4899070 h 6858000"/>
              <a:gd name="connsiteX375" fmla="*/ 3871915 w 7467600"/>
              <a:gd name="connsiteY375" fmla="*/ 5253645 h 6858000"/>
              <a:gd name="connsiteX376" fmla="*/ 3799374 w 7467600"/>
              <a:gd name="connsiteY376" fmla="*/ 5466127 h 6858000"/>
              <a:gd name="connsiteX377" fmla="*/ 3498850 w 7467600"/>
              <a:gd name="connsiteY377" fmla="*/ 6661888 h 6858000"/>
              <a:gd name="connsiteX378" fmla="*/ 3399216 w 7467600"/>
              <a:gd name="connsiteY378" fmla="*/ 6858000 h 6858000"/>
              <a:gd name="connsiteX379" fmla="*/ 3303688 w 7467600"/>
              <a:gd name="connsiteY379" fmla="*/ 6858000 h 6858000"/>
              <a:gd name="connsiteX380" fmla="*/ 3391774 w 7467600"/>
              <a:gd name="connsiteY380" fmla="*/ 6697181 h 6858000"/>
              <a:gd name="connsiteX381" fmla="*/ 3735540 w 7467600"/>
              <a:gd name="connsiteY381" fmla="*/ 5546923 h 6858000"/>
              <a:gd name="connsiteX382" fmla="*/ 3729438 w 7467600"/>
              <a:gd name="connsiteY382" fmla="*/ 5569058 h 6858000"/>
              <a:gd name="connsiteX383" fmla="*/ 3707782 w 7467600"/>
              <a:gd name="connsiteY383" fmla="*/ 5644908 h 6858000"/>
              <a:gd name="connsiteX384" fmla="*/ 3583827 w 7467600"/>
              <a:gd name="connsiteY384" fmla="*/ 6039215 h 6858000"/>
              <a:gd name="connsiteX385" fmla="*/ 3547861 w 7467600"/>
              <a:gd name="connsiteY385" fmla="*/ 6129609 h 6858000"/>
              <a:gd name="connsiteX386" fmla="*/ 3490905 w 7467600"/>
              <a:gd name="connsiteY386" fmla="*/ 6277660 h 6858000"/>
              <a:gd name="connsiteX387" fmla="*/ 3455859 w 7467600"/>
              <a:gd name="connsiteY387" fmla="*/ 6391301 h 6858000"/>
              <a:gd name="connsiteX388" fmla="*/ 3429112 w 7467600"/>
              <a:gd name="connsiteY388" fmla="*/ 6479469 h 6858000"/>
              <a:gd name="connsiteX389" fmla="*/ 3304862 w 7467600"/>
              <a:gd name="connsiteY389" fmla="*/ 6796476 h 6858000"/>
              <a:gd name="connsiteX390" fmla="*/ 3276071 w 7467600"/>
              <a:gd name="connsiteY390" fmla="*/ 6858000 h 6858000"/>
              <a:gd name="connsiteX391" fmla="*/ 3240805 w 7467600"/>
              <a:gd name="connsiteY391" fmla="*/ 6858000 h 6858000"/>
              <a:gd name="connsiteX392" fmla="*/ 3275917 w 7467600"/>
              <a:gd name="connsiteY392" fmla="*/ 6783192 h 6858000"/>
              <a:gd name="connsiteX393" fmla="*/ 3399358 w 7467600"/>
              <a:gd name="connsiteY393" fmla="*/ 6469011 h 6858000"/>
              <a:gd name="connsiteX394" fmla="*/ 3425650 w 7467600"/>
              <a:gd name="connsiteY394" fmla="*/ 6381333 h 6858000"/>
              <a:gd name="connsiteX395" fmla="*/ 3460661 w 7467600"/>
              <a:gd name="connsiteY395" fmla="*/ 6266763 h 6858000"/>
              <a:gd name="connsiteX396" fmla="*/ 3518021 w 7467600"/>
              <a:gd name="connsiteY396" fmla="*/ 6117298 h 6858000"/>
              <a:gd name="connsiteX397" fmla="*/ 3554035 w 7467600"/>
              <a:gd name="connsiteY397" fmla="*/ 6027832 h 6858000"/>
              <a:gd name="connsiteX398" fmla="*/ 3677174 w 7467600"/>
              <a:gd name="connsiteY398" fmla="*/ 5636351 h 6858000"/>
              <a:gd name="connsiteX399" fmla="*/ 3698819 w 7467600"/>
              <a:gd name="connsiteY399" fmla="*/ 5560503 h 6858000"/>
              <a:gd name="connsiteX400" fmla="*/ 3702094 w 7467600"/>
              <a:gd name="connsiteY400" fmla="*/ 5549194 h 6858000"/>
              <a:gd name="connsiteX401" fmla="*/ 3398355 w 7467600"/>
              <a:gd name="connsiteY401" fmla="*/ 6094603 h 6858000"/>
              <a:gd name="connsiteX402" fmla="*/ 3193941 w 7467600"/>
              <a:gd name="connsiteY402" fmla="*/ 6798775 h 6858000"/>
              <a:gd name="connsiteX403" fmla="*/ 3184140 w 7467600"/>
              <a:gd name="connsiteY403" fmla="*/ 6858000 h 6858000"/>
              <a:gd name="connsiteX404" fmla="*/ 3099978 w 7467600"/>
              <a:gd name="connsiteY404" fmla="*/ 6858000 h 6858000"/>
              <a:gd name="connsiteX405" fmla="*/ 3101556 w 7467600"/>
              <a:gd name="connsiteY405" fmla="*/ 6843337 h 6858000"/>
              <a:gd name="connsiteX406" fmla="*/ 3370162 w 7467600"/>
              <a:gd name="connsiteY406" fmla="*/ 5785550 h 6858000"/>
              <a:gd name="connsiteX407" fmla="*/ 3746477 w 7467600"/>
              <a:gd name="connsiteY407" fmla="*/ 5377889 h 6858000"/>
              <a:gd name="connsiteX408" fmla="*/ 3863399 w 7467600"/>
              <a:gd name="connsiteY408" fmla="*/ 5087257 h 6858000"/>
              <a:gd name="connsiteX409" fmla="*/ 3968712 w 7467600"/>
              <a:gd name="connsiteY409" fmla="*/ 4913989 h 6858000"/>
              <a:gd name="connsiteX410" fmla="*/ 2792390 w 7467600"/>
              <a:gd name="connsiteY410" fmla="*/ 5382974 h 6858000"/>
              <a:gd name="connsiteX411" fmla="*/ 2714982 w 7467600"/>
              <a:gd name="connsiteY411" fmla="*/ 5427051 h 6858000"/>
              <a:gd name="connsiteX412" fmla="*/ 2813361 w 7467600"/>
              <a:gd name="connsiteY412" fmla="*/ 6023912 h 6858000"/>
              <a:gd name="connsiteX413" fmla="*/ 2688430 w 7467600"/>
              <a:gd name="connsiteY413" fmla="*/ 6801564 h 6858000"/>
              <a:gd name="connsiteX414" fmla="*/ 2629626 w 7467600"/>
              <a:gd name="connsiteY414" fmla="*/ 6763394 h 6858000"/>
              <a:gd name="connsiteX415" fmla="*/ 2565328 w 7467600"/>
              <a:gd name="connsiteY415" fmla="*/ 5516399 h 6858000"/>
              <a:gd name="connsiteX416" fmla="*/ 1922999 w 7467600"/>
              <a:gd name="connsiteY416" fmla="*/ 5980343 h 6858000"/>
              <a:gd name="connsiteX417" fmla="*/ 1950261 w 7467600"/>
              <a:gd name="connsiteY417" fmla="*/ 6405858 h 6858000"/>
              <a:gd name="connsiteX418" fmla="*/ 2365554 w 7467600"/>
              <a:gd name="connsiteY418" fmla="*/ 6759107 h 6858000"/>
              <a:gd name="connsiteX419" fmla="*/ 2424142 w 7467600"/>
              <a:gd name="connsiteY419" fmla="*/ 6858000 h 6858000"/>
              <a:gd name="connsiteX420" fmla="*/ 2395994 w 7467600"/>
              <a:gd name="connsiteY420" fmla="*/ 6858000 h 6858000"/>
              <a:gd name="connsiteX421" fmla="*/ 2392863 w 7467600"/>
              <a:gd name="connsiteY421" fmla="*/ 6852964 h 6858000"/>
              <a:gd name="connsiteX422" fmla="*/ 2017589 w 7467600"/>
              <a:gd name="connsiteY422" fmla="*/ 6493982 h 6858000"/>
              <a:gd name="connsiteX423" fmla="*/ 2147336 w 7467600"/>
              <a:gd name="connsiteY423" fmla="*/ 6594052 h 6858000"/>
              <a:gd name="connsiteX424" fmla="*/ 2207047 w 7467600"/>
              <a:gd name="connsiteY424" fmla="*/ 6654540 h 6858000"/>
              <a:gd name="connsiteX425" fmla="*/ 2299106 w 7467600"/>
              <a:gd name="connsiteY425" fmla="*/ 6778931 h 6858000"/>
              <a:gd name="connsiteX426" fmla="*/ 2314430 w 7467600"/>
              <a:gd name="connsiteY426" fmla="*/ 6801144 h 6858000"/>
              <a:gd name="connsiteX427" fmla="*/ 2352406 w 7467600"/>
              <a:gd name="connsiteY427" fmla="*/ 6858000 h 6858000"/>
              <a:gd name="connsiteX428" fmla="*/ 2314492 w 7467600"/>
              <a:gd name="connsiteY428" fmla="*/ 6858000 h 6858000"/>
              <a:gd name="connsiteX429" fmla="*/ 2288095 w 7467600"/>
              <a:gd name="connsiteY429" fmla="*/ 6818030 h 6858000"/>
              <a:gd name="connsiteX430" fmla="*/ 2272768 w 7467600"/>
              <a:gd name="connsiteY430" fmla="*/ 6795822 h 6858000"/>
              <a:gd name="connsiteX431" fmla="*/ 2182715 w 7467600"/>
              <a:gd name="connsiteY431" fmla="*/ 6675071 h 6858000"/>
              <a:gd name="connsiteX432" fmla="*/ 2032061 w 7467600"/>
              <a:gd name="connsiteY432" fmla="*/ 6541380 h 6858000"/>
              <a:gd name="connsiteX433" fmla="*/ 2257220 w 7467600"/>
              <a:gd name="connsiteY433" fmla="*/ 6826257 h 6858000"/>
              <a:gd name="connsiteX434" fmla="*/ 2281324 w 7467600"/>
              <a:gd name="connsiteY434" fmla="*/ 6858000 h 6858000"/>
              <a:gd name="connsiteX435" fmla="*/ 2242860 w 7467600"/>
              <a:gd name="connsiteY435" fmla="*/ 6858000 h 6858000"/>
              <a:gd name="connsiteX436" fmla="*/ 2232818 w 7467600"/>
              <a:gd name="connsiteY436" fmla="*/ 6844926 h 6858000"/>
              <a:gd name="connsiteX437" fmla="*/ 1990172 w 7467600"/>
              <a:gd name="connsiteY437" fmla="*/ 6542121 h 6858000"/>
              <a:gd name="connsiteX438" fmla="*/ 2124090 w 7467600"/>
              <a:gd name="connsiteY438" fmla="*/ 6761017 h 6858000"/>
              <a:gd name="connsiteX439" fmla="*/ 2200380 w 7467600"/>
              <a:gd name="connsiteY439" fmla="*/ 6858000 h 6858000"/>
              <a:gd name="connsiteX440" fmla="*/ 2147507 w 7467600"/>
              <a:gd name="connsiteY440" fmla="*/ 6858000 h 6858000"/>
              <a:gd name="connsiteX441" fmla="*/ 2070668 w 7467600"/>
              <a:gd name="connsiteY441" fmla="*/ 6761520 h 6858000"/>
              <a:gd name="connsiteX442" fmla="*/ 1975142 w 7467600"/>
              <a:gd name="connsiteY442" fmla="*/ 6585570 h 6858000"/>
              <a:gd name="connsiteX443" fmla="*/ 2050035 w 7467600"/>
              <a:gd name="connsiteY443" fmla="*/ 6813345 h 6858000"/>
              <a:gd name="connsiteX444" fmla="*/ 2063025 w 7467600"/>
              <a:gd name="connsiteY444" fmla="*/ 6858000 h 6858000"/>
              <a:gd name="connsiteX445" fmla="*/ 2021675 w 7467600"/>
              <a:gd name="connsiteY445" fmla="*/ 6858000 h 6858000"/>
              <a:gd name="connsiteX446" fmla="*/ 2019308 w 7467600"/>
              <a:gd name="connsiteY446" fmla="*/ 6847118 h 6858000"/>
              <a:gd name="connsiteX447" fmla="*/ 1938835 w 7467600"/>
              <a:gd name="connsiteY447" fmla="*/ 6551160 h 6858000"/>
              <a:gd name="connsiteX448" fmla="*/ 1953230 w 7467600"/>
              <a:gd name="connsiteY448" fmla="*/ 6759699 h 6858000"/>
              <a:gd name="connsiteX449" fmla="*/ 1956763 w 7467600"/>
              <a:gd name="connsiteY449" fmla="*/ 6778191 h 6858000"/>
              <a:gd name="connsiteX450" fmla="*/ 1967925 w 7467600"/>
              <a:gd name="connsiteY450" fmla="*/ 6858000 h 6858000"/>
              <a:gd name="connsiteX451" fmla="*/ 1936622 w 7467600"/>
              <a:gd name="connsiteY451" fmla="*/ 6858000 h 6858000"/>
              <a:gd name="connsiteX452" fmla="*/ 1926261 w 7467600"/>
              <a:gd name="connsiteY452" fmla="*/ 6784064 h 6858000"/>
              <a:gd name="connsiteX453" fmla="*/ 1922724 w 7467600"/>
              <a:gd name="connsiteY453" fmla="*/ 6765577 h 6858000"/>
              <a:gd name="connsiteX454" fmla="*/ 1904650 w 7467600"/>
              <a:gd name="connsiteY454" fmla="*/ 6639616 h 6858000"/>
              <a:gd name="connsiteX455" fmla="*/ 1885273 w 7467600"/>
              <a:gd name="connsiteY455" fmla="*/ 6858000 h 6858000"/>
              <a:gd name="connsiteX456" fmla="*/ 1854363 w 7467600"/>
              <a:gd name="connsiteY456" fmla="*/ 6858000 h 6858000"/>
              <a:gd name="connsiteX457" fmla="*/ 1880391 w 7467600"/>
              <a:gd name="connsiteY457" fmla="*/ 6603796 h 6858000"/>
              <a:gd name="connsiteX458" fmla="*/ 1818273 w 7467600"/>
              <a:gd name="connsiteY458" fmla="*/ 6715729 h 6858000"/>
              <a:gd name="connsiteX459" fmla="*/ 1794691 w 7467600"/>
              <a:gd name="connsiteY459" fmla="*/ 6843239 h 6858000"/>
              <a:gd name="connsiteX460" fmla="*/ 1794914 w 7467600"/>
              <a:gd name="connsiteY460" fmla="*/ 6858000 h 6858000"/>
              <a:gd name="connsiteX461" fmla="*/ 1746128 w 7467600"/>
              <a:gd name="connsiteY461" fmla="*/ 6858000 h 6858000"/>
              <a:gd name="connsiteX462" fmla="*/ 1753934 w 7467600"/>
              <a:gd name="connsiteY462" fmla="*/ 6724796 h 6858000"/>
              <a:gd name="connsiteX463" fmla="*/ 1792053 w 7467600"/>
              <a:gd name="connsiteY463" fmla="*/ 6572396 h 6858000"/>
              <a:gd name="connsiteX464" fmla="*/ 1862248 w 7467600"/>
              <a:gd name="connsiteY464" fmla="*/ 6266397 h 6858000"/>
              <a:gd name="connsiteX465" fmla="*/ 1862250 w 7467600"/>
              <a:gd name="connsiteY465" fmla="*/ 6033531 h 6858000"/>
              <a:gd name="connsiteX466" fmla="*/ 1211999 w 7467600"/>
              <a:gd name="connsiteY466" fmla="*/ 6683610 h 6858000"/>
              <a:gd name="connsiteX467" fmla="*/ 1213266 w 7467600"/>
              <a:gd name="connsiteY467" fmla="*/ 6691947 h 6858000"/>
              <a:gd name="connsiteX468" fmla="*/ 1203370 w 7467600"/>
              <a:gd name="connsiteY468" fmla="*/ 6850676 h 6858000"/>
              <a:gd name="connsiteX469" fmla="*/ 1203671 w 7467600"/>
              <a:gd name="connsiteY469" fmla="*/ 6858000 h 6858000"/>
              <a:gd name="connsiteX470" fmla="*/ 1143180 w 7467600"/>
              <a:gd name="connsiteY470" fmla="*/ 6858000 h 6858000"/>
              <a:gd name="connsiteX471" fmla="*/ 1142176 w 7467600"/>
              <a:gd name="connsiteY471" fmla="*/ 6766045 h 6858000"/>
              <a:gd name="connsiteX472" fmla="*/ 1067484 w 7467600"/>
              <a:gd name="connsiteY472" fmla="*/ 6858000 h 6858000"/>
              <a:gd name="connsiteX473" fmla="*/ 953928 w 7467600"/>
              <a:gd name="connsiteY473" fmla="*/ 6858000 h 6858000"/>
              <a:gd name="connsiteX474" fmla="*/ 959715 w 7467600"/>
              <a:gd name="connsiteY474" fmla="*/ 6850185 h 6858000"/>
              <a:gd name="connsiteX475" fmla="*/ 1483788 w 7467600"/>
              <a:gd name="connsiteY475" fmla="*/ 6259174 h 6858000"/>
              <a:gd name="connsiteX476" fmla="*/ 1100671 w 7467600"/>
              <a:gd name="connsiteY476" fmla="*/ 6252137 h 6858000"/>
              <a:gd name="connsiteX477" fmla="*/ 1090144 w 7467600"/>
              <a:gd name="connsiteY477" fmla="*/ 6256748 h 6858000"/>
              <a:gd name="connsiteX478" fmla="*/ 1095872 w 7467600"/>
              <a:gd name="connsiteY478" fmla="*/ 6271892 h 6858000"/>
              <a:gd name="connsiteX479" fmla="*/ 262785 w 7467600"/>
              <a:gd name="connsiteY479" fmla="*/ 6845450 h 6858000"/>
              <a:gd name="connsiteX480" fmla="*/ 209968 w 7467600"/>
              <a:gd name="connsiteY480" fmla="*/ 6770713 h 6858000"/>
              <a:gd name="connsiteX481" fmla="*/ 873460 w 7467600"/>
              <a:gd name="connsiteY481" fmla="*/ 6253768 h 6858000"/>
              <a:gd name="connsiteX482" fmla="*/ 192686 w 7467600"/>
              <a:gd name="connsiteY482" fmla="*/ 5849257 h 6858000"/>
              <a:gd name="connsiteX483" fmla="*/ 4696 w 7467600"/>
              <a:gd name="connsiteY483" fmla="*/ 5697668 h 6858000"/>
              <a:gd name="connsiteX484" fmla="*/ 0 w 7467600"/>
              <a:gd name="connsiteY484" fmla="*/ 5689984 h 6858000"/>
              <a:gd name="connsiteX485" fmla="*/ 0 w 7467600"/>
              <a:gd name="connsiteY485" fmla="*/ 5513472 h 6858000"/>
              <a:gd name="connsiteX486" fmla="*/ 174101 w 7467600"/>
              <a:gd name="connsiteY486" fmla="*/ 5620277 h 6858000"/>
              <a:gd name="connsiteX487" fmla="*/ 891800 w 7467600"/>
              <a:gd name="connsiteY487" fmla="*/ 6036935 h 6858000"/>
              <a:gd name="connsiteX488" fmla="*/ 1072219 w 7467600"/>
              <a:gd name="connsiteY488" fmla="*/ 6169443 h 6858000"/>
              <a:gd name="connsiteX489" fmla="*/ 1074117 w 7467600"/>
              <a:gd name="connsiteY489" fmla="*/ 6170301 h 6858000"/>
              <a:gd name="connsiteX490" fmla="*/ 1083114 w 7467600"/>
              <a:gd name="connsiteY490" fmla="*/ 6174131 h 6858000"/>
              <a:gd name="connsiteX491" fmla="*/ 1543010 w 7467600"/>
              <a:gd name="connsiteY491" fmla="*/ 6191140 h 6858000"/>
              <a:gd name="connsiteX492" fmla="*/ 1551080 w 7467600"/>
              <a:gd name="connsiteY492" fmla="*/ 6195006 h 6858000"/>
              <a:gd name="connsiteX493" fmla="*/ 2345443 w 7467600"/>
              <a:gd name="connsiteY493" fmla="*/ 5549882 h 6858000"/>
              <a:gd name="connsiteX494" fmla="*/ 1721499 w 7467600"/>
              <a:gd name="connsiteY494" fmla="*/ 5599969 h 6858000"/>
              <a:gd name="connsiteX495" fmla="*/ 767716 w 7467600"/>
              <a:gd name="connsiteY495" fmla="*/ 5472768 h 6858000"/>
              <a:gd name="connsiteX496" fmla="*/ 722147 w 7467600"/>
              <a:gd name="connsiteY496" fmla="*/ 5393091 h 6858000"/>
              <a:gd name="connsiteX497" fmla="*/ 1485552 w 7467600"/>
              <a:gd name="connsiteY497" fmla="*/ 5313202 h 6858000"/>
              <a:gd name="connsiteX498" fmla="*/ 2143004 w 7467600"/>
              <a:gd name="connsiteY498" fmla="*/ 5402420 h 6858000"/>
              <a:gd name="connsiteX499" fmla="*/ 1933391 w 7467600"/>
              <a:gd name="connsiteY499" fmla="*/ 5156971 h 6858000"/>
              <a:gd name="connsiteX500" fmla="*/ 1827118 w 7467600"/>
              <a:gd name="connsiteY500" fmla="*/ 4968410 h 6858000"/>
              <a:gd name="connsiteX501" fmla="*/ 1837349 w 7467600"/>
              <a:gd name="connsiteY501" fmla="*/ 4956357 h 6858000"/>
              <a:gd name="connsiteX502" fmla="*/ 2162835 w 7467600"/>
              <a:gd name="connsiteY502" fmla="*/ 5187853 h 6858000"/>
              <a:gd name="connsiteX503" fmla="*/ 2257167 w 7467600"/>
              <a:gd name="connsiteY503" fmla="*/ 5462123 h 6858000"/>
              <a:gd name="connsiteX504" fmla="*/ 2261598 w 7467600"/>
              <a:gd name="connsiteY504" fmla="*/ 5467998 h 6858000"/>
              <a:gd name="connsiteX505" fmla="*/ 2437177 w 7467600"/>
              <a:gd name="connsiteY505" fmla="*/ 5479608 h 6858000"/>
              <a:gd name="connsiteX506" fmla="*/ 2445247 w 7467600"/>
              <a:gd name="connsiteY506" fmla="*/ 5483476 h 6858000"/>
              <a:gd name="connsiteX507" fmla="*/ 2743626 w 7467600"/>
              <a:gd name="connsiteY507" fmla="*/ 5304819 h 6858000"/>
              <a:gd name="connsiteX508" fmla="*/ 3048102 w 7467600"/>
              <a:gd name="connsiteY508" fmla="*/ 5150595 h 6858000"/>
              <a:gd name="connsiteX509" fmla="*/ 1799414 w 7467600"/>
              <a:gd name="connsiteY509" fmla="*/ 4694732 h 6858000"/>
              <a:gd name="connsiteX510" fmla="*/ 1771735 w 7467600"/>
              <a:gd name="connsiteY510" fmla="*/ 4619929 h 6858000"/>
              <a:gd name="connsiteX511" fmla="*/ 3104273 w 7467600"/>
              <a:gd name="connsiteY511" fmla="*/ 5076159 h 6858000"/>
              <a:gd name="connsiteX512" fmla="*/ 3113245 w 7467600"/>
              <a:gd name="connsiteY512" fmla="*/ 5090705 h 6858000"/>
              <a:gd name="connsiteX513" fmla="*/ 3126294 w 7467600"/>
              <a:gd name="connsiteY513" fmla="*/ 5114400 h 6858000"/>
              <a:gd name="connsiteX514" fmla="*/ 3937433 w 7467600"/>
              <a:gd name="connsiteY514" fmla="*/ 4830473 h 6858000"/>
              <a:gd name="connsiteX515" fmla="*/ 3590475 w 7467600"/>
              <a:gd name="connsiteY515" fmla="*/ 4597974 h 6858000"/>
              <a:gd name="connsiteX516" fmla="*/ 3100264 w 7467600"/>
              <a:gd name="connsiteY516" fmla="*/ 4579845 h 6858000"/>
              <a:gd name="connsiteX517" fmla="*/ 2183576 w 7467600"/>
              <a:gd name="connsiteY517" fmla="*/ 4227150 h 6858000"/>
              <a:gd name="connsiteX518" fmla="*/ 2151029 w 7467600"/>
              <a:gd name="connsiteY518" fmla="*/ 4146947 h 6858000"/>
              <a:gd name="connsiteX519" fmla="*/ 3563434 w 7467600"/>
              <a:gd name="connsiteY519" fmla="*/ 4469115 h 6858000"/>
              <a:gd name="connsiteX520" fmla="*/ 3177952 w 7467600"/>
              <a:gd name="connsiteY520" fmla="*/ 3657386 h 6858000"/>
              <a:gd name="connsiteX521" fmla="*/ 3189263 w 7467600"/>
              <a:gd name="connsiteY521" fmla="*/ 3625726 h 6858000"/>
              <a:gd name="connsiteX522" fmla="*/ 3560912 w 7467600"/>
              <a:gd name="connsiteY522" fmla="*/ 4079863 h 6858000"/>
              <a:gd name="connsiteX523" fmla="*/ 3626636 w 7467600"/>
              <a:gd name="connsiteY523" fmla="*/ 4512230 h 6858000"/>
              <a:gd name="connsiteX524" fmla="*/ 3653088 w 7467600"/>
              <a:gd name="connsiteY524" fmla="*/ 4521417 h 6858000"/>
              <a:gd name="connsiteX525" fmla="*/ 3988128 w 7467600"/>
              <a:gd name="connsiteY525" fmla="*/ 4817267 h 6858000"/>
              <a:gd name="connsiteX526" fmla="*/ 4830582 w 7467600"/>
              <a:gd name="connsiteY526" fmla="*/ 4676000 h 6858000"/>
              <a:gd name="connsiteX527" fmla="*/ 4830100 w 7467600"/>
              <a:gd name="connsiteY527" fmla="*/ 4675554 h 6858000"/>
              <a:gd name="connsiteX528" fmla="*/ 4036318 w 7467600"/>
              <a:gd name="connsiteY528" fmla="*/ 4147013 h 6858000"/>
              <a:gd name="connsiteX529" fmla="*/ 3432098 w 7467600"/>
              <a:gd name="connsiteY529" fmla="*/ 3537312 h 6858000"/>
              <a:gd name="connsiteX530" fmla="*/ 3446761 w 7467600"/>
              <a:gd name="connsiteY530" fmla="*/ 3461278 h 6858000"/>
              <a:gd name="connsiteX531" fmla="*/ 4419733 w 7467600"/>
              <a:gd name="connsiteY531" fmla="*/ 3963555 h 6858000"/>
              <a:gd name="connsiteX532" fmla="*/ 4781371 w 7467600"/>
              <a:gd name="connsiteY532" fmla="*/ 4458604 h 6858000"/>
              <a:gd name="connsiteX533" fmla="*/ 4780440 w 7467600"/>
              <a:gd name="connsiteY533" fmla="*/ 4470290 h 6858000"/>
              <a:gd name="connsiteX534" fmla="*/ 4898954 w 7467600"/>
              <a:gd name="connsiteY534" fmla="*/ 4662092 h 6858000"/>
              <a:gd name="connsiteX535" fmla="*/ 4900699 w 7467600"/>
              <a:gd name="connsiteY535" fmla="*/ 4670867 h 6858000"/>
              <a:gd name="connsiteX536" fmla="*/ 5714511 w 7467600"/>
              <a:gd name="connsiteY536" fmla="*/ 4663483 h 6858000"/>
              <a:gd name="connsiteX537" fmla="*/ 5464793 w 7467600"/>
              <a:gd name="connsiteY537" fmla="*/ 4393556 h 6858000"/>
              <a:gd name="connsiteX538" fmla="*/ 5461897 w 7467600"/>
              <a:gd name="connsiteY538" fmla="*/ 4390879 h 6858000"/>
              <a:gd name="connsiteX539" fmla="*/ 4294126 w 7467600"/>
              <a:gd name="connsiteY539" fmla="*/ 3303048 h 6858000"/>
              <a:gd name="connsiteX540" fmla="*/ 4305321 w 7467600"/>
              <a:gd name="connsiteY540" fmla="*/ 3256953 h 6858000"/>
              <a:gd name="connsiteX541" fmla="*/ 4949299 w 7467600"/>
              <a:gd name="connsiteY541" fmla="*/ 3766336 h 6858000"/>
              <a:gd name="connsiteX542" fmla="*/ 5291452 w 7467600"/>
              <a:gd name="connsiteY542" fmla="*/ 4076801 h 6858000"/>
              <a:gd name="connsiteX543" fmla="*/ 5434998 w 7467600"/>
              <a:gd name="connsiteY543" fmla="*/ 4254100 h 6858000"/>
              <a:gd name="connsiteX544" fmla="*/ 5351015 w 7467600"/>
              <a:gd name="connsiteY544" fmla="*/ 3760989 h 6858000"/>
              <a:gd name="connsiteX545" fmla="*/ 5413780 w 7467600"/>
              <a:gd name="connsiteY545" fmla="*/ 2966265 h 6858000"/>
              <a:gd name="connsiteX546" fmla="*/ 5425627 w 7467600"/>
              <a:gd name="connsiteY546" fmla="*/ 2954192 h 6858000"/>
              <a:gd name="connsiteX547" fmla="*/ 6604735 w 7467600"/>
              <a:gd name="connsiteY547" fmla="*/ 2041381 h 6858000"/>
              <a:gd name="connsiteX548" fmla="*/ 7204487 w 7467600"/>
              <a:gd name="connsiteY548" fmla="*/ 2742112 h 6858000"/>
              <a:gd name="connsiteX549" fmla="*/ 7131592 w 7467600"/>
              <a:gd name="connsiteY549" fmla="*/ 2672096 h 6858000"/>
              <a:gd name="connsiteX550" fmla="*/ 6996344 w 7467600"/>
              <a:gd name="connsiteY550" fmla="*/ 2518310 h 6858000"/>
              <a:gd name="connsiteX551" fmla="*/ 6735495 w 7467600"/>
              <a:gd name="connsiteY551" fmla="*/ 2196890 h 6858000"/>
              <a:gd name="connsiteX552" fmla="*/ 6721901 w 7467600"/>
              <a:gd name="connsiteY552" fmla="*/ 2179274 h 6858000"/>
              <a:gd name="connsiteX553" fmla="*/ 6604735 w 7467600"/>
              <a:gd name="connsiteY553" fmla="*/ 2041381 h 6858000"/>
              <a:gd name="connsiteX554" fmla="*/ 6591670 w 7467600"/>
              <a:gd name="connsiteY554" fmla="*/ 1988277 h 6858000"/>
              <a:gd name="connsiteX555" fmla="*/ 6747349 w 7467600"/>
              <a:gd name="connsiteY555" fmla="*/ 2160069 h 6858000"/>
              <a:gd name="connsiteX556" fmla="*/ 6760943 w 7467600"/>
              <a:gd name="connsiteY556" fmla="*/ 2177686 h 6858000"/>
              <a:gd name="connsiteX557" fmla="*/ 7021065 w 7467600"/>
              <a:gd name="connsiteY557" fmla="*/ 2498102 h 6858000"/>
              <a:gd name="connsiteX558" fmla="*/ 7155223 w 7467600"/>
              <a:gd name="connsiteY558" fmla="*/ 2650386 h 6858000"/>
              <a:gd name="connsiteX559" fmla="*/ 7203167 w 7467600"/>
              <a:gd name="connsiteY559" fmla="*/ 2697288 h 6858000"/>
              <a:gd name="connsiteX560" fmla="*/ 6937703 w 7467600"/>
              <a:gd name="connsiteY560" fmla="*/ 2321981 h 6858000"/>
              <a:gd name="connsiteX561" fmla="*/ 6591670 w 7467600"/>
              <a:gd name="connsiteY561" fmla="*/ 1988277 h 6858000"/>
              <a:gd name="connsiteX562" fmla="*/ 5798671 w 7467600"/>
              <a:gd name="connsiteY562" fmla="*/ 1981601 h 6858000"/>
              <a:gd name="connsiteX563" fmla="*/ 5754709 w 7467600"/>
              <a:gd name="connsiteY563" fmla="*/ 2071454 h 6858000"/>
              <a:gd name="connsiteX564" fmla="*/ 5763044 w 7467600"/>
              <a:gd name="connsiteY564" fmla="*/ 2842206 h 6858000"/>
              <a:gd name="connsiteX565" fmla="*/ 5764974 w 7467600"/>
              <a:gd name="connsiteY565" fmla="*/ 2799609 h 6858000"/>
              <a:gd name="connsiteX566" fmla="*/ 5767665 w 7467600"/>
              <a:gd name="connsiteY566" fmla="*/ 2666409 h 6858000"/>
              <a:gd name="connsiteX567" fmla="*/ 5763055 w 7467600"/>
              <a:gd name="connsiteY567" fmla="*/ 2579705 h 6858000"/>
              <a:gd name="connsiteX568" fmla="*/ 5758079 w 7467600"/>
              <a:gd name="connsiteY568" fmla="*/ 2492508 h 6858000"/>
              <a:gd name="connsiteX569" fmla="*/ 5779325 w 7467600"/>
              <a:gd name="connsiteY569" fmla="*/ 2197069 h 6858000"/>
              <a:gd name="connsiteX570" fmla="*/ 5798671 w 7467600"/>
              <a:gd name="connsiteY570" fmla="*/ 1981601 h 6858000"/>
              <a:gd name="connsiteX571" fmla="*/ 5829202 w 7467600"/>
              <a:gd name="connsiteY571" fmla="*/ 1971679 h 6858000"/>
              <a:gd name="connsiteX572" fmla="*/ 5809558 w 7467600"/>
              <a:gd name="connsiteY572" fmla="*/ 2198043 h 6858000"/>
              <a:gd name="connsiteX573" fmla="*/ 5788653 w 7467600"/>
              <a:gd name="connsiteY573" fmla="*/ 2489430 h 6858000"/>
              <a:gd name="connsiteX574" fmla="*/ 5793439 w 7467600"/>
              <a:gd name="connsiteY574" fmla="*/ 2575235 h 6858000"/>
              <a:gd name="connsiteX575" fmla="*/ 5796837 w 7467600"/>
              <a:gd name="connsiteY575" fmla="*/ 2637633 h 6858000"/>
              <a:gd name="connsiteX576" fmla="*/ 5818614 w 7467600"/>
              <a:gd name="connsiteY576" fmla="*/ 2473055 h 6858000"/>
              <a:gd name="connsiteX577" fmla="*/ 5829202 w 7467600"/>
              <a:gd name="connsiteY577" fmla="*/ 1971679 h 6858000"/>
              <a:gd name="connsiteX578" fmla="*/ 5911389 w 7467600"/>
              <a:gd name="connsiteY578" fmla="*/ 1898371 h 6858000"/>
              <a:gd name="connsiteX579" fmla="*/ 6237627 w 7467600"/>
              <a:gd name="connsiteY579" fmla="*/ 2231921 h 6858000"/>
              <a:gd name="connsiteX580" fmla="*/ 5911389 w 7467600"/>
              <a:gd name="connsiteY580" fmla="*/ 1898371 h 6858000"/>
              <a:gd name="connsiteX581" fmla="*/ 6944437 w 7467600"/>
              <a:gd name="connsiteY581" fmla="*/ 1575402 h 6858000"/>
              <a:gd name="connsiteX582" fmla="*/ 6304730 w 7467600"/>
              <a:gd name="connsiteY582" fmla="*/ 1766654 h 6858000"/>
              <a:gd name="connsiteX583" fmla="*/ 6944437 w 7467600"/>
              <a:gd name="connsiteY583" fmla="*/ 1575402 h 6858000"/>
              <a:gd name="connsiteX584" fmla="*/ 7019523 w 7467600"/>
              <a:gd name="connsiteY584" fmla="*/ 1519450 h 6858000"/>
              <a:gd name="connsiteX585" fmla="*/ 6298091 w 7467600"/>
              <a:gd name="connsiteY585" fmla="*/ 1737122 h 6858000"/>
              <a:gd name="connsiteX586" fmla="*/ 7019523 w 7467600"/>
              <a:gd name="connsiteY586" fmla="*/ 1519450 h 6858000"/>
              <a:gd name="connsiteX587" fmla="*/ 2399523 w 7467600"/>
              <a:gd name="connsiteY587" fmla="*/ 1428234 h 6858000"/>
              <a:gd name="connsiteX588" fmla="*/ 2224982 w 7467600"/>
              <a:gd name="connsiteY588" fmla="*/ 1826201 h 6858000"/>
              <a:gd name="connsiteX589" fmla="*/ 2096099 w 7467600"/>
              <a:gd name="connsiteY589" fmla="*/ 2345900 h 6858000"/>
              <a:gd name="connsiteX590" fmla="*/ 2283317 w 7467600"/>
              <a:gd name="connsiteY590" fmla="*/ 1796925 h 6858000"/>
              <a:gd name="connsiteX591" fmla="*/ 2399523 w 7467600"/>
              <a:gd name="connsiteY591" fmla="*/ 1428234 h 6858000"/>
              <a:gd name="connsiteX592" fmla="*/ 2448558 w 7467600"/>
              <a:gd name="connsiteY592" fmla="*/ 1373435 h 6858000"/>
              <a:gd name="connsiteX593" fmla="*/ 2312521 w 7467600"/>
              <a:gd name="connsiteY593" fmla="*/ 1806140 h 6858000"/>
              <a:gd name="connsiteX594" fmla="*/ 2127533 w 7467600"/>
              <a:gd name="connsiteY594" fmla="*/ 2348380 h 6858000"/>
              <a:gd name="connsiteX595" fmla="*/ 2358080 w 7467600"/>
              <a:gd name="connsiteY595" fmla="*/ 1866134 h 6858000"/>
              <a:gd name="connsiteX596" fmla="*/ 2407436 w 7467600"/>
              <a:gd name="connsiteY596" fmla="*/ 1651070 h 6858000"/>
              <a:gd name="connsiteX597" fmla="*/ 2448558 w 7467600"/>
              <a:gd name="connsiteY597" fmla="*/ 1373435 h 6858000"/>
              <a:gd name="connsiteX598" fmla="*/ 278707 w 7467600"/>
              <a:gd name="connsiteY598" fmla="*/ 1352270 h 6858000"/>
              <a:gd name="connsiteX599" fmla="*/ 321570 w 7467600"/>
              <a:gd name="connsiteY599" fmla="*/ 1861610 h 6858000"/>
              <a:gd name="connsiteX600" fmla="*/ 294281 w 7467600"/>
              <a:gd name="connsiteY600" fmla="*/ 1440658 h 6858000"/>
              <a:gd name="connsiteX601" fmla="*/ 278707 w 7467600"/>
              <a:gd name="connsiteY601" fmla="*/ 1352270 h 6858000"/>
              <a:gd name="connsiteX602" fmla="*/ 1423821 w 7467600"/>
              <a:gd name="connsiteY602" fmla="*/ 1351958 h 6858000"/>
              <a:gd name="connsiteX603" fmla="*/ 1638521 w 7467600"/>
              <a:gd name="connsiteY603" fmla="*/ 1908470 h 6858000"/>
              <a:gd name="connsiteX604" fmla="*/ 1754199 w 7467600"/>
              <a:gd name="connsiteY604" fmla="*/ 2149284 h 6858000"/>
              <a:gd name="connsiteX605" fmla="*/ 1908359 w 7467600"/>
              <a:gd name="connsiteY605" fmla="*/ 2364988 h 6858000"/>
              <a:gd name="connsiteX606" fmla="*/ 1647661 w 7467600"/>
              <a:gd name="connsiteY606" fmla="*/ 1825945 h 6858000"/>
              <a:gd name="connsiteX607" fmla="*/ 1423821 w 7467600"/>
              <a:gd name="connsiteY607" fmla="*/ 1351958 h 6858000"/>
              <a:gd name="connsiteX608" fmla="*/ 1431890 w 7467600"/>
              <a:gd name="connsiteY608" fmla="*/ 1306475 h 6858000"/>
              <a:gd name="connsiteX609" fmla="*/ 1507597 w 7467600"/>
              <a:gd name="connsiteY609" fmla="*/ 1446132 h 6858000"/>
              <a:gd name="connsiteX610" fmla="*/ 1674586 w 7467600"/>
              <a:gd name="connsiteY610" fmla="*/ 1813832 h 6858000"/>
              <a:gd name="connsiteX611" fmla="*/ 1815950 w 7467600"/>
              <a:gd name="connsiteY611" fmla="*/ 2128564 h 6858000"/>
              <a:gd name="connsiteX612" fmla="*/ 1984242 w 7467600"/>
              <a:gd name="connsiteY612" fmla="*/ 2430829 h 6858000"/>
              <a:gd name="connsiteX613" fmla="*/ 2014023 w 7467600"/>
              <a:gd name="connsiteY613" fmla="*/ 2450995 h 6858000"/>
              <a:gd name="connsiteX614" fmla="*/ 1747337 w 7467600"/>
              <a:gd name="connsiteY614" fmla="*/ 1855264 h 6858000"/>
              <a:gd name="connsiteX615" fmla="*/ 1533749 w 7467600"/>
              <a:gd name="connsiteY615" fmla="*/ 1478656 h 6858000"/>
              <a:gd name="connsiteX616" fmla="*/ 1431890 w 7467600"/>
              <a:gd name="connsiteY616" fmla="*/ 1306475 h 6858000"/>
              <a:gd name="connsiteX617" fmla="*/ 5052692 w 7467600"/>
              <a:gd name="connsiteY617" fmla="*/ 1292994 h 6858000"/>
              <a:gd name="connsiteX618" fmla="*/ 5200661 w 7467600"/>
              <a:gd name="connsiteY618" fmla="*/ 1635186 h 6858000"/>
              <a:gd name="connsiteX619" fmla="*/ 5297138 w 7467600"/>
              <a:gd name="connsiteY619" fmla="*/ 1906351 h 6858000"/>
              <a:gd name="connsiteX620" fmla="*/ 5052692 w 7467600"/>
              <a:gd name="connsiteY620" fmla="*/ 1292994 h 6858000"/>
              <a:gd name="connsiteX621" fmla="*/ 5009948 w 7467600"/>
              <a:gd name="connsiteY621" fmla="*/ 1273619 h 6858000"/>
              <a:gd name="connsiteX622" fmla="*/ 5121777 w 7467600"/>
              <a:gd name="connsiteY622" fmla="*/ 1654213 h 6858000"/>
              <a:gd name="connsiteX623" fmla="*/ 5293545 w 7467600"/>
              <a:gd name="connsiteY623" fmla="*/ 2072247 h 6858000"/>
              <a:gd name="connsiteX624" fmla="*/ 5294042 w 7467600"/>
              <a:gd name="connsiteY624" fmla="*/ 2065019 h 6858000"/>
              <a:gd name="connsiteX625" fmla="*/ 5171936 w 7467600"/>
              <a:gd name="connsiteY625" fmla="*/ 1647613 h 6858000"/>
              <a:gd name="connsiteX626" fmla="*/ 5009948 w 7467600"/>
              <a:gd name="connsiteY626" fmla="*/ 1273619 h 6858000"/>
              <a:gd name="connsiteX627" fmla="*/ 655236 w 7467600"/>
              <a:gd name="connsiteY627" fmla="*/ 1268632 h 6858000"/>
              <a:gd name="connsiteX628" fmla="*/ 839521 w 7467600"/>
              <a:gd name="connsiteY628" fmla="*/ 1685315 h 6858000"/>
              <a:gd name="connsiteX629" fmla="*/ 1109416 w 7467600"/>
              <a:gd name="connsiteY629" fmla="*/ 2061663 h 6858000"/>
              <a:gd name="connsiteX630" fmla="*/ 1298300 w 7467600"/>
              <a:gd name="connsiteY630" fmla="*/ 2247742 h 6858000"/>
              <a:gd name="connsiteX631" fmla="*/ 1125871 w 7467600"/>
              <a:gd name="connsiteY631" fmla="*/ 1989513 h 6858000"/>
              <a:gd name="connsiteX632" fmla="*/ 981574 w 7467600"/>
              <a:gd name="connsiteY632" fmla="*/ 1783157 h 6858000"/>
              <a:gd name="connsiteX633" fmla="*/ 922198 w 7467600"/>
              <a:gd name="connsiteY633" fmla="*/ 1677437 h 6858000"/>
              <a:gd name="connsiteX634" fmla="*/ 869293 w 7467600"/>
              <a:gd name="connsiteY634" fmla="*/ 1583214 h 6858000"/>
              <a:gd name="connsiteX635" fmla="*/ 751431 w 7467600"/>
              <a:gd name="connsiteY635" fmla="*/ 1405731 h 6858000"/>
              <a:gd name="connsiteX636" fmla="*/ 655236 w 7467600"/>
              <a:gd name="connsiteY636" fmla="*/ 1268632 h 6858000"/>
              <a:gd name="connsiteX637" fmla="*/ 6516292 w 7467600"/>
              <a:gd name="connsiteY637" fmla="*/ 1263064 h 6858000"/>
              <a:gd name="connsiteX638" fmla="*/ 5736320 w 7467600"/>
              <a:gd name="connsiteY638" fmla="*/ 1501803 h 6858000"/>
              <a:gd name="connsiteX639" fmla="*/ 6516292 w 7467600"/>
              <a:gd name="connsiteY639" fmla="*/ 1263064 h 6858000"/>
              <a:gd name="connsiteX640" fmla="*/ 291466 w 7467600"/>
              <a:gd name="connsiteY640" fmla="*/ 1250369 h 6858000"/>
              <a:gd name="connsiteX641" fmla="*/ 323180 w 7467600"/>
              <a:gd name="connsiteY641" fmla="*/ 1435283 h 6858000"/>
              <a:gd name="connsiteX642" fmla="*/ 349381 w 7467600"/>
              <a:gd name="connsiteY642" fmla="*/ 1875041 h 6858000"/>
              <a:gd name="connsiteX643" fmla="*/ 374363 w 7467600"/>
              <a:gd name="connsiteY643" fmla="*/ 1506494 h 6858000"/>
              <a:gd name="connsiteX644" fmla="*/ 302168 w 7467600"/>
              <a:gd name="connsiteY644" fmla="*/ 1274495 h 6858000"/>
              <a:gd name="connsiteX645" fmla="*/ 291466 w 7467600"/>
              <a:gd name="connsiteY645" fmla="*/ 1250369 h 6858000"/>
              <a:gd name="connsiteX646" fmla="*/ 678222 w 7467600"/>
              <a:gd name="connsiteY646" fmla="*/ 1248670 h 6858000"/>
              <a:gd name="connsiteX647" fmla="*/ 775536 w 7467600"/>
              <a:gd name="connsiteY647" fmla="*/ 1388015 h 6858000"/>
              <a:gd name="connsiteX648" fmla="*/ 894529 w 7467600"/>
              <a:gd name="connsiteY648" fmla="*/ 1567739 h 6858000"/>
              <a:gd name="connsiteX649" fmla="*/ 948000 w 7467600"/>
              <a:gd name="connsiteY649" fmla="*/ 1663088 h 6858000"/>
              <a:gd name="connsiteX650" fmla="*/ 1006812 w 7467600"/>
              <a:gd name="connsiteY650" fmla="*/ 1767683 h 6858000"/>
              <a:gd name="connsiteX651" fmla="*/ 1149133 w 7467600"/>
              <a:gd name="connsiteY651" fmla="*/ 1971513 h 6858000"/>
              <a:gd name="connsiteX652" fmla="*/ 1333952 w 7467600"/>
              <a:gd name="connsiteY652" fmla="*/ 2251620 h 6858000"/>
              <a:gd name="connsiteX653" fmla="*/ 1337329 w 7467600"/>
              <a:gd name="connsiteY653" fmla="*/ 2258350 h 6858000"/>
              <a:gd name="connsiteX654" fmla="*/ 1014726 w 7467600"/>
              <a:gd name="connsiteY654" fmla="*/ 1615556 h 6858000"/>
              <a:gd name="connsiteX655" fmla="*/ 678222 w 7467600"/>
              <a:gd name="connsiteY655" fmla="*/ 1248670 h 6858000"/>
              <a:gd name="connsiteX656" fmla="*/ 6691602 w 7467600"/>
              <a:gd name="connsiteY656" fmla="*/ 1140573 h 6858000"/>
              <a:gd name="connsiteX657" fmla="*/ 6571100 w 7467600"/>
              <a:gd name="connsiteY657" fmla="*/ 1183662 h 6858000"/>
              <a:gd name="connsiteX658" fmla="*/ 6241687 w 7467600"/>
              <a:gd name="connsiteY658" fmla="*/ 1257600 h 6858000"/>
              <a:gd name="connsiteX659" fmla="*/ 5693009 w 7467600"/>
              <a:gd name="connsiteY659" fmla="*/ 1478256 h 6858000"/>
              <a:gd name="connsiteX660" fmla="*/ 6548420 w 7467600"/>
              <a:gd name="connsiteY660" fmla="*/ 1214599 h 6858000"/>
              <a:gd name="connsiteX661" fmla="*/ 6605473 w 7467600"/>
              <a:gd name="connsiteY661" fmla="*/ 1184686 h 6858000"/>
              <a:gd name="connsiteX662" fmla="*/ 6691602 w 7467600"/>
              <a:gd name="connsiteY662" fmla="*/ 1140573 h 6858000"/>
              <a:gd name="connsiteX663" fmla="*/ 4002475 w 7467600"/>
              <a:gd name="connsiteY663" fmla="*/ 1037802 h 6858000"/>
              <a:gd name="connsiteX664" fmla="*/ 4000324 w 7467600"/>
              <a:gd name="connsiteY664" fmla="*/ 1039362 h 6858000"/>
              <a:gd name="connsiteX665" fmla="*/ 4002862 w 7467600"/>
              <a:gd name="connsiteY665" fmla="*/ 1042866 h 6858000"/>
              <a:gd name="connsiteX666" fmla="*/ 4002475 w 7467600"/>
              <a:gd name="connsiteY666" fmla="*/ 1037802 h 6858000"/>
              <a:gd name="connsiteX667" fmla="*/ 506322 w 7467600"/>
              <a:gd name="connsiteY667" fmla="*/ 1020997 h 6858000"/>
              <a:gd name="connsiteX668" fmla="*/ 533068 w 7467600"/>
              <a:gd name="connsiteY668" fmla="*/ 1029409 h 6858000"/>
              <a:gd name="connsiteX669" fmla="*/ 1232525 w 7467600"/>
              <a:gd name="connsiteY669" fmla="*/ 1804675 h 6858000"/>
              <a:gd name="connsiteX670" fmla="*/ 1388858 w 7467600"/>
              <a:gd name="connsiteY670" fmla="*/ 2368011 h 6858000"/>
              <a:gd name="connsiteX671" fmla="*/ 1384098 w 7467600"/>
              <a:gd name="connsiteY671" fmla="*/ 2378125 h 6858000"/>
              <a:gd name="connsiteX672" fmla="*/ 1425393 w 7467600"/>
              <a:gd name="connsiteY672" fmla="*/ 2589124 h 6858000"/>
              <a:gd name="connsiteX673" fmla="*/ 1424001 w 7467600"/>
              <a:gd name="connsiteY673" fmla="*/ 2597541 h 6858000"/>
              <a:gd name="connsiteX674" fmla="*/ 2152729 w 7467600"/>
              <a:gd name="connsiteY674" fmla="*/ 2864487 h 6858000"/>
              <a:gd name="connsiteX675" fmla="*/ 2020609 w 7467600"/>
              <a:gd name="connsiteY675" fmla="*/ 2539671 h 6858000"/>
              <a:gd name="connsiteX676" fmla="*/ 2018920 w 7467600"/>
              <a:gd name="connsiteY676" fmla="*/ 2536309 h 6858000"/>
              <a:gd name="connsiteX677" fmla="*/ 1342441 w 7467600"/>
              <a:gd name="connsiteY677" fmla="*/ 1173017 h 6858000"/>
              <a:gd name="connsiteX678" fmla="*/ 1367925 w 7467600"/>
              <a:gd name="connsiteY678" fmla="*/ 1135648 h 6858000"/>
              <a:gd name="connsiteX679" fmla="*/ 1771401 w 7467600"/>
              <a:gd name="connsiteY679" fmla="*/ 1806673 h 6858000"/>
              <a:gd name="connsiteX680" fmla="*/ 1972385 w 7467600"/>
              <a:gd name="connsiteY680" fmla="*/ 2198735 h 6858000"/>
              <a:gd name="connsiteX681" fmla="*/ 2040892 w 7467600"/>
              <a:gd name="connsiteY681" fmla="*/ 2405205 h 6858000"/>
              <a:gd name="connsiteX682" fmla="*/ 2131689 w 7467600"/>
              <a:gd name="connsiteY682" fmla="*/ 1936926 h 6858000"/>
              <a:gd name="connsiteX683" fmla="*/ 2454820 w 7467600"/>
              <a:gd name="connsiteY683" fmla="*/ 1248808 h 6858000"/>
              <a:gd name="connsiteX684" fmla="*/ 2492512 w 7467600"/>
              <a:gd name="connsiteY684" fmla="*/ 1302920 h 6858000"/>
              <a:gd name="connsiteX685" fmla="*/ 2081216 w 7467600"/>
              <a:gd name="connsiteY685" fmla="*/ 2527513 h 6858000"/>
              <a:gd name="connsiteX686" fmla="*/ 2081211 w 7467600"/>
              <a:gd name="connsiteY686" fmla="*/ 2528916 h 6858000"/>
              <a:gd name="connsiteX687" fmla="*/ 2199067 w 7467600"/>
              <a:gd name="connsiteY687" fmla="*/ 2884061 h 6858000"/>
              <a:gd name="connsiteX688" fmla="*/ 3192586 w 7467600"/>
              <a:gd name="connsiteY688" fmla="*/ 3411496 h 6858000"/>
              <a:gd name="connsiteX689" fmla="*/ 3182620 w 7467600"/>
              <a:gd name="connsiteY689" fmla="*/ 3483279 h 6858000"/>
              <a:gd name="connsiteX690" fmla="*/ 2435119 w 7467600"/>
              <a:gd name="connsiteY690" fmla="*/ 3080173 h 6858000"/>
              <a:gd name="connsiteX691" fmla="*/ 2410152 w 7467600"/>
              <a:gd name="connsiteY691" fmla="*/ 3063751 h 6858000"/>
              <a:gd name="connsiteX692" fmla="*/ 2408099 w 7467600"/>
              <a:gd name="connsiteY692" fmla="*/ 3064403 h 6858000"/>
              <a:gd name="connsiteX693" fmla="*/ 2407218 w 7467600"/>
              <a:gd name="connsiteY693" fmla="*/ 3070324 h 6858000"/>
              <a:gd name="connsiteX694" fmla="*/ 2380138 w 7467600"/>
              <a:gd name="connsiteY694" fmla="*/ 3099341 h 6858000"/>
              <a:gd name="connsiteX695" fmla="*/ 1765923 w 7467600"/>
              <a:gd name="connsiteY695" fmla="*/ 3581043 h 6858000"/>
              <a:gd name="connsiteX696" fmla="*/ 1702258 w 7467600"/>
              <a:gd name="connsiteY696" fmla="*/ 3612286 h 6858000"/>
              <a:gd name="connsiteX697" fmla="*/ 1538370 w 7467600"/>
              <a:gd name="connsiteY697" fmla="*/ 3811804 h 6858000"/>
              <a:gd name="connsiteX698" fmla="*/ 542867 w 7467600"/>
              <a:gd name="connsiteY698" fmla="*/ 4944092 h 6858000"/>
              <a:gd name="connsiteX699" fmla="*/ 515800 w 7467600"/>
              <a:gd name="connsiteY699" fmla="*/ 4862180 h 6858000"/>
              <a:gd name="connsiteX700" fmla="*/ 909145 w 7467600"/>
              <a:gd name="connsiteY700" fmla="*/ 4199225 h 6858000"/>
              <a:gd name="connsiteX701" fmla="*/ 1214067 w 7467600"/>
              <a:gd name="connsiteY701" fmla="*/ 3908561 h 6858000"/>
              <a:gd name="connsiteX702" fmla="*/ 640967 w 7467600"/>
              <a:gd name="connsiteY702" fmla="*/ 4105601 h 6858000"/>
              <a:gd name="connsiteX703" fmla="*/ 112563 w 7467600"/>
              <a:gd name="connsiteY703" fmla="*/ 4396952 h 6858000"/>
              <a:gd name="connsiteX704" fmla="*/ 0 w 7467600"/>
              <a:gd name="connsiteY704" fmla="*/ 4466006 h 6858000"/>
              <a:gd name="connsiteX705" fmla="*/ 0 w 7467600"/>
              <a:gd name="connsiteY705" fmla="*/ 4233763 h 6858000"/>
              <a:gd name="connsiteX706" fmla="*/ 36881 w 7467600"/>
              <a:gd name="connsiteY706" fmla="*/ 4200118 h 6858000"/>
              <a:gd name="connsiteX707" fmla="*/ 910534 w 7467600"/>
              <a:gd name="connsiteY707" fmla="*/ 3629753 h 6858000"/>
              <a:gd name="connsiteX708" fmla="*/ 1578717 w 7467600"/>
              <a:gd name="connsiteY708" fmla="*/ 3575982 h 6858000"/>
              <a:gd name="connsiteX709" fmla="*/ 2338780 w 7467600"/>
              <a:gd name="connsiteY709" fmla="*/ 3033725 h 6858000"/>
              <a:gd name="connsiteX710" fmla="*/ 1807991 w 7467600"/>
              <a:gd name="connsiteY710" fmla="*/ 2807184 h 6858000"/>
              <a:gd name="connsiteX711" fmla="*/ 1416358 w 7467600"/>
              <a:gd name="connsiteY711" fmla="*/ 3112571 h 6858000"/>
              <a:gd name="connsiteX712" fmla="*/ 939066 w 7467600"/>
              <a:gd name="connsiteY712" fmla="*/ 3378798 h 6858000"/>
              <a:gd name="connsiteX713" fmla="*/ 115099 w 7467600"/>
              <a:gd name="connsiteY713" fmla="*/ 3607650 h 6858000"/>
              <a:gd name="connsiteX714" fmla="*/ 97284 w 7467600"/>
              <a:gd name="connsiteY714" fmla="*/ 3520393 h 6858000"/>
              <a:gd name="connsiteX715" fmla="*/ 922050 w 7467600"/>
              <a:gd name="connsiteY715" fmla="*/ 3074867 h 6858000"/>
              <a:gd name="connsiteX716" fmla="*/ 1405265 w 7467600"/>
              <a:gd name="connsiteY716" fmla="*/ 3016319 h 6858000"/>
              <a:gd name="connsiteX717" fmla="*/ 1407512 w 7467600"/>
              <a:gd name="connsiteY717" fmla="*/ 3018001 h 6858000"/>
              <a:gd name="connsiteX718" fmla="*/ 1726266 w 7467600"/>
              <a:gd name="connsiteY718" fmla="*/ 2777274 h 6858000"/>
              <a:gd name="connsiteX719" fmla="*/ 625390 w 7467600"/>
              <a:gd name="connsiteY719" fmla="*/ 2514541 h 6858000"/>
              <a:gd name="connsiteX720" fmla="*/ 619799 w 7467600"/>
              <a:gd name="connsiteY720" fmla="*/ 2527180 h 6858000"/>
              <a:gd name="connsiteX721" fmla="*/ 310030 w 7467600"/>
              <a:gd name="connsiteY721" fmla="*/ 2771818 h 6858000"/>
              <a:gd name="connsiteX722" fmla="*/ 173877 w 7467600"/>
              <a:gd name="connsiteY722" fmla="*/ 2937056 h 6858000"/>
              <a:gd name="connsiteX723" fmla="*/ 77889 w 7467600"/>
              <a:gd name="connsiteY723" fmla="*/ 3138440 h 6858000"/>
              <a:gd name="connsiteX724" fmla="*/ 0 w 7467600"/>
              <a:gd name="connsiteY724" fmla="*/ 3271395 h 6858000"/>
              <a:gd name="connsiteX725" fmla="*/ 0 w 7467600"/>
              <a:gd name="connsiteY725" fmla="*/ 3153002 h 6858000"/>
              <a:gd name="connsiteX726" fmla="*/ 2386 w 7467600"/>
              <a:gd name="connsiteY726" fmla="*/ 3149203 h 6858000"/>
              <a:gd name="connsiteX727" fmla="*/ 89753 w 7467600"/>
              <a:gd name="connsiteY727" fmla="*/ 2987702 h 6858000"/>
              <a:gd name="connsiteX728" fmla="*/ 76869 w 7467600"/>
              <a:gd name="connsiteY728" fmla="*/ 3005404 h 6858000"/>
              <a:gd name="connsiteX729" fmla="*/ 32049 w 7467600"/>
              <a:gd name="connsiteY729" fmla="*/ 3065814 h 6858000"/>
              <a:gd name="connsiteX730" fmla="*/ 0 w 7467600"/>
              <a:gd name="connsiteY730" fmla="*/ 3108744 h 6858000"/>
              <a:gd name="connsiteX731" fmla="*/ 0 w 7467600"/>
              <a:gd name="connsiteY731" fmla="*/ 3058059 h 6858000"/>
              <a:gd name="connsiteX732" fmla="*/ 7610 w 7467600"/>
              <a:gd name="connsiteY732" fmla="*/ 3047889 h 6858000"/>
              <a:gd name="connsiteX733" fmla="*/ 52419 w 7467600"/>
              <a:gd name="connsiteY733" fmla="*/ 2987479 h 6858000"/>
              <a:gd name="connsiteX734" fmla="*/ 59142 w 7467600"/>
              <a:gd name="connsiteY734" fmla="*/ 2978488 h 6858000"/>
              <a:gd name="connsiteX735" fmla="*/ 0 w 7467600"/>
              <a:gd name="connsiteY735" fmla="*/ 3015334 h 6858000"/>
              <a:gd name="connsiteX736" fmla="*/ 0 w 7467600"/>
              <a:gd name="connsiteY736" fmla="*/ 2914286 h 6858000"/>
              <a:gd name="connsiteX737" fmla="*/ 36383 w 7467600"/>
              <a:gd name="connsiteY737" fmla="*/ 2901128 h 6858000"/>
              <a:gd name="connsiteX738" fmla="*/ 156329 w 7467600"/>
              <a:gd name="connsiteY738" fmla="*/ 2840533 h 6858000"/>
              <a:gd name="connsiteX739" fmla="*/ 358355 w 7467600"/>
              <a:gd name="connsiteY739" fmla="*/ 2620471 h 6858000"/>
              <a:gd name="connsiteX740" fmla="*/ 510577 w 7467600"/>
              <a:gd name="connsiteY740" fmla="*/ 2501244 h 6858000"/>
              <a:gd name="connsiteX741" fmla="*/ 211967 w 7467600"/>
              <a:gd name="connsiteY741" fmla="*/ 2479171 h 6858000"/>
              <a:gd name="connsiteX742" fmla="*/ 0 w 7467600"/>
              <a:gd name="connsiteY742" fmla="*/ 2476398 h 6858000"/>
              <a:gd name="connsiteX743" fmla="*/ 0 w 7467600"/>
              <a:gd name="connsiteY743" fmla="*/ 2389189 h 6858000"/>
              <a:gd name="connsiteX744" fmla="*/ 103062 w 7467600"/>
              <a:gd name="connsiteY744" fmla="*/ 2389518 h 6858000"/>
              <a:gd name="connsiteX745" fmla="*/ 510734 w 7467600"/>
              <a:gd name="connsiteY745" fmla="*/ 2416201 h 6858000"/>
              <a:gd name="connsiteX746" fmla="*/ 279257 w 7467600"/>
              <a:gd name="connsiteY746" fmla="*/ 2092102 h 6858000"/>
              <a:gd name="connsiteX747" fmla="*/ 65265 w 7467600"/>
              <a:gd name="connsiteY747" fmla="*/ 2006049 h 6858000"/>
              <a:gd name="connsiteX748" fmla="*/ 0 w 7467600"/>
              <a:gd name="connsiteY748" fmla="*/ 1982532 h 6858000"/>
              <a:gd name="connsiteX749" fmla="*/ 0 w 7467600"/>
              <a:gd name="connsiteY749" fmla="*/ 1912789 h 6858000"/>
              <a:gd name="connsiteX750" fmla="*/ 97460 w 7467600"/>
              <a:gd name="connsiteY750" fmla="*/ 1953725 h 6858000"/>
              <a:gd name="connsiteX751" fmla="*/ 221272 w 7467600"/>
              <a:gd name="connsiteY751" fmla="*/ 1980766 h 6858000"/>
              <a:gd name="connsiteX752" fmla="*/ 116765 w 7467600"/>
              <a:gd name="connsiteY752" fmla="*/ 1911033 h 6858000"/>
              <a:gd name="connsiteX753" fmla="*/ 16405 w 7467600"/>
              <a:gd name="connsiteY753" fmla="*/ 1803412 h 6858000"/>
              <a:gd name="connsiteX754" fmla="*/ 0 w 7467600"/>
              <a:gd name="connsiteY754" fmla="*/ 1784777 h 6858000"/>
              <a:gd name="connsiteX755" fmla="*/ 0 w 7467600"/>
              <a:gd name="connsiteY755" fmla="*/ 1740082 h 6858000"/>
              <a:gd name="connsiteX756" fmla="*/ 39394 w 7467600"/>
              <a:gd name="connsiteY756" fmla="*/ 1784856 h 6858000"/>
              <a:gd name="connsiteX757" fmla="*/ 135813 w 7467600"/>
              <a:gd name="connsiteY757" fmla="*/ 1888838 h 6858000"/>
              <a:gd name="connsiteX758" fmla="*/ 242575 w 7467600"/>
              <a:gd name="connsiteY758" fmla="*/ 1958841 h 6858000"/>
              <a:gd name="connsiteX759" fmla="*/ 82197 w 7467600"/>
              <a:gd name="connsiteY759" fmla="*/ 1754826 h 6858000"/>
              <a:gd name="connsiteX760" fmla="*/ 0 w 7467600"/>
              <a:gd name="connsiteY760" fmla="*/ 1679650 h 6858000"/>
              <a:gd name="connsiteX761" fmla="*/ 0 w 7467600"/>
              <a:gd name="connsiteY761" fmla="*/ 1602463 h 6858000"/>
              <a:gd name="connsiteX762" fmla="*/ 84689 w 7467600"/>
              <a:gd name="connsiteY762" fmla="*/ 1677442 h 6858000"/>
              <a:gd name="connsiteX763" fmla="*/ 298437 w 7467600"/>
              <a:gd name="connsiteY763" fmla="*/ 1968019 h 6858000"/>
              <a:gd name="connsiteX764" fmla="*/ 227269 w 7467600"/>
              <a:gd name="connsiteY764" fmla="*/ 1114064 h 6858000"/>
              <a:gd name="connsiteX765" fmla="*/ 248003 w 7467600"/>
              <a:gd name="connsiteY765" fmla="*/ 1089613 h 6858000"/>
              <a:gd name="connsiteX766" fmla="*/ 427020 w 7467600"/>
              <a:gd name="connsiteY766" fmla="*/ 1619803 h 6858000"/>
              <a:gd name="connsiteX767" fmla="*/ 340345 w 7467600"/>
              <a:gd name="connsiteY767" fmla="*/ 2027739 h 6858000"/>
              <a:gd name="connsiteX768" fmla="*/ 360865 w 7467600"/>
              <a:gd name="connsiteY768" fmla="*/ 2044827 h 6858000"/>
              <a:gd name="connsiteX769" fmla="*/ 560414 w 7467600"/>
              <a:gd name="connsiteY769" fmla="*/ 2421457 h 6858000"/>
              <a:gd name="connsiteX770" fmla="*/ 1359703 w 7467600"/>
              <a:gd name="connsiteY770" fmla="*/ 2578554 h 6858000"/>
              <a:gd name="connsiteX771" fmla="*/ 1359422 w 7467600"/>
              <a:gd name="connsiteY771" fmla="*/ 2577994 h 6858000"/>
              <a:gd name="connsiteX772" fmla="*/ 828701 w 7467600"/>
              <a:gd name="connsiteY772" fmla="*/ 1839520 h 6858000"/>
              <a:gd name="connsiteX773" fmla="*/ 494427 w 7467600"/>
              <a:gd name="connsiteY773" fmla="*/ 1092333 h 6858000"/>
              <a:gd name="connsiteX774" fmla="*/ 506322 w 7467600"/>
              <a:gd name="connsiteY774" fmla="*/ 1020997 h 6858000"/>
              <a:gd name="connsiteX775" fmla="*/ 4570198 w 7467600"/>
              <a:gd name="connsiteY775" fmla="*/ 978081 h 6858000"/>
              <a:gd name="connsiteX776" fmla="*/ 4523691 w 7467600"/>
              <a:gd name="connsiteY776" fmla="*/ 1127776 h 6858000"/>
              <a:gd name="connsiteX777" fmla="*/ 4509875 w 7467600"/>
              <a:gd name="connsiteY777" fmla="*/ 1167552 h 6858000"/>
              <a:gd name="connsiteX778" fmla="*/ 4478168 w 7467600"/>
              <a:gd name="connsiteY778" fmla="*/ 1260735 h 6858000"/>
              <a:gd name="connsiteX779" fmla="*/ 4409309 w 7467600"/>
              <a:gd name="connsiteY779" fmla="*/ 1666996 h 6858000"/>
              <a:gd name="connsiteX780" fmla="*/ 4370031 w 7467600"/>
              <a:gd name="connsiteY780" fmla="*/ 1955666 h 6858000"/>
              <a:gd name="connsiteX781" fmla="*/ 4570198 w 7467600"/>
              <a:gd name="connsiteY781" fmla="*/ 978081 h 6858000"/>
              <a:gd name="connsiteX782" fmla="*/ 4557898 w 7467600"/>
              <a:gd name="connsiteY782" fmla="*/ 900011 h 6858000"/>
              <a:gd name="connsiteX783" fmla="*/ 4344840 w 7467600"/>
              <a:gd name="connsiteY783" fmla="*/ 1922038 h 6858000"/>
              <a:gd name="connsiteX784" fmla="*/ 4378710 w 7467600"/>
              <a:gd name="connsiteY784" fmla="*/ 1665516 h 6858000"/>
              <a:gd name="connsiteX785" fmla="*/ 4448798 w 7467600"/>
              <a:gd name="connsiteY785" fmla="*/ 1253024 h 6858000"/>
              <a:gd name="connsiteX786" fmla="*/ 4480315 w 7467600"/>
              <a:gd name="connsiteY786" fmla="*/ 1158454 h 6858000"/>
              <a:gd name="connsiteX787" fmla="*/ 4494133 w 7467600"/>
              <a:gd name="connsiteY787" fmla="*/ 1118676 h 6858000"/>
              <a:gd name="connsiteX788" fmla="*/ 4557898 w 7467600"/>
              <a:gd name="connsiteY788" fmla="*/ 900011 h 6858000"/>
              <a:gd name="connsiteX789" fmla="*/ 5870151 w 7467600"/>
              <a:gd name="connsiteY789" fmla="*/ 898890 h 6858000"/>
              <a:gd name="connsiteX790" fmla="*/ 5861335 w 7467600"/>
              <a:gd name="connsiteY790" fmla="*/ 899177 h 6858000"/>
              <a:gd name="connsiteX791" fmla="*/ 5843702 w 7467600"/>
              <a:gd name="connsiteY791" fmla="*/ 899748 h 6858000"/>
              <a:gd name="connsiteX792" fmla="*/ 5651107 w 7467600"/>
              <a:gd name="connsiteY792" fmla="*/ 920306 h 6858000"/>
              <a:gd name="connsiteX793" fmla="*/ 5459407 w 7467600"/>
              <a:gd name="connsiteY793" fmla="*/ 940975 h 6858000"/>
              <a:gd name="connsiteX794" fmla="*/ 5374846 w 7467600"/>
              <a:gd name="connsiteY794" fmla="*/ 941988 h 6858000"/>
              <a:gd name="connsiteX795" fmla="*/ 5256105 w 7467600"/>
              <a:gd name="connsiteY795" fmla="*/ 945632 h 6858000"/>
              <a:gd name="connsiteX796" fmla="*/ 5107071 w 7467600"/>
              <a:gd name="connsiteY796" fmla="*/ 969720 h 6858000"/>
              <a:gd name="connsiteX797" fmla="*/ 4998681 w 7467600"/>
              <a:gd name="connsiteY797" fmla="*/ 988771 h 6858000"/>
              <a:gd name="connsiteX798" fmla="*/ 5870151 w 7467600"/>
              <a:gd name="connsiteY798" fmla="*/ 898890 h 6858000"/>
              <a:gd name="connsiteX799" fmla="*/ 5504425 w 7467600"/>
              <a:gd name="connsiteY799" fmla="*/ 848067 h 6858000"/>
              <a:gd name="connsiteX800" fmla="*/ 4968849 w 7467600"/>
              <a:gd name="connsiteY800" fmla="*/ 962318 h 6858000"/>
              <a:gd name="connsiteX801" fmla="*/ 5104039 w 7467600"/>
              <a:gd name="connsiteY801" fmla="*/ 940634 h 6858000"/>
              <a:gd name="connsiteX802" fmla="*/ 5256311 w 7467600"/>
              <a:gd name="connsiteY802" fmla="*/ 916490 h 6858000"/>
              <a:gd name="connsiteX803" fmla="*/ 5377381 w 7467600"/>
              <a:gd name="connsiteY803" fmla="*/ 912671 h 6858000"/>
              <a:gd name="connsiteX804" fmla="*/ 5460148 w 7467600"/>
              <a:gd name="connsiteY804" fmla="*/ 911442 h 6858000"/>
              <a:gd name="connsiteX805" fmla="*/ 5648971 w 7467600"/>
              <a:gd name="connsiteY805" fmla="*/ 891331 h 6858000"/>
              <a:gd name="connsiteX806" fmla="*/ 5844807 w 7467600"/>
              <a:gd name="connsiteY806" fmla="*/ 870718 h 6858000"/>
              <a:gd name="connsiteX807" fmla="*/ 5862975 w 7467600"/>
              <a:gd name="connsiteY807" fmla="*/ 869756 h 6858000"/>
              <a:gd name="connsiteX808" fmla="*/ 5920887 w 7467600"/>
              <a:gd name="connsiteY808" fmla="*/ 865929 h 6858000"/>
              <a:gd name="connsiteX809" fmla="*/ 5504425 w 7467600"/>
              <a:gd name="connsiteY809" fmla="*/ 848067 h 6858000"/>
              <a:gd name="connsiteX810" fmla="*/ 3607114 w 7467600"/>
              <a:gd name="connsiteY810" fmla="*/ 467441 h 6858000"/>
              <a:gd name="connsiteX811" fmla="*/ 3296242 w 7467600"/>
              <a:gd name="connsiteY811" fmla="*/ 807991 h 6858000"/>
              <a:gd name="connsiteX812" fmla="*/ 3174674 w 7467600"/>
              <a:gd name="connsiteY812" fmla="*/ 919759 h 6858000"/>
              <a:gd name="connsiteX813" fmla="*/ 3042978 w 7467600"/>
              <a:gd name="connsiteY813" fmla="*/ 1054894 h 6858000"/>
              <a:gd name="connsiteX814" fmla="*/ 2968914 w 7467600"/>
              <a:gd name="connsiteY814" fmla="*/ 1133756 h 6858000"/>
              <a:gd name="connsiteX815" fmla="*/ 3103823 w 7467600"/>
              <a:gd name="connsiteY815" fmla="*/ 1026814 h 6858000"/>
              <a:gd name="connsiteX816" fmla="*/ 3607114 w 7467600"/>
              <a:gd name="connsiteY816" fmla="*/ 467441 h 6858000"/>
              <a:gd name="connsiteX817" fmla="*/ 3744487 w 7467600"/>
              <a:gd name="connsiteY817" fmla="*/ 383136 h 6858000"/>
              <a:gd name="connsiteX818" fmla="*/ 3970213 w 7467600"/>
              <a:gd name="connsiteY818" fmla="*/ 995559 h 6858000"/>
              <a:gd name="connsiteX819" fmla="*/ 3744487 w 7467600"/>
              <a:gd name="connsiteY819" fmla="*/ 383136 h 6858000"/>
              <a:gd name="connsiteX820" fmla="*/ 3624562 w 7467600"/>
              <a:gd name="connsiteY820" fmla="*/ 367041 h 6858000"/>
              <a:gd name="connsiteX821" fmla="*/ 3489712 w 7467600"/>
              <a:gd name="connsiteY821" fmla="*/ 485386 h 6858000"/>
              <a:gd name="connsiteX822" fmla="*/ 3182994 w 7467600"/>
              <a:gd name="connsiteY822" fmla="*/ 828265 h 6858000"/>
              <a:gd name="connsiteX823" fmla="*/ 2892114 w 7467600"/>
              <a:gd name="connsiteY823" fmla="*/ 1172635 h 6858000"/>
              <a:gd name="connsiteX824" fmla="*/ 3021459 w 7467600"/>
              <a:gd name="connsiteY824" fmla="*/ 1035385 h 6858000"/>
              <a:gd name="connsiteX825" fmla="*/ 3153873 w 7467600"/>
              <a:gd name="connsiteY825" fmla="*/ 898971 h 6858000"/>
              <a:gd name="connsiteX826" fmla="*/ 3276511 w 7467600"/>
              <a:gd name="connsiteY826" fmla="*/ 786423 h 6858000"/>
              <a:gd name="connsiteX827" fmla="*/ 3584154 w 7467600"/>
              <a:gd name="connsiteY827" fmla="*/ 448218 h 6858000"/>
              <a:gd name="connsiteX828" fmla="*/ 3624562 w 7467600"/>
              <a:gd name="connsiteY828" fmla="*/ 367041 h 6858000"/>
              <a:gd name="connsiteX829" fmla="*/ 3766672 w 7467600"/>
              <a:gd name="connsiteY829" fmla="*/ 359429 h 6858000"/>
              <a:gd name="connsiteX830" fmla="*/ 3996338 w 7467600"/>
              <a:gd name="connsiteY830" fmla="*/ 968237 h 6858000"/>
              <a:gd name="connsiteX831" fmla="*/ 3766672 w 7467600"/>
              <a:gd name="connsiteY831" fmla="*/ 359429 h 6858000"/>
              <a:gd name="connsiteX832" fmla="*/ 5805386 w 7467600"/>
              <a:gd name="connsiteY832" fmla="*/ 239240 h 6858000"/>
              <a:gd name="connsiteX833" fmla="*/ 5736947 w 7467600"/>
              <a:gd name="connsiteY833" fmla="*/ 261367 h 6858000"/>
              <a:gd name="connsiteX834" fmla="*/ 5427012 w 7467600"/>
              <a:gd name="connsiteY834" fmla="*/ 311272 h 6858000"/>
              <a:gd name="connsiteX835" fmla="*/ 5147818 w 7467600"/>
              <a:gd name="connsiteY835" fmla="*/ 322112 h 6858000"/>
              <a:gd name="connsiteX836" fmla="*/ 5060854 w 7467600"/>
              <a:gd name="connsiteY836" fmla="*/ 311882 h 6858000"/>
              <a:gd name="connsiteX837" fmla="*/ 4945989 w 7467600"/>
              <a:gd name="connsiteY837" fmla="*/ 300516 h 6858000"/>
              <a:gd name="connsiteX838" fmla="*/ 5410479 w 7467600"/>
              <a:gd name="connsiteY838" fmla="*/ 348434 h 6858000"/>
              <a:gd name="connsiteX839" fmla="*/ 5805386 w 7467600"/>
              <a:gd name="connsiteY839" fmla="*/ 239240 h 6858000"/>
              <a:gd name="connsiteX840" fmla="*/ 5905192 w 7467600"/>
              <a:gd name="connsiteY840" fmla="*/ 163079 h 6858000"/>
              <a:gd name="connsiteX841" fmla="*/ 5865655 w 7467600"/>
              <a:gd name="connsiteY841" fmla="*/ 171901 h 6858000"/>
              <a:gd name="connsiteX842" fmla="*/ 5259740 w 7467600"/>
              <a:gd name="connsiteY842" fmla="*/ 257013 h 6858000"/>
              <a:gd name="connsiteX843" fmla="*/ 5208466 w 7467600"/>
              <a:gd name="connsiteY843" fmla="*/ 257550 h 6858000"/>
              <a:gd name="connsiteX844" fmla="*/ 4980204 w 7467600"/>
              <a:gd name="connsiteY844" fmla="*/ 271903 h 6858000"/>
              <a:gd name="connsiteX845" fmla="*/ 5068068 w 7467600"/>
              <a:gd name="connsiteY845" fmla="*/ 282244 h 6858000"/>
              <a:gd name="connsiteX846" fmla="*/ 5153231 w 7467600"/>
              <a:gd name="connsiteY846" fmla="*/ 292240 h 6858000"/>
              <a:gd name="connsiteX847" fmla="*/ 5426491 w 7467600"/>
              <a:gd name="connsiteY847" fmla="*/ 281128 h 6858000"/>
              <a:gd name="connsiteX848" fmla="*/ 5731212 w 7467600"/>
              <a:gd name="connsiteY848" fmla="*/ 231951 h 6858000"/>
              <a:gd name="connsiteX849" fmla="*/ 5905192 w 7467600"/>
              <a:gd name="connsiteY849" fmla="*/ 163079 h 6858000"/>
              <a:gd name="connsiteX850" fmla="*/ 5944437 w 7467600"/>
              <a:gd name="connsiteY850" fmla="*/ 113829 h 6858000"/>
              <a:gd name="connsiteX851" fmla="*/ 5825032 w 7467600"/>
              <a:gd name="connsiteY851" fmla="*/ 146405 h 6858000"/>
              <a:gd name="connsiteX852" fmla="*/ 4955599 w 7467600"/>
              <a:gd name="connsiteY852" fmla="*/ 247008 h 6858000"/>
              <a:gd name="connsiteX853" fmla="*/ 5210104 w 7467600"/>
              <a:gd name="connsiteY853" fmla="*/ 228123 h 6858000"/>
              <a:gd name="connsiteX854" fmla="*/ 5261015 w 7467600"/>
              <a:gd name="connsiteY854" fmla="*/ 227087 h 6858000"/>
              <a:gd name="connsiteX855" fmla="*/ 5861181 w 7467600"/>
              <a:gd name="connsiteY855" fmla="*/ 143093 h 6858000"/>
              <a:gd name="connsiteX856" fmla="*/ 5961252 w 7467600"/>
              <a:gd name="connsiteY856" fmla="*/ 114820 h 6858000"/>
              <a:gd name="connsiteX857" fmla="*/ 5944437 w 7467600"/>
              <a:gd name="connsiteY857" fmla="*/ 113829 h 6858000"/>
              <a:gd name="connsiteX858" fmla="*/ 3882765 w 7467600"/>
              <a:gd name="connsiteY858" fmla="*/ 0 h 6858000"/>
              <a:gd name="connsiteX859" fmla="*/ 3995099 w 7467600"/>
              <a:gd name="connsiteY859" fmla="*/ 0 h 6858000"/>
              <a:gd name="connsiteX860" fmla="*/ 4163818 w 7467600"/>
              <a:gd name="connsiteY860" fmla="*/ 234104 h 6858000"/>
              <a:gd name="connsiteX861" fmla="*/ 4172099 w 7467600"/>
              <a:gd name="connsiteY861" fmla="*/ 234207 h 6858000"/>
              <a:gd name="connsiteX862" fmla="*/ 4784282 w 7467600"/>
              <a:gd name="connsiteY862" fmla="*/ 276561 h 6858000"/>
              <a:gd name="connsiteX863" fmla="*/ 4801687 w 7467600"/>
              <a:gd name="connsiteY863" fmla="*/ 267764 h 6858000"/>
              <a:gd name="connsiteX864" fmla="*/ 6082788 w 7467600"/>
              <a:gd name="connsiteY864" fmla="*/ 64119 h 6858000"/>
              <a:gd name="connsiteX865" fmla="*/ 6099442 w 7467600"/>
              <a:gd name="connsiteY865" fmla="*/ 82568 h 6858000"/>
              <a:gd name="connsiteX866" fmla="*/ 4804137 w 7467600"/>
              <a:gd name="connsiteY866" fmla="*/ 320931 h 6858000"/>
              <a:gd name="connsiteX867" fmla="*/ 4227047 w 7467600"/>
              <a:gd name="connsiteY867" fmla="*/ 313415 h 6858000"/>
              <a:gd name="connsiteX868" fmla="*/ 4346041 w 7467600"/>
              <a:gd name="connsiteY868" fmla="*/ 456086 h 6858000"/>
              <a:gd name="connsiteX869" fmla="*/ 4870967 w 7467600"/>
              <a:gd name="connsiteY869" fmla="*/ 963061 h 6858000"/>
              <a:gd name="connsiteX870" fmla="*/ 4889647 w 7467600"/>
              <a:gd name="connsiteY870" fmla="*/ 957147 h 6858000"/>
              <a:gd name="connsiteX871" fmla="*/ 5422504 w 7467600"/>
              <a:gd name="connsiteY871" fmla="*/ 805191 h 6858000"/>
              <a:gd name="connsiteX872" fmla="*/ 6087656 w 7467600"/>
              <a:gd name="connsiteY872" fmla="*/ 826703 h 6858000"/>
              <a:gd name="connsiteX873" fmla="*/ 6058717 w 7467600"/>
              <a:gd name="connsiteY873" fmla="*/ 865992 h 6858000"/>
              <a:gd name="connsiteX874" fmla="*/ 4974153 w 7467600"/>
              <a:gd name="connsiteY874" fmla="*/ 1045456 h 6858000"/>
              <a:gd name="connsiteX875" fmla="*/ 5627835 w 7467600"/>
              <a:gd name="connsiteY875" fmla="*/ 1472077 h 6858000"/>
              <a:gd name="connsiteX876" fmla="*/ 5629817 w 7467600"/>
              <a:gd name="connsiteY876" fmla="*/ 1471412 h 6858000"/>
              <a:gd name="connsiteX877" fmla="*/ 5634124 w 7467600"/>
              <a:gd name="connsiteY877" fmla="*/ 1470572 h 6858000"/>
              <a:gd name="connsiteX878" fmla="*/ 5755832 w 7467600"/>
              <a:gd name="connsiteY878" fmla="*/ 1383886 h 6858000"/>
              <a:gd name="connsiteX879" fmla="*/ 6014186 w 7467600"/>
              <a:gd name="connsiteY879" fmla="*/ 1279799 h 6858000"/>
              <a:gd name="connsiteX880" fmla="*/ 6901619 w 7467600"/>
              <a:gd name="connsiteY880" fmla="*/ 1047874 h 6858000"/>
              <a:gd name="connsiteX881" fmla="*/ 6931566 w 7467600"/>
              <a:gd name="connsiteY881" fmla="*/ 1062034 h 6858000"/>
              <a:gd name="connsiteX882" fmla="*/ 5790982 w 7467600"/>
              <a:gd name="connsiteY882" fmla="*/ 1561380 h 6858000"/>
              <a:gd name="connsiteX883" fmla="*/ 6188971 w 7467600"/>
              <a:gd name="connsiteY883" fmla="*/ 1755168 h 6858000"/>
              <a:gd name="connsiteX884" fmla="*/ 6202446 w 7467600"/>
              <a:gd name="connsiteY884" fmla="*/ 1752268 h 6858000"/>
              <a:gd name="connsiteX885" fmla="*/ 7179560 w 7467600"/>
              <a:gd name="connsiteY885" fmla="*/ 1467551 h 6858000"/>
              <a:gd name="connsiteX886" fmla="*/ 7158730 w 7467600"/>
              <a:gd name="connsiteY886" fmla="*/ 1507835 h 6858000"/>
              <a:gd name="connsiteX887" fmla="*/ 6326959 w 7467600"/>
              <a:gd name="connsiteY887" fmla="*/ 1817686 h 6858000"/>
              <a:gd name="connsiteX888" fmla="*/ 6537433 w 7467600"/>
              <a:gd name="connsiteY888" fmla="*/ 1907790 h 6858000"/>
              <a:gd name="connsiteX889" fmla="*/ 6550221 w 7467600"/>
              <a:gd name="connsiteY889" fmla="*/ 1910729 h 6858000"/>
              <a:gd name="connsiteX890" fmla="*/ 6964438 w 7467600"/>
              <a:gd name="connsiteY890" fmla="*/ 2209505 h 6858000"/>
              <a:gd name="connsiteX891" fmla="*/ 7367862 w 7467600"/>
              <a:gd name="connsiteY891" fmla="*/ 2806833 h 6858000"/>
              <a:gd name="connsiteX892" fmla="*/ 7364329 w 7467600"/>
              <a:gd name="connsiteY892" fmla="*/ 2826907 h 6858000"/>
              <a:gd name="connsiteX893" fmla="*/ 7290545 w 7467600"/>
              <a:gd name="connsiteY893" fmla="*/ 2850663 h 6858000"/>
              <a:gd name="connsiteX894" fmla="*/ 6472036 w 7467600"/>
              <a:gd name="connsiteY894" fmla="*/ 1959003 h 6858000"/>
              <a:gd name="connsiteX895" fmla="*/ 5792897 w 7467600"/>
              <a:gd name="connsiteY895" fmla="*/ 1647747 h 6858000"/>
              <a:gd name="connsiteX896" fmla="*/ 5842751 w 7467600"/>
              <a:gd name="connsiteY896" fmla="*/ 1816112 h 6858000"/>
              <a:gd name="connsiteX897" fmla="*/ 5847424 w 7467600"/>
              <a:gd name="connsiteY897" fmla="*/ 1815776 h 6858000"/>
              <a:gd name="connsiteX898" fmla="*/ 6399821 w 7467600"/>
              <a:gd name="connsiteY898" fmla="*/ 2344799 h 6858000"/>
              <a:gd name="connsiteX899" fmla="*/ 6323232 w 7467600"/>
              <a:gd name="connsiteY899" fmla="*/ 2389634 h 6858000"/>
              <a:gd name="connsiteX900" fmla="*/ 5942958 w 7467600"/>
              <a:gd name="connsiteY900" fmla="*/ 2077708 h 6858000"/>
              <a:gd name="connsiteX901" fmla="*/ 5921559 w 7467600"/>
              <a:gd name="connsiteY901" fmla="*/ 2378596 h 6858000"/>
              <a:gd name="connsiteX902" fmla="*/ 5817651 w 7467600"/>
              <a:gd name="connsiteY902" fmla="*/ 3023919 h 6858000"/>
              <a:gd name="connsiteX903" fmla="*/ 5729634 w 7467600"/>
              <a:gd name="connsiteY903" fmla="*/ 3051849 h 6858000"/>
              <a:gd name="connsiteX904" fmla="*/ 5611018 w 7467600"/>
              <a:gd name="connsiteY904" fmla="*/ 2316769 h 6858000"/>
              <a:gd name="connsiteX905" fmla="*/ 5687608 w 7467600"/>
              <a:gd name="connsiteY905" fmla="*/ 2039972 h 6858000"/>
              <a:gd name="connsiteX906" fmla="*/ 5657554 w 7467600"/>
              <a:gd name="connsiteY906" fmla="*/ 1576445 h 6858000"/>
              <a:gd name="connsiteX907" fmla="*/ 5150475 w 7467600"/>
              <a:gd name="connsiteY907" fmla="*/ 1274012 h 6858000"/>
              <a:gd name="connsiteX908" fmla="*/ 5349142 w 7467600"/>
              <a:gd name="connsiteY908" fmla="*/ 2204405 h 6858000"/>
              <a:gd name="connsiteX909" fmla="*/ 5262214 w 7467600"/>
              <a:gd name="connsiteY909" fmla="*/ 2233836 h 6858000"/>
              <a:gd name="connsiteX910" fmla="*/ 4981539 w 7467600"/>
              <a:gd name="connsiteY910" fmla="*/ 1542201 h 6858000"/>
              <a:gd name="connsiteX911" fmla="*/ 4958461 w 7467600"/>
              <a:gd name="connsiteY911" fmla="*/ 1136957 h 6858000"/>
              <a:gd name="connsiteX912" fmla="*/ 4655015 w 7467600"/>
              <a:gd name="connsiteY912" fmla="*/ 891426 h 6858000"/>
              <a:gd name="connsiteX913" fmla="*/ 4348002 w 7467600"/>
              <a:gd name="connsiteY913" fmla="*/ 2205895 h 6858000"/>
              <a:gd name="connsiteX914" fmla="*/ 4262250 w 7467600"/>
              <a:gd name="connsiteY914" fmla="*/ 2219972 h 6858000"/>
              <a:gd name="connsiteX915" fmla="*/ 4550611 w 7467600"/>
              <a:gd name="connsiteY915" fmla="*/ 817540 h 6858000"/>
              <a:gd name="connsiteX916" fmla="*/ 4564418 w 7467600"/>
              <a:gd name="connsiteY916" fmla="*/ 808293 h 6858000"/>
              <a:gd name="connsiteX917" fmla="*/ 4266388 w 7467600"/>
              <a:gd name="connsiteY917" fmla="*/ 500083 h 6858000"/>
              <a:gd name="connsiteX918" fmla="*/ 4032842 w 7467600"/>
              <a:gd name="connsiteY918" fmla="*/ 211809 h 6858000"/>
              <a:gd name="connsiteX919" fmla="*/ 3882765 w 7467600"/>
              <a:gd name="connsiteY919" fmla="*/ 0 h 6858000"/>
              <a:gd name="connsiteX920" fmla="*/ 3721337 w 7467600"/>
              <a:gd name="connsiteY920" fmla="*/ 0 h 6858000"/>
              <a:gd name="connsiteX921" fmla="*/ 3797544 w 7467600"/>
              <a:gd name="connsiteY921" fmla="*/ 0 h 6858000"/>
              <a:gd name="connsiteX922" fmla="*/ 3775734 w 7467600"/>
              <a:gd name="connsiteY922" fmla="*/ 95131 h 6858000"/>
              <a:gd name="connsiteX923" fmla="*/ 3724807 w 7467600"/>
              <a:gd name="connsiteY923" fmla="*/ 272257 h 6858000"/>
              <a:gd name="connsiteX924" fmla="*/ 3726844 w 7467600"/>
              <a:gd name="connsiteY924" fmla="*/ 282988 h 6858000"/>
              <a:gd name="connsiteX925" fmla="*/ 3742664 w 7467600"/>
              <a:gd name="connsiteY925" fmla="*/ 279918 h 6858000"/>
              <a:gd name="connsiteX926" fmla="*/ 4103910 w 7467600"/>
              <a:gd name="connsiteY926" fmla="*/ 1161917 h 6858000"/>
              <a:gd name="connsiteX927" fmla="*/ 4020269 w 7467600"/>
              <a:gd name="connsiteY927" fmla="*/ 1200406 h 6858000"/>
              <a:gd name="connsiteX928" fmla="*/ 3674882 w 7467600"/>
              <a:gd name="connsiteY928" fmla="*/ 488524 h 6858000"/>
              <a:gd name="connsiteX929" fmla="*/ 3132682 w 7467600"/>
              <a:gd name="connsiteY929" fmla="*/ 1072284 h 6858000"/>
              <a:gd name="connsiteX930" fmla="*/ 2716346 w 7467600"/>
              <a:gd name="connsiteY930" fmla="*/ 1276376 h 6858000"/>
              <a:gd name="connsiteX931" fmla="*/ 2716772 w 7467600"/>
              <a:gd name="connsiteY931" fmla="*/ 1255462 h 6858000"/>
              <a:gd name="connsiteX932" fmla="*/ 3471096 w 7467600"/>
              <a:gd name="connsiteY932" fmla="*/ 437072 h 6858000"/>
              <a:gd name="connsiteX933" fmla="*/ 3639057 w 7467600"/>
              <a:gd name="connsiteY933" fmla="*/ 286334 h 6858000"/>
              <a:gd name="connsiteX934" fmla="*/ 3640309 w 7467600"/>
              <a:gd name="connsiteY934" fmla="*/ 284664 h 6858000"/>
              <a:gd name="connsiteX935" fmla="*/ 3646022 w 7467600"/>
              <a:gd name="connsiteY935" fmla="*/ 276711 h 6858000"/>
              <a:gd name="connsiteX936" fmla="*/ 3707943 w 7467600"/>
              <a:gd name="connsiteY936" fmla="*/ 65958 h 6858000"/>
              <a:gd name="connsiteX937" fmla="*/ 3721337 w 7467600"/>
              <a:gd name="connsiteY937" fmla="*/ 0 h 6858000"/>
              <a:gd name="connsiteX938" fmla="*/ 2867960 w 7467600"/>
              <a:gd name="connsiteY938" fmla="*/ 0 h 6858000"/>
              <a:gd name="connsiteX939" fmla="*/ 2926351 w 7467600"/>
              <a:gd name="connsiteY939" fmla="*/ 0 h 6858000"/>
              <a:gd name="connsiteX940" fmla="*/ 2902823 w 7467600"/>
              <a:gd name="connsiteY940" fmla="*/ 262929 h 6858000"/>
              <a:gd name="connsiteX941" fmla="*/ 2940663 w 7467600"/>
              <a:gd name="connsiteY941" fmla="*/ 140884 h 6858000"/>
              <a:gd name="connsiteX942" fmla="*/ 2947039 w 7467600"/>
              <a:gd name="connsiteY942" fmla="*/ 122524 h 6858000"/>
              <a:gd name="connsiteX943" fmla="*/ 2984316 w 7467600"/>
              <a:gd name="connsiteY943" fmla="*/ 0 h 6858000"/>
              <a:gd name="connsiteX944" fmla="*/ 3016114 w 7467600"/>
              <a:gd name="connsiteY944" fmla="*/ 0 h 6858000"/>
              <a:gd name="connsiteX945" fmla="*/ 2979949 w 7467600"/>
              <a:gd name="connsiteY945" fmla="*/ 119274 h 6858000"/>
              <a:gd name="connsiteX946" fmla="*/ 3023879 w 7467600"/>
              <a:gd name="connsiteY946" fmla="*/ 0 h 6858000"/>
              <a:gd name="connsiteX947" fmla="*/ 3105400 w 7467600"/>
              <a:gd name="connsiteY947" fmla="*/ 0 h 6858000"/>
              <a:gd name="connsiteX948" fmla="*/ 3094669 w 7467600"/>
              <a:gd name="connsiteY948" fmla="*/ 30308 h 6858000"/>
              <a:gd name="connsiteX949" fmla="*/ 2901945 w 7467600"/>
              <a:gd name="connsiteY949" fmla="*/ 466538 h 6858000"/>
              <a:gd name="connsiteX950" fmla="*/ 2815209 w 7467600"/>
              <a:gd name="connsiteY950" fmla="*/ 497361 h 6858000"/>
              <a:gd name="connsiteX951" fmla="*/ 2844845 w 7467600"/>
              <a:gd name="connsiteY951" fmla="*/ 127638 h 6858000"/>
              <a:gd name="connsiteX952" fmla="*/ 2867960 w 7467600"/>
              <a:gd name="connsiteY952" fmla="*/ 0 h 6858000"/>
              <a:gd name="connsiteX953" fmla="*/ 1057230 w 7467600"/>
              <a:gd name="connsiteY953" fmla="*/ 0 h 6858000"/>
              <a:gd name="connsiteX954" fmla="*/ 1111003 w 7467600"/>
              <a:gd name="connsiteY954" fmla="*/ 0 h 6858000"/>
              <a:gd name="connsiteX955" fmla="*/ 1125553 w 7467600"/>
              <a:gd name="connsiteY955" fmla="*/ 52588 h 6858000"/>
              <a:gd name="connsiteX956" fmla="*/ 1304276 w 7467600"/>
              <a:gd name="connsiteY956" fmla="*/ 476275 h 6858000"/>
              <a:gd name="connsiteX957" fmla="*/ 1492066 w 7467600"/>
              <a:gd name="connsiteY957" fmla="*/ 886333 h 6858000"/>
              <a:gd name="connsiteX958" fmla="*/ 1423698 w 7467600"/>
              <a:gd name="connsiteY958" fmla="*/ 710817 h 6858000"/>
              <a:gd name="connsiteX959" fmla="*/ 1357609 w 7467600"/>
              <a:gd name="connsiteY959" fmla="*/ 532892 h 6858000"/>
              <a:gd name="connsiteX960" fmla="*/ 1309550 w 7467600"/>
              <a:gd name="connsiteY960" fmla="*/ 374031 h 6858000"/>
              <a:gd name="connsiteX961" fmla="*/ 1193673 w 7467600"/>
              <a:gd name="connsiteY961" fmla="*/ 49533 h 6858000"/>
              <a:gd name="connsiteX962" fmla="*/ 1164391 w 7467600"/>
              <a:gd name="connsiteY962" fmla="*/ 0 h 6858000"/>
              <a:gd name="connsiteX963" fmla="*/ 1200666 w 7467600"/>
              <a:gd name="connsiteY963" fmla="*/ 0 h 6858000"/>
              <a:gd name="connsiteX964" fmla="*/ 1223408 w 7467600"/>
              <a:gd name="connsiteY964" fmla="*/ 38996 h 6858000"/>
              <a:gd name="connsiteX965" fmla="*/ 1339635 w 7467600"/>
              <a:gd name="connsiteY965" fmla="*/ 365517 h 6858000"/>
              <a:gd name="connsiteX966" fmla="*/ 1387469 w 7467600"/>
              <a:gd name="connsiteY966" fmla="*/ 523079 h 6858000"/>
              <a:gd name="connsiteX967" fmla="*/ 1452685 w 7467600"/>
              <a:gd name="connsiteY967" fmla="*/ 699806 h 6858000"/>
              <a:gd name="connsiteX968" fmla="*/ 1492092 w 7467600"/>
              <a:gd name="connsiteY968" fmla="*/ 800424 h 6858000"/>
              <a:gd name="connsiteX969" fmla="*/ 1455302 w 7467600"/>
              <a:gd name="connsiteY969" fmla="*/ 632913 h 6858000"/>
              <a:gd name="connsiteX970" fmla="*/ 1222336 w 7467600"/>
              <a:gd name="connsiteY970" fmla="*/ 9480 h 6858000"/>
              <a:gd name="connsiteX971" fmla="*/ 1214634 w 7467600"/>
              <a:gd name="connsiteY971" fmla="*/ 0 h 6858000"/>
              <a:gd name="connsiteX972" fmla="*/ 1289827 w 7467600"/>
              <a:gd name="connsiteY972" fmla="*/ 0 h 6858000"/>
              <a:gd name="connsiteX973" fmla="*/ 1321076 w 7467600"/>
              <a:gd name="connsiteY973" fmla="*/ 59722 h 6858000"/>
              <a:gd name="connsiteX974" fmla="*/ 1512579 w 7467600"/>
              <a:gd name="connsiteY974" fmla="*/ 626441 h 6858000"/>
              <a:gd name="connsiteX975" fmla="*/ 1506076 w 7467600"/>
              <a:gd name="connsiteY975" fmla="*/ 1089289 h 6858000"/>
              <a:gd name="connsiteX976" fmla="*/ 1486346 w 7467600"/>
              <a:gd name="connsiteY976" fmla="*/ 1079919 h 6858000"/>
              <a:gd name="connsiteX977" fmla="*/ 1070511 w 7467600"/>
              <a:gd name="connsiteY977" fmla="*/ 48609 h 6858000"/>
              <a:gd name="connsiteX978" fmla="*/ 1057230 w 7467600"/>
              <a:gd name="connsiteY978" fmla="*/ 0 h 6858000"/>
              <a:gd name="connsiteX979" fmla="*/ 43151 w 7467600"/>
              <a:gd name="connsiteY979" fmla="*/ 0 h 6858000"/>
              <a:gd name="connsiteX980" fmla="*/ 95283 w 7467600"/>
              <a:gd name="connsiteY980" fmla="*/ 0 h 6858000"/>
              <a:gd name="connsiteX981" fmla="*/ 300708 w 7467600"/>
              <a:gd name="connsiteY981" fmla="*/ 154571 h 6858000"/>
              <a:gd name="connsiteX982" fmla="*/ 530414 w 7467600"/>
              <a:gd name="connsiteY982" fmla="*/ 354673 h 6858000"/>
              <a:gd name="connsiteX983" fmla="*/ 333785 w 7467600"/>
              <a:gd name="connsiteY983" fmla="*/ 161564 h 6858000"/>
              <a:gd name="connsiteX984" fmla="*/ 147005 w 7467600"/>
              <a:gd name="connsiteY984" fmla="*/ 0 h 6858000"/>
              <a:gd name="connsiteX985" fmla="*/ 272509 w 7467600"/>
              <a:gd name="connsiteY985" fmla="*/ 0 h 6858000"/>
              <a:gd name="connsiteX986" fmla="*/ 326276 w 7467600"/>
              <a:gd name="connsiteY986" fmla="*/ 45847 h 6858000"/>
              <a:gd name="connsiteX987" fmla="*/ 823759 w 7467600"/>
              <a:gd name="connsiteY987" fmla="*/ 574145 h 6858000"/>
              <a:gd name="connsiteX988" fmla="*/ 811254 w 7467600"/>
              <a:gd name="connsiteY988" fmla="*/ 665546 h 6858000"/>
              <a:gd name="connsiteX989" fmla="*/ 154042 w 7467600"/>
              <a:gd name="connsiteY989" fmla="*/ 261522 h 6858000"/>
              <a:gd name="connsiteX990" fmla="*/ 13550 w 7467600"/>
              <a:gd name="connsiteY990" fmla="*/ 158423 h 6858000"/>
              <a:gd name="connsiteX991" fmla="*/ 0 w 7467600"/>
              <a:gd name="connsiteY991" fmla="*/ 146618 h 6858000"/>
              <a:gd name="connsiteX992" fmla="*/ 0 w 7467600"/>
              <a:gd name="connsiteY992" fmla="*/ 59161 h 6858000"/>
              <a:gd name="connsiteX993" fmla="*/ 45427 w 7467600"/>
              <a:gd name="connsiteY993" fmla="*/ 101078 h 6858000"/>
              <a:gd name="connsiteX994" fmla="*/ 630103 w 7467600"/>
              <a:gd name="connsiteY994" fmla="*/ 485885 h 6858000"/>
              <a:gd name="connsiteX995" fmla="*/ 532040 w 7467600"/>
              <a:gd name="connsiteY995" fmla="*/ 399359 h 6858000"/>
              <a:gd name="connsiteX996" fmla="*/ 517618 w 7467600"/>
              <a:gd name="connsiteY996" fmla="*/ 385726 h 6858000"/>
              <a:gd name="connsiteX997" fmla="*/ 285074 w 7467600"/>
              <a:gd name="connsiteY997" fmla="*/ 182755 h 6858000"/>
              <a:gd name="connsiteX998" fmla="*/ 43151 w 7467600"/>
              <a:gd name="connsiteY998"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467600 w 7467600"/>
              <a:gd name="connsiteY127" fmla="*/ 5297634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7327465 w 7467600"/>
              <a:gd name="connsiteY139" fmla="*/ 5174181 h 6858000"/>
              <a:gd name="connsiteX140" fmla="*/ 7353035 w 7467600"/>
              <a:gd name="connsiteY140" fmla="*/ 5197318 h 6858000"/>
              <a:gd name="connsiteX141" fmla="*/ 7467600 w 7467600"/>
              <a:gd name="connsiteY141" fmla="*/ 5297634 h 6858000"/>
              <a:gd name="connsiteX142" fmla="*/ 1903353 w 7467600"/>
              <a:gd name="connsiteY142" fmla="*/ 5044827 h 6858000"/>
              <a:gd name="connsiteX143" fmla="*/ 1936931 w 7467600"/>
              <a:gd name="connsiteY143" fmla="*/ 5093954 h 6858000"/>
              <a:gd name="connsiteX144" fmla="*/ 2195868 w 7467600"/>
              <a:gd name="connsiteY144" fmla="*/ 5396574 h 6858000"/>
              <a:gd name="connsiteX145" fmla="*/ 2088852 w 7467600"/>
              <a:gd name="connsiteY145" fmla="*/ 5166123 h 6858000"/>
              <a:gd name="connsiteX146" fmla="*/ 1958241 w 7467600"/>
              <a:gd name="connsiteY146" fmla="*/ 5067955 h 6858000"/>
              <a:gd name="connsiteX147" fmla="*/ 1903353 w 7467600"/>
              <a:gd name="connsiteY147" fmla="*/ 5044827 h 6858000"/>
              <a:gd name="connsiteX148" fmla="*/ 1979378 w 7467600"/>
              <a:gd name="connsiteY148" fmla="*/ 4769504 h 6858000"/>
              <a:gd name="connsiteX149" fmla="*/ 2882120 w 7467600"/>
              <a:gd name="connsiteY149" fmla="*/ 5064547 h 6858000"/>
              <a:gd name="connsiteX150" fmla="*/ 2793103 w 7467600"/>
              <a:gd name="connsiteY150" fmla="*/ 5039699 h 6858000"/>
              <a:gd name="connsiteX151" fmla="*/ 2770041 w 7467600"/>
              <a:gd name="connsiteY151" fmla="*/ 5033634 h 6858000"/>
              <a:gd name="connsiteX152" fmla="*/ 1979378 w 7467600"/>
              <a:gd name="connsiteY152" fmla="*/ 4769504 h 6858000"/>
              <a:gd name="connsiteX153" fmla="*/ 1927410 w 7467600"/>
              <a:gd name="connsiteY153" fmla="*/ 4716164 h 6858000"/>
              <a:gd name="connsiteX154" fmla="*/ 1959587 w 7467600"/>
              <a:gd name="connsiteY154" fmla="*/ 4728849 h 6858000"/>
              <a:gd name="connsiteX155" fmla="*/ 2777707 w 7467600"/>
              <a:gd name="connsiteY155" fmla="*/ 5003991 h 6858000"/>
              <a:gd name="connsiteX156" fmla="*/ 2800768 w 7467600"/>
              <a:gd name="connsiteY156" fmla="*/ 5010056 h 6858000"/>
              <a:gd name="connsiteX157" fmla="*/ 2879408 w 7467600"/>
              <a:gd name="connsiteY157" fmla="*/ 5031590 h 6858000"/>
              <a:gd name="connsiteX158" fmla="*/ 2862295 w 7467600"/>
              <a:gd name="connsiteY158" fmla="*/ 5022958 h 6858000"/>
              <a:gd name="connsiteX159" fmla="*/ 2813343 w 7467600"/>
              <a:gd name="connsiteY159" fmla="*/ 4998369 h 6858000"/>
              <a:gd name="connsiteX160" fmla="*/ 2646245 w 7467600"/>
              <a:gd name="connsiteY160" fmla="*/ 4930999 h 6858000"/>
              <a:gd name="connsiteX161" fmla="*/ 1999243 w 7467600"/>
              <a:gd name="connsiteY161" fmla="*/ 4730524 h 6858000"/>
              <a:gd name="connsiteX162" fmla="*/ 1979527 w 7467600"/>
              <a:gd name="connsiteY162" fmla="*/ 4726651 h 6858000"/>
              <a:gd name="connsiteX163" fmla="*/ 1927410 w 7467600"/>
              <a:gd name="connsiteY163" fmla="*/ 4716164 h 6858000"/>
              <a:gd name="connsiteX164" fmla="*/ 1997014 w 7467600"/>
              <a:gd name="connsiteY164" fmla="*/ 4698007 h 6858000"/>
              <a:gd name="connsiteX165" fmla="*/ 2005458 w 7467600"/>
              <a:gd name="connsiteY165" fmla="*/ 4699540 h 6858000"/>
              <a:gd name="connsiteX166" fmla="*/ 2657186 w 7467600"/>
              <a:gd name="connsiteY166" fmla="*/ 4901687 h 6858000"/>
              <a:gd name="connsiteX167" fmla="*/ 2826662 w 7467600"/>
              <a:gd name="connsiteY167" fmla="*/ 4970362 h 6858000"/>
              <a:gd name="connsiteX168" fmla="*/ 2876100 w 7467600"/>
              <a:gd name="connsiteY168" fmla="*/ 4995397 h 6858000"/>
              <a:gd name="connsiteX169" fmla="*/ 3042600 w 7467600"/>
              <a:gd name="connsiteY169" fmla="*/ 5059532 h 6858000"/>
              <a:gd name="connsiteX170" fmla="*/ 1997014 w 7467600"/>
              <a:gd name="connsiteY170" fmla="*/ 4698007 h 6858000"/>
              <a:gd name="connsiteX171" fmla="*/ 2305292 w 7467600"/>
              <a:gd name="connsiteY171" fmla="*/ 4219492 h 6858000"/>
              <a:gd name="connsiteX172" fmla="*/ 3360922 w 7467600"/>
              <a:gd name="connsiteY172" fmla="*/ 4529373 h 6858000"/>
              <a:gd name="connsiteX173" fmla="*/ 3492420 w 7467600"/>
              <a:gd name="connsiteY173" fmla="*/ 4510145 h 6858000"/>
              <a:gd name="connsiteX174" fmla="*/ 3364086 w 7467600"/>
              <a:gd name="connsiteY174" fmla="*/ 4480340 h 6858000"/>
              <a:gd name="connsiteX175" fmla="*/ 3225818 w 7467600"/>
              <a:gd name="connsiteY175" fmla="*/ 4411822 h 6858000"/>
              <a:gd name="connsiteX176" fmla="*/ 3129696 w 7467600"/>
              <a:gd name="connsiteY176" fmla="*/ 4360704 h 6858000"/>
              <a:gd name="connsiteX177" fmla="*/ 2814545 w 7467600"/>
              <a:gd name="connsiteY177" fmla="*/ 4282955 h 6858000"/>
              <a:gd name="connsiteX178" fmla="*/ 2305292 w 7467600"/>
              <a:gd name="connsiteY178" fmla="*/ 4219492 h 6858000"/>
              <a:gd name="connsiteX179" fmla="*/ 2626982 w 7467600"/>
              <a:gd name="connsiteY179" fmla="*/ 4206450 h 6858000"/>
              <a:gd name="connsiteX180" fmla="*/ 2490617 w 7467600"/>
              <a:gd name="connsiteY180" fmla="*/ 4206951 h 6858000"/>
              <a:gd name="connsiteX181" fmla="*/ 2819869 w 7467600"/>
              <a:gd name="connsiteY181" fmla="*/ 4252936 h 6858000"/>
              <a:gd name="connsiteX182" fmla="*/ 3143018 w 7467600"/>
              <a:gd name="connsiteY182" fmla="*/ 4332698 h 6858000"/>
              <a:gd name="connsiteX183" fmla="*/ 3241520 w 7467600"/>
              <a:gd name="connsiteY183" fmla="*/ 4385112 h 6858000"/>
              <a:gd name="connsiteX184" fmla="*/ 3374575 w 7467600"/>
              <a:gd name="connsiteY184" fmla="*/ 4451517 h 6858000"/>
              <a:gd name="connsiteX185" fmla="*/ 3505221 w 7467600"/>
              <a:gd name="connsiteY185" fmla="*/ 4480757 h 6858000"/>
              <a:gd name="connsiteX186" fmla="*/ 2626982 w 7467600"/>
              <a:gd name="connsiteY186" fmla="*/ 4206450 h 6858000"/>
              <a:gd name="connsiteX187" fmla="*/ 1310106 w 7467600"/>
              <a:gd name="connsiteY187" fmla="*/ 3943217 h 6858000"/>
              <a:gd name="connsiteX188" fmla="*/ 854994 w 7467600"/>
              <a:gd name="connsiteY188" fmla="*/ 4399136 h 6858000"/>
              <a:gd name="connsiteX189" fmla="*/ 742462 w 7467600"/>
              <a:gd name="connsiteY189" fmla="*/ 4594648 h 6858000"/>
              <a:gd name="connsiteX190" fmla="*/ 820602 w 7467600"/>
              <a:gd name="connsiteY190" fmla="*/ 4485915 h 6858000"/>
              <a:gd name="connsiteX191" fmla="*/ 878295 w 7467600"/>
              <a:gd name="connsiteY191" fmla="*/ 4403594 h 6858000"/>
              <a:gd name="connsiteX192" fmla="*/ 1240607 w 7467600"/>
              <a:gd name="connsiteY192" fmla="*/ 4010401 h 6858000"/>
              <a:gd name="connsiteX193" fmla="*/ 1310106 w 7467600"/>
              <a:gd name="connsiteY193" fmla="*/ 3943217 h 6858000"/>
              <a:gd name="connsiteX194" fmla="*/ 1423113 w 7467600"/>
              <a:gd name="connsiteY194" fmla="*/ 3874565 h 6858000"/>
              <a:gd name="connsiteX195" fmla="*/ 1260565 w 7467600"/>
              <a:gd name="connsiteY195" fmla="*/ 4031982 h 6858000"/>
              <a:gd name="connsiteX196" fmla="*/ 901900 w 7467600"/>
              <a:gd name="connsiteY196" fmla="*/ 4421236 h 6858000"/>
              <a:gd name="connsiteX197" fmla="*/ 845044 w 7467600"/>
              <a:gd name="connsiteY197" fmla="*/ 4502436 h 6858000"/>
              <a:gd name="connsiteX198" fmla="*/ 685926 w 7467600"/>
              <a:gd name="connsiteY198" fmla="*/ 4703069 h 6858000"/>
              <a:gd name="connsiteX199" fmla="*/ 684248 w 7467600"/>
              <a:gd name="connsiteY199" fmla="*/ 4706721 h 6858000"/>
              <a:gd name="connsiteX200" fmla="*/ 1423113 w 7467600"/>
              <a:gd name="connsiteY200" fmla="*/ 3874565 h 6858000"/>
              <a:gd name="connsiteX201" fmla="*/ 3316479 w 7467600"/>
              <a:gd name="connsiteY201" fmla="*/ 3872136 h 6858000"/>
              <a:gd name="connsiteX202" fmla="*/ 3546806 w 7467600"/>
              <a:gd name="connsiteY202" fmla="*/ 4356139 h 6858000"/>
              <a:gd name="connsiteX203" fmla="*/ 3364433 w 7467600"/>
              <a:gd name="connsiteY203" fmla="*/ 3953121 h 6858000"/>
              <a:gd name="connsiteX204" fmla="*/ 3316479 w 7467600"/>
              <a:gd name="connsiteY204" fmla="*/ 3872136 h 6858000"/>
              <a:gd name="connsiteX205" fmla="*/ 3291335 w 7467600"/>
              <a:gd name="connsiteY205" fmla="*/ 3767420 h 6858000"/>
              <a:gd name="connsiteX206" fmla="*/ 3390805 w 7467600"/>
              <a:gd name="connsiteY206" fmla="*/ 3937163 h 6858000"/>
              <a:gd name="connsiteX207" fmla="*/ 3579062 w 7467600"/>
              <a:gd name="connsiteY207" fmla="*/ 4359040 h 6858000"/>
              <a:gd name="connsiteX208" fmla="*/ 3467355 w 7467600"/>
              <a:gd name="connsiteY208" fmla="*/ 3988130 h 6858000"/>
              <a:gd name="connsiteX209" fmla="*/ 3310753 w 7467600"/>
              <a:gd name="connsiteY209" fmla="*/ 3787140 h 6858000"/>
              <a:gd name="connsiteX210" fmla="*/ 3291335 w 7467600"/>
              <a:gd name="connsiteY210" fmla="*/ 3767420 h 6858000"/>
              <a:gd name="connsiteX211" fmla="*/ 1635889 w 7467600"/>
              <a:gd name="connsiteY211" fmla="*/ 3709494 h 6858000"/>
              <a:gd name="connsiteX212" fmla="*/ 1634800 w 7467600"/>
              <a:gd name="connsiteY212" fmla="*/ 3731111 h 6858000"/>
              <a:gd name="connsiteX213" fmla="*/ 1635889 w 7467600"/>
              <a:gd name="connsiteY213" fmla="*/ 3709494 h 6858000"/>
              <a:gd name="connsiteX214" fmla="*/ 1510397 w 7467600"/>
              <a:gd name="connsiteY214" fmla="*/ 3684705 h 6858000"/>
              <a:gd name="connsiteX215" fmla="*/ 1146550 w 7467600"/>
              <a:gd name="connsiteY215" fmla="*/ 3802012 h 6858000"/>
              <a:gd name="connsiteX216" fmla="*/ 698834 w 7467600"/>
              <a:gd name="connsiteY216" fmla="*/ 3952272 h 6858000"/>
              <a:gd name="connsiteX217" fmla="*/ 34256 w 7467600"/>
              <a:gd name="connsiteY217" fmla="*/ 4347603 h 6858000"/>
              <a:gd name="connsiteX218" fmla="*/ 527241 w 7467600"/>
              <a:gd name="connsiteY218" fmla="*/ 4065078 h 6858000"/>
              <a:gd name="connsiteX219" fmla="*/ 1510397 w 7467600"/>
              <a:gd name="connsiteY219" fmla="*/ 3684705 h 6858000"/>
              <a:gd name="connsiteX220" fmla="*/ 1313114 w 7467600"/>
              <a:gd name="connsiteY220" fmla="*/ 3655216 h 6858000"/>
              <a:gd name="connsiteX221" fmla="*/ 1109304 w 7467600"/>
              <a:gd name="connsiteY221" fmla="*/ 3669030 h 6858000"/>
              <a:gd name="connsiteX222" fmla="*/ 8129 w 7467600"/>
              <a:gd name="connsiteY222" fmla="*/ 4330519 h 6858000"/>
              <a:gd name="connsiteX223" fmla="*/ 687572 w 7467600"/>
              <a:gd name="connsiteY223" fmla="*/ 3925629 h 6858000"/>
              <a:gd name="connsiteX224" fmla="*/ 1138365 w 7467600"/>
              <a:gd name="connsiteY224" fmla="*/ 3774515 h 6858000"/>
              <a:gd name="connsiteX225" fmla="*/ 1505579 w 7467600"/>
              <a:gd name="connsiteY225" fmla="*/ 3655526 h 6858000"/>
              <a:gd name="connsiteX226" fmla="*/ 1313114 w 7467600"/>
              <a:gd name="connsiteY226" fmla="*/ 3655216 h 6858000"/>
              <a:gd name="connsiteX227" fmla="*/ 3655073 w 7467600"/>
              <a:gd name="connsiteY227" fmla="*/ 3650884 h 6858000"/>
              <a:gd name="connsiteX228" fmla="*/ 3989938 w 7467600"/>
              <a:gd name="connsiteY228" fmla="*/ 3991685 h 6858000"/>
              <a:gd name="connsiteX229" fmla="*/ 4393907 w 7467600"/>
              <a:gd name="connsiteY229" fmla="*/ 4261258 h 6858000"/>
              <a:gd name="connsiteX230" fmla="*/ 4648051 w 7467600"/>
              <a:gd name="connsiteY230" fmla="*/ 4374051 h 6858000"/>
              <a:gd name="connsiteX231" fmla="*/ 4383389 w 7467600"/>
              <a:gd name="connsiteY231" fmla="*/ 4184369 h 6858000"/>
              <a:gd name="connsiteX232" fmla="*/ 4165508 w 7467600"/>
              <a:gd name="connsiteY232" fmla="*/ 4035196 h 6858000"/>
              <a:gd name="connsiteX233" fmla="*/ 4068162 w 7467600"/>
              <a:gd name="connsiteY233" fmla="*/ 3953394 h 6858000"/>
              <a:gd name="connsiteX234" fmla="*/ 3981416 w 7467600"/>
              <a:gd name="connsiteY234" fmla="*/ 3880482 h 6858000"/>
              <a:gd name="connsiteX235" fmla="*/ 3800147 w 7467600"/>
              <a:gd name="connsiteY235" fmla="*/ 3749872 h 6858000"/>
              <a:gd name="connsiteX236" fmla="*/ 3655073 w 7467600"/>
              <a:gd name="connsiteY236" fmla="*/ 3650884 h 6858000"/>
              <a:gd name="connsiteX237" fmla="*/ 3670252 w 7467600"/>
              <a:gd name="connsiteY237" fmla="*/ 3622798 h 6858000"/>
              <a:gd name="connsiteX238" fmla="*/ 3817258 w 7467600"/>
              <a:gd name="connsiteY238" fmla="*/ 3723577 h 6858000"/>
              <a:gd name="connsiteX239" fmla="*/ 4000461 w 7467600"/>
              <a:gd name="connsiteY239" fmla="*/ 3855966 h 6858000"/>
              <a:gd name="connsiteX240" fmla="*/ 4088180 w 7467600"/>
              <a:gd name="connsiteY240" fmla="*/ 3929774 h 6858000"/>
              <a:gd name="connsiteX241" fmla="*/ 4184555 w 7467600"/>
              <a:gd name="connsiteY241" fmla="*/ 4010683 h 6858000"/>
              <a:gd name="connsiteX242" fmla="*/ 4399563 w 7467600"/>
              <a:gd name="connsiteY242" fmla="*/ 4158106 h 6858000"/>
              <a:gd name="connsiteX243" fmla="*/ 4684469 w 7467600"/>
              <a:gd name="connsiteY243" fmla="*/ 4364680 h 6858000"/>
              <a:gd name="connsiteX244" fmla="*/ 4690271 w 7467600"/>
              <a:gd name="connsiteY244" fmla="*/ 4370034 h 6858000"/>
              <a:gd name="connsiteX245" fmla="*/ 4136093 w 7467600"/>
              <a:gd name="connsiteY245" fmla="*/ 3858466 h 6858000"/>
              <a:gd name="connsiteX246" fmla="*/ 3670252 w 7467600"/>
              <a:gd name="connsiteY246" fmla="*/ 3622798 h 6858000"/>
              <a:gd name="connsiteX247" fmla="*/ 4440129 w 7467600"/>
              <a:gd name="connsiteY247" fmla="*/ 3448571 h 6858000"/>
              <a:gd name="connsiteX248" fmla="*/ 4856525 w 7467600"/>
              <a:gd name="connsiteY248" fmla="*/ 3915351 h 6858000"/>
              <a:gd name="connsiteX249" fmla="*/ 5059055 w 7467600"/>
              <a:gd name="connsiteY249" fmla="*/ 4108918 h 6858000"/>
              <a:gd name="connsiteX250" fmla="*/ 5290070 w 7467600"/>
              <a:gd name="connsiteY250" fmla="*/ 4263619 h 6858000"/>
              <a:gd name="connsiteX251" fmla="*/ 4834991 w 7467600"/>
              <a:gd name="connsiteY251" fmla="*/ 3830985 h 6858000"/>
              <a:gd name="connsiteX252" fmla="*/ 4440129 w 7467600"/>
              <a:gd name="connsiteY252" fmla="*/ 3448571 h 6858000"/>
              <a:gd name="connsiteX253" fmla="*/ 4441737 w 7467600"/>
              <a:gd name="connsiteY253" fmla="*/ 3399734 h 6858000"/>
              <a:gd name="connsiteX254" fmla="*/ 4431236 w 7467600"/>
              <a:gd name="connsiteY254" fmla="*/ 3400954 h 6858000"/>
              <a:gd name="connsiteX255" fmla="*/ 4557150 w 7467600"/>
              <a:gd name="connsiteY255" fmla="*/ 3510023 h 6858000"/>
              <a:gd name="connsiteX256" fmla="*/ 4856936 w 7467600"/>
              <a:gd name="connsiteY256" fmla="*/ 3809146 h 6858000"/>
              <a:gd name="connsiteX257" fmla="*/ 5111996 w 7467600"/>
              <a:gd name="connsiteY257" fmla="*/ 4065759 h 6858000"/>
              <a:gd name="connsiteX258" fmla="*/ 5388878 w 7467600"/>
              <a:gd name="connsiteY258" fmla="*/ 4300185 h 6858000"/>
              <a:gd name="connsiteX259" fmla="*/ 5425556 w 7467600"/>
              <a:gd name="connsiteY259" fmla="*/ 4308967 h 6858000"/>
              <a:gd name="connsiteX260" fmla="*/ 4943646 w 7467600"/>
              <a:gd name="connsiteY260" fmla="*/ 3822916 h 6858000"/>
              <a:gd name="connsiteX261" fmla="*/ 4594837 w 7467600"/>
              <a:gd name="connsiteY261" fmla="*/ 3532274 h 6858000"/>
              <a:gd name="connsiteX262" fmla="*/ 4441737 w 7467600"/>
              <a:gd name="connsiteY262" fmla="*/ 3399734 h 6858000"/>
              <a:gd name="connsiteX263" fmla="*/ 5425834 w 7467600"/>
              <a:gd name="connsiteY263" fmla="*/ 3162785 h 6858000"/>
              <a:gd name="connsiteX264" fmla="*/ 5401644 w 7467600"/>
              <a:gd name="connsiteY264" fmla="*/ 3617847 h 6858000"/>
              <a:gd name="connsiteX265" fmla="*/ 5467256 w 7467600"/>
              <a:gd name="connsiteY265" fmla="*/ 4175494 h 6858000"/>
              <a:gd name="connsiteX266" fmla="*/ 5448069 w 7467600"/>
              <a:gd name="connsiteY266" fmla="*/ 3567554 h 6858000"/>
              <a:gd name="connsiteX267" fmla="*/ 5425834 w 7467600"/>
              <a:gd name="connsiteY267" fmla="*/ 3162785 h 6858000"/>
              <a:gd name="connsiteX268" fmla="*/ 1318687 w 7467600"/>
              <a:gd name="connsiteY268" fmla="*/ 3113840 h 6858000"/>
              <a:gd name="connsiteX269" fmla="*/ 1066793 w 7467600"/>
              <a:gd name="connsiteY269" fmla="*/ 3212171 h 6858000"/>
              <a:gd name="connsiteX270" fmla="*/ 993319 w 7467600"/>
              <a:gd name="connsiteY270" fmla="*/ 3247648 h 6858000"/>
              <a:gd name="connsiteX271" fmla="*/ 853081 w 7467600"/>
              <a:gd name="connsiteY271" fmla="*/ 3312410 h 6858000"/>
              <a:gd name="connsiteX272" fmla="*/ 805957 w 7467600"/>
              <a:gd name="connsiteY272" fmla="*/ 3330443 h 6858000"/>
              <a:gd name="connsiteX273" fmla="*/ 1318687 w 7467600"/>
              <a:gd name="connsiteY273" fmla="*/ 3113840 h 6858000"/>
              <a:gd name="connsiteX274" fmla="*/ 5453702 w 7467600"/>
              <a:gd name="connsiteY274" fmla="*/ 3090882 h 6858000"/>
              <a:gd name="connsiteX275" fmla="*/ 5480135 w 7467600"/>
              <a:gd name="connsiteY275" fmla="*/ 3565802 h 6858000"/>
              <a:gd name="connsiteX276" fmla="*/ 5499023 w 7467600"/>
              <a:gd name="connsiteY276" fmla="*/ 4166310 h 6858000"/>
              <a:gd name="connsiteX277" fmla="*/ 5547022 w 7467600"/>
              <a:gd name="connsiteY277" fmla="*/ 3607838 h 6858000"/>
              <a:gd name="connsiteX278" fmla="*/ 5515964 w 7467600"/>
              <a:gd name="connsiteY278" fmla="*/ 3378541 h 6858000"/>
              <a:gd name="connsiteX279" fmla="*/ 5453702 w 7467600"/>
              <a:gd name="connsiteY279" fmla="*/ 3090882 h 6858000"/>
              <a:gd name="connsiteX280" fmla="*/ 1238695 w 7467600"/>
              <a:gd name="connsiteY280" fmla="*/ 3076820 h 6858000"/>
              <a:gd name="connsiteX281" fmla="*/ 716371 w 7467600"/>
              <a:gd name="connsiteY281" fmla="*/ 3293249 h 6858000"/>
              <a:gd name="connsiteX282" fmla="*/ 579522 w 7467600"/>
              <a:gd name="connsiteY282" fmla="*/ 3371759 h 6858000"/>
              <a:gd name="connsiteX283" fmla="*/ 600288 w 7467600"/>
              <a:gd name="connsiteY283" fmla="*/ 3365555 h 6858000"/>
              <a:gd name="connsiteX284" fmla="*/ 840692 w 7467600"/>
              <a:gd name="connsiteY284" fmla="*/ 3284921 h 6858000"/>
              <a:gd name="connsiteX285" fmla="*/ 979248 w 7467600"/>
              <a:gd name="connsiteY285" fmla="*/ 3221003 h 6858000"/>
              <a:gd name="connsiteX286" fmla="*/ 1053282 w 7467600"/>
              <a:gd name="connsiteY286" fmla="*/ 3185247 h 6858000"/>
              <a:gd name="connsiteX287" fmla="*/ 1320603 w 7467600"/>
              <a:gd name="connsiteY287" fmla="*/ 3081281 h 6858000"/>
              <a:gd name="connsiteX288" fmla="*/ 1238695 w 7467600"/>
              <a:gd name="connsiteY288" fmla="*/ 3076820 h 6858000"/>
              <a:gd name="connsiteX289" fmla="*/ 5425627 w 7467600"/>
              <a:gd name="connsiteY289" fmla="*/ 2954192 h 6858000"/>
              <a:gd name="connsiteX290" fmla="*/ 5470770 w 7467600"/>
              <a:gd name="connsiteY290" fmla="*/ 3005435 h 6858000"/>
              <a:gd name="connsiteX291" fmla="*/ 5519779 w 7467600"/>
              <a:gd name="connsiteY291" fmla="*/ 4359223 h 6858000"/>
              <a:gd name="connsiteX292" fmla="*/ 5520293 w 7467600"/>
              <a:gd name="connsiteY292" fmla="*/ 4360602 h 6858000"/>
              <a:gd name="connsiteX293" fmla="*/ 5767221 w 7467600"/>
              <a:gd name="connsiteY293" fmla="*/ 4665564 h 6858000"/>
              <a:gd name="connsiteX294" fmla="*/ 6937169 w 7467600"/>
              <a:gd name="connsiteY294" fmla="*/ 4815941 h 6858000"/>
              <a:gd name="connsiteX295" fmla="*/ 6953922 w 7467600"/>
              <a:gd name="connsiteY295" fmla="*/ 4890068 h 6858000"/>
              <a:gd name="connsiteX296" fmla="*/ 6071359 w 7467600"/>
              <a:gd name="connsiteY296" fmla="*/ 4770770 h 6858000"/>
              <a:gd name="connsiteX297" fmla="*/ 6038839 w 7467600"/>
              <a:gd name="connsiteY297" fmla="*/ 4764474 h 6858000"/>
              <a:gd name="connsiteX298" fmla="*/ 6038706 w 7467600"/>
              <a:gd name="connsiteY298" fmla="*/ 4763847 h 6858000"/>
              <a:gd name="connsiteX299" fmla="*/ 6037784 w 7467600"/>
              <a:gd name="connsiteY299" fmla="*/ 4764270 h 6858000"/>
              <a:gd name="connsiteX300" fmla="*/ 6038839 w 7467600"/>
              <a:gd name="connsiteY300" fmla="*/ 4764474 h 6858000"/>
              <a:gd name="connsiteX301" fmla="*/ 6040338 w 7467600"/>
              <a:gd name="connsiteY301" fmla="*/ 4771418 h 6858000"/>
              <a:gd name="connsiteX302" fmla="*/ 6024488 w 7467600"/>
              <a:gd name="connsiteY302" fmla="*/ 4809903 h 6858000"/>
              <a:gd name="connsiteX303" fmla="*/ 5599771 w 7467600"/>
              <a:gd name="connsiteY303" fmla="*/ 5509652 h 6858000"/>
              <a:gd name="connsiteX304" fmla="*/ 5548843 w 7467600"/>
              <a:gd name="connsiteY304" fmla="*/ 5563845 h 6858000"/>
              <a:gd name="connsiteX305" fmla="*/ 5940952 w 7467600"/>
              <a:gd name="connsiteY305" fmla="*/ 6250028 h 6858000"/>
              <a:gd name="connsiteX306" fmla="*/ 6043441 w 7467600"/>
              <a:gd name="connsiteY306" fmla="*/ 6665847 h 6858000"/>
              <a:gd name="connsiteX307" fmla="*/ 6093432 w 7467600"/>
              <a:gd name="connsiteY307" fmla="*/ 6858000 h 6858000"/>
              <a:gd name="connsiteX308" fmla="*/ 6034344 w 7467600"/>
              <a:gd name="connsiteY308" fmla="*/ 6858000 h 6858000"/>
              <a:gd name="connsiteX309" fmla="*/ 6026679 w 7467600"/>
              <a:gd name="connsiteY309" fmla="*/ 6836959 h 6858000"/>
              <a:gd name="connsiteX310" fmla="*/ 5800441 w 7467600"/>
              <a:gd name="connsiteY310" fmla="*/ 6335286 h 6858000"/>
              <a:gd name="connsiteX311" fmla="*/ 5526562 w 7467600"/>
              <a:gd name="connsiteY311" fmla="*/ 5705388 h 6858000"/>
              <a:gd name="connsiteX312" fmla="*/ 5519640 w 7467600"/>
              <a:gd name="connsiteY312" fmla="*/ 5683774 h 6858000"/>
              <a:gd name="connsiteX313" fmla="*/ 5844559 w 7467600"/>
              <a:gd name="connsiteY313" fmla="*/ 6553349 h 6858000"/>
              <a:gd name="connsiteX314" fmla="*/ 5975994 w 7467600"/>
              <a:gd name="connsiteY314" fmla="*/ 6858000 h 6858000"/>
              <a:gd name="connsiteX315" fmla="*/ 5898547 w 7467600"/>
              <a:gd name="connsiteY315" fmla="*/ 6858000 h 6858000"/>
              <a:gd name="connsiteX316" fmla="*/ 5682041 w 7467600"/>
              <a:gd name="connsiteY316" fmla="*/ 6355860 h 6858000"/>
              <a:gd name="connsiteX317" fmla="*/ 5461758 w 7467600"/>
              <a:gd name="connsiteY317" fmla="*/ 5820220 h 6858000"/>
              <a:gd name="connsiteX318" fmla="*/ 5237282 w 7467600"/>
              <a:gd name="connsiteY318" fmla="*/ 6579086 h 6858000"/>
              <a:gd name="connsiteX319" fmla="*/ 5115009 w 7467600"/>
              <a:gd name="connsiteY319" fmla="*/ 6858000 h 6858000"/>
              <a:gd name="connsiteX320" fmla="*/ 5028074 w 7467600"/>
              <a:gd name="connsiteY320" fmla="*/ 6858000 h 6858000"/>
              <a:gd name="connsiteX321" fmla="*/ 5079508 w 7467600"/>
              <a:gd name="connsiteY321" fmla="*/ 6749074 h 6858000"/>
              <a:gd name="connsiteX322" fmla="*/ 5371846 w 7467600"/>
              <a:gd name="connsiteY322" fmla="*/ 5924413 h 6858000"/>
              <a:gd name="connsiteX323" fmla="*/ 5270512 w 7467600"/>
              <a:gd name="connsiteY323" fmla="*/ 6138975 h 6858000"/>
              <a:gd name="connsiteX324" fmla="*/ 5062409 w 7467600"/>
              <a:gd name="connsiteY324" fmla="*/ 6653544 h 6858000"/>
              <a:gd name="connsiteX325" fmla="*/ 5036628 w 7467600"/>
              <a:gd name="connsiteY325" fmla="*/ 6754247 h 6858000"/>
              <a:gd name="connsiteX326" fmla="*/ 5009112 w 7467600"/>
              <a:gd name="connsiteY326" fmla="*/ 6858000 h 6858000"/>
              <a:gd name="connsiteX327" fmla="*/ 4976679 w 7467600"/>
              <a:gd name="connsiteY327" fmla="*/ 6858000 h 6858000"/>
              <a:gd name="connsiteX328" fmla="*/ 5006537 w 7467600"/>
              <a:gd name="connsiteY328" fmla="*/ 6747068 h 6858000"/>
              <a:gd name="connsiteX329" fmla="*/ 5032723 w 7467600"/>
              <a:gd name="connsiteY329" fmla="*/ 6644957 h 6858000"/>
              <a:gd name="connsiteX330" fmla="*/ 5242949 w 7467600"/>
              <a:gd name="connsiteY330" fmla="*/ 6125175 h 6858000"/>
              <a:gd name="connsiteX331" fmla="*/ 5286321 w 7467600"/>
              <a:gd name="connsiteY331" fmla="*/ 6033555 h 6858000"/>
              <a:gd name="connsiteX332" fmla="*/ 5008210 w 7467600"/>
              <a:gd name="connsiteY332" fmla="*/ 6649194 h 6858000"/>
              <a:gd name="connsiteX333" fmla="*/ 4986321 w 7467600"/>
              <a:gd name="connsiteY333" fmla="*/ 6765687 h 6858000"/>
              <a:gd name="connsiteX334" fmla="*/ 4973474 w 7467600"/>
              <a:gd name="connsiteY334" fmla="*/ 6858000 h 6858000"/>
              <a:gd name="connsiteX335" fmla="*/ 4907178 w 7467600"/>
              <a:gd name="connsiteY335" fmla="*/ 6858000 h 6858000"/>
              <a:gd name="connsiteX336" fmla="*/ 4910810 w 7467600"/>
              <a:gd name="connsiteY336" fmla="*/ 6829660 h 6858000"/>
              <a:gd name="connsiteX337" fmla="*/ 4987461 w 7467600"/>
              <a:gd name="connsiteY337" fmla="*/ 6432994 h 6858000"/>
              <a:gd name="connsiteX338" fmla="*/ 5179262 w 7467600"/>
              <a:gd name="connsiteY338" fmla="*/ 6035044 h 6858000"/>
              <a:gd name="connsiteX339" fmla="*/ 4689678 w 7467600"/>
              <a:gd name="connsiteY339" fmla="*/ 6440241 h 6858000"/>
              <a:gd name="connsiteX340" fmla="*/ 4477543 w 7467600"/>
              <a:gd name="connsiteY340" fmla="*/ 6674836 h 6858000"/>
              <a:gd name="connsiteX341" fmla="*/ 4329957 w 7467600"/>
              <a:gd name="connsiteY341" fmla="*/ 6858000 h 6858000"/>
              <a:gd name="connsiteX342" fmla="*/ 4218595 w 7467600"/>
              <a:gd name="connsiteY342" fmla="*/ 6858000 h 6858000"/>
              <a:gd name="connsiteX343" fmla="*/ 4368888 w 7467600"/>
              <a:gd name="connsiteY343" fmla="*/ 6668412 h 6858000"/>
              <a:gd name="connsiteX344" fmla="*/ 4563091 w 7467600"/>
              <a:gd name="connsiteY344" fmla="*/ 6442508 h 6858000"/>
              <a:gd name="connsiteX345" fmla="*/ 5387324 w 7467600"/>
              <a:gd name="connsiteY345" fmla="*/ 5705830 h 6858000"/>
              <a:gd name="connsiteX346" fmla="*/ 5073620 w 7467600"/>
              <a:gd name="connsiteY346" fmla="*/ 5955437 h 6858000"/>
              <a:gd name="connsiteX347" fmla="*/ 4689789 w 7467600"/>
              <a:gd name="connsiteY347" fmla="*/ 6268382 h 6858000"/>
              <a:gd name="connsiteX348" fmla="*/ 4418722 w 7467600"/>
              <a:gd name="connsiteY348" fmla="*/ 6570886 h 6858000"/>
              <a:gd name="connsiteX349" fmla="*/ 4214944 w 7467600"/>
              <a:gd name="connsiteY349" fmla="*/ 6858000 h 6858000"/>
              <a:gd name="connsiteX350" fmla="*/ 4177898 w 7467600"/>
              <a:gd name="connsiteY350" fmla="*/ 6858000 h 6858000"/>
              <a:gd name="connsiteX351" fmla="*/ 4391597 w 7467600"/>
              <a:gd name="connsiteY351" fmla="*/ 6556370 h 6858000"/>
              <a:gd name="connsiteX352" fmla="*/ 4668889 w 7467600"/>
              <a:gd name="connsiteY352" fmla="*/ 6246399 h 6858000"/>
              <a:gd name="connsiteX353" fmla="*/ 5055427 w 7467600"/>
              <a:gd name="connsiteY353" fmla="*/ 5931476 h 6858000"/>
              <a:gd name="connsiteX354" fmla="*/ 5371814 w 7467600"/>
              <a:gd name="connsiteY354" fmla="*/ 5678975 h 6858000"/>
              <a:gd name="connsiteX355" fmla="*/ 4987918 w 7467600"/>
              <a:gd name="connsiteY355" fmla="*/ 5838701 h 6858000"/>
              <a:gd name="connsiteX356" fmla="*/ 4317146 w 7467600"/>
              <a:gd name="connsiteY356" fmla="*/ 6587716 h 6858000"/>
              <a:gd name="connsiteX357" fmla="*/ 4171627 w 7467600"/>
              <a:gd name="connsiteY357" fmla="*/ 6858000 h 6858000"/>
              <a:gd name="connsiteX358" fmla="*/ 4081585 w 7467600"/>
              <a:gd name="connsiteY358" fmla="*/ 6858000 h 6858000"/>
              <a:gd name="connsiteX359" fmla="*/ 4238603 w 7467600"/>
              <a:gd name="connsiteY359" fmla="*/ 6559341 h 6858000"/>
              <a:gd name="connsiteX360" fmla="*/ 4778333 w 7467600"/>
              <a:gd name="connsiteY360" fmla="*/ 5873626 h 6858000"/>
              <a:gd name="connsiteX361" fmla="*/ 5414185 w 7467600"/>
              <a:gd name="connsiteY361" fmla="*/ 5573882 h 6858000"/>
              <a:gd name="connsiteX362" fmla="*/ 5959648 w 7467600"/>
              <a:gd name="connsiteY362" fmla="*/ 4760797 h 6858000"/>
              <a:gd name="connsiteX363" fmla="*/ 5355019 w 7467600"/>
              <a:gd name="connsiteY363" fmla="*/ 4734672 h 6858000"/>
              <a:gd name="connsiteX364" fmla="*/ 5083565 w 7467600"/>
              <a:gd name="connsiteY364" fmla="*/ 5179121 h 6858000"/>
              <a:gd name="connsiteX365" fmla="*/ 4713577 w 7467600"/>
              <a:gd name="connsiteY365" fmla="*/ 5616803 h 6858000"/>
              <a:gd name="connsiteX366" fmla="*/ 3989559 w 7467600"/>
              <a:gd name="connsiteY366" fmla="*/ 6145945 h 6858000"/>
              <a:gd name="connsiteX367" fmla="*/ 3939824 w 7467600"/>
              <a:gd name="connsiteY367" fmla="*/ 6066900 h 6858000"/>
              <a:gd name="connsiteX368" fmla="*/ 4584537 w 7467600"/>
              <a:gd name="connsiteY368" fmla="*/ 5324826 h 6858000"/>
              <a:gd name="connsiteX369" fmla="*/ 5037105 w 7467600"/>
              <a:gd name="connsiteY369" fmla="*/ 5088765 h 6858000"/>
              <a:gd name="connsiteX370" fmla="*/ 5039930 w 7467600"/>
              <a:gd name="connsiteY370" fmla="*/ 5089585 h 6858000"/>
              <a:gd name="connsiteX371" fmla="*/ 5263764 w 7467600"/>
              <a:gd name="connsiteY371" fmla="*/ 4735525 h 6858000"/>
              <a:gd name="connsiteX372" fmla="*/ 4086300 w 7467600"/>
              <a:gd name="connsiteY372" fmla="*/ 4884599 h 6858000"/>
              <a:gd name="connsiteX373" fmla="*/ 4085485 w 7467600"/>
              <a:gd name="connsiteY373" fmla="*/ 4899070 h 6858000"/>
              <a:gd name="connsiteX374" fmla="*/ 3871915 w 7467600"/>
              <a:gd name="connsiteY374" fmla="*/ 5253645 h 6858000"/>
              <a:gd name="connsiteX375" fmla="*/ 3799374 w 7467600"/>
              <a:gd name="connsiteY375" fmla="*/ 5466127 h 6858000"/>
              <a:gd name="connsiteX376" fmla="*/ 3498850 w 7467600"/>
              <a:gd name="connsiteY376" fmla="*/ 6661888 h 6858000"/>
              <a:gd name="connsiteX377" fmla="*/ 3399216 w 7467600"/>
              <a:gd name="connsiteY377" fmla="*/ 6858000 h 6858000"/>
              <a:gd name="connsiteX378" fmla="*/ 3303688 w 7467600"/>
              <a:gd name="connsiteY378" fmla="*/ 6858000 h 6858000"/>
              <a:gd name="connsiteX379" fmla="*/ 3391774 w 7467600"/>
              <a:gd name="connsiteY379" fmla="*/ 6697181 h 6858000"/>
              <a:gd name="connsiteX380" fmla="*/ 3735540 w 7467600"/>
              <a:gd name="connsiteY380" fmla="*/ 5546923 h 6858000"/>
              <a:gd name="connsiteX381" fmla="*/ 3729438 w 7467600"/>
              <a:gd name="connsiteY381" fmla="*/ 5569058 h 6858000"/>
              <a:gd name="connsiteX382" fmla="*/ 3707782 w 7467600"/>
              <a:gd name="connsiteY382" fmla="*/ 5644908 h 6858000"/>
              <a:gd name="connsiteX383" fmla="*/ 3583827 w 7467600"/>
              <a:gd name="connsiteY383" fmla="*/ 6039215 h 6858000"/>
              <a:gd name="connsiteX384" fmla="*/ 3547861 w 7467600"/>
              <a:gd name="connsiteY384" fmla="*/ 6129609 h 6858000"/>
              <a:gd name="connsiteX385" fmla="*/ 3490905 w 7467600"/>
              <a:gd name="connsiteY385" fmla="*/ 6277660 h 6858000"/>
              <a:gd name="connsiteX386" fmla="*/ 3455859 w 7467600"/>
              <a:gd name="connsiteY386" fmla="*/ 6391301 h 6858000"/>
              <a:gd name="connsiteX387" fmla="*/ 3429112 w 7467600"/>
              <a:gd name="connsiteY387" fmla="*/ 6479469 h 6858000"/>
              <a:gd name="connsiteX388" fmla="*/ 3304862 w 7467600"/>
              <a:gd name="connsiteY388" fmla="*/ 6796476 h 6858000"/>
              <a:gd name="connsiteX389" fmla="*/ 3276071 w 7467600"/>
              <a:gd name="connsiteY389" fmla="*/ 6858000 h 6858000"/>
              <a:gd name="connsiteX390" fmla="*/ 3240805 w 7467600"/>
              <a:gd name="connsiteY390" fmla="*/ 6858000 h 6858000"/>
              <a:gd name="connsiteX391" fmla="*/ 3275917 w 7467600"/>
              <a:gd name="connsiteY391" fmla="*/ 6783192 h 6858000"/>
              <a:gd name="connsiteX392" fmla="*/ 3399358 w 7467600"/>
              <a:gd name="connsiteY392" fmla="*/ 6469011 h 6858000"/>
              <a:gd name="connsiteX393" fmla="*/ 3425650 w 7467600"/>
              <a:gd name="connsiteY393" fmla="*/ 6381333 h 6858000"/>
              <a:gd name="connsiteX394" fmla="*/ 3460661 w 7467600"/>
              <a:gd name="connsiteY394" fmla="*/ 6266763 h 6858000"/>
              <a:gd name="connsiteX395" fmla="*/ 3518021 w 7467600"/>
              <a:gd name="connsiteY395" fmla="*/ 6117298 h 6858000"/>
              <a:gd name="connsiteX396" fmla="*/ 3554035 w 7467600"/>
              <a:gd name="connsiteY396" fmla="*/ 6027832 h 6858000"/>
              <a:gd name="connsiteX397" fmla="*/ 3677174 w 7467600"/>
              <a:gd name="connsiteY397" fmla="*/ 5636351 h 6858000"/>
              <a:gd name="connsiteX398" fmla="*/ 3698819 w 7467600"/>
              <a:gd name="connsiteY398" fmla="*/ 5560503 h 6858000"/>
              <a:gd name="connsiteX399" fmla="*/ 3702094 w 7467600"/>
              <a:gd name="connsiteY399" fmla="*/ 5549194 h 6858000"/>
              <a:gd name="connsiteX400" fmla="*/ 3398355 w 7467600"/>
              <a:gd name="connsiteY400" fmla="*/ 6094603 h 6858000"/>
              <a:gd name="connsiteX401" fmla="*/ 3193941 w 7467600"/>
              <a:gd name="connsiteY401" fmla="*/ 6798775 h 6858000"/>
              <a:gd name="connsiteX402" fmla="*/ 3184140 w 7467600"/>
              <a:gd name="connsiteY402" fmla="*/ 6858000 h 6858000"/>
              <a:gd name="connsiteX403" fmla="*/ 3099978 w 7467600"/>
              <a:gd name="connsiteY403" fmla="*/ 6858000 h 6858000"/>
              <a:gd name="connsiteX404" fmla="*/ 3101556 w 7467600"/>
              <a:gd name="connsiteY404" fmla="*/ 6843337 h 6858000"/>
              <a:gd name="connsiteX405" fmla="*/ 3370162 w 7467600"/>
              <a:gd name="connsiteY405" fmla="*/ 5785550 h 6858000"/>
              <a:gd name="connsiteX406" fmla="*/ 3746477 w 7467600"/>
              <a:gd name="connsiteY406" fmla="*/ 5377889 h 6858000"/>
              <a:gd name="connsiteX407" fmla="*/ 3863399 w 7467600"/>
              <a:gd name="connsiteY407" fmla="*/ 5087257 h 6858000"/>
              <a:gd name="connsiteX408" fmla="*/ 3968712 w 7467600"/>
              <a:gd name="connsiteY408" fmla="*/ 4913989 h 6858000"/>
              <a:gd name="connsiteX409" fmla="*/ 2792390 w 7467600"/>
              <a:gd name="connsiteY409" fmla="*/ 5382974 h 6858000"/>
              <a:gd name="connsiteX410" fmla="*/ 2714982 w 7467600"/>
              <a:gd name="connsiteY410" fmla="*/ 5427051 h 6858000"/>
              <a:gd name="connsiteX411" fmla="*/ 2813361 w 7467600"/>
              <a:gd name="connsiteY411" fmla="*/ 6023912 h 6858000"/>
              <a:gd name="connsiteX412" fmla="*/ 2688430 w 7467600"/>
              <a:gd name="connsiteY412" fmla="*/ 6801564 h 6858000"/>
              <a:gd name="connsiteX413" fmla="*/ 2629626 w 7467600"/>
              <a:gd name="connsiteY413" fmla="*/ 6763394 h 6858000"/>
              <a:gd name="connsiteX414" fmla="*/ 2565328 w 7467600"/>
              <a:gd name="connsiteY414" fmla="*/ 5516399 h 6858000"/>
              <a:gd name="connsiteX415" fmla="*/ 1922999 w 7467600"/>
              <a:gd name="connsiteY415" fmla="*/ 5980343 h 6858000"/>
              <a:gd name="connsiteX416" fmla="*/ 1950261 w 7467600"/>
              <a:gd name="connsiteY416" fmla="*/ 6405858 h 6858000"/>
              <a:gd name="connsiteX417" fmla="*/ 2365554 w 7467600"/>
              <a:gd name="connsiteY417" fmla="*/ 6759107 h 6858000"/>
              <a:gd name="connsiteX418" fmla="*/ 2424142 w 7467600"/>
              <a:gd name="connsiteY418" fmla="*/ 6858000 h 6858000"/>
              <a:gd name="connsiteX419" fmla="*/ 2395994 w 7467600"/>
              <a:gd name="connsiteY419" fmla="*/ 6858000 h 6858000"/>
              <a:gd name="connsiteX420" fmla="*/ 2392863 w 7467600"/>
              <a:gd name="connsiteY420" fmla="*/ 6852964 h 6858000"/>
              <a:gd name="connsiteX421" fmla="*/ 2017589 w 7467600"/>
              <a:gd name="connsiteY421" fmla="*/ 6493982 h 6858000"/>
              <a:gd name="connsiteX422" fmla="*/ 2147336 w 7467600"/>
              <a:gd name="connsiteY422" fmla="*/ 6594052 h 6858000"/>
              <a:gd name="connsiteX423" fmla="*/ 2207047 w 7467600"/>
              <a:gd name="connsiteY423" fmla="*/ 6654540 h 6858000"/>
              <a:gd name="connsiteX424" fmla="*/ 2299106 w 7467600"/>
              <a:gd name="connsiteY424" fmla="*/ 6778931 h 6858000"/>
              <a:gd name="connsiteX425" fmla="*/ 2314430 w 7467600"/>
              <a:gd name="connsiteY425" fmla="*/ 6801144 h 6858000"/>
              <a:gd name="connsiteX426" fmla="*/ 2352406 w 7467600"/>
              <a:gd name="connsiteY426" fmla="*/ 6858000 h 6858000"/>
              <a:gd name="connsiteX427" fmla="*/ 2314492 w 7467600"/>
              <a:gd name="connsiteY427" fmla="*/ 6858000 h 6858000"/>
              <a:gd name="connsiteX428" fmla="*/ 2288095 w 7467600"/>
              <a:gd name="connsiteY428" fmla="*/ 6818030 h 6858000"/>
              <a:gd name="connsiteX429" fmla="*/ 2272768 w 7467600"/>
              <a:gd name="connsiteY429" fmla="*/ 6795822 h 6858000"/>
              <a:gd name="connsiteX430" fmla="*/ 2182715 w 7467600"/>
              <a:gd name="connsiteY430" fmla="*/ 6675071 h 6858000"/>
              <a:gd name="connsiteX431" fmla="*/ 2032061 w 7467600"/>
              <a:gd name="connsiteY431" fmla="*/ 6541380 h 6858000"/>
              <a:gd name="connsiteX432" fmla="*/ 2257220 w 7467600"/>
              <a:gd name="connsiteY432" fmla="*/ 6826257 h 6858000"/>
              <a:gd name="connsiteX433" fmla="*/ 2281324 w 7467600"/>
              <a:gd name="connsiteY433" fmla="*/ 6858000 h 6858000"/>
              <a:gd name="connsiteX434" fmla="*/ 2242860 w 7467600"/>
              <a:gd name="connsiteY434" fmla="*/ 6858000 h 6858000"/>
              <a:gd name="connsiteX435" fmla="*/ 2232818 w 7467600"/>
              <a:gd name="connsiteY435" fmla="*/ 6844926 h 6858000"/>
              <a:gd name="connsiteX436" fmla="*/ 1990172 w 7467600"/>
              <a:gd name="connsiteY436" fmla="*/ 6542121 h 6858000"/>
              <a:gd name="connsiteX437" fmla="*/ 2124090 w 7467600"/>
              <a:gd name="connsiteY437" fmla="*/ 6761017 h 6858000"/>
              <a:gd name="connsiteX438" fmla="*/ 2200380 w 7467600"/>
              <a:gd name="connsiteY438" fmla="*/ 6858000 h 6858000"/>
              <a:gd name="connsiteX439" fmla="*/ 2147507 w 7467600"/>
              <a:gd name="connsiteY439" fmla="*/ 6858000 h 6858000"/>
              <a:gd name="connsiteX440" fmla="*/ 2070668 w 7467600"/>
              <a:gd name="connsiteY440" fmla="*/ 6761520 h 6858000"/>
              <a:gd name="connsiteX441" fmla="*/ 1975142 w 7467600"/>
              <a:gd name="connsiteY441" fmla="*/ 6585570 h 6858000"/>
              <a:gd name="connsiteX442" fmla="*/ 2050035 w 7467600"/>
              <a:gd name="connsiteY442" fmla="*/ 6813345 h 6858000"/>
              <a:gd name="connsiteX443" fmla="*/ 2063025 w 7467600"/>
              <a:gd name="connsiteY443" fmla="*/ 6858000 h 6858000"/>
              <a:gd name="connsiteX444" fmla="*/ 2021675 w 7467600"/>
              <a:gd name="connsiteY444" fmla="*/ 6858000 h 6858000"/>
              <a:gd name="connsiteX445" fmla="*/ 2019308 w 7467600"/>
              <a:gd name="connsiteY445" fmla="*/ 6847118 h 6858000"/>
              <a:gd name="connsiteX446" fmla="*/ 1938835 w 7467600"/>
              <a:gd name="connsiteY446" fmla="*/ 6551160 h 6858000"/>
              <a:gd name="connsiteX447" fmla="*/ 1953230 w 7467600"/>
              <a:gd name="connsiteY447" fmla="*/ 6759699 h 6858000"/>
              <a:gd name="connsiteX448" fmla="*/ 1956763 w 7467600"/>
              <a:gd name="connsiteY448" fmla="*/ 6778191 h 6858000"/>
              <a:gd name="connsiteX449" fmla="*/ 1967925 w 7467600"/>
              <a:gd name="connsiteY449" fmla="*/ 6858000 h 6858000"/>
              <a:gd name="connsiteX450" fmla="*/ 1936622 w 7467600"/>
              <a:gd name="connsiteY450" fmla="*/ 6858000 h 6858000"/>
              <a:gd name="connsiteX451" fmla="*/ 1926261 w 7467600"/>
              <a:gd name="connsiteY451" fmla="*/ 6784064 h 6858000"/>
              <a:gd name="connsiteX452" fmla="*/ 1922724 w 7467600"/>
              <a:gd name="connsiteY452" fmla="*/ 6765577 h 6858000"/>
              <a:gd name="connsiteX453" fmla="*/ 1904650 w 7467600"/>
              <a:gd name="connsiteY453" fmla="*/ 6639616 h 6858000"/>
              <a:gd name="connsiteX454" fmla="*/ 1885273 w 7467600"/>
              <a:gd name="connsiteY454" fmla="*/ 6858000 h 6858000"/>
              <a:gd name="connsiteX455" fmla="*/ 1854363 w 7467600"/>
              <a:gd name="connsiteY455" fmla="*/ 6858000 h 6858000"/>
              <a:gd name="connsiteX456" fmla="*/ 1880391 w 7467600"/>
              <a:gd name="connsiteY456" fmla="*/ 6603796 h 6858000"/>
              <a:gd name="connsiteX457" fmla="*/ 1818273 w 7467600"/>
              <a:gd name="connsiteY457" fmla="*/ 6715729 h 6858000"/>
              <a:gd name="connsiteX458" fmla="*/ 1794691 w 7467600"/>
              <a:gd name="connsiteY458" fmla="*/ 6843239 h 6858000"/>
              <a:gd name="connsiteX459" fmla="*/ 1794914 w 7467600"/>
              <a:gd name="connsiteY459" fmla="*/ 6858000 h 6858000"/>
              <a:gd name="connsiteX460" fmla="*/ 1746128 w 7467600"/>
              <a:gd name="connsiteY460" fmla="*/ 6858000 h 6858000"/>
              <a:gd name="connsiteX461" fmla="*/ 1753934 w 7467600"/>
              <a:gd name="connsiteY461" fmla="*/ 6724796 h 6858000"/>
              <a:gd name="connsiteX462" fmla="*/ 1792053 w 7467600"/>
              <a:gd name="connsiteY462" fmla="*/ 6572396 h 6858000"/>
              <a:gd name="connsiteX463" fmla="*/ 1862248 w 7467600"/>
              <a:gd name="connsiteY463" fmla="*/ 6266397 h 6858000"/>
              <a:gd name="connsiteX464" fmla="*/ 1862250 w 7467600"/>
              <a:gd name="connsiteY464" fmla="*/ 6033531 h 6858000"/>
              <a:gd name="connsiteX465" fmla="*/ 1211999 w 7467600"/>
              <a:gd name="connsiteY465" fmla="*/ 6683610 h 6858000"/>
              <a:gd name="connsiteX466" fmla="*/ 1213266 w 7467600"/>
              <a:gd name="connsiteY466" fmla="*/ 6691947 h 6858000"/>
              <a:gd name="connsiteX467" fmla="*/ 1203370 w 7467600"/>
              <a:gd name="connsiteY467" fmla="*/ 6850676 h 6858000"/>
              <a:gd name="connsiteX468" fmla="*/ 1203671 w 7467600"/>
              <a:gd name="connsiteY468" fmla="*/ 6858000 h 6858000"/>
              <a:gd name="connsiteX469" fmla="*/ 1143180 w 7467600"/>
              <a:gd name="connsiteY469" fmla="*/ 6858000 h 6858000"/>
              <a:gd name="connsiteX470" fmla="*/ 1142176 w 7467600"/>
              <a:gd name="connsiteY470" fmla="*/ 6766045 h 6858000"/>
              <a:gd name="connsiteX471" fmla="*/ 1067484 w 7467600"/>
              <a:gd name="connsiteY471" fmla="*/ 6858000 h 6858000"/>
              <a:gd name="connsiteX472" fmla="*/ 953928 w 7467600"/>
              <a:gd name="connsiteY472" fmla="*/ 6858000 h 6858000"/>
              <a:gd name="connsiteX473" fmla="*/ 959715 w 7467600"/>
              <a:gd name="connsiteY473" fmla="*/ 6850185 h 6858000"/>
              <a:gd name="connsiteX474" fmla="*/ 1483788 w 7467600"/>
              <a:gd name="connsiteY474" fmla="*/ 6259174 h 6858000"/>
              <a:gd name="connsiteX475" fmla="*/ 1100671 w 7467600"/>
              <a:gd name="connsiteY475" fmla="*/ 6252137 h 6858000"/>
              <a:gd name="connsiteX476" fmla="*/ 1090144 w 7467600"/>
              <a:gd name="connsiteY476" fmla="*/ 6256748 h 6858000"/>
              <a:gd name="connsiteX477" fmla="*/ 1095872 w 7467600"/>
              <a:gd name="connsiteY477" fmla="*/ 6271892 h 6858000"/>
              <a:gd name="connsiteX478" fmla="*/ 262785 w 7467600"/>
              <a:gd name="connsiteY478" fmla="*/ 6845450 h 6858000"/>
              <a:gd name="connsiteX479" fmla="*/ 209968 w 7467600"/>
              <a:gd name="connsiteY479" fmla="*/ 6770713 h 6858000"/>
              <a:gd name="connsiteX480" fmla="*/ 873460 w 7467600"/>
              <a:gd name="connsiteY480" fmla="*/ 6253768 h 6858000"/>
              <a:gd name="connsiteX481" fmla="*/ 192686 w 7467600"/>
              <a:gd name="connsiteY481" fmla="*/ 5849257 h 6858000"/>
              <a:gd name="connsiteX482" fmla="*/ 4696 w 7467600"/>
              <a:gd name="connsiteY482" fmla="*/ 5697668 h 6858000"/>
              <a:gd name="connsiteX483" fmla="*/ 0 w 7467600"/>
              <a:gd name="connsiteY483" fmla="*/ 5689984 h 6858000"/>
              <a:gd name="connsiteX484" fmla="*/ 0 w 7467600"/>
              <a:gd name="connsiteY484" fmla="*/ 5513472 h 6858000"/>
              <a:gd name="connsiteX485" fmla="*/ 174101 w 7467600"/>
              <a:gd name="connsiteY485" fmla="*/ 5620277 h 6858000"/>
              <a:gd name="connsiteX486" fmla="*/ 891800 w 7467600"/>
              <a:gd name="connsiteY486" fmla="*/ 6036935 h 6858000"/>
              <a:gd name="connsiteX487" fmla="*/ 1072219 w 7467600"/>
              <a:gd name="connsiteY487" fmla="*/ 6169443 h 6858000"/>
              <a:gd name="connsiteX488" fmla="*/ 1074117 w 7467600"/>
              <a:gd name="connsiteY488" fmla="*/ 6170301 h 6858000"/>
              <a:gd name="connsiteX489" fmla="*/ 1083114 w 7467600"/>
              <a:gd name="connsiteY489" fmla="*/ 6174131 h 6858000"/>
              <a:gd name="connsiteX490" fmla="*/ 1543010 w 7467600"/>
              <a:gd name="connsiteY490" fmla="*/ 6191140 h 6858000"/>
              <a:gd name="connsiteX491" fmla="*/ 1551080 w 7467600"/>
              <a:gd name="connsiteY491" fmla="*/ 6195006 h 6858000"/>
              <a:gd name="connsiteX492" fmla="*/ 2345443 w 7467600"/>
              <a:gd name="connsiteY492" fmla="*/ 5549882 h 6858000"/>
              <a:gd name="connsiteX493" fmla="*/ 1721499 w 7467600"/>
              <a:gd name="connsiteY493" fmla="*/ 5599969 h 6858000"/>
              <a:gd name="connsiteX494" fmla="*/ 767716 w 7467600"/>
              <a:gd name="connsiteY494" fmla="*/ 5472768 h 6858000"/>
              <a:gd name="connsiteX495" fmla="*/ 722147 w 7467600"/>
              <a:gd name="connsiteY495" fmla="*/ 5393091 h 6858000"/>
              <a:gd name="connsiteX496" fmla="*/ 1485552 w 7467600"/>
              <a:gd name="connsiteY496" fmla="*/ 5313202 h 6858000"/>
              <a:gd name="connsiteX497" fmla="*/ 2143004 w 7467600"/>
              <a:gd name="connsiteY497" fmla="*/ 5402420 h 6858000"/>
              <a:gd name="connsiteX498" fmla="*/ 1933391 w 7467600"/>
              <a:gd name="connsiteY498" fmla="*/ 5156971 h 6858000"/>
              <a:gd name="connsiteX499" fmla="*/ 1827118 w 7467600"/>
              <a:gd name="connsiteY499" fmla="*/ 4968410 h 6858000"/>
              <a:gd name="connsiteX500" fmla="*/ 1837349 w 7467600"/>
              <a:gd name="connsiteY500" fmla="*/ 4956357 h 6858000"/>
              <a:gd name="connsiteX501" fmla="*/ 2162835 w 7467600"/>
              <a:gd name="connsiteY501" fmla="*/ 5187853 h 6858000"/>
              <a:gd name="connsiteX502" fmla="*/ 2257167 w 7467600"/>
              <a:gd name="connsiteY502" fmla="*/ 5462123 h 6858000"/>
              <a:gd name="connsiteX503" fmla="*/ 2261598 w 7467600"/>
              <a:gd name="connsiteY503" fmla="*/ 5467998 h 6858000"/>
              <a:gd name="connsiteX504" fmla="*/ 2437177 w 7467600"/>
              <a:gd name="connsiteY504" fmla="*/ 5479608 h 6858000"/>
              <a:gd name="connsiteX505" fmla="*/ 2445247 w 7467600"/>
              <a:gd name="connsiteY505" fmla="*/ 5483476 h 6858000"/>
              <a:gd name="connsiteX506" fmla="*/ 2743626 w 7467600"/>
              <a:gd name="connsiteY506" fmla="*/ 5304819 h 6858000"/>
              <a:gd name="connsiteX507" fmla="*/ 3048102 w 7467600"/>
              <a:gd name="connsiteY507" fmla="*/ 5150595 h 6858000"/>
              <a:gd name="connsiteX508" fmla="*/ 1799414 w 7467600"/>
              <a:gd name="connsiteY508" fmla="*/ 4694732 h 6858000"/>
              <a:gd name="connsiteX509" fmla="*/ 1771735 w 7467600"/>
              <a:gd name="connsiteY509" fmla="*/ 4619929 h 6858000"/>
              <a:gd name="connsiteX510" fmla="*/ 3104273 w 7467600"/>
              <a:gd name="connsiteY510" fmla="*/ 5076159 h 6858000"/>
              <a:gd name="connsiteX511" fmla="*/ 3113245 w 7467600"/>
              <a:gd name="connsiteY511" fmla="*/ 5090705 h 6858000"/>
              <a:gd name="connsiteX512" fmla="*/ 3126294 w 7467600"/>
              <a:gd name="connsiteY512" fmla="*/ 5114400 h 6858000"/>
              <a:gd name="connsiteX513" fmla="*/ 3937433 w 7467600"/>
              <a:gd name="connsiteY513" fmla="*/ 4830473 h 6858000"/>
              <a:gd name="connsiteX514" fmla="*/ 3590475 w 7467600"/>
              <a:gd name="connsiteY514" fmla="*/ 4597974 h 6858000"/>
              <a:gd name="connsiteX515" fmla="*/ 3100264 w 7467600"/>
              <a:gd name="connsiteY515" fmla="*/ 4579845 h 6858000"/>
              <a:gd name="connsiteX516" fmla="*/ 2183576 w 7467600"/>
              <a:gd name="connsiteY516" fmla="*/ 4227150 h 6858000"/>
              <a:gd name="connsiteX517" fmla="*/ 2151029 w 7467600"/>
              <a:gd name="connsiteY517" fmla="*/ 4146947 h 6858000"/>
              <a:gd name="connsiteX518" fmla="*/ 3563434 w 7467600"/>
              <a:gd name="connsiteY518" fmla="*/ 4469115 h 6858000"/>
              <a:gd name="connsiteX519" fmla="*/ 3177952 w 7467600"/>
              <a:gd name="connsiteY519" fmla="*/ 3657386 h 6858000"/>
              <a:gd name="connsiteX520" fmla="*/ 3189263 w 7467600"/>
              <a:gd name="connsiteY520" fmla="*/ 3625726 h 6858000"/>
              <a:gd name="connsiteX521" fmla="*/ 3560912 w 7467600"/>
              <a:gd name="connsiteY521" fmla="*/ 4079863 h 6858000"/>
              <a:gd name="connsiteX522" fmla="*/ 3626636 w 7467600"/>
              <a:gd name="connsiteY522" fmla="*/ 4512230 h 6858000"/>
              <a:gd name="connsiteX523" fmla="*/ 3653088 w 7467600"/>
              <a:gd name="connsiteY523" fmla="*/ 4521417 h 6858000"/>
              <a:gd name="connsiteX524" fmla="*/ 3988128 w 7467600"/>
              <a:gd name="connsiteY524" fmla="*/ 4817267 h 6858000"/>
              <a:gd name="connsiteX525" fmla="*/ 4830582 w 7467600"/>
              <a:gd name="connsiteY525" fmla="*/ 4676000 h 6858000"/>
              <a:gd name="connsiteX526" fmla="*/ 4830100 w 7467600"/>
              <a:gd name="connsiteY526" fmla="*/ 4675554 h 6858000"/>
              <a:gd name="connsiteX527" fmla="*/ 4036318 w 7467600"/>
              <a:gd name="connsiteY527" fmla="*/ 4147013 h 6858000"/>
              <a:gd name="connsiteX528" fmla="*/ 3432098 w 7467600"/>
              <a:gd name="connsiteY528" fmla="*/ 3537312 h 6858000"/>
              <a:gd name="connsiteX529" fmla="*/ 3446761 w 7467600"/>
              <a:gd name="connsiteY529" fmla="*/ 3461278 h 6858000"/>
              <a:gd name="connsiteX530" fmla="*/ 4419733 w 7467600"/>
              <a:gd name="connsiteY530" fmla="*/ 3963555 h 6858000"/>
              <a:gd name="connsiteX531" fmla="*/ 4781371 w 7467600"/>
              <a:gd name="connsiteY531" fmla="*/ 4458604 h 6858000"/>
              <a:gd name="connsiteX532" fmla="*/ 4780440 w 7467600"/>
              <a:gd name="connsiteY532" fmla="*/ 4470290 h 6858000"/>
              <a:gd name="connsiteX533" fmla="*/ 4898954 w 7467600"/>
              <a:gd name="connsiteY533" fmla="*/ 4662092 h 6858000"/>
              <a:gd name="connsiteX534" fmla="*/ 4900699 w 7467600"/>
              <a:gd name="connsiteY534" fmla="*/ 4670867 h 6858000"/>
              <a:gd name="connsiteX535" fmla="*/ 5714511 w 7467600"/>
              <a:gd name="connsiteY535" fmla="*/ 4663483 h 6858000"/>
              <a:gd name="connsiteX536" fmla="*/ 5464793 w 7467600"/>
              <a:gd name="connsiteY536" fmla="*/ 4393556 h 6858000"/>
              <a:gd name="connsiteX537" fmla="*/ 5461897 w 7467600"/>
              <a:gd name="connsiteY537" fmla="*/ 4390879 h 6858000"/>
              <a:gd name="connsiteX538" fmla="*/ 4294126 w 7467600"/>
              <a:gd name="connsiteY538" fmla="*/ 3303048 h 6858000"/>
              <a:gd name="connsiteX539" fmla="*/ 4305321 w 7467600"/>
              <a:gd name="connsiteY539" fmla="*/ 3256953 h 6858000"/>
              <a:gd name="connsiteX540" fmla="*/ 4949299 w 7467600"/>
              <a:gd name="connsiteY540" fmla="*/ 3766336 h 6858000"/>
              <a:gd name="connsiteX541" fmla="*/ 5291452 w 7467600"/>
              <a:gd name="connsiteY541" fmla="*/ 4076801 h 6858000"/>
              <a:gd name="connsiteX542" fmla="*/ 5434998 w 7467600"/>
              <a:gd name="connsiteY542" fmla="*/ 4254100 h 6858000"/>
              <a:gd name="connsiteX543" fmla="*/ 5351015 w 7467600"/>
              <a:gd name="connsiteY543" fmla="*/ 3760989 h 6858000"/>
              <a:gd name="connsiteX544" fmla="*/ 5413780 w 7467600"/>
              <a:gd name="connsiteY544" fmla="*/ 2966265 h 6858000"/>
              <a:gd name="connsiteX545" fmla="*/ 5425627 w 7467600"/>
              <a:gd name="connsiteY545" fmla="*/ 2954192 h 6858000"/>
              <a:gd name="connsiteX546" fmla="*/ 6604735 w 7467600"/>
              <a:gd name="connsiteY546" fmla="*/ 2041381 h 6858000"/>
              <a:gd name="connsiteX547" fmla="*/ 7204487 w 7467600"/>
              <a:gd name="connsiteY547" fmla="*/ 2742112 h 6858000"/>
              <a:gd name="connsiteX548" fmla="*/ 7131592 w 7467600"/>
              <a:gd name="connsiteY548" fmla="*/ 2672096 h 6858000"/>
              <a:gd name="connsiteX549" fmla="*/ 6996344 w 7467600"/>
              <a:gd name="connsiteY549" fmla="*/ 2518310 h 6858000"/>
              <a:gd name="connsiteX550" fmla="*/ 6735495 w 7467600"/>
              <a:gd name="connsiteY550" fmla="*/ 2196890 h 6858000"/>
              <a:gd name="connsiteX551" fmla="*/ 6721901 w 7467600"/>
              <a:gd name="connsiteY551" fmla="*/ 2179274 h 6858000"/>
              <a:gd name="connsiteX552" fmla="*/ 6604735 w 7467600"/>
              <a:gd name="connsiteY552" fmla="*/ 2041381 h 6858000"/>
              <a:gd name="connsiteX553" fmla="*/ 6591670 w 7467600"/>
              <a:gd name="connsiteY553" fmla="*/ 1988277 h 6858000"/>
              <a:gd name="connsiteX554" fmla="*/ 6747349 w 7467600"/>
              <a:gd name="connsiteY554" fmla="*/ 2160069 h 6858000"/>
              <a:gd name="connsiteX555" fmla="*/ 6760943 w 7467600"/>
              <a:gd name="connsiteY555" fmla="*/ 2177686 h 6858000"/>
              <a:gd name="connsiteX556" fmla="*/ 7021065 w 7467600"/>
              <a:gd name="connsiteY556" fmla="*/ 2498102 h 6858000"/>
              <a:gd name="connsiteX557" fmla="*/ 7155223 w 7467600"/>
              <a:gd name="connsiteY557" fmla="*/ 2650386 h 6858000"/>
              <a:gd name="connsiteX558" fmla="*/ 7203167 w 7467600"/>
              <a:gd name="connsiteY558" fmla="*/ 2697288 h 6858000"/>
              <a:gd name="connsiteX559" fmla="*/ 6937703 w 7467600"/>
              <a:gd name="connsiteY559" fmla="*/ 2321981 h 6858000"/>
              <a:gd name="connsiteX560" fmla="*/ 6591670 w 7467600"/>
              <a:gd name="connsiteY560" fmla="*/ 1988277 h 6858000"/>
              <a:gd name="connsiteX561" fmla="*/ 5798671 w 7467600"/>
              <a:gd name="connsiteY561" fmla="*/ 1981601 h 6858000"/>
              <a:gd name="connsiteX562" fmla="*/ 5754709 w 7467600"/>
              <a:gd name="connsiteY562" fmla="*/ 2071454 h 6858000"/>
              <a:gd name="connsiteX563" fmla="*/ 5763044 w 7467600"/>
              <a:gd name="connsiteY563" fmla="*/ 2842206 h 6858000"/>
              <a:gd name="connsiteX564" fmla="*/ 5764974 w 7467600"/>
              <a:gd name="connsiteY564" fmla="*/ 2799609 h 6858000"/>
              <a:gd name="connsiteX565" fmla="*/ 5767665 w 7467600"/>
              <a:gd name="connsiteY565" fmla="*/ 2666409 h 6858000"/>
              <a:gd name="connsiteX566" fmla="*/ 5763055 w 7467600"/>
              <a:gd name="connsiteY566" fmla="*/ 2579705 h 6858000"/>
              <a:gd name="connsiteX567" fmla="*/ 5758079 w 7467600"/>
              <a:gd name="connsiteY567" fmla="*/ 2492508 h 6858000"/>
              <a:gd name="connsiteX568" fmla="*/ 5779325 w 7467600"/>
              <a:gd name="connsiteY568" fmla="*/ 2197069 h 6858000"/>
              <a:gd name="connsiteX569" fmla="*/ 5798671 w 7467600"/>
              <a:gd name="connsiteY569" fmla="*/ 1981601 h 6858000"/>
              <a:gd name="connsiteX570" fmla="*/ 5829202 w 7467600"/>
              <a:gd name="connsiteY570" fmla="*/ 1971679 h 6858000"/>
              <a:gd name="connsiteX571" fmla="*/ 5809558 w 7467600"/>
              <a:gd name="connsiteY571" fmla="*/ 2198043 h 6858000"/>
              <a:gd name="connsiteX572" fmla="*/ 5788653 w 7467600"/>
              <a:gd name="connsiteY572" fmla="*/ 2489430 h 6858000"/>
              <a:gd name="connsiteX573" fmla="*/ 5793439 w 7467600"/>
              <a:gd name="connsiteY573" fmla="*/ 2575235 h 6858000"/>
              <a:gd name="connsiteX574" fmla="*/ 5796837 w 7467600"/>
              <a:gd name="connsiteY574" fmla="*/ 2637633 h 6858000"/>
              <a:gd name="connsiteX575" fmla="*/ 5818614 w 7467600"/>
              <a:gd name="connsiteY575" fmla="*/ 2473055 h 6858000"/>
              <a:gd name="connsiteX576" fmla="*/ 5829202 w 7467600"/>
              <a:gd name="connsiteY576" fmla="*/ 1971679 h 6858000"/>
              <a:gd name="connsiteX577" fmla="*/ 5911389 w 7467600"/>
              <a:gd name="connsiteY577" fmla="*/ 1898371 h 6858000"/>
              <a:gd name="connsiteX578" fmla="*/ 6237627 w 7467600"/>
              <a:gd name="connsiteY578" fmla="*/ 2231921 h 6858000"/>
              <a:gd name="connsiteX579" fmla="*/ 5911389 w 7467600"/>
              <a:gd name="connsiteY579" fmla="*/ 1898371 h 6858000"/>
              <a:gd name="connsiteX580" fmla="*/ 6944437 w 7467600"/>
              <a:gd name="connsiteY580" fmla="*/ 1575402 h 6858000"/>
              <a:gd name="connsiteX581" fmla="*/ 6304730 w 7467600"/>
              <a:gd name="connsiteY581" fmla="*/ 1766654 h 6858000"/>
              <a:gd name="connsiteX582" fmla="*/ 6944437 w 7467600"/>
              <a:gd name="connsiteY582" fmla="*/ 1575402 h 6858000"/>
              <a:gd name="connsiteX583" fmla="*/ 7019523 w 7467600"/>
              <a:gd name="connsiteY583" fmla="*/ 1519450 h 6858000"/>
              <a:gd name="connsiteX584" fmla="*/ 6298091 w 7467600"/>
              <a:gd name="connsiteY584" fmla="*/ 1737122 h 6858000"/>
              <a:gd name="connsiteX585" fmla="*/ 7019523 w 7467600"/>
              <a:gd name="connsiteY585" fmla="*/ 1519450 h 6858000"/>
              <a:gd name="connsiteX586" fmla="*/ 2399523 w 7467600"/>
              <a:gd name="connsiteY586" fmla="*/ 1428234 h 6858000"/>
              <a:gd name="connsiteX587" fmla="*/ 2224982 w 7467600"/>
              <a:gd name="connsiteY587" fmla="*/ 1826201 h 6858000"/>
              <a:gd name="connsiteX588" fmla="*/ 2096099 w 7467600"/>
              <a:gd name="connsiteY588" fmla="*/ 2345900 h 6858000"/>
              <a:gd name="connsiteX589" fmla="*/ 2283317 w 7467600"/>
              <a:gd name="connsiteY589" fmla="*/ 1796925 h 6858000"/>
              <a:gd name="connsiteX590" fmla="*/ 2399523 w 7467600"/>
              <a:gd name="connsiteY590" fmla="*/ 1428234 h 6858000"/>
              <a:gd name="connsiteX591" fmla="*/ 2448558 w 7467600"/>
              <a:gd name="connsiteY591" fmla="*/ 1373435 h 6858000"/>
              <a:gd name="connsiteX592" fmla="*/ 2312521 w 7467600"/>
              <a:gd name="connsiteY592" fmla="*/ 1806140 h 6858000"/>
              <a:gd name="connsiteX593" fmla="*/ 2127533 w 7467600"/>
              <a:gd name="connsiteY593" fmla="*/ 2348380 h 6858000"/>
              <a:gd name="connsiteX594" fmla="*/ 2358080 w 7467600"/>
              <a:gd name="connsiteY594" fmla="*/ 1866134 h 6858000"/>
              <a:gd name="connsiteX595" fmla="*/ 2407436 w 7467600"/>
              <a:gd name="connsiteY595" fmla="*/ 1651070 h 6858000"/>
              <a:gd name="connsiteX596" fmla="*/ 2448558 w 7467600"/>
              <a:gd name="connsiteY596" fmla="*/ 1373435 h 6858000"/>
              <a:gd name="connsiteX597" fmla="*/ 278707 w 7467600"/>
              <a:gd name="connsiteY597" fmla="*/ 1352270 h 6858000"/>
              <a:gd name="connsiteX598" fmla="*/ 321570 w 7467600"/>
              <a:gd name="connsiteY598" fmla="*/ 1861610 h 6858000"/>
              <a:gd name="connsiteX599" fmla="*/ 294281 w 7467600"/>
              <a:gd name="connsiteY599" fmla="*/ 1440658 h 6858000"/>
              <a:gd name="connsiteX600" fmla="*/ 278707 w 7467600"/>
              <a:gd name="connsiteY600" fmla="*/ 1352270 h 6858000"/>
              <a:gd name="connsiteX601" fmla="*/ 1423821 w 7467600"/>
              <a:gd name="connsiteY601" fmla="*/ 1351958 h 6858000"/>
              <a:gd name="connsiteX602" fmla="*/ 1638521 w 7467600"/>
              <a:gd name="connsiteY602" fmla="*/ 1908470 h 6858000"/>
              <a:gd name="connsiteX603" fmla="*/ 1754199 w 7467600"/>
              <a:gd name="connsiteY603" fmla="*/ 2149284 h 6858000"/>
              <a:gd name="connsiteX604" fmla="*/ 1908359 w 7467600"/>
              <a:gd name="connsiteY604" fmla="*/ 2364988 h 6858000"/>
              <a:gd name="connsiteX605" fmla="*/ 1647661 w 7467600"/>
              <a:gd name="connsiteY605" fmla="*/ 1825945 h 6858000"/>
              <a:gd name="connsiteX606" fmla="*/ 1423821 w 7467600"/>
              <a:gd name="connsiteY606" fmla="*/ 1351958 h 6858000"/>
              <a:gd name="connsiteX607" fmla="*/ 1431890 w 7467600"/>
              <a:gd name="connsiteY607" fmla="*/ 1306475 h 6858000"/>
              <a:gd name="connsiteX608" fmla="*/ 1507597 w 7467600"/>
              <a:gd name="connsiteY608" fmla="*/ 1446132 h 6858000"/>
              <a:gd name="connsiteX609" fmla="*/ 1674586 w 7467600"/>
              <a:gd name="connsiteY609" fmla="*/ 1813832 h 6858000"/>
              <a:gd name="connsiteX610" fmla="*/ 1815950 w 7467600"/>
              <a:gd name="connsiteY610" fmla="*/ 2128564 h 6858000"/>
              <a:gd name="connsiteX611" fmla="*/ 1984242 w 7467600"/>
              <a:gd name="connsiteY611" fmla="*/ 2430829 h 6858000"/>
              <a:gd name="connsiteX612" fmla="*/ 2014023 w 7467600"/>
              <a:gd name="connsiteY612" fmla="*/ 2450995 h 6858000"/>
              <a:gd name="connsiteX613" fmla="*/ 1747337 w 7467600"/>
              <a:gd name="connsiteY613" fmla="*/ 1855264 h 6858000"/>
              <a:gd name="connsiteX614" fmla="*/ 1533749 w 7467600"/>
              <a:gd name="connsiteY614" fmla="*/ 1478656 h 6858000"/>
              <a:gd name="connsiteX615" fmla="*/ 1431890 w 7467600"/>
              <a:gd name="connsiteY615" fmla="*/ 1306475 h 6858000"/>
              <a:gd name="connsiteX616" fmla="*/ 5052692 w 7467600"/>
              <a:gd name="connsiteY616" fmla="*/ 1292994 h 6858000"/>
              <a:gd name="connsiteX617" fmla="*/ 5200661 w 7467600"/>
              <a:gd name="connsiteY617" fmla="*/ 1635186 h 6858000"/>
              <a:gd name="connsiteX618" fmla="*/ 5297138 w 7467600"/>
              <a:gd name="connsiteY618" fmla="*/ 1906351 h 6858000"/>
              <a:gd name="connsiteX619" fmla="*/ 5052692 w 7467600"/>
              <a:gd name="connsiteY619" fmla="*/ 1292994 h 6858000"/>
              <a:gd name="connsiteX620" fmla="*/ 5009948 w 7467600"/>
              <a:gd name="connsiteY620" fmla="*/ 1273619 h 6858000"/>
              <a:gd name="connsiteX621" fmla="*/ 5121777 w 7467600"/>
              <a:gd name="connsiteY621" fmla="*/ 1654213 h 6858000"/>
              <a:gd name="connsiteX622" fmla="*/ 5293545 w 7467600"/>
              <a:gd name="connsiteY622" fmla="*/ 2072247 h 6858000"/>
              <a:gd name="connsiteX623" fmla="*/ 5294042 w 7467600"/>
              <a:gd name="connsiteY623" fmla="*/ 2065019 h 6858000"/>
              <a:gd name="connsiteX624" fmla="*/ 5171936 w 7467600"/>
              <a:gd name="connsiteY624" fmla="*/ 1647613 h 6858000"/>
              <a:gd name="connsiteX625" fmla="*/ 5009948 w 7467600"/>
              <a:gd name="connsiteY625" fmla="*/ 1273619 h 6858000"/>
              <a:gd name="connsiteX626" fmla="*/ 655236 w 7467600"/>
              <a:gd name="connsiteY626" fmla="*/ 1268632 h 6858000"/>
              <a:gd name="connsiteX627" fmla="*/ 839521 w 7467600"/>
              <a:gd name="connsiteY627" fmla="*/ 1685315 h 6858000"/>
              <a:gd name="connsiteX628" fmla="*/ 1109416 w 7467600"/>
              <a:gd name="connsiteY628" fmla="*/ 2061663 h 6858000"/>
              <a:gd name="connsiteX629" fmla="*/ 1298300 w 7467600"/>
              <a:gd name="connsiteY629" fmla="*/ 2247742 h 6858000"/>
              <a:gd name="connsiteX630" fmla="*/ 1125871 w 7467600"/>
              <a:gd name="connsiteY630" fmla="*/ 1989513 h 6858000"/>
              <a:gd name="connsiteX631" fmla="*/ 981574 w 7467600"/>
              <a:gd name="connsiteY631" fmla="*/ 1783157 h 6858000"/>
              <a:gd name="connsiteX632" fmla="*/ 922198 w 7467600"/>
              <a:gd name="connsiteY632" fmla="*/ 1677437 h 6858000"/>
              <a:gd name="connsiteX633" fmla="*/ 869293 w 7467600"/>
              <a:gd name="connsiteY633" fmla="*/ 1583214 h 6858000"/>
              <a:gd name="connsiteX634" fmla="*/ 751431 w 7467600"/>
              <a:gd name="connsiteY634" fmla="*/ 1405731 h 6858000"/>
              <a:gd name="connsiteX635" fmla="*/ 655236 w 7467600"/>
              <a:gd name="connsiteY635" fmla="*/ 1268632 h 6858000"/>
              <a:gd name="connsiteX636" fmla="*/ 6516292 w 7467600"/>
              <a:gd name="connsiteY636" fmla="*/ 1263064 h 6858000"/>
              <a:gd name="connsiteX637" fmla="*/ 5736320 w 7467600"/>
              <a:gd name="connsiteY637" fmla="*/ 1501803 h 6858000"/>
              <a:gd name="connsiteX638" fmla="*/ 6516292 w 7467600"/>
              <a:gd name="connsiteY638" fmla="*/ 1263064 h 6858000"/>
              <a:gd name="connsiteX639" fmla="*/ 291466 w 7467600"/>
              <a:gd name="connsiteY639" fmla="*/ 1250369 h 6858000"/>
              <a:gd name="connsiteX640" fmla="*/ 323180 w 7467600"/>
              <a:gd name="connsiteY640" fmla="*/ 1435283 h 6858000"/>
              <a:gd name="connsiteX641" fmla="*/ 349381 w 7467600"/>
              <a:gd name="connsiteY641" fmla="*/ 1875041 h 6858000"/>
              <a:gd name="connsiteX642" fmla="*/ 374363 w 7467600"/>
              <a:gd name="connsiteY642" fmla="*/ 1506494 h 6858000"/>
              <a:gd name="connsiteX643" fmla="*/ 302168 w 7467600"/>
              <a:gd name="connsiteY643" fmla="*/ 1274495 h 6858000"/>
              <a:gd name="connsiteX644" fmla="*/ 291466 w 7467600"/>
              <a:gd name="connsiteY644" fmla="*/ 1250369 h 6858000"/>
              <a:gd name="connsiteX645" fmla="*/ 678222 w 7467600"/>
              <a:gd name="connsiteY645" fmla="*/ 1248670 h 6858000"/>
              <a:gd name="connsiteX646" fmla="*/ 775536 w 7467600"/>
              <a:gd name="connsiteY646" fmla="*/ 1388015 h 6858000"/>
              <a:gd name="connsiteX647" fmla="*/ 894529 w 7467600"/>
              <a:gd name="connsiteY647" fmla="*/ 1567739 h 6858000"/>
              <a:gd name="connsiteX648" fmla="*/ 948000 w 7467600"/>
              <a:gd name="connsiteY648" fmla="*/ 1663088 h 6858000"/>
              <a:gd name="connsiteX649" fmla="*/ 1006812 w 7467600"/>
              <a:gd name="connsiteY649" fmla="*/ 1767683 h 6858000"/>
              <a:gd name="connsiteX650" fmla="*/ 1149133 w 7467600"/>
              <a:gd name="connsiteY650" fmla="*/ 1971513 h 6858000"/>
              <a:gd name="connsiteX651" fmla="*/ 1333952 w 7467600"/>
              <a:gd name="connsiteY651" fmla="*/ 2251620 h 6858000"/>
              <a:gd name="connsiteX652" fmla="*/ 1337329 w 7467600"/>
              <a:gd name="connsiteY652" fmla="*/ 2258350 h 6858000"/>
              <a:gd name="connsiteX653" fmla="*/ 1014726 w 7467600"/>
              <a:gd name="connsiteY653" fmla="*/ 1615556 h 6858000"/>
              <a:gd name="connsiteX654" fmla="*/ 678222 w 7467600"/>
              <a:gd name="connsiteY654" fmla="*/ 1248670 h 6858000"/>
              <a:gd name="connsiteX655" fmla="*/ 6691602 w 7467600"/>
              <a:gd name="connsiteY655" fmla="*/ 1140573 h 6858000"/>
              <a:gd name="connsiteX656" fmla="*/ 6571100 w 7467600"/>
              <a:gd name="connsiteY656" fmla="*/ 1183662 h 6858000"/>
              <a:gd name="connsiteX657" fmla="*/ 6241687 w 7467600"/>
              <a:gd name="connsiteY657" fmla="*/ 1257600 h 6858000"/>
              <a:gd name="connsiteX658" fmla="*/ 5693009 w 7467600"/>
              <a:gd name="connsiteY658" fmla="*/ 1478256 h 6858000"/>
              <a:gd name="connsiteX659" fmla="*/ 6548420 w 7467600"/>
              <a:gd name="connsiteY659" fmla="*/ 1214599 h 6858000"/>
              <a:gd name="connsiteX660" fmla="*/ 6605473 w 7467600"/>
              <a:gd name="connsiteY660" fmla="*/ 1184686 h 6858000"/>
              <a:gd name="connsiteX661" fmla="*/ 6691602 w 7467600"/>
              <a:gd name="connsiteY661" fmla="*/ 1140573 h 6858000"/>
              <a:gd name="connsiteX662" fmla="*/ 4002475 w 7467600"/>
              <a:gd name="connsiteY662" fmla="*/ 1037802 h 6858000"/>
              <a:gd name="connsiteX663" fmla="*/ 4000324 w 7467600"/>
              <a:gd name="connsiteY663" fmla="*/ 1039362 h 6858000"/>
              <a:gd name="connsiteX664" fmla="*/ 4002862 w 7467600"/>
              <a:gd name="connsiteY664" fmla="*/ 1042866 h 6858000"/>
              <a:gd name="connsiteX665" fmla="*/ 4002475 w 7467600"/>
              <a:gd name="connsiteY665" fmla="*/ 1037802 h 6858000"/>
              <a:gd name="connsiteX666" fmla="*/ 506322 w 7467600"/>
              <a:gd name="connsiteY666" fmla="*/ 1020997 h 6858000"/>
              <a:gd name="connsiteX667" fmla="*/ 533068 w 7467600"/>
              <a:gd name="connsiteY667" fmla="*/ 1029409 h 6858000"/>
              <a:gd name="connsiteX668" fmla="*/ 1232525 w 7467600"/>
              <a:gd name="connsiteY668" fmla="*/ 1804675 h 6858000"/>
              <a:gd name="connsiteX669" fmla="*/ 1388858 w 7467600"/>
              <a:gd name="connsiteY669" fmla="*/ 2368011 h 6858000"/>
              <a:gd name="connsiteX670" fmla="*/ 1384098 w 7467600"/>
              <a:gd name="connsiteY670" fmla="*/ 2378125 h 6858000"/>
              <a:gd name="connsiteX671" fmla="*/ 1425393 w 7467600"/>
              <a:gd name="connsiteY671" fmla="*/ 2589124 h 6858000"/>
              <a:gd name="connsiteX672" fmla="*/ 1424001 w 7467600"/>
              <a:gd name="connsiteY672" fmla="*/ 2597541 h 6858000"/>
              <a:gd name="connsiteX673" fmla="*/ 2152729 w 7467600"/>
              <a:gd name="connsiteY673" fmla="*/ 2864487 h 6858000"/>
              <a:gd name="connsiteX674" fmla="*/ 2020609 w 7467600"/>
              <a:gd name="connsiteY674" fmla="*/ 2539671 h 6858000"/>
              <a:gd name="connsiteX675" fmla="*/ 2018920 w 7467600"/>
              <a:gd name="connsiteY675" fmla="*/ 2536309 h 6858000"/>
              <a:gd name="connsiteX676" fmla="*/ 1342441 w 7467600"/>
              <a:gd name="connsiteY676" fmla="*/ 1173017 h 6858000"/>
              <a:gd name="connsiteX677" fmla="*/ 1367925 w 7467600"/>
              <a:gd name="connsiteY677" fmla="*/ 1135648 h 6858000"/>
              <a:gd name="connsiteX678" fmla="*/ 1771401 w 7467600"/>
              <a:gd name="connsiteY678" fmla="*/ 1806673 h 6858000"/>
              <a:gd name="connsiteX679" fmla="*/ 1972385 w 7467600"/>
              <a:gd name="connsiteY679" fmla="*/ 2198735 h 6858000"/>
              <a:gd name="connsiteX680" fmla="*/ 2040892 w 7467600"/>
              <a:gd name="connsiteY680" fmla="*/ 2405205 h 6858000"/>
              <a:gd name="connsiteX681" fmla="*/ 2131689 w 7467600"/>
              <a:gd name="connsiteY681" fmla="*/ 1936926 h 6858000"/>
              <a:gd name="connsiteX682" fmla="*/ 2454820 w 7467600"/>
              <a:gd name="connsiteY682" fmla="*/ 1248808 h 6858000"/>
              <a:gd name="connsiteX683" fmla="*/ 2492512 w 7467600"/>
              <a:gd name="connsiteY683" fmla="*/ 1302920 h 6858000"/>
              <a:gd name="connsiteX684" fmla="*/ 2081216 w 7467600"/>
              <a:gd name="connsiteY684" fmla="*/ 2527513 h 6858000"/>
              <a:gd name="connsiteX685" fmla="*/ 2081211 w 7467600"/>
              <a:gd name="connsiteY685" fmla="*/ 2528916 h 6858000"/>
              <a:gd name="connsiteX686" fmla="*/ 2199067 w 7467600"/>
              <a:gd name="connsiteY686" fmla="*/ 2884061 h 6858000"/>
              <a:gd name="connsiteX687" fmla="*/ 3192586 w 7467600"/>
              <a:gd name="connsiteY687" fmla="*/ 3411496 h 6858000"/>
              <a:gd name="connsiteX688" fmla="*/ 3182620 w 7467600"/>
              <a:gd name="connsiteY688" fmla="*/ 3483279 h 6858000"/>
              <a:gd name="connsiteX689" fmla="*/ 2435119 w 7467600"/>
              <a:gd name="connsiteY689" fmla="*/ 3080173 h 6858000"/>
              <a:gd name="connsiteX690" fmla="*/ 2410152 w 7467600"/>
              <a:gd name="connsiteY690" fmla="*/ 3063751 h 6858000"/>
              <a:gd name="connsiteX691" fmla="*/ 2408099 w 7467600"/>
              <a:gd name="connsiteY691" fmla="*/ 3064403 h 6858000"/>
              <a:gd name="connsiteX692" fmla="*/ 2407218 w 7467600"/>
              <a:gd name="connsiteY692" fmla="*/ 3070324 h 6858000"/>
              <a:gd name="connsiteX693" fmla="*/ 2380138 w 7467600"/>
              <a:gd name="connsiteY693" fmla="*/ 3099341 h 6858000"/>
              <a:gd name="connsiteX694" fmla="*/ 1765923 w 7467600"/>
              <a:gd name="connsiteY694" fmla="*/ 3581043 h 6858000"/>
              <a:gd name="connsiteX695" fmla="*/ 1702258 w 7467600"/>
              <a:gd name="connsiteY695" fmla="*/ 3612286 h 6858000"/>
              <a:gd name="connsiteX696" fmla="*/ 1538370 w 7467600"/>
              <a:gd name="connsiteY696" fmla="*/ 3811804 h 6858000"/>
              <a:gd name="connsiteX697" fmla="*/ 542867 w 7467600"/>
              <a:gd name="connsiteY697" fmla="*/ 4944092 h 6858000"/>
              <a:gd name="connsiteX698" fmla="*/ 515800 w 7467600"/>
              <a:gd name="connsiteY698" fmla="*/ 4862180 h 6858000"/>
              <a:gd name="connsiteX699" fmla="*/ 909145 w 7467600"/>
              <a:gd name="connsiteY699" fmla="*/ 4199225 h 6858000"/>
              <a:gd name="connsiteX700" fmla="*/ 1214067 w 7467600"/>
              <a:gd name="connsiteY700" fmla="*/ 3908561 h 6858000"/>
              <a:gd name="connsiteX701" fmla="*/ 640967 w 7467600"/>
              <a:gd name="connsiteY701" fmla="*/ 4105601 h 6858000"/>
              <a:gd name="connsiteX702" fmla="*/ 112563 w 7467600"/>
              <a:gd name="connsiteY702" fmla="*/ 4396952 h 6858000"/>
              <a:gd name="connsiteX703" fmla="*/ 0 w 7467600"/>
              <a:gd name="connsiteY703" fmla="*/ 4466006 h 6858000"/>
              <a:gd name="connsiteX704" fmla="*/ 0 w 7467600"/>
              <a:gd name="connsiteY704" fmla="*/ 4233763 h 6858000"/>
              <a:gd name="connsiteX705" fmla="*/ 36881 w 7467600"/>
              <a:gd name="connsiteY705" fmla="*/ 4200118 h 6858000"/>
              <a:gd name="connsiteX706" fmla="*/ 910534 w 7467600"/>
              <a:gd name="connsiteY706" fmla="*/ 3629753 h 6858000"/>
              <a:gd name="connsiteX707" fmla="*/ 1578717 w 7467600"/>
              <a:gd name="connsiteY707" fmla="*/ 3575982 h 6858000"/>
              <a:gd name="connsiteX708" fmla="*/ 2338780 w 7467600"/>
              <a:gd name="connsiteY708" fmla="*/ 3033725 h 6858000"/>
              <a:gd name="connsiteX709" fmla="*/ 1807991 w 7467600"/>
              <a:gd name="connsiteY709" fmla="*/ 2807184 h 6858000"/>
              <a:gd name="connsiteX710" fmla="*/ 1416358 w 7467600"/>
              <a:gd name="connsiteY710" fmla="*/ 3112571 h 6858000"/>
              <a:gd name="connsiteX711" fmla="*/ 939066 w 7467600"/>
              <a:gd name="connsiteY711" fmla="*/ 3378798 h 6858000"/>
              <a:gd name="connsiteX712" fmla="*/ 115099 w 7467600"/>
              <a:gd name="connsiteY712" fmla="*/ 3607650 h 6858000"/>
              <a:gd name="connsiteX713" fmla="*/ 97284 w 7467600"/>
              <a:gd name="connsiteY713" fmla="*/ 3520393 h 6858000"/>
              <a:gd name="connsiteX714" fmla="*/ 922050 w 7467600"/>
              <a:gd name="connsiteY714" fmla="*/ 3074867 h 6858000"/>
              <a:gd name="connsiteX715" fmla="*/ 1405265 w 7467600"/>
              <a:gd name="connsiteY715" fmla="*/ 3016319 h 6858000"/>
              <a:gd name="connsiteX716" fmla="*/ 1407512 w 7467600"/>
              <a:gd name="connsiteY716" fmla="*/ 3018001 h 6858000"/>
              <a:gd name="connsiteX717" fmla="*/ 1726266 w 7467600"/>
              <a:gd name="connsiteY717" fmla="*/ 2777274 h 6858000"/>
              <a:gd name="connsiteX718" fmla="*/ 625390 w 7467600"/>
              <a:gd name="connsiteY718" fmla="*/ 2514541 h 6858000"/>
              <a:gd name="connsiteX719" fmla="*/ 619799 w 7467600"/>
              <a:gd name="connsiteY719" fmla="*/ 2527180 h 6858000"/>
              <a:gd name="connsiteX720" fmla="*/ 310030 w 7467600"/>
              <a:gd name="connsiteY720" fmla="*/ 2771818 h 6858000"/>
              <a:gd name="connsiteX721" fmla="*/ 173877 w 7467600"/>
              <a:gd name="connsiteY721" fmla="*/ 2937056 h 6858000"/>
              <a:gd name="connsiteX722" fmla="*/ 77889 w 7467600"/>
              <a:gd name="connsiteY722" fmla="*/ 3138440 h 6858000"/>
              <a:gd name="connsiteX723" fmla="*/ 0 w 7467600"/>
              <a:gd name="connsiteY723" fmla="*/ 3271395 h 6858000"/>
              <a:gd name="connsiteX724" fmla="*/ 0 w 7467600"/>
              <a:gd name="connsiteY724" fmla="*/ 3153002 h 6858000"/>
              <a:gd name="connsiteX725" fmla="*/ 2386 w 7467600"/>
              <a:gd name="connsiteY725" fmla="*/ 3149203 h 6858000"/>
              <a:gd name="connsiteX726" fmla="*/ 89753 w 7467600"/>
              <a:gd name="connsiteY726" fmla="*/ 2987702 h 6858000"/>
              <a:gd name="connsiteX727" fmla="*/ 76869 w 7467600"/>
              <a:gd name="connsiteY727" fmla="*/ 3005404 h 6858000"/>
              <a:gd name="connsiteX728" fmla="*/ 32049 w 7467600"/>
              <a:gd name="connsiteY728" fmla="*/ 3065814 h 6858000"/>
              <a:gd name="connsiteX729" fmla="*/ 0 w 7467600"/>
              <a:gd name="connsiteY729" fmla="*/ 3108744 h 6858000"/>
              <a:gd name="connsiteX730" fmla="*/ 0 w 7467600"/>
              <a:gd name="connsiteY730" fmla="*/ 3058059 h 6858000"/>
              <a:gd name="connsiteX731" fmla="*/ 7610 w 7467600"/>
              <a:gd name="connsiteY731" fmla="*/ 3047889 h 6858000"/>
              <a:gd name="connsiteX732" fmla="*/ 52419 w 7467600"/>
              <a:gd name="connsiteY732" fmla="*/ 2987479 h 6858000"/>
              <a:gd name="connsiteX733" fmla="*/ 59142 w 7467600"/>
              <a:gd name="connsiteY733" fmla="*/ 2978488 h 6858000"/>
              <a:gd name="connsiteX734" fmla="*/ 0 w 7467600"/>
              <a:gd name="connsiteY734" fmla="*/ 3015334 h 6858000"/>
              <a:gd name="connsiteX735" fmla="*/ 0 w 7467600"/>
              <a:gd name="connsiteY735" fmla="*/ 2914286 h 6858000"/>
              <a:gd name="connsiteX736" fmla="*/ 36383 w 7467600"/>
              <a:gd name="connsiteY736" fmla="*/ 2901128 h 6858000"/>
              <a:gd name="connsiteX737" fmla="*/ 156329 w 7467600"/>
              <a:gd name="connsiteY737" fmla="*/ 2840533 h 6858000"/>
              <a:gd name="connsiteX738" fmla="*/ 358355 w 7467600"/>
              <a:gd name="connsiteY738" fmla="*/ 2620471 h 6858000"/>
              <a:gd name="connsiteX739" fmla="*/ 510577 w 7467600"/>
              <a:gd name="connsiteY739" fmla="*/ 2501244 h 6858000"/>
              <a:gd name="connsiteX740" fmla="*/ 211967 w 7467600"/>
              <a:gd name="connsiteY740" fmla="*/ 2479171 h 6858000"/>
              <a:gd name="connsiteX741" fmla="*/ 0 w 7467600"/>
              <a:gd name="connsiteY741" fmla="*/ 2476398 h 6858000"/>
              <a:gd name="connsiteX742" fmla="*/ 0 w 7467600"/>
              <a:gd name="connsiteY742" fmla="*/ 2389189 h 6858000"/>
              <a:gd name="connsiteX743" fmla="*/ 103062 w 7467600"/>
              <a:gd name="connsiteY743" fmla="*/ 2389518 h 6858000"/>
              <a:gd name="connsiteX744" fmla="*/ 510734 w 7467600"/>
              <a:gd name="connsiteY744" fmla="*/ 2416201 h 6858000"/>
              <a:gd name="connsiteX745" fmla="*/ 279257 w 7467600"/>
              <a:gd name="connsiteY745" fmla="*/ 2092102 h 6858000"/>
              <a:gd name="connsiteX746" fmla="*/ 65265 w 7467600"/>
              <a:gd name="connsiteY746" fmla="*/ 2006049 h 6858000"/>
              <a:gd name="connsiteX747" fmla="*/ 0 w 7467600"/>
              <a:gd name="connsiteY747" fmla="*/ 1982532 h 6858000"/>
              <a:gd name="connsiteX748" fmla="*/ 0 w 7467600"/>
              <a:gd name="connsiteY748" fmla="*/ 1912789 h 6858000"/>
              <a:gd name="connsiteX749" fmla="*/ 97460 w 7467600"/>
              <a:gd name="connsiteY749" fmla="*/ 1953725 h 6858000"/>
              <a:gd name="connsiteX750" fmla="*/ 221272 w 7467600"/>
              <a:gd name="connsiteY750" fmla="*/ 1980766 h 6858000"/>
              <a:gd name="connsiteX751" fmla="*/ 116765 w 7467600"/>
              <a:gd name="connsiteY751" fmla="*/ 1911033 h 6858000"/>
              <a:gd name="connsiteX752" fmla="*/ 16405 w 7467600"/>
              <a:gd name="connsiteY752" fmla="*/ 1803412 h 6858000"/>
              <a:gd name="connsiteX753" fmla="*/ 0 w 7467600"/>
              <a:gd name="connsiteY753" fmla="*/ 1784777 h 6858000"/>
              <a:gd name="connsiteX754" fmla="*/ 0 w 7467600"/>
              <a:gd name="connsiteY754" fmla="*/ 1740082 h 6858000"/>
              <a:gd name="connsiteX755" fmla="*/ 39394 w 7467600"/>
              <a:gd name="connsiteY755" fmla="*/ 1784856 h 6858000"/>
              <a:gd name="connsiteX756" fmla="*/ 135813 w 7467600"/>
              <a:gd name="connsiteY756" fmla="*/ 1888838 h 6858000"/>
              <a:gd name="connsiteX757" fmla="*/ 242575 w 7467600"/>
              <a:gd name="connsiteY757" fmla="*/ 1958841 h 6858000"/>
              <a:gd name="connsiteX758" fmla="*/ 82197 w 7467600"/>
              <a:gd name="connsiteY758" fmla="*/ 1754826 h 6858000"/>
              <a:gd name="connsiteX759" fmla="*/ 0 w 7467600"/>
              <a:gd name="connsiteY759" fmla="*/ 1679650 h 6858000"/>
              <a:gd name="connsiteX760" fmla="*/ 0 w 7467600"/>
              <a:gd name="connsiteY760" fmla="*/ 1602463 h 6858000"/>
              <a:gd name="connsiteX761" fmla="*/ 84689 w 7467600"/>
              <a:gd name="connsiteY761" fmla="*/ 1677442 h 6858000"/>
              <a:gd name="connsiteX762" fmla="*/ 298437 w 7467600"/>
              <a:gd name="connsiteY762" fmla="*/ 1968019 h 6858000"/>
              <a:gd name="connsiteX763" fmla="*/ 227269 w 7467600"/>
              <a:gd name="connsiteY763" fmla="*/ 1114064 h 6858000"/>
              <a:gd name="connsiteX764" fmla="*/ 248003 w 7467600"/>
              <a:gd name="connsiteY764" fmla="*/ 1089613 h 6858000"/>
              <a:gd name="connsiteX765" fmla="*/ 427020 w 7467600"/>
              <a:gd name="connsiteY765" fmla="*/ 1619803 h 6858000"/>
              <a:gd name="connsiteX766" fmla="*/ 340345 w 7467600"/>
              <a:gd name="connsiteY766" fmla="*/ 2027739 h 6858000"/>
              <a:gd name="connsiteX767" fmla="*/ 360865 w 7467600"/>
              <a:gd name="connsiteY767" fmla="*/ 2044827 h 6858000"/>
              <a:gd name="connsiteX768" fmla="*/ 560414 w 7467600"/>
              <a:gd name="connsiteY768" fmla="*/ 2421457 h 6858000"/>
              <a:gd name="connsiteX769" fmla="*/ 1359703 w 7467600"/>
              <a:gd name="connsiteY769" fmla="*/ 2578554 h 6858000"/>
              <a:gd name="connsiteX770" fmla="*/ 1359422 w 7467600"/>
              <a:gd name="connsiteY770" fmla="*/ 2577994 h 6858000"/>
              <a:gd name="connsiteX771" fmla="*/ 828701 w 7467600"/>
              <a:gd name="connsiteY771" fmla="*/ 1839520 h 6858000"/>
              <a:gd name="connsiteX772" fmla="*/ 494427 w 7467600"/>
              <a:gd name="connsiteY772" fmla="*/ 1092333 h 6858000"/>
              <a:gd name="connsiteX773" fmla="*/ 506322 w 7467600"/>
              <a:gd name="connsiteY773" fmla="*/ 1020997 h 6858000"/>
              <a:gd name="connsiteX774" fmla="*/ 4570198 w 7467600"/>
              <a:gd name="connsiteY774" fmla="*/ 978081 h 6858000"/>
              <a:gd name="connsiteX775" fmla="*/ 4523691 w 7467600"/>
              <a:gd name="connsiteY775" fmla="*/ 1127776 h 6858000"/>
              <a:gd name="connsiteX776" fmla="*/ 4509875 w 7467600"/>
              <a:gd name="connsiteY776" fmla="*/ 1167552 h 6858000"/>
              <a:gd name="connsiteX777" fmla="*/ 4478168 w 7467600"/>
              <a:gd name="connsiteY777" fmla="*/ 1260735 h 6858000"/>
              <a:gd name="connsiteX778" fmla="*/ 4409309 w 7467600"/>
              <a:gd name="connsiteY778" fmla="*/ 1666996 h 6858000"/>
              <a:gd name="connsiteX779" fmla="*/ 4370031 w 7467600"/>
              <a:gd name="connsiteY779" fmla="*/ 1955666 h 6858000"/>
              <a:gd name="connsiteX780" fmla="*/ 4570198 w 7467600"/>
              <a:gd name="connsiteY780" fmla="*/ 978081 h 6858000"/>
              <a:gd name="connsiteX781" fmla="*/ 4557898 w 7467600"/>
              <a:gd name="connsiteY781" fmla="*/ 900011 h 6858000"/>
              <a:gd name="connsiteX782" fmla="*/ 4344840 w 7467600"/>
              <a:gd name="connsiteY782" fmla="*/ 1922038 h 6858000"/>
              <a:gd name="connsiteX783" fmla="*/ 4378710 w 7467600"/>
              <a:gd name="connsiteY783" fmla="*/ 1665516 h 6858000"/>
              <a:gd name="connsiteX784" fmla="*/ 4448798 w 7467600"/>
              <a:gd name="connsiteY784" fmla="*/ 1253024 h 6858000"/>
              <a:gd name="connsiteX785" fmla="*/ 4480315 w 7467600"/>
              <a:gd name="connsiteY785" fmla="*/ 1158454 h 6858000"/>
              <a:gd name="connsiteX786" fmla="*/ 4494133 w 7467600"/>
              <a:gd name="connsiteY786" fmla="*/ 1118676 h 6858000"/>
              <a:gd name="connsiteX787" fmla="*/ 4557898 w 7467600"/>
              <a:gd name="connsiteY787" fmla="*/ 900011 h 6858000"/>
              <a:gd name="connsiteX788" fmla="*/ 5870151 w 7467600"/>
              <a:gd name="connsiteY788" fmla="*/ 898890 h 6858000"/>
              <a:gd name="connsiteX789" fmla="*/ 5861335 w 7467600"/>
              <a:gd name="connsiteY789" fmla="*/ 899177 h 6858000"/>
              <a:gd name="connsiteX790" fmla="*/ 5843702 w 7467600"/>
              <a:gd name="connsiteY790" fmla="*/ 899748 h 6858000"/>
              <a:gd name="connsiteX791" fmla="*/ 5651107 w 7467600"/>
              <a:gd name="connsiteY791" fmla="*/ 920306 h 6858000"/>
              <a:gd name="connsiteX792" fmla="*/ 5459407 w 7467600"/>
              <a:gd name="connsiteY792" fmla="*/ 940975 h 6858000"/>
              <a:gd name="connsiteX793" fmla="*/ 5374846 w 7467600"/>
              <a:gd name="connsiteY793" fmla="*/ 941988 h 6858000"/>
              <a:gd name="connsiteX794" fmla="*/ 5256105 w 7467600"/>
              <a:gd name="connsiteY794" fmla="*/ 945632 h 6858000"/>
              <a:gd name="connsiteX795" fmla="*/ 5107071 w 7467600"/>
              <a:gd name="connsiteY795" fmla="*/ 969720 h 6858000"/>
              <a:gd name="connsiteX796" fmla="*/ 4998681 w 7467600"/>
              <a:gd name="connsiteY796" fmla="*/ 988771 h 6858000"/>
              <a:gd name="connsiteX797" fmla="*/ 5870151 w 7467600"/>
              <a:gd name="connsiteY797" fmla="*/ 898890 h 6858000"/>
              <a:gd name="connsiteX798" fmla="*/ 5504425 w 7467600"/>
              <a:gd name="connsiteY798" fmla="*/ 848067 h 6858000"/>
              <a:gd name="connsiteX799" fmla="*/ 4968849 w 7467600"/>
              <a:gd name="connsiteY799" fmla="*/ 962318 h 6858000"/>
              <a:gd name="connsiteX800" fmla="*/ 5104039 w 7467600"/>
              <a:gd name="connsiteY800" fmla="*/ 940634 h 6858000"/>
              <a:gd name="connsiteX801" fmla="*/ 5256311 w 7467600"/>
              <a:gd name="connsiteY801" fmla="*/ 916490 h 6858000"/>
              <a:gd name="connsiteX802" fmla="*/ 5377381 w 7467600"/>
              <a:gd name="connsiteY802" fmla="*/ 912671 h 6858000"/>
              <a:gd name="connsiteX803" fmla="*/ 5460148 w 7467600"/>
              <a:gd name="connsiteY803" fmla="*/ 911442 h 6858000"/>
              <a:gd name="connsiteX804" fmla="*/ 5648971 w 7467600"/>
              <a:gd name="connsiteY804" fmla="*/ 891331 h 6858000"/>
              <a:gd name="connsiteX805" fmla="*/ 5844807 w 7467600"/>
              <a:gd name="connsiteY805" fmla="*/ 870718 h 6858000"/>
              <a:gd name="connsiteX806" fmla="*/ 5862975 w 7467600"/>
              <a:gd name="connsiteY806" fmla="*/ 869756 h 6858000"/>
              <a:gd name="connsiteX807" fmla="*/ 5920887 w 7467600"/>
              <a:gd name="connsiteY807" fmla="*/ 865929 h 6858000"/>
              <a:gd name="connsiteX808" fmla="*/ 5504425 w 7467600"/>
              <a:gd name="connsiteY808" fmla="*/ 848067 h 6858000"/>
              <a:gd name="connsiteX809" fmla="*/ 3607114 w 7467600"/>
              <a:gd name="connsiteY809" fmla="*/ 467441 h 6858000"/>
              <a:gd name="connsiteX810" fmla="*/ 3296242 w 7467600"/>
              <a:gd name="connsiteY810" fmla="*/ 807991 h 6858000"/>
              <a:gd name="connsiteX811" fmla="*/ 3174674 w 7467600"/>
              <a:gd name="connsiteY811" fmla="*/ 919759 h 6858000"/>
              <a:gd name="connsiteX812" fmla="*/ 3042978 w 7467600"/>
              <a:gd name="connsiteY812" fmla="*/ 1054894 h 6858000"/>
              <a:gd name="connsiteX813" fmla="*/ 2968914 w 7467600"/>
              <a:gd name="connsiteY813" fmla="*/ 1133756 h 6858000"/>
              <a:gd name="connsiteX814" fmla="*/ 3103823 w 7467600"/>
              <a:gd name="connsiteY814" fmla="*/ 1026814 h 6858000"/>
              <a:gd name="connsiteX815" fmla="*/ 3607114 w 7467600"/>
              <a:gd name="connsiteY815" fmla="*/ 467441 h 6858000"/>
              <a:gd name="connsiteX816" fmla="*/ 3744487 w 7467600"/>
              <a:gd name="connsiteY816" fmla="*/ 383136 h 6858000"/>
              <a:gd name="connsiteX817" fmla="*/ 3970213 w 7467600"/>
              <a:gd name="connsiteY817" fmla="*/ 995559 h 6858000"/>
              <a:gd name="connsiteX818" fmla="*/ 3744487 w 7467600"/>
              <a:gd name="connsiteY818" fmla="*/ 383136 h 6858000"/>
              <a:gd name="connsiteX819" fmla="*/ 3624562 w 7467600"/>
              <a:gd name="connsiteY819" fmla="*/ 367041 h 6858000"/>
              <a:gd name="connsiteX820" fmla="*/ 3489712 w 7467600"/>
              <a:gd name="connsiteY820" fmla="*/ 485386 h 6858000"/>
              <a:gd name="connsiteX821" fmla="*/ 3182994 w 7467600"/>
              <a:gd name="connsiteY821" fmla="*/ 828265 h 6858000"/>
              <a:gd name="connsiteX822" fmla="*/ 2892114 w 7467600"/>
              <a:gd name="connsiteY822" fmla="*/ 1172635 h 6858000"/>
              <a:gd name="connsiteX823" fmla="*/ 3021459 w 7467600"/>
              <a:gd name="connsiteY823" fmla="*/ 1035385 h 6858000"/>
              <a:gd name="connsiteX824" fmla="*/ 3153873 w 7467600"/>
              <a:gd name="connsiteY824" fmla="*/ 898971 h 6858000"/>
              <a:gd name="connsiteX825" fmla="*/ 3276511 w 7467600"/>
              <a:gd name="connsiteY825" fmla="*/ 786423 h 6858000"/>
              <a:gd name="connsiteX826" fmla="*/ 3584154 w 7467600"/>
              <a:gd name="connsiteY826" fmla="*/ 448218 h 6858000"/>
              <a:gd name="connsiteX827" fmla="*/ 3624562 w 7467600"/>
              <a:gd name="connsiteY827" fmla="*/ 367041 h 6858000"/>
              <a:gd name="connsiteX828" fmla="*/ 3766672 w 7467600"/>
              <a:gd name="connsiteY828" fmla="*/ 359429 h 6858000"/>
              <a:gd name="connsiteX829" fmla="*/ 3996338 w 7467600"/>
              <a:gd name="connsiteY829" fmla="*/ 968237 h 6858000"/>
              <a:gd name="connsiteX830" fmla="*/ 3766672 w 7467600"/>
              <a:gd name="connsiteY830" fmla="*/ 359429 h 6858000"/>
              <a:gd name="connsiteX831" fmla="*/ 5805386 w 7467600"/>
              <a:gd name="connsiteY831" fmla="*/ 239240 h 6858000"/>
              <a:gd name="connsiteX832" fmla="*/ 5736947 w 7467600"/>
              <a:gd name="connsiteY832" fmla="*/ 261367 h 6858000"/>
              <a:gd name="connsiteX833" fmla="*/ 5427012 w 7467600"/>
              <a:gd name="connsiteY833" fmla="*/ 311272 h 6858000"/>
              <a:gd name="connsiteX834" fmla="*/ 5147818 w 7467600"/>
              <a:gd name="connsiteY834" fmla="*/ 322112 h 6858000"/>
              <a:gd name="connsiteX835" fmla="*/ 5060854 w 7467600"/>
              <a:gd name="connsiteY835" fmla="*/ 311882 h 6858000"/>
              <a:gd name="connsiteX836" fmla="*/ 4945989 w 7467600"/>
              <a:gd name="connsiteY836" fmla="*/ 300516 h 6858000"/>
              <a:gd name="connsiteX837" fmla="*/ 5410479 w 7467600"/>
              <a:gd name="connsiteY837" fmla="*/ 348434 h 6858000"/>
              <a:gd name="connsiteX838" fmla="*/ 5805386 w 7467600"/>
              <a:gd name="connsiteY838" fmla="*/ 239240 h 6858000"/>
              <a:gd name="connsiteX839" fmla="*/ 5905192 w 7467600"/>
              <a:gd name="connsiteY839" fmla="*/ 163079 h 6858000"/>
              <a:gd name="connsiteX840" fmla="*/ 5865655 w 7467600"/>
              <a:gd name="connsiteY840" fmla="*/ 171901 h 6858000"/>
              <a:gd name="connsiteX841" fmla="*/ 5259740 w 7467600"/>
              <a:gd name="connsiteY841" fmla="*/ 257013 h 6858000"/>
              <a:gd name="connsiteX842" fmla="*/ 5208466 w 7467600"/>
              <a:gd name="connsiteY842" fmla="*/ 257550 h 6858000"/>
              <a:gd name="connsiteX843" fmla="*/ 4980204 w 7467600"/>
              <a:gd name="connsiteY843" fmla="*/ 271903 h 6858000"/>
              <a:gd name="connsiteX844" fmla="*/ 5068068 w 7467600"/>
              <a:gd name="connsiteY844" fmla="*/ 282244 h 6858000"/>
              <a:gd name="connsiteX845" fmla="*/ 5153231 w 7467600"/>
              <a:gd name="connsiteY845" fmla="*/ 292240 h 6858000"/>
              <a:gd name="connsiteX846" fmla="*/ 5426491 w 7467600"/>
              <a:gd name="connsiteY846" fmla="*/ 281128 h 6858000"/>
              <a:gd name="connsiteX847" fmla="*/ 5731212 w 7467600"/>
              <a:gd name="connsiteY847" fmla="*/ 231951 h 6858000"/>
              <a:gd name="connsiteX848" fmla="*/ 5905192 w 7467600"/>
              <a:gd name="connsiteY848" fmla="*/ 163079 h 6858000"/>
              <a:gd name="connsiteX849" fmla="*/ 5944437 w 7467600"/>
              <a:gd name="connsiteY849" fmla="*/ 113829 h 6858000"/>
              <a:gd name="connsiteX850" fmla="*/ 5825032 w 7467600"/>
              <a:gd name="connsiteY850" fmla="*/ 146405 h 6858000"/>
              <a:gd name="connsiteX851" fmla="*/ 4955599 w 7467600"/>
              <a:gd name="connsiteY851" fmla="*/ 247008 h 6858000"/>
              <a:gd name="connsiteX852" fmla="*/ 5210104 w 7467600"/>
              <a:gd name="connsiteY852" fmla="*/ 228123 h 6858000"/>
              <a:gd name="connsiteX853" fmla="*/ 5261015 w 7467600"/>
              <a:gd name="connsiteY853" fmla="*/ 227087 h 6858000"/>
              <a:gd name="connsiteX854" fmla="*/ 5861181 w 7467600"/>
              <a:gd name="connsiteY854" fmla="*/ 143093 h 6858000"/>
              <a:gd name="connsiteX855" fmla="*/ 5961252 w 7467600"/>
              <a:gd name="connsiteY855" fmla="*/ 114820 h 6858000"/>
              <a:gd name="connsiteX856" fmla="*/ 5944437 w 7467600"/>
              <a:gd name="connsiteY856" fmla="*/ 113829 h 6858000"/>
              <a:gd name="connsiteX857" fmla="*/ 3882765 w 7467600"/>
              <a:gd name="connsiteY857" fmla="*/ 0 h 6858000"/>
              <a:gd name="connsiteX858" fmla="*/ 3995099 w 7467600"/>
              <a:gd name="connsiteY858" fmla="*/ 0 h 6858000"/>
              <a:gd name="connsiteX859" fmla="*/ 4163818 w 7467600"/>
              <a:gd name="connsiteY859" fmla="*/ 234104 h 6858000"/>
              <a:gd name="connsiteX860" fmla="*/ 4172099 w 7467600"/>
              <a:gd name="connsiteY860" fmla="*/ 234207 h 6858000"/>
              <a:gd name="connsiteX861" fmla="*/ 4784282 w 7467600"/>
              <a:gd name="connsiteY861" fmla="*/ 276561 h 6858000"/>
              <a:gd name="connsiteX862" fmla="*/ 4801687 w 7467600"/>
              <a:gd name="connsiteY862" fmla="*/ 267764 h 6858000"/>
              <a:gd name="connsiteX863" fmla="*/ 6082788 w 7467600"/>
              <a:gd name="connsiteY863" fmla="*/ 64119 h 6858000"/>
              <a:gd name="connsiteX864" fmla="*/ 6099442 w 7467600"/>
              <a:gd name="connsiteY864" fmla="*/ 82568 h 6858000"/>
              <a:gd name="connsiteX865" fmla="*/ 4804137 w 7467600"/>
              <a:gd name="connsiteY865" fmla="*/ 320931 h 6858000"/>
              <a:gd name="connsiteX866" fmla="*/ 4227047 w 7467600"/>
              <a:gd name="connsiteY866" fmla="*/ 313415 h 6858000"/>
              <a:gd name="connsiteX867" fmla="*/ 4346041 w 7467600"/>
              <a:gd name="connsiteY867" fmla="*/ 456086 h 6858000"/>
              <a:gd name="connsiteX868" fmla="*/ 4870967 w 7467600"/>
              <a:gd name="connsiteY868" fmla="*/ 963061 h 6858000"/>
              <a:gd name="connsiteX869" fmla="*/ 4889647 w 7467600"/>
              <a:gd name="connsiteY869" fmla="*/ 957147 h 6858000"/>
              <a:gd name="connsiteX870" fmla="*/ 5422504 w 7467600"/>
              <a:gd name="connsiteY870" fmla="*/ 805191 h 6858000"/>
              <a:gd name="connsiteX871" fmla="*/ 6087656 w 7467600"/>
              <a:gd name="connsiteY871" fmla="*/ 826703 h 6858000"/>
              <a:gd name="connsiteX872" fmla="*/ 6058717 w 7467600"/>
              <a:gd name="connsiteY872" fmla="*/ 865992 h 6858000"/>
              <a:gd name="connsiteX873" fmla="*/ 4974153 w 7467600"/>
              <a:gd name="connsiteY873" fmla="*/ 1045456 h 6858000"/>
              <a:gd name="connsiteX874" fmla="*/ 5627835 w 7467600"/>
              <a:gd name="connsiteY874" fmla="*/ 1472077 h 6858000"/>
              <a:gd name="connsiteX875" fmla="*/ 5629817 w 7467600"/>
              <a:gd name="connsiteY875" fmla="*/ 1471412 h 6858000"/>
              <a:gd name="connsiteX876" fmla="*/ 5634124 w 7467600"/>
              <a:gd name="connsiteY876" fmla="*/ 1470572 h 6858000"/>
              <a:gd name="connsiteX877" fmla="*/ 5755832 w 7467600"/>
              <a:gd name="connsiteY877" fmla="*/ 1383886 h 6858000"/>
              <a:gd name="connsiteX878" fmla="*/ 6014186 w 7467600"/>
              <a:gd name="connsiteY878" fmla="*/ 1279799 h 6858000"/>
              <a:gd name="connsiteX879" fmla="*/ 6901619 w 7467600"/>
              <a:gd name="connsiteY879" fmla="*/ 1047874 h 6858000"/>
              <a:gd name="connsiteX880" fmla="*/ 6931566 w 7467600"/>
              <a:gd name="connsiteY880" fmla="*/ 1062034 h 6858000"/>
              <a:gd name="connsiteX881" fmla="*/ 5790982 w 7467600"/>
              <a:gd name="connsiteY881" fmla="*/ 1561380 h 6858000"/>
              <a:gd name="connsiteX882" fmla="*/ 6188971 w 7467600"/>
              <a:gd name="connsiteY882" fmla="*/ 1755168 h 6858000"/>
              <a:gd name="connsiteX883" fmla="*/ 6202446 w 7467600"/>
              <a:gd name="connsiteY883" fmla="*/ 1752268 h 6858000"/>
              <a:gd name="connsiteX884" fmla="*/ 7179560 w 7467600"/>
              <a:gd name="connsiteY884" fmla="*/ 1467551 h 6858000"/>
              <a:gd name="connsiteX885" fmla="*/ 7158730 w 7467600"/>
              <a:gd name="connsiteY885" fmla="*/ 1507835 h 6858000"/>
              <a:gd name="connsiteX886" fmla="*/ 6326959 w 7467600"/>
              <a:gd name="connsiteY886" fmla="*/ 1817686 h 6858000"/>
              <a:gd name="connsiteX887" fmla="*/ 6537433 w 7467600"/>
              <a:gd name="connsiteY887" fmla="*/ 1907790 h 6858000"/>
              <a:gd name="connsiteX888" fmla="*/ 6550221 w 7467600"/>
              <a:gd name="connsiteY888" fmla="*/ 1910729 h 6858000"/>
              <a:gd name="connsiteX889" fmla="*/ 6964438 w 7467600"/>
              <a:gd name="connsiteY889" fmla="*/ 2209505 h 6858000"/>
              <a:gd name="connsiteX890" fmla="*/ 7367862 w 7467600"/>
              <a:gd name="connsiteY890" fmla="*/ 2806833 h 6858000"/>
              <a:gd name="connsiteX891" fmla="*/ 7364329 w 7467600"/>
              <a:gd name="connsiteY891" fmla="*/ 2826907 h 6858000"/>
              <a:gd name="connsiteX892" fmla="*/ 7290545 w 7467600"/>
              <a:gd name="connsiteY892" fmla="*/ 2850663 h 6858000"/>
              <a:gd name="connsiteX893" fmla="*/ 6472036 w 7467600"/>
              <a:gd name="connsiteY893" fmla="*/ 1959003 h 6858000"/>
              <a:gd name="connsiteX894" fmla="*/ 5792897 w 7467600"/>
              <a:gd name="connsiteY894" fmla="*/ 1647747 h 6858000"/>
              <a:gd name="connsiteX895" fmla="*/ 5842751 w 7467600"/>
              <a:gd name="connsiteY895" fmla="*/ 1816112 h 6858000"/>
              <a:gd name="connsiteX896" fmla="*/ 5847424 w 7467600"/>
              <a:gd name="connsiteY896" fmla="*/ 1815776 h 6858000"/>
              <a:gd name="connsiteX897" fmla="*/ 6399821 w 7467600"/>
              <a:gd name="connsiteY897" fmla="*/ 2344799 h 6858000"/>
              <a:gd name="connsiteX898" fmla="*/ 6323232 w 7467600"/>
              <a:gd name="connsiteY898" fmla="*/ 2389634 h 6858000"/>
              <a:gd name="connsiteX899" fmla="*/ 5942958 w 7467600"/>
              <a:gd name="connsiteY899" fmla="*/ 2077708 h 6858000"/>
              <a:gd name="connsiteX900" fmla="*/ 5921559 w 7467600"/>
              <a:gd name="connsiteY900" fmla="*/ 2378596 h 6858000"/>
              <a:gd name="connsiteX901" fmla="*/ 5817651 w 7467600"/>
              <a:gd name="connsiteY901" fmla="*/ 3023919 h 6858000"/>
              <a:gd name="connsiteX902" fmla="*/ 5729634 w 7467600"/>
              <a:gd name="connsiteY902" fmla="*/ 3051849 h 6858000"/>
              <a:gd name="connsiteX903" fmla="*/ 5611018 w 7467600"/>
              <a:gd name="connsiteY903" fmla="*/ 2316769 h 6858000"/>
              <a:gd name="connsiteX904" fmla="*/ 5687608 w 7467600"/>
              <a:gd name="connsiteY904" fmla="*/ 2039972 h 6858000"/>
              <a:gd name="connsiteX905" fmla="*/ 5657554 w 7467600"/>
              <a:gd name="connsiteY905" fmla="*/ 1576445 h 6858000"/>
              <a:gd name="connsiteX906" fmla="*/ 5150475 w 7467600"/>
              <a:gd name="connsiteY906" fmla="*/ 1274012 h 6858000"/>
              <a:gd name="connsiteX907" fmla="*/ 5349142 w 7467600"/>
              <a:gd name="connsiteY907" fmla="*/ 2204405 h 6858000"/>
              <a:gd name="connsiteX908" fmla="*/ 5262214 w 7467600"/>
              <a:gd name="connsiteY908" fmla="*/ 2233836 h 6858000"/>
              <a:gd name="connsiteX909" fmla="*/ 4981539 w 7467600"/>
              <a:gd name="connsiteY909" fmla="*/ 1542201 h 6858000"/>
              <a:gd name="connsiteX910" fmla="*/ 4958461 w 7467600"/>
              <a:gd name="connsiteY910" fmla="*/ 1136957 h 6858000"/>
              <a:gd name="connsiteX911" fmla="*/ 4655015 w 7467600"/>
              <a:gd name="connsiteY911" fmla="*/ 891426 h 6858000"/>
              <a:gd name="connsiteX912" fmla="*/ 4348002 w 7467600"/>
              <a:gd name="connsiteY912" fmla="*/ 2205895 h 6858000"/>
              <a:gd name="connsiteX913" fmla="*/ 4262250 w 7467600"/>
              <a:gd name="connsiteY913" fmla="*/ 2219972 h 6858000"/>
              <a:gd name="connsiteX914" fmla="*/ 4550611 w 7467600"/>
              <a:gd name="connsiteY914" fmla="*/ 817540 h 6858000"/>
              <a:gd name="connsiteX915" fmla="*/ 4564418 w 7467600"/>
              <a:gd name="connsiteY915" fmla="*/ 808293 h 6858000"/>
              <a:gd name="connsiteX916" fmla="*/ 4266388 w 7467600"/>
              <a:gd name="connsiteY916" fmla="*/ 500083 h 6858000"/>
              <a:gd name="connsiteX917" fmla="*/ 4032842 w 7467600"/>
              <a:gd name="connsiteY917" fmla="*/ 211809 h 6858000"/>
              <a:gd name="connsiteX918" fmla="*/ 3882765 w 7467600"/>
              <a:gd name="connsiteY918" fmla="*/ 0 h 6858000"/>
              <a:gd name="connsiteX919" fmla="*/ 3721337 w 7467600"/>
              <a:gd name="connsiteY919" fmla="*/ 0 h 6858000"/>
              <a:gd name="connsiteX920" fmla="*/ 3797544 w 7467600"/>
              <a:gd name="connsiteY920" fmla="*/ 0 h 6858000"/>
              <a:gd name="connsiteX921" fmla="*/ 3775734 w 7467600"/>
              <a:gd name="connsiteY921" fmla="*/ 95131 h 6858000"/>
              <a:gd name="connsiteX922" fmla="*/ 3724807 w 7467600"/>
              <a:gd name="connsiteY922" fmla="*/ 272257 h 6858000"/>
              <a:gd name="connsiteX923" fmla="*/ 3726844 w 7467600"/>
              <a:gd name="connsiteY923" fmla="*/ 282988 h 6858000"/>
              <a:gd name="connsiteX924" fmla="*/ 3742664 w 7467600"/>
              <a:gd name="connsiteY924" fmla="*/ 279918 h 6858000"/>
              <a:gd name="connsiteX925" fmla="*/ 4103910 w 7467600"/>
              <a:gd name="connsiteY925" fmla="*/ 1161917 h 6858000"/>
              <a:gd name="connsiteX926" fmla="*/ 4020269 w 7467600"/>
              <a:gd name="connsiteY926" fmla="*/ 1200406 h 6858000"/>
              <a:gd name="connsiteX927" fmla="*/ 3674882 w 7467600"/>
              <a:gd name="connsiteY927" fmla="*/ 488524 h 6858000"/>
              <a:gd name="connsiteX928" fmla="*/ 3132682 w 7467600"/>
              <a:gd name="connsiteY928" fmla="*/ 1072284 h 6858000"/>
              <a:gd name="connsiteX929" fmla="*/ 2716346 w 7467600"/>
              <a:gd name="connsiteY929" fmla="*/ 1276376 h 6858000"/>
              <a:gd name="connsiteX930" fmla="*/ 2716772 w 7467600"/>
              <a:gd name="connsiteY930" fmla="*/ 1255462 h 6858000"/>
              <a:gd name="connsiteX931" fmla="*/ 3471096 w 7467600"/>
              <a:gd name="connsiteY931" fmla="*/ 437072 h 6858000"/>
              <a:gd name="connsiteX932" fmla="*/ 3639057 w 7467600"/>
              <a:gd name="connsiteY932" fmla="*/ 286334 h 6858000"/>
              <a:gd name="connsiteX933" fmla="*/ 3640309 w 7467600"/>
              <a:gd name="connsiteY933" fmla="*/ 284664 h 6858000"/>
              <a:gd name="connsiteX934" fmla="*/ 3646022 w 7467600"/>
              <a:gd name="connsiteY934" fmla="*/ 276711 h 6858000"/>
              <a:gd name="connsiteX935" fmla="*/ 3707943 w 7467600"/>
              <a:gd name="connsiteY935" fmla="*/ 65958 h 6858000"/>
              <a:gd name="connsiteX936" fmla="*/ 3721337 w 7467600"/>
              <a:gd name="connsiteY936" fmla="*/ 0 h 6858000"/>
              <a:gd name="connsiteX937" fmla="*/ 2867960 w 7467600"/>
              <a:gd name="connsiteY937" fmla="*/ 0 h 6858000"/>
              <a:gd name="connsiteX938" fmla="*/ 2926351 w 7467600"/>
              <a:gd name="connsiteY938" fmla="*/ 0 h 6858000"/>
              <a:gd name="connsiteX939" fmla="*/ 2902823 w 7467600"/>
              <a:gd name="connsiteY939" fmla="*/ 262929 h 6858000"/>
              <a:gd name="connsiteX940" fmla="*/ 2940663 w 7467600"/>
              <a:gd name="connsiteY940" fmla="*/ 140884 h 6858000"/>
              <a:gd name="connsiteX941" fmla="*/ 2947039 w 7467600"/>
              <a:gd name="connsiteY941" fmla="*/ 122524 h 6858000"/>
              <a:gd name="connsiteX942" fmla="*/ 2984316 w 7467600"/>
              <a:gd name="connsiteY942" fmla="*/ 0 h 6858000"/>
              <a:gd name="connsiteX943" fmla="*/ 3016114 w 7467600"/>
              <a:gd name="connsiteY943" fmla="*/ 0 h 6858000"/>
              <a:gd name="connsiteX944" fmla="*/ 2979949 w 7467600"/>
              <a:gd name="connsiteY944" fmla="*/ 119274 h 6858000"/>
              <a:gd name="connsiteX945" fmla="*/ 3023879 w 7467600"/>
              <a:gd name="connsiteY945" fmla="*/ 0 h 6858000"/>
              <a:gd name="connsiteX946" fmla="*/ 3105400 w 7467600"/>
              <a:gd name="connsiteY946" fmla="*/ 0 h 6858000"/>
              <a:gd name="connsiteX947" fmla="*/ 3094669 w 7467600"/>
              <a:gd name="connsiteY947" fmla="*/ 30308 h 6858000"/>
              <a:gd name="connsiteX948" fmla="*/ 2901945 w 7467600"/>
              <a:gd name="connsiteY948" fmla="*/ 466538 h 6858000"/>
              <a:gd name="connsiteX949" fmla="*/ 2815209 w 7467600"/>
              <a:gd name="connsiteY949" fmla="*/ 497361 h 6858000"/>
              <a:gd name="connsiteX950" fmla="*/ 2844845 w 7467600"/>
              <a:gd name="connsiteY950" fmla="*/ 127638 h 6858000"/>
              <a:gd name="connsiteX951" fmla="*/ 2867960 w 7467600"/>
              <a:gd name="connsiteY951" fmla="*/ 0 h 6858000"/>
              <a:gd name="connsiteX952" fmla="*/ 1057230 w 7467600"/>
              <a:gd name="connsiteY952" fmla="*/ 0 h 6858000"/>
              <a:gd name="connsiteX953" fmla="*/ 1111003 w 7467600"/>
              <a:gd name="connsiteY953" fmla="*/ 0 h 6858000"/>
              <a:gd name="connsiteX954" fmla="*/ 1125553 w 7467600"/>
              <a:gd name="connsiteY954" fmla="*/ 52588 h 6858000"/>
              <a:gd name="connsiteX955" fmla="*/ 1304276 w 7467600"/>
              <a:gd name="connsiteY955" fmla="*/ 476275 h 6858000"/>
              <a:gd name="connsiteX956" fmla="*/ 1492066 w 7467600"/>
              <a:gd name="connsiteY956" fmla="*/ 886333 h 6858000"/>
              <a:gd name="connsiteX957" fmla="*/ 1423698 w 7467600"/>
              <a:gd name="connsiteY957" fmla="*/ 710817 h 6858000"/>
              <a:gd name="connsiteX958" fmla="*/ 1357609 w 7467600"/>
              <a:gd name="connsiteY958" fmla="*/ 532892 h 6858000"/>
              <a:gd name="connsiteX959" fmla="*/ 1309550 w 7467600"/>
              <a:gd name="connsiteY959" fmla="*/ 374031 h 6858000"/>
              <a:gd name="connsiteX960" fmla="*/ 1193673 w 7467600"/>
              <a:gd name="connsiteY960" fmla="*/ 49533 h 6858000"/>
              <a:gd name="connsiteX961" fmla="*/ 1164391 w 7467600"/>
              <a:gd name="connsiteY961" fmla="*/ 0 h 6858000"/>
              <a:gd name="connsiteX962" fmla="*/ 1200666 w 7467600"/>
              <a:gd name="connsiteY962" fmla="*/ 0 h 6858000"/>
              <a:gd name="connsiteX963" fmla="*/ 1223408 w 7467600"/>
              <a:gd name="connsiteY963" fmla="*/ 38996 h 6858000"/>
              <a:gd name="connsiteX964" fmla="*/ 1339635 w 7467600"/>
              <a:gd name="connsiteY964" fmla="*/ 365517 h 6858000"/>
              <a:gd name="connsiteX965" fmla="*/ 1387469 w 7467600"/>
              <a:gd name="connsiteY965" fmla="*/ 523079 h 6858000"/>
              <a:gd name="connsiteX966" fmla="*/ 1452685 w 7467600"/>
              <a:gd name="connsiteY966" fmla="*/ 699806 h 6858000"/>
              <a:gd name="connsiteX967" fmla="*/ 1492092 w 7467600"/>
              <a:gd name="connsiteY967" fmla="*/ 800424 h 6858000"/>
              <a:gd name="connsiteX968" fmla="*/ 1455302 w 7467600"/>
              <a:gd name="connsiteY968" fmla="*/ 632913 h 6858000"/>
              <a:gd name="connsiteX969" fmla="*/ 1222336 w 7467600"/>
              <a:gd name="connsiteY969" fmla="*/ 9480 h 6858000"/>
              <a:gd name="connsiteX970" fmla="*/ 1214634 w 7467600"/>
              <a:gd name="connsiteY970" fmla="*/ 0 h 6858000"/>
              <a:gd name="connsiteX971" fmla="*/ 1289827 w 7467600"/>
              <a:gd name="connsiteY971" fmla="*/ 0 h 6858000"/>
              <a:gd name="connsiteX972" fmla="*/ 1321076 w 7467600"/>
              <a:gd name="connsiteY972" fmla="*/ 59722 h 6858000"/>
              <a:gd name="connsiteX973" fmla="*/ 1512579 w 7467600"/>
              <a:gd name="connsiteY973" fmla="*/ 626441 h 6858000"/>
              <a:gd name="connsiteX974" fmla="*/ 1506076 w 7467600"/>
              <a:gd name="connsiteY974" fmla="*/ 1089289 h 6858000"/>
              <a:gd name="connsiteX975" fmla="*/ 1486346 w 7467600"/>
              <a:gd name="connsiteY975" fmla="*/ 1079919 h 6858000"/>
              <a:gd name="connsiteX976" fmla="*/ 1070511 w 7467600"/>
              <a:gd name="connsiteY976" fmla="*/ 48609 h 6858000"/>
              <a:gd name="connsiteX977" fmla="*/ 1057230 w 7467600"/>
              <a:gd name="connsiteY977" fmla="*/ 0 h 6858000"/>
              <a:gd name="connsiteX978" fmla="*/ 43151 w 7467600"/>
              <a:gd name="connsiteY978" fmla="*/ 0 h 6858000"/>
              <a:gd name="connsiteX979" fmla="*/ 95283 w 7467600"/>
              <a:gd name="connsiteY979" fmla="*/ 0 h 6858000"/>
              <a:gd name="connsiteX980" fmla="*/ 300708 w 7467600"/>
              <a:gd name="connsiteY980" fmla="*/ 154571 h 6858000"/>
              <a:gd name="connsiteX981" fmla="*/ 530414 w 7467600"/>
              <a:gd name="connsiteY981" fmla="*/ 354673 h 6858000"/>
              <a:gd name="connsiteX982" fmla="*/ 333785 w 7467600"/>
              <a:gd name="connsiteY982" fmla="*/ 161564 h 6858000"/>
              <a:gd name="connsiteX983" fmla="*/ 147005 w 7467600"/>
              <a:gd name="connsiteY983" fmla="*/ 0 h 6858000"/>
              <a:gd name="connsiteX984" fmla="*/ 272509 w 7467600"/>
              <a:gd name="connsiteY984" fmla="*/ 0 h 6858000"/>
              <a:gd name="connsiteX985" fmla="*/ 326276 w 7467600"/>
              <a:gd name="connsiteY985" fmla="*/ 45847 h 6858000"/>
              <a:gd name="connsiteX986" fmla="*/ 823759 w 7467600"/>
              <a:gd name="connsiteY986" fmla="*/ 574145 h 6858000"/>
              <a:gd name="connsiteX987" fmla="*/ 811254 w 7467600"/>
              <a:gd name="connsiteY987" fmla="*/ 665546 h 6858000"/>
              <a:gd name="connsiteX988" fmla="*/ 154042 w 7467600"/>
              <a:gd name="connsiteY988" fmla="*/ 261522 h 6858000"/>
              <a:gd name="connsiteX989" fmla="*/ 13550 w 7467600"/>
              <a:gd name="connsiteY989" fmla="*/ 158423 h 6858000"/>
              <a:gd name="connsiteX990" fmla="*/ 0 w 7467600"/>
              <a:gd name="connsiteY990" fmla="*/ 146618 h 6858000"/>
              <a:gd name="connsiteX991" fmla="*/ 0 w 7467600"/>
              <a:gd name="connsiteY991" fmla="*/ 59161 h 6858000"/>
              <a:gd name="connsiteX992" fmla="*/ 45427 w 7467600"/>
              <a:gd name="connsiteY992" fmla="*/ 101078 h 6858000"/>
              <a:gd name="connsiteX993" fmla="*/ 630103 w 7467600"/>
              <a:gd name="connsiteY993" fmla="*/ 485885 h 6858000"/>
              <a:gd name="connsiteX994" fmla="*/ 532040 w 7467600"/>
              <a:gd name="connsiteY994" fmla="*/ 399359 h 6858000"/>
              <a:gd name="connsiteX995" fmla="*/ 517618 w 7467600"/>
              <a:gd name="connsiteY995" fmla="*/ 385726 h 6858000"/>
              <a:gd name="connsiteX996" fmla="*/ 285074 w 7467600"/>
              <a:gd name="connsiteY996" fmla="*/ 182755 h 6858000"/>
              <a:gd name="connsiteX997" fmla="*/ 43151 w 7467600"/>
              <a:gd name="connsiteY997"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53035 w 7467600"/>
              <a:gd name="connsiteY127" fmla="*/ 5197318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7327465 w 7467600"/>
              <a:gd name="connsiteY139" fmla="*/ 5174181 h 6858000"/>
              <a:gd name="connsiteX140" fmla="*/ 7353035 w 7467600"/>
              <a:gd name="connsiteY140" fmla="*/ 5197318 h 6858000"/>
              <a:gd name="connsiteX141" fmla="*/ 1903353 w 7467600"/>
              <a:gd name="connsiteY141" fmla="*/ 5044827 h 6858000"/>
              <a:gd name="connsiteX142" fmla="*/ 1936931 w 7467600"/>
              <a:gd name="connsiteY142" fmla="*/ 5093954 h 6858000"/>
              <a:gd name="connsiteX143" fmla="*/ 2195868 w 7467600"/>
              <a:gd name="connsiteY143" fmla="*/ 5396574 h 6858000"/>
              <a:gd name="connsiteX144" fmla="*/ 2088852 w 7467600"/>
              <a:gd name="connsiteY144" fmla="*/ 5166123 h 6858000"/>
              <a:gd name="connsiteX145" fmla="*/ 1958241 w 7467600"/>
              <a:gd name="connsiteY145" fmla="*/ 5067955 h 6858000"/>
              <a:gd name="connsiteX146" fmla="*/ 1903353 w 7467600"/>
              <a:gd name="connsiteY146" fmla="*/ 5044827 h 6858000"/>
              <a:gd name="connsiteX147" fmla="*/ 1979378 w 7467600"/>
              <a:gd name="connsiteY147" fmla="*/ 4769504 h 6858000"/>
              <a:gd name="connsiteX148" fmla="*/ 2882120 w 7467600"/>
              <a:gd name="connsiteY148" fmla="*/ 5064547 h 6858000"/>
              <a:gd name="connsiteX149" fmla="*/ 2793103 w 7467600"/>
              <a:gd name="connsiteY149" fmla="*/ 5039699 h 6858000"/>
              <a:gd name="connsiteX150" fmla="*/ 2770041 w 7467600"/>
              <a:gd name="connsiteY150" fmla="*/ 5033634 h 6858000"/>
              <a:gd name="connsiteX151" fmla="*/ 1979378 w 7467600"/>
              <a:gd name="connsiteY151" fmla="*/ 4769504 h 6858000"/>
              <a:gd name="connsiteX152" fmla="*/ 1927410 w 7467600"/>
              <a:gd name="connsiteY152" fmla="*/ 4716164 h 6858000"/>
              <a:gd name="connsiteX153" fmla="*/ 1959587 w 7467600"/>
              <a:gd name="connsiteY153" fmla="*/ 4728849 h 6858000"/>
              <a:gd name="connsiteX154" fmla="*/ 2777707 w 7467600"/>
              <a:gd name="connsiteY154" fmla="*/ 5003991 h 6858000"/>
              <a:gd name="connsiteX155" fmla="*/ 2800768 w 7467600"/>
              <a:gd name="connsiteY155" fmla="*/ 5010056 h 6858000"/>
              <a:gd name="connsiteX156" fmla="*/ 2879408 w 7467600"/>
              <a:gd name="connsiteY156" fmla="*/ 5031590 h 6858000"/>
              <a:gd name="connsiteX157" fmla="*/ 2862295 w 7467600"/>
              <a:gd name="connsiteY157" fmla="*/ 5022958 h 6858000"/>
              <a:gd name="connsiteX158" fmla="*/ 2813343 w 7467600"/>
              <a:gd name="connsiteY158" fmla="*/ 4998369 h 6858000"/>
              <a:gd name="connsiteX159" fmla="*/ 2646245 w 7467600"/>
              <a:gd name="connsiteY159" fmla="*/ 4930999 h 6858000"/>
              <a:gd name="connsiteX160" fmla="*/ 1999243 w 7467600"/>
              <a:gd name="connsiteY160" fmla="*/ 4730524 h 6858000"/>
              <a:gd name="connsiteX161" fmla="*/ 1979527 w 7467600"/>
              <a:gd name="connsiteY161" fmla="*/ 4726651 h 6858000"/>
              <a:gd name="connsiteX162" fmla="*/ 1927410 w 7467600"/>
              <a:gd name="connsiteY162" fmla="*/ 4716164 h 6858000"/>
              <a:gd name="connsiteX163" fmla="*/ 1997014 w 7467600"/>
              <a:gd name="connsiteY163" fmla="*/ 4698007 h 6858000"/>
              <a:gd name="connsiteX164" fmla="*/ 2005458 w 7467600"/>
              <a:gd name="connsiteY164" fmla="*/ 4699540 h 6858000"/>
              <a:gd name="connsiteX165" fmla="*/ 2657186 w 7467600"/>
              <a:gd name="connsiteY165" fmla="*/ 4901687 h 6858000"/>
              <a:gd name="connsiteX166" fmla="*/ 2826662 w 7467600"/>
              <a:gd name="connsiteY166" fmla="*/ 4970362 h 6858000"/>
              <a:gd name="connsiteX167" fmla="*/ 2876100 w 7467600"/>
              <a:gd name="connsiteY167" fmla="*/ 4995397 h 6858000"/>
              <a:gd name="connsiteX168" fmla="*/ 3042600 w 7467600"/>
              <a:gd name="connsiteY168" fmla="*/ 5059532 h 6858000"/>
              <a:gd name="connsiteX169" fmla="*/ 1997014 w 7467600"/>
              <a:gd name="connsiteY169" fmla="*/ 4698007 h 6858000"/>
              <a:gd name="connsiteX170" fmla="*/ 2305292 w 7467600"/>
              <a:gd name="connsiteY170" fmla="*/ 4219492 h 6858000"/>
              <a:gd name="connsiteX171" fmla="*/ 3360922 w 7467600"/>
              <a:gd name="connsiteY171" fmla="*/ 4529373 h 6858000"/>
              <a:gd name="connsiteX172" fmla="*/ 3492420 w 7467600"/>
              <a:gd name="connsiteY172" fmla="*/ 4510145 h 6858000"/>
              <a:gd name="connsiteX173" fmla="*/ 3364086 w 7467600"/>
              <a:gd name="connsiteY173" fmla="*/ 4480340 h 6858000"/>
              <a:gd name="connsiteX174" fmla="*/ 3225818 w 7467600"/>
              <a:gd name="connsiteY174" fmla="*/ 4411822 h 6858000"/>
              <a:gd name="connsiteX175" fmla="*/ 3129696 w 7467600"/>
              <a:gd name="connsiteY175" fmla="*/ 4360704 h 6858000"/>
              <a:gd name="connsiteX176" fmla="*/ 2814545 w 7467600"/>
              <a:gd name="connsiteY176" fmla="*/ 4282955 h 6858000"/>
              <a:gd name="connsiteX177" fmla="*/ 2305292 w 7467600"/>
              <a:gd name="connsiteY177" fmla="*/ 4219492 h 6858000"/>
              <a:gd name="connsiteX178" fmla="*/ 2626982 w 7467600"/>
              <a:gd name="connsiteY178" fmla="*/ 4206450 h 6858000"/>
              <a:gd name="connsiteX179" fmla="*/ 2490617 w 7467600"/>
              <a:gd name="connsiteY179" fmla="*/ 4206951 h 6858000"/>
              <a:gd name="connsiteX180" fmla="*/ 2819869 w 7467600"/>
              <a:gd name="connsiteY180" fmla="*/ 4252936 h 6858000"/>
              <a:gd name="connsiteX181" fmla="*/ 3143018 w 7467600"/>
              <a:gd name="connsiteY181" fmla="*/ 4332698 h 6858000"/>
              <a:gd name="connsiteX182" fmla="*/ 3241520 w 7467600"/>
              <a:gd name="connsiteY182" fmla="*/ 4385112 h 6858000"/>
              <a:gd name="connsiteX183" fmla="*/ 3374575 w 7467600"/>
              <a:gd name="connsiteY183" fmla="*/ 4451517 h 6858000"/>
              <a:gd name="connsiteX184" fmla="*/ 3505221 w 7467600"/>
              <a:gd name="connsiteY184" fmla="*/ 4480757 h 6858000"/>
              <a:gd name="connsiteX185" fmla="*/ 2626982 w 7467600"/>
              <a:gd name="connsiteY185" fmla="*/ 4206450 h 6858000"/>
              <a:gd name="connsiteX186" fmla="*/ 1310106 w 7467600"/>
              <a:gd name="connsiteY186" fmla="*/ 3943217 h 6858000"/>
              <a:gd name="connsiteX187" fmla="*/ 854994 w 7467600"/>
              <a:gd name="connsiteY187" fmla="*/ 4399136 h 6858000"/>
              <a:gd name="connsiteX188" fmla="*/ 742462 w 7467600"/>
              <a:gd name="connsiteY188" fmla="*/ 4594648 h 6858000"/>
              <a:gd name="connsiteX189" fmla="*/ 820602 w 7467600"/>
              <a:gd name="connsiteY189" fmla="*/ 4485915 h 6858000"/>
              <a:gd name="connsiteX190" fmla="*/ 878295 w 7467600"/>
              <a:gd name="connsiteY190" fmla="*/ 4403594 h 6858000"/>
              <a:gd name="connsiteX191" fmla="*/ 1240607 w 7467600"/>
              <a:gd name="connsiteY191" fmla="*/ 4010401 h 6858000"/>
              <a:gd name="connsiteX192" fmla="*/ 1310106 w 7467600"/>
              <a:gd name="connsiteY192" fmla="*/ 3943217 h 6858000"/>
              <a:gd name="connsiteX193" fmla="*/ 1423113 w 7467600"/>
              <a:gd name="connsiteY193" fmla="*/ 3874565 h 6858000"/>
              <a:gd name="connsiteX194" fmla="*/ 1260565 w 7467600"/>
              <a:gd name="connsiteY194" fmla="*/ 4031982 h 6858000"/>
              <a:gd name="connsiteX195" fmla="*/ 901900 w 7467600"/>
              <a:gd name="connsiteY195" fmla="*/ 4421236 h 6858000"/>
              <a:gd name="connsiteX196" fmla="*/ 845044 w 7467600"/>
              <a:gd name="connsiteY196" fmla="*/ 4502436 h 6858000"/>
              <a:gd name="connsiteX197" fmla="*/ 685926 w 7467600"/>
              <a:gd name="connsiteY197" fmla="*/ 4703069 h 6858000"/>
              <a:gd name="connsiteX198" fmla="*/ 684248 w 7467600"/>
              <a:gd name="connsiteY198" fmla="*/ 4706721 h 6858000"/>
              <a:gd name="connsiteX199" fmla="*/ 1423113 w 7467600"/>
              <a:gd name="connsiteY199" fmla="*/ 3874565 h 6858000"/>
              <a:gd name="connsiteX200" fmla="*/ 3316479 w 7467600"/>
              <a:gd name="connsiteY200" fmla="*/ 3872136 h 6858000"/>
              <a:gd name="connsiteX201" fmla="*/ 3546806 w 7467600"/>
              <a:gd name="connsiteY201" fmla="*/ 4356139 h 6858000"/>
              <a:gd name="connsiteX202" fmla="*/ 3364433 w 7467600"/>
              <a:gd name="connsiteY202" fmla="*/ 3953121 h 6858000"/>
              <a:gd name="connsiteX203" fmla="*/ 3316479 w 7467600"/>
              <a:gd name="connsiteY203" fmla="*/ 3872136 h 6858000"/>
              <a:gd name="connsiteX204" fmla="*/ 3291335 w 7467600"/>
              <a:gd name="connsiteY204" fmla="*/ 3767420 h 6858000"/>
              <a:gd name="connsiteX205" fmla="*/ 3390805 w 7467600"/>
              <a:gd name="connsiteY205" fmla="*/ 3937163 h 6858000"/>
              <a:gd name="connsiteX206" fmla="*/ 3579062 w 7467600"/>
              <a:gd name="connsiteY206" fmla="*/ 4359040 h 6858000"/>
              <a:gd name="connsiteX207" fmla="*/ 3467355 w 7467600"/>
              <a:gd name="connsiteY207" fmla="*/ 3988130 h 6858000"/>
              <a:gd name="connsiteX208" fmla="*/ 3310753 w 7467600"/>
              <a:gd name="connsiteY208" fmla="*/ 3787140 h 6858000"/>
              <a:gd name="connsiteX209" fmla="*/ 3291335 w 7467600"/>
              <a:gd name="connsiteY209" fmla="*/ 3767420 h 6858000"/>
              <a:gd name="connsiteX210" fmla="*/ 1635889 w 7467600"/>
              <a:gd name="connsiteY210" fmla="*/ 3709494 h 6858000"/>
              <a:gd name="connsiteX211" fmla="*/ 1634800 w 7467600"/>
              <a:gd name="connsiteY211" fmla="*/ 3731111 h 6858000"/>
              <a:gd name="connsiteX212" fmla="*/ 1635889 w 7467600"/>
              <a:gd name="connsiteY212" fmla="*/ 3709494 h 6858000"/>
              <a:gd name="connsiteX213" fmla="*/ 1510397 w 7467600"/>
              <a:gd name="connsiteY213" fmla="*/ 3684705 h 6858000"/>
              <a:gd name="connsiteX214" fmla="*/ 1146550 w 7467600"/>
              <a:gd name="connsiteY214" fmla="*/ 3802012 h 6858000"/>
              <a:gd name="connsiteX215" fmla="*/ 698834 w 7467600"/>
              <a:gd name="connsiteY215" fmla="*/ 3952272 h 6858000"/>
              <a:gd name="connsiteX216" fmla="*/ 34256 w 7467600"/>
              <a:gd name="connsiteY216" fmla="*/ 4347603 h 6858000"/>
              <a:gd name="connsiteX217" fmla="*/ 527241 w 7467600"/>
              <a:gd name="connsiteY217" fmla="*/ 4065078 h 6858000"/>
              <a:gd name="connsiteX218" fmla="*/ 1510397 w 7467600"/>
              <a:gd name="connsiteY218" fmla="*/ 3684705 h 6858000"/>
              <a:gd name="connsiteX219" fmla="*/ 1313114 w 7467600"/>
              <a:gd name="connsiteY219" fmla="*/ 3655216 h 6858000"/>
              <a:gd name="connsiteX220" fmla="*/ 1109304 w 7467600"/>
              <a:gd name="connsiteY220" fmla="*/ 3669030 h 6858000"/>
              <a:gd name="connsiteX221" fmla="*/ 8129 w 7467600"/>
              <a:gd name="connsiteY221" fmla="*/ 4330519 h 6858000"/>
              <a:gd name="connsiteX222" fmla="*/ 687572 w 7467600"/>
              <a:gd name="connsiteY222" fmla="*/ 3925629 h 6858000"/>
              <a:gd name="connsiteX223" fmla="*/ 1138365 w 7467600"/>
              <a:gd name="connsiteY223" fmla="*/ 3774515 h 6858000"/>
              <a:gd name="connsiteX224" fmla="*/ 1505579 w 7467600"/>
              <a:gd name="connsiteY224" fmla="*/ 3655526 h 6858000"/>
              <a:gd name="connsiteX225" fmla="*/ 1313114 w 7467600"/>
              <a:gd name="connsiteY225" fmla="*/ 3655216 h 6858000"/>
              <a:gd name="connsiteX226" fmla="*/ 3655073 w 7467600"/>
              <a:gd name="connsiteY226" fmla="*/ 3650884 h 6858000"/>
              <a:gd name="connsiteX227" fmla="*/ 3989938 w 7467600"/>
              <a:gd name="connsiteY227" fmla="*/ 3991685 h 6858000"/>
              <a:gd name="connsiteX228" fmla="*/ 4393907 w 7467600"/>
              <a:gd name="connsiteY228" fmla="*/ 4261258 h 6858000"/>
              <a:gd name="connsiteX229" fmla="*/ 4648051 w 7467600"/>
              <a:gd name="connsiteY229" fmla="*/ 4374051 h 6858000"/>
              <a:gd name="connsiteX230" fmla="*/ 4383389 w 7467600"/>
              <a:gd name="connsiteY230" fmla="*/ 4184369 h 6858000"/>
              <a:gd name="connsiteX231" fmla="*/ 4165508 w 7467600"/>
              <a:gd name="connsiteY231" fmla="*/ 4035196 h 6858000"/>
              <a:gd name="connsiteX232" fmla="*/ 4068162 w 7467600"/>
              <a:gd name="connsiteY232" fmla="*/ 3953394 h 6858000"/>
              <a:gd name="connsiteX233" fmla="*/ 3981416 w 7467600"/>
              <a:gd name="connsiteY233" fmla="*/ 3880482 h 6858000"/>
              <a:gd name="connsiteX234" fmla="*/ 3800147 w 7467600"/>
              <a:gd name="connsiteY234" fmla="*/ 3749872 h 6858000"/>
              <a:gd name="connsiteX235" fmla="*/ 3655073 w 7467600"/>
              <a:gd name="connsiteY235" fmla="*/ 3650884 h 6858000"/>
              <a:gd name="connsiteX236" fmla="*/ 3670252 w 7467600"/>
              <a:gd name="connsiteY236" fmla="*/ 3622798 h 6858000"/>
              <a:gd name="connsiteX237" fmla="*/ 3817258 w 7467600"/>
              <a:gd name="connsiteY237" fmla="*/ 3723577 h 6858000"/>
              <a:gd name="connsiteX238" fmla="*/ 4000461 w 7467600"/>
              <a:gd name="connsiteY238" fmla="*/ 3855966 h 6858000"/>
              <a:gd name="connsiteX239" fmla="*/ 4088180 w 7467600"/>
              <a:gd name="connsiteY239" fmla="*/ 3929774 h 6858000"/>
              <a:gd name="connsiteX240" fmla="*/ 4184555 w 7467600"/>
              <a:gd name="connsiteY240" fmla="*/ 4010683 h 6858000"/>
              <a:gd name="connsiteX241" fmla="*/ 4399563 w 7467600"/>
              <a:gd name="connsiteY241" fmla="*/ 4158106 h 6858000"/>
              <a:gd name="connsiteX242" fmla="*/ 4684469 w 7467600"/>
              <a:gd name="connsiteY242" fmla="*/ 4364680 h 6858000"/>
              <a:gd name="connsiteX243" fmla="*/ 4690271 w 7467600"/>
              <a:gd name="connsiteY243" fmla="*/ 4370034 h 6858000"/>
              <a:gd name="connsiteX244" fmla="*/ 4136093 w 7467600"/>
              <a:gd name="connsiteY244" fmla="*/ 3858466 h 6858000"/>
              <a:gd name="connsiteX245" fmla="*/ 3670252 w 7467600"/>
              <a:gd name="connsiteY245" fmla="*/ 3622798 h 6858000"/>
              <a:gd name="connsiteX246" fmla="*/ 4440129 w 7467600"/>
              <a:gd name="connsiteY246" fmla="*/ 3448571 h 6858000"/>
              <a:gd name="connsiteX247" fmla="*/ 4856525 w 7467600"/>
              <a:gd name="connsiteY247" fmla="*/ 3915351 h 6858000"/>
              <a:gd name="connsiteX248" fmla="*/ 5059055 w 7467600"/>
              <a:gd name="connsiteY248" fmla="*/ 4108918 h 6858000"/>
              <a:gd name="connsiteX249" fmla="*/ 5290070 w 7467600"/>
              <a:gd name="connsiteY249" fmla="*/ 4263619 h 6858000"/>
              <a:gd name="connsiteX250" fmla="*/ 4834991 w 7467600"/>
              <a:gd name="connsiteY250" fmla="*/ 3830985 h 6858000"/>
              <a:gd name="connsiteX251" fmla="*/ 4440129 w 7467600"/>
              <a:gd name="connsiteY251" fmla="*/ 3448571 h 6858000"/>
              <a:gd name="connsiteX252" fmla="*/ 4441737 w 7467600"/>
              <a:gd name="connsiteY252" fmla="*/ 3399734 h 6858000"/>
              <a:gd name="connsiteX253" fmla="*/ 4431236 w 7467600"/>
              <a:gd name="connsiteY253" fmla="*/ 3400954 h 6858000"/>
              <a:gd name="connsiteX254" fmla="*/ 4557150 w 7467600"/>
              <a:gd name="connsiteY254" fmla="*/ 3510023 h 6858000"/>
              <a:gd name="connsiteX255" fmla="*/ 4856936 w 7467600"/>
              <a:gd name="connsiteY255" fmla="*/ 3809146 h 6858000"/>
              <a:gd name="connsiteX256" fmla="*/ 5111996 w 7467600"/>
              <a:gd name="connsiteY256" fmla="*/ 4065759 h 6858000"/>
              <a:gd name="connsiteX257" fmla="*/ 5388878 w 7467600"/>
              <a:gd name="connsiteY257" fmla="*/ 4300185 h 6858000"/>
              <a:gd name="connsiteX258" fmla="*/ 5425556 w 7467600"/>
              <a:gd name="connsiteY258" fmla="*/ 4308967 h 6858000"/>
              <a:gd name="connsiteX259" fmla="*/ 4943646 w 7467600"/>
              <a:gd name="connsiteY259" fmla="*/ 3822916 h 6858000"/>
              <a:gd name="connsiteX260" fmla="*/ 4594837 w 7467600"/>
              <a:gd name="connsiteY260" fmla="*/ 3532274 h 6858000"/>
              <a:gd name="connsiteX261" fmla="*/ 4441737 w 7467600"/>
              <a:gd name="connsiteY261" fmla="*/ 3399734 h 6858000"/>
              <a:gd name="connsiteX262" fmla="*/ 5425834 w 7467600"/>
              <a:gd name="connsiteY262" fmla="*/ 3162785 h 6858000"/>
              <a:gd name="connsiteX263" fmla="*/ 5401644 w 7467600"/>
              <a:gd name="connsiteY263" fmla="*/ 3617847 h 6858000"/>
              <a:gd name="connsiteX264" fmla="*/ 5467256 w 7467600"/>
              <a:gd name="connsiteY264" fmla="*/ 4175494 h 6858000"/>
              <a:gd name="connsiteX265" fmla="*/ 5448069 w 7467600"/>
              <a:gd name="connsiteY265" fmla="*/ 3567554 h 6858000"/>
              <a:gd name="connsiteX266" fmla="*/ 5425834 w 7467600"/>
              <a:gd name="connsiteY266" fmla="*/ 3162785 h 6858000"/>
              <a:gd name="connsiteX267" fmla="*/ 1318687 w 7467600"/>
              <a:gd name="connsiteY267" fmla="*/ 3113840 h 6858000"/>
              <a:gd name="connsiteX268" fmla="*/ 1066793 w 7467600"/>
              <a:gd name="connsiteY268" fmla="*/ 3212171 h 6858000"/>
              <a:gd name="connsiteX269" fmla="*/ 993319 w 7467600"/>
              <a:gd name="connsiteY269" fmla="*/ 3247648 h 6858000"/>
              <a:gd name="connsiteX270" fmla="*/ 853081 w 7467600"/>
              <a:gd name="connsiteY270" fmla="*/ 3312410 h 6858000"/>
              <a:gd name="connsiteX271" fmla="*/ 805957 w 7467600"/>
              <a:gd name="connsiteY271" fmla="*/ 3330443 h 6858000"/>
              <a:gd name="connsiteX272" fmla="*/ 1318687 w 7467600"/>
              <a:gd name="connsiteY272" fmla="*/ 3113840 h 6858000"/>
              <a:gd name="connsiteX273" fmla="*/ 5453702 w 7467600"/>
              <a:gd name="connsiteY273" fmla="*/ 3090882 h 6858000"/>
              <a:gd name="connsiteX274" fmla="*/ 5480135 w 7467600"/>
              <a:gd name="connsiteY274" fmla="*/ 3565802 h 6858000"/>
              <a:gd name="connsiteX275" fmla="*/ 5499023 w 7467600"/>
              <a:gd name="connsiteY275" fmla="*/ 4166310 h 6858000"/>
              <a:gd name="connsiteX276" fmla="*/ 5547022 w 7467600"/>
              <a:gd name="connsiteY276" fmla="*/ 3607838 h 6858000"/>
              <a:gd name="connsiteX277" fmla="*/ 5515964 w 7467600"/>
              <a:gd name="connsiteY277" fmla="*/ 3378541 h 6858000"/>
              <a:gd name="connsiteX278" fmla="*/ 5453702 w 7467600"/>
              <a:gd name="connsiteY278" fmla="*/ 3090882 h 6858000"/>
              <a:gd name="connsiteX279" fmla="*/ 1238695 w 7467600"/>
              <a:gd name="connsiteY279" fmla="*/ 3076820 h 6858000"/>
              <a:gd name="connsiteX280" fmla="*/ 716371 w 7467600"/>
              <a:gd name="connsiteY280" fmla="*/ 3293249 h 6858000"/>
              <a:gd name="connsiteX281" fmla="*/ 579522 w 7467600"/>
              <a:gd name="connsiteY281" fmla="*/ 3371759 h 6858000"/>
              <a:gd name="connsiteX282" fmla="*/ 600288 w 7467600"/>
              <a:gd name="connsiteY282" fmla="*/ 3365555 h 6858000"/>
              <a:gd name="connsiteX283" fmla="*/ 840692 w 7467600"/>
              <a:gd name="connsiteY283" fmla="*/ 3284921 h 6858000"/>
              <a:gd name="connsiteX284" fmla="*/ 979248 w 7467600"/>
              <a:gd name="connsiteY284" fmla="*/ 3221003 h 6858000"/>
              <a:gd name="connsiteX285" fmla="*/ 1053282 w 7467600"/>
              <a:gd name="connsiteY285" fmla="*/ 3185247 h 6858000"/>
              <a:gd name="connsiteX286" fmla="*/ 1320603 w 7467600"/>
              <a:gd name="connsiteY286" fmla="*/ 3081281 h 6858000"/>
              <a:gd name="connsiteX287" fmla="*/ 1238695 w 7467600"/>
              <a:gd name="connsiteY287" fmla="*/ 3076820 h 6858000"/>
              <a:gd name="connsiteX288" fmla="*/ 5425627 w 7467600"/>
              <a:gd name="connsiteY288" fmla="*/ 2954192 h 6858000"/>
              <a:gd name="connsiteX289" fmla="*/ 5470770 w 7467600"/>
              <a:gd name="connsiteY289" fmla="*/ 3005435 h 6858000"/>
              <a:gd name="connsiteX290" fmla="*/ 5519779 w 7467600"/>
              <a:gd name="connsiteY290" fmla="*/ 4359223 h 6858000"/>
              <a:gd name="connsiteX291" fmla="*/ 5520293 w 7467600"/>
              <a:gd name="connsiteY291" fmla="*/ 4360602 h 6858000"/>
              <a:gd name="connsiteX292" fmla="*/ 5767221 w 7467600"/>
              <a:gd name="connsiteY292" fmla="*/ 4665564 h 6858000"/>
              <a:gd name="connsiteX293" fmla="*/ 6937169 w 7467600"/>
              <a:gd name="connsiteY293" fmla="*/ 4815941 h 6858000"/>
              <a:gd name="connsiteX294" fmla="*/ 6953922 w 7467600"/>
              <a:gd name="connsiteY294" fmla="*/ 4890068 h 6858000"/>
              <a:gd name="connsiteX295" fmla="*/ 6071359 w 7467600"/>
              <a:gd name="connsiteY295" fmla="*/ 4770770 h 6858000"/>
              <a:gd name="connsiteX296" fmla="*/ 6038839 w 7467600"/>
              <a:gd name="connsiteY296" fmla="*/ 4764474 h 6858000"/>
              <a:gd name="connsiteX297" fmla="*/ 6038706 w 7467600"/>
              <a:gd name="connsiteY297" fmla="*/ 4763847 h 6858000"/>
              <a:gd name="connsiteX298" fmla="*/ 6037784 w 7467600"/>
              <a:gd name="connsiteY298" fmla="*/ 4764270 h 6858000"/>
              <a:gd name="connsiteX299" fmla="*/ 6038839 w 7467600"/>
              <a:gd name="connsiteY299" fmla="*/ 4764474 h 6858000"/>
              <a:gd name="connsiteX300" fmla="*/ 6040338 w 7467600"/>
              <a:gd name="connsiteY300" fmla="*/ 4771418 h 6858000"/>
              <a:gd name="connsiteX301" fmla="*/ 6024488 w 7467600"/>
              <a:gd name="connsiteY301" fmla="*/ 4809903 h 6858000"/>
              <a:gd name="connsiteX302" fmla="*/ 5599771 w 7467600"/>
              <a:gd name="connsiteY302" fmla="*/ 5509652 h 6858000"/>
              <a:gd name="connsiteX303" fmla="*/ 5548843 w 7467600"/>
              <a:gd name="connsiteY303" fmla="*/ 5563845 h 6858000"/>
              <a:gd name="connsiteX304" fmla="*/ 5940952 w 7467600"/>
              <a:gd name="connsiteY304" fmla="*/ 6250028 h 6858000"/>
              <a:gd name="connsiteX305" fmla="*/ 6043441 w 7467600"/>
              <a:gd name="connsiteY305" fmla="*/ 6665847 h 6858000"/>
              <a:gd name="connsiteX306" fmla="*/ 6093432 w 7467600"/>
              <a:gd name="connsiteY306" fmla="*/ 6858000 h 6858000"/>
              <a:gd name="connsiteX307" fmla="*/ 6034344 w 7467600"/>
              <a:gd name="connsiteY307" fmla="*/ 6858000 h 6858000"/>
              <a:gd name="connsiteX308" fmla="*/ 6026679 w 7467600"/>
              <a:gd name="connsiteY308" fmla="*/ 6836959 h 6858000"/>
              <a:gd name="connsiteX309" fmla="*/ 5800441 w 7467600"/>
              <a:gd name="connsiteY309" fmla="*/ 6335286 h 6858000"/>
              <a:gd name="connsiteX310" fmla="*/ 5526562 w 7467600"/>
              <a:gd name="connsiteY310" fmla="*/ 5705388 h 6858000"/>
              <a:gd name="connsiteX311" fmla="*/ 5519640 w 7467600"/>
              <a:gd name="connsiteY311" fmla="*/ 5683774 h 6858000"/>
              <a:gd name="connsiteX312" fmla="*/ 5844559 w 7467600"/>
              <a:gd name="connsiteY312" fmla="*/ 6553349 h 6858000"/>
              <a:gd name="connsiteX313" fmla="*/ 5975994 w 7467600"/>
              <a:gd name="connsiteY313" fmla="*/ 6858000 h 6858000"/>
              <a:gd name="connsiteX314" fmla="*/ 5898547 w 7467600"/>
              <a:gd name="connsiteY314" fmla="*/ 6858000 h 6858000"/>
              <a:gd name="connsiteX315" fmla="*/ 5682041 w 7467600"/>
              <a:gd name="connsiteY315" fmla="*/ 6355860 h 6858000"/>
              <a:gd name="connsiteX316" fmla="*/ 5461758 w 7467600"/>
              <a:gd name="connsiteY316" fmla="*/ 5820220 h 6858000"/>
              <a:gd name="connsiteX317" fmla="*/ 5237282 w 7467600"/>
              <a:gd name="connsiteY317" fmla="*/ 6579086 h 6858000"/>
              <a:gd name="connsiteX318" fmla="*/ 5115009 w 7467600"/>
              <a:gd name="connsiteY318" fmla="*/ 6858000 h 6858000"/>
              <a:gd name="connsiteX319" fmla="*/ 5028074 w 7467600"/>
              <a:gd name="connsiteY319" fmla="*/ 6858000 h 6858000"/>
              <a:gd name="connsiteX320" fmla="*/ 5079508 w 7467600"/>
              <a:gd name="connsiteY320" fmla="*/ 6749074 h 6858000"/>
              <a:gd name="connsiteX321" fmla="*/ 5371846 w 7467600"/>
              <a:gd name="connsiteY321" fmla="*/ 5924413 h 6858000"/>
              <a:gd name="connsiteX322" fmla="*/ 5270512 w 7467600"/>
              <a:gd name="connsiteY322" fmla="*/ 6138975 h 6858000"/>
              <a:gd name="connsiteX323" fmla="*/ 5062409 w 7467600"/>
              <a:gd name="connsiteY323" fmla="*/ 6653544 h 6858000"/>
              <a:gd name="connsiteX324" fmla="*/ 5036628 w 7467600"/>
              <a:gd name="connsiteY324" fmla="*/ 6754247 h 6858000"/>
              <a:gd name="connsiteX325" fmla="*/ 5009112 w 7467600"/>
              <a:gd name="connsiteY325" fmla="*/ 6858000 h 6858000"/>
              <a:gd name="connsiteX326" fmla="*/ 4976679 w 7467600"/>
              <a:gd name="connsiteY326" fmla="*/ 6858000 h 6858000"/>
              <a:gd name="connsiteX327" fmla="*/ 5006537 w 7467600"/>
              <a:gd name="connsiteY327" fmla="*/ 6747068 h 6858000"/>
              <a:gd name="connsiteX328" fmla="*/ 5032723 w 7467600"/>
              <a:gd name="connsiteY328" fmla="*/ 6644957 h 6858000"/>
              <a:gd name="connsiteX329" fmla="*/ 5242949 w 7467600"/>
              <a:gd name="connsiteY329" fmla="*/ 6125175 h 6858000"/>
              <a:gd name="connsiteX330" fmla="*/ 5286321 w 7467600"/>
              <a:gd name="connsiteY330" fmla="*/ 6033555 h 6858000"/>
              <a:gd name="connsiteX331" fmla="*/ 5008210 w 7467600"/>
              <a:gd name="connsiteY331" fmla="*/ 6649194 h 6858000"/>
              <a:gd name="connsiteX332" fmla="*/ 4986321 w 7467600"/>
              <a:gd name="connsiteY332" fmla="*/ 6765687 h 6858000"/>
              <a:gd name="connsiteX333" fmla="*/ 4973474 w 7467600"/>
              <a:gd name="connsiteY333" fmla="*/ 6858000 h 6858000"/>
              <a:gd name="connsiteX334" fmla="*/ 4907178 w 7467600"/>
              <a:gd name="connsiteY334" fmla="*/ 6858000 h 6858000"/>
              <a:gd name="connsiteX335" fmla="*/ 4910810 w 7467600"/>
              <a:gd name="connsiteY335" fmla="*/ 6829660 h 6858000"/>
              <a:gd name="connsiteX336" fmla="*/ 4987461 w 7467600"/>
              <a:gd name="connsiteY336" fmla="*/ 6432994 h 6858000"/>
              <a:gd name="connsiteX337" fmla="*/ 5179262 w 7467600"/>
              <a:gd name="connsiteY337" fmla="*/ 6035044 h 6858000"/>
              <a:gd name="connsiteX338" fmla="*/ 4689678 w 7467600"/>
              <a:gd name="connsiteY338" fmla="*/ 6440241 h 6858000"/>
              <a:gd name="connsiteX339" fmla="*/ 4477543 w 7467600"/>
              <a:gd name="connsiteY339" fmla="*/ 6674836 h 6858000"/>
              <a:gd name="connsiteX340" fmla="*/ 4329957 w 7467600"/>
              <a:gd name="connsiteY340" fmla="*/ 6858000 h 6858000"/>
              <a:gd name="connsiteX341" fmla="*/ 4218595 w 7467600"/>
              <a:gd name="connsiteY341" fmla="*/ 6858000 h 6858000"/>
              <a:gd name="connsiteX342" fmla="*/ 4368888 w 7467600"/>
              <a:gd name="connsiteY342" fmla="*/ 6668412 h 6858000"/>
              <a:gd name="connsiteX343" fmla="*/ 4563091 w 7467600"/>
              <a:gd name="connsiteY343" fmla="*/ 6442508 h 6858000"/>
              <a:gd name="connsiteX344" fmla="*/ 5387324 w 7467600"/>
              <a:gd name="connsiteY344" fmla="*/ 5705830 h 6858000"/>
              <a:gd name="connsiteX345" fmla="*/ 5073620 w 7467600"/>
              <a:gd name="connsiteY345" fmla="*/ 5955437 h 6858000"/>
              <a:gd name="connsiteX346" fmla="*/ 4689789 w 7467600"/>
              <a:gd name="connsiteY346" fmla="*/ 6268382 h 6858000"/>
              <a:gd name="connsiteX347" fmla="*/ 4418722 w 7467600"/>
              <a:gd name="connsiteY347" fmla="*/ 6570886 h 6858000"/>
              <a:gd name="connsiteX348" fmla="*/ 4214944 w 7467600"/>
              <a:gd name="connsiteY348" fmla="*/ 6858000 h 6858000"/>
              <a:gd name="connsiteX349" fmla="*/ 4177898 w 7467600"/>
              <a:gd name="connsiteY349" fmla="*/ 6858000 h 6858000"/>
              <a:gd name="connsiteX350" fmla="*/ 4391597 w 7467600"/>
              <a:gd name="connsiteY350" fmla="*/ 6556370 h 6858000"/>
              <a:gd name="connsiteX351" fmla="*/ 4668889 w 7467600"/>
              <a:gd name="connsiteY351" fmla="*/ 6246399 h 6858000"/>
              <a:gd name="connsiteX352" fmla="*/ 5055427 w 7467600"/>
              <a:gd name="connsiteY352" fmla="*/ 5931476 h 6858000"/>
              <a:gd name="connsiteX353" fmla="*/ 5371814 w 7467600"/>
              <a:gd name="connsiteY353" fmla="*/ 5678975 h 6858000"/>
              <a:gd name="connsiteX354" fmla="*/ 4987918 w 7467600"/>
              <a:gd name="connsiteY354" fmla="*/ 5838701 h 6858000"/>
              <a:gd name="connsiteX355" fmla="*/ 4317146 w 7467600"/>
              <a:gd name="connsiteY355" fmla="*/ 6587716 h 6858000"/>
              <a:gd name="connsiteX356" fmla="*/ 4171627 w 7467600"/>
              <a:gd name="connsiteY356" fmla="*/ 6858000 h 6858000"/>
              <a:gd name="connsiteX357" fmla="*/ 4081585 w 7467600"/>
              <a:gd name="connsiteY357" fmla="*/ 6858000 h 6858000"/>
              <a:gd name="connsiteX358" fmla="*/ 4238603 w 7467600"/>
              <a:gd name="connsiteY358" fmla="*/ 6559341 h 6858000"/>
              <a:gd name="connsiteX359" fmla="*/ 4778333 w 7467600"/>
              <a:gd name="connsiteY359" fmla="*/ 5873626 h 6858000"/>
              <a:gd name="connsiteX360" fmla="*/ 5414185 w 7467600"/>
              <a:gd name="connsiteY360" fmla="*/ 5573882 h 6858000"/>
              <a:gd name="connsiteX361" fmla="*/ 5959648 w 7467600"/>
              <a:gd name="connsiteY361" fmla="*/ 4760797 h 6858000"/>
              <a:gd name="connsiteX362" fmla="*/ 5355019 w 7467600"/>
              <a:gd name="connsiteY362" fmla="*/ 4734672 h 6858000"/>
              <a:gd name="connsiteX363" fmla="*/ 5083565 w 7467600"/>
              <a:gd name="connsiteY363" fmla="*/ 5179121 h 6858000"/>
              <a:gd name="connsiteX364" fmla="*/ 4713577 w 7467600"/>
              <a:gd name="connsiteY364" fmla="*/ 5616803 h 6858000"/>
              <a:gd name="connsiteX365" fmla="*/ 3989559 w 7467600"/>
              <a:gd name="connsiteY365" fmla="*/ 6145945 h 6858000"/>
              <a:gd name="connsiteX366" fmla="*/ 3939824 w 7467600"/>
              <a:gd name="connsiteY366" fmla="*/ 6066900 h 6858000"/>
              <a:gd name="connsiteX367" fmla="*/ 4584537 w 7467600"/>
              <a:gd name="connsiteY367" fmla="*/ 5324826 h 6858000"/>
              <a:gd name="connsiteX368" fmla="*/ 5037105 w 7467600"/>
              <a:gd name="connsiteY368" fmla="*/ 5088765 h 6858000"/>
              <a:gd name="connsiteX369" fmla="*/ 5039930 w 7467600"/>
              <a:gd name="connsiteY369" fmla="*/ 5089585 h 6858000"/>
              <a:gd name="connsiteX370" fmla="*/ 5263764 w 7467600"/>
              <a:gd name="connsiteY370" fmla="*/ 4735525 h 6858000"/>
              <a:gd name="connsiteX371" fmla="*/ 4086300 w 7467600"/>
              <a:gd name="connsiteY371" fmla="*/ 4884599 h 6858000"/>
              <a:gd name="connsiteX372" fmla="*/ 4085485 w 7467600"/>
              <a:gd name="connsiteY372" fmla="*/ 4899070 h 6858000"/>
              <a:gd name="connsiteX373" fmla="*/ 3871915 w 7467600"/>
              <a:gd name="connsiteY373" fmla="*/ 5253645 h 6858000"/>
              <a:gd name="connsiteX374" fmla="*/ 3799374 w 7467600"/>
              <a:gd name="connsiteY374" fmla="*/ 5466127 h 6858000"/>
              <a:gd name="connsiteX375" fmla="*/ 3498850 w 7467600"/>
              <a:gd name="connsiteY375" fmla="*/ 6661888 h 6858000"/>
              <a:gd name="connsiteX376" fmla="*/ 3399216 w 7467600"/>
              <a:gd name="connsiteY376" fmla="*/ 6858000 h 6858000"/>
              <a:gd name="connsiteX377" fmla="*/ 3303688 w 7467600"/>
              <a:gd name="connsiteY377" fmla="*/ 6858000 h 6858000"/>
              <a:gd name="connsiteX378" fmla="*/ 3391774 w 7467600"/>
              <a:gd name="connsiteY378" fmla="*/ 6697181 h 6858000"/>
              <a:gd name="connsiteX379" fmla="*/ 3735540 w 7467600"/>
              <a:gd name="connsiteY379" fmla="*/ 5546923 h 6858000"/>
              <a:gd name="connsiteX380" fmla="*/ 3729438 w 7467600"/>
              <a:gd name="connsiteY380" fmla="*/ 5569058 h 6858000"/>
              <a:gd name="connsiteX381" fmla="*/ 3707782 w 7467600"/>
              <a:gd name="connsiteY381" fmla="*/ 5644908 h 6858000"/>
              <a:gd name="connsiteX382" fmla="*/ 3583827 w 7467600"/>
              <a:gd name="connsiteY382" fmla="*/ 6039215 h 6858000"/>
              <a:gd name="connsiteX383" fmla="*/ 3547861 w 7467600"/>
              <a:gd name="connsiteY383" fmla="*/ 6129609 h 6858000"/>
              <a:gd name="connsiteX384" fmla="*/ 3490905 w 7467600"/>
              <a:gd name="connsiteY384" fmla="*/ 6277660 h 6858000"/>
              <a:gd name="connsiteX385" fmla="*/ 3455859 w 7467600"/>
              <a:gd name="connsiteY385" fmla="*/ 6391301 h 6858000"/>
              <a:gd name="connsiteX386" fmla="*/ 3429112 w 7467600"/>
              <a:gd name="connsiteY386" fmla="*/ 6479469 h 6858000"/>
              <a:gd name="connsiteX387" fmla="*/ 3304862 w 7467600"/>
              <a:gd name="connsiteY387" fmla="*/ 6796476 h 6858000"/>
              <a:gd name="connsiteX388" fmla="*/ 3276071 w 7467600"/>
              <a:gd name="connsiteY388" fmla="*/ 6858000 h 6858000"/>
              <a:gd name="connsiteX389" fmla="*/ 3240805 w 7467600"/>
              <a:gd name="connsiteY389" fmla="*/ 6858000 h 6858000"/>
              <a:gd name="connsiteX390" fmla="*/ 3275917 w 7467600"/>
              <a:gd name="connsiteY390" fmla="*/ 6783192 h 6858000"/>
              <a:gd name="connsiteX391" fmla="*/ 3399358 w 7467600"/>
              <a:gd name="connsiteY391" fmla="*/ 6469011 h 6858000"/>
              <a:gd name="connsiteX392" fmla="*/ 3425650 w 7467600"/>
              <a:gd name="connsiteY392" fmla="*/ 6381333 h 6858000"/>
              <a:gd name="connsiteX393" fmla="*/ 3460661 w 7467600"/>
              <a:gd name="connsiteY393" fmla="*/ 6266763 h 6858000"/>
              <a:gd name="connsiteX394" fmla="*/ 3518021 w 7467600"/>
              <a:gd name="connsiteY394" fmla="*/ 6117298 h 6858000"/>
              <a:gd name="connsiteX395" fmla="*/ 3554035 w 7467600"/>
              <a:gd name="connsiteY395" fmla="*/ 6027832 h 6858000"/>
              <a:gd name="connsiteX396" fmla="*/ 3677174 w 7467600"/>
              <a:gd name="connsiteY396" fmla="*/ 5636351 h 6858000"/>
              <a:gd name="connsiteX397" fmla="*/ 3698819 w 7467600"/>
              <a:gd name="connsiteY397" fmla="*/ 5560503 h 6858000"/>
              <a:gd name="connsiteX398" fmla="*/ 3702094 w 7467600"/>
              <a:gd name="connsiteY398" fmla="*/ 5549194 h 6858000"/>
              <a:gd name="connsiteX399" fmla="*/ 3398355 w 7467600"/>
              <a:gd name="connsiteY399" fmla="*/ 6094603 h 6858000"/>
              <a:gd name="connsiteX400" fmla="*/ 3193941 w 7467600"/>
              <a:gd name="connsiteY400" fmla="*/ 6798775 h 6858000"/>
              <a:gd name="connsiteX401" fmla="*/ 3184140 w 7467600"/>
              <a:gd name="connsiteY401" fmla="*/ 6858000 h 6858000"/>
              <a:gd name="connsiteX402" fmla="*/ 3099978 w 7467600"/>
              <a:gd name="connsiteY402" fmla="*/ 6858000 h 6858000"/>
              <a:gd name="connsiteX403" fmla="*/ 3101556 w 7467600"/>
              <a:gd name="connsiteY403" fmla="*/ 6843337 h 6858000"/>
              <a:gd name="connsiteX404" fmla="*/ 3370162 w 7467600"/>
              <a:gd name="connsiteY404" fmla="*/ 5785550 h 6858000"/>
              <a:gd name="connsiteX405" fmla="*/ 3746477 w 7467600"/>
              <a:gd name="connsiteY405" fmla="*/ 5377889 h 6858000"/>
              <a:gd name="connsiteX406" fmla="*/ 3863399 w 7467600"/>
              <a:gd name="connsiteY406" fmla="*/ 5087257 h 6858000"/>
              <a:gd name="connsiteX407" fmla="*/ 3968712 w 7467600"/>
              <a:gd name="connsiteY407" fmla="*/ 4913989 h 6858000"/>
              <a:gd name="connsiteX408" fmla="*/ 2792390 w 7467600"/>
              <a:gd name="connsiteY408" fmla="*/ 5382974 h 6858000"/>
              <a:gd name="connsiteX409" fmla="*/ 2714982 w 7467600"/>
              <a:gd name="connsiteY409" fmla="*/ 5427051 h 6858000"/>
              <a:gd name="connsiteX410" fmla="*/ 2813361 w 7467600"/>
              <a:gd name="connsiteY410" fmla="*/ 6023912 h 6858000"/>
              <a:gd name="connsiteX411" fmla="*/ 2688430 w 7467600"/>
              <a:gd name="connsiteY411" fmla="*/ 6801564 h 6858000"/>
              <a:gd name="connsiteX412" fmla="*/ 2629626 w 7467600"/>
              <a:gd name="connsiteY412" fmla="*/ 6763394 h 6858000"/>
              <a:gd name="connsiteX413" fmla="*/ 2565328 w 7467600"/>
              <a:gd name="connsiteY413" fmla="*/ 5516399 h 6858000"/>
              <a:gd name="connsiteX414" fmla="*/ 1922999 w 7467600"/>
              <a:gd name="connsiteY414" fmla="*/ 5980343 h 6858000"/>
              <a:gd name="connsiteX415" fmla="*/ 1950261 w 7467600"/>
              <a:gd name="connsiteY415" fmla="*/ 6405858 h 6858000"/>
              <a:gd name="connsiteX416" fmla="*/ 2365554 w 7467600"/>
              <a:gd name="connsiteY416" fmla="*/ 6759107 h 6858000"/>
              <a:gd name="connsiteX417" fmla="*/ 2424142 w 7467600"/>
              <a:gd name="connsiteY417" fmla="*/ 6858000 h 6858000"/>
              <a:gd name="connsiteX418" fmla="*/ 2395994 w 7467600"/>
              <a:gd name="connsiteY418" fmla="*/ 6858000 h 6858000"/>
              <a:gd name="connsiteX419" fmla="*/ 2392863 w 7467600"/>
              <a:gd name="connsiteY419" fmla="*/ 6852964 h 6858000"/>
              <a:gd name="connsiteX420" fmla="*/ 2017589 w 7467600"/>
              <a:gd name="connsiteY420" fmla="*/ 6493982 h 6858000"/>
              <a:gd name="connsiteX421" fmla="*/ 2147336 w 7467600"/>
              <a:gd name="connsiteY421" fmla="*/ 6594052 h 6858000"/>
              <a:gd name="connsiteX422" fmla="*/ 2207047 w 7467600"/>
              <a:gd name="connsiteY422" fmla="*/ 6654540 h 6858000"/>
              <a:gd name="connsiteX423" fmla="*/ 2299106 w 7467600"/>
              <a:gd name="connsiteY423" fmla="*/ 6778931 h 6858000"/>
              <a:gd name="connsiteX424" fmla="*/ 2314430 w 7467600"/>
              <a:gd name="connsiteY424" fmla="*/ 6801144 h 6858000"/>
              <a:gd name="connsiteX425" fmla="*/ 2352406 w 7467600"/>
              <a:gd name="connsiteY425" fmla="*/ 6858000 h 6858000"/>
              <a:gd name="connsiteX426" fmla="*/ 2314492 w 7467600"/>
              <a:gd name="connsiteY426" fmla="*/ 6858000 h 6858000"/>
              <a:gd name="connsiteX427" fmla="*/ 2288095 w 7467600"/>
              <a:gd name="connsiteY427" fmla="*/ 6818030 h 6858000"/>
              <a:gd name="connsiteX428" fmla="*/ 2272768 w 7467600"/>
              <a:gd name="connsiteY428" fmla="*/ 6795822 h 6858000"/>
              <a:gd name="connsiteX429" fmla="*/ 2182715 w 7467600"/>
              <a:gd name="connsiteY429" fmla="*/ 6675071 h 6858000"/>
              <a:gd name="connsiteX430" fmla="*/ 2032061 w 7467600"/>
              <a:gd name="connsiteY430" fmla="*/ 6541380 h 6858000"/>
              <a:gd name="connsiteX431" fmla="*/ 2257220 w 7467600"/>
              <a:gd name="connsiteY431" fmla="*/ 6826257 h 6858000"/>
              <a:gd name="connsiteX432" fmla="*/ 2281324 w 7467600"/>
              <a:gd name="connsiteY432" fmla="*/ 6858000 h 6858000"/>
              <a:gd name="connsiteX433" fmla="*/ 2242860 w 7467600"/>
              <a:gd name="connsiteY433" fmla="*/ 6858000 h 6858000"/>
              <a:gd name="connsiteX434" fmla="*/ 2232818 w 7467600"/>
              <a:gd name="connsiteY434" fmla="*/ 6844926 h 6858000"/>
              <a:gd name="connsiteX435" fmla="*/ 1990172 w 7467600"/>
              <a:gd name="connsiteY435" fmla="*/ 6542121 h 6858000"/>
              <a:gd name="connsiteX436" fmla="*/ 2124090 w 7467600"/>
              <a:gd name="connsiteY436" fmla="*/ 6761017 h 6858000"/>
              <a:gd name="connsiteX437" fmla="*/ 2200380 w 7467600"/>
              <a:gd name="connsiteY437" fmla="*/ 6858000 h 6858000"/>
              <a:gd name="connsiteX438" fmla="*/ 2147507 w 7467600"/>
              <a:gd name="connsiteY438" fmla="*/ 6858000 h 6858000"/>
              <a:gd name="connsiteX439" fmla="*/ 2070668 w 7467600"/>
              <a:gd name="connsiteY439" fmla="*/ 6761520 h 6858000"/>
              <a:gd name="connsiteX440" fmla="*/ 1975142 w 7467600"/>
              <a:gd name="connsiteY440" fmla="*/ 6585570 h 6858000"/>
              <a:gd name="connsiteX441" fmla="*/ 2050035 w 7467600"/>
              <a:gd name="connsiteY441" fmla="*/ 6813345 h 6858000"/>
              <a:gd name="connsiteX442" fmla="*/ 2063025 w 7467600"/>
              <a:gd name="connsiteY442" fmla="*/ 6858000 h 6858000"/>
              <a:gd name="connsiteX443" fmla="*/ 2021675 w 7467600"/>
              <a:gd name="connsiteY443" fmla="*/ 6858000 h 6858000"/>
              <a:gd name="connsiteX444" fmla="*/ 2019308 w 7467600"/>
              <a:gd name="connsiteY444" fmla="*/ 6847118 h 6858000"/>
              <a:gd name="connsiteX445" fmla="*/ 1938835 w 7467600"/>
              <a:gd name="connsiteY445" fmla="*/ 6551160 h 6858000"/>
              <a:gd name="connsiteX446" fmla="*/ 1953230 w 7467600"/>
              <a:gd name="connsiteY446" fmla="*/ 6759699 h 6858000"/>
              <a:gd name="connsiteX447" fmla="*/ 1956763 w 7467600"/>
              <a:gd name="connsiteY447" fmla="*/ 6778191 h 6858000"/>
              <a:gd name="connsiteX448" fmla="*/ 1967925 w 7467600"/>
              <a:gd name="connsiteY448" fmla="*/ 6858000 h 6858000"/>
              <a:gd name="connsiteX449" fmla="*/ 1936622 w 7467600"/>
              <a:gd name="connsiteY449" fmla="*/ 6858000 h 6858000"/>
              <a:gd name="connsiteX450" fmla="*/ 1926261 w 7467600"/>
              <a:gd name="connsiteY450" fmla="*/ 6784064 h 6858000"/>
              <a:gd name="connsiteX451" fmla="*/ 1922724 w 7467600"/>
              <a:gd name="connsiteY451" fmla="*/ 6765577 h 6858000"/>
              <a:gd name="connsiteX452" fmla="*/ 1904650 w 7467600"/>
              <a:gd name="connsiteY452" fmla="*/ 6639616 h 6858000"/>
              <a:gd name="connsiteX453" fmla="*/ 1885273 w 7467600"/>
              <a:gd name="connsiteY453" fmla="*/ 6858000 h 6858000"/>
              <a:gd name="connsiteX454" fmla="*/ 1854363 w 7467600"/>
              <a:gd name="connsiteY454" fmla="*/ 6858000 h 6858000"/>
              <a:gd name="connsiteX455" fmla="*/ 1880391 w 7467600"/>
              <a:gd name="connsiteY455" fmla="*/ 6603796 h 6858000"/>
              <a:gd name="connsiteX456" fmla="*/ 1818273 w 7467600"/>
              <a:gd name="connsiteY456" fmla="*/ 6715729 h 6858000"/>
              <a:gd name="connsiteX457" fmla="*/ 1794691 w 7467600"/>
              <a:gd name="connsiteY457" fmla="*/ 6843239 h 6858000"/>
              <a:gd name="connsiteX458" fmla="*/ 1794914 w 7467600"/>
              <a:gd name="connsiteY458" fmla="*/ 6858000 h 6858000"/>
              <a:gd name="connsiteX459" fmla="*/ 1746128 w 7467600"/>
              <a:gd name="connsiteY459" fmla="*/ 6858000 h 6858000"/>
              <a:gd name="connsiteX460" fmla="*/ 1753934 w 7467600"/>
              <a:gd name="connsiteY460" fmla="*/ 6724796 h 6858000"/>
              <a:gd name="connsiteX461" fmla="*/ 1792053 w 7467600"/>
              <a:gd name="connsiteY461" fmla="*/ 6572396 h 6858000"/>
              <a:gd name="connsiteX462" fmla="*/ 1862248 w 7467600"/>
              <a:gd name="connsiteY462" fmla="*/ 6266397 h 6858000"/>
              <a:gd name="connsiteX463" fmla="*/ 1862250 w 7467600"/>
              <a:gd name="connsiteY463" fmla="*/ 6033531 h 6858000"/>
              <a:gd name="connsiteX464" fmla="*/ 1211999 w 7467600"/>
              <a:gd name="connsiteY464" fmla="*/ 6683610 h 6858000"/>
              <a:gd name="connsiteX465" fmla="*/ 1213266 w 7467600"/>
              <a:gd name="connsiteY465" fmla="*/ 6691947 h 6858000"/>
              <a:gd name="connsiteX466" fmla="*/ 1203370 w 7467600"/>
              <a:gd name="connsiteY466" fmla="*/ 6850676 h 6858000"/>
              <a:gd name="connsiteX467" fmla="*/ 1203671 w 7467600"/>
              <a:gd name="connsiteY467" fmla="*/ 6858000 h 6858000"/>
              <a:gd name="connsiteX468" fmla="*/ 1143180 w 7467600"/>
              <a:gd name="connsiteY468" fmla="*/ 6858000 h 6858000"/>
              <a:gd name="connsiteX469" fmla="*/ 1142176 w 7467600"/>
              <a:gd name="connsiteY469" fmla="*/ 6766045 h 6858000"/>
              <a:gd name="connsiteX470" fmla="*/ 1067484 w 7467600"/>
              <a:gd name="connsiteY470" fmla="*/ 6858000 h 6858000"/>
              <a:gd name="connsiteX471" fmla="*/ 953928 w 7467600"/>
              <a:gd name="connsiteY471" fmla="*/ 6858000 h 6858000"/>
              <a:gd name="connsiteX472" fmla="*/ 959715 w 7467600"/>
              <a:gd name="connsiteY472" fmla="*/ 6850185 h 6858000"/>
              <a:gd name="connsiteX473" fmla="*/ 1483788 w 7467600"/>
              <a:gd name="connsiteY473" fmla="*/ 6259174 h 6858000"/>
              <a:gd name="connsiteX474" fmla="*/ 1100671 w 7467600"/>
              <a:gd name="connsiteY474" fmla="*/ 6252137 h 6858000"/>
              <a:gd name="connsiteX475" fmla="*/ 1090144 w 7467600"/>
              <a:gd name="connsiteY475" fmla="*/ 6256748 h 6858000"/>
              <a:gd name="connsiteX476" fmla="*/ 1095872 w 7467600"/>
              <a:gd name="connsiteY476" fmla="*/ 6271892 h 6858000"/>
              <a:gd name="connsiteX477" fmla="*/ 262785 w 7467600"/>
              <a:gd name="connsiteY477" fmla="*/ 6845450 h 6858000"/>
              <a:gd name="connsiteX478" fmla="*/ 209968 w 7467600"/>
              <a:gd name="connsiteY478" fmla="*/ 6770713 h 6858000"/>
              <a:gd name="connsiteX479" fmla="*/ 873460 w 7467600"/>
              <a:gd name="connsiteY479" fmla="*/ 6253768 h 6858000"/>
              <a:gd name="connsiteX480" fmla="*/ 192686 w 7467600"/>
              <a:gd name="connsiteY480" fmla="*/ 5849257 h 6858000"/>
              <a:gd name="connsiteX481" fmla="*/ 4696 w 7467600"/>
              <a:gd name="connsiteY481" fmla="*/ 5697668 h 6858000"/>
              <a:gd name="connsiteX482" fmla="*/ 0 w 7467600"/>
              <a:gd name="connsiteY482" fmla="*/ 5689984 h 6858000"/>
              <a:gd name="connsiteX483" fmla="*/ 0 w 7467600"/>
              <a:gd name="connsiteY483" fmla="*/ 5513472 h 6858000"/>
              <a:gd name="connsiteX484" fmla="*/ 174101 w 7467600"/>
              <a:gd name="connsiteY484" fmla="*/ 5620277 h 6858000"/>
              <a:gd name="connsiteX485" fmla="*/ 891800 w 7467600"/>
              <a:gd name="connsiteY485" fmla="*/ 6036935 h 6858000"/>
              <a:gd name="connsiteX486" fmla="*/ 1072219 w 7467600"/>
              <a:gd name="connsiteY486" fmla="*/ 6169443 h 6858000"/>
              <a:gd name="connsiteX487" fmla="*/ 1074117 w 7467600"/>
              <a:gd name="connsiteY487" fmla="*/ 6170301 h 6858000"/>
              <a:gd name="connsiteX488" fmla="*/ 1083114 w 7467600"/>
              <a:gd name="connsiteY488" fmla="*/ 6174131 h 6858000"/>
              <a:gd name="connsiteX489" fmla="*/ 1543010 w 7467600"/>
              <a:gd name="connsiteY489" fmla="*/ 6191140 h 6858000"/>
              <a:gd name="connsiteX490" fmla="*/ 1551080 w 7467600"/>
              <a:gd name="connsiteY490" fmla="*/ 6195006 h 6858000"/>
              <a:gd name="connsiteX491" fmla="*/ 2345443 w 7467600"/>
              <a:gd name="connsiteY491" fmla="*/ 5549882 h 6858000"/>
              <a:gd name="connsiteX492" fmla="*/ 1721499 w 7467600"/>
              <a:gd name="connsiteY492" fmla="*/ 5599969 h 6858000"/>
              <a:gd name="connsiteX493" fmla="*/ 767716 w 7467600"/>
              <a:gd name="connsiteY493" fmla="*/ 5472768 h 6858000"/>
              <a:gd name="connsiteX494" fmla="*/ 722147 w 7467600"/>
              <a:gd name="connsiteY494" fmla="*/ 5393091 h 6858000"/>
              <a:gd name="connsiteX495" fmla="*/ 1485552 w 7467600"/>
              <a:gd name="connsiteY495" fmla="*/ 5313202 h 6858000"/>
              <a:gd name="connsiteX496" fmla="*/ 2143004 w 7467600"/>
              <a:gd name="connsiteY496" fmla="*/ 5402420 h 6858000"/>
              <a:gd name="connsiteX497" fmla="*/ 1933391 w 7467600"/>
              <a:gd name="connsiteY497" fmla="*/ 5156971 h 6858000"/>
              <a:gd name="connsiteX498" fmla="*/ 1827118 w 7467600"/>
              <a:gd name="connsiteY498" fmla="*/ 4968410 h 6858000"/>
              <a:gd name="connsiteX499" fmla="*/ 1837349 w 7467600"/>
              <a:gd name="connsiteY499" fmla="*/ 4956357 h 6858000"/>
              <a:gd name="connsiteX500" fmla="*/ 2162835 w 7467600"/>
              <a:gd name="connsiteY500" fmla="*/ 5187853 h 6858000"/>
              <a:gd name="connsiteX501" fmla="*/ 2257167 w 7467600"/>
              <a:gd name="connsiteY501" fmla="*/ 5462123 h 6858000"/>
              <a:gd name="connsiteX502" fmla="*/ 2261598 w 7467600"/>
              <a:gd name="connsiteY502" fmla="*/ 5467998 h 6858000"/>
              <a:gd name="connsiteX503" fmla="*/ 2437177 w 7467600"/>
              <a:gd name="connsiteY503" fmla="*/ 5479608 h 6858000"/>
              <a:gd name="connsiteX504" fmla="*/ 2445247 w 7467600"/>
              <a:gd name="connsiteY504" fmla="*/ 5483476 h 6858000"/>
              <a:gd name="connsiteX505" fmla="*/ 2743626 w 7467600"/>
              <a:gd name="connsiteY505" fmla="*/ 5304819 h 6858000"/>
              <a:gd name="connsiteX506" fmla="*/ 3048102 w 7467600"/>
              <a:gd name="connsiteY506" fmla="*/ 5150595 h 6858000"/>
              <a:gd name="connsiteX507" fmla="*/ 1799414 w 7467600"/>
              <a:gd name="connsiteY507" fmla="*/ 4694732 h 6858000"/>
              <a:gd name="connsiteX508" fmla="*/ 1771735 w 7467600"/>
              <a:gd name="connsiteY508" fmla="*/ 4619929 h 6858000"/>
              <a:gd name="connsiteX509" fmla="*/ 3104273 w 7467600"/>
              <a:gd name="connsiteY509" fmla="*/ 5076159 h 6858000"/>
              <a:gd name="connsiteX510" fmla="*/ 3113245 w 7467600"/>
              <a:gd name="connsiteY510" fmla="*/ 5090705 h 6858000"/>
              <a:gd name="connsiteX511" fmla="*/ 3126294 w 7467600"/>
              <a:gd name="connsiteY511" fmla="*/ 5114400 h 6858000"/>
              <a:gd name="connsiteX512" fmla="*/ 3937433 w 7467600"/>
              <a:gd name="connsiteY512" fmla="*/ 4830473 h 6858000"/>
              <a:gd name="connsiteX513" fmla="*/ 3590475 w 7467600"/>
              <a:gd name="connsiteY513" fmla="*/ 4597974 h 6858000"/>
              <a:gd name="connsiteX514" fmla="*/ 3100264 w 7467600"/>
              <a:gd name="connsiteY514" fmla="*/ 4579845 h 6858000"/>
              <a:gd name="connsiteX515" fmla="*/ 2183576 w 7467600"/>
              <a:gd name="connsiteY515" fmla="*/ 4227150 h 6858000"/>
              <a:gd name="connsiteX516" fmla="*/ 2151029 w 7467600"/>
              <a:gd name="connsiteY516" fmla="*/ 4146947 h 6858000"/>
              <a:gd name="connsiteX517" fmla="*/ 3563434 w 7467600"/>
              <a:gd name="connsiteY517" fmla="*/ 4469115 h 6858000"/>
              <a:gd name="connsiteX518" fmla="*/ 3177952 w 7467600"/>
              <a:gd name="connsiteY518" fmla="*/ 3657386 h 6858000"/>
              <a:gd name="connsiteX519" fmla="*/ 3189263 w 7467600"/>
              <a:gd name="connsiteY519" fmla="*/ 3625726 h 6858000"/>
              <a:gd name="connsiteX520" fmla="*/ 3560912 w 7467600"/>
              <a:gd name="connsiteY520" fmla="*/ 4079863 h 6858000"/>
              <a:gd name="connsiteX521" fmla="*/ 3626636 w 7467600"/>
              <a:gd name="connsiteY521" fmla="*/ 4512230 h 6858000"/>
              <a:gd name="connsiteX522" fmla="*/ 3653088 w 7467600"/>
              <a:gd name="connsiteY522" fmla="*/ 4521417 h 6858000"/>
              <a:gd name="connsiteX523" fmla="*/ 3988128 w 7467600"/>
              <a:gd name="connsiteY523" fmla="*/ 4817267 h 6858000"/>
              <a:gd name="connsiteX524" fmla="*/ 4830582 w 7467600"/>
              <a:gd name="connsiteY524" fmla="*/ 4676000 h 6858000"/>
              <a:gd name="connsiteX525" fmla="*/ 4830100 w 7467600"/>
              <a:gd name="connsiteY525" fmla="*/ 4675554 h 6858000"/>
              <a:gd name="connsiteX526" fmla="*/ 4036318 w 7467600"/>
              <a:gd name="connsiteY526" fmla="*/ 4147013 h 6858000"/>
              <a:gd name="connsiteX527" fmla="*/ 3432098 w 7467600"/>
              <a:gd name="connsiteY527" fmla="*/ 3537312 h 6858000"/>
              <a:gd name="connsiteX528" fmla="*/ 3446761 w 7467600"/>
              <a:gd name="connsiteY528" fmla="*/ 3461278 h 6858000"/>
              <a:gd name="connsiteX529" fmla="*/ 4419733 w 7467600"/>
              <a:gd name="connsiteY529" fmla="*/ 3963555 h 6858000"/>
              <a:gd name="connsiteX530" fmla="*/ 4781371 w 7467600"/>
              <a:gd name="connsiteY530" fmla="*/ 4458604 h 6858000"/>
              <a:gd name="connsiteX531" fmla="*/ 4780440 w 7467600"/>
              <a:gd name="connsiteY531" fmla="*/ 4470290 h 6858000"/>
              <a:gd name="connsiteX532" fmla="*/ 4898954 w 7467600"/>
              <a:gd name="connsiteY532" fmla="*/ 4662092 h 6858000"/>
              <a:gd name="connsiteX533" fmla="*/ 4900699 w 7467600"/>
              <a:gd name="connsiteY533" fmla="*/ 4670867 h 6858000"/>
              <a:gd name="connsiteX534" fmla="*/ 5714511 w 7467600"/>
              <a:gd name="connsiteY534" fmla="*/ 4663483 h 6858000"/>
              <a:gd name="connsiteX535" fmla="*/ 5464793 w 7467600"/>
              <a:gd name="connsiteY535" fmla="*/ 4393556 h 6858000"/>
              <a:gd name="connsiteX536" fmla="*/ 5461897 w 7467600"/>
              <a:gd name="connsiteY536" fmla="*/ 4390879 h 6858000"/>
              <a:gd name="connsiteX537" fmla="*/ 4294126 w 7467600"/>
              <a:gd name="connsiteY537" fmla="*/ 3303048 h 6858000"/>
              <a:gd name="connsiteX538" fmla="*/ 4305321 w 7467600"/>
              <a:gd name="connsiteY538" fmla="*/ 3256953 h 6858000"/>
              <a:gd name="connsiteX539" fmla="*/ 4949299 w 7467600"/>
              <a:gd name="connsiteY539" fmla="*/ 3766336 h 6858000"/>
              <a:gd name="connsiteX540" fmla="*/ 5291452 w 7467600"/>
              <a:gd name="connsiteY540" fmla="*/ 4076801 h 6858000"/>
              <a:gd name="connsiteX541" fmla="*/ 5434998 w 7467600"/>
              <a:gd name="connsiteY541" fmla="*/ 4254100 h 6858000"/>
              <a:gd name="connsiteX542" fmla="*/ 5351015 w 7467600"/>
              <a:gd name="connsiteY542" fmla="*/ 3760989 h 6858000"/>
              <a:gd name="connsiteX543" fmla="*/ 5413780 w 7467600"/>
              <a:gd name="connsiteY543" fmla="*/ 2966265 h 6858000"/>
              <a:gd name="connsiteX544" fmla="*/ 5425627 w 7467600"/>
              <a:gd name="connsiteY544" fmla="*/ 2954192 h 6858000"/>
              <a:gd name="connsiteX545" fmla="*/ 6604735 w 7467600"/>
              <a:gd name="connsiteY545" fmla="*/ 2041381 h 6858000"/>
              <a:gd name="connsiteX546" fmla="*/ 7204487 w 7467600"/>
              <a:gd name="connsiteY546" fmla="*/ 2742112 h 6858000"/>
              <a:gd name="connsiteX547" fmla="*/ 7131592 w 7467600"/>
              <a:gd name="connsiteY547" fmla="*/ 2672096 h 6858000"/>
              <a:gd name="connsiteX548" fmla="*/ 6996344 w 7467600"/>
              <a:gd name="connsiteY548" fmla="*/ 2518310 h 6858000"/>
              <a:gd name="connsiteX549" fmla="*/ 6735495 w 7467600"/>
              <a:gd name="connsiteY549" fmla="*/ 2196890 h 6858000"/>
              <a:gd name="connsiteX550" fmla="*/ 6721901 w 7467600"/>
              <a:gd name="connsiteY550" fmla="*/ 2179274 h 6858000"/>
              <a:gd name="connsiteX551" fmla="*/ 6604735 w 7467600"/>
              <a:gd name="connsiteY551" fmla="*/ 2041381 h 6858000"/>
              <a:gd name="connsiteX552" fmla="*/ 6591670 w 7467600"/>
              <a:gd name="connsiteY552" fmla="*/ 1988277 h 6858000"/>
              <a:gd name="connsiteX553" fmla="*/ 6747349 w 7467600"/>
              <a:gd name="connsiteY553" fmla="*/ 2160069 h 6858000"/>
              <a:gd name="connsiteX554" fmla="*/ 6760943 w 7467600"/>
              <a:gd name="connsiteY554" fmla="*/ 2177686 h 6858000"/>
              <a:gd name="connsiteX555" fmla="*/ 7021065 w 7467600"/>
              <a:gd name="connsiteY555" fmla="*/ 2498102 h 6858000"/>
              <a:gd name="connsiteX556" fmla="*/ 7155223 w 7467600"/>
              <a:gd name="connsiteY556" fmla="*/ 2650386 h 6858000"/>
              <a:gd name="connsiteX557" fmla="*/ 7203167 w 7467600"/>
              <a:gd name="connsiteY557" fmla="*/ 2697288 h 6858000"/>
              <a:gd name="connsiteX558" fmla="*/ 6937703 w 7467600"/>
              <a:gd name="connsiteY558" fmla="*/ 2321981 h 6858000"/>
              <a:gd name="connsiteX559" fmla="*/ 6591670 w 7467600"/>
              <a:gd name="connsiteY559" fmla="*/ 1988277 h 6858000"/>
              <a:gd name="connsiteX560" fmla="*/ 5798671 w 7467600"/>
              <a:gd name="connsiteY560" fmla="*/ 1981601 h 6858000"/>
              <a:gd name="connsiteX561" fmla="*/ 5754709 w 7467600"/>
              <a:gd name="connsiteY561" fmla="*/ 2071454 h 6858000"/>
              <a:gd name="connsiteX562" fmla="*/ 5763044 w 7467600"/>
              <a:gd name="connsiteY562" fmla="*/ 2842206 h 6858000"/>
              <a:gd name="connsiteX563" fmla="*/ 5764974 w 7467600"/>
              <a:gd name="connsiteY563" fmla="*/ 2799609 h 6858000"/>
              <a:gd name="connsiteX564" fmla="*/ 5767665 w 7467600"/>
              <a:gd name="connsiteY564" fmla="*/ 2666409 h 6858000"/>
              <a:gd name="connsiteX565" fmla="*/ 5763055 w 7467600"/>
              <a:gd name="connsiteY565" fmla="*/ 2579705 h 6858000"/>
              <a:gd name="connsiteX566" fmla="*/ 5758079 w 7467600"/>
              <a:gd name="connsiteY566" fmla="*/ 2492508 h 6858000"/>
              <a:gd name="connsiteX567" fmla="*/ 5779325 w 7467600"/>
              <a:gd name="connsiteY567" fmla="*/ 2197069 h 6858000"/>
              <a:gd name="connsiteX568" fmla="*/ 5798671 w 7467600"/>
              <a:gd name="connsiteY568" fmla="*/ 1981601 h 6858000"/>
              <a:gd name="connsiteX569" fmla="*/ 5829202 w 7467600"/>
              <a:gd name="connsiteY569" fmla="*/ 1971679 h 6858000"/>
              <a:gd name="connsiteX570" fmla="*/ 5809558 w 7467600"/>
              <a:gd name="connsiteY570" fmla="*/ 2198043 h 6858000"/>
              <a:gd name="connsiteX571" fmla="*/ 5788653 w 7467600"/>
              <a:gd name="connsiteY571" fmla="*/ 2489430 h 6858000"/>
              <a:gd name="connsiteX572" fmla="*/ 5793439 w 7467600"/>
              <a:gd name="connsiteY572" fmla="*/ 2575235 h 6858000"/>
              <a:gd name="connsiteX573" fmla="*/ 5796837 w 7467600"/>
              <a:gd name="connsiteY573" fmla="*/ 2637633 h 6858000"/>
              <a:gd name="connsiteX574" fmla="*/ 5818614 w 7467600"/>
              <a:gd name="connsiteY574" fmla="*/ 2473055 h 6858000"/>
              <a:gd name="connsiteX575" fmla="*/ 5829202 w 7467600"/>
              <a:gd name="connsiteY575" fmla="*/ 1971679 h 6858000"/>
              <a:gd name="connsiteX576" fmla="*/ 5911389 w 7467600"/>
              <a:gd name="connsiteY576" fmla="*/ 1898371 h 6858000"/>
              <a:gd name="connsiteX577" fmla="*/ 6237627 w 7467600"/>
              <a:gd name="connsiteY577" fmla="*/ 2231921 h 6858000"/>
              <a:gd name="connsiteX578" fmla="*/ 5911389 w 7467600"/>
              <a:gd name="connsiteY578" fmla="*/ 1898371 h 6858000"/>
              <a:gd name="connsiteX579" fmla="*/ 6944437 w 7467600"/>
              <a:gd name="connsiteY579" fmla="*/ 1575402 h 6858000"/>
              <a:gd name="connsiteX580" fmla="*/ 6304730 w 7467600"/>
              <a:gd name="connsiteY580" fmla="*/ 1766654 h 6858000"/>
              <a:gd name="connsiteX581" fmla="*/ 6944437 w 7467600"/>
              <a:gd name="connsiteY581" fmla="*/ 1575402 h 6858000"/>
              <a:gd name="connsiteX582" fmla="*/ 7019523 w 7467600"/>
              <a:gd name="connsiteY582" fmla="*/ 1519450 h 6858000"/>
              <a:gd name="connsiteX583" fmla="*/ 6298091 w 7467600"/>
              <a:gd name="connsiteY583" fmla="*/ 1737122 h 6858000"/>
              <a:gd name="connsiteX584" fmla="*/ 7019523 w 7467600"/>
              <a:gd name="connsiteY584" fmla="*/ 1519450 h 6858000"/>
              <a:gd name="connsiteX585" fmla="*/ 2399523 w 7467600"/>
              <a:gd name="connsiteY585" fmla="*/ 1428234 h 6858000"/>
              <a:gd name="connsiteX586" fmla="*/ 2224982 w 7467600"/>
              <a:gd name="connsiteY586" fmla="*/ 1826201 h 6858000"/>
              <a:gd name="connsiteX587" fmla="*/ 2096099 w 7467600"/>
              <a:gd name="connsiteY587" fmla="*/ 2345900 h 6858000"/>
              <a:gd name="connsiteX588" fmla="*/ 2283317 w 7467600"/>
              <a:gd name="connsiteY588" fmla="*/ 1796925 h 6858000"/>
              <a:gd name="connsiteX589" fmla="*/ 2399523 w 7467600"/>
              <a:gd name="connsiteY589" fmla="*/ 1428234 h 6858000"/>
              <a:gd name="connsiteX590" fmla="*/ 2448558 w 7467600"/>
              <a:gd name="connsiteY590" fmla="*/ 1373435 h 6858000"/>
              <a:gd name="connsiteX591" fmla="*/ 2312521 w 7467600"/>
              <a:gd name="connsiteY591" fmla="*/ 1806140 h 6858000"/>
              <a:gd name="connsiteX592" fmla="*/ 2127533 w 7467600"/>
              <a:gd name="connsiteY592" fmla="*/ 2348380 h 6858000"/>
              <a:gd name="connsiteX593" fmla="*/ 2358080 w 7467600"/>
              <a:gd name="connsiteY593" fmla="*/ 1866134 h 6858000"/>
              <a:gd name="connsiteX594" fmla="*/ 2407436 w 7467600"/>
              <a:gd name="connsiteY594" fmla="*/ 1651070 h 6858000"/>
              <a:gd name="connsiteX595" fmla="*/ 2448558 w 7467600"/>
              <a:gd name="connsiteY595" fmla="*/ 1373435 h 6858000"/>
              <a:gd name="connsiteX596" fmla="*/ 278707 w 7467600"/>
              <a:gd name="connsiteY596" fmla="*/ 1352270 h 6858000"/>
              <a:gd name="connsiteX597" fmla="*/ 321570 w 7467600"/>
              <a:gd name="connsiteY597" fmla="*/ 1861610 h 6858000"/>
              <a:gd name="connsiteX598" fmla="*/ 294281 w 7467600"/>
              <a:gd name="connsiteY598" fmla="*/ 1440658 h 6858000"/>
              <a:gd name="connsiteX599" fmla="*/ 278707 w 7467600"/>
              <a:gd name="connsiteY599" fmla="*/ 1352270 h 6858000"/>
              <a:gd name="connsiteX600" fmla="*/ 1423821 w 7467600"/>
              <a:gd name="connsiteY600" fmla="*/ 1351958 h 6858000"/>
              <a:gd name="connsiteX601" fmla="*/ 1638521 w 7467600"/>
              <a:gd name="connsiteY601" fmla="*/ 1908470 h 6858000"/>
              <a:gd name="connsiteX602" fmla="*/ 1754199 w 7467600"/>
              <a:gd name="connsiteY602" fmla="*/ 2149284 h 6858000"/>
              <a:gd name="connsiteX603" fmla="*/ 1908359 w 7467600"/>
              <a:gd name="connsiteY603" fmla="*/ 2364988 h 6858000"/>
              <a:gd name="connsiteX604" fmla="*/ 1647661 w 7467600"/>
              <a:gd name="connsiteY604" fmla="*/ 1825945 h 6858000"/>
              <a:gd name="connsiteX605" fmla="*/ 1423821 w 7467600"/>
              <a:gd name="connsiteY605" fmla="*/ 1351958 h 6858000"/>
              <a:gd name="connsiteX606" fmla="*/ 1431890 w 7467600"/>
              <a:gd name="connsiteY606" fmla="*/ 1306475 h 6858000"/>
              <a:gd name="connsiteX607" fmla="*/ 1507597 w 7467600"/>
              <a:gd name="connsiteY607" fmla="*/ 1446132 h 6858000"/>
              <a:gd name="connsiteX608" fmla="*/ 1674586 w 7467600"/>
              <a:gd name="connsiteY608" fmla="*/ 1813832 h 6858000"/>
              <a:gd name="connsiteX609" fmla="*/ 1815950 w 7467600"/>
              <a:gd name="connsiteY609" fmla="*/ 2128564 h 6858000"/>
              <a:gd name="connsiteX610" fmla="*/ 1984242 w 7467600"/>
              <a:gd name="connsiteY610" fmla="*/ 2430829 h 6858000"/>
              <a:gd name="connsiteX611" fmla="*/ 2014023 w 7467600"/>
              <a:gd name="connsiteY611" fmla="*/ 2450995 h 6858000"/>
              <a:gd name="connsiteX612" fmla="*/ 1747337 w 7467600"/>
              <a:gd name="connsiteY612" fmla="*/ 1855264 h 6858000"/>
              <a:gd name="connsiteX613" fmla="*/ 1533749 w 7467600"/>
              <a:gd name="connsiteY613" fmla="*/ 1478656 h 6858000"/>
              <a:gd name="connsiteX614" fmla="*/ 1431890 w 7467600"/>
              <a:gd name="connsiteY614" fmla="*/ 1306475 h 6858000"/>
              <a:gd name="connsiteX615" fmla="*/ 5052692 w 7467600"/>
              <a:gd name="connsiteY615" fmla="*/ 1292994 h 6858000"/>
              <a:gd name="connsiteX616" fmla="*/ 5200661 w 7467600"/>
              <a:gd name="connsiteY616" fmla="*/ 1635186 h 6858000"/>
              <a:gd name="connsiteX617" fmla="*/ 5297138 w 7467600"/>
              <a:gd name="connsiteY617" fmla="*/ 1906351 h 6858000"/>
              <a:gd name="connsiteX618" fmla="*/ 5052692 w 7467600"/>
              <a:gd name="connsiteY618" fmla="*/ 1292994 h 6858000"/>
              <a:gd name="connsiteX619" fmla="*/ 5009948 w 7467600"/>
              <a:gd name="connsiteY619" fmla="*/ 1273619 h 6858000"/>
              <a:gd name="connsiteX620" fmla="*/ 5121777 w 7467600"/>
              <a:gd name="connsiteY620" fmla="*/ 1654213 h 6858000"/>
              <a:gd name="connsiteX621" fmla="*/ 5293545 w 7467600"/>
              <a:gd name="connsiteY621" fmla="*/ 2072247 h 6858000"/>
              <a:gd name="connsiteX622" fmla="*/ 5294042 w 7467600"/>
              <a:gd name="connsiteY622" fmla="*/ 2065019 h 6858000"/>
              <a:gd name="connsiteX623" fmla="*/ 5171936 w 7467600"/>
              <a:gd name="connsiteY623" fmla="*/ 1647613 h 6858000"/>
              <a:gd name="connsiteX624" fmla="*/ 5009948 w 7467600"/>
              <a:gd name="connsiteY624" fmla="*/ 1273619 h 6858000"/>
              <a:gd name="connsiteX625" fmla="*/ 655236 w 7467600"/>
              <a:gd name="connsiteY625" fmla="*/ 1268632 h 6858000"/>
              <a:gd name="connsiteX626" fmla="*/ 839521 w 7467600"/>
              <a:gd name="connsiteY626" fmla="*/ 1685315 h 6858000"/>
              <a:gd name="connsiteX627" fmla="*/ 1109416 w 7467600"/>
              <a:gd name="connsiteY627" fmla="*/ 2061663 h 6858000"/>
              <a:gd name="connsiteX628" fmla="*/ 1298300 w 7467600"/>
              <a:gd name="connsiteY628" fmla="*/ 2247742 h 6858000"/>
              <a:gd name="connsiteX629" fmla="*/ 1125871 w 7467600"/>
              <a:gd name="connsiteY629" fmla="*/ 1989513 h 6858000"/>
              <a:gd name="connsiteX630" fmla="*/ 981574 w 7467600"/>
              <a:gd name="connsiteY630" fmla="*/ 1783157 h 6858000"/>
              <a:gd name="connsiteX631" fmla="*/ 922198 w 7467600"/>
              <a:gd name="connsiteY631" fmla="*/ 1677437 h 6858000"/>
              <a:gd name="connsiteX632" fmla="*/ 869293 w 7467600"/>
              <a:gd name="connsiteY632" fmla="*/ 1583214 h 6858000"/>
              <a:gd name="connsiteX633" fmla="*/ 751431 w 7467600"/>
              <a:gd name="connsiteY633" fmla="*/ 1405731 h 6858000"/>
              <a:gd name="connsiteX634" fmla="*/ 655236 w 7467600"/>
              <a:gd name="connsiteY634" fmla="*/ 1268632 h 6858000"/>
              <a:gd name="connsiteX635" fmla="*/ 6516292 w 7467600"/>
              <a:gd name="connsiteY635" fmla="*/ 1263064 h 6858000"/>
              <a:gd name="connsiteX636" fmla="*/ 5736320 w 7467600"/>
              <a:gd name="connsiteY636" fmla="*/ 1501803 h 6858000"/>
              <a:gd name="connsiteX637" fmla="*/ 6516292 w 7467600"/>
              <a:gd name="connsiteY637" fmla="*/ 1263064 h 6858000"/>
              <a:gd name="connsiteX638" fmla="*/ 291466 w 7467600"/>
              <a:gd name="connsiteY638" fmla="*/ 1250369 h 6858000"/>
              <a:gd name="connsiteX639" fmla="*/ 323180 w 7467600"/>
              <a:gd name="connsiteY639" fmla="*/ 1435283 h 6858000"/>
              <a:gd name="connsiteX640" fmla="*/ 349381 w 7467600"/>
              <a:gd name="connsiteY640" fmla="*/ 1875041 h 6858000"/>
              <a:gd name="connsiteX641" fmla="*/ 374363 w 7467600"/>
              <a:gd name="connsiteY641" fmla="*/ 1506494 h 6858000"/>
              <a:gd name="connsiteX642" fmla="*/ 302168 w 7467600"/>
              <a:gd name="connsiteY642" fmla="*/ 1274495 h 6858000"/>
              <a:gd name="connsiteX643" fmla="*/ 291466 w 7467600"/>
              <a:gd name="connsiteY643" fmla="*/ 1250369 h 6858000"/>
              <a:gd name="connsiteX644" fmla="*/ 678222 w 7467600"/>
              <a:gd name="connsiteY644" fmla="*/ 1248670 h 6858000"/>
              <a:gd name="connsiteX645" fmla="*/ 775536 w 7467600"/>
              <a:gd name="connsiteY645" fmla="*/ 1388015 h 6858000"/>
              <a:gd name="connsiteX646" fmla="*/ 894529 w 7467600"/>
              <a:gd name="connsiteY646" fmla="*/ 1567739 h 6858000"/>
              <a:gd name="connsiteX647" fmla="*/ 948000 w 7467600"/>
              <a:gd name="connsiteY647" fmla="*/ 1663088 h 6858000"/>
              <a:gd name="connsiteX648" fmla="*/ 1006812 w 7467600"/>
              <a:gd name="connsiteY648" fmla="*/ 1767683 h 6858000"/>
              <a:gd name="connsiteX649" fmla="*/ 1149133 w 7467600"/>
              <a:gd name="connsiteY649" fmla="*/ 1971513 h 6858000"/>
              <a:gd name="connsiteX650" fmla="*/ 1333952 w 7467600"/>
              <a:gd name="connsiteY650" fmla="*/ 2251620 h 6858000"/>
              <a:gd name="connsiteX651" fmla="*/ 1337329 w 7467600"/>
              <a:gd name="connsiteY651" fmla="*/ 2258350 h 6858000"/>
              <a:gd name="connsiteX652" fmla="*/ 1014726 w 7467600"/>
              <a:gd name="connsiteY652" fmla="*/ 1615556 h 6858000"/>
              <a:gd name="connsiteX653" fmla="*/ 678222 w 7467600"/>
              <a:gd name="connsiteY653" fmla="*/ 1248670 h 6858000"/>
              <a:gd name="connsiteX654" fmla="*/ 6691602 w 7467600"/>
              <a:gd name="connsiteY654" fmla="*/ 1140573 h 6858000"/>
              <a:gd name="connsiteX655" fmla="*/ 6571100 w 7467600"/>
              <a:gd name="connsiteY655" fmla="*/ 1183662 h 6858000"/>
              <a:gd name="connsiteX656" fmla="*/ 6241687 w 7467600"/>
              <a:gd name="connsiteY656" fmla="*/ 1257600 h 6858000"/>
              <a:gd name="connsiteX657" fmla="*/ 5693009 w 7467600"/>
              <a:gd name="connsiteY657" fmla="*/ 1478256 h 6858000"/>
              <a:gd name="connsiteX658" fmla="*/ 6548420 w 7467600"/>
              <a:gd name="connsiteY658" fmla="*/ 1214599 h 6858000"/>
              <a:gd name="connsiteX659" fmla="*/ 6605473 w 7467600"/>
              <a:gd name="connsiteY659" fmla="*/ 1184686 h 6858000"/>
              <a:gd name="connsiteX660" fmla="*/ 6691602 w 7467600"/>
              <a:gd name="connsiteY660" fmla="*/ 1140573 h 6858000"/>
              <a:gd name="connsiteX661" fmla="*/ 4002475 w 7467600"/>
              <a:gd name="connsiteY661" fmla="*/ 1037802 h 6858000"/>
              <a:gd name="connsiteX662" fmla="*/ 4000324 w 7467600"/>
              <a:gd name="connsiteY662" fmla="*/ 1039362 h 6858000"/>
              <a:gd name="connsiteX663" fmla="*/ 4002862 w 7467600"/>
              <a:gd name="connsiteY663" fmla="*/ 1042866 h 6858000"/>
              <a:gd name="connsiteX664" fmla="*/ 4002475 w 7467600"/>
              <a:gd name="connsiteY664" fmla="*/ 1037802 h 6858000"/>
              <a:gd name="connsiteX665" fmla="*/ 506322 w 7467600"/>
              <a:gd name="connsiteY665" fmla="*/ 1020997 h 6858000"/>
              <a:gd name="connsiteX666" fmla="*/ 533068 w 7467600"/>
              <a:gd name="connsiteY666" fmla="*/ 1029409 h 6858000"/>
              <a:gd name="connsiteX667" fmla="*/ 1232525 w 7467600"/>
              <a:gd name="connsiteY667" fmla="*/ 1804675 h 6858000"/>
              <a:gd name="connsiteX668" fmla="*/ 1388858 w 7467600"/>
              <a:gd name="connsiteY668" fmla="*/ 2368011 h 6858000"/>
              <a:gd name="connsiteX669" fmla="*/ 1384098 w 7467600"/>
              <a:gd name="connsiteY669" fmla="*/ 2378125 h 6858000"/>
              <a:gd name="connsiteX670" fmla="*/ 1425393 w 7467600"/>
              <a:gd name="connsiteY670" fmla="*/ 2589124 h 6858000"/>
              <a:gd name="connsiteX671" fmla="*/ 1424001 w 7467600"/>
              <a:gd name="connsiteY671" fmla="*/ 2597541 h 6858000"/>
              <a:gd name="connsiteX672" fmla="*/ 2152729 w 7467600"/>
              <a:gd name="connsiteY672" fmla="*/ 2864487 h 6858000"/>
              <a:gd name="connsiteX673" fmla="*/ 2020609 w 7467600"/>
              <a:gd name="connsiteY673" fmla="*/ 2539671 h 6858000"/>
              <a:gd name="connsiteX674" fmla="*/ 2018920 w 7467600"/>
              <a:gd name="connsiteY674" fmla="*/ 2536309 h 6858000"/>
              <a:gd name="connsiteX675" fmla="*/ 1342441 w 7467600"/>
              <a:gd name="connsiteY675" fmla="*/ 1173017 h 6858000"/>
              <a:gd name="connsiteX676" fmla="*/ 1367925 w 7467600"/>
              <a:gd name="connsiteY676" fmla="*/ 1135648 h 6858000"/>
              <a:gd name="connsiteX677" fmla="*/ 1771401 w 7467600"/>
              <a:gd name="connsiteY677" fmla="*/ 1806673 h 6858000"/>
              <a:gd name="connsiteX678" fmla="*/ 1972385 w 7467600"/>
              <a:gd name="connsiteY678" fmla="*/ 2198735 h 6858000"/>
              <a:gd name="connsiteX679" fmla="*/ 2040892 w 7467600"/>
              <a:gd name="connsiteY679" fmla="*/ 2405205 h 6858000"/>
              <a:gd name="connsiteX680" fmla="*/ 2131689 w 7467600"/>
              <a:gd name="connsiteY680" fmla="*/ 1936926 h 6858000"/>
              <a:gd name="connsiteX681" fmla="*/ 2454820 w 7467600"/>
              <a:gd name="connsiteY681" fmla="*/ 1248808 h 6858000"/>
              <a:gd name="connsiteX682" fmla="*/ 2492512 w 7467600"/>
              <a:gd name="connsiteY682" fmla="*/ 1302920 h 6858000"/>
              <a:gd name="connsiteX683" fmla="*/ 2081216 w 7467600"/>
              <a:gd name="connsiteY683" fmla="*/ 2527513 h 6858000"/>
              <a:gd name="connsiteX684" fmla="*/ 2081211 w 7467600"/>
              <a:gd name="connsiteY684" fmla="*/ 2528916 h 6858000"/>
              <a:gd name="connsiteX685" fmla="*/ 2199067 w 7467600"/>
              <a:gd name="connsiteY685" fmla="*/ 2884061 h 6858000"/>
              <a:gd name="connsiteX686" fmla="*/ 3192586 w 7467600"/>
              <a:gd name="connsiteY686" fmla="*/ 3411496 h 6858000"/>
              <a:gd name="connsiteX687" fmla="*/ 3182620 w 7467600"/>
              <a:gd name="connsiteY687" fmla="*/ 3483279 h 6858000"/>
              <a:gd name="connsiteX688" fmla="*/ 2435119 w 7467600"/>
              <a:gd name="connsiteY688" fmla="*/ 3080173 h 6858000"/>
              <a:gd name="connsiteX689" fmla="*/ 2410152 w 7467600"/>
              <a:gd name="connsiteY689" fmla="*/ 3063751 h 6858000"/>
              <a:gd name="connsiteX690" fmla="*/ 2408099 w 7467600"/>
              <a:gd name="connsiteY690" fmla="*/ 3064403 h 6858000"/>
              <a:gd name="connsiteX691" fmla="*/ 2407218 w 7467600"/>
              <a:gd name="connsiteY691" fmla="*/ 3070324 h 6858000"/>
              <a:gd name="connsiteX692" fmla="*/ 2380138 w 7467600"/>
              <a:gd name="connsiteY692" fmla="*/ 3099341 h 6858000"/>
              <a:gd name="connsiteX693" fmla="*/ 1765923 w 7467600"/>
              <a:gd name="connsiteY693" fmla="*/ 3581043 h 6858000"/>
              <a:gd name="connsiteX694" fmla="*/ 1702258 w 7467600"/>
              <a:gd name="connsiteY694" fmla="*/ 3612286 h 6858000"/>
              <a:gd name="connsiteX695" fmla="*/ 1538370 w 7467600"/>
              <a:gd name="connsiteY695" fmla="*/ 3811804 h 6858000"/>
              <a:gd name="connsiteX696" fmla="*/ 542867 w 7467600"/>
              <a:gd name="connsiteY696" fmla="*/ 4944092 h 6858000"/>
              <a:gd name="connsiteX697" fmla="*/ 515800 w 7467600"/>
              <a:gd name="connsiteY697" fmla="*/ 4862180 h 6858000"/>
              <a:gd name="connsiteX698" fmla="*/ 909145 w 7467600"/>
              <a:gd name="connsiteY698" fmla="*/ 4199225 h 6858000"/>
              <a:gd name="connsiteX699" fmla="*/ 1214067 w 7467600"/>
              <a:gd name="connsiteY699" fmla="*/ 3908561 h 6858000"/>
              <a:gd name="connsiteX700" fmla="*/ 640967 w 7467600"/>
              <a:gd name="connsiteY700" fmla="*/ 4105601 h 6858000"/>
              <a:gd name="connsiteX701" fmla="*/ 112563 w 7467600"/>
              <a:gd name="connsiteY701" fmla="*/ 4396952 h 6858000"/>
              <a:gd name="connsiteX702" fmla="*/ 0 w 7467600"/>
              <a:gd name="connsiteY702" fmla="*/ 4466006 h 6858000"/>
              <a:gd name="connsiteX703" fmla="*/ 0 w 7467600"/>
              <a:gd name="connsiteY703" fmla="*/ 4233763 h 6858000"/>
              <a:gd name="connsiteX704" fmla="*/ 36881 w 7467600"/>
              <a:gd name="connsiteY704" fmla="*/ 4200118 h 6858000"/>
              <a:gd name="connsiteX705" fmla="*/ 910534 w 7467600"/>
              <a:gd name="connsiteY705" fmla="*/ 3629753 h 6858000"/>
              <a:gd name="connsiteX706" fmla="*/ 1578717 w 7467600"/>
              <a:gd name="connsiteY706" fmla="*/ 3575982 h 6858000"/>
              <a:gd name="connsiteX707" fmla="*/ 2338780 w 7467600"/>
              <a:gd name="connsiteY707" fmla="*/ 3033725 h 6858000"/>
              <a:gd name="connsiteX708" fmla="*/ 1807991 w 7467600"/>
              <a:gd name="connsiteY708" fmla="*/ 2807184 h 6858000"/>
              <a:gd name="connsiteX709" fmla="*/ 1416358 w 7467600"/>
              <a:gd name="connsiteY709" fmla="*/ 3112571 h 6858000"/>
              <a:gd name="connsiteX710" fmla="*/ 939066 w 7467600"/>
              <a:gd name="connsiteY710" fmla="*/ 3378798 h 6858000"/>
              <a:gd name="connsiteX711" fmla="*/ 115099 w 7467600"/>
              <a:gd name="connsiteY711" fmla="*/ 3607650 h 6858000"/>
              <a:gd name="connsiteX712" fmla="*/ 97284 w 7467600"/>
              <a:gd name="connsiteY712" fmla="*/ 3520393 h 6858000"/>
              <a:gd name="connsiteX713" fmla="*/ 922050 w 7467600"/>
              <a:gd name="connsiteY713" fmla="*/ 3074867 h 6858000"/>
              <a:gd name="connsiteX714" fmla="*/ 1405265 w 7467600"/>
              <a:gd name="connsiteY714" fmla="*/ 3016319 h 6858000"/>
              <a:gd name="connsiteX715" fmla="*/ 1407512 w 7467600"/>
              <a:gd name="connsiteY715" fmla="*/ 3018001 h 6858000"/>
              <a:gd name="connsiteX716" fmla="*/ 1726266 w 7467600"/>
              <a:gd name="connsiteY716" fmla="*/ 2777274 h 6858000"/>
              <a:gd name="connsiteX717" fmla="*/ 625390 w 7467600"/>
              <a:gd name="connsiteY717" fmla="*/ 2514541 h 6858000"/>
              <a:gd name="connsiteX718" fmla="*/ 619799 w 7467600"/>
              <a:gd name="connsiteY718" fmla="*/ 2527180 h 6858000"/>
              <a:gd name="connsiteX719" fmla="*/ 310030 w 7467600"/>
              <a:gd name="connsiteY719" fmla="*/ 2771818 h 6858000"/>
              <a:gd name="connsiteX720" fmla="*/ 173877 w 7467600"/>
              <a:gd name="connsiteY720" fmla="*/ 2937056 h 6858000"/>
              <a:gd name="connsiteX721" fmla="*/ 77889 w 7467600"/>
              <a:gd name="connsiteY721" fmla="*/ 3138440 h 6858000"/>
              <a:gd name="connsiteX722" fmla="*/ 0 w 7467600"/>
              <a:gd name="connsiteY722" fmla="*/ 3271395 h 6858000"/>
              <a:gd name="connsiteX723" fmla="*/ 0 w 7467600"/>
              <a:gd name="connsiteY723" fmla="*/ 3153002 h 6858000"/>
              <a:gd name="connsiteX724" fmla="*/ 2386 w 7467600"/>
              <a:gd name="connsiteY724" fmla="*/ 3149203 h 6858000"/>
              <a:gd name="connsiteX725" fmla="*/ 89753 w 7467600"/>
              <a:gd name="connsiteY725" fmla="*/ 2987702 h 6858000"/>
              <a:gd name="connsiteX726" fmla="*/ 76869 w 7467600"/>
              <a:gd name="connsiteY726" fmla="*/ 3005404 h 6858000"/>
              <a:gd name="connsiteX727" fmla="*/ 32049 w 7467600"/>
              <a:gd name="connsiteY727" fmla="*/ 3065814 h 6858000"/>
              <a:gd name="connsiteX728" fmla="*/ 0 w 7467600"/>
              <a:gd name="connsiteY728" fmla="*/ 3108744 h 6858000"/>
              <a:gd name="connsiteX729" fmla="*/ 0 w 7467600"/>
              <a:gd name="connsiteY729" fmla="*/ 3058059 h 6858000"/>
              <a:gd name="connsiteX730" fmla="*/ 7610 w 7467600"/>
              <a:gd name="connsiteY730" fmla="*/ 3047889 h 6858000"/>
              <a:gd name="connsiteX731" fmla="*/ 52419 w 7467600"/>
              <a:gd name="connsiteY731" fmla="*/ 2987479 h 6858000"/>
              <a:gd name="connsiteX732" fmla="*/ 59142 w 7467600"/>
              <a:gd name="connsiteY732" fmla="*/ 2978488 h 6858000"/>
              <a:gd name="connsiteX733" fmla="*/ 0 w 7467600"/>
              <a:gd name="connsiteY733" fmla="*/ 3015334 h 6858000"/>
              <a:gd name="connsiteX734" fmla="*/ 0 w 7467600"/>
              <a:gd name="connsiteY734" fmla="*/ 2914286 h 6858000"/>
              <a:gd name="connsiteX735" fmla="*/ 36383 w 7467600"/>
              <a:gd name="connsiteY735" fmla="*/ 2901128 h 6858000"/>
              <a:gd name="connsiteX736" fmla="*/ 156329 w 7467600"/>
              <a:gd name="connsiteY736" fmla="*/ 2840533 h 6858000"/>
              <a:gd name="connsiteX737" fmla="*/ 358355 w 7467600"/>
              <a:gd name="connsiteY737" fmla="*/ 2620471 h 6858000"/>
              <a:gd name="connsiteX738" fmla="*/ 510577 w 7467600"/>
              <a:gd name="connsiteY738" fmla="*/ 2501244 h 6858000"/>
              <a:gd name="connsiteX739" fmla="*/ 211967 w 7467600"/>
              <a:gd name="connsiteY739" fmla="*/ 2479171 h 6858000"/>
              <a:gd name="connsiteX740" fmla="*/ 0 w 7467600"/>
              <a:gd name="connsiteY740" fmla="*/ 2476398 h 6858000"/>
              <a:gd name="connsiteX741" fmla="*/ 0 w 7467600"/>
              <a:gd name="connsiteY741" fmla="*/ 2389189 h 6858000"/>
              <a:gd name="connsiteX742" fmla="*/ 103062 w 7467600"/>
              <a:gd name="connsiteY742" fmla="*/ 2389518 h 6858000"/>
              <a:gd name="connsiteX743" fmla="*/ 510734 w 7467600"/>
              <a:gd name="connsiteY743" fmla="*/ 2416201 h 6858000"/>
              <a:gd name="connsiteX744" fmla="*/ 279257 w 7467600"/>
              <a:gd name="connsiteY744" fmla="*/ 2092102 h 6858000"/>
              <a:gd name="connsiteX745" fmla="*/ 65265 w 7467600"/>
              <a:gd name="connsiteY745" fmla="*/ 2006049 h 6858000"/>
              <a:gd name="connsiteX746" fmla="*/ 0 w 7467600"/>
              <a:gd name="connsiteY746" fmla="*/ 1982532 h 6858000"/>
              <a:gd name="connsiteX747" fmla="*/ 0 w 7467600"/>
              <a:gd name="connsiteY747" fmla="*/ 1912789 h 6858000"/>
              <a:gd name="connsiteX748" fmla="*/ 97460 w 7467600"/>
              <a:gd name="connsiteY748" fmla="*/ 1953725 h 6858000"/>
              <a:gd name="connsiteX749" fmla="*/ 221272 w 7467600"/>
              <a:gd name="connsiteY749" fmla="*/ 1980766 h 6858000"/>
              <a:gd name="connsiteX750" fmla="*/ 116765 w 7467600"/>
              <a:gd name="connsiteY750" fmla="*/ 1911033 h 6858000"/>
              <a:gd name="connsiteX751" fmla="*/ 16405 w 7467600"/>
              <a:gd name="connsiteY751" fmla="*/ 1803412 h 6858000"/>
              <a:gd name="connsiteX752" fmla="*/ 0 w 7467600"/>
              <a:gd name="connsiteY752" fmla="*/ 1784777 h 6858000"/>
              <a:gd name="connsiteX753" fmla="*/ 0 w 7467600"/>
              <a:gd name="connsiteY753" fmla="*/ 1740082 h 6858000"/>
              <a:gd name="connsiteX754" fmla="*/ 39394 w 7467600"/>
              <a:gd name="connsiteY754" fmla="*/ 1784856 h 6858000"/>
              <a:gd name="connsiteX755" fmla="*/ 135813 w 7467600"/>
              <a:gd name="connsiteY755" fmla="*/ 1888838 h 6858000"/>
              <a:gd name="connsiteX756" fmla="*/ 242575 w 7467600"/>
              <a:gd name="connsiteY756" fmla="*/ 1958841 h 6858000"/>
              <a:gd name="connsiteX757" fmla="*/ 82197 w 7467600"/>
              <a:gd name="connsiteY757" fmla="*/ 1754826 h 6858000"/>
              <a:gd name="connsiteX758" fmla="*/ 0 w 7467600"/>
              <a:gd name="connsiteY758" fmla="*/ 1679650 h 6858000"/>
              <a:gd name="connsiteX759" fmla="*/ 0 w 7467600"/>
              <a:gd name="connsiteY759" fmla="*/ 1602463 h 6858000"/>
              <a:gd name="connsiteX760" fmla="*/ 84689 w 7467600"/>
              <a:gd name="connsiteY760" fmla="*/ 1677442 h 6858000"/>
              <a:gd name="connsiteX761" fmla="*/ 298437 w 7467600"/>
              <a:gd name="connsiteY761" fmla="*/ 1968019 h 6858000"/>
              <a:gd name="connsiteX762" fmla="*/ 227269 w 7467600"/>
              <a:gd name="connsiteY762" fmla="*/ 1114064 h 6858000"/>
              <a:gd name="connsiteX763" fmla="*/ 248003 w 7467600"/>
              <a:gd name="connsiteY763" fmla="*/ 1089613 h 6858000"/>
              <a:gd name="connsiteX764" fmla="*/ 427020 w 7467600"/>
              <a:gd name="connsiteY764" fmla="*/ 1619803 h 6858000"/>
              <a:gd name="connsiteX765" fmla="*/ 340345 w 7467600"/>
              <a:gd name="connsiteY765" fmla="*/ 2027739 h 6858000"/>
              <a:gd name="connsiteX766" fmla="*/ 360865 w 7467600"/>
              <a:gd name="connsiteY766" fmla="*/ 2044827 h 6858000"/>
              <a:gd name="connsiteX767" fmla="*/ 560414 w 7467600"/>
              <a:gd name="connsiteY767" fmla="*/ 2421457 h 6858000"/>
              <a:gd name="connsiteX768" fmla="*/ 1359703 w 7467600"/>
              <a:gd name="connsiteY768" fmla="*/ 2578554 h 6858000"/>
              <a:gd name="connsiteX769" fmla="*/ 1359422 w 7467600"/>
              <a:gd name="connsiteY769" fmla="*/ 2577994 h 6858000"/>
              <a:gd name="connsiteX770" fmla="*/ 828701 w 7467600"/>
              <a:gd name="connsiteY770" fmla="*/ 1839520 h 6858000"/>
              <a:gd name="connsiteX771" fmla="*/ 494427 w 7467600"/>
              <a:gd name="connsiteY771" fmla="*/ 1092333 h 6858000"/>
              <a:gd name="connsiteX772" fmla="*/ 506322 w 7467600"/>
              <a:gd name="connsiteY772" fmla="*/ 1020997 h 6858000"/>
              <a:gd name="connsiteX773" fmla="*/ 4570198 w 7467600"/>
              <a:gd name="connsiteY773" fmla="*/ 978081 h 6858000"/>
              <a:gd name="connsiteX774" fmla="*/ 4523691 w 7467600"/>
              <a:gd name="connsiteY774" fmla="*/ 1127776 h 6858000"/>
              <a:gd name="connsiteX775" fmla="*/ 4509875 w 7467600"/>
              <a:gd name="connsiteY775" fmla="*/ 1167552 h 6858000"/>
              <a:gd name="connsiteX776" fmla="*/ 4478168 w 7467600"/>
              <a:gd name="connsiteY776" fmla="*/ 1260735 h 6858000"/>
              <a:gd name="connsiteX777" fmla="*/ 4409309 w 7467600"/>
              <a:gd name="connsiteY777" fmla="*/ 1666996 h 6858000"/>
              <a:gd name="connsiteX778" fmla="*/ 4370031 w 7467600"/>
              <a:gd name="connsiteY778" fmla="*/ 1955666 h 6858000"/>
              <a:gd name="connsiteX779" fmla="*/ 4570198 w 7467600"/>
              <a:gd name="connsiteY779" fmla="*/ 978081 h 6858000"/>
              <a:gd name="connsiteX780" fmla="*/ 4557898 w 7467600"/>
              <a:gd name="connsiteY780" fmla="*/ 900011 h 6858000"/>
              <a:gd name="connsiteX781" fmla="*/ 4344840 w 7467600"/>
              <a:gd name="connsiteY781" fmla="*/ 1922038 h 6858000"/>
              <a:gd name="connsiteX782" fmla="*/ 4378710 w 7467600"/>
              <a:gd name="connsiteY782" fmla="*/ 1665516 h 6858000"/>
              <a:gd name="connsiteX783" fmla="*/ 4448798 w 7467600"/>
              <a:gd name="connsiteY783" fmla="*/ 1253024 h 6858000"/>
              <a:gd name="connsiteX784" fmla="*/ 4480315 w 7467600"/>
              <a:gd name="connsiteY784" fmla="*/ 1158454 h 6858000"/>
              <a:gd name="connsiteX785" fmla="*/ 4494133 w 7467600"/>
              <a:gd name="connsiteY785" fmla="*/ 1118676 h 6858000"/>
              <a:gd name="connsiteX786" fmla="*/ 4557898 w 7467600"/>
              <a:gd name="connsiteY786" fmla="*/ 900011 h 6858000"/>
              <a:gd name="connsiteX787" fmla="*/ 5870151 w 7467600"/>
              <a:gd name="connsiteY787" fmla="*/ 898890 h 6858000"/>
              <a:gd name="connsiteX788" fmla="*/ 5861335 w 7467600"/>
              <a:gd name="connsiteY788" fmla="*/ 899177 h 6858000"/>
              <a:gd name="connsiteX789" fmla="*/ 5843702 w 7467600"/>
              <a:gd name="connsiteY789" fmla="*/ 899748 h 6858000"/>
              <a:gd name="connsiteX790" fmla="*/ 5651107 w 7467600"/>
              <a:gd name="connsiteY790" fmla="*/ 920306 h 6858000"/>
              <a:gd name="connsiteX791" fmla="*/ 5459407 w 7467600"/>
              <a:gd name="connsiteY791" fmla="*/ 940975 h 6858000"/>
              <a:gd name="connsiteX792" fmla="*/ 5374846 w 7467600"/>
              <a:gd name="connsiteY792" fmla="*/ 941988 h 6858000"/>
              <a:gd name="connsiteX793" fmla="*/ 5256105 w 7467600"/>
              <a:gd name="connsiteY793" fmla="*/ 945632 h 6858000"/>
              <a:gd name="connsiteX794" fmla="*/ 5107071 w 7467600"/>
              <a:gd name="connsiteY794" fmla="*/ 969720 h 6858000"/>
              <a:gd name="connsiteX795" fmla="*/ 4998681 w 7467600"/>
              <a:gd name="connsiteY795" fmla="*/ 988771 h 6858000"/>
              <a:gd name="connsiteX796" fmla="*/ 5870151 w 7467600"/>
              <a:gd name="connsiteY796" fmla="*/ 898890 h 6858000"/>
              <a:gd name="connsiteX797" fmla="*/ 5504425 w 7467600"/>
              <a:gd name="connsiteY797" fmla="*/ 848067 h 6858000"/>
              <a:gd name="connsiteX798" fmla="*/ 4968849 w 7467600"/>
              <a:gd name="connsiteY798" fmla="*/ 962318 h 6858000"/>
              <a:gd name="connsiteX799" fmla="*/ 5104039 w 7467600"/>
              <a:gd name="connsiteY799" fmla="*/ 940634 h 6858000"/>
              <a:gd name="connsiteX800" fmla="*/ 5256311 w 7467600"/>
              <a:gd name="connsiteY800" fmla="*/ 916490 h 6858000"/>
              <a:gd name="connsiteX801" fmla="*/ 5377381 w 7467600"/>
              <a:gd name="connsiteY801" fmla="*/ 912671 h 6858000"/>
              <a:gd name="connsiteX802" fmla="*/ 5460148 w 7467600"/>
              <a:gd name="connsiteY802" fmla="*/ 911442 h 6858000"/>
              <a:gd name="connsiteX803" fmla="*/ 5648971 w 7467600"/>
              <a:gd name="connsiteY803" fmla="*/ 891331 h 6858000"/>
              <a:gd name="connsiteX804" fmla="*/ 5844807 w 7467600"/>
              <a:gd name="connsiteY804" fmla="*/ 870718 h 6858000"/>
              <a:gd name="connsiteX805" fmla="*/ 5862975 w 7467600"/>
              <a:gd name="connsiteY805" fmla="*/ 869756 h 6858000"/>
              <a:gd name="connsiteX806" fmla="*/ 5920887 w 7467600"/>
              <a:gd name="connsiteY806" fmla="*/ 865929 h 6858000"/>
              <a:gd name="connsiteX807" fmla="*/ 5504425 w 7467600"/>
              <a:gd name="connsiteY807" fmla="*/ 848067 h 6858000"/>
              <a:gd name="connsiteX808" fmla="*/ 3607114 w 7467600"/>
              <a:gd name="connsiteY808" fmla="*/ 467441 h 6858000"/>
              <a:gd name="connsiteX809" fmla="*/ 3296242 w 7467600"/>
              <a:gd name="connsiteY809" fmla="*/ 807991 h 6858000"/>
              <a:gd name="connsiteX810" fmla="*/ 3174674 w 7467600"/>
              <a:gd name="connsiteY810" fmla="*/ 919759 h 6858000"/>
              <a:gd name="connsiteX811" fmla="*/ 3042978 w 7467600"/>
              <a:gd name="connsiteY811" fmla="*/ 1054894 h 6858000"/>
              <a:gd name="connsiteX812" fmla="*/ 2968914 w 7467600"/>
              <a:gd name="connsiteY812" fmla="*/ 1133756 h 6858000"/>
              <a:gd name="connsiteX813" fmla="*/ 3103823 w 7467600"/>
              <a:gd name="connsiteY813" fmla="*/ 1026814 h 6858000"/>
              <a:gd name="connsiteX814" fmla="*/ 3607114 w 7467600"/>
              <a:gd name="connsiteY814" fmla="*/ 467441 h 6858000"/>
              <a:gd name="connsiteX815" fmla="*/ 3744487 w 7467600"/>
              <a:gd name="connsiteY815" fmla="*/ 383136 h 6858000"/>
              <a:gd name="connsiteX816" fmla="*/ 3970213 w 7467600"/>
              <a:gd name="connsiteY816" fmla="*/ 995559 h 6858000"/>
              <a:gd name="connsiteX817" fmla="*/ 3744487 w 7467600"/>
              <a:gd name="connsiteY817" fmla="*/ 383136 h 6858000"/>
              <a:gd name="connsiteX818" fmla="*/ 3624562 w 7467600"/>
              <a:gd name="connsiteY818" fmla="*/ 367041 h 6858000"/>
              <a:gd name="connsiteX819" fmla="*/ 3489712 w 7467600"/>
              <a:gd name="connsiteY819" fmla="*/ 485386 h 6858000"/>
              <a:gd name="connsiteX820" fmla="*/ 3182994 w 7467600"/>
              <a:gd name="connsiteY820" fmla="*/ 828265 h 6858000"/>
              <a:gd name="connsiteX821" fmla="*/ 2892114 w 7467600"/>
              <a:gd name="connsiteY821" fmla="*/ 1172635 h 6858000"/>
              <a:gd name="connsiteX822" fmla="*/ 3021459 w 7467600"/>
              <a:gd name="connsiteY822" fmla="*/ 1035385 h 6858000"/>
              <a:gd name="connsiteX823" fmla="*/ 3153873 w 7467600"/>
              <a:gd name="connsiteY823" fmla="*/ 898971 h 6858000"/>
              <a:gd name="connsiteX824" fmla="*/ 3276511 w 7467600"/>
              <a:gd name="connsiteY824" fmla="*/ 786423 h 6858000"/>
              <a:gd name="connsiteX825" fmla="*/ 3584154 w 7467600"/>
              <a:gd name="connsiteY825" fmla="*/ 448218 h 6858000"/>
              <a:gd name="connsiteX826" fmla="*/ 3624562 w 7467600"/>
              <a:gd name="connsiteY826" fmla="*/ 367041 h 6858000"/>
              <a:gd name="connsiteX827" fmla="*/ 3766672 w 7467600"/>
              <a:gd name="connsiteY827" fmla="*/ 359429 h 6858000"/>
              <a:gd name="connsiteX828" fmla="*/ 3996338 w 7467600"/>
              <a:gd name="connsiteY828" fmla="*/ 968237 h 6858000"/>
              <a:gd name="connsiteX829" fmla="*/ 3766672 w 7467600"/>
              <a:gd name="connsiteY829" fmla="*/ 359429 h 6858000"/>
              <a:gd name="connsiteX830" fmla="*/ 5805386 w 7467600"/>
              <a:gd name="connsiteY830" fmla="*/ 239240 h 6858000"/>
              <a:gd name="connsiteX831" fmla="*/ 5736947 w 7467600"/>
              <a:gd name="connsiteY831" fmla="*/ 261367 h 6858000"/>
              <a:gd name="connsiteX832" fmla="*/ 5427012 w 7467600"/>
              <a:gd name="connsiteY832" fmla="*/ 311272 h 6858000"/>
              <a:gd name="connsiteX833" fmla="*/ 5147818 w 7467600"/>
              <a:gd name="connsiteY833" fmla="*/ 322112 h 6858000"/>
              <a:gd name="connsiteX834" fmla="*/ 5060854 w 7467600"/>
              <a:gd name="connsiteY834" fmla="*/ 311882 h 6858000"/>
              <a:gd name="connsiteX835" fmla="*/ 4945989 w 7467600"/>
              <a:gd name="connsiteY835" fmla="*/ 300516 h 6858000"/>
              <a:gd name="connsiteX836" fmla="*/ 5410479 w 7467600"/>
              <a:gd name="connsiteY836" fmla="*/ 348434 h 6858000"/>
              <a:gd name="connsiteX837" fmla="*/ 5805386 w 7467600"/>
              <a:gd name="connsiteY837" fmla="*/ 239240 h 6858000"/>
              <a:gd name="connsiteX838" fmla="*/ 5905192 w 7467600"/>
              <a:gd name="connsiteY838" fmla="*/ 163079 h 6858000"/>
              <a:gd name="connsiteX839" fmla="*/ 5865655 w 7467600"/>
              <a:gd name="connsiteY839" fmla="*/ 171901 h 6858000"/>
              <a:gd name="connsiteX840" fmla="*/ 5259740 w 7467600"/>
              <a:gd name="connsiteY840" fmla="*/ 257013 h 6858000"/>
              <a:gd name="connsiteX841" fmla="*/ 5208466 w 7467600"/>
              <a:gd name="connsiteY841" fmla="*/ 257550 h 6858000"/>
              <a:gd name="connsiteX842" fmla="*/ 4980204 w 7467600"/>
              <a:gd name="connsiteY842" fmla="*/ 271903 h 6858000"/>
              <a:gd name="connsiteX843" fmla="*/ 5068068 w 7467600"/>
              <a:gd name="connsiteY843" fmla="*/ 282244 h 6858000"/>
              <a:gd name="connsiteX844" fmla="*/ 5153231 w 7467600"/>
              <a:gd name="connsiteY844" fmla="*/ 292240 h 6858000"/>
              <a:gd name="connsiteX845" fmla="*/ 5426491 w 7467600"/>
              <a:gd name="connsiteY845" fmla="*/ 281128 h 6858000"/>
              <a:gd name="connsiteX846" fmla="*/ 5731212 w 7467600"/>
              <a:gd name="connsiteY846" fmla="*/ 231951 h 6858000"/>
              <a:gd name="connsiteX847" fmla="*/ 5905192 w 7467600"/>
              <a:gd name="connsiteY847" fmla="*/ 163079 h 6858000"/>
              <a:gd name="connsiteX848" fmla="*/ 5944437 w 7467600"/>
              <a:gd name="connsiteY848" fmla="*/ 113829 h 6858000"/>
              <a:gd name="connsiteX849" fmla="*/ 5825032 w 7467600"/>
              <a:gd name="connsiteY849" fmla="*/ 146405 h 6858000"/>
              <a:gd name="connsiteX850" fmla="*/ 4955599 w 7467600"/>
              <a:gd name="connsiteY850" fmla="*/ 247008 h 6858000"/>
              <a:gd name="connsiteX851" fmla="*/ 5210104 w 7467600"/>
              <a:gd name="connsiteY851" fmla="*/ 228123 h 6858000"/>
              <a:gd name="connsiteX852" fmla="*/ 5261015 w 7467600"/>
              <a:gd name="connsiteY852" fmla="*/ 227087 h 6858000"/>
              <a:gd name="connsiteX853" fmla="*/ 5861181 w 7467600"/>
              <a:gd name="connsiteY853" fmla="*/ 143093 h 6858000"/>
              <a:gd name="connsiteX854" fmla="*/ 5961252 w 7467600"/>
              <a:gd name="connsiteY854" fmla="*/ 114820 h 6858000"/>
              <a:gd name="connsiteX855" fmla="*/ 5944437 w 7467600"/>
              <a:gd name="connsiteY855" fmla="*/ 113829 h 6858000"/>
              <a:gd name="connsiteX856" fmla="*/ 3882765 w 7467600"/>
              <a:gd name="connsiteY856" fmla="*/ 0 h 6858000"/>
              <a:gd name="connsiteX857" fmla="*/ 3995099 w 7467600"/>
              <a:gd name="connsiteY857" fmla="*/ 0 h 6858000"/>
              <a:gd name="connsiteX858" fmla="*/ 4163818 w 7467600"/>
              <a:gd name="connsiteY858" fmla="*/ 234104 h 6858000"/>
              <a:gd name="connsiteX859" fmla="*/ 4172099 w 7467600"/>
              <a:gd name="connsiteY859" fmla="*/ 234207 h 6858000"/>
              <a:gd name="connsiteX860" fmla="*/ 4784282 w 7467600"/>
              <a:gd name="connsiteY860" fmla="*/ 276561 h 6858000"/>
              <a:gd name="connsiteX861" fmla="*/ 4801687 w 7467600"/>
              <a:gd name="connsiteY861" fmla="*/ 267764 h 6858000"/>
              <a:gd name="connsiteX862" fmla="*/ 6082788 w 7467600"/>
              <a:gd name="connsiteY862" fmla="*/ 64119 h 6858000"/>
              <a:gd name="connsiteX863" fmla="*/ 6099442 w 7467600"/>
              <a:gd name="connsiteY863" fmla="*/ 82568 h 6858000"/>
              <a:gd name="connsiteX864" fmla="*/ 4804137 w 7467600"/>
              <a:gd name="connsiteY864" fmla="*/ 320931 h 6858000"/>
              <a:gd name="connsiteX865" fmla="*/ 4227047 w 7467600"/>
              <a:gd name="connsiteY865" fmla="*/ 313415 h 6858000"/>
              <a:gd name="connsiteX866" fmla="*/ 4346041 w 7467600"/>
              <a:gd name="connsiteY866" fmla="*/ 456086 h 6858000"/>
              <a:gd name="connsiteX867" fmla="*/ 4870967 w 7467600"/>
              <a:gd name="connsiteY867" fmla="*/ 963061 h 6858000"/>
              <a:gd name="connsiteX868" fmla="*/ 4889647 w 7467600"/>
              <a:gd name="connsiteY868" fmla="*/ 957147 h 6858000"/>
              <a:gd name="connsiteX869" fmla="*/ 5422504 w 7467600"/>
              <a:gd name="connsiteY869" fmla="*/ 805191 h 6858000"/>
              <a:gd name="connsiteX870" fmla="*/ 6087656 w 7467600"/>
              <a:gd name="connsiteY870" fmla="*/ 826703 h 6858000"/>
              <a:gd name="connsiteX871" fmla="*/ 6058717 w 7467600"/>
              <a:gd name="connsiteY871" fmla="*/ 865992 h 6858000"/>
              <a:gd name="connsiteX872" fmla="*/ 4974153 w 7467600"/>
              <a:gd name="connsiteY872" fmla="*/ 1045456 h 6858000"/>
              <a:gd name="connsiteX873" fmla="*/ 5627835 w 7467600"/>
              <a:gd name="connsiteY873" fmla="*/ 1472077 h 6858000"/>
              <a:gd name="connsiteX874" fmla="*/ 5629817 w 7467600"/>
              <a:gd name="connsiteY874" fmla="*/ 1471412 h 6858000"/>
              <a:gd name="connsiteX875" fmla="*/ 5634124 w 7467600"/>
              <a:gd name="connsiteY875" fmla="*/ 1470572 h 6858000"/>
              <a:gd name="connsiteX876" fmla="*/ 5755832 w 7467600"/>
              <a:gd name="connsiteY876" fmla="*/ 1383886 h 6858000"/>
              <a:gd name="connsiteX877" fmla="*/ 6014186 w 7467600"/>
              <a:gd name="connsiteY877" fmla="*/ 1279799 h 6858000"/>
              <a:gd name="connsiteX878" fmla="*/ 6901619 w 7467600"/>
              <a:gd name="connsiteY878" fmla="*/ 1047874 h 6858000"/>
              <a:gd name="connsiteX879" fmla="*/ 6931566 w 7467600"/>
              <a:gd name="connsiteY879" fmla="*/ 1062034 h 6858000"/>
              <a:gd name="connsiteX880" fmla="*/ 5790982 w 7467600"/>
              <a:gd name="connsiteY880" fmla="*/ 1561380 h 6858000"/>
              <a:gd name="connsiteX881" fmla="*/ 6188971 w 7467600"/>
              <a:gd name="connsiteY881" fmla="*/ 1755168 h 6858000"/>
              <a:gd name="connsiteX882" fmla="*/ 6202446 w 7467600"/>
              <a:gd name="connsiteY882" fmla="*/ 1752268 h 6858000"/>
              <a:gd name="connsiteX883" fmla="*/ 7179560 w 7467600"/>
              <a:gd name="connsiteY883" fmla="*/ 1467551 h 6858000"/>
              <a:gd name="connsiteX884" fmla="*/ 7158730 w 7467600"/>
              <a:gd name="connsiteY884" fmla="*/ 1507835 h 6858000"/>
              <a:gd name="connsiteX885" fmla="*/ 6326959 w 7467600"/>
              <a:gd name="connsiteY885" fmla="*/ 1817686 h 6858000"/>
              <a:gd name="connsiteX886" fmla="*/ 6537433 w 7467600"/>
              <a:gd name="connsiteY886" fmla="*/ 1907790 h 6858000"/>
              <a:gd name="connsiteX887" fmla="*/ 6550221 w 7467600"/>
              <a:gd name="connsiteY887" fmla="*/ 1910729 h 6858000"/>
              <a:gd name="connsiteX888" fmla="*/ 6964438 w 7467600"/>
              <a:gd name="connsiteY888" fmla="*/ 2209505 h 6858000"/>
              <a:gd name="connsiteX889" fmla="*/ 7367862 w 7467600"/>
              <a:gd name="connsiteY889" fmla="*/ 2806833 h 6858000"/>
              <a:gd name="connsiteX890" fmla="*/ 7364329 w 7467600"/>
              <a:gd name="connsiteY890" fmla="*/ 2826907 h 6858000"/>
              <a:gd name="connsiteX891" fmla="*/ 7290545 w 7467600"/>
              <a:gd name="connsiteY891" fmla="*/ 2850663 h 6858000"/>
              <a:gd name="connsiteX892" fmla="*/ 6472036 w 7467600"/>
              <a:gd name="connsiteY892" fmla="*/ 1959003 h 6858000"/>
              <a:gd name="connsiteX893" fmla="*/ 5792897 w 7467600"/>
              <a:gd name="connsiteY893" fmla="*/ 1647747 h 6858000"/>
              <a:gd name="connsiteX894" fmla="*/ 5842751 w 7467600"/>
              <a:gd name="connsiteY894" fmla="*/ 1816112 h 6858000"/>
              <a:gd name="connsiteX895" fmla="*/ 5847424 w 7467600"/>
              <a:gd name="connsiteY895" fmla="*/ 1815776 h 6858000"/>
              <a:gd name="connsiteX896" fmla="*/ 6399821 w 7467600"/>
              <a:gd name="connsiteY896" fmla="*/ 2344799 h 6858000"/>
              <a:gd name="connsiteX897" fmla="*/ 6323232 w 7467600"/>
              <a:gd name="connsiteY897" fmla="*/ 2389634 h 6858000"/>
              <a:gd name="connsiteX898" fmla="*/ 5942958 w 7467600"/>
              <a:gd name="connsiteY898" fmla="*/ 2077708 h 6858000"/>
              <a:gd name="connsiteX899" fmla="*/ 5921559 w 7467600"/>
              <a:gd name="connsiteY899" fmla="*/ 2378596 h 6858000"/>
              <a:gd name="connsiteX900" fmla="*/ 5817651 w 7467600"/>
              <a:gd name="connsiteY900" fmla="*/ 3023919 h 6858000"/>
              <a:gd name="connsiteX901" fmla="*/ 5729634 w 7467600"/>
              <a:gd name="connsiteY901" fmla="*/ 3051849 h 6858000"/>
              <a:gd name="connsiteX902" fmla="*/ 5611018 w 7467600"/>
              <a:gd name="connsiteY902" fmla="*/ 2316769 h 6858000"/>
              <a:gd name="connsiteX903" fmla="*/ 5687608 w 7467600"/>
              <a:gd name="connsiteY903" fmla="*/ 2039972 h 6858000"/>
              <a:gd name="connsiteX904" fmla="*/ 5657554 w 7467600"/>
              <a:gd name="connsiteY904" fmla="*/ 1576445 h 6858000"/>
              <a:gd name="connsiteX905" fmla="*/ 5150475 w 7467600"/>
              <a:gd name="connsiteY905" fmla="*/ 1274012 h 6858000"/>
              <a:gd name="connsiteX906" fmla="*/ 5349142 w 7467600"/>
              <a:gd name="connsiteY906" fmla="*/ 2204405 h 6858000"/>
              <a:gd name="connsiteX907" fmla="*/ 5262214 w 7467600"/>
              <a:gd name="connsiteY907" fmla="*/ 2233836 h 6858000"/>
              <a:gd name="connsiteX908" fmla="*/ 4981539 w 7467600"/>
              <a:gd name="connsiteY908" fmla="*/ 1542201 h 6858000"/>
              <a:gd name="connsiteX909" fmla="*/ 4958461 w 7467600"/>
              <a:gd name="connsiteY909" fmla="*/ 1136957 h 6858000"/>
              <a:gd name="connsiteX910" fmla="*/ 4655015 w 7467600"/>
              <a:gd name="connsiteY910" fmla="*/ 891426 h 6858000"/>
              <a:gd name="connsiteX911" fmla="*/ 4348002 w 7467600"/>
              <a:gd name="connsiteY911" fmla="*/ 2205895 h 6858000"/>
              <a:gd name="connsiteX912" fmla="*/ 4262250 w 7467600"/>
              <a:gd name="connsiteY912" fmla="*/ 2219972 h 6858000"/>
              <a:gd name="connsiteX913" fmla="*/ 4550611 w 7467600"/>
              <a:gd name="connsiteY913" fmla="*/ 817540 h 6858000"/>
              <a:gd name="connsiteX914" fmla="*/ 4564418 w 7467600"/>
              <a:gd name="connsiteY914" fmla="*/ 808293 h 6858000"/>
              <a:gd name="connsiteX915" fmla="*/ 4266388 w 7467600"/>
              <a:gd name="connsiteY915" fmla="*/ 500083 h 6858000"/>
              <a:gd name="connsiteX916" fmla="*/ 4032842 w 7467600"/>
              <a:gd name="connsiteY916" fmla="*/ 211809 h 6858000"/>
              <a:gd name="connsiteX917" fmla="*/ 3882765 w 7467600"/>
              <a:gd name="connsiteY917" fmla="*/ 0 h 6858000"/>
              <a:gd name="connsiteX918" fmla="*/ 3721337 w 7467600"/>
              <a:gd name="connsiteY918" fmla="*/ 0 h 6858000"/>
              <a:gd name="connsiteX919" fmla="*/ 3797544 w 7467600"/>
              <a:gd name="connsiteY919" fmla="*/ 0 h 6858000"/>
              <a:gd name="connsiteX920" fmla="*/ 3775734 w 7467600"/>
              <a:gd name="connsiteY920" fmla="*/ 95131 h 6858000"/>
              <a:gd name="connsiteX921" fmla="*/ 3724807 w 7467600"/>
              <a:gd name="connsiteY921" fmla="*/ 272257 h 6858000"/>
              <a:gd name="connsiteX922" fmla="*/ 3726844 w 7467600"/>
              <a:gd name="connsiteY922" fmla="*/ 282988 h 6858000"/>
              <a:gd name="connsiteX923" fmla="*/ 3742664 w 7467600"/>
              <a:gd name="connsiteY923" fmla="*/ 279918 h 6858000"/>
              <a:gd name="connsiteX924" fmla="*/ 4103910 w 7467600"/>
              <a:gd name="connsiteY924" fmla="*/ 1161917 h 6858000"/>
              <a:gd name="connsiteX925" fmla="*/ 4020269 w 7467600"/>
              <a:gd name="connsiteY925" fmla="*/ 1200406 h 6858000"/>
              <a:gd name="connsiteX926" fmla="*/ 3674882 w 7467600"/>
              <a:gd name="connsiteY926" fmla="*/ 488524 h 6858000"/>
              <a:gd name="connsiteX927" fmla="*/ 3132682 w 7467600"/>
              <a:gd name="connsiteY927" fmla="*/ 1072284 h 6858000"/>
              <a:gd name="connsiteX928" fmla="*/ 2716346 w 7467600"/>
              <a:gd name="connsiteY928" fmla="*/ 1276376 h 6858000"/>
              <a:gd name="connsiteX929" fmla="*/ 2716772 w 7467600"/>
              <a:gd name="connsiteY929" fmla="*/ 1255462 h 6858000"/>
              <a:gd name="connsiteX930" fmla="*/ 3471096 w 7467600"/>
              <a:gd name="connsiteY930" fmla="*/ 437072 h 6858000"/>
              <a:gd name="connsiteX931" fmla="*/ 3639057 w 7467600"/>
              <a:gd name="connsiteY931" fmla="*/ 286334 h 6858000"/>
              <a:gd name="connsiteX932" fmla="*/ 3640309 w 7467600"/>
              <a:gd name="connsiteY932" fmla="*/ 284664 h 6858000"/>
              <a:gd name="connsiteX933" fmla="*/ 3646022 w 7467600"/>
              <a:gd name="connsiteY933" fmla="*/ 276711 h 6858000"/>
              <a:gd name="connsiteX934" fmla="*/ 3707943 w 7467600"/>
              <a:gd name="connsiteY934" fmla="*/ 65958 h 6858000"/>
              <a:gd name="connsiteX935" fmla="*/ 3721337 w 7467600"/>
              <a:gd name="connsiteY935" fmla="*/ 0 h 6858000"/>
              <a:gd name="connsiteX936" fmla="*/ 2867960 w 7467600"/>
              <a:gd name="connsiteY936" fmla="*/ 0 h 6858000"/>
              <a:gd name="connsiteX937" fmla="*/ 2926351 w 7467600"/>
              <a:gd name="connsiteY937" fmla="*/ 0 h 6858000"/>
              <a:gd name="connsiteX938" fmla="*/ 2902823 w 7467600"/>
              <a:gd name="connsiteY938" fmla="*/ 262929 h 6858000"/>
              <a:gd name="connsiteX939" fmla="*/ 2940663 w 7467600"/>
              <a:gd name="connsiteY939" fmla="*/ 140884 h 6858000"/>
              <a:gd name="connsiteX940" fmla="*/ 2947039 w 7467600"/>
              <a:gd name="connsiteY940" fmla="*/ 122524 h 6858000"/>
              <a:gd name="connsiteX941" fmla="*/ 2984316 w 7467600"/>
              <a:gd name="connsiteY941" fmla="*/ 0 h 6858000"/>
              <a:gd name="connsiteX942" fmla="*/ 3016114 w 7467600"/>
              <a:gd name="connsiteY942" fmla="*/ 0 h 6858000"/>
              <a:gd name="connsiteX943" fmla="*/ 2979949 w 7467600"/>
              <a:gd name="connsiteY943" fmla="*/ 119274 h 6858000"/>
              <a:gd name="connsiteX944" fmla="*/ 3023879 w 7467600"/>
              <a:gd name="connsiteY944" fmla="*/ 0 h 6858000"/>
              <a:gd name="connsiteX945" fmla="*/ 3105400 w 7467600"/>
              <a:gd name="connsiteY945" fmla="*/ 0 h 6858000"/>
              <a:gd name="connsiteX946" fmla="*/ 3094669 w 7467600"/>
              <a:gd name="connsiteY946" fmla="*/ 30308 h 6858000"/>
              <a:gd name="connsiteX947" fmla="*/ 2901945 w 7467600"/>
              <a:gd name="connsiteY947" fmla="*/ 466538 h 6858000"/>
              <a:gd name="connsiteX948" fmla="*/ 2815209 w 7467600"/>
              <a:gd name="connsiteY948" fmla="*/ 497361 h 6858000"/>
              <a:gd name="connsiteX949" fmla="*/ 2844845 w 7467600"/>
              <a:gd name="connsiteY949" fmla="*/ 127638 h 6858000"/>
              <a:gd name="connsiteX950" fmla="*/ 2867960 w 7467600"/>
              <a:gd name="connsiteY950" fmla="*/ 0 h 6858000"/>
              <a:gd name="connsiteX951" fmla="*/ 1057230 w 7467600"/>
              <a:gd name="connsiteY951" fmla="*/ 0 h 6858000"/>
              <a:gd name="connsiteX952" fmla="*/ 1111003 w 7467600"/>
              <a:gd name="connsiteY952" fmla="*/ 0 h 6858000"/>
              <a:gd name="connsiteX953" fmla="*/ 1125553 w 7467600"/>
              <a:gd name="connsiteY953" fmla="*/ 52588 h 6858000"/>
              <a:gd name="connsiteX954" fmla="*/ 1304276 w 7467600"/>
              <a:gd name="connsiteY954" fmla="*/ 476275 h 6858000"/>
              <a:gd name="connsiteX955" fmla="*/ 1492066 w 7467600"/>
              <a:gd name="connsiteY955" fmla="*/ 886333 h 6858000"/>
              <a:gd name="connsiteX956" fmla="*/ 1423698 w 7467600"/>
              <a:gd name="connsiteY956" fmla="*/ 710817 h 6858000"/>
              <a:gd name="connsiteX957" fmla="*/ 1357609 w 7467600"/>
              <a:gd name="connsiteY957" fmla="*/ 532892 h 6858000"/>
              <a:gd name="connsiteX958" fmla="*/ 1309550 w 7467600"/>
              <a:gd name="connsiteY958" fmla="*/ 374031 h 6858000"/>
              <a:gd name="connsiteX959" fmla="*/ 1193673 w 7467600"/>
              <a:gd name="connsiteY959" fmla="*/ 49533 h 6858000"/>
              <a:gd name="connsiteX960" fmla="*/ 1164391 w 7467600"/>
              <a:gd name="connsiteY960" fmla="*/ 0 h 6858000"/>
              <a:gd name="connsiteX961" fmla="*/ 1200666 w 7467600"/>
              <a:gd name="connsiteY961" fmla="*/ 0 h 6858000"/>
              <a:gd name="connsiteX962" fmla="*/ 1223408 w 7467600"/>
              <a:gd name="connsiteY962" fmla="*/ 38996 h 6858000"/>
              <a:gd name="connsiteX963" fmla="*/ 1339635 w 7467600"/>
              <a:gd name="connsiteY963" fmla="*/ 365517 h 6858000"/>
              <a:gd name="connsiteX964" fmla="*/ 1387469 w 7467600"/>
              <a:gd name="connsiteY964" fmla="*/ 523079 h 6858000"/>
              <a:gd name="connsiteX965" fmla="*/ 1452685 w 7467600"/>
              <a:gd name="connsiteY965" fmla="*/ 699806 h 6858000"/>
              <a:gd name="connsiteX966" fmla="*/ 1492092 w 7467600"/>
              <a:gd name="connsiteY966" fmla="*/ 800424 h 6858000"/>
              <a:gd name="connsiteX967" fmla="*/ 1455302 w 7467600"/>
              <a:gd name="connsiteY967" fmla="*/ 632913 h 6858000"/>
              <a:gd name="connsiteX968" fmla="*/ 1222336 w 7467600"/>
              <a:gd name="connsiteY968" fmla="*/ 9480 h 6858000"/>
              <a:gd name="connsiteX969" fmla="*/ 1214634 w 7467600"/>
              <a:gd name="connsiteY969" fmla="*/ 0 h 6858000"/>
              <a:gd name="connsiteX970" fmla="*/ 1289827 w 7467600"/>
              <a:gd name="connsiteY970" fmla="*/ 0 h 6858000"/>
              <a:gd name="connsiteX971" fmla="*/ 1321076 w 7467600"/>
              <a:gd name="connsiteY971" fmla="*/ 59722 h 6858000"/>
              <a:gd name="connsiteX972" fmla="*/ 1512579 w 7467600"/>
              <a:gd name="connsiteY972" fmla="*/ 626441 h 6858000"/>
              <a:gd name="connsiteX973" fmla="*/ 1506076 w 7467600"/>
              <a:gd name="connsiteY973" fmla="*/ 1089289 h 6858000"/>
              <a:gd name="connsiteX974" fmla="*/ 1486346 w 7467600"/>
              <a:gd name="connsiteY974" fmla="*/ 1079919 h 6858000"/>
              <a:gd name="connsiteX975" fmla="*/ 1070511 w 7467600"/>
              <a:gd name="connsiteY975" fmla="*/ 48609 h 6858000"/>
              <a:gd name="connsiteX976" fmla="*/ 1057230 w 7467600"/>
              <a:gd name="connsiteY976" fmla="*/ 0 h 6858000"/>
              <a:gd name="connsiteX977" fmla="*/ 43151 w 7467600"/>
              <a:gd name="connsiteY977" fmla="*/ 0 h 6858000"/>
              <a:gd name="connsiteX978" fmla="*/ 95283 w 7467600"/>
              <a:gd name="connsiteY978" fmla="*/ 0 h 6858000"/>
              <a:gd name="connsiteX979" fmla="*/ 300708 w 7467600"/>
              <a:gd name="connsiteY979" fmla="*/ 154571 h 6858000"/>
              <a:gd name="connsiteX980" fmla="*/ 530414 w 7467600"/>
              <a:gd name="connsiteY980" fmla="*/ 354673 h 6858000"/>
              <a:gd name="connsiteX981" fmla="*/ 333785 w 7467600"/>
              <a:gd name="connsiteY981" fmla="*/ 161564 h 6858000"/>
              <a:gd name="connsiteX982" fmla="*/ 147005 w 7467600"/>
              <a:gd name="connsiteY982" fmla="*/ 0 h 6858000"/>
              <a:gd name="connsiteX983" fmla="*/ 272509 w 7467600"/>
              <a:gd name="connsiteY983" fmla="*/ 0 h 6858000"/>
              <a:gd name="connsiteX984" fmla="*/ 326276 w 7467600"/>
              <a:gd name="connsiteY984" fmla="*/ 45847 h 6858000"/>
              <a:gd name="connsiteX985" fmla="*/ 823759 w 7467600"/>
              <a:gd name="connsiteY985" fmla="*/ 574145 h 6858000"/>
              <a:gd name="connsiteX986" fmla="*/ 811254 w 7467600"/>
              <a:gd name="connsiteY986" fmla="*/ 665546 h 6858000"/>
              <a:gd name="connsiteX987" fmla="*/ 154042 w 7467600"/>
              <a:gd name="connsiteY987" fmla="*/ 261522 h 6858000"/>
              <a:gd name="connsiteX988" fmla="*/ 13550 w 7467600"/>
              <a:gd name="connsiteY988" fmla="*/ 158423 h 6858000"/>
              <a:gd name="connsiteX989" fmla="*/ 0 w 7467600"/>
              <a:gd name="connsiteY989" fmla="*/ 146618 h 6858000"/>
              <a:gd name="connsiteX990" fmla="*/ 0 w 7467600"/>
              <a:gd name="connsiteY990" fmla="*/ 59161 h 6858000"/>
              <a:gd name="connsiteX991" fmla="*/ 45427 w 7467600"/>
              <a:gd name="connsiteY991" fmla="*/ 101078 h 6858000"/>
              <a:gd name="connsiteX992" fmla="*/ 630103 w 7467600"/>
              <a:gd name="connsiteY992" fmla="*/ 485885 h 6858000"/>
              <a:gd name="connsiteX993" fmla="*/ 532040 w 7467600"/>
              <a:gd name="connsiteY993" fmla="*/ 399359 h 6858000"/>
              <a:gd name="connsiteX994" fmla="*/ 517618 w 7467600"/>
              <a:gd name="connsiteY994" fmla="*/ 385726 h 6858000"/>
              <a:gd name="connsiteX995" fmla="*/ 285074 w 7467600"/>
              <a:gd name="connsiteY995" fmla="*/ 182755 h 6858000"/>
              <a:gd name="connsiteX996" fmla="*/ 43151 w 7467600"/>
              <a:gd name="connsiteY996"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27465 w 7467600"/>
              <a:gd name="connsiteY127" fmla="*/ 5174181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7327465 w 7467600"/>
              <a:gd name="connsiteY139" fmla="*/ 5174181 h 6858000"/>
              <a:gd name="connsiteX140" fmla="*/ 1903353 w 7467600"/>
              <a:gd name="connsiteY140" fmla="*/ 5044827 h 6858000"/>
              <a:gd name="connsiteX141" fmla="*/ 1936931 w 7467600"/>
              <a:gd name="connsiteY141" fmla="*/ 5093954 h 6858000"/>
              <a:gd name="connsiteX142" fmla="*/ 2195868 w 7467600"/>
              <a:gd name="connsiteY142" fmla="*/ 5396574 h 6858000"/>
              <a:gd name="connsiteX143" fmla="*/ 2088852 w 7467600"/>
              <a:gd name="connsiteY143" fmla="*/ 5166123 h 6858000"/>
              <a:gd name="connsiteX144" fmla="*/ 1958241 w 7467600"/>
              <a:gd name="connsiteY144" fmla="*/ 5067955 h 6858000"/>
              <a:gd name="connsiteX145" fmla="*/ 1903353 w 7467600"/>
              <a:gd name="connsiteY145" fmla="*/ 5044827 h 6858000"/>
              <a:gd name="connsiteX146" fmla="*/ 1979378 w 7467600"/>
              <a:gd name="connsiteY146" fmla="*/ 4769504 h 6858000"/>
              <a:gd name="connsiteX147" fmla="*/ 2882120 w 7467600"/>
              <a:gd name="connsiteY147" fmla="*/ 5064547 h 6858000"/>
              <a:gd name="connsiteX148" fmla="*/ 2793103 w 7467600"/>
              <a:gd name="connsiteY148" fmla="*/ 5039699 h 6858000"/>
              <a:gd name="connsiteX149" fmla="*/ 2770041 w 7467600"/>
              <a:gd name="connsiteY149" fmla="*/ 5033634 h 6858000"/>
              <a:gd name="connsiteX150" fmla="*/ 1979378 w 7467600"/>
              <a:gd name="connsiteY150" fmla="*/ 4769504 h 6858000"/>
              <a:gd name="connsiteX151" fmla="*/ 1927410 w 7467600"/>
              <a:gd name="connsiteY151" fmla="*/ 4716164 h 6858000"/>
              <a:gd name="connsiteX152" fmla="*/ 1959587 w 7467600"/>
              <a:gd name="connsiteY152" fmla="*/ 4728849 h 6858000"/>
              <a:gd name="connsiteX153" fmla="*/ 2777707 w 7467600"/>
              <a:gd name="connsiteY153" fmla="*/ 5003991 h 6858000"/>
              <a:gd name="connsiteX154" fmla="*/ 2800768 w 7467600"/>
              <a:gd name="connsiteY154" fmla="*/ 5010056 h 6858000"/>
              <a:gd name="connsiteX155" fmla="*/ 2879408 w 7467600"/>
              <a:gd name="connsiteY155" fmla="*/ 5031590 h 6858000"/>
              <a:gd name="connsiteX156" fmla="*/ 2862295 w 7467600"/>
              <a:gd name="connsiteY156" fmla="*/ 5022958 h 6858000"/>
              <a:gd name="connsiteX157" fmla="*/ 2813343 w 7467600"/>
              <a:gd name="connsiteY157" fmla="*/ 4998369 h 6858000"/>
              <a:gd name="connsiteX158" fmla="*/ 2646245 w 7467600"/>
              <a:gd name="connsiteY158" fmla="*/ 4930999 h 6858000"/>
              <a:gd name="connsiteX159" fmla="*/ 1999243 w 7467600"/>
              <a:gd name="connsiteY159" fmla="*/ 4730524 h 6858000"/>
              <a:gd name="connsiteX160" fmla="*/ 1979527 w 7467600"/>
              <a:gd name="connsiteY160" fmla="*/ 4726651 h 6858000"/>
              <a:gd name="connsiteX161" fmla="*/ 1927410 w 7467600"/>
              <a:gd name="connsiteY161" fmla="*/ 4716164 h 6858000"/>
              <a:gd name="connsiteX162" fmla="*/ 1997014 w 7467600"/>
              <a:gd name="connsiteY162" fmla="*/ 4698007 h 6858000"/>
              <a:gd name="connsiteX163" fmla="*/ 2005458 w 7467600"/>
              <a:gd name="connsiteY163" fmla="*/ 4699540 h 6858000"/>
              <a:gd name="connsiteX164" fmla="*/ 2657186 w 7467600"/>
              <a:gd name="connsiteY164" fmla="*/ 4901687 h 6858000"/>
              <a:gd name="connsiteX165" fmla="*/ 2826662 w 7467600"/>
              <a:gd name="connsiteY165" fmla="*/ 4970362 h 6858000"/>
              <a:gd name="connsiteX166" fmla="*/ 2876100 w 7467600"/>
              <a:gd name="connsiteY166" fmla="*/ 4995397 h 6858000"/>
              <a:gd name="connsiteX167" fmla="*/ 3042600 w 7467600"/>
              <a:gd name="connsiteY167" fmla="*/ 5059532 h 6858000"/>
              <a:gd name="connsiteX168" fmla="*/ 1997014 w 7467600"/>
              <a:gd name="connsiteY168" fmla="*/ 4698007 h 6858000"/>
              <a:gd name="connsiteX169" fmla="*/ 2305292 w 7467600"/>
              <a:gd name="connsiteY169" fmla="*/ 4219492 h 6858000"/>
              <a:gd name="connsiteX170" fmla="*/ 3360922 w 7467600"/>
              <a:gd name="connsiteY170" fmla="*/ 4529373 h 6858000"/>
              <a:gd name="connsiteX171" fmla="*/ 3492420 w 7467600"/>
              <a:gd name="connsiteY171" fmla="*/ 4510145 h 6858000"/>
              <a:gd name="connsiteX172" fmla="*/ 3364086 w 7467600"/>
              <a:gd name="connsiteY172" fmla="*/ 4480340 h 6858000"/>
              <a:gd name="connsiteX173" fmla="*/ 3225818 w 7467600"/>
              <a:gd name="connsiteY173" fmla="*/ 4411822 h 6858000"/>
              <a:gd name="connsiteX174" fmla="*/ 3129696 w 7467600"/>
              <a:gd name="connsiteY174" fmla="*/ 4360704 h 6858000"/>
              <a:gd name="connsiteX175" fmla="*/ 2814545 w 7467600"/>
              <a:gd name="connsiteY175" fmla="*/ 4282955 h 6858000"/>
              <a:gd name="connsiteX176" fmla="*/ 2305292 w 7467600"/>
              <a:gd name="connsiteY176" fmla="*/ 4219492 h 6858000"/>
              <a:gd name="connsiteX177" fmla="*/ 2626982 w 7467600"/>
              <a:gd name="connsiteY177" fmla="*/ 4206450 h 6858000"/>
              <a:gd name="connsiteX178" fmla="*/ 2490617 w 7467600"/>
              <a:gd name="connsiteY178" fmla="*/ 4206951 h 6858000"/>
              <a:gd name="connsiteX179" fmla="*/ 2819869 w 7467600"/>
              <a:gd name="connsiteY179" fmla="*/ 4252936 h 6858000"/>
              <a:gd name="connsiteX180" fmla="*/ 3143018 w 7467600"/>
              <a:gd name="connsiteY180" fmla="*/ 4332698 h 6858000"/>
              <a:gd name="connsiteX181" fmla="*/ 3241520 w 7467600"/>
              <a:gd name="connsiteY181" fmla="*/ 4385112 h 6858000"/>
              <a:gd name="connsiteX182" fmla="*/ 3374575 w 7467600"/>
              <a:gd name="connsiteY182" fmla="*/ 4451517 h 6858000"/>
              <a:gd name="connsiteX183" fmla="*/ 3505221 w 7467600"/>
              <a:gd name="connsiteY183" fmla="*/ 4480757 h 6858000"/>
              <a:gd name="connsiteX184" fmla="*/ 2626982 w 7467600"/>
              <a:gd name="connsiteY184" fmla="*/ 4206450 h 6858000"/>
              <a:gd name="connsiteX185" fmla="*/ 1310106 w 7467600"/>
              <a:gd name="connsiteY185" fmla="*/ 3943217 h 6858000"/>
              <a:gd name="connsiteX186" fmla="*/ 854994 w 7467600"/>
              <a:gd name="connsiteY186" fmla="*/ 4399136 h 6858000"/>
              <a:gd name="connsiteX187" fmla="*/ 742462 w 7467600"/>
              <a:gd name="connsiteY187" fmla="*/ 4594648 h 6858000"/>
              <a:gd name="connsiteX188" fmla="*/ 820602 w 7467600"/>
              <a:gd name="connsiteY188" fmla="*/ 4485915 h 6858000"/>
              <a:gd name="connsiteX189" fmla="*/ 878295 w 7467600"/>
              <a:gd name="connsiteY189" fmla="*/ 4403594 h 6858000"/>
              <a:gd name="connsiteX190" fmla="*/ 1240607 w 7467600"/>
              <a:gd name="connsiteY190" fmla="*/ 4010401 h 6858000"/>
              <a:gd name="connsiteX191" fmla="*/ 1310106 w 7467600"/>
              <a:gd name="connsiteY191" fmla="*/ 3943217 h 6858000"/>
              <a:gd name="connsiteX192" fmla="*/ 1423113 w 7467600"/>
              <a:gd name="connsiteY192" fmla="*/ 3874565 h 6858000"/>
              <a:gd name="connsiteX193" fmla="*/ 1260565 w 7467600"/>
              <a:gd name="connsiteY193" fmla="*/ 4031982 h 6858000"/>
              <a:gd name="connsiteX194" fmla="*/ 901900 w 7467600"/>
              <a:gd name="connsiteY194" fmla="*/ 4421236 h 6858000"/>
              <a:gd name="connsiteX195" fmla="*/ 845044 w 7467600"/>
              <a:gd name="connsiteY195" fmla="*/ 4502436 h 6858000"/>
              <a:gd name="connsiteX196" fmla="*/ 685926 w 7467600"/>
              <a:gd name="connsiteY196" fmla="*/ 4703069 h 6858000"/>
              <a:gd name="connsiteX197" fmla="*/ 684248 w 7467600"/>
              <a:gd name="connsiteY197" fmla="*/ 4706721 h 6858000"/>
              <a:gd name="connsiteX198" fmla="*/ 1423113 w 7467600"/>
              <a:gd name="connsiteY198" fmla="*/ 3874565 h 6858000"/>
              <a:gd name="connsiteX199" fmla="*/ 3316479 w 7467600"/>
              <a:gd name="connsiteY199" fmla="*/ 3872136 h 6858000"/>
              <a:gd name="connsiteX200" fmla="*/ 3546806 w 7467600"/>
              <a:gd name="connsiteY200" fmla="*/ 4356139 h 6858000"/>
              <a:gd name="connsiteX201" fmla="*/ 3364433 w 7467600"/>
              <a:gd name="connsiteY201" fmla="*/ 3953121 h 6858000"/>
              <a:gd name="connsiteX202" fmla="*/ 3316479 w 7467600"/>
              <a:gd name="connsiteY202" fmla="*/ 3872136 h 6858000"/>
              <a:gd name="connsiteX203" fmla="*/ 3291335 w 7467600"/>
              <a:gd name="connsiteY203" fmla="*/ 3767420 h 6858000"/>
              <a:gd name="connsiteX204" fmla="*/ 3390805 w 7467600"/>
              <a:gd name="connsiteY204" fmla="*/ 3937163 h 6858000"/>
              <a:gd name="connsiteX205" fmla="*/ 3579062 w 7467600"/>
              <a:gd name="connsiteY205" fmla="*/ 4359040 h 6858000"/>
              <a:gd name="connsiteX206" fmla="*/ 3467355 w 7467600"/>
              <a:gd name="connsiteY206" fmla="*/ 3988130 h 6858000"/>
              <a:gd name="connsiteX207" fmla="*/ 3310753 w 7467600"/>
              <a:gd name="connsiteY207" fmla="*/ 3787140 h 6858000"/>
              <a:gd name="connsiteX208" fmla="*/ 3291335 w 7467600"/>
              <a:gd name="connsiteY208" fmla="*/ 3767420 h 6858000"/>
              <a:gd name="connsiteX209" fmla="*/ 1635889 w 7467600"/>
              <a:gd name="connsiteY209" fmla="*/ 3709494 h 6858000"/>
              <a:gd name="connsiteX210" fmla="*/ 1634800 w 7467600"/>
              <a:gd name="connsiteY210" fmla="*/ 3731111 h 6858000"/>
              <a:gd name="connsiteX211" fmla="*/ 1635889 w 7467600"/>
              <a:gd name="connsiteY211" fmla="*/ 3709494 h 6858000"/>
              <a:gd name="connsiteX212" fmla="*/ 1510397 w 7467600"/>
              <a:gd name="connsiteY212" fmla="*/ 3684705 h 6858000"/>
              <a:gd name="connsiteX213" fmla="*/ 1146550 w 7467600"/>
              <a:gd name="connsiteY213" fmla="*/ 3802012 h 6858000"/>
              <a:gd name="connsiteX214" fmla="*/ 698834 w 7467600"/>
              <a:gd name="connsiteY214" fmla="*/ 3952272 h 6858000"/>
              <a:gd name="connsiteX215" fmla="*/ 34256 w 7467600"/>
              <a:gd name="connsiteY215" fmla="*/ 4347603 h 6858000"/>
              <a:gd name="connsiteX216" fmla="*/ 527241 w 7467600"/>
              <a:gd name="connsiteY216" fmla="*/ 4065078 h 6858000"/>
              <a:gd name="connsiteX217" fmla="*/ 1510397 w 7467600"/>
              <a:gd name="connsiteY217" fmla="*/ 3684705 h 6858000"/>
              <a:gd name="connsiteX218" fmla="*/ 1313114 w 7467600"/>
              <a:gd name="connsiteY218" fmla="*/ 3655216 h 6858000"/>
              <a:gd name="connsiteX219" fmla="*/ 1109304 w 7467600"/>
              <a:gd name="connsiteY219" fmla="*/ 3669030 h 6858000"/>
              <a:gd name="connsiteX220" fmla="*/ 8129 w 7467600"/>
              <a:gd name="connsiteY220" fmla="*/ 4330519 h 6858000"/>
              <a:gd name="connsiteX221" fmla="*/ 687572 w 7467600"/>
              <a:gd name="connsiteY221" fmla="*/ 3925629 h 6858000"/>
              <a:gd name="connsiteX222" fmla="*/ 1138365 w 7467600"/>
              <a:gd name="connsiteY222" fmla="*/ 3774515 h 6858000"/>
              <a:gd name="connsiteX223" fmla="*/ 1505579 w 7467600"/>
              <a:gd name="connsiteY223" fmla="*/ 3655526 h 6858000"/>
              <a:gd name="connsiteX224" fmla="*/ 1313114 w 7467600"/>
              <a:gd name="connsiteY224" fmla="*/ 3655216 h 6858000"/>
              <a:gd name="connsiteX225" fmla="*/ 3655073 w 7467600"/>
              <a:gd name="connsiteY225" fmla="*/ 3650884 h 6858000"/>
              <a:gd name="connsiteX226" fmla="*/ 3989938 w 7467600"/>
              <a:gd name="connsiteY226" fmla="*/ 3991685 h 6858000"/>
              <a:gd name="connsiteX227" fmla="*/ 4393907 w 7467600"/>
              <a:gd name="connsiteY227" fmla="*/ 4261258 h 6858000"/>
              <a:gd name="connsiteX228" fmla="*/ 4648051 w 7467600"/>
              <a:gd name="connsiteY228" fmla="*/ 4374051 h 6858000"/>
              <a:gd name="connsiteX229" fmla="*/ 4383389 w 7467600"/>
              <a:gd name="connsiteY229" fmla="*/ 4184369 h 6858000"/>
              <a:gd name="connsiteX230" fmla="*/ 4165508 w 7467600"/>
              <a:gd name="connsiteY230" fmla="*/ 4035196 h 6858000"/>
              <a:gd name="connsiteX231" fmla="*/ 4068162 w 7467600"/>
              <a:gd name="connsiteY231" fmla="*/ 3953394 h 6858000"/>
              <a:gd name="connsiteX232" fmla="*/ 3981416 w 7467600"/>
              <a:gd name="connsiteY232" fmla="*/ 3880482 h 6858000"/>
              <a:gd name="connsiteX233" fmla="*/ 3800147 w 7467600"/>
              <a:gd name="connsiteY233" fmla="*/ 3749872 h 6858000"/>
              <a:gd name="connsiteX234" fmla="*/ 3655073 w 7467600"/>
              <a:gd name="connsiteY234" fmla="*/ 3650884 h 6858000"/>
              <a:gd name="connsiteX235" fmla="*/ 3670252 w 7467600"/>
              <a:gd name="connsiteY235" fmla="*/ 3622798 h 6858000"/>
              <a:gd name="connsiteX236" fmla="*/ 3817258 w 7467600"/>
              <a:gd name="connsiteY236" fmla="*/ 3723577 h 6858000"/>
              <a:gd name="connsiteX237" fmla="*/ 4000461 w 7467600"/>
              <a:gd name="connsiteY237" fmla="*/ 3855966 h 6858000"/>
              <a:gd name="connsiteX238" fmla="*/ 4088180 w 7467600"/>
              <a:gd name="connsiteY238" fmla="*/ 3929774 h 6858000"/>
              <a:gd name="connsiteX239" fmla="*/ 4184555 w 7467600"/>
              <a:gd name="connsiteY239" fmla="*/ 4010683 h 6858000"/>
              <a:gd name="connsiteX240" fmla="*/ 4399563 w 7467600"/>
              <a:gd name="connsiteY240" fmla="*/ 4158106 h 6858000"/>
              <a:gd name="connsiteX241" fmla="*/ 4684469 w 7467600"/>
              <a:gd name="connsiteY241" fmla="*/ 4364680 h 6858000"/>
              <a:gd name="connsiteX242" fmla="*/ 4690271 w 7467600"/>
              <a:gd name="connsiteY242" fmla="*/ 4370034 h 6858000"/>
              <a:gd name="connsiteX243" fmla="*/ 4136093 w 7467600"/>
              <a:gd name="connsiteY243" fmla="*/ 3858466 h 6858000"/>
              <a:gd name="connsiteX244" fmla="*/ 3670252 w 7467600"/>
              <a:gd name="connsiteY244" fmla="*/ 3622798 h 6858000"/>
              <a:gd name="connsiteX245" fmla="*/ 4440129 w 7467600"/>
              <a:gd name="connsiteY245" fmla="*/ 3448571 h 6858000"/>
              <a:gd name="connsiteX246" fmla="*/ 4856525 w 7467600"/>
              <a:gd name="connsiteY246" fmla="*/ 3915351 h 6858000"/>
              <a:gd name="connsiteX247" fmla="*/ 5059055 w 7467600"/>
              <a:gd name="connsiteY247" fmla="*/ 4108918 h 6858000"/>
              <a:gd name="connsiteX248" fmla="*/ 5290070 w 7467600"/>
              <a:gd name="connsiteY248" fmla="*/ 4263619 h 6858000"/>
              <a:gd name="connsiteX249" fmla="*/ 4834991 w 7467600"/>
              <a:gd name="connsiteY249" fmla="*/ 3830985 h 6858000"/>
              <a:gd name="connsiteX250" fmla="*/ 4440129 w 7467600"/>
              <a:gd name="connsiteY250" fmla="*/ 3448571 h 6858000"/>
              <a:gd name="connsiteX251" fmla="*/ 4441737 w 7467600"/>
              <a:gd name="connsiteY251" fmla="*/ 3399734 h 6858000"/>
              <a:gd name="connsiteX252" fmla="*/ 4431236 w 7467600"/>
              <a:gd name="connsiteY252" fmla="*/ 3400954 h 6858000"/>
              <a:gd name="connsiteX253" fmla="*/ 4557150 w 7467600"/>
              <a:gd name="connsiteY253" fmla="*/ 3510023 h 6858000"/>
              <a:gd name="connsiteX254" fmla="*/ 4856936 w 7467600"/>
              <a:gd name="connsiteY254" fmla="*/ 3809146 h 6858000"/>
              <a:gd name="connsiteX255" fmla="*/ 5111996 w 7467600"/>
              <a:gd name="connsiteY255" fmla="*/ 4065759 h 6858000"/>
              <a:gd name="connsiteX256" fmla="*/ 5388878 w 7467600"/>
              <a:gd name="connsiteY256" fmla="*/ 4300185 h 6858000"/>
              <a:gd name="connsiteX257" fmla="*/ 5425556 w 7467600"/>
              <a:gd name="connsiteY257" fmla="*/ 4308967 h 6858000"/>
              <a:gd name="connsiteX258" fmla="*/ 4943646 w 7467600"/>
              <a:gd name="connsiteY258" fmla="*/ 3822916 h 6858000"/>
              <a:gd name="connsiteX259" fmla="*/ 4594837 w 7467600"/>
              <a:gd name="connsiteY259" fmla="*/ 3532274 h 6858000"/>
              <a:gd name="connsiteX260" fmla="*/ 4441737 w 7467600"/>
              <a:gd name="connsiteY260" fmla="*/ 3399734 h 6858000"/>
              <a:gd name="connsiteX261" fmla="*/ 5425834 w 7467600"/>
              <a:gd name="connsiteY261" fmla="*/ 3162785 h 6858000"/>
              <a:gd name="connsiteX262" fmla="*/ 5401644 w 7467600"/>
              <a:gd name="connsiteY262" fmla="*/ 3617847 h 6858000"/>
              <a:gd name="connsiteX263" fmla="*/ 5467256 w 7467600"/>
              <a:gd name="connsiteY263" fmla="*/ 4175494 h 6858000"/>
              <a:gd name="connsiteX264" fmla="*/ 5448069 w 7467600"/>
              <a:gd name="connsiteY264" fmla="*/ 3567554 h 6858000"/>
              <a:gd name="connsiteX265" fmla="*/ 5425834 w 7467600"/>
              <a:gd name="connsiteY265" fmla="*/ 3162785 h 6858000"/>
              <a:gd name="connsiteX266" fmla="*/ 1318687 w 7467600"/>
              <a:gd name="connsiteY266" fmla="*/ 3113840 h 6858000"/>
              <a:gd name="connsiteX267" fmla="*/ 1066793 w 7467600"/>
              <a:gd name="connsiteY267" fmla="*/ 3212171 h 6858000"/>
              <a:gd name="connsiteX268" fmla="*/ 993319 w 7467600"/>
              <a:gd name="connsiteY268" fmla="*/ 3247648 h 6858000"/>
              <a:gd name="connsiteX269" fmla="*/ 853081 w 7467600"/>
              <a:gd name="connsiteY269" fmla="*/ 3312410 h 6858000"/>
              <a:gd name="connsiteX270" fmla="*/ 805957 w 7467600"/>
              <a:gd name="connsiteY270" fmla="*/ 3330443 h 6858000"/>
              <a:gd name="connsiteX271" fmla="*/ 1318687 w 7467600"/>
              <a:gd name="connsiteY271" fmla="*/ 3113840 h 6858000"/>
              <a:gd name="connsiteX272" fmla="*/ 5453702 w 7467600"/>
              <a:gd name="connsiteY272" fmla="*/ 3090882 h 6858000"/>
              <a:gd name="connsiteX273" fmla="*/ 5480135 w 7467600"/>
              <a:gd name="connsiteY273" fmla="*/ 3565802 h 6858000"/>
              <a:gd name="connsiteX274" fmla="*/ 5499023 w 7467600"/>
              <a:gd name="connsiteY274" fmla="*/ 4166310 h 6858000"/>
              <a:gd name="connsiteX275" fmla="*/ 5547022 w 7467600"/>
              <a:gd name="connsiteY275" fmla="*/ 3607838 h 6858000"/>
              <a:gd name="connsiteX276" fmla="*/ 5515964 w 7467600"/>
              <a:gd name="connsiteY276" fmla="*/ 3378541 h 6858000"/>
              <a:gd name="connsiteX277" fmla="*/ 5453702 w 7467600"/>
              <a:gd name="connsiteY277" fmla="*/ 3090882 h 6858000"/>
              <a:gd name="connsiteX278" fmla="*/ 1238695 w 7467600"/>
              <a:gd name="connsiteY278" fmla="*/ 3076820 h 6858000"/>
              <a:gd name="connsiteX279" fmla="*/ 716371 w 7467600"/>
              <a:gd name="connsiteY279" fmla="*/ 3293249 h 6858000"/>
              <a:gd name="connsiteX280" fmla="*/ 579522 w 7467600"/>
              <a:gd name="connsiteY280" fmla="*/ 3371759 h 6858000"/>
              <a:gd name="connsiteX281" fmla="*/ 600288 w 7467600"/>
              <a:gd name="connsiteY281" fmla="*/ 3365555 h 6858000"/>
              <a:gd name="connsiteX282" fmla="*/ 840692 w 7467600"/>
              <a:gd name="connsiteY282" fmla="*/ 3284921 h 6858000"/>
              <a:gd name="connsiteX283" fmla="*/ 979248 w 7467600"/>
              <a:gd name="connsiteY283" fmla="*/ 3221003 h 6858000"/>
              <a:gd name="connsiteX284" fmla="*/ 1053282 w 7467600"/>
              <a:gd name="connsiteY284" fmla="*/ 3185247 h 6858000"/>
              <a:gd name="connsiteX285" fmla="*/ 1320603 w 7467600"/>
              <a:gd name="connsiteY285" fmla="*/ 3081281 h 6858000"/>
              <a:gd name="connsiteX286" fmla="*/ 1238695 w 7467600"/>
              <a:gd name="connsiteY286" fmla="*/ 3076820 h 6858000"/>
              <a:gd name="connsiteX287" fmla="*/ 5425627 w 7467600"/>
              <a:gd name="connsiteY287" fmla="*/ 2954192 h 6858000"/>
              <a:gd name="connsiteX288" fmla="*/ 5470770 w 7467600"/>
              <a:gd name="connsiteY288" fmla="*/ 3005435 h 6858000"/>
              <a:gd name="connsiteX289" fmla="*/ 5519779 w 7467600"/>
              <a:gd name="connsiteY289" fmla="*/ 4359223 h 6858000"/>
              <a:gd name="connsiteX290" fmla="*/ 5520293 w 7467600"/>
              <a:gd name="connsiteY290" fmla="*/ 4360602 h 6858000"/>
              <a:gd name="connsiteX291" fmla="*/ 5767221 w 7467600"/>
              <a:gd name="connsiteY291" fmla="*/ 4665564 h 6858000"/>
              <a:gd name="connsiteX292" fmla="*/ 6937169 w 7467600"/>
              <a:gd name="connsiteY292" fmla="*/ 4815941 h 6858000"/>
              <a:gd name="connsiteX293" fmla="*/ 6953922 w 7467600"/>
              <a:gd name="connsiteY293" fmla="*/ 4890068 h 6858000"/>
              <a:gd name="connsiteX294" fmla="*/ 6071359 w 7467600"/>
              <a:gd name="connsiteY294" fmla="*/ 4770770 h 6858000"/>
              <a:gd name="connsiteX295" fmla="*/ 6038839 w 7467600"/>
              <a:gd name="connsiteY295" fmla="*/ 4764474 h 6858000"/>
              <a:gd name="connsiteX296" fmla="*/ 6038706 w 7467600"/>
              <a:gd name="connsiteY296" fmla="*/ 4763847 h 6858000"/>
              <a:gd name="connsiteX297" fmla="*/ 6037784 w 7467600"/>
              <a:gd name="connsiteY297" fmla="*/ 4764270 h 6858000"/>
              <a:gd name="connsiteX298" fmla="*/ 6038839 w 7467600"/>
              <a:gd name="connsiteY298" fmla="*/ 4764474 h 6858000"/>
              <a:gd name="connsiteX299" fmla="*/ 6040338 w 7467600"/>
              <a:gd name="connsiteY299" fmla="*/ 4771418 h 6858000"/>
              <a:gd name="connsiteX300" fmla="*/ 6024488 w 7467600"/>
              <a:gd name="connsiteY300" fmla="*/ 4809903 h 6858000"/>
              <a:gd name="connsiteX301" fmla="*/ 5599771 w 7467600"/>
              <a:gd name="connsiteY301" fmla="*/ 5509652 h 6858000"/>
              <a:gd name="connsiteX302" fmla="*/ 5548843 w 7467600"/>
              <a:gd name="connsiteY302" fmla="*/ 5563845 h 6858000"/>
              <a:gd name="connsiteX303" fmla="*/ 5940952 w 7467600"/>
              <a:gd name="connsiteY303" fmla="*/ 6250028 h 6858000"/>
              <a:gd name="connsiteX304" fmla="*/ 6043441 w 7467600"/>
              <a:gd name="connsiteY304" fmla="*/ 6665847 h 6858000"/>
              <a:gd name="connsiteX305" fmla="*/ 6093432 w 7467600"/>
              <a:gd name="connsiteY305" fmla="*/ 6858000 h 6858000"/>
              <a:gd name="connsiteX306" fmla="*/ 6034344 w 7467600"/>
              <a:gd name="connsiteY306" fmla="*/ 6858000 h 6858000"/>
              <a:gd name="connsiteX307" fmla="*/ 6026679 w 7467600"/>
              <a:gd name="connsiteY307" fmla="*/ 6836959 h 6858000"/>
              <a:gd name="connsiteX308" fmla="*/ 5800441 w 7467600"/>
              <a:gd name="connsiteY308" fmla="*/ 6335286 h 6858000"/>
              <a:gd name="connsiteX309" fmla="*/ 5526562 w 7467600"/>
              <a:gd name="connsiteY309" fmla="*/ 5705388 h 6858000"/>
              <a:gd name="connsiteX310" fmla="*/ 5519640 w 7467600"/>
              <a:gd name="connsiteY310" fmla="*/ 5683774 h 6858000"/>
              <a:gd name="connsiteX311" fmla="*/ 5844559 w 7467600"/>
              <a:gd name="connsiteY311" fmla="*/ 6553349 h 6858000"/>
              <a:gd name="connsiteX312" fmla="*/ 5975994 w 7467600"/>
              <a:gd name="connsiteY312" fmla="*/ 6858000 h 6858000"/>
              <a:gd name="connsiteX313" fmla="*/ 5898547 w 7467600"/>
              <a:gd name="connsiteY313" fmla="*/ 6858000 h 6858000"/>
              <a:gd name="connsiteX314" fmla="*/ 5682041 w 7467600"/>
              <a:gd name="connsiteY314" fmla="*/ 6355860 h 6858000"/>
              <a:gd name="connsiteX315" fmla="*/ 5461758 w 7467600"/>
              <a:gd name="connsiteY315" fmla="*/ 5820220 h 6858000"/>
              <a:gd name="connsiteX316" fmla="*/ 5237282 w 7467600"/>
              <a:gd name="connsiteY316" fmla="*/ 6579086 h 6858000"/>
              <a:gd name="connsiteX317" fmla="*/ 5115009 w 7467600"/>
              <a:gd name="connsiteY317" fmla="*/ 6858000 h 6858000"/>
              <a:gd name="connsiteX318" fmla="*/ 5028074 w 7467600"/>
              <a:gd name="connsiteY318" fmla="*/ 6858000 h 6858000"/>
              <a:gd name="connsiteX319" fmla="*/ 5079508 w 7467600"/>
              <a:gd name="connsiteY319" fmla="*/ 6749074 h 6858000"/>
              <a:gd name="connsiteX320" fmla="*/ 5371846 w 7467600"/>
              <a:gd name="connsiteY320" fmla="*/ 5924413 h 6858000"/>
              <a:gd name="connsiteX321" fmla="*/ 5270512 w 7467600"/>
              <a:gd name="connsiteY321" fmla="*/ 6138975 h 6858000"/>
              <a:gd name="connsiteX322" fmla="*/ 5062409 w 7467600"/>
              <a:gd name="connsiteY322" fmla="*/ 6653544 h 6858000"/>
              <a:gd name="connsiteX323" fmla="*/ 5036628 w 7467600"/>
              <a:gd name="connsiteY323" fmla="*/ 6754247 h 6858000"/>
              <a:gd name="connsiteX324" fmla="*/ 5009112 w 7467600"/>
              <a:gd name="connsiteY324" fmla="*/ 6858000 h 6858000"/>
              <a:gd name="connsiteX325" fmla="*/ 4976679 w 7467600"/>
              <a:gd name="connsiteY325" fmla="*/ 6858000 h 6858000"/>
              <a:gd name="connsiteX326" fmla="*/ 5006537 w 7467600"/>
              <a:gd name="connsiteY326" fmla="*/ 6747068 h 6858000"/>
              <a:gd name="connsiteX327" fmla="*/ 5032723 w 7467600"/>
              <a:gd name="connsiteY327" fmla="*/ 6644957 h 6858000"/>
              <a:gd name="connsiteX328" fmla="*/ 5242949 w 7467600"/>
              <a:gd name="connsiteY328" fmla="*/ 6125175 h 6858000"/>
              <a:gd name="connsiteX329" fmla="*/ 5286321 w 7467600"/>
              <a:gd name="connsiteY329" fmla="*/ 6033555 h 6858000"/>
              <a:gd name="connsiteX330" fmla="*/ 5008210 w 7467600"/>
              <a:gd name="connsiteY330" fmla="*/ 6649194 h 6858000"/>
              <a:gd name="connsiteX331" fmla="*/ 4986321 w 7467600"/>
              <a:gd name="connsiteY331" fmla="*/ 6765687 h 6858000"/>
              <a:gd name="connsiteX332" fmla="*/ 4973474 w 7467600"/>
              <a:gd name="connsiteY332" fmla="*/ 6858000 h 6858000"/>
              <a:gd name="connsiteX333" fmla="*/ 4907178 w 7467600"/>
              <a:gd name="connsiteY333" fmla="*/ 6858000 h 6858000"/>
              <a:gd name="connsiteX334" fmla="*/ 4910810 w 7467600"/>
              <a:gd name="connsiteY334" fmla="*/ 6829660 h 6858000"/>
              <a:gd name="connsiteX335" fmla="*/ 4987461 w 7467600"/>
              <a:gd name="connsiteY335" fmla="*/ 6432994 h 6858000"/>
              <a:gd name="connsiteX336" fmla="*/ 5179262 w 7467600"/>
              <a:gd name="connsiteY336" fmla="*/ 6035044 h 6858000"/>
              <a:gd name="connsiteX337" fmla="*/ 4689678 w 7467600"/>
              <a:gd name="connsiteY337" fmla="*/ 6440241 h 6858000"/>
              <a:gd name="connsiteX338" fmla="*/ 4477543 w 7467600"/>
              <a:gd name="connsiteY338" fmla="*/ 6674836 h 6858000"/>
              <a:gd name="connsiteX339" fmla="*/ 4329957 w 7467600"/>
              <a:gd name="connsiteY339" fmla="*/ 6858000 h 6858000"/>
              <a:gd name="connsiteX340" fmla="*/ 4218595 w 7467600"/>
              <a:gd name="connsiteY340" fmla="*/ 6858000 h 6858000"/>
              <a:gd name="connsiteX341" fmla="*/ 4368888 w 7467600"/>
              <a:gd name="connsiteY341" fmla="*/ 6668412 h 6858000"/>
              <a:gd name="connsiteX342" fmla="*/ 4563091 w 7467600"/>
              <a:gd name="connsiteY342" fmla="*/ 6442508 h 6858000"/>
              <a:gd name="connsiteX343" fmla="*/ 5387324 w 7467600"/>
              <a:gd name="connsiteY343" fmla="*/ 5705830 h 6858000"/>
              <a:gd name="connsiteX344" fmla="*/ 5073620 w 7467600"/>
              <a:gd name="connsiteY344" fmla="*/ 5955437 h 6858000"/>
              <a:gd name="connsiteX345" fmla="*/ 4689789 w 7467600"/>
              <a:gd name="connsiteY345" fmla="*/ 6268382 h 6858000"/>
              <a:gd name="connsiteX346" fmla="*/ 4418722 w 7467600"/>
              <a:gd name="connsiteY346" fmla="*/ 6570886 h 6858000"/>
              <a:gd name="connsiteX347" fmla="*/ 4214944 w 7467600"/>
              <a:gd name="connsiteY347" fmla="*/ 6858000 h 6858000"/>
              <a:gd name="connsiteX348" fmla="*/ 4177898 w 7467600"/>
              <a:gd name="connsiteY348" fmla="*/ 6858000 h 6858000"/>
              <a:gd name="connsiteX349" fmla="*/ 4391597 w 7467600"/>
              <a:gd name="connsiteY349" fmla="*/ 6556370 h 6858000"/>
              <a:gd name="connsiteX350" fmla="*/ 4668889 w 7467600"/>
              <a:gd name="connsiteY350" fmla="*/ 6246399 h 6858000"/>
              <a:gd name="connsiteX351" fmla="*/ 5055427 w 7467600"/>
              <a:gd name="connsiteY351" fmla="*/ 5931476 h 6858000"/>
              <a:gd name="connsiteX352" fmla="*/ 5371814 w 7467600"/>
              <a:gd name="connsiteY352" fmla="*/ 5678975 h 6858000"/>
              <a:gd name="connsiteX353" fmla="*/ 4987918 w 7467600"/>
              <a:gd name="connsiteY353" fmla="*/ 5838701 h 6858000"/>
              <a:gd name="connsiteX354" fmla="*/ 4317146 w 7467600"/>
              <a:gd name="connsiteY354" fmla="*/ 6587716 h 6858000"/>
              <a:gd name="connsiteX355" fmla="*/ 4171627 w 7467600"/>
              <a:gd name="connsiteY355" fmla="*/ 6858000 h 6858000"/>
              <a:gd name="connsiteX356" fmla="*/ 4081585 w 7467600"/>
              <a:gd name="connsiteY356" fmla="*/ 6858000 h 6858000"/>
              <a:gd name="connsiteX357" fmla="*/ 4238603 w 7467600"/>
              <a:gd name="connsiteY357" fmla="*/ 6559341 h 6858000"/>
              <a:gd name="connsiteX358" fmla="*/ 4778333 w 7467600"/>
              <a:gd name="connsiteY358" fmla="*/ 5873626 h 6858000"/>
              <a:gd name="connsiteX359" fmla="*/ 5414185 w 7467600"/>
              <a:gd name="connsiteY359" fmla="*/ 5573882 h 6858000"/>
              <a:gd name="connsiteX360" fmla="*/ 5959648 w 7467600"/>
              <a:gd name="connsiteY360" fmla="*/ 4760797 h 6858000"/>
              <a:gd name="connsiteX361" fmla="*/ 5355019 w 7467600"/>
              <a:gd name="connsiteY361" fmla="*/ 4734672 h 6858000"/>
              <a:gd name="connsiteX362" fmla="*/ 5083565 w 7467600"/>
              <a:gd name="connsiteY362" fmla="*/ 5179121 h 6858000"/>
              <a:gd name="connsiteX363" fmla="*/ 4713577 w 7467600"/>
              <a:gd name="connsiteY363" fmla="*/ 5616803 h 6858000"/>
              <a:gd name="connsiteX364" fmla="*/ 3989559 w 7467600"/>
              <a:gd name="connsiteY364" fmla="*/ 6145945 h 6858000"/>
              <a:gd name="connsiteX365" fmla="*/ 3939824 w 7467600"/>
              <a:gd name="connsiteY365" fmla="*/ 6066900 h 6858000"/>
              <a:gd name="connsiteX366" fmla="*/ 4584537 w 7467600"/>
              <a:gd name="connsiteY366" fmla="*/ 5324826 h 6858000"/>
              <a:gd name="connsiteX367" fmla="*/ 5037105 w 7467600"/>
              <a:gd name="connsiteY367" fmla="*/ 5088765 h 6858000"/>
              <a:gd name="connsiteX368" fmla="*/ 5039930 w 7467600"/>
              <a:gd name="connsiteY368" fmla="*/ 5089585 h 6858000"/>
              <a:gd name="connsiteX369" fmla="*/ 5263764 w 7467600"/>
              <a:gd name="connsiteY369" fmla="*/ 4735525 h 6858000"/>
              <a:gd name="connsiteX370" fmla="*/ 4086300 w 7467600"/>
              <a:gd name="connsiteY370" fmla="*/ 4884599 h 6858000"/>
              <a:gd name="connsiteX371" fmla="*/ 4085485 w 7467600"/>
              <a:gd name="connsiteY371" fmla="*/ 4899070 h 6858000"/>
              <a:gd name="connsiteX372" fmla="*/ 3871915 w 7467600"/>
              <a:gd name="connsiteY372" fmla="*/ 5253645 h 6858000"/>
              <a:gd name="connsiteX373" fmla="*/ 3799374 w 7467600"/>
              <a:gd name="connsiteY373" fmla="*/ 5466127 h 6858000"/>
              <a:gd name="connsiteX374" fmla="*/ 3498850 w 7467600"/>
              <a:gd name="connsiteY374" fmla="*/ 6661888 h 6858000"/>
              <a:gd name="connsiteX375" fmla="*/ 3399216 w 7467600"/>
              <a:gd name="connsiteY375" fmla="*/ 6858000 h 6858000"/>
              <a:gd name="connsiteX376" fmla="*/ 3303688 w 7467600"/>
              <a:gd name="connsiteY376" fmla="*/ 6858000 h 6858000"/>
              <a:gd name="connsiteX377" fmla="*/ 3391774 w 7467600"/>
              <a:gd name="connsiteY377" fmla="*/ 6697181 h 6858000"/>
              <a:gd name="connsiteX378" fmla="*/ 3735540 w 7467600"/>
              <a:gd name="connsiteY378" fmla="*/ 5546923 h 6858000"/>
              <a:gd name="connsiteX379" fmla="*/ 3729438 w 7467600"/>
              <a:gd name="connsiteY379" fmla="*/ 5569058 h 6858000"/>
              <a:gd name="connsiteX380" fmla="*/ 3707782 w 7467600"/>
              <a:gd name="connsiteY380" fmla="*/ 5644908 h 6858000"/>
              <a:gd name="connsiteX381" fmla="*/ 3583827 w 7467600"/>
              <a:gd name="connsiteY381" fmla="*/ 6039215 h 6858000"/>
              <a:gd name="connsiteX382" fmla="*/ 3547861 w 7467600"/>
              <a:gd name="connsiteY382" fmla="*/ 6129609 h 6858000"/>
              <a:gd name="connsiteX383" fmla="*/ 3490905 w 7467600"/>
              <a:gd name="connsiteY383" fmla="*/ 6277660 h 6858000"/>
              <a:gd name="connsiteX384" fmla="*/ 3455859 w 7467600"/>
              <a:gd name="connsiteY384" fmla="*/ 6391301 h 6858000"/>
              <a:gd name="connsiteX385" fmla="*/ 3429112 w 7467600"/>
              <a:gd name="connsiteY385" fmla="*/ 6479469 h 6858000"/>
              <a:gd name="connsiteX386" fmla="*/ 3304862 w 7467600"/>
              <a:gd name="connsiteY386" fmla="*/ 6796476 h 6858000"/>
              <a:gd name="connsiteX387" fmla="*/ 3276071 w 7467600"/>
              <a:gd name="connsiteY387" fmla="*/ 6858000 h 6858000"/>
              <a:gd name="connsiteX388" fmla="*/ 3240805 w 7467600"/>
              <a:gd name="connsiteY388" fmla="*/ 6858000 h 6858000"/>
              <a:gd name="connsiteX389" fmla="*/ 3275917 w 7467600"/>
              <a:gd name="connsiteY389" fmla="*/ 6783192 h 6858000"/>
              <a:gd name="connsiteX390" fmla="*/ 3399358 w 7467600"/>
              <a:gd name="connsiteY390" fmla="*/ 6469011 h 6858000"/>
              <a:gd name="connsiteX391" fmla="*/ 3425650 w 7467600"/>
              <a:gd name="connsiteY391" fmla="*/ 6381333 h 6858000"/>
              <a:gd name="connsiteX392" fmla="*/ 3460661 w 7467600"/>
              <a:gd name="connsiteY392" fmla="*/ 6266763 h 6858000"/>
              <a:gd name="connsiteX393" fmla="*/ 3518021 w 7467600"/>
              <a:gd name="connsiteY393" fmla="*/ 6117298 h 6858000"/>
              <a:gd name="connsiteX394" fmla="*/ 3554035 w 7467600"/>
              <a:gd name="connsiteY394" fmla="*/ 6027832 h 6858000"/>
              <a:gd name="connsiteX395" fmla="*/ 3677174 w 7467600"/>
              <a:gd name="connsiteY395" fmla="*/ 5636351 h 6858000"/>
              <a:gd name="connsiteX396" fmla="*/ 3698819 w 7467600"/>
              <a:gd name="connsiteY396" fmla="*/ 5560503 h 6858000"/>
              <a:gd name="connsiteX397" fmla="*/ 3702094 w 7467600"/>
              <a:gd name="connsiteY397" fmla="*/ 5549194 h 6858000"/>
              <a:gd name="connsiteX398" fmla="*/ 3398355 w 7467600"/>
              <a:gd name="connsiteY398" fmla="*/ 6094603 h 6858000"/>
              <a:gd name="connsiteX399" fmla="*/ 3193941 w 7467600"/>
              <a:gd name="connsiteY399" fmla="*/ 6798775 h 6858000"/>
              <a:gd name="connsiteX400" fmla="*/ 3184140 w 7467600"/>
              <a:gd name="connsiteY400" fmla="*/ 6858000 h 6858000"/>
              <a:gd name="connsiteX401" fmla="*/ 3099978 w 7467600"/>
              <a:gd name="connsiteY401" fmla="*/ 6858000 h 6858000"/>
              <a:gd name="connsiteX402" fmla="*/ 3101556 w 7467600"/>
              <a:gd name="connsiteY402" fmla="*/ 6843337 h 6858000"/>
              <a:gd name="connsiteX403" fmla="*/ 3370162 w 7467600"/>
              <a:gd name="connsiteY403" fmla="*/ 5785550 h 6858000"/>
              <a:gd name="connsiteX404" fmla="*/ 3746477 w 7467600"/>
              <a:gd name="connsiteY404" fmla="*/ 5377889 h 6858000"/>
              <a:gd name="connsiteX405" fmla="*/ 3863399 w 7467600"/>
              <a:gd name="connsiteY405" fmla="*/ 5087257 h 6858000"/>
              <a:gd name="connsiteX406" fmla="*/ 3968712 w 7467600"/>
              <a:gd name="connsiteY406" fmla="*/ 4913989 h 6858000"/>
              <a:gd name="connsiteX407" fmla="*/ 2792390 w 7467600"/>
              <a:gd name="connsiteY407" fmla="*/ 5382974 h 6858000"/>
              <a:gd name="connsiteX408" fmla="*/ 2714982 w 7467600"/>
              <a:gd name="connsiteY408" fmla="*/ 5427051 h 6858000"/>
              <a:gd name="connsiteX409" fmla="*/ 2813361 w 7467600"/>
              <a:gd name="connsiteY409" fmla="*/ 6023912 h 6858000"/>
              <a:gd name="connsiteX410" fmla="*/ 2688430 w 7467600"/>
              <a:gd name="connsiteY410" fmla="*/ 6801564 h 6858000"/>
              <a:gd name="connsiteX411" fmla="*/ 2629626 w 7467600"/>
              <a:gd name="connsiteY411" fmla="*/ 6763394 h 6858000"/>
              <a:gd name="connsiteX412" fmla="*/ 2565328 w 7467600"/>
              <a:gd name="connsiteY412" fmla="*/ 5516399 h 6858000"/>
              <a:gd name="connsiteX413" fmla="*/ 1922999 w 7467600"/>
              <a:gd name="connsiteY413" fmla="*/ 5980343 h 6858000"/>
              <a:gd name="connsiteX414" fmla="*/ 1950261 w 7467600"/>
              <a:gd name="connsiteY414" fmla="*/ 6405858 h 6858000"/>
              <a:gd name="connsiteX415" fmla="*/ 2365554 w 7467600"/>
              <a:gd name="connsiteY415" fmla="*/ 6759107 h 6858000"/>
              <a:gd name="connsiteX416" fmla="*/ 2424142 w 7467600"/>
              <a:gd name="connsiteY416" fmla="*/ 6858000 h 6858000"/>
              <a:gd name="connsiteX417" fmla="*/ 2395994 w 7467600"/>
              <a:gd name="connsiteY417" fmla="*/ 6858000 h 6858000"/>
              <a:gd name="connsiteX418" fmla="*/ 2392863 w 7467600"/>
              <a:gd name="connsiteY418" fmla="*/ 6852964 h 6858000"/>
              <a:gd name="connsiteX419" fmla="*/ 2017589 w 7467600"/>
              <a:gd name="connsiteY419" fmla="*/ 6493982 h 6858000"/>
              <a:gd name="connsiteX420" fmla="*/ 2147336 w 7467600"/>
              <a:gd name="connsiteY420" fmla="*/ 6594052 h 6858000"/>
              <a:gd name="connsiteX421" fmla="*/ 2207047 w 7467600"/>
              <a:gd name="connsiteY421" fmla="*/ 6654540 h 6858000"/>
              <a:gd name="connsiteX422" fmla="*/ 2299106 w 7467600"/>
              <a:gd name="connsiteY422" fmla="*/ 6778931 h 6858000"/>
              <a:gd name="connsiteX423" fmla="*/ 2314430 w 7467600"/>
              <a:gd name="connsiteY423" fmla="*/ 6801144 h 6858000"/>
              <a:gd name="connsiteX424" fmla="*/ 2352406 w 7467600"/>
              <a:gd name="connsiteY424" fmla="*/ 6858000 h 6858000"/>
              <a:gd name="connsiteX425" fmla="*/ 2314492 w 7467600"/>
              <a:gd name="connsiteY425" fmla="*/ 6858000 h 6858000"/>
              <a:gd name="connsiteX426" fmla="*/ 2288095 w 7467600"/>
              <a:gd name="connsiteY426" fmla="*/ 6818030 h 6858000"/>
              <a:gd name="connsiteX427" fmla="*/ 2272768 w 7467600"/>
              <a:gd name="connsiteY427" fmla="*/ 6795822 h 6858000"/>
              <a:gd name="connsiteX428" fmla="*/ 2182715 w 7467600"/>
              <a:gd name="connsiteY428" fmla="*/ 6675071 h 6858000"/>
              <a:gd name="connsiteX429" fmla="*/ 2032061 w 7467600"/>
              <a:gd name="connsiteY429" fmla="*/ 6541380 h 6858000"/>
              <a:gd name="connsiteX430" fmla="*/ 2257220 w 7467600"/>
              <a:gd name="connsiteY430" fmla="*/ 6826257 h 6858000"/>
              <a:gd name="connsiteX431" fmla="*/ 2281324 w 7467600"/>
              <a:gd name="connsiteY431" fmla="*/ 6858000 h 6858000"/>
              <a:gd name="connsiteX432" fmla="*/ 2242860 w 7467600"/>
              <a:gd name="connsiteY432" fmla="*/ 6858000 h 6858000"/>
              <a:gd name="connsiteX433" fmla="*/ 2232818 w 7467600"/>
              <a:gd name="connsiteY433" fmla="*/ 6844926 h 6858000"/>
              <a:gd name="connsiteX434" fmla="*/ 1990172 w 7467600"/>
              <a:gd name="connsiteY434" fmla="*/ 6542121 h 6858000"/>
              <a:gd name="connsiteX435" fmla="*/ 2124090 w 7467600"/>
              <a:gd name="connsiteY435" fmla="*/ 6761017 h 6858000"/>
              <a:gd name="connsiteX436" fmla="*/ 2200380 w 7467600"/>
              <a:gd name="connsiteY436" fmla="*/ 6858000 h 6858000"/>
              <a:gd name="connsiteX437" fmla="*/ 2147507 w 7467600"/>
              <a:gd name="connsiteY437" fmla="*/ 6858000 h 6858000"/>
              <a:gd name="connsiteX438" fmla="*/ 2070668 w 7467600"/>
              <a:gd name="connsiteY438" fmla="*/ 6761520 h 6858000"/>
              <a:gd name="connsiteX439" fmla="*/ 1975142 w 7467600"/>
              <a:gd name="connsiteY439" fmla="*/ 6585570 h 6858000"/>
              <a:gd name="connsiteX440" fmla="*/ 2050035 w 7467600"/>
              <a:gd name="connsiteY440" fmla="*/ 6813345 h 6858000"/>
              <a:gd name="connsiteX441" fmla="*/ 2063025 w 7467600"/>
              <a:gd name="connsiteY441" fmla="*/ 6858000 h 6858000"/>
              <a:gd name="connsiteX442" fmla="*/ 2021675 w 7467600"/>
              <a:gd name="connsiteY442" fmla="*/ 6858000 h 6858000"/>
              <a:gd name="connsiteX443" fmla="*/ 2019308 w 7467600"/>
              <a:gd name="connsiteY443" fmla="*/ 6847118 h 6858000"/>
              <a:gd name="connsiteX444" fmla="*/ 1938835 w 7467600"/>
              <a:gd name="connsiteY444" fmla="*/ 6551160 h 6858000"/>
              <a:gd name="connsiteX445" fmla="*/ 1953230 w 7467600"/>
              <a:gd name="connsiteY445" fmla="*/ 6759699 h 6858000"/>
              <a:gd name="connsiteX446" fmla="*/ 1956763 w 7467600"/>
              <a:gd name="connsiteY446" fmla="*/ 6778191 h 6858000"/>
              <a:gd name="connsiteX447" fmla="*/ 1967925 w 7467600"/>
              <a:gd name="connsiteY447" fmla="*/ 6858000 h 6858000"/>
              <a:gd name="connsiteX448" fmla="*/ 1936622 w 7467600"/>
              <a:gd name="connsiteY448" fmla="*/ 6858000 h 6858000"/>
              <a:gd name="connsiteX449" fmla="*/ 1926261 w 7467600"/>
              <a:gd name="connsiteY449" fmla="*/ 6784064 h 6858000"/>
              <a:gd name="connsiteX450" fmla="*/ 1922724 w 7467600"/>
              <a:gd name="connsiteY450" fmla="*/ 6765577 h 6858000"/>
              <a:gd name="connsiteX451" fmla="*/ 1904650 w 7467600"/>
              <a:gd name="connsiteY451" fmla="*/ 6639616 h 6858000"/>
              <a:gd name="connsiteX452" fmla="*/ 1885273 w 7467600"/>
              <a:gd name="connsiteY452" fmla="*/ 6858000 h 6858000"/>
              <a:gd name="connsiteX453" fmla="*/ 1854363 w 7467600"/>
              <a:gd name="connsiteY453" fmla="*/ 6858000 h 6858000"/>
              <a:gd name="connsiteX454" fmla="*/ 1880391 w 7467600"/>
              <a:gd name="connsiteY454" fmla="*/ 6603796 h 6858000"/>
              <a:gd name="connsiteX455" fmla="*/ 1818273 w 7467600"/>
              <a:gd name="connsiteY455" fmla="*/ 6715729 h 6858000"/>
              <a:gd name="connsiteX456" fmla="*/ 1794691 w 7467600"/>
              <a:gd name="connsiteY456" fmla="*/ 6843239 h 6858000"/>
              <a:gd name="connsiteX457" fmla="*/ 1794914 w 7467600"/>
              <a:gd name="connsiteY457" fmla="*/ 6858000 h 6858000"/>
              <a:gd name="connsiteX458" fmla="*/ 1746128 w 7467600"/>
              <a:gd name="connsiteY458" fmla="*/ 6858000 h 6858000"/>
              <a:gd name="connsiteX459" fmla="*/ 1753934 w 7467600"/>
              <a:gd name="connsiteY459" fmla="*/ 6724796 h 6858000"/>
              <a:gd name="connsiteX460" fmla="*/ 1792053 w 7467600"/>
              <a:gd name="connsiteY460" fmla="*/ 6572396 h 6858000"/>
              <a:gd name="connsiteX461" fmla="*/ 1862248 w 7467600"/>
              <a:gd name="connsiteY461" fmla="*/ 6266397 h 6858000"/>
              <a:gd name="connsiteX462" fmla="*/ 1862250 w 7467600"/>
              <a:gd name="connsiteY462" fmla="*/ 6033531 h 6858000"/>
              <a:gd name="connsiteX463" fmla="*/ 1211999 w 7467600"/>
              <a:gd name="connsiteY463" fmla="*/ 6683610 h 6858000"/>
              <a:gd name="connsiteX464" fmla="*/ 1213266 w 7467600"/>
              <a:gd name="connsiteY464" fmla="*/ 6691947 h 6858000"/>
              <a:gd name="connsiteX465" fmla="*/ 1203370 w 7467600"/>
              <a:gd name="connsiteY465" fmla="*/ 6850676 h 6858000"/>
              <a:gd name="connsiteX466" fmla="*/ 1203671 w 7467600"/>
              <a:gd name="connsiteY466" fmla="*/ 6858000 h 6858000"/>
              <a:gd name="connsiteX467" fmla="*/ 1143180 w 7467600"/>
              <a:gd name="connsiteY467" fmla="*/ 6858000 h 6858000"/>
              <a:gd name="connsiteX468" fmla="*/ 1142176 w 7467600"/>
              <a:gd name="connsiteY468" fmla="*/ 6766045 h 6858000"/>
              <a:gd name="connsiteX469" fmla="*/ 1067484 w 7467600"/>
              <a:gd name="connsiteY469" fmla="*/ 6858000 h 6858000"/>
              <a:gd name="connsiteX470" fmla="*/ 953928 w 7467600"/>
              <a:gd name="connsiteY470" fmla="*/ 6858000 h 6858000"/>
              <a:gd name="connsiteX471" fmla="*/ 959715 w 7467600"/>
              <a:gd name="connsiteY471" fmla="*/ 6850185 h 6858000"/>
              <a:gd name="connsiteX472" fmla="*/ 1483788 w 7467600"/>
              <a:gd name="connsiteY472" fmla="*/ 6259174 h 6858000"/>
              <a:gd name="connsiteX473" fmla="*/ 1100671 w 7467600"/>
              <a:gd name="connsiteY473" fmla="*/ 6252137 h 6858000"/>
              <a:gd name="connsiteX474" fmla="*/ 1090144 w 7467600"/>
              <a:gd name="connsiteY474" fmla="*/ 6256748 h 6858000"/>
              <a:gd name="connsiteX475" fmla="*/ 1095872 w 7467600"/>
              <a:gd name="connsiteY475" fmla="*/ 6271892 h 6858000"/>
              <a:gd name="connsiteX476" fmla="*/ 262785 w 7467600"/>
              <a:gd name="connsiteY476" fmla="*/ 6845450 h 6858000"/>
              <a:gd name="connsiteX477" fmla="*/ 209968 w 7467600"/>
              <a:gd name="connsiteY477" fmla="*/ 6770713 h 6858000"/>
              <a:gd name="connsiteX478" fmla="*/ 873460 w 7467600"/>
              <a:gd name="connsiteY478" fmla="*/ 6253768 h 6858000"/>
              <a:gd name="connsiteX479" fmla="*/ 192686 w 7467600"/>
              <a:gd name="connsiteY479" fmla="*/ 5849257 h 6858000"/>
              <a:gd name="connsiteX480" fmla="*/ 4696 w 7467600"/>
              <a:gd name="connsiteY480" fmla="*/ 5697668 h 6858000"/>
              <a:gd name="connsiteX481" fmla="*/ 0 w 7467600"/>
              <a:gd name="connsiteY481" fmla="*/ 5689984 h 6858000"/>
              <a:gd name="connsiteX482" fmla="*/ 0 w 7467600"/>
              <a:gd name="connsiteY482" fmla="*/ 5513472 h 6858000"/>
              <a:gd name="connsiteX483" fmla="*/ 174101 w 7467600"/>
              <a:gd name="connsiteY483" fmla="*/ 5620277 h 6858000"/>
              <a:gd name="connsiteX484" fmla="*/ 891800 w 7467600"/>
              <a:gd name="connsiteY484" fmla="*/ 6036935 h 6858000"/>
              <a:gd name="connsiteX485" fmla="*/ 1072219 w 7467600"/>
              <a:gd name="connsiteY485" fmla="*/ 6169443 h 6858000"/>
              <a:gd name="connsiteX486" fmla="*/ 1074117 w 7467600"/>
              <a:gd name="connsiteY486" fmla="*/ 6170301 h 6858000"/>
              <a:gd name="connsiteX487" fmla="*/ 1083114 w 7467600"/>
              <a:gd name="connsiteY487" fmla="*/ 6174131 h 6858000"/>
              <a:gd name="connsiteX488" fmla="*/ 1543010 w 7467600"/>
              <a:gd name="connsiteY488" fmla="*/ 6191140 h 6858000"/>
              <a:gd name="connsiteX489" fmla="*/ 1551080 w 7467600"/>
              <a:gd name="connsiteY489" fmla="*/ 6195006 h 6858000"/>
              <a:gd name="connsiteX490" fmla="*/ 2345443 w 7467600"/>
              <a:gd name="connsiteY490" fmla="*/ 5549882 h 6858000"/>
              <a:gd name="connsiteX491" fmla="*/ 1721499 w 7467600"/>
              <a:gd name="connsiteY491" fmla="*/ 5599969 h 6858000"/>
              <a:gd name="connsiteX492" fmla="*/ 767716 w 7467600"/>
              <a:gd name="connsiteY492" fmla="*/ 5472768 h 6858000"/>
              <a:gd name="connsiteX493" fmla="*/ 722147 w 7467600"/>
              <a:gd name="connsiteY493" fmla="*/ 5393091 h 6858000"/>
              <a:gd name="connsiteX494" fmla="*/ 1485552 w 7467600"/>
              <a:gd name="connsiteY494" fmla="*/ 5313202 h 6858000"/>
              <a:gd name="connsiteX495" fmla="*/ 2143004 w 7467600"/>
              <a:gd name="connsiteY495" fmla="*/ 5402420 h 6858000"/>
              <a:gd name="connsiteX496" fmla="*/ 1933391 w 7467600"/>
              <a:gd name="connsiteY496" fmla="*/ 5156971 h 6858000"/>
              <a:gd name="connsiteX497" fmla="*/ 1827118 w 7467600"/>
              <a:gd name="connsiteY497" fmla="*/ 4968410 h 6858000"/>
              <a:gd name="connsiteX498" fmla="*/ 1837349 w 7467600"/>
              <a:gd name="connsiteY498" fmla="*/ 4956357 h 6858000"/>
              <a:gd name="connsiteX499" fmla="*/ 2162835 w 7467600"/>
              <a:gd name="connsiteY499" fmla="*/ 5187853 h 6858000"/>
              <a:gd name="connsiteX500" fmla="*/ 2257167 w 7467600"/>
              <a:gd name="connsiteY500" fmla="*/ 5462123 h 6858000"/>
              <a:gd name="connsiteX501" fmla="*/ 2261598 w 7467600"/>
              <a:gd name="connsiteY501" fmla="*/ 5467998 h 6858000"/>
              <a:gd name="connsiteX502" fmla="*/ 2437177 w 7467600"/>
              <a:gd name="connsiteY502" fmla="*/ 5479608 h 6858000"/>
              <a:gd name="connsiteX503" fmla="*/ 2445247 w 7467600"/>
              <a:gd name="connsiteY503" fmla="*/ 5483476 h 6858000"/>
              <a:gd name="connsiteX504" fmla="*/ 2743626 w 7467600"/>
              <a:gd name="connsiteY504" fmla="*/ 5304819 h 6858000"/>
              <a:gd name="connsiteX505" fmla="*/ 3048102 w 7467600"/>
              <a:gd name="connsiteY505" fmla="*/ 5150595 h 6858000"/>
              <a:gd name="connsiteX506" fmla="*/ 1799414 w 7467600"/>
              <a:gd name="connsiteY506" fmla="*/ 4694732 h 6858000"/>
              <a:gd name="connsiteX507" fmla="*/ 1771735 w 7467600"/>
              <a:gd name="connsiteY507" fmla="*/ 4619929 h 6858000"/>
              <a:gd name="connsiteX508" fmla="*/ 3104273 w 7467600"/>
              <a:gd name="connsiteY508" fmla="*/ 5076159 h 6858000"/>
              <a:gd name="connsiteX509" fmla="*/ 3113245 w 7467600"/>
              <a:gd name="connsiteY509" fmla="*/ 5090705 h 6858000"/>
              <a:gd name="connsiteX510" fmla="*/ 3126294 w 7467600"/>
              <a:gd name="connsiteY510" fmla="*/ 5114400 h 6858000"/>
              <a:gd name="connsiteX511" fmla="*/ 3937433 w 7467600"/>
              <a:gd name="connsiteY511" fmla="*/ 4830473 h 6858000"/>
              <a:gd name="connsiteX512" fmla="*/ 3590475 w 7467600"/>
              <a:gd name="connsiteY512" fmla="*/ 4597974 h 6858000"/>
              <a:gd name="connsiteX513" fmla="*/ 3100264 w 7467600"/>
              <a:gd name="connsiteY513" fmla="*/ 4579845 h 6858000"/>
              <a:gd name="connsiteX514" fmla="*/ 2183576 w 7467600"/>
              <a:gd name="connsiteY514" fmla="*/ 4227150 h 6858000"/>
              <a:gd name="connsiteX515" fmla="*/ 2151029 w 7467600"/>
              <a:gd name="connsiteY515" fmla="*/ 4146947 h 6858000"/>
              <a:gd name="connsiteX516" fmla="*/ 3563434 w 7467600"/>
              <a:gd name="connsiteY516" fmla="*/ 4469115 h 6858000"/>
              <a:gd name="connsiteX517" fmla="*/ 3177952 w 7467600"/>
              <a:gd name="connsiteY517" fmla="*/ 3657386 h 6858000"/>
              <a:gd name="connsiteX518" fmla="*/ 3189263 w 7467600"/>
              <a:gd name="connsiteY518" fmla="*/ 3625726 h 6858000"/>
              <a:gd name="connsiteX519" fmla="*/ 3560912 w 7467600"/>
              <a:gd name="connsiteY519" fmla="*/ 4079863 h 6858000"/>
              <a:gd name="connsiteX520" fmla="*/ 3626636 w 7467600"/>
              <a:gd name="connsiteY520" fmla="*/ 4512230 h 6858000"/>
              <a:gd name="connsiteX521" fmla="*/ 3653088 w 7467600"/>
              <a:gd name="connsiteY521" fmla="*/ 4521417 h 6858000"/>
              <a:gd name="connsiteX522" fmla="*/ 3988128 w 7467600"/>
              <a:gd name="connsiteY522" fmla="*/ 4817267 h 6858000"/>
              <a:gd name="connsiteX523" fmla="*/ 4830582 w 7467600"/>
              <a:gd name="connsiteY523" fmla="*/ 4676000 h 6858000"/>
              <a:gd name="connsiteX524" fmla="*/ 4830100 w 7467600"/>
              <a:gd name="connsiteY524" fmla="*/ 4675554 h 6858000"/>
              <a:gd name="connsiteX525" fmla="*/ 4036318 w 7467600"/>
              <a:gd name="connsiteY525" fmla="*/ 4147013 h 6858000"/>
              <a:gd name="connsiteX526" fmla="*/ 3432098 w 7467600"/>
              <a:gd name="connsiteY526" fmla="*/ 3537312 h 6858000"/>
              <a:gd name="connsiteX527" fmla="*/ 3446761 w 7467600"/>
              <a:gd name="connsiteY527" fmla="*/ 3461278 h 6858000"/>
              <a:gd name="connsiteX528" fmla="*/ 4419733 w 7467600"/>
              <a:gd name="connsiteY528" fmla="*/ 3963555 h 6858000"/>
              <a:gd name="connsiteX529" fmla="*/ 4781371 w 7467600"/>
              <a:gd name="connsiteY529" fmla="*/ 4458604 h 6858000"/>
              <a:gd name="connsiteX530" fmla="*/ 4780440 w 7467600"/>
              <a:gd name="connsiteY530" fmla="*/ 4470290 h 6858000"/>
              <a:gd name="connsiteX531" fmla="*/ 4898954 w 7467600"/>
              <a:gd name="connsiteY531" fmla="*/ 4662092 h 6858000"/>
              <a:gd name="connsiteX532" fmla="*/ 4900699 w 7467600"/>
              <a:gd name="connsiteY532" fmla="*/ 4670867 h 6858000"/>
              <a:gd name="connsiteX533" fmla="*/ 5714511 w 7467600"/>
              <a:gd name="connsiteY533" fmla="*/ 4663483 h 6858000"/>
              <a:gd name="connsiteX534" fmla="*/ 5464793 w 7467600"/>
              <a:gd name="connsiteY534" fmla="*/ 4393556 h 6858000"/>
              <a:gd name="connsiteX535" fmla="*/ 5461897 w 7467600"/>
              <a:gd name="connsiteY535" fmla="*/ 4390879 h 6858000"/>
              <a:gd name="connsiteX536" fmla="*/ 4294126 w 7467600"/>
              <a:gd name="connsiteY536" fmla="*/ 3303048 h 6858000"/>
              <a:gd name="connsiteX537" fmla="*/ 4305321 w 7467600"/>
              <a:gd name="connsiteY537" fmla="*/ 3256953 h 6858000"/>
              <a:gd name="connsiteX538" fmla="*/ 4949299 w 7467600"/>
              <a:gd name="connsiteY538" fmla="*/ 3766336 h 6858000"/>
              <a:gd name="connsiteX539" fmla="*/ 5291452 w 7467600"/>
              <a:gd name="connsiteY539" fmla="*/ 4076801 h 6858000"/>
              <a:gd name="connsiteX540" fmla="*/ 5434998 w 7467600"/>
              <a:gd name="connsiteY540" fmla="*/ 4254100 h 6858000"/>
              <a:gd name="connsiteX541" fmla="*/ 5351015 w 7467600"/>
              <a:gd name="connsiteY541" fmla="*/ 3760989 h 6858000"/>
              <a:gd name="connsiteX542" fmla="*/ 5413780 w 7467600"/>
              <a:gd name="connsiteY542" fmla="*/ 2966265 h 6858000"/>
              <a:gd name="connsiteX543" fmla="*/ 5425627 w 7467600"/>
              <a:gd name="connsiteY543" fmla="*/ 2954192 h 6858000"/>
              <a:gd name="connsiteX544" fmla="*/ 6604735 w 7467600"/>
              <a:gd name="connsiteY544" fmla="*/ 2041381 h 6858000"/>
              <a:gd name="connsiteX545" fmla="*/ 7204487 w 7467600"/>
              <a:gd name="connsiteY545" fmla="*/ 2742112 h 6858000"/>
              <a:gd name="connsiteX546" fmla="*/ 7131592 w 7467600"/>
              <a:gd name="connsiteY546" fmla="*/ 2672096 h 6858000"/>
              <a:gd name="connsiteX547" fmla="*/ 6996344 w 7467600"/>
              <a:gd name="connsiteY547" fmla="*/ 2518310 h 6858000"/>
              <a:gd name="connsiteX548" fmla="*/ 6735495 w 7467600"/>
              <a:gd name="connsiteY548" fmla="*/ 2196890 h 6858000"/>
              <a:gd name="connsiteX549" fmla="*/ 6721901 w 7467600"/>
              <a:gd name="connsiteY549" fmla="*/ 2179274 h 6858000"/>
              <a:gd name="connsiteX550" fmla="*/ 6604735 w 7467600"/>
              <a:gd name="connsiteY550" fmla="*/ 2041381 h 6858000"/>
              <a:gd name="connsiteX551" fmla="*/ 6591670 w 7467600"/>
              <a:gd name="connsiteY551" fmla="*/ 1988277 h 6858000"/>
              <a:gd name="connsiteX552" fmla="*/ 6747349 w 7467600"/>
              <a:gd name="connsiteY552" fmla="*/ 2160069 h 6858000"/>
              <a:gd name="connsiteX553" fmla="*/ 6760943 w 7467600"/>
              <a:gd name="connsiteY553" fmla="*/ 2177686 h 6858000"/>
              <a:gd name="connsiteX554" fmla="*/ 7021065 w 7467600"/>
              <a:gd name="connsiteY554" fmla="*/ 2498102 h 6858000"/>
              <a:gd name="connsiteX555" fmla="*/ 7155223 w 7467600"/>
              <a:gd name="connsiteY555" fmla="*/ 2650386 h 6858000"/>
              <a:gd name="connsiteX556" fmla="*/ 7203167 w 7467600"/>
              <a:gd name="connsiteY556" fmla="*/ 2697288 h 6858000"/>
              <a:gd name="connsiteX557" fmla="*/ 6937703 w 7467600"/>
              <a:gd name="connsiteY557" fmla="*/ 2321981 h 6858000"/>
              <a:gd name="connsiteX558" fmla="*/ 6591670 w 7467600"/>
              <a:gd name="connsiteY558" fmla="*/ 1988277 h 6858000"/>
              <a:gd name="connsiteX559" fmla="*/ 5798671 w 7467600"/>
              <a:gd name="connsiteY559" fmla="*/ 1981601 h 6858000"/>
              <a:gd name="connsiteX560" fmla="*/ 5754709 w 7467600"/>
              <a:gd name="connsiteY560" fmla="*/ 2071454 h 6858000"/>
              <a:gd name="connsiteX561" fmla="*/ 5763044 w 7467600"/>
              <a:gd name="connsiteY561" fmla="*/ 2842206 h 6858000"/>
              <a:gd name="connsiteX562" fmla="*/ 5764974 w 7467600"/>
              <a:gd name="connsiteY562" fmla="*/ 2799609 h 6858000"/>
              <a:gd name="connsiteX563" fmla="*/ 5767665 w 7467600"/>
              <a:gd name="connsiteY563" fmla="*/ 2666409 h 6858000"/>
              <a:gd name="connsiteX564" fmla="*/ 5763055 w 7467600"/>
              <a:gd name="connsiteY564" fmla="*/ 2579705 h 6858000"/>
              <a:gd name="connsiteX565" fmla="*/ 5758079 w 7467600"/>
              <a:gd name="connsiteY565" fmla="*/ 2492508 h 6858000"/>
              <a:gd name="connsiteX566" fmla="*/ 5779325 w 7467600"/>
              <a:gd name="connsiteY566" fmla="*/ 2197069 h 6858000"/>
              <a:gd name="connsiteX567" fmla="*/ 5798671 w 7467600"/>
              <a:gd name="connsiteY567" fmla="*/ 1981601 h 6858000"/>
              <a:gd name="connsiteX568" fmla="*/ 5829202 w 7467600"/>
              <a:gd name="connsiteY568" fmla="*/ 1971679 h 6858000"/>
              <a:gd name="connsiteX569" fmla="*/ 5809558 w 7467600"/>
              <a:gd name="connsiteY569" fmla="*/ 2198043 h 6858000"/>
              <a:gd name="connsiteX570" fmla="*/ 5788653 w 7467600"/>
              <a:gd name="connsiteY570" fmla="*/ 2489430 h 6858000"/>
              <a:gd name="connsiteX571" fmla="*/ 5793439 w 7467600"/>
              <a:gd name="connsiteY571" fmla="*/ 2575235 h 6858000"/>
              <a:gd name="connsiteX572" fmla="*/ 5796837 w 7467600"/>
              <a:gd name="connsiteY572" fmla="*/ 2637633 h 6858000"/>
              <a:gd name="connsiteX573" fmla="*/ 5818614 w 7467600"/>
              <a:gd name="connsiteY573" fmla="*/ 2473055 h 6858000"/>
              <a:gd name="connsiteX574" fmla="*/ 5829202 w 7467600"/>
              <a:gd name="connsiteY574" fmla="*/ 1971679 h 6858000"/>
              <a:gd name="connsiteX575" fmla="*/ 5911389 w 7467600"/>
              <a:gd name="connsiteY575" fmla="*/ 1898371 h 6858000"/>
              <a:gd name="connsiteX576" fmla="*/ 6237627 w 7467600"/>
              <a:gd name="connsiteY576" fmla="*/ 2231921 h 6858000"/>
              <a:gd name="connsiteX577" fmla="*/ 5911389 w 7467600"/>
              <a:gd name="connsiteY577" fmla="*/ 1898371 h 6858000"/>
              <a:gd name="connsiteX578" fmla="*/ 6944437 w 7467600"/>
              <a:gd name="connsiteY578" fmla="*/ 1575402 h 6858000"/>
              <a:gd name="connsiteX579" fmla="*/ 6304730 w 7467600"/>
              <a:gd name="connsiteY579" fmla="*/ 1766654 h 6858000"/>
              <a:gd name="connsiteX580" fmla="*/ 6944437 w 7467600"/>
              <a:gd name="connsiteY580" fmla="*/ 1575402 h 6858000"/>
              <a:gd name="connsiteX581" fmla="*/ 7019523 w 7467600"/>
              <a:gd name="connsiteY581" fmla="*/ 1519450 h 6858000"/>
              <a:gd name="connsiteX582" fmla="*/ 6298091 w 7467600"/>
              <a:gd name="connsiteY582" fmla="*/ 1737122 h 6858000"/>
              <a:gd name="connsiteX583" fmla="*/ 7019523 w 7467600"/>
              <a:gd name="connsiteY583" fmla="*/ 1519450 h 6858000"/>
              <a:gd name="connsiteX584" fmla="*/ 2399523 w 7467600"/>
              <a:gd name="connsiteY584" fmla="*/ 1428234 h 6858000"/>
              <a:gd name="connsiteX585" fmla="*/ 2224982 w 7467600"/>
              <a:gd name="connsiteY585" fmla="*/ 1826201 h 6858000"/>
              <a:gd name="connsiteX586" fmla="*/ 2096099 w 7467600"/>
              <a:gd name="connsiteY586" fmla="*/ 2345900 h 6858000"/>
              <a:gd name="connsiteX587" fmla="*/ 2283317 w 7467600"/>
              <a:gd name="connsiteY587" fmla="*/ 1796925 h 6858000"/>
              <a:gd name="connsiteX588" fmla="*/ 2399523 w 7467600"/>
              <a:gd name="connsiteY588" fmla="*/ 1428234 h 6858000"/>
              <a:gd name="connsiteX589" fmla="*/ 2448558 w 7467600"/>
              <a:gd name="connsiteY589" fmla="*/ 1373435 h 6858000"/>
              <a:gd name="connsiteX590" fmla="*/ 2312521 w 7467600"/>
              <a:gd name="connsiteY590" fmla="*/ 1806140 h 6858000"/>
              <a:gd name="connsiteX591" fmla="*/ 2127533 w 7467600"/>
              <a:gd name="connsiteY591" fmla="*/ 2348380 h 6858000"/>
              <a:gd name="connsiteX592" fmla="*/ 2358080 w 7467600"/>
              <a:gd name="connsiteY592" fmla="*/ 1866134 h 6858000"/>
              <a:gd name="connsiteX593" fmla="*/ 2407436 w 7467600"/>
              <a:gd name="connsiteY593" fmla="*/ 1651070 h 6858000"/>
              <a:gd name="connsiteX594" fmla="*/ 2448558 w 7467600"/>
              <a:gd name="connsiteY594" fmla="*/ 1373435 h 6858000"/>
              <a:gd name="connsiteX595" fmla="*/ 278707 w 7467600"/>
              <a:gd name="connsiteY595" fmla="*/ 1352270 h 6858000"/>
              <a:gd name="connsiteX596" fmla="*/ 321570 w 7467600"/>
              <a:gd name="connsiteY596" fmla="*/ 1861610 h 6858000"/>
              <a:gd name="connsiteX597" fmla="*/ 294281 w 7467600"/>
              <a:gd name="connsiteY597" fmla="*/ 1440658 h 6858000"/>
              <a:gd name="connsiteX598" fmla="*/ 278707 w 7467600"/>
              <a:gd name="connsiteY598" fmla="*/ 1352270 h 6858000"/>
              <a:gd name="connsiteX599" fmla="*/ 1423821 w 7467600"/>
              <a:gd name="connsiteY599" fmla="*/ 1351958 h 6858000"/>
              <a:gd name="connsiteX600" fmla="*/ 1638521 w 7467600"/>
              <a:gd name="connsiteY600" fmla="*/ 1908470 h 6858000"/>
              <a:gd name="connsiteX601" fmla="*/ 1754199 w 7467600"/>
              <a:gd name="connsiteY601" fmla="*/ 2149284 h 6858000"/>
              <a:gd name="connsiteX602" fmla="*/ 1908359 w 7467600"/>
              <a:gd name="connsiteY602" fmla="*/ 2364988 h 6858000"/>
              <a:gd name="connsiteX603" fmla="*/ 1647661 w 7467600"/>
              <a:gd name="connsiteY603" fmla="*/ 1825945 h 6858000"/>
              <a:gd name="connsiteX604" fmla="*/ 1423821 w 7467600"/>
              <a:gd name="connsiteY604" fmla="*/ 1351958 h 6858000"/>
              <a:gd name="connsiteX605" fmla="*/ 1431890 w 7467600"/>
              <a:gd name="connsiteY605" fmla="*/ 1306475 h 6858000"/>
              <a:gd name="connsiteX606" fmla="*/ 1507597 w 7467600"/>
              <a:gd name="connsiteY606" fmla="*/ 1446132 h 6858000"/>
              <a:gd name="connsiteX607" fmla="*/ 1674586 w 7467600"/>
              <a:gd name="connsiteY607" fmla="*/ 1813832 h 6858000"/>
              <a:gd name="connsiteX608" fmla="*/ 1815950 w 7467600"/>
              <a:gd name="connsiteY608" fmla="*/ 2128564 h 6858000"/>
              <a:gd name="connsiteX609" fmla="*/ 1984242 w 7467600"/>
              <a:gd name="connsiteY609" fmla="*/ 2430829 h 6858000"/>
              <a:gd name="connsiteX610" fmla="*/ 2014023 w 7467600"/>
              <a:gd name="connsiteY610" fmla="*/ 2450995 h 6858000"/>
              <a:gd name="connsiteX611" fmla="*/ 1747337 w 7467600"/>
              <a:gd name="connsiteY611" fmla="*/ 1855264 h 6858000"/>
              <a:gd name="connsiteX612" fmla="*/ 1533749 w 7467600"/>
              <a:gd name="connsiteY612" fmla="*/ 1478656 h 6858000"/>
              <a:gd name="connsiteX613" fmla="*/ 1431890 w 7467600"/>
              <a:gd name="connsiteY613" fmla="*/ 1306475 h 6858000"/>
              <a:gd name="connsiteX614" fmla="*/ 5052692 w 7467600"/>
              <a:gd name="connsiteY614" fmla="*/ 1292994 h 6858000"/>
              <a:gd name="connsiteX615" fmla="*/ 5200661 w 7467600"/>
              <a:gd name="connsiteY615" fmla="*/ 1635186 h 6858000"/>
              <a:gd name="connsiteX616" fmla="*/ 5297138 w 7467600"/>
              <a:gd name="connsiteY616" fmla="*/ 1906351 h 6858000"/>
              <a:gd name="connsiteX617" fmla="*/ 5052692 w 7467600"/>
              <a:gd name="connsiteY617" fmla="*/ 1292994 h 6858000"/>
              <a:gd name="connsiteX618" fmla="*/ 5009948 w 7467600"/>
              <a:gd name="connsiteY618" fmla="*/ 1273619 h 6858000"/>
              <a:gd name="connsiteX619" fmla="*/ 5121777 w 7467600"/>
              <a:gd name="connsiteY619" fmla="*/ 1654213 h 6858000"/>
              <a:gd name="connsiteX620" fmla="*/ 5293545 w 7467600"/>
              <a:gd name="connsiteY620" fmla="*/ 2072247 h 6858000"/>
              <a:gd name="connsiteX621" fmla="*/ 5294042 w 7467600"/>
              <a:gd name="connsiteY621" fmla="*/ 2065019 h 6858000"/>
              <a:gd name="connsiteX622" fmla="*/ 5171936 w 7467600"/>
              <a:gd name="connsiteY622" fmla="*/ 1647613 h 6858000"/>
              <a:gd name="connsiteX623" fmla="*/ 5009948 w 7467600"/>
              <a:gd name="connsiteY623" fmla="*/ 1273619 h 6858000"/>
              <a:gd name="connsiteX624" fmla="*/ 655236 w 7467600"/>
              <a:gd name="connsiteY624" fmla="*/ 1268632 h 6858000"/>
              <a:gd name="connsiteX625" fmla="*/ 839521 w 7467600"/>
              <a:gd name="connsiteY625" fmla="*/ 1685315 h 6858000"/>
              <a:gd name="connsiteX626" fmla="*/ 1109416 w 7467600"/>
              <a:gd name="connsiteY626" fmla="*/ 2061663 h 6858000"/>
              <a:gd name="connsiteX627" fmla="*/ 1298300 w 7467600"/>
              <a:gd name="connsiteY627" fmla="*/ 2247742 h 6858000"/>
              <a:gd name="connsiteX628" fmla="*/ 1125871 w 7467600"/>
              <a:gd name="connsiteY628" fmla="*/ 1989513 h 6858000"/>
              <a:gd name="connsiteX629" fmla="*/ 981574 w 7467600"/>
              <a:gd name="connsiteY629" fmla="*/ 1783157 h 6858000"/>
              <a:gd name="connsiteX630" fmla="*/ 922198 w 7467600"/>
              <a:gd name="connsiteY630" fmla="*/ 1677437 h 6858000"/>
              <a:gd name="connsiteX631" fmla="*/ 869293 w 7467600"/>
              <a:gd name="connsiteY631" fmla="*/ 1583214 h 6858000"/>
              <a:gd name="connsiteX632" fmla="*/ 751431 w 7467600"/>
              <a:gd name="connsiteY632" fmla="*/ 1405731 h 6858000"/>
              <a:gd name="connsiteX633" fmla="*/ 655236 w 7467600"/>
              <a:gd name="connsiteY633" fmla="*/ 1268632 h 6858000"/>
              <a:gd name="connsiteX634" fmla="*/ 6516292 w 7467600"/>
              <a:gd name="connsiteY634" fmla="*/ 1263064 h 6858000"/>
              <a:gd name="connsiteX635" fmla="*/ 5736320 w 7467600"/>
              <a:gd name="connsiteY635" fmla="*/ 1501803 h 6858000"/>
              <a:gd name="connsiteX636" fmla="*/ 6516292 w 7467600"/>
              <a:gd name="connsiteY636" fmla="*/ 1263064 h 6858000"/>
              <a:gd name="connsiteX637" fmla="*/ 291466 w 7467600"/>
              <a:gd name="connsiteY637" fmla="*/ 1250369 h 6858000"/>
              <a:gd name="connsiteX638" fmla="*/ 323180 w 7467600"/>
              <a:gd name="connsiteY638" fmla="*/ 1435283 h 6858000"/>
              <a:gd name="connsiteX639" fmla="*/ 349381 w 7467600"/>
              <a:gd name="connsiteY639" fmla="*/ 1875041 h 6858000"/>
              <a:gd name="connsiteX640" fmla="*/ 374363 w 7467600"/>
              <a:gd name="connsiteY640" fmla="*/ 1506494 h 6858000"/>
              <a:gd name="connsiteX641" fmla="*/ 302168 w 7467600"/>
              <a:gd name="connsiteY641" fmla="*/ 1274495 h 6858000"/>
              <a:gd name="connsiteX642" fmla="*/ 291466 w 7467600"/>
              <a:gd name="connsiteY642" fmla="*/ 1250369 h 6858000"/>
              <a:gd name="connsiteX643" fmla="*/ 678222 w 7467600"/>
              <a:gd name="connsiteY643" fmla="*/ 1248670 h 6858000"/>
              <a:gd name="connsiteX644" fmla="*/ 775536 w 7467600"/>
              <a:gd name="connsiteY644" fmla="*/ 1388015 h 6858000"/>
              <a:gd name="connsiteX645" fmla="*/ 894529 w 7467600"/>
              <a:gd name="connsiteY645" fmla="*/ 1567739 h 6858000"/>
              <a:gd name="connsiteX646" fmla="*/ 948000 w 7467600"/>
              <a:gd name="connsiteY646" fmla="*/ 1663088 h 6858000"/>
              <a:gd name="connsiteX647" fmla="*/ 1006812 w 7467600"/>
              <a:gd name="connsiteY647" fmla="*/ 1767683 h 6858000"/>
              <a:gd name="connsiteX648" fmla="*/ 1149133 w 7467600"/>
              <a:gd name="connsiteY648" fmla="*/ 1971513 h 6858000"/>
              <a:gd name="connsiteX649" fmla="*/ 1333952 w 7467600"/>
              <a:gd name="connsiteY649" fmla="*/ 2251620 h 6858000"/>
              <a:gd name="connsiteX650" fmla="*/ 1337329 w 7467600"/>
              <a:gd name="connsiteY650" fmla="*/ 2258350 h 6858000"/>
              <a:gd name="connsiteX651" fmla="*/ 1014726 w 7467600"/>
              <a:gd name="connsiteY651" fmla="*/ 1615556 h 6858000"/>
              <a:gd name="connsiteX652" fmla="*/ 678222 w 7467600"/>
              <a:gd name="connsiteY652" fmla="*/ 1248670 h 6858000"/>
              <a:gd name="connsiteX653" fmla="*/ 6691602 w 7467600"/>
              <a:gd name="connsiteY653" fmla="*/ 1140573 h 6858000"/>
              <a:gd name="connsiteX654" fmla="*/ 6571100 w 7467600"/>
              <a:gd name="connsiteY654" fmla="*/ 1183662 h 6858000"/>
              <a:gd name="connsiteX655" fmla="*/ 6241687 w 7467600"/>
              <a:gd name="connsiteY655" fmla="*/ 1257600 h 6858000"/>
              <a:gd name="connsiteX656" fmla="*/ 5693009 w 7467600"/>
              <a:gd name="connsiteY656" fmla="*/ 1478256 h 6858000"/>
              <a:gd name="connsiteX657" fmla="*/ 6548420 w 7467600"/>
              <a:gd name="connsiteY657" fmla="*/ 1214599 h 6858000"/>
              <a:gd name="connsiteX658" fmla="*/ 6605473 w 7467600"/>
              <a:gd name="connsiteY658" fmla="*/ 1184686 h 6858000"/>
              <a:gd name="connsiteX659" fmla="*/ 6691602 w 7467600"/>
              <a:gd name="connsiteY659" fmla="*/ 1140573 h 6858000"/>
              <a:gd name="connsiteX660" fmla="*/ 4002475 w 7467600"/>
              <a:gd name="connsiteY660" fmla="*/ 1037802 h 6858000"/>
              <a:gd name="connsiteX661" fmla="*/ 4000324 w 7467600"/>
              <a:gd name="connsiteY661" fmla="*/ 1039362 h 6858000"/>
              <a:gd name="connsiteX662" fmla="*/ 4002862 w 7467600"/>
              <a:gd name="connsiteY662" fmla="*/ 1042866 h 6858000"/>
              <a:gd name="connsiteX663" fmla="*/ 4002475 w 7467600"/>
              <a:gd name="connsiteY663" fmla="*/ 1037802 h 6858000"/>
              <a:gd name="connsiteX664" fmla="*/ 506322 w 7467600"/>
              <a:gd name="connsiteY664" fmla="*/ 1020997 h 6858000"/>
              <a:gd name="connsiteX665" fmla="*/ 533068 w 7467600"/>
              <a:gd name="connsiteY665" fmla="*/ 1029409 h 6858000"/>
              <a:gd name="connsiteX666" fmla="*/ 1232525 w 7467600"/>
              <a:gd name="connsiteY666" fmla="*/ 1804675 h 6858000"/>
              <a:gd name="connsiteX667" fmla="*/ 1388858 w 7467600"/>
              <a:gd name="connsiteY667" fmla="*/ 2368011 h 6858000"/>
              <a:gd name="connsiteX668" fmla="*/ 1384098 w 7467600"/>
              <a:gd name="connsiteY668" fmla="*/ 2378125 h 6858000"/>
              <a:gd name="connsiteX669" fmla="*/ 1425393 w 7467600"/>
              <a:gd name="connsiteY669" fmla="*/ 2589124 h 6858000"/>
              <a:gd name="connsiteX670" fmla="*/ 1424001 w 7467600"/>
              <a:gd name="connsiteY670" fmla="*/ 2597541 h 6858000"/>
              <a:gd name="connsiteX671" fmla="*/ 2152729 w 7467600"/>
              <a:gd name="connsiteY671" fmla="*/ 2864487 h 6858000"/>
              <a:gd name="connsiteX672" fmla="*/ 2020609 w 7467600"/>
              <a:gd name="connsiteY672" fmla="*/ 2539671 h 6858000"/>
              <a:gd name="connsiteX673" fmla="*/ 2018920 w 7467600"/>
              <a:gd name="connsiteY673" fmla="*/ 2536309 h 6858000"/>
              <a:gd name="connsiteX674" fmla="*/ 1342441 w 7467600"/>
              <a:gd name="connsiteY674" fmla="*/ 1173017 h 6858000"/>
              <a:gd name="connsiteX675" fmla="*/ 1367925 w 7467600"/>
              <a:gd name="connsiteY675" fmla="*/ 1135648 h 6858000"/>
              <a:gd name="connsiteX676" fmla="*/ 1771401 w 7467600"/>
              <a:gd name="connsiteY676" fmla="*/ 1806673 h 6858000"/>
              <a:gd name="connsiteX677" fmla="*/ 1972385 w 7467600"/>
              <a:gd name="connsiteY677" fmla="*/ 2198735 h 6858000"/>
              <a:gd name="connsiteX678" fmla="*/ 2040892 w 7467600"/>
              <a:gd name="connsiteY678" fmla="*/ 2405205 h 6858000"/>
              <a:gd name="connsiteX679" fmla="*/ 2131689 w 7467600"/>
              <a:gd name="connsiteY679" fmla="*/ 1936926 h 6858000"/>
              <a:gd name="connsiteX680" fmla="*/ 2454820 w 7467600"/>
              <a:gd name="connsiteY680" fmla="*/ 1248808 h 6858000"/>
              <a:gd name="connsiteX681" fmla="*/ 2492512 w 7467600"/>
              <a:gd name="connsiteY681" fmla="*/ 1302920 h 6858000"/>
              <a:gd name="connsiteX682" fmla="*/ 2081216 w 7467600"/>
              <a:gd name="connsiteY682" fmla="*/ 2527513 h 6858000"/>
              <a:gd name="connsiteX683" fmla="*/ 2081211 w 7467600"/>
              <a:gd name="connsiteY683" fmla="*/ 2528916 h 6858000"/>
              <a:gd name="connsiteX684" fmla="*/ 2199067 w 7467600"/>
              <a:gd name="connsiteY684" fmla="*/ 2884061 h 6858000"/>
              <a:gd name="connsiteX685" fmla="*/ 3192586 w 7467600"/>
              <a:gd name="connsiteY685" fmla="*/ 3411496 h 6858000"/>
              <a:gd name="connsiteX686" fmla="*/ 3182620 w 7467600"/>
              <a:gd name="connsiteY686" fmla="*/ 3483279 h 6858000"/>
              <a:gd name="connsiteX687" fmla="*/ 2435119 w 7467600"/>
              <a:gd name="connsiteY687" fmla="*/ 3080173 h 6858000"/>
              <a:gd name="connsiteX688" fmla="*/ 2410152 w 7467600"/>
              <a:gd name="connsiteY688" fmla="*/ 3063751 h 6858000"/>
              <a:gd name="connsiteX689" fmla="*/ 2408099 w 7467600"/>
              <a:gd name="connsiteY689" fmla="*/ 3064403 h 6858000"/>
              <a:gd name="connsiteX690" fmla="*/ 2407218 w 7467600"/>
              <a:gd name="connsiteY690" fmla="*/ 3070324 h 6858000"/>
              <a:gd name="connsiteX691" fmla="*/ 2380138 w 7467600"/>
              <a:gd name="connsiteY691" fmla="*/ 3099341 h 6858000"/>
              <a:gd name="connsiteX692" fmla="*/ 1765923 w 7467600"/>
              <a:gd name="connsiteY692" fmla="*/ 3581043 h 6858000"/>
              <a:gd name="connsiteX693" fmla="*/ 1702258 w 7467600"/>
              <a:gd name="connsiteY693" fmla="*/ 3612286 h 6858000"/>
              <a:gd name="connsiteX694" fmla="*/ 1538370 w 7467600"/>
              <a:gd name="connsiteY694" fmla="*/ 3811804 h 6858000"/>
              <a:gd name="connsiteX695" fmla="*/ 542867 w 7467600"/>
              <a:gd name="connsiteY695" fmla="*/ 4944092 h 6858000"/>
              <a:gd name="connsiteX696" fmla="*/ 515800 w 7467600"/>
              <a:gd name="connsiteY696" fmla="*/ 4862180 h 6858000"/>
              <a:gd name="connsiteX697" fmla="*/ 909145 w 7467600"/>
              <a:gd name="connsiteY697" fmla="*/ 4199225 h 6858000"/>
              <a:gd name="connsiteX698" fmla="*/ 1214067 w 7467600"/>
              <a:gd name="connsiteY698" fmla="*/ 3908561 h 6858000"/>
              <a:gd name="connsiteX699" fmla="*/ 640967 w 7467600"/>
              <a:gd name="connsiteY699" fmla="*/ 4105601 h 6858000"/>
              <a:gd name="connsiteX700" fmla="*/ 112563 w 7467600"/>
              <a:gd name="connsiteY700" fmla="*/ 4396952 h 6858000"/>
              <a:gd name="connsiteX701" fmla="*/ 0 w 7467600"/>
              <a:gd name="connsiteY701" fmla="*/ 4466006 h 6858000"/>
              <a:gd name="connsiteX702" fmla="*/ 0 w 7467600"/>
              <a:gd name="connsiteY702" fmla="*/ 4233763 h 6858000"/>
              <a:gd name="connsiteX703" fmla="*/ 36881 w 7467600"/>
              <a:gd name="connsiteY703" fmla="*/ 4200118 h 6858000"/>
              <a:gd name="connsiteX704" fmla="*/ 910534 w 7467600"/>
              <a:gd name="connsiteY704" fmla="*/ 3629753 h 6858000"/>
              <a:gd name="connsiteX705" fmla="*/ 1578717 w 7467600"/>
              <a:gd name="connsiteY705" fmla="*/ 3575982 h 6858000"/>
              <a:gd name="connsiteX706" fmla="*/ 2338780 w 7467600"/>
              <a:gd name="connsiteY706" fmla="*/ 3033725 h 6858000"/>
              <a:gd name="connsiteX707" fmla="*/ 1807991 w 7467600"/>
              <a:gd name="connsiteY707" fmla="*/ 2807184 h 6858000"/>
              <a:gd name="connsiteX708" fmla="*/ 1416358 w 7467600"/>
              <a:gd name="connsiteY708" fmla="*/ 3112571 h 6858000"/>
              <a:gd name="connsiteX709" fmla="*/ 939066 w 7467600"/>
              <a:gd name="connsiteY709" fmla="*/ 3378798 h 6858000"/>
              <a:gd name="connsiteX710" fmla="*/ 115099 w 7467600"/>
              <a:gd name="connsiteY710" fmla="*/ 3607650 h 6858000"/>
              <a:gd name="connsiteX711" fmla="*/ 97284 w 7467600"/>
              <a:gd name="connsiteY711" fmla="*/ 3520393 h 6858000"/>
              <a:gd name="connsiteX712" fmla="*/ 922050 w 7467600"/>
              <a:gd name="connsiteY712" fmla="*/ 3074867 h 6858000"/>
              <a:gd name="connsiteX713" fmla="*/ 1405265 w 7467600"/>
              <a:gd name="connsiteY713" fmla="*/ 3016319 h 6858000"/>
              <a:gd name="connsiteX714" fmla="*/ 1407512 w 7467600"/>
              <a:gd name="connsiteY714" fmla="*/ 3018001 h 6858000"/>
              <a:gd name="connsiteX715" fmla="*/ 1726266 w 7467600"/>
              <a:gd name="connsiteY715" fmla="*/ 2777274 h 6858000"/>
              <a:gd name="connsiteX716" fmla="*/ 625390 w 7467600"/>
              <a:gd name="connsiteY716" fmla="*/ 2514541 h 6858000"/>
              <a:gd name="connsiteX717" fmla="*/ 619799 w 7467600"/>
              <a:gd name="connsiteY717" fmla="*/ 2527180 h 6858000"/>
              <a:gd name="connsiteX718" fmla="*/ 310030 w 7467600"/>
              <a:gd name="connsiteY718" fmla="*/ 2771818 h 6858000"/>
              <a:gd name="connsiteX719" fmla="*/ 173877 w 7467600"/>
              <a:gd name="connsiteY719" fmla="*/ 2937056 h 6858000"/>
              <a:gd name="connsiteX720" fmla="*/ 77889 w 7467600"/>
              <a:gd name="connsiteY720" fmla="*/ 3138440 h 6858000"/>
              <a:gd name="connsiteX721" fmla="*/ 0 w 7467600"/>
              <a:gd name="connsiteY721" fmla="*/ 3271395 h 6858000"/>
              <a:gd name="connsiteX722" fmla="*/ 0 w 7467600"/>
              <a:gd name="connsiteY722" fmla="*/ 3153002 h 6858000"/>
              <a:gd name="connsiteX723" fmla="*/ 2386 w 7467600"/>
              <a:gd name="connsiteY723" fmla="*/ 3149203 h 6858000"/>
              <a:gd name="connsiteX724" fmla="*/ 89753 w 7467600"/>
              <a:gd name="connsiteY724" fmla="*/ 2987702 h 6858000"/>
              <a:gd name="connsiteX725" fmla="*/ 76869 w 7467600"/>
              <a:gd name="connsiteY725" fmla="*/ 3005404 h 6858000"/>
              <a:gd name="connsiteX726" fmla="*/ 32049 w 7467600"/>
              <a:gd name="connsiteY726" fmla="*/ 3065814 h 6858000"/>
              <a:gd name="connsiteX727" fmla="*/ 0 w 7467600"/>
              <a:gd name="connsiteY727" fmla="*/ 3108744 h 6858000"/>
              <a:gd name="connsiteX728" fmla="*/ 0 w 7467600"/>
              <a:gd name="connsiteY728" fmla="*/ 3058059 h 6858000"/>
              <a:gd name="connsiteX729" fmla="*/ 7610 w 7467600"/>
              <a:gd name="connsiteY729" fmla="*/ 3047889 h 6858000"/>
              <a:gd name="connsiteX730" fmla="*/ 52419 w 7467600"/>
              <a:gd name="connsiteY730" fmla="*/ 2987479 h 6858000"/>
              <a:gd name="connsiteX731" fmla="*/ 59142 w 7467600"/>
              <a:gd name="connsiteY731" fmla="*/ 2978488 h 6858000"/>
              <a:gd name="connsiteX732" fmla="*/ 0 w 7467600"/>
              <a:gd name="connsiteY732" fmla="*/ 3015334 h 6858000"/>
              <a:gd name="connsiteX733" fmla="*/ 0 w 7467600"/>
              <a:gd name="connsiteY733" fmla="*/ 2914286 h 6858000"/>
              <a:gd name="connsiteX734" fmla="*/ 36383 w 7467600"/>
              <a:gd name="connsiteY734" fmla="*/ 2901128 h 6858000"/>
              <a:gd name="connsiteX735" fmla="*/ 156329 w 7467600"/>
              <a:gd name="connsiteY735" fmla="*/ 2840533 h 6858000"/>
              <a:gd name="connsiteX736" fmla="*/ 358355 w 7467600"/>
              <a:gd name="connsiteY736" fmla="*/ 2620471 h 6858000"/>
              <a:gd name="connsiteX737" fmla="*/ 510577 w 7467600"/>
              <a:gd name="connsiteY737" fmla="*/ 2501244 h 6858000"/>
              <a:gd name="connsiteX738" fmla="*/ 211967 w 7467600"/>
              <a:gd name="connsiteY738" fmla="*/ 2479171 h 6858000"/>
              <a:gd name="connsiteX739" fmla="*/ 0 w 7467600"/>
              <a:gd name="connsiteY739" fmla="*/ 2476398 h 6858000"/>
              <a:gd name="connsiteX740" fmla="*/ 0 w 7467600"/>
              <a:gd name="connsiteY740" fmla="*/ 2389189 h 6858000"/>
              <a:gd name="connsiteX741" fmla="*/ 103062 w 7467600"/>
              <a:gd name="connsiteY741" fmla="*/ 2389518 h 6858000"/>
              <a:gd name="connsiteX742" fmla="*/ 510734 w 7467600"/>
              <a:gd name="connsiteY742" fmla="*/ 2416201 h 6858000"/>
              <a:gd name="connsiteX743" fmla="*/ 279257 w 7467600"/>
              <a:gd name="connsiteY743" fmla="*/ 2092102 h 6858000"/>
              <a:gd name="connsiteX744" fmla="*/ 65265 w 7467600"/>
              <a:gd name="connsiteY744" fmla="*/ 2006049 h 6858000"/>
              <a:gd name="connsiteX745" fmla="*/ 0 w 7467600"/>
              <a:gd name="connsiteY745" fmla="*/ 1982532 h 6858000"/>
              <a:gd name="connsiteX746" fmla="*/ 0 w 7467600"/>
              <a:gd name="connsiteY746" fmla="*/ 1912789 h 6858000"/>
              <a:gd name="connsiteX747" fmla="*/ 97460 w 7467600"/>
              <a:gd name="connsiteY747" fmla="*/ 1953725 h 6858000"/>
              <a:gd name="connsiteX748" fmla="*/ 221272 w 7467600"/>
              <a:gd name="connsiteY748" fmla="*/ 1980766 h 6858000"/>
              <a:gd name="connsiteX749" fmla="*/ 116765 w 7467600"/>
              <a:gd name="connsiteY749" fmla="*/ 1911033 h 6858000"/>
              <a:gd name="connsiteX750" fmla="*/ 16405 w 7467600"/>
              <a:gd name="connsiteY750" fmla="*/ 1803412 h 6858000"/>
              <a:gd name="connsiteX751" fmla="*/ 0 w 7467600"/>
              <a:gd name="connsiteY751" fmla="*/ 1784777 h 6858000"/>
              <a:gd name="connsiteX752" fmla="*/ 0 w 7467600"/>
              <a:gd name="connsiteY752" fmla="*/ 1740082 h 6858000"/>
              <a:gd name="connsiteX753" fmla="*/ 39394 w 7467600"/>
              <a:gd name="connsiteY753" fmla="*/ 1784856 h 6858000"/>
              <a:gd name="connsiteX754" fmla="*/ 135813 w 7467600"/>
              <a:gd name="connsiteY754" fmla="*/ 1888838 h 6858000"/>
              <a:gd name="connsiteX755" fmla="*/ 242575 w 7467600"/>
              <a:gd name="connsiteY755" fmla="*/ 1958841 h 6858000"/>
              <a:gd name="connsiteX756" fmla="*/ 82197 w 7467600"/>
              <a:gd name="connsiteY756" fmla="*/ 1754826 h 6858000"/>
              <a:gd name="connsiteX757" fmla="*/ 0 w 7467600"/>
              <a:gd name="connsiteY757" fmla="*/ 1679650 h 6858000"/>
              <a:gd name="connsiteX758" fmla="*/ 0 w 7467600"/>
              <a:gd name="connsiteY758" fmla="*/ 1602463 h 6858000"/>
              <a:gd name="connsiteX759" fmla="*/ 84689 w 7467600"/>
              <a:gd name="connsiteY759" fmla="*/ 1677442 h 6858000"/>
              <a:gd name="connsiteX760" fmla="*/ 298437 w 7467600"/>
              <a:gd name="connsiteY760" fmla="*/ 1968019 h 6858000"/>
              <a:gd name="connsiteX761" fmla="*/ 227269 w 7467600"/>
              <a:gd name="connsiteY761" fmla="*/ 1114064 h 6858000"/>
              <a:gd name="connsiteX762" fmla="*/ 248003 w 7467600"/>
              <a:gd name="connsiteY762" fmla="*/ 1089613 h 6858000"/>
              <a:gd name="connsiteX763" fmla="*/ 427020 w 7467600"/>
              <a:gd name="connsiteY763" fmla="*/ 1619803 h 6858000"/>
              <a:gd name="connsiteX764" fmla="*/ 340345 w 7467600"/>
              <a:gd name="connsiteY764" fmla="*/ 2027739 h 6858000"/>
              <a:gd name="connsiteX765" fmla="*/ 360865 w 7467600"/>
              <a:gd name="connsiteY765" fmla="*/ 2044827 h 6858000"/>
              <a:gd name="connsiteX766" fmla="*/ 560414 w 7467600"/>
              <a:gd name="connsiteY766" fmla="*/ 2421457 h 6858000"/>
              <a:gd name="connsiteX767" fmla="*/ 1359703 w 7467600"/>
              <a:gd name="connsiteY767" fmla="*/ 2578554 h 6858000"/>
              <a:gd name="connsiteX768" fmla="*/ 1359422 w 7467600"/>
              <a:gd name="connsiteY768" fmla="*/ 2577994 h 6858000"/>
              <a:gd name="connsiteX769" fmla="*/ 828701 w 7467600"/>
              <a:gd name="connsiteY769" fmla="*/ 1839520 h 6858000"/>
              <a:gd name="connsiteX770" fmla="*/ 494427 w 7467600"/>
              <a:gd name="connsiteY770" fmla="*/ 1092333 h 6858000"/>
              <a:gd name="connsiteX771" fmla="*/ 506322 w 7467600"/>
              <a:gd name="connsiteY771" fmla="*/ 1020997 h 6858000"/>
              <a:gd name="connsiteX772" fmla="*/ 4570198 w 7467600"/>
              <a:gd name="connsiteY772" fmla="*/ 978081 h 6858000"/>
              <a:gd name="connsiteX773" fmla="*/ 4523691 w 7467600"/>
              <a:gd name="connsiteY773" fmla="*/ 1127776 h 6858000"/>
              <a:gd name="connsiteX774" fmla="*/ 4509875 w 7467600"/>
              <a:gd name="connsiteY774" fmla="*/ 1167552 h 6858000"/>
              <a:gd name="connsiteX775" fmla="*/ 4478168 w 7467600"/>
              <a:gd name="connsiteY775" fmla="*/ 1260735 h 6858000"/>
              <a:gd name="connsiteX776" fmla="*/ 4409309 w 7467600"/>
              <a:gd name="connsiteY776" fmla="*/ 1666996 h 6858000"/>
              <a:gd name="connsiteX777" fmla="*/ 4370031 w 7467600"/>
              <a:gd name="connsiteY777" fmla="*/ 1955666 h 6858000"/>
              <a:gd name="connsiteX778" fmla="*/ 4570198 w 7467600"/>
              <a:gd name="connsiteY778" fmla="*/ 978081 h 6858000"/>
              <a:gd name="connsiteX779" fmla="*/ 4557898 w 7467600"/>
              <a:gd name="connsiteY779" fmla="*/ 900011 h 6858000"/>
              <a:gd name="connsiteX780" fmla="*/ 4344840 w 7467600"/>
              <a:gd name="connsiteY780" fmla="*/ 1922038 h 6858000"/>
              <a:gd name="connsiteX781" fmla="*/ 4378710 w 7467600"/>
              <a:gd name="connsiteY781" fmla="*/ 1665516 h 6858000"/>
              <a:gd name="connsiteX782" fmla="*/ 4448798 w 7467600"/>
              <a:gd name="connsiteY782" fmla="*/ 1253024 h 6858000"/>
              <a:gd name="connsiteX783" fmla="*/ 4480315 w 7467600"/>
              <a:gd name="connsiteY783" fmla="*/ 1158454 h 6858000"/>
              <a:gd name="connsiteX784" fmla="*/ 4494133 w 7467600"/>
              <a:gd name="connsiteY784" fmla="*/ 1118676 h 6858000"/>
              <a:gd name="connsiteX785" fmla="*/ 4557898 w 7467600"/>
              <a:gd name="connsiteY785" fmla="*/ 900011 h 6858000"/>
              <a:gd name="connsiteX786" fmla="*/ 5870151 w 7467600"/>
              <a:gd name="connsiteY786" fmla="*/ 898890 h 6858000"/>
              <a:gd name="connsiteX787" fmla="*/ 5861335 w 7467600"/>
              <a:gd name="connsiteY787" fmla="*/ 899177 h 6858000"/>
              <a:gd name="connsiteX788" fmla="*/ 5843702 w 7467600"/>
              <a:gd name="connsiteY788" fmla="*/ 899748 h 6858000"/>
              <a:gd name="connsiteX789" fmla="*/ 5651107 w 7467600"/>
              <a:gd name="connsiteY789" fmla="*/ 920306 h 6858000"/>
              <a:gd name="connsiteX790" fmla="*/ 5459407 w 7467600"/>
              <a:gd name="connsiteY790" fmla="*/ 940975 h 6858000"/>
              <a:gd name="connsiteX791" fmla="*/ 5374846 w 7467600"/>
              <a:gd name="connsiteY791" fmla="*/ 941988 h 6858000"/>
              <a:gd name="connsiteX792" fmla="*/ 5256105 w 7467600"/>
              <a:gd name="connsiteY792" fmla="*/ 945632 h 6858000"/>
              <a:gd name="connsiteX793" fmla="*/ 5107071 w 7467600"/>
              <a:gd name="connsiteY793" fmla="*/ 969720 h 6858000"/>
              <a:gd name="connsiteX794" fmla="*/ 4998681 w 7467600"/>
              <a:gd name="connsiteY794" fmla="*/ 988771 h 6858000"/>
              <a:gd name="connsiteX795" fmla="*/ 5870151 w 7467600"/>
              <a:gd name="connsiteY795" fmla="*/ 898890 h 6858000"/>
              <a:gd name="connsiteX796" fmla="*/ 5504425 w 7467600"/>
              <a:gd name="connsiteY796" fmla="*/ 848067 h 6858000"/>
              <a:gd name="connsiteX797" fmla="*/ 4968849 w 7467600"/>
              <a:gd name="connsiteY797" fmla="*/ 962318 h 6858000"/>
              <a:gd name="connsiteX798" fmla="*/ 5104039 w 7467600"/>
              <a:gd name="connsiteY798" fmla="*/ 940634 h 6858000"/>
              <a:gd name="connsiteX799" fmla="*/ 5256311 w 7467600"/>
              <a:gd name="connsiteY799" fmla="*/ 916490 h 6858000"/>
              <a:gd name="connsiteX800" fmla="*/ 5377381 w 7467600"/>
              <a:gd name="connsiteY800" fmla="*/ 912671 h 6858000"/>
              <a:gd name="connsiteX801" fmla="*/ 5460148 w 7467600"/>
              <a:gd name="connsiteY801" fmla="*/ 911442 h 6858000"/>
              <a:gd name="connsiteX802" fmla="*/ 5648971 w 7467600"/>
              <a:gd name="connsiteY802" fmla="*/ 891331 h 6858000"/>
              <a:gd name="connsiteX803" fmla="*/ 5844807 w 7467600"/>
              <a:gd name="connsiteY803" fmla="*/ 870718 h 6858000"/>
              <a:gd name="connsiteX804" fmla="*/ 5862975 w 7467600"/>
              <a:gd name="connsiteY804" fmla="*/ 869756 h 6858000"/>
              <a:gd name="connsiteX805" fmla="*/ 5920887 w 7467600"/>
              <a:gd name="connsiteY805" fmla="*/ 865929 h 6858000"/>
              <a:gd name="connsiteX806" fmla="*/ 5504425 w 7467600"/>
              <a:gd name="connsiteY806" fmla="*/ 848067 h 6858000"/>
              <a:gd name="connsiteX807" fmla="*/ 3607114 w 7467600"/>
              <a:gd name="connsiteY807" fmla="*/ 467441 h 6858000"/>
              <a:gd name="connsiteX808" fmla="*/ 3296242 w 7467600"/>
              <a:gd name="connsiteY808" fmla="*/ 807991 h 6858000"/>
              <a:gd name="connsiteX809" fmla="*/ 3174674 w 7467600"/>
              <a:gd name="connsiteY809" fmla="*/ 919759 h 6858000"/>
              <a:gd name="connsiteX810" fmla="*/ 3042978 w 7467600"/>
              <a:gd name="connsiteY810" fmla="*/ 1054894 h 6858000"/>
              <a:gd name="connsiteX811" fmla="*/ 2968914 w 7467600"/>
              <a:gd name="connsiteY811" fmla="*/ 1133756 h 6858000"/>
              <a:gd name="connsiteX812" fmla="*/ 3103823 w 7467600"/>
              <a:gd name="connsiteY812" fmla="*/ 1026814 h 6858000"/>
              <a:gd name="connsiteX813" fmla="*/ 3607114 w 7467600"/>
              <a:gd name="connsiteY813" fmla="*/ 467441 h 6858000"/>
              <a:gd name="connsiteX814" fmla="*/ 3744487 w 7467600"/>
              <a:gd name="connsiteY814" fmla="*/ 383136 h 6858000"/>
              <a:gd name="connsiteX815" fmla="*/ 3970213 w 7467600"/>
              <a:gd name="connsiteY815" fmla="*/ 995559 h 6858000"/>
              <a:gd name="connsiteX816" fmla="*/ 3744487 w 7467600"/>
              <a:gd name="connsiteY816" fmla="*/ 383136 h 6858000"/>
              <a:gd name="connsiteX817" fmla="*/ 3624562 w 7467600"/>
              <a:gd name="connsiteY817" fmla="*/ 367041 h 6858000"/>
              <a:gd name="connsiteX818" fmla="*/ 3489712 w 7467600"/>
              <a:gd name="connsiteY818" fmla="*/ 485386 h 6858000"/>
              <a:gd name="connsiteX819" fmla="*/ 3182994 w 7467600"/>
              <a:gd name="connsiteY819" fmla="*/ 828265 h 6858000"/>
              <a:gd name="connsiteX820" fmla="*/ 2892114 w 7467600"/>
              <a:gd name="connsiteY820" fmla="*/ 1172635 h 6858000"/>
              <a:gd name="connsiteX821" fmla="*/ 3021459 w 7467600"/>
              <a:gd name="connsiteY821" fmla="*/ 1035385 h 6858000"/>
              <a:gd name="connsiteX822" fmla="*/ 3153873 w 7467600"/>
              <a:gd name="connsiteY822" fmla="*/ 898971 h 6858000"/>
              <a:gd name="connsiteX823" fmla="*/ 3276511 w 7467600"/>
              <a:gd name="connsiteY823" fmla="*/ 786423 h 6858000"/>
              <a:gd name="connsiteX824" fmla="*/ 3584154 w 7467600"/>
              <a:gd name="connsiteY824" fmla="*/ 448218 h 6858000"/>
              <a:gd name="connsiteX825" fmla="*/ 3624562 w 7467600"/>
              <a:gd name="connsiteY825" fmla="*/ 367041 h 6858000"/>
              <a:gd name="connsiteX826" fmla="*/ 3766672 w 7467600"/>
              <a:gd name="connsiteY826" fmla="*/ 359429 h 6858000"/>
              <a:gd name="connsiteX827" fmla="*/ 3996338 w 7467600"/>
              <a:gd name="connsiteY827" fmla="*/ 968237 h 6858000"/>
              <a:gd name="connsiteX828" fmla="*/ 3766672 w 7467600"/>
              <a:gd name="connsiteY828" fmla="*/ 359429 h 6858000"/>
              <a:gd name="connsiteX829" fmla="*/ 5805386 w 7467600"/>
              <a:gd name="connsiteY829" fmla="*/ 239240 h 6858000"/>
              <a:gd name="connsiteX830" fmla="*/ 5736947 w 7467600"/>
              <a:gd name="connsiteY830" fmla="*/ 261367 h 6858000"/>
              <a:gd name="connsiteX831" fmla="*/ 5427012 w 7467600"/>
              <a:gd name="connsiteY831" fmla="*/ 311272 h 6858000"/>
              <a:gd name="connsiteX832" fmla="*/ 5147818 w 7467600"/>
              <a:gd name="connsiteY832" fmla="*/ 322112 h 6858000"/>
              <a:gd name="connsiteX833" fmla="*/ 5060854 w 7467600"/>
              <a:gd name="connsiteY833" fmla="*/ 311882 h 6858000"/>
              <a:gd name="connsiteX834" fmla="*/ 4945989 w 7467600"/>
              <a:gd name="connsiteY834" fmla="*/ 300516 h 6858000"/>
              <a:gd name="connsiteX835" fmla="*/ 5410479 w 7467600"/>
              <a:gd name="connsiteY835" fmla="*/ 348434 h 6858000"/>
              <a:gd name="connsiteX836" fmla="*/ 5805386 w 7467600"/>
              <a:gd name="connsiteY836" fmla="*/ 239240 h 6858000"/>
              <a:gd name="connsiteX837" fmla="*/ 5905192 w 7467600"/>
              <a:gd name="connsiteY837" fmla="*/ 163079 h 6858000"/>
              <a:gd name="connsiteX838" fmla="*/ 5865655 w 7467600"/>
              <a:gd name="connsiteY838" fmla="*/ 171901 h 6858000"/>
              <a:gd name="connsiteX839" fmla="*/ 5259740 w 7467600"/>
              <a:gd name="connsiteY839" fmla="*/ 257013 h 6858000"/>
              <a:gd name="connsiteX840" fmla="*/ 5208466 w 7467600"/>
              <a:gd name="connsiteY840" fmla="*/ 257550 h 6858000"/>
              <a:gd name="connsiteX841" fmla="*/ 4980204 w 7467600"/>
              <a:gd name="connsiteY841" fmla="*/ 271903 h 6858000"/>
              <a:gd name="connsiteX842" fmla="*/ 5068068 w 7467600"/>
              <a:gd name="connsiteY842" fmla="*/ 282244 h 6858000"/>
              <a:gd name="connsiteX843" fmla="*/ 5153231 w 7467600"/>
              <a:gd name="connsiteY843" fmla="*/ 292240 h 6858000"/>
              <a:gd name="connsiteX844" fmla="*/ 5426491 w 7467600"/>
              <a:gd name="connsiteY844" fmla="*/ 281128 h 6858000"/>
              <a:gd name="connsiteX845" fmla="*/ 5731212 w 7467600"/>
              <a:gd name="connsiteY845" fmla="*/ 231951 h 6858000"/>
              <a:gd name="connsiteX846" fmla="*/ 5905192 w 7467600"/>
              <a:gd name="connsiteY846" fmla="*/ 163079 h 6858000"/>
              <a:gd name="connsiteX847" fmla="*/ 5944437 w 7467600"/>
              <a:gd name="connsiteY847" fmla="*/ 113829 h 6858000"/>
              <a:gd name="connsiteX848" fmla="*/ 5825032 w 7467600"/>
              <a:gd name="connsiteY848" fmla="*/ 146405 h 6858000"/>
              <a:gd name="connsiteX849" fmla="*/ 4955599 w 7467600"/>
              <a:gd name="connsiteY849" fmla="*/ 247008 h 6858000"/>
              <a:gd name="connsiteX850" fmla="*/ 5210104 w 7467600"/>
              <a:gd name="connsiteY850" fmla="*/ 228123 h 6858000"/>
              <a:gd name="connsiteX851" fmla="*/ 5261015 w 7467600"/>
              <a:gd name="connsiteY851" fmla="*/ 227087 h 6858000"/>
              <a:gd name="connsiteX852" fmla="*/ 5861181 w 7467600"/>
              <a:gd name="connsiteY852" fmla="*/ 143093 h 6858000"/>
              <a:gd name="connsiteX853" fmla="*/ 5961252 w 7467600"/>
              <a:gd name="connsiteY853" fmla="*/ 114820 h 6858000"/>
              <a:gd name="connsiteX854" fmla="*/ 5944437 w 7467600"/>
              <a:gd name="connsiteY854" fmla="*/ 113829 h 6858000"/>
              <a:gd name="connsiteX855" fmla="*/ 3882765 w 7467600"/>
              <a:gd name="connsiteY855" fmla="*/ 0 h 6858000"/>
              <a:gd name="connsiteX856" fmla="*/ 3995099 w 7467600"/>
              <a:gd name="connsiteY856" fmla="*/ 0 h 6858000"/>
              <a:gd name="connsiteX857" fmla="*/ 4163818 w 7467600"/>
              <a:gd name="connsiteY857" fmla="*/ 234104 h 6858000"/>
              <a:gd name="connsiteX858" fmla="*/ 4172099 w 7467600"/>
              <a:gd name="connsiteY858" fmla="*/ 234207 h 6858000"/>
              <a:gd name="connsiteX859" fmla="*/ 4784282 w 7467600"/>
              <a:gd name="connsiteY859" fmla="*/ 276561 h 6858000"/>
              <a:gd name="connsiteX860" fmla="*/ 4801687 w 7467600"/>
              <a:gd name="connsiteY860" fmla="*/ 267764 h 6858000"/>
              <a:gd name="connsiteX861" fmla="*/ 6082788 w 7467600"/>
              <a:gd name="connsiteY861" fmla="*/ 64119 h 6858000"/>
              <a:gd name="connsiteX862" fmla="*/ 6099442 w 7467600"/>
              <a:gd name="connsiteY862" fmla="*/ 82568 h 6858000"/>
              <a:gd name="connsiteX863" fmla="*/ 4804137 w 7467600"/>
              <a:gd name="connsiteY863" fmla="*/ 320931 h 6858000"/>
              <a:gd name="connsiteX864" fmla="*/ 4227047 w 7467600"/>
              <a:gd name="connsiteY864" fmla="*/ 313415 h 6858000"/>
              <a:gd name="connsiteX865" fmla="*/ 4346041 w 7467600"/>
              <a:gd name="connsiteY865" fmla="*/ 456086 h 6858000"/>
              <a:gd name="connsiteX866" fmla="*/ 4870967 w 7467600"/>
              <a:gd name="connsiteY866" fmla="*/ 963061 h 6858000"/>
              <a:gd name="connsiteX867" fmla="*/ 4889647 w 7467600"/>
              <a:gd name="connsiteY867" fmla="*/ 957147 h 6858000"/>
              <a:gd name="connsiteX868" fmla="*/ 5422504 w 7467600"/>
              <a:gd name="connsiteY868" fmla="*/ 805191 h 6858000"/>
              <a:gd name="connsiteX869" fmla="*/ 6087656 w 7467600"/>
              <a:gd name="connsiteY869" fmla="*/ 826703 h 6858000"/>
              <a:gd name="connsiteX870" fmla="*/ 6058717 w 7467600"/>
              <a:gd name="connsiteY870" fmla="*/ 865992 h 6858000"/>
              <a:gd name="connsiteX871" fmla="*/ 4974153 w 7467600"/>
              <a:gd name="connsiteY871" fmla="*/ 1045456 h 6858000"/>
              <a:gd name="connsiteX872" fmla="*/ 5627835 w 7467600"/>
              <a:gd name="connsiteY872" fmla="*/ 1472077 h 6858000"/>
              <a:gd name="connsiteX873" fmla="*/ 5629817 w 7467600"/>
              <a:gd name="connsiteY873" fmla="*/ 1471412 h 6858000"/>
              <a:gd name="connsiteX874" fmla="*/ 5634124 w 7467600"/>
              <a:gd name="connsiteY874" fmla="*/ 1470572 h 6858000"/>
              <a:gd name="connsiteX875" fmla="*/ 5755832 w 7467600"/>
              <a:gd name="connsiteY875" fmla="*/ 1383886 h 6858000"/>
              <a:gd name="connsiteX876" fmla="*/ 6014186 w 7467600"/>
              <a:gd name="connsiteY876" fmla="*/ 1279799 h 6858000"/>
              <a:gd name="connsiteX877" fmla="*/ 6901619 w 7467600"/>
              <a:gd name="connsiteY877" fmla="*/ 1047874 h 6858000"/>
              <a:gd name="connsiteX878" fmla="*/ 6931566 w 7467600"/>
              <a:gd name="connsiteY878" fmla="*/ 1062034 h 6858000"/>
              <a:gd name="connsiteX879" fmla="*/ 5790982 w 7467600"/>
              <a:gd name="connsiteY879" fmla="*/ 1561380 h 6858000"/>
              <a:gd name="connsiteX880" fmla="*/ 6188971 w 7467600"/>
              <a:gd name="connsiteY880" fmla="*/ 1755168 h 6858000"/>
              <a:gd name="connsiteX881" fmla="*/ 6202446 w 7467600"/>
              <a:gd name="connsiteY881" fmla="*/ 1752268 h 6858000"/>
              <a:gd name="connsiteX882" fmla="*/ 7179560 w 7467600"/>
              <a:gd name="connsiteY882" fmla="*/ 1467551 h 6858000"/>
              <a:gd name="connsiteX883" fmla="*/ 7158730 w 7467600"/>
              <a:gd name="connsiteY883" fmla="*/ 1507835 h 6858000"/>
              <a:gd name="connsiteX884" fmla="*/ 6326959 w 7467600"/>
              <a:gd name="connsiteY884" fmla="*/ 1817686 h 6858000"/>
              <a:gd name="connsiteX885" fmla="*/ 6537433 w 7467600"/>
              <a:gd name="connsiteY885" fmla="*/ 1907790 h 6858000"/>
              <a:gd name="connsiteX886" fmla="*/ 6550221 w 7467600"/>
              <a:gd name="connsiteY886" fmla="*/ 1910729 h 6858000"/>
              <a:gd name="connsiteX887" fmla="*/ 6964438 w 7467600"/>
              <a:gd name="connsiteY887" fmla="*/ 2209505 h 6858000"/>
              <a:gd name="connsiteX888" fmla="*/ 7367862 w 7467600"/>
              <a:gd name="connsiteY888" fmla="*/ 2806833 h 6858000"/>
              <a:gd name="connsiteX889" fmla="*/ 7364329 w 7467600"/>
              <a:gd name="connsiteY889" fmla="*/ 2826907 h 6858000"/>
              <a:gd name="connsiteX890" fmla="*/ 7290545 w 7467600"/>
              <a:gd name="connsiteY890" fmla="*/ 2850663 h 6858000"/>
              <a:gd name="connsiteX891" fmla="*/ 6472036 w 7467600"/>
              <a:gd name="connsiteY891" fmla="*/ 1959003 h 6858000"/>
              <a:gd name="connsiteX892" fmla="*/ 5792897 w 7467600"/>
              <a:gd name="connsiteY892" fmla="*/ 1647747 h 6858000"/>
              <a:gd name="connsiteX893" fmla="*/ 5842751 w 7467600"/>
              <a:gd name="connsiteY893" fmla="*/ 1816112 h 6858000"/>
              <a:gd name="connsiteX894" fmla="*/ 5847424 w 7467600"/>
              <a:gd name="connsiteY894" fmla="*/ 1815776 h 6858000"/>
              <a:gd name="connsiteX895" fmla="*/ 6399821 w 7467600"/>
              <a:gd name="connsiteY895" fmla="*/ 2344799 h 6858000"/>
              <a:gd name="connsiteX896" fmla="*/ 6323232 w 7467600"/>
              <a:gd name="connsiteY896" fmla="*/ 2389634 h 6858000"/>
              <a:gd name="connsiteX897" fmla="*/ 5942958 w 7467600"/>
              <a:gd name="connsiteY897" fmla="*/ 2077708 h 6858000"/>
              <a:gd name="connsiteX898" fmla="*/ 5921559 w 7467600"/>
              <a:gd name="connsiteY898" fmla="*/ 2378596 h 6858000"/>
              <a:gd name="connsiteX899" fmla="*/ 5817651 w 7467600"/>
              <a:gd name="connsiteY899" fmla="*/ 3023919 h 6858000"/>
              <a:gd name="connsiteX900" fmla="*/ 5729634 w 7467600"/>
              <a:gd name="connsiteY900" fmla="*/ 3051849 h 6858000"/>
              <a:gd name="connsiteX901" fmla="*/ 5611018 w 7467600"/>
              <a:gd name="connsiteY901" fmla="*/ 2316769 h 6858000"/>
              <a:gd name="connsiteX902" fmla="*/ 5687608 w 7467600"/>
              <a:gd name="connsiteY902" fmla="*/ 2039972 h 6858000"/>
              <a:gd name="connsiteX903" fmla="*/ 5657554 w 7467600"/>
              <a:gd name="connsiteY903" fmla="*/ 1576445 h 6858000"/>
              <a:gd name="connsiteX904" fmla="*/ 5150475 w 7467600"/>
              <a:gd name="connsiteY904" fmla="*/ 1274012 h 6858000"/>
              <a:gd name="connsiteX905" fmla="*/ 5349142 w 7467600"/>
              <a:gd name="connsiteY905" fmla="*/ 2204405 h 6858000"/>
              <a:gd name="connsiteX906" fmla="*/ 5262214 w 7467600"/>
              <a:gd name="connsiteY906" fmla="*/ 2233836 h 6858000"/>
              <a:gd name="connsiteX907" fmla="*/ 4981539 w 7467600"/>
              <a:gd name="connsiteY907" fmla="*/ 1542201 h 6858000"/>
              <a:gd name="connsiteX908" fmla="*/ 4958461 w 7467600"/>
              <a:gd name="connsiteY908" fmla="*/ 1136957 h 6858000"/>
              <a:gd name="connsiteX909" fmla="*/ 4655015 w 7467600"/>
              <a:gd name="connsiteY909" fmla="*/ 891426 h 6858000"/>
              <a:gd name="connsiteX910" fmla="*/ 4348002 w 7467600"/>
              <a:gd name="connsiteY910" fmla="*/ 2205895 h 6858000"/>
              <a:gd name="connsiteX911" fmla="*/ 4262250 w 7467600"/>
              <a:gd name="connsiteY911" fmla="*/ 2219972 h 6858000"/>
              <a:gd name="connsiteX912" fmla="*/ 4550611 w 7467600"/>
              <a:gd name="connsiteY912" fmla="*/ 817540 h 6858000"/>
              <a:gd name="connsiteX913" fmla="*/ 4564418 w 7467600"/>
              <a:gd name="connsiteY913" fmla="*/ 808293 h 6858000"/>
              <a:gd name="connsiteX914" fmla="*/ 4266388 w 7467600"/>
              <a:gd name="connsiteY914" fmla="*/ 500083 h 6858000"/>
              <a:gd name="connsiteX915" fmla="*/ 4032842 w 7467600"/>
              <a:gd name="connsiteY915" fmla="*/ 211809 h 6858000"/>
              <a:gd name="connsiteX916" fmla="*/ 3882765 w 7467600"/>
              <a:gd name="connsiteY916" fmla="*/ 0 h 6858000"/>
              <a:gd name="connsiteX917" fmla="*/ 3721337 w 7467600"/>
              <a:gd name="connsiteY917" fmla="*/ 0 h 6858000"/>
              <a:gd name="connsiteX918" fmla="*/ 3797544 w 7467600"/>
              <a:gd name="connsiteY918" fmla="*/ 0 h 6858000"/>
              <a:gd name="connsiteX919" fmla="*/ 3775734 w 7467600"/>
              <a:gd name="connsiteY919" fmla="*/ 95131 h 6858000"/>
              <a:gd name="connsiteX920" fmla="*/ 3724807 w 7467600"/>
              <a:gd name="connsiteY920" fmla="*/ 272257 h 6858000"/>
              <a:gd name="connsiteX921" fmla="*/ 3726844 w 7467600"/>
              <a:gd name="connsiteY921" fmla="*/ 282988 h 6858000"/>
              <a:gd name="connsiteX922" fmla="*/ 3742664 w 7467600"/>
              <a:gd name="connsiteY922" fmla="*/ 279918 h 6858000"/>
              <a:gd name="connsiteX923" fmla="*/ 4103910 w 7467600"/>
              <a:gd name="connsiteY923" fmla="*/ 1161917 h 6858000"/>
              <a:gd name="connsiteX924" fmla="*/ 4020269 w 7467600"/>
              <a:gd name="connsiteY924" fmla="*/ 1200406 h 6858000"/>
              <a:gd name="connsiteX925" fmla="*/ 3674882 w 7467600"/>
              <a:gd name="connsiteY925" fmla="*/ 488524 h 6858000"/>
              <a:gd name="connsiteX926" fmla="*/ 3132682 w 7467600"/>
              <a:gd name="connsiteY926" fmla="*/ 1072284 h 6858000"/>
              <a:gd name="connsiteX927" fmla="*/ 2716346 w 7467600"/>
              <a:gd name="connsiteY927" fmla="*/ 1276376 h 6858000"/>
              <a:gd name="connsiteX928" fmla="*/ 2716772 w 7467600"/>
              <a:gd name="connsiteY928" fmla="*/ 1255462 h 6858000"/>
              <a:gd name="connsiteX929" fmla="*/ 3471096 w 7467600"/>
              <a:gd name="connsiteY929" fmla="*/ 437072 h 6858000"/>
              <a:gd name="connsiteX930" fmla="*/ 3639057 w 7467600"/>
              <a:gd name="connsiteY930" fmla="*/ 286334 h 6858000"/>
              <a:gd name="connsiteX931" fmla="*/ 3640309 w 7467600"/>
              <a:gd name="connsiteY931" fmla="*/ 284664 h 6858000"/>
              <a:gd name="connsiteX932" fmla="*/ 3646022 w 7467600"/>
              <a:gd name="connsiteY932" fmla="*/ 276711 h 6858000"/>
              <a:gd name="connsiteX933" fmla="*/ 3707943 w 7467600"/>
              <a:gd name="connsiteY933" fmla="*/ 65958 h 6858000"/>
              <a:gd name="connsiteX934" fmla="*/ 3721337 w 7467600"/>
              <a:gd name="connsiteY934" fmla="*/ 0 h 6858000"/>
              <a:gd name="connsiteX935" fmla="*/ 2867960 w 7467600"/>
              <a:gd name="connsiteY935" fmla="*/ 0 h 6858000"/>
              <a:gd name="connsiteX936" fmla="*/ 2926351 w 7467600"/>
              <a:gd name="connsiteY936" fmla="*/ 0 h 6858000"/>
              <a:gd name="connsiteX937" fmla="*/ 2902823 w 7467600"/>
              <a:gd name="connsiteY937" fmla="*/ 262929 h 6858000"/>
              <a:gd name="connsiteX938" fmla="*/ 2940663 w 7467600"/>
              <a:gd name="connsiteY938" fmla="*/ 140884 h 6858000"/>
              <a:gd name="connsiteX939" fmla="*/ 2947039 w 7467600"/>
              <a:gd name="connsiteY939" fmla="*/ 122524 h 6858000"/>
              <a:gd name="connsiteX940" fmla="*/ 2984316 w 7467600"/>
              <a:gd name="connsiteY940" fmla="*/ 0 h 6858000"/>
              <a:gd name="connsiteX941" fmla="*/ 3016114 w 7467600"/>
              <a:gd name="connsiteY941" fmla="*/ 0 h 6858000"/>
              <a:gd name="connsiteX942" fmla="*/ 2979949 w 7467600"/>
              <a:gd name="connsiteY942" fmla="*/ 119274 h 6858000"/>
              <a:gd name="connsiteX943" fmla="*/ 3023879 w 7467600"/>
              <a:gd name="connsiteY943" fmla="*/ 0 h 6858000"/>
              <a:gd name="connsiteX944" fmla="*/ 3105400 w 7467600"/>
              <a:gd name="connsiteY944" fmla="*/ 0 h 6858000"/>
              <a:gd name="connsiteX945" fmla="*/ 3094669 w 7467600"/>
              <a:gd name="connsiteY945" fmla="*/ 30308 h 6858000"/>
              <a:gd name="connsiteX946" fmla="*/ 2901945 w 7467600"/>
              <a:gd name="connsiteY946" fmla="*/ 466538 h 6858000"/>
              <a:gd name="connsiteX947" fmla="*/ 2815209 w 7467600"/>
              <a:gd name="connsiteY947" fmla="*/ 497361 h 6858000"/>
              <a:gd name="connsiteX948" fmla="*/ 2844845 w 7467600"/>
              <a:gd name="connsiteY948" fmla="*/ 127638 h 6858000"/>
              <a:gd name="connsiteX949" fmla="*/ 2867960 w 7467600"/>
              <a:gd name="connsiteY949" fmla="*/ 0 h 6858000"/>
              <a:gd name="connsiteX950" fmla="*/ 1057230 w 7467600"/>
              <a:gd name="connsiteY950" fmla="*/ 0 h 6858000"/>
              <a:gd name="connsiteX951" fmla="*/ 1111003 w 7467600"/>
              <a:gd name="connsiteY951" fmla="*/ 0 h 6858000"/>
              <a:gd name="connsiteX952" fmla="*/ 1125553 w 7467600"/>
              <a:gd name="connsiteY952" fmla="*/ 52588 h 6858000"/>
              <a:gd name="connsiteX953" fmla="*/ 1304276 w 7467600"/>
              <a:gd name="connsiteY953" fmla="*/ 476275 h 6858000"/>
              <a:gd name="connsiteX954" fmla="*/ 1492066 w 7467600"/>
              <a:gd name="connsiteY954" fmla="*/ 886333 h 6858000"/>
              <a:gd name="connsiteX955" fmla="*/ 1423698 w 7467600"/>
              <a:gd name="connsiteY955" fmla="*/ 710817 h 6858000"/>
              <a:gd name="connsiteX956" fmla="*/ 1357609 w 7467600"/>
              <a:gd name="connsiteY956" fmla="*/ 532892 h 6858000"/>
              <a:gd name="connsiteX957" fmla="*/ 1309550 w 7467600"/>
              <a:gd name="connsiteY957" fmla="*/ 374031 h 6858000"/>
              <a:gd name="connsiteX958" fmla="*/ 1193673 w 7467600"/>
              <a:gd name="connsiteY958" fmla="*/ 49533 h 6858000"/>
              <a:gd name="connsiteX959" fmla="*/ 1164391 w 7467600"/>
              <a:gd name="connsiteY959" fmla="*/ 0 h 6858000"/>
              <a:gd name="connsiteX960" fmla="*/ 1200666 w 7467600"/>
              <a:gd name="connsiteY960" fmla="*/ 0 h 6858000"/>
              <a:gd name="connsiteX961" fmla="*/ 1223408 w 7467600"/>
              <a:gd name="connsiteY961" fmla="*/ 38996 h 6858000"/>
              <a:gd name="connsiteX962" fmla="*/ 1339635 w 7467600"/>
              <a:gd name="connsiteY962" fmla="*/ 365517 h 6858000"/>
              <a:gd name="connsiteX963" fmla="*/ 1387469 w 7467600"/>
              <a:gd name="connsiteY963" fmla="*/ 523079 h 6858000"/>
              <a:gd name="connsiteX964" fmla="*/ 1452685 w 7467600"/>
              <a:gd name="connsiteY964" fmla="*/ 699806 h 6858000"/>
              <a:gd name="connsiteX965" fmla="*/ 1492092 w 7467600"/>
              <a:gd name="connsiteY965" fmla="*/ 800424 h 6858000"/>
              <a:gd name="connsiteX966" fmla="*/ 1455302 w 7467600"/>
              <a:gd name="connsiteY966" fmla="*/ 632913 h 6858000"/>
              <a:gd name="connsiteX967" fmla="*/ 1222336 w 7467600"/>
              <a:gd name="connsiteY967" fmla="*/ 9480 h 6858000"/>
              <a:gd name="connsiteX968" fmla="*/ 1214634 w 7467600"/>
              <a:gd name="connsiteY968" fmla="*/ 0 h 6858000"/>
              <a:gd name="connsiteX969" fmla="*/ 1289827 w 7467600"/>
              <a:gd name="connsiteY969" fmla="*/ 0 h 6858000"/>
              <a:gd name="connsiteX970" fmla="*/ 1321076 w 7467600"/>
              <a:gd name="connsiteY970" fmla="*/ 59722 h 6858000"/>
              <a:gd name="connsiteX971" fmla="*/ 1512579 w 7467600"/>
              <a:gd name="connsiteY971" fmla="*/ 626441 h 6858000"/>
              <a:gd name="connsiteX972" fmla="*/ 1506076 w 7467600"/>
              <a:gd name="connsiteY972" fmla="*/ 1089289 h 6858000"/>
              <a:gd name="connsiteX973" fmla="*/ 1486346 w 7467600"/>
              <a:gd name="connsiteY973" fmla="*/ 1079919 h 6858000"/>
              <a:gd name="connsiteX974" fmla="*/ 1070511 w 7467600"/>
              <a:gd name="connsiteY974" fmla="*/ 48609 h 6858000"/>
              <a:gd name="connsiteX975" fmla="*/ 1057230 w 7467600"/>
              <a:gd name="connsiteY975" fmla="*/ 0 h 6858000"/>
              <a:gd name="connsiteX976" fmla="*/ 43151 w 7467600"/>
              <a:gd name="connsiteY976" fmla="*/ 0 h 6858000"/>
              <a:gd name="connsiteX977" fmla="*/ 95283 w 7467600"/>
              <a:gd name="connsiteY977" fmla="*/ 0 h 6858000"/>
              <a:gd name="connsiteX978" fmla="*/ 300708 w 7467600"/>
              <a:gd name="connsiteY978" fmla="*/ 154571 h 6858000"/>
              <a:gd name="connsiteX979" fmla="*/ 530414 w 7467600"/>
              <a:gd name="connsiteY979" fmla="*/ 354673 h 6858000"/>
              <a:gd name="connsiteX980" fmla="*/ 333785 w 7467600"/>
              <a:gd name="connsiteY980" fmla="*/ 161564 h 6858000"/>
              <a:gd name="connsiteX981" fmla="*/ 147005 w 7467600"/>
              <a:gd name="connsiteY981" fmla="*/ 0 h 6858000"/>
              <a:gd name="connsiteX982" fmla="*/ 272509 w 7467600"/>
              <a:gd name="connsiteY982" fmla="*/ 0 h 6858000"/>
              <a:gd name="connsiteX983" fmla="*/ 326276 w 7467600"/>
              <a:gd name="connsiteY983" fmla="*/ 45847 h 6858000"/>
              <a:gd name="connsiteX984" fmla="*/ 823759 w 7467600"/>
              <a:gd name="connsiteY984" fmla="*/ 574145 h 6858000"/>
              <a:gd name="connsiteX985" fmla="*/ 811254 w 7467600"/>
              <a:gd name="connsiteY985" fmla="*/ 665546 h 6858000"/>
              <a:gd name="connsiteX986" fmla="*/ 154042 w 7467600"/>
              <a:gd name="connsiteY986" fmla="*/ 261522 h 6858000"/>
              <a:gd name="connsiteX987" fmla="*/ 13550 w 7467600"/>
              <a:gd name="connsiteY987" fmla="*/ 158423 h 6858000"/>
              <a:gd name="connsiteX988" fmla="*/ 0 w 7467600"/>
              <a:gd name="connsiteY988" fmla="*/ 146618 h 6858000"/>
              <a:gd name="connsiteX989" fmla="*/ 0 w 7467600"/>
              <a:gd name="connsiteY989" fmla="*/ 59161 h 6858000"/>
              <a:gd name="connsiteX990" fmla="*/ 45427 w 7467600"/>
              <a:gd name="connsiteY990" fmla="*/ 101078 h 6858000"/>
              <a:gd name="connsiteX991" fmla="*/ 630103 w 7467600"/>
              <a:gd name="connsiteY991" fmla="*/ 485885 h 6858000"/>
              <a:gd name="connsiteX992" fmla="*/ 532040 w 7467600"/>
              <a:gd name="connsiteY992" fmla="*/ 399359 h 6858000"/>
              <a:gd name="connsiteX993" fmla="*/ 517618 w 7467600"/>
              <a:gd name="connsiteY993" fmla="*/ 385726 h 6858000"/>
              <a:gd name="connsiteX994" fmla="*/ 285074 w 7467600"/>
              <a:gd name="connsiteY994" fmla="*/ 182755 h 6858000"/>
              <a:gd name="connsiteX995" fmla="*/ 43151 w 7467600"/>
              <a:gd name="connsiteY995"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467600 w 7467600"/>
              <a:gd name="connsiteY127" fmla="*/ 5277736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41225 h 6858000"/>
              <a:gd name="connsiteX138" fmla="*/ 7467600 w 7467600"/>
              <a:gd name="connsiteY138" fmla="*/ 5277736 h 6858000"/>
              <a:gd name="connsiteX139" fmla="*/ 1903353 w 7467600"/>
              <a:gd name="connsiteY139" fmla="*/ 5044827 h 6858000"/>
              <a:gd name="connsiteX140" fmla="*/ 1936931 w 7467600"/>
              <a:gd name="connsiteY140" fmla="*/ 5093954 h 6858000"/>
              <a:gd name="connsiteX141" fmla="*/ 2195868 w 7467600"/>
              <a:gd name="connsiteY141" fmla="*/ 5396574 h 6858000"/>
              <a:gd name="connsiteX142" fmla="*/ 2088852 w 7467600"/>
              <a:gd name="connsiteY142" fmla="*/ 5166123 h 6858000"/>
              <a:gd name="connsiteX143" fmla="*/ 1958241 w 7467600"/>
              <a:gd name="connsiteY143" fmla="*/ 5067955 h 6858000"/>
              <a:gd name="connsiteX144" fmla="*/ 1903353 w 7467600"/>
              <a:gd name="connsiteY144" fmla="*/ 5044827 h 6858000"/>
              <a:gd name="connsiteX145" fmla="*/ 1979378 w 7467600"/>
              <a:gd name="connsiteY145" fmla="*/ 4769504 h 6858000"/>
              <a:gd name="connsiteX146" fmla="*/ 2882120 w 7467600"/>
              <a:gd name="connsiteY146" fmla="*/ 5064547 h 6858000"/>
              <a:gd name="connsiteX147" fmla="*/ 2793103 w 7467600"/>
              <a:gd name="connsiteY147" fmla="*/ 5039699 h 6858000"/>
              <a:gd name="connsiteX148" fmla="*/ 2770041 w 7467600"/>
              <a:gd name="connsiteY148" fmla="*/ 5033634 h 6858000"/>
              <a:gd name="connsiteX149" fmla="*/ 1979378 w 7467600"/>
              <a:gd name="connsiteY149" fmla="*/ 4769504 h 6858000"/>
              <a:gd name="connsiteX150" fmla="*/ 1927410 w 7467600"/>
              <a:gd name="connsiteY150" fmla="*/ 4716164 h 6858000"/>
              <a:gd name="connsiteX151" fmla="*/ 1959587 w 7467600"/>
              <a:gd name="connsiteY151" fmla="*/ 4728849 h 6858000"/>
              <a:gd name="connsiteX152" fmla="*/ 2777707 w 7467600"/>
              <a:gd name="connsiteY152" fmla="*/ 5003991 h 6858000"/>
              <a:gd name="connsiteX153" fmla="*/ 2800768 w 7467600"/>
              <a:gd name="connsiteY153" fmla="*/ 5010056 h 6858000"/>
              <a:gd name="connsiteX154" fmla="*/ 2879408 w 7467600"/>
              <a:gd name="connsiteY154" fmla="*/ 5031590 h 6858000"/>
              <a:gd name="connsiteX155" fmla="*/ 2862295 w 7467600"/>
              <a:gd name="connsiteY155" fmla="*/ 5022958 h 6858000"/>
              <a:gd name="connsiteX156" fmla="*/ 2813343 w 7467600"/>
              <a:gd name="connsiteY156" fmla="*/ 4998369 h 6858000"/>
              <a:gd name="connsiteX157" fmla="*/ 2646245 w 7467600"/>
              <a:gd name="connsiteY157" fmla="*/ 4930999 h 6858000"/>
              <a:gd name="connsiteX158" fmla="*/ 1999243 w 7467600"/>
              <a:gd name="connsiteY158" fmla="*/ 4730524 h 6858000"/>
              <a:gd name="connsiteX159" fmla="*/ 1979527 w 7467600"/>
              <a:gd name="connsiteY159" fmla="*/ 4726651 h 6858000"/>
              <a:gd name="connsiteX160" fmla="*/ 1927410 w 7467600"/>
              <a:gd name="connsiteY160" fmla="*/ 4716164 h 6858000"/>
              <a:gd name="connsiteX161" fmla="*/ 1997014 w 7467600"/>
              <a:gd name="connsiteY161" fmla="*/ 4698007 h 6858000"/>
              <a:gd name="connsiteX162" fmla="*/ 2005458 w 7467600"/>
              <a:gd name="connsiteY162" fmla="*/ 4699540 h 6858000"/>
              <a:gd name="connsiteX163" fmla="*/ 2657186 w 7467600"/>
              <a:gd name="connsiteY163" fmla="*/ 4901687 h 6858000"/>
              <a:gd name="connsiteX164" fmla="*/ 2826662 w 7467600"/>
              <a:gd name="connsiteY164" fmla="*/ 4970362 h 6858000"/>
              <a:gd name="connsiteX165" fmla="*/ 2876100 w 7467600"/>
              <a:gd name="connsiteY165" fmla="*/ 4995397 h 6858000"/>
              <a:gd name="connsiteX166" fmla="*/ 3042600 w 7467600"/>
              <a:gd name="connsiteY166" fmla="*/ 5059532 h 6858000"/>
              <a:gd name="connsiteX167" fmla="*/ 1997014 w 7467600"/>
              <a:gd name="connsiteY167" fmla="*/ 4698007 h 6858000"/>
              <a:gd name="connsiteX168" fmla="*/ 2305292 w 7467600"/>
              <a:gd name="connsiteY168" fmla="*/ 4219492 h 6858000"/>
              <a:gd name="connsiteX169" fmla="*/ 3360922 w 7467600"/>
              <a:gd name="connsiteY169" fmla="*/ 4529373 h 6858000"/>
              <a:gd name="connsiteX170" fmla="*/ 3492420 w 7467600"/>
              <a:gd name="connsiteY170" fmla="*/ 4510145 h 6858000"/>
              <a:gd name="connsiteX171" fmla="*/ 3364086 w 7467600"/>
              <a:gd name="connsiteY171" fmla="*/ 4480340 h 6858000"/>
              <a:gd name="connsiteX172" fmla="*/ 3225818 w 7467600"/>
              <a:gd name="connsiteY172" fmla="*/ 4411822 h 6858000"/>
              <a:gd name="connsiteX173" fmla="*/ 3129696 w 7467600"/>
              <a:gd name="connsiteY173" fmla="*/ 4360704 h 6858000"/>
              <a:gd name="connsiteX174" fmla="*/ 2814545 w 7467600"/>
              <a:gd name="connsiteY174" fmla="*/ 4282955 h 6858000"/>
              <a:gd name="connsiteX175" fmla="*/ 2305292 w 7467600"/>
              <a:gd name="connsiteY175" fmla="*/ 4219492 h 6858000"/>
              <a:gd name="connsiteX176" fmla="*/ 2626982 w 7467600"/>
              <a:gd name="connsiteY176" fmla="*/ 4206450 h 6858000"/>
              <a:gd name="connsiteX177" fmla="*/ 2490617 w 7467600"/>
              <a:gd name="connsiteY177" fmla="*/ 4206951 h 6858000"/>
              <a:gd name="connsiteX178" fmla="*/ 2819869 w 7467600"/>
              <a:gd name="connsiteY178" fmla="*/ 4252936 h 6858000"/>
              <a:gd name="connsiteX179" fmla="*/ 3143018 w 7467600"/>
              <a:gd name="connsiteY179" fmla="*/ 4332698 h 6858000"/>
              <a:gd name="connsiteX180" fmla="*/ 3241520 w 7467600"/>
              <a:gd name="connsiteY180" fmla="*/ 4385112 h 6858000"/>
              <a:gd name="connsiteX181" fmla="*/ 3374575 w 7467600"/>
              <a:gd name="connsiteY181" fmla="*/ 4451517 h 6858000"/>
              <a:gd name="connsiteX182" fmla="*/ 3505221 w 7467600"/>
              <a:gd name="connsiteY182" fmla="*/ 4480757 h 6858000"/>
              <a:gd name="connsiteX183" fmla="*/ 2626982 w 7467600"/>
              <a:gd name="connsiteY183" fmla="*/ 4206450 h 6858000"/>
              <a:gd name="connsiteX184" fmla="*/ 1310106 w 7467600"/>
              <a:gd name="connsiteY184" fmla="*/ 3943217 h 6858000"/>
              <a:gd name="connsiteX185" fmla="*/ 854994 w 7467600"/>
              <a:gd name="connsiteY185" fmla="*/ 4399136 h 6858000"/>
              <a:gd name="connsiteX186" fmla="*/ 742462 w 7467600"/>
              <a:gd name="connsiteY186" fmla="*/ 4594648 h 6858000"/>
              <a:gd name="connsiteX187" fmla="*/ 820602 w 7467600"/>
              <a:gd name="connsiteY187" fmla="*/ 4485915 h 6858000"/>
              <a:gd name="connsiteX188" fmla="*/ 878295 w 7467600"/>
              <a:gd name="connsiteY188" fmla="*/ 4403594 h 6858000"/>
              <a:gd name="connsiteX189" fmla="*/ 1240607 w 7467600"/>
              <a:gd name="connsiteY189" fmla="*/ 4010401 h 6858000"/>
              <a:gd name="connsiteX190" fmla="*/ 1310106 w 7467600"/>
              <a:gd name="connsiteY190" fmla="*/ 3943217 h 6858000"/>
              <a:gd name="connsiteX191" fmla="*/ 1423113 w 7467600"/>
              <a:gd name="connsiteY191" fmla="*/ 3874565 h 6858000"/>
              <a:gd name="connsiteX192" fmla="*/ 1260565 w 7467600"/>
              <a:gd name="connsiteY192" fmla="*/ 4031982 h 6858000"/>
              <a:gd name="connsiteX193" fmla="*/ 901900 w 7467600"/>
              <a:gd name="connsiteY193" fmla="*/ 4421236 h 6858000"/>
              <a:gd name="connsiteX194" fmla="*/ 845044 w 7467600"/>
              <a:gd name="connsiteY194" fmla="*/ 4502436 h 6858000"/>
              <a:gd name="connsiteX195" fmla="*/ 685926 w 7467600"/>
              <a:gd name="connsiteY195" fmla="*/ 4703069 h 6858000"/>
              <a:gd name="connsiteX196" fmla="*/ 684248 w 7467600"/>
              <a:gd name="connsiteY196" fmla="*/ 4706721 h 6858000"/>
              <a:gd name="connsiteX197" fmla="*/ 1423113 w 7467600"/>
              <a:gd name="connsiteY197" fmla="*/ 3874565 h 6858000"/>
              <a:gd name="connsiteX198" fmla="*/ 3316479 w 7467600"/>
              <a:gd name="connsiteY198" fmla="*/ 3872136 h 6858000"/>
              <a:gd name="connsiteX199" fmla="*/ 3546806 w 7467600"/>
              <a:gd name="connsiteY199" fmla="*/ 4356139 h 6858000"/>
              <a:gd name="connsiteX200" fmla="*/ 3364433 w 7467600"/>
              <a:gd name="connsiteY200" fmla="*/ 3953121 h 6858000"/>
              <a:gd name="connsiteX201" fmla="*/ 3316479 w 7467600"/>
              <a:gd name="connsiteY201" fmla="*/ 3872136 h 6858000"/>
              <a:gd name="connsiteX202" fmla="*/ 3291335 w 7467600"/>
              <a:gd name="connsiteY202" fmla="*/ 3767420 h 6858000"/>
              <a:gd name="connsiteX203" fmla="*/ 3390805 w 7467600"/>
              <a:gd name="connsiteY203" fmla="*/ 3937163 h 6858000"/>
              <a:gd name="connsiteX204" fmla="*/ 3579062 w 7467600"/>
              <a:gd name="connsiteY204" fmla="*/ 4359040 h 6858000"/>
              <a:gd name="connsiteX205" fmla="*/ 3467355 w 7467600"/>
              <a:gd name="connsiteY205" fmla="*/ 3988130 h 6858000"/>
              <a:gd name="connsiteX206" fmla="*/ 3310753 w 7467600"/>
              <a:gd name="connsiteY206" fmla="*/ 3787140 h 6858000"/>
              <a:gd name="connsiteX207" fmla="*/ 3291335 w 7467600"/>
              <a:gd name="connsiteY207" fmla="*/ 3767420 h 6858000"/>
              <a:gd name="connsiteX208" fmla="*/ 1635889 w 7467600"/>
              <a:gd name="connsiteY208" fmla="*/ 3709494 h 6858000"/>
              <a:gd name="connsiteX209" fmla="*/ 1634800 w 7467600"/>
              <a:gd name="connsiteY209" fmla="*/ 3731111 h 6858000"/>
              <a:gd name="connsiteX210" fmla="*/ 1635889 w 7467600"/>
              <a:gd name="connsiteY210" fmla="*/ 3709494 h 6858000"/>
              <a:gd name="connsiteX211" fmla="*/ 1510397 w 7467600"/>
              <a:gd name="connsiteY211" fmla="*/ 3684705 h 6858000"/>
              <a:gd name="connsiteX212" fmla="*/ 1146550 w 7467600"/>
              <a:gd name="connsiteY212" fmla="*/ 3802012 h 6858000"/>
              <a:gd name="connsiteX213" fmla="*/ 698834 w 7467600"/>
              <a:gd name="connsiteY213" fmla="*/ 3952272 h 6858000"/>
              <a:gd name="connsiteX214" fmla="*/ 34256 w 7467600"/>
              <a:gd name="connsiteY214" fmla="*/ 4347603 h 6858000"/>
              <a:gd name="connsiteX215" fmla="*/ 527241 w 7467600"/>
              <a:gd name="connsiteY215" fmla="*/ 4065078 h 6858000"/>
              <a:gd name="connsiteX216" fmla="*/ 1510397 w 7467600"/>
              <a:gd name="connsiteY216" fmla="*/ 3684705 h 6858000"/>
              <a:gd name="connsiteX217" fmla="*/ 1313114 w 7467600"/>
              <a:gd name="connsiteY217" fmla="*/ 3655216 h 6858000"/>
              <a:gd name="connsiteX218" fmla="*/ 1109304 w 7467600"/>
              <a:gd name="connsiteY218" fmla="*/ 3669030 h 6858000"/>
              <a:gd name="connsiteX219" fmla="*/ 8129 w 7467600"/>
              <a:gd name="connsiteY219" fmla="*/ 4330519 h 6858000"/>
              <a:gd name="connsiteX220" fmla="*/ 687572 w 7467600"/>
              <a:gd name="connsiteY220" fmla="*/ 3925629 h 6858000"/>
              <a:gd name="connsiteX221" fmla="*/ 1138365 w 7467600"/>
              <a:gd name="connsiteY221" fmla="*/ 3774515 h 6858000"/>
              <a:gd name="connsiteX222" fmla="*/ 1505579 w 7467600"/>
              <a:gd name="connsiteY222" fmla="*/ 3655526 h 6858000"/>
              <a:gd name="connsiteX223" fmla="*/ 1313114 w 7467600"/>
              <a:gd name="connsiteY223" fmla="*/ 3655216 h 6858000"/>
              <a:gd name="connsiteX224" fmla="*/ 3655073 w 7467600"/>
              <a:gd name="connsiteY224" fmla="*/ 3650884 h 6858000"/>
              <a:gd name="connsiteX225" fmla="*/ 3989938 w 7467600"/>
              <a:gd name="connsiteY225" fmla="*/ 3991685 h 6858000"/>
              <a:gd name="connsiteX226" fmla="*/ 4393907 w 7467600"/>
              <a:gd name="connsiteY226" fmla="*/ 4261258 h 6858000"/>
              <a:gd name="connsiteX227" fmla="*/ 4648051 w 7467600"/>
              <a:gd name="connsiteY227" fmla="*/ 4374051 h 6858000"/>
              <a:gd name="connsiteX228" fmla="*/ 4383389 w 7467600"/>
              <a:gd name="connsiteY228" fmla="*/ 4184369 h 6858000"/>
              <a:gd name="connsiteX229" fmla="*/ 4165508 w 7467600"/>
              <a:gd name="connsiteY229" fmla="*/ 4035196 h 6858000"/>
              <a:gd name="connsiteX230" fmla="*/ 4068162 w 7467600"/>
              <a:gd name="connsiteY230" fmla="*/ 3953394 h 6858000"/>
              <a:gd name="connsiteX231" fmla="*/ 3981416 w 7467600"/>
              <a:gd name="connsiteY231" fmla="*/ 3880482 h 6858000"/>
              <a:gd name="connsiteX232" fmla="*/ 3800147 w 7467600"/>
              <a:gd name="connsiteY232" fmla="*/ 3749872 h 6858000"/>
              <a:gd name="connsiteX233" fmla="*/ 3655073 w 7467600"/>
              <a:gd name="connsiteY233" fmla="*/ 3650884 h 6858000"/>
              <a:gd name="connsiteX234" fmla="*/ 3670252 w 7467600"/>
              <a:gd name="connsiteY234" fmla="*/ 3622798 h 6858000"/>
              <a:gd name="connsiteX235" fmla="*/ 3817258 w 7467600"/>
              <a:gd name="connsiteY235" fmla="*/ 3723577 h 6858000"/>
              <a:gd name="connsiteX236" fmla="*/ 4000461 w 7467600"/>
              <a:gd name="connsiteY236" fmla="*/ 3855966 h 6858000"/>
              <a:gd name="connsiteX237" fmla="*/ 4088180 w 7467600"/>
              <a:gd name="connsiteY237" fmla="*/ 3929774 h 6858000"/>
              <a:gd name="connsiteX238" fmla="*/ 4184555 w 7467600"/>
              <a:gd name="connsiteY238" fmla="*/ 4010683 h 6858000"/>
              <a:gd name="connsiteX239" fmla="*/ 4399563 w 7467600"/>
              <a:gd name="connsiteY239" fmla="*/ 4158106 h 6858000"/>
              <a:gd name="connsiteX240" fmla="*/ 4684469 w 7467600"/>
              <a:gd name="connsiteY240" fmla="*/ 4364680 h 6858000"/>
              <a:gd name="connsiteX241" fmla="*/ 4690271 w 7467600"/>
              <a:gd name="connsiteY241" fmla="*/ 4370034 h 6858000"/>
              <a:gd name="connsiteX242" fmla="*/ 4136093 w 7467600"/>
              <a:gd name="connsiteY242" fmla="*/ 3858466 h 6858000"/>
              <a:gd name="connsiteX243" fmla="*/ 3670252 w 7467600"/>
              <a:gd name="connsiteY243" fmla="*/ 3622798 h 6858000"/>
              <a:gd name="connsiteX244" fmla="*/ 4440129 w 7467600"/>
              <a:gd name="connsiteY244" fmla="*/ 3448571 h 6858000"/>
              <a:gd name="connsiteX245" fmla="*/ 4856525 w 7467600"/>
              <a:gd name="connsiteY245" fmla="*/ 3915351 h 6858000"/>
              <a:gd name="connsiteX246" fmla="*/ 5059055 w 7467600"/>
              <a:gd name="connsiteY246" fmla="*/ 4108918 h 6858000"/>
              <a:gd name="connsiteX247" fmla="*/ 5290070 w 7467600"/>
              <a:gd name="connsiteY247" fmla="*/ 4263619 h 6858000"/>
              <a:gd name="connsiteX248" fmla="*/ 4834991 w 7467600"/>
              <a:gd name="connsiteY248" fmla="*/ 3830985 h 6858000"/>
              <a:gd name="connsiteX249" fmla="*/ 4440129 w 7467600"/>
              <a:gd name="connsiteY249" fmla="*/ 3448571 h 6858000"/>
              <a:gd name="connsiteX250" fmla="*/ 4441737 w 7467600"/>
              <a:gd name="connsiteY250" fmla="*/ 3399734 h 6858000"/>
              <a:gd name="connsiteX251" fmla="*/ 4431236 w 7467600"/>
              <a:gd name="connsiteY251" fmla="*/ 3400954 h 6858000"/>
              <a:gd name="connsiteX252" fmla="*/ 4557150 w 7467600"/>
              <a:gd name="connsiteY252" fmla="*/ 3510023 h 6858000"/>
              <a:gd name="connsiteX253" fmla="*/ 4856936 w 7467600"/>
              <a:gd name="connsiteY253" fmla="*/ 3809146 h 6858000"/>
              <a:gd name="connsiteX254" fmla="*/ 5111996 w 7467600"/>
              <a:gd name="connsiteY254" fmla="*/ 4065759 h 6858000"/>
              <a:gd name="connsiteX255" fmla="*/ 5388878 w 7467600"/>
              <a:gd name="connsiteY255" fmla="*/ 4300185 h 6858000"/>
              <a:gd name="connsiteX256" fmla="*/ 5425556 w 7467600"/>
              <a:gd name="connsiteY256" fmla="*/ 4308967 h 6858000"/>
              <a:gd name="connsiteX257" fmla="*/ 4943646 w 7467600"/>
              <a:gd name="connsiteY257" fmla="*/ 3822916 h 6858000"/>
              <a:gd name="connsiteX258" fmla="*/ 4594837 w 7467600"/>
              <a:gd name="connsiteY258" fmla="*/ 3532274 h 6858000"/>
              <a:gd name="connsiteX259" fmla="*/ 4441737 w 7467600"/>
              <a:gd name="connsiteY259" fmla="*/ 3399734 h 6858000"/>
              <a:gd name="connsiteX260" fmla="*/ 5425834 w 7467600"/>
              <a:gd name="connsiteY260" fmla="*/ 3162785 h 6858000"/>
              <a:gd name="connsiteX261" fmla="*/ 5401644 w 7467600"/>
              <a:gd name="connsiteY261" fmla="*/ 3617847 h 6858000"/>
              <a:gd name="connsiteX262" fmla="*/ 5467256 w 7467600"/>
              <a:gd name="connsiteY262" fmla="*/ 4175494 h 6858000"/>
              <a:gd name="connsiteX263" fmla="*/ 5448069 w 7467600"/>
              <a:gd name="connsiteY263" fmla="*/ 3567554 h 6858000"/>
              <a:gd name="connsiteX264" fmla="*/ 5425834 w 7467600"/>
              <a:gd name="connsiteY264" fmla="*/ 3162785 h 6858000"/>
              <a:gd name="connsiteX265" fmla="*/ 1318687 w 7467600"/>
              <a:gd name="connsiteY265" fmla="*/ 3113840 h 6858000"/>
              <a:gd name="connsiteX266" fmla="*/ 1066793 w 7467600"/>
              <a:gd name="connsiteY266" fmla="*/ 3212171 h 6858000"/>
              <a:gd name="connsiteX267" fmla="*/ 993319 w 7467600"/>
              <a:gd name="connsiteY267" fmla="*/ 3247648 h 6858000"/>
              <a:gd name="connsiteX268" fmla="*/ 853081 w 7467600"/>
              <a:gd name="connsiteY268" fmla="*/ 3312410 h 6858000"/>
              <a:gd name="connsiteX269" fmla="*/ 805957 w 7467600"/>
              <a:gd name="connsiteY269" fmla="*/ 3330443 h 6858000"/>
              <a:gd name="connsiteX270" fmla="*/ 1318687 w 7467600"/>
              <a:gd name="connsiteY270" fmla="*/ 3113840 h 6858000"/>
              <a:gd name="connsiteX271" fmla="*/ 5453702 w 7467600"/>
              <a:gd name="connsiteY271" fmla="*/ 3090882 h 6858000"/>
              <a:gd name="connsiteX272" fmla="*/ 5480135 w 7467600"/>
              <a:gd name="connsiteY272" fmla="*/ 3565802 h 6858000"/>
              <a:gd name="connsiteX273" fmla="*/ 5499023 w 7467600"/>
              <a:gd name="connsiteY273" fmla="*/ 4166310 h 6858000"/>
              <a:gd name="connsiteX274" fmla="*/ 5547022 w 7467600"/>
              <a:gd name="connsiteY274" fmla="*/ 3607838 h 6858000"/>
              <a:gd name="connsiteX275" fmla="*/ 5515964 w 7467600"/>
              <a:gd name="connsiteY275" fmla="*/ 3378541 h 6858000"/>
              <a:gd name="connsiteX276" fmla="*/ 5453702 w 7467600"/>
              <a:gd name="connsiteY276" fmla="*/ 3090882 h 6858000"/>
              <a:gd name="connsiteX277" fmla="*/ 1238695 w 7467600"/>
              <a:gd name="connsiteY277" fmla="*/ 3076820 h 6858000"/>
              <a:gd name="connsiteX278" fmla="*/ 716371 w 7467600"/>
              <a:gd name="connsiteY278" fmla="*/ 3293249 h 6858000"/>
              <a:gd name="connsiteX279" fmla="*/ 579522 w 7467600"/>
              <a:gd name="connsiteY279" fmla="*/ 3371759 h 6858000"/>
              <a:gd name="connsiteX280" fmla="*/ 600288 w 7467600"/>
              <a:gd name="connsiteY280" fmla="*/ 3365555 h 6858000"/>
              <a:gd name="connsiteX281" fmla="*/ 840692 w 7467600"/>
              <a:gd name="connsiteY281" fmla="*/ 3284921 h 6858000"/>
              <a:gd name="connsiteX282" fmla="*/ 979248 w 7467600"/>
              <a:gd name="connsiteY282" fmla="*/ 3221003 h 6858000"/>
              <a:gd name="connsiteX283" fmla="*/ 1053282 w 7467600"/>
              <a:gd name="connsiteY283" fmla="*/ 3185247 h 6858000"/>
              <a:gd name="connsiteX284" fmla="*/ 1320603 w 7467600"/>
              <a:gd name="connsiteY284" fmla="*/ 3081281 h 6858000"/>
              <a:gd name="connsiteX285" fmla="*/ 1238695 w 7467600"/>
              <a:gd name="connsiteY285" fmla="*/ 3076820 h 6858000"/>
              <a:gd name="connsiteX286" fmla="*/ 5425627 w 7467600"/>
              <a:gd name="connsiteY286" fmla="*/ 2954192 h 6858000"/>
              <a:gd name="connsiteX287" fmla="*/ 5470770 w 7467600"/>
              <a:gd name="connsiteY287" fmla="*/ 3005435 h 6858000"/>
              <a:gd name="connsiteX288" fmla="*/ 5519779 w 7467600"/>
              <a:gd name="connsiteY288" fmla="*/ 4359223 h 6858000"/>
              <a:gd name="connsiteX289" fmla="*/ 5520293 w 7467600"/>
              <a:gd name="connsiteY289" fmla="*/ 4360602 h 6858000"/>
              <a:gd name="connsiteX290" fmla="*/ 5767221 w 7467600"/>
              <a:gd name="connsiteY290" fmla="*/ 4665564 h 6858000"/>
              <a:gd name="connsiteX291" fmla="*/ 6937169 w 7467600"/>
              <a:gd name="connsiteY291" fmla="*/ 4815941 h 6858000"/>
              <a:gd name="connsiteX292" fmla="*/ 6953922 w 7467600"/>
              <a:gd name="connsiteY292" fmla="*/ 4890068 h 6858000"/>
              <a:gd name="connsiteX293" fmla="*/ 6071359 w 7467600"/>
              <a:gd name="connsiteY293" fmla="*/ 4770770 h 6858000"/>
              <a:gd name="connsiteX294" fmla="*/ 6038839 w 7467600"/>
              <a:gd name="connsiteY294" fmla="*/ 4764474 h 6858000"/>
              <a:gd name="connsiteX295" fmla="*/ 6038706 w 7467600"/>
              <a:gd name="connsiteY295" fmla="*/ 4763847 h 6858000"/>
              <a:gd name="connsiteX296" fmla="*/ 6037784 w 7467600"/>
              <a:gd name="connsiteY296" fmla="*/ 4764270 h 6858000"/>
              <a:gd name="connsiteX297" fmla="*/ 6038839 w 7467600"/>
              <a:gd name="connsiteY297" fmla="*/ 4764474 h 6858000"/>
              <a:gd name="connsiteX298" fmla="*/ 6040338 w 7467600"/>
              <a:gd name="connsiteY298" fmla="*/ 4771418 h 6858000"/>
              <a:gd name="connsiteX299" fmla="*/ 6024488 w 7467600"/>
              <a:gd name="connsiteY299" fmla="*/ 4809903 h 6858000"/>
              <a:gd name="connsiteX300" fmla="*/ 5599771 w 7467600"/>
              <a:gd name="connsiteY300" fmla="*/ 5509652 h 6858000"/>
              <a:gd name="connsiteX301" fmla="*/ 5548843 w 7467600"/>
              <a:gd name="connsiteY301" fmla="*/ 5563845 h 6858000"/>
              <a:gd name="connsiteX302" fmla="*/ 5940952 w 7467600"/>
              <a:gd name="connsiteY302" fmla="*/ 6250028 h 6858000"/>
              <a:gd name="connsiteX303" fmla="*/ 6043441 w 7467600"/>
              <a:gd name="connsiteY303" fmla="*/ 6665847 h 6858000"/>
              <a:gd name="connsiteX304" fmla="*/ 6093432 w 7467600"/>
              <a:gd name="connsiteY304" fmla="*/ 6858000 h 6858000"/>
              <a:gd name="connsiteX305" fmla="*/ 6034344 w 7467600"/>
              <a:gd name="connsiteY305" fmla="*/ 6858000 h 6858000"/>
              <a:gd name="connsiteX306" fmla="*/ 6026679 w 7467600"/>
              <a:gd name="connsiteY306" fmla="*/ 6836959 h 6858000"/>
              <a:gd name="connsiteX307" fmla="*/ 5800441 w 7467600"/>
              <a:gd name="connsiteY307" fmla="*/ 6335286 h 6858000"/>
              <a:gd name="connsiteX308" fmla="*/ 5526562 w 7467600"/>
              <a:gd name="connsiteY308" fmla="*/ 5705388 h 6858000"/>
              <a:gd name="connsiteX309" fmla="*/ 5519640 w 7467600"/>
              <a:gd name="connsiteY309" fmla="*/ 5683774 h 6858000"/>
              <a:gd name="connsiteX310" fmla="*/ 5844559 w 7467600"/>
              <a:gd name="connsiteY310" fmla="*/ 6553349 h 6858000"/>
              <a:gd name="connsiteX311" fmla="*/ 5975994 w 7467600"/>
              <a:gd name="connsiteY311" fmla="*/ 6858000 h 6858000"/>
              <a:gd name="connsiteX312" fmla="*/ 5898547 w 7467600"/>
              <a:gd name="connsiteY312" fmla="*/ 6858000 h 6858000"/>
              <a:gd name="connsiteX313" fmla="*/ 5682041 w 7467600"/>
              <a:gd name="connsiteY313" fmla="*/ 6355860 h 6858000"/>
              <a:gd name="connsiteX314" fmla="*/ 5461758 w 7467600"/>
              <a:gd name="connsiteY314" fmla="*/ 5820220 h 6858000"/>
              <a:gd name="connsiteX315" fmla="*/ 5237282 w 7467600"/>
              <a:gd name="connsiteY315" fmla="*/ 6579086 h 6858000"/>
              <a:gd name="connsiteX316" fmla="*/ 5115009 w 7467600"/>
              <a:gd name="connsiteY316" fmla="*/ 6858000 h 6858000"/>
              <a:gd name="connsiteX317" fmla="*/ 5028074 w 7467600"/>
              <a:gd name="connsiteY317" fmla="*/ 6858000 h 6858000"/>
              <a:gd name="connsiteX318" fmla="*/ 5079508 w 7467600"/>
              <a:gd name="connsiteY318" fmla="*/ 6749074 h 6858000"/>
              <a:gd name="connsiteX319" fmla="*/ 5371846 w 7467600"/>
              <a:gd name="connsiteY319" fmla="*/ 5924413 h 6858000"/>
              <a:gd name="connsiteX320" fmla="*/ 5270512 w 7467600"/>
              <a:gd name="connsiteY320" fmla="*/ 6138975 h 6858000"/>
              <a:gd name="connsiteX321" fmla="*/ 5062409 w 7467600"/>
              <a:gd name="connsiteY321" fmla="*/ 6653544 h 6858000"/>
              <a:gd name="connsiteX322" fmla="*/ 5036628 w 7467600"/>
              <a:gd name="connsiteY322" fmla="*/ 6754247 h 6858000"/>
              <a:gd name="connsiteX323" fmla="*/ 5009112 w 7467600"/>
              <a:gd name="connsiteY323" fmla="*/ 6858000 h 6858000"/>
              <a:gd name="connsiteX324" fmla="*/ 4976679 w 7467600"/>
              <a:gd name="connsiteY324" fmla="*/ 6858000 h 6858000"/>
              <a:gd name="connsiteX325" fmla="*/ 5006537 w 7467600"/>
              <a:gd name="connsiteY325" fmla="*/ 6747068 h 6858000"/>
              <a:gd name="connsiteX326" fmla="*/ 5032723 w 7467600"/>
              <a:gd name="connsiteY326" fmla="*/ 6644957 h 6858000"/>
              <a:gd name="connsiteX327" fmla="*/ 5242949 w 7467600"/>
              <a:gd name="connsiteY327" fmla="*/ 6125175 h 6858000"/>
              <a:gd name="connsiteX328" fmla="*/ 5286321 w 7467600"/>
              <a:gd name="connsiteY328" fmla="*/ 6033555 h 6858000"/>
              <a:gd name="connsiteX329" fmla="*/ 5008210 w 7467600"/>
              <a:gd name="connsiteY329" fmla="*/ 6649194 h 6858000"/>
              <a:gd name="connsiteX330" fmla="*/ 4986321 w 7467600"/>
              <a:gd name="connsiteY330" fmla="*/ 6765687 h 6858000"/>
              <a:gd name="connsiteX331" fmla="*/ 4973474 w 7467600"/>
              <a:gd name="connsiteY331" fmla="*/ 6858000 h 6858000"/>
              <a:gd name="connsiteX332" fmla="*/ 4907178 w 7467600"/>
              <a:gd name="connsiteY332" fmla="*/ 6858000 h 6858000"/>
              <a:gd name="connsiteX333" fmla="*/ 4910810 w 7467600"/>
              <a:gd name="connsiteY333" fmla="*/ 6829660 h 6858000"/>
              <a:gd name="connsiteX334" fmla="*/ 4987461 w 7467600"/>
              <a:gd name="connsiteY334" fmla="*/ 6432994 h 6858000"/>
              <a:gd name="connsiteX335" fmla="*/ 5179262 w 7467600"/>
              <a:gd name="connsiteY335" fmla="*/ 6035044 h 6858000"/>
              <a:gd name="connsiteX336" fmla="*/ 4689678 w 7467600"/>
              <a:gd name="connsiteY336" fmla="*/ 6440241 h 6858000"/>
              <a:gd name="connsiteX337" fmla="*/ 4477543 w 7467600"/>
              <a:gd name="connsiteY337" fmla="*/ 6674836 h 6858000"/>
              <a:gd name="connsiteX338" fmla="*/ 4329957 w 7467600"/>
              <a:gd name="connsiteY338" fmla="*/ 6858000 h 6858000"/>
              <a:gd name="connsiteX339" fmla="*/ 4218595 w 7467600"/>
              <a:gd name="connsiteY339" fmla="*/ 6858000 h 6858000"/>
              <a:gd name="connsiteX340" fmla="*/ 4368888 w 7467600"/>
              <a:gd name="connsiteY340" fmla="*/ 6668412 h 6858000"/>
              <a:gd name="connsiteX341" fmla="*/ 4563091 w 7467600"/>
              <a:gd name="connsiteY341" fmla="*/ 6442508 h 6858000"/>
              <a:gd name="connsiteX342" fmla="*/ 5387324 w 7467600"/>
              <a:gd name="connsiteY342" fmla="*/ 5705830 h 6858000"/>
              <a:gd name="connsiteX343" fmla="*/ 5073620 w 7467600"/>
              <a:gd name="connsiteY343" fmla="*/ 5955437 h 6858000"/>
              <a:gd name="connsiteX344" fmla="*/ 4689789 w 7467600"/>
              <a:gd name="connsiteY344" fmla="*/ 6268382 h 6858000"/>
              <a:gd name="connsiteX345" fmla="*/ 4418722 w 7467600"/>
              <a:gd name="connsiteY345" fmla="*/ 6570886 h 6858000"/>
              <a:gd name="connsiteX346" fmla="*/ 4214944 w 7467600"/>
              <a:gd name="connsiteY346" fmla="*/ 6858000 h 6858000"/>
              <a:gd name="connsiteX347" fmla="*/ 4177898 w 7467600"/>
              <a:gd name="connsiteY347" fmla="*/ 6858000 h 6858000"/>
              <a:gd name="connsiteX348" fmla="*/ 4391597 w 7467600"/>
              <a:gd name="connsiteY348" fmla="*/ 6556370 h 6858000"/>
              <a:gd name="connsiteX349" fmla="*/ 4668889 w 7467600"/>
              <a:gd name="connsiteY349" fmla="*/ 6246399 h 6858000"/>
              <a:gd name="connsiteX350" fmla="*/ 5055427 w 7467600"/>
              <a:gd name="connsiteY350" fmla="*/ 5931476 h 6858000"/>
              <a:gd name="connsiteX351" fmla="*/ 5371814 w 7467600"/>
              <a:gd name="connsiteY351" fmla="*/ 5678975 h 6858000"/>
              <a:gd name="connsiteX352" fmla="*/ 4987918 w 7467600"/>
              <a:gd name="connsiteY352" fmla="*/ 5838701 h 6858000"/>
              <a:gd name="connsiteX353" fmla="*/ 4317146 w 7467600"/>
              <a:gd name="connsiteY353" fmla="*/ 6587716 h 6858000"/>
              <a:gd name="connsiteX354" fmla="*/ 4171627 w 7467600"/>
              <a:gd name="connsiteY354" fmla="*/ 6858000 h 6858000"/>
              <a:gd name="connsiteX355" fmla="*/ 4081585 w 7467600"/>
              <a:gd name="connsiteY355" fmla="*/ 6858000 h 6858000"/>
              <a:gd name="connsiteX356" fmla="*/ 4238603 w 7467600"/>
              <a:gd name="connsiteY356" fmla="*/ 6559341 h 6858000"/>
              <a:gd name="connsiteX357" fmla="*/ 4778333 w 7467600"/>
              <a:gd name="connsiteY357" fmla="*/ 5873626 h 6858000"/>
              <a:gd name="connsiteX358" fmla="*/ 5414185 w 7467600"/>
              <a:gd name="connsiteY358" fmla="*/ 5573882 h 6858000"/>
              <a:gd name="connsiteX359" fmla="*/ 5959648 w 7467600"/>
              <a:gd name="connsiteY359" fmla="*/ 4760797 h 6858000"/>
              <a:gd name="connsiteX360" fmla="*/ 5355019 w 7467600"/>
              <a:gd name="connsiteY360" fmla="*/ 4734672 h 6858000"/>
              <a:gd name="connsiteX361" fmla="*/ 5083565 w 7467600"/>
              <a:gd name="connsiteY361" fmla="*/ 5179121 h 6858000"/>
              <a:gd name="connsiteX362" fmla="*/ 4713577 w 7467600"/>
              <a:gd name="connsiteY362" fmla="*/ 5616803 h 6858000"/>
              <a:gd name="connsiteX363" fmla="*/ 3989559 w 7467600"/>
              <a:gd name="connsiteY363" fmla="*/ 6145945 h 6858000"/>
              <a:gd name="connsiteX364" fmla="*/ 3939824 w 7467600"/>
              <a:gd name="connsiteY364" fmla="*/ 6066900 h 6858000"/>
              <a:gd name="connsiteX365" fmla="*/ 4584537 w 7467600"/>
              <a:gd name="connsiteY365" fmla="*/ 5324826 h 6858000"/>
              <a:gd name="connsiteX366" fmla="*/ 5037105 w 7467600"/>
              <a:gd name="connsiteY366" fmla="*/ 5088765 h 6858000"/>
              <a:gd name="connsiteX367" fmla="*/ 5039930 w 7467600"/>
              <a:gd name="connsiteY367" fmla="*/ 5089585 h 6858000"/>
              <a:gd name="connsiteX368" fmla="*/ 5263764 w 7467600"/>
              <a:gd name="connsiteY368" fmla="*/ 4735525 h 6858000"/>
              <a:gd name="connsiteX369" fmla="*/ 4086300 w 7467600"/>
              <a:gd name="connsiteY369" fmla="*/ 4884599 h 6858000"/>
              <a:gd name="connsiteX370" fmla="*/ 4085485 w 7467600"/>
              <a:gd name="connsiteY370" fmla="*/ 4899070 h 6858000"/>
              <a:gd name="connsiteX371" fmla="*/ 3871915 w 7467600"/>
              <a:gd name="connsiteY371" fmla="*/ 5253645 h 6858000"/>
              <a:gd name="connsiteX372" fmla="*/ 3799374 w 7467600"/>
              <a:gd name="connsiteY372" fmla="*/ 5466127 h 6858000"/>
              <a:gd name="connsiteX373" fmla="*/ 3498850 w 7467600"/>
              <a:gd name="connsiteY373" fmla="*/ 6661888 h 6858000"/>
              <a:gd name="connsiteX374" fmla="*/ 3399216 w 7467600"/>
              <a:gd name="connsiteY374" fmla="*/ 6858000 h 6858000"/>
              <a:gd name="connsiteX375" fmla="*/ 3303688 w 7467600"/>
              <a:gd name="connsiteY375" fmla="*/ 6858000 h 6858000"/>
              <a:gd name="connsiteX376" fmla="*/ 3391774 w 7467600"/>
              <a:gd name="connsiteY376" fmla="*/ 6697181 h 6858000"/>
              <a:gd name="connsiteX377" fmla="*/ 3735540 w 7467600"/>
              <a:gd name="connsiteY377" fmla="*/ 5546923 h 6858000"/>
              <a:gd name="connsiteX378" fmla="*/ 3729438 w 7467600"/>
              <a:gd name="connsiteY378" fmla="*/ 5569058 h 6858000"/>
              <a:gd name="connsiteX379" fmla="*/ 3707782 w 7467600"/>
              <a:gd name="connsiteY379" fmla="*/ 5644908 h 6858000"/>
              <a:gd name="connsiteX380" fmla="*/ 3583827 w 7467600"/>
              <a:gd name="connsiteY380" fmla="*/ 6039215 h 6858000"/>
              <a:gd name="connsiteX381" fmla="*/ 3547861 w 7467600"/>
              <a:gd name="connsiteY381" fmla="*/ 6129609 h 6858000"/>
              <a:gd name="connsiteX382" fmla="*/ 3490905 w 7467600"/>
              <a:gd name="connsiteY382" fmla="*/ 6277660 h 6858000"/>
              <a:gd name="connsiteX383" fmla="*/ 3455859 w 7467600"/>
              <a:gd name="connsiteY383" fmla="*/ 6391301 h 6858000"/>
              <a:gd name="connsiteX384" fmla="*/ 3429112 w 7467600"/>
              <a:gd name="connsiteY384" fmla="*/ 6479469 h 6858000"/>
              <a:gd name="connsiteX385" fmla="*/ 3304862 w 7467600"/>
              <a:gd name="connsiteY385" fmla="*/ 6796476 h 6858000"/>
              <a:gd name="connsiteX386" fmla="*/ 3276071 w 7467600"/>
              <a:gd name="connsiteY386" fmla="*/ 6858000 h 6858000"/>
              <a:gd name="connsiteX387" fmla="*/ 3240805 w 7467600"/>
              <a:gd name="connsiteY387" fmla="*/ 6858000 h 6858000"/>
              <a:gd name="connsiteX388" fmla="*/ 3275917 w 7467600"/>
              <a:gd name="connsiteY388" fmla="*/ 6783192 h 6858000"/>
              <a:gd name="connsiteX389" fmla="*/ 3399358 w 7467600"/>
              <a:gd name="connsiteY389" fmla="*/ 6469011 h 6858000"/>
              <a:gd name="connsiteX390" fmla="*/ 3425650 w 7467600"/>
              <a:gd name="connsiteY390" fmla="*/ 6381333 h 6858000"/>
              <a:gd name="connsiteX391" fmla="*/ 3460661 w 7467600"/>
              <a:gd name="connsiteY391" fmla="*/ 6266763 h 6858000"/>
              <a:gd name="connsiteX392" fmla="*/ 3518021 w 7467600"/>
              <a:gd name="connsiteY392" fmla="*/ 6117298 h 6858000"/>
              <a:gd name="connsiteX393" fmla="*/ 3554035 w 7467600"/>
              <a:gd name="connsiteY393" fmla="*/ 6027832 h 6858000"/>
              <a:gd name="connsiteX394" fmla="*/ 3677174 w 7467600"/>
              <a:gd name="connsiteY394" fmla="*/ 5636351 h 6858000"/>
              <a:gd name="connsiteX395" fmla="*/ 3698819 w 7467600"/>
              <a:gd name="connsiteY395" fmla="*/ 5560503 h 6858000"/>
              <a:gd name="connsiteX396" fmla="*/ 3702094 w 7467600"/>
              <a:gd name="connsiteY396" fmla="*/ 5549194 h 6858000"/>
              <a:gd name="connsiteX397" fmla="*/ 3398355 w 7467600"/>
              <a:gd name="connsiteY397" fmla="*/ 6094603 h 6858000"/>
              <a:gd name="connsiteX398" fmla="*/ 3193941 w 7467600"/>
              <a:gd name="connsiteY398" fmla="*/ 6798775 h 6858000"/>
              <a:gd name="connsiteX399" fmla="*/ 3184140 w 7467600"/>
              <a:gd name="connsiteY399" fmla="*/ 6858000 h 6858000"/>
              <a:gd name="connsiteX400" fmla="*/ 3099978 w 7467600"/>
              <a:gd name="connsiteY400" fmla="*/ 6858000 h 6858000"/>
              <a:gd name="connsiteX401" fmla="*/ 3101556 w 7467600"/>
              <a:gd name="connsiteY401" fmla="*/ 6843337 h 6858000"/>
              <a:gd name="connsiteX402" fmla="*/ 3370162 w 7467600"/>
              <a:gd name="connsiteY402" fmla="*/ 5785550 h 6858000"/>
              <a:gd name="connsiteX403" fmla="*/ 3746477 w 7467600"/>
              <a:gd name="connsiteY403" fmla="*/ 5377889 h 6858000"/>
              <a:gd name="connsiteX404" fmla="*/ 3863399 w 7467600"/>
              <a:gd name="connsiteY404" fmla="*/ 5087257 h 6858000"/>
              <a:gd name="connsiteX405" fmla="*/ 3968712 w 7467600"/>
              <a:gd name="connsiteY405" fmla="*/ 4913989 h 6858000"/>
              <a:gd name="connsiteX406" fmla="*/ 2792390 w 7467600"/>
              <a:gd name="connsiteY406" fmla="*/ 5382974 h 6858000"/>
              <a:gd name="connsiteX407" fmla="*/ 2714982 w 7467600"/>
              <a:gd name="connsiteY407" fmla="*/ 5427051 h 6858000"/>
              <a:gd name="connsiteX408" fmla="*/ 2813361 w 7467600"/>
              <a:gd name="connsiteY408" fmla="*/ 6023912 h 6858000"/>
              <a:gd name="connsiteX409" fmla="*/ 2688430 w 7467600"/>
              <a:gd name="connsiteY409" fmla="*/ 6801564 h 6858000"/>
              <a:gd name="connsiteX410" fmla="*/ 2629626 w 7467600"/>
              <a:gd name="connsiteY410" fmla="*/ 6763394 h 6858000"/>
              <a:gd name="connsiteX411" fmla="*/ 2565328 w 7467600"/>
              <a:gd name="connsiteY411" fmla="*/ 5516399 h 6858000"/>
              <a:gd name="connsiteX412" fmla="*/ 1922999 w 7467600"/>
              <a:gd name="connsiteY412" fmla="*/ 5980343 h 6858000"/>
              <a:gd name="connsiteX413" fmla="*/ 1950261 w 7467600"/>
              <a:gd name="connsiteY413" fmla="*/ 6405858 h 6858000"/>
              <a:gd name="connsiteX414" fmla="*/ 2365554 w 7467600"/>
              <a:gd name="connsiteY414" fmla="*/ 6759107 h 6858000"/>
              <a:gd name="connsiteX415" fmla="*/ 2424142 w 7467600"/>
              <a:gd name="connsiteY415" fmla="*/ 6858000 h 6858000"/>
              <a:gd name="connsiteX416" fmla="*/ 2395994 w 7467600"/>
              <a:gd name="connsiteY416" fmla="*/ 6858000 h 6858000"/>
              <a:gd name="connsiteX417" fmla="*/ 2392863 w 7467600"/>
              <a:gd name="connsiteY417" fmla="*/ 6852964 h 6858000"/>
              <a:gd name="connsiteX418" fmla="*/ 2017589 w 7467600"/>
              <a:gd name="connsiteY418" fmla="*/ 6493982 h 6858000"/>
              <a:gd name="connsiteX419" fmla="*/ 2147336 w 7467600"/>
              <a:gd name="connsiteY419" fmla="*/ 6594052 h 6858000"/>
              <a:gd name="connsiteX420" fmla="*/ 2207047 w 7467600"/>
              <a:gd name="connsiteY420" fmla="*/ 6654540 h 6858000"/>
              <a:gd name="connsiteX421" fmla="*/ 2299106 w 7467600"/>
              <a:gd name="connsiteY421" fmla="*/ 6778931 h 6858000"/>
              <a:gd name="connsiteX422" fmla="*/ 2314430 w 7467600"/>
              <a:gd name="connsiteY422" fmla="*/ 6801144 h 6858000"/>
              <a:gd name="connsiteX423" fmla="*/ 2352406 w 7467600"/>
              <a:gd name="connsiteY423" fmla="*/ 6858000 h 6858000"/>
              <a:gd name="connsiteX424" fmla="*/ 2314492 w 7467600"/>
              <a:gd name="connsiteY424" fmla="*/ 6858000 h 6858000"/>
              <a:gd name="connsiteX425" fmla="*/ 2288095 w 7467600"/>
              <a:gd name="connsiteY425" fmla="*/ 6818030 h 6858000"/>
              <a:gd name="connsiteX426" fmla="*/ 2272768 w 7467600"/>
              <a:gd name="connsiteY426" fmla="*/ 6795822 h 6858000"/>
              <a:gd name="connsiteX427" fmla="*/ 2182715 w 7467600"/>
              <a:gd name="connsiteY427" fmla="*/ 6675071 h 6858000"/>
              <a:gd name="connsiteX428" fmla="*/ 2032061 w 7467600"/>
              <a:gd name="connsiteY428" fmla="*/ 6541380 h 6858000"/>
              <a:gd name="connsiteX429" fmla="*/ 2257220 w 7467600"/>
              <a:gd name="connsiteY429" fmla="*/ 6826257 h 6858000"/>
              <a:gd name="connsiteX430" fmla="*/ 2281324 w 7467600"/>
              <a:gd name="connsiteY430" fmla="*/ 6858000 h 6858000"/>
              <a:gd name="connsiteX431" fmla="*/ 2242860 w 7467600"/>
              <a:gd name="connsiteY431" fmla="*/ 6858000 h 6858000"/>
              <a:gd name="connsiteX432" fmla="*/ 2232818 w 7467600"/>
              <a:gd name="connsiteY432" fmla="*/ 6844926 h 6858000"/>
              <a:gd name="connsiteX433" fmla="*/ 1990172 w 7467600"/>
              <a:gd name="connsiteY433" fmla="*/ 6542121 h 6858000"/>
              <a:gd name="connsiteX434" fmla="*/ 2124090 w 7467600"/>
              <a:gd name="connsiteY434" fmla="*/ 6761017 h 6858000"/>
              <a:gd name="connsiteX435" fmla="*/ 2200380 w 7467600"/>
              <a:gd name="connsiteY435" fmla="*/ 6858000 h 6858000"/>
              <a:gd name="connsiteX436" fmla="*/ 2147507 w 7467600"/>
              <a:gd name="connsiteY436" fmla="*/ 6858000 h 6858000"/>
              <a:gd name="connsiteX437" fmla="*/ 2070668 w 7467600"/>
              <a:gd name="connsiteY437" fmla="*/ 6761520 h 6858000"/>
              <a:gd name="connsiteX438" fmla="*/ 1975142 w 7467600"/>
              <a:gd name="connsiteY438" fmla="*/ 6585570 h 6858000"/>
              <a:gd name="connsiteX439" fmla="*/ 2050035 w 7467600"/>
              <a:gd name="connsiteY439" fmla="*/ 6813345 h 6858000"/>
              <a:gd name="connsiteX440" fmla="*/ 2063025 w 7467600"/>
              <a:gd name="connsiteY440" fmla="*/ 6858000 h 6858000"/>
              <a:gd name="connsiteX441" fmla="*/ 2021675 w 7467600"/>
              <a:gd name="connsiteY441" fmla="*/ 6858000 h 6858000"/>
              <a:gd name="connsiteX442" fmla="*/ 2019308 w 7467600"/>
              <a:gd name="connsiteY442" fmla="*/ 6847118 h 6858000"/>
              <a:gd name="connsiteX443" fmla="*/ 1938835 w 7467600"/>
              <a:gd name="connsiteY443" fmla="*/ 6551160 h 6858000"/>
              <a:gd name="connsiteX444" fmla="*/ 1953230 w 7467600"/>
              <a:gd name="connsiteY444" fmla="*/ 6759699 h 6858000"/>
              <a:gd name="connsiteX445" fmla="*/ 1956763 w 7467600"/>
              <a:gd name="connsiteY445" fmla="*/ 6778191 h 6858000"/>
              <a:gd name="connsiteX446" fmla="*/ 1967925 w 7467600"/>
              <a:gd name="connsiteY446" fmla="*/ 6858000 h 6858000"/>
              <a:gd name="connsiteX447" fmla="*/ 1936622 w 7467600"/>
              <a:gd name="connsiteY447" fmla="*/ 6858000 h 6858000"/>
              <a:gd name="connsiteX448" fmla="*/ 1926261 w 7467600"/>
              <a:gd name="connsiteY448" fmla="*/ 6784064 h 6858000"/>
              <a:gd name="connsiteX449" fmla="*/ 1922724 w 7467600"/>
              <a:gd name="connsiteY449" fmla="*/ 6765577 h 6858000"/>
              <a:gd name="connsiteX450" fmla="*/ 1904650 w 7467600"/>
              <a:gd name="connsiteY450" fmla="*/ 6639616 h 6858000"/>
              <a:gd name="connsiteX451" fmla="*/ 1885273 w 7467600"/>
              <a:gd name="connsiteY451" fmla="*/ 6858000 h 6858000"/>
              <a:gd name="connsiteX452" fmla="*/ 1854363 w 7467600"/>
              <a:gd name="connsiteY452" fmla="*/ 6858000 h 6858000"/>
              <a:gd name="connsiteX453" fmla="*/ 1880391 w 7467600"/>
              <a:gd name="connsiteY453" fmla="*/ 6603796 h 6858000"/>
              <a:gd name="connsiteX454" fmla="*/ 1818273 w 7467600"/>
              <a:gd name="connsiteY454" fmla="*/ 6715729 h 6858000"/>
              <a:gd name="connsiteX455" fmla="*/ 1794691 w 7467600"/>
              <a:gd name="connsiteY455" fmla="*/ 6843239 h 6858000"/>
              <a:gd name="connsiteX456" fmla="*/ 1794914 w 7467600"/>
              <a:gd name="connsiteY456" fmla="*/ 6858000 h 6858000"/>
              <a:gd name="connsiteX457" fmla="*/ 1746128 w 7467600"/>
              <a:gd name="connsiteY457" fmla="*/ 6858000 h 6858000"/>
              <a:gd name="connsiteX458" fmla="*/ 1753934 w 7467600"/>
              <a:gd name="connsiteY458" fmla="*/ 6724796 h 6858000"/>
              <a:gd name="connsiteX459" fmla="*/ 1792053 w 7467600"/>
              <a:gd name="connsiteY459" fmla="*/ 6572396 h 6858000"/>
              <a:gd name="connsiteX460" fmla="*/ 1862248 w 7467600"/>
              <a:gd name="connsiteY460" fmla="*/ 6266397 h 6858000"/>
              <a:gd name="connsiteX461" fmla="*/ 1862250 w 7467600"/>
              <a:gd name="connsiteY461" fmla="*/ 6033531 h 6858000"/>
              <a:gd name="connsiteX462" fmla="*/ 1211999 w 7467600"/>
              <a:gd name="connsiteY462" fmla="*/ 6683610 h 6858000"/>
              <a:gd name="connsiteX463" fmla="*/ 1213266 w 7467600"/>
              <a:gd name="connsiteY463" fmla="*/ 6691947 h 6858000"/>
              <a:gd name="connsiteX464" fmla="*/ 1203370 w 7467600"/>
              <a:gd name="connsiteY464" fmla="*/ 6850676 h 6858000"/>
              <a:gd name="connsiteX465" fmla="*/ 1203671 w 7467600"/>
              <a:gd name="connsiteY465" fmla="*/ 6858000 h 6858000"/>
              <a:gd name="connsiteX466" fmla="*/ 1143180 w 7467600"/>
              <a:gd name="connsiteY466" fmla="*/ 6858000 h 6858000"/>
              <a:gd name="connsiteX467" fmla="*/ 1142176 w 7467600"/>
              <a:gd name="connsiteY467" fmla="*/ 6766045 h 6858000"/>
              <a:gd name="connsiteX468" fmla="*/ 1067484 w 7467600"/>
              <a:gd name="connsiteY468" fmla="*/ 6858000 h 6858000"/>
              <a:gd name="connsiteX469" fmla="*/ 953928 w 7467600"/>
              <a:gd name="connsiteY469" fmla="*/ 6858000 h 6858000"/>
              <a:gd name="connsiteX470" fmla="*/ 959715 w 7467600"/>
              <a:gd name="connsiteY470" fmla="*/ 6850185 h 6858000"/>
              <a:gd name="connsiteX471" fmla="*/ 1483788 w 7467600"/>
              <a:gd name="connsiteY471" fmla="*/ 6259174 h 6858000"/>
              <a:gd name="connsiteX472" fmla="*/ 1100671 w 7467600"/>
              <a:gd name="connsiteY472" fmla="*/ 6252137 h 6858000"/>
              <a:gd name="connsiteX473" fmla="*/ 1090144 w 7467600"/>
              <a:gd name="connsiteY473" fmla="*/ 6256748 h 6858000"/>
              <a:gd name="connsiteX474" fmla="*/ 1095872 w 7467600"/>
              <a:gd name="connsiteY474" fmla="*/ 6271892 h 6858000"/>
              <a:gd name="connsiteX475" fmla="*/ 262785 w 7467600"/>
              <a:gd name="connsiteY475" fmla="*/ 6845450 h 6858000"/>
              <a:gd name="connsiteX476" fmla="*/ 209968 w 7467600"/>
              <a:gd name="connsiteY476" fmla="*/ 6770713 h 6858000"/>
              <a:gd name="connsiteX477" fmla="*/ 873460 w 7467600"/>
              <a:gd name="connsiteY477" fmla="*/ 6253768 h 6858000"/>
              <a:gd name="connsiteX478" fmla="*/ 192686 w 7467600"/>
              <a:gd name="connsiteY478" fmla="*/ 5849257 h 6858000"/>
              <a:gd name="connsiteX479" fmla="*/ 4696 w 7467600"/>
              <a:gd name="connsiteY479" fmla="*/ 5697668 h 6858000"/>
              <a:gd name="connsiteX480" fmla="*/ 0 w 7467600"/>
              <a:gd name="connsiteY480" fmla="*/ 5689984 h 6858000"/>
              <a:gd name="connsiteX481" fmla="*/ 0 w 7467600"/>
              <a:gd name="connsiteY481" fmla="*/ 5513472 h 6858000"/>
              <a:gd name="connsiteX482" fmla="*/ 174101 w 7467600"/>
              <a:gd name="connsiteY482" fmla="*/ 5620277 h 6858000"/>
              <a:gd name="connsiteX483" fmla="*/ 891800 w 7467600"/>
              <a:gd name="connsiteY483" fmla="*/ 6036935 h 6858000"/>
              <a:gd name="connsiteX484" fmla="*/ 1072219 w 7467600"/>
              <a:gd name="connsiteY484" fmla="*/ 6169443 h 6858000"/>
              <a:gd name="connsiteX485" fmla="*/ 1074117 w 7467600"/>
              <a:gd name="connsiteY485" fmla="*/ 6170301 h 6858000"/>
              <a:gd name="connsiteX486" fmla="*/ 1083114 w 7467600"/>
              <a:gd name="connsiteY486" fmla="*/ 6174131 h 6858000"/>
              <a:gd name="connsiteX487" fmla="*/ 1543010 w 7467600"/>
              <a:gd name="connsiteY487" fmla="*/ 6191140 h 6858000"/>
              <a:gd name="connsiteX488" fmla="*/ 1551080 w 7467600"/>
              <a:gd name="connsiteY488" fmla="*/ 6195006 h 6858000"/>
              <a:gd name="connsiteX489" fmla="*/ 2345443 w 7467600"/>
              <a:gd name="connsiteY489" fmla="*/ 5549882 h 6858000"/>
              <a:gd name="connsiteX490" fmla="*/ 1721499 w 7467600"/>
              <a:gd name="connsiteY490" fmla="*/ 5599969 h 6858000"/>
              <a:gd name="connsiteX491" fmla="*/ 767716 w 7467600"/>
              <a:gd name="connsiteY491" fmla="*/ 5472768 h 6858000"/>
              <a:gd name="connsiteX492" fmla="*/ 722147 w 7467600"/>
              <a:gd name="connsiteY492" fmla="*/ 5393091 h 6858000"/>
              <a:gd name="connsiteX493" fmla="*/ 1485552 w 7467600"/>
              <a:gd name="connsiteY493" fmla="*/ 5313202 h 6858000"/>
              <a:gd name="connsiteX494" fmla="*/ 2143004 w 7467600"/>
              <a:gd name="connsiteY494" fmla="*/ 5402420 h 6858000"/>
              <a:gd name="connsiteX495" fmla="*/ 1933391 w 7467600"/>
              <a:gd name="connsiteY495" fmla="*/ 5156971 h 6858000"/>
              <a:gd name="connsiteX496" fmla="*/ 1827118 w 7467600"/>
              <a:gd name="connsiteY496" fmla="*/ 4968410 h 6858000"/>
              <a:gd name="connsiteX497" fmla="*/ 1837349 w 7467600"/>
              <a:gd name="connsiteY497" fmla="*/ 4956357 h 6858000"/>
              <a:gd name="connsiteX498" fmla="*/ 2162835 w 7467600"/>
              <a:gd name="connsiteY498" fmla="*/ 5187853 h 6858000"/>
              <a:gd name="connsiteX499" fmla="*/ 2257167 w 7467600"/>
              <a:gd name="connsiteY499" fmla="*/ 5462123 h 6858000"/>
              <a:gd name="connsiteX500" fmla="*/ 2261598 w 7467600"/>
              <a:gd name="connsiteY500" fmla="*/ 5467998 h 6858000"/>
              <a:gd name="connsiteX501" fmla="*/ 2437177 w 7467600"/>
              <a:gd name="connsiteY501" fmla="*/ 5479608 h 6858000"/>
              <a:gd name="connsiteX502" fmla="*/ 2445247 w 7467600"/>
              <a:gd name="connsiteY502" fmla="*/ 5483476 h 6858000"/>
              <a:gd name="connsiteX503" fmla="*/ 2743626 w 7467600"/>
              <a:gd name="connsiteY503" fmla="*/ 5304819 h 6858000"/>
              <a:gd name="connsiteX504" fmla="*/ 3048102 w 7467600"/>
              <a:gd name="connsiteY504" fmla="*/ 5150595 h 6858000"/>
              <a:gd name="connsiteX505" fmla="*/ 1799414 w 7467600"/>
              <a:gd name="connsiteY505" fmla="*/ 4694732 h 6858000"/>
              <a:gd name="connsiteX506" fmla="*/ 1771735 w 7467600"/>
              <a:gd name="connsiteY506" fmla="*/ 4619929 h 6858000"/>
              <a:gd name="connsiteX507" fmla="*/ 3104273 w 7467600"/>
              <a:gd name="connsiteY507" fmla="*/ 5076159 h 6858000"/>
              <a:gd name="connsiteX508" fmla="*/ 3113245 w 7467600"/>
              <a:gd name="connsiteY508" fmla="*/ 5090705 h 6858000"/>
              <a:gd name="connsiteX509" fmla="*/ 3126294 w 7467600"/>
              <a:gd name="connsiteY509" fmla="*/ 5114400 h 6858000"/>
              <a:gd name="connsiteX510" fmla="*/ 3937433 w 7467600"/>
              <a:gd name="connsiteY510" fmla="*/ 4830473 h 6858000"/>
              <a:gd name="connsiteX511" fmla="*/ 3590475 w 7467600"/>
              <a:gd name="connsiteY511" fmla="*/ 4597974 h 6858000"/>
              <a:gd name="connsiteX512" fmla="*/ 3100264 w 7467600"/>
              <a:gd name="connsiteY512" fmla="*/ 4579845 h 6858000"/>
              <a:gd name="connsiteX513" fmla="*/ 2183576 w 7467600"/>
              <a:gd name="connsiteY513" fmla="*/ 4227150 h 6858000"/>
              <a:gd name="connsiteX514" fmla="*/ 2151029 w 7467600"/>
              <a:gd name="connsiteY514" fmla="*/ 4146947 h 6858000"/>
              <a:gd name="connsiteX515" fmla="*/ 3563434 w 7467600"/>
              <a:gd name="connsiteY515" fmla="*/ 4469115 h 6858000"/>
              <a:gd name="connsiteX516" fmla="*/ 3177952 w 7467600"/>
              <a:gd name="connsiteY516" fmla="*/ 3657386 h 6858000"/>
              <a:gd name="connsiteX517" fmla="*/ 3189263 w 7467600"/>
              <a:gd name="connsiteY517" fmla="*/ 3625726 h 6858000"/>
              <a:gd name="connsiteX518" fmla="*/ 3560912 w 7467600"/>
              <a:gd name="connsiteY518" fmla="*/ 4079863 h 6858000"/>
              <a:gd name="connsiteX519" fmla="*/ 3626636 w 7467600"/>
              <a:gd name="connsiteY519" fmla="*/ 4512230 h 6858000"/>
              <a:gd name="connsiteX520" fmla="*/ 3653088 w 7467600"/>
              <a:gd name="connsiteY520" fmla="*/ 4521417 h 6858000"/>
              <a:gd name="connsiteX521" fmla="*/ 3988128 w 7467600"/>
              <a:gd name="connsiteY521" fmla="*/ 4817267 h 6858000"/>
              <a:gd name="connsiteX522" fmla="*/ 4830582 w 7467600"/>
              <a:gd name="connsiteY522" fmla="*/ 4676000 h 6858000"/>
              <a:gd name="connsiteX523" fmla="*/ 4830100 w 7467600"/>
              <a:gd name="connsiteY523" fmla="*/ 4675554 h 6858000"/>
              <a:gd name="connsiteX524" fmla="*/ 4036318 w 7467600"/>
              <a:gd name="connsiteY524" fmla="*/ 4147013 h 6858000"/>
              <a:gd name="connsiteX525" fmla="*/ 3432098 w 7467600"/>
              <a:gd name="connsiteY525" fmla="*/ 3537312 h 6858000"/>
              <a:gd name="connsiteX526" fmla="*/ 3446761 w 7467600"/>
              <a:gd name="connsiteY526" fmla="*/ 3461278 h 6858000"/>
              <a:gd name="connsiteX527" fmla="*/ 4419733 w 7467600"/>
              <a:gd name="connsiteY527" fmla="*/ 3963555 h 6858000"/>
              <a:gd name="connsiteX528" fmla="*/ 4781371 w 7467600"/>
              <a:gd name="connsiteY528" fmla="*/ 4458604 h 6858000"/>
              <a:gd name="connsiteX529" fmla="*/ 4780440 w 7467600"/>
              <a:gd name="connsiteY529" fmla="*/ 4470290 h 6858000"/>
              <a:gd name="connsiteX530" fmla="*/ 4898954 w 7467600"/>
              <a:gd name="connsiteY530" fmla="*/ 4662092 h 6858000"/>
              <a:gd name="connsiteX531" fmla="*/ 4900699 w 7467600"/>
              <a:gd name="connsiteY531" fmla="*/ 4670867 h 6858000"/>
              <a:gd name="connsiteX532" fmla="*/ 5714511 w 7467600"/>
              <a:gd name="connsiteY532" fmla="*/ 4663483 h 6858000"/>
              <a:gd name="connsiteX533" fmla="*/ 5464793 w 7467600"/>
              <a:gd name="connsiteY533" fmla="*/ 4393556 h 6858000"/>
              <a:gd name="connsiteX534" fmla="*/ 5461897 w 7467600"/>
              <a:gd name="connsiteY534" fmla="*/ 4390879 h 6858000"/>
              <a:gd name="connsiteX535" fmla="*/ 4294126 w 7467600"/>
              <a:gd name="connsiteY535" fmla="*/ 3303048 h 6858000"/>
              <a:gd name="connsiteX536" fmla="*/ 4305321 w 7467600"/>
              <a:gd name="connsiteY536" fmla="*/ 3256953 h 6858000"/>
              <a:gd name="connsiteX537" fmla="*/ 4949299 w 7467600"/>
              <a:gd name="connsiteY537" fmla="*/ 3766336 h 6858000"/>
              <a:gd name="connsiteX538" fmla="*/ 5291452 w 7467600"/>
              <a:gd name="connsiteY538" fmla="*/ 4076801 h 6858000"/>
              <a:gd name="connsiteX539" fmla="*/ 5434998 w 7467600"/>
              <a:gd name="connsiteY539" fmla="*/ 4254100 h 6858000"/>
              <a:gd name="connsiteX540" fmla="*/ 5351015 w 7467600"/>
              <a:gd name="connsiteY540" fmla="*/ 3760989 h 6858000"/>
              <a:gd name="connsiteX541" fmla="*/ 5413780 w 7467600"/>
              <a:gd name="connsiteY541" fmla="*/ 2966265 h 6858000"/>
              <a:gd name="connsiteX542" fmla="*/ 5425627 w 7467600"/>
              <a:gd name="connsiteY542" fmla="*/ 2954192 h 6858000"/>
              <a:gd name="connsiteX543" fmla="*/ 6604735 w 7467600"/>
              <a:gd name="connsiteY543" fmla="*/ 2041381 h 6858000"/>
              <a:gd name="connsiteX544" fmla="*/ 7204487 w 7467600"/>
              <a:gd name="connsiteY544" fmla="*/ 2742112 h 6858000"/>
              <a:gd name="connsiteX545" fmla="*/ 7131592 w 7467600"/>
              <a:gd name="connsiteY545" fmla="*/ 2672096 h 6858000"/>
              <a:gd name="connsiteX546" fmla="*/ 6996344 w 7467600"/>
              <a:gd name="connsiteY546" fmla="*/ 2518310 h 6858000"/>
              <a:gd name="connsiteX547" fmla="*/ 6735495 w 7467600"/>
              <a:gd name="connsiteY547" fmla="*/ 2196890 h 6858000"/>
              <a:gd name="connsiteX548" fmla="*/ 6721901 w 7467600"/>
              <a:gd name="connsiteY548" fmla="*/ 2179274 h 6858000"/>
              <a:gd name="connsiteX549" fmla="*/ 6604735 w 7467600"/>
              <a:gd name="connsiteY549" fmla="*/ 2041381 h 6858000"/>
              <a:gd name="connsiteX550" fmla="*/ 6591670 w 7467600"/>
              <a:gd name="connsiteY550" fmla="*/ 1988277 h 6858000"/>
              <a:gd name="connsiteX551" fmla="*/ 6747349 w 7467600"/>
              <a:gd name="connsiteY551" fmla="*/ 2160069 h 6858000"/>
              <a:gd name="connsiteX552" fmla="*/ 6760943 w 7467600"/>
              <a:gd name="connsiteY552" fmla="*/ 2177686 h 6858000"/>
              <a:gd name="connsiteX553" fmla="*/ 7021065 w 7467600"/>
              <a:gd name="connsiteY553" fmla="*/ 2498102 h 6858000"/>
              <a:gd name="connsiteX554" fmla="*/ 7155223 w 7467600"/>
              <a:gd name="connsiteY554" fmla="*/ 2650386 h 6858000"/>
              <a:gd name="connsiteX555" fmla="*/ 7203167 w 7467600"/>
              <a:gd name="connsiteY555" fmla="*/ 2697288 h 6858000"/>
              <a:gd name="connsiteX556" fmla="*/ 6937703 w 7467600"/>
              <a:gd name="connsiteY556" fmla="*/ 2321981 h 6858000"/>
              <a:gd name="connsiteX557" fmla="*/ 6591670 w 7467600"/>
              <a:gd name="connsiteY557" fmla="*/ 1988277 h 6858000"/>
              <a:gd name="connsiteX558" fmla="*/ 5798671 w 7467600"/>
              <a:gd name="connsiteY558" fmla="*/ 1981601 h 6858000"/>
              <a:gd name="connsiteX559" fmla="*/ 5754709 w 7467600"/>
              <a:gd name="connsiteY559" fmla="*/ 2071454 h 6858000"/>
              <a:gd name="connsiteX560" fmla="*/ 5763044 w 7467600"/>
              <a:gd name="connsiteY560" fmla="*/ 2842206 h 6858000"/>
              <a:gd name="connsiteX561" fmla="*/ 5764974 w 7467600"/>
              <a:gd name="connsiteY561" fmla="*/ 2799609 h 6858000"/>
              <a:gd name="connsiteX562" fmla="*/ 5767665 w 7467600"/>
              <a:gd name="connsiteY562" fmla="*/ 2666409 h 6858000"/>
              <a:gd name="connsiteX563" fmla="*/ 5763055 w 7467600"/>
              <a:gd name="connsiteY563" fmla="*/ 2579705 h 6858000"/>
              <a:gd name="connsiteX564" fmla="*/ 5758079 w 7467600"/>
              <a:gd name="connsiteY564" fmla="*/ 2492508 h 6858000"/>
              <a:gd name="connsiteX565" fmla="*/ 5779325 w 7467600"/>
              <a:gd name="connsiteY565" fmla="*/ 2197069 h 6858000"/>
              <a:gd name="connsiteX566" fmla="*/ 5798671 w 7467600"/>
              <a:gd name="connsiteY566" fmla="*/ 1981601 h 6858000"/>
              <a:gd name="connsiteX567" fmla="*/ 5829202 w 7467600"/>
              <a:gd name="connsiteY567" fmla="*/ 1971679 h 6858000"/>
              <a:gd name="connsiteX568" fmla="*/ 5809558 w 7467600"/>
              <a:gd name="connsiteY568" fmla="*/ 2198043 h 6858000"/>
              <a:gd name="connsiteX569" fmla="*/ 5788653 w 7467600"/>
              <a:gd name="connsiteY569" fmla="*/ 2489430 h 6858000"/>
              <a:gd name="connsiteX570" fmla="*/ 5793439 w 7467600"/>
              <a:gd name="connsiteY570" fmla="*/ 2575235 h 6858000"/>
              <a:gd name="connsiteX571" fmla="*/ 5796837 w 7467600"/>
              <a:gd name="connsiteY571" fmla="*/ 2637633 h 6858000"/>
              <a:gd name="connsiteX572" fmla="*/ 5818614 w 7467600"/>
              <a:gd name="connsiteY572" fmla="*/ 2473055 h 6858000"/>
              <a:gd name="connsiteX573" fmla="*/ 5829202 w 7467600"/>
              <a:gd name="connsiteY573" fmla="*/ 1971679 h 6858000"/>
              <a:gd name="connsiteX574" fmla="*/ 5911389 w 7467600"/>
              <a:gd name="connsiteY574" fmla="*/ 1898371 h 6858000"/>
              <a:gd name="connsiteX575" fmla="*/ 6237627 w 7467600"/>
              <a:gd name="connsiteY575" fmla="*/ 2231921 h 6858000"/>
              <a:gd name="connsiteX576" fmla="*/ 5911389 w 7467600"/>
              <a:gd name="connsiteY576" fmla="*/ 1898371 h 6858000"/>
              <a:gd name="connsiteX577" fmla="*/ 6944437 w 7467600"/>
              <a:gd name="connsiteY577" fmla="*/ 1575402 h 6858000"/>
              <a:gd name="connsiteX578" fmla="*/ 6304730 w 7467600"/>
              <a:gd name="connsiteY578" fmla="*/ 1766654 h 6858000"/>
              <a:gd name="connsiteX579" fmla="*/ 6944437 w 7467600"/>
              <a:gd name="connsiteY579" fmla="*/ 1575402 h 6858000"/>
              <a:gd name="connsiteX580" fmla="*/ 7019523 w 7467600"/>
              <a:gd name="connsiteY580" fmla="*/ 1519450 h 6858000"/>
              <a:gd name="connsiteX581" fmla="*/ 6298091 w 7467600"/>
              <a:gd name="connsiteY581" fmla="*/ 1737122 h 6858000"/>
              <a:gd name="connsiteX582" fmla="*/ 7019523 w 7467600"/>
              <a:gd name="connsiteY582" fmla="*/ 1519450 h 6858000"/>
              <a:gd name="connsiteX583" fmla="*/ 2399523 w 7467600"/>
              <a:gd name="connsiteY583" fmla="*/ 1428234 h 6858000"/>
              <a:gd name="connsiteX584" fmla="*/ 2224982 w 7467600"/>
              <a:gd name="connsiteY584" fmla="*/ 1826201 h 6858000"/>
              <a:gd name="connsiteX585" fmla="*/ 2096099 w 7467600"/>
              <a:gd name="connsiteY585" fmla="*/ 2345900 h 6858000"/>
              <a:gd name="connsiteX586" fmla="*/ 2283317 w 7467600"/>
              <a:gd name="connsiteY586" fmla="*/ 1796925 h 6858000"/>
              <a:gd name="connsiteX587" fmla="*/ 2399523 w 7467600"/>
              <a:gd name="connsiteY587" fmla="*/ 1428234 h 6858000"/>
              <a:gd name="connsiteX588" fmla="*/ 2448558 w 7467600"/>
              <a:gd name="connsiteY588" fmla="*/ 1373435 h 6858000"/>
              <a:gd name="connsiteX589" fmla="*/ 2312521 w 7467600"/>
              <a:gd name="connsiteY589" fmla="*/ 1806140 h 6858000"/>
              <a:gd name="connsiteX590" fmla="*/ 2127533 w 7467600"/>
              <a:gd name="connsiteY590" fmla="*/ 2348380 h 6858000"/>
              <a:gd name="connsiteX591" fmla="*/ 2358080 w 7467600"/>
              <a:gd name="connsiteY591" fmla="*/ 1866134 h 6858000"/>
              <a:gd name="connsiteX592" fmla="*/ 2407436 w 7467600"/>
              <a:gd name="connsiteY592" fmla="*/ 1651070 h 6858000"/>
              <a:gd name="connsiteX593" fmla="*/ 2448558 w 7467600"/>
              <a:gd name="connsiteY593" fmla="*/ 1373435 h 6858000"/>
              <a:gd name="connsiteX594" fmla="*/ 278707 w 7467600"/>
              <a:gd name="connsiteY594" fmla="*/ 1352270 h 6858000"/>
              <a:gd name="connsiteX595" fmla="*/ 321570 w 7467600"/>
              <a:gd name="connsiteY595" fmla="*/ 1861610 h 6858000"/>
              <a:gd name="connsiteX596" fmla="*/ 294281 w 7467600"/>
              <a:gd name="connsiteY596" fmla="*/ 1440658 h 6858000"/>
              <a:gd name="connsiteX597" fmla="*/ 278707 w 7467600"/>
              <a:gd name="connsiteY597" fmla="*/ 1352270 h 6858000"/>
              <a:gd name="connsiteX598" fmla="*/ 1423821 w 7467600"/>
              <a:gd name="connsiteY598" fmla="*/ 1351958 h 6858000"/>
              <a:gd name="connsiteX599" fmla="*/ 1638521 w 7467600"/>
              <a:gd name="connsiteY599" fmla="*/ 1908470 h 6858000"/>
              <a:gd name="connsiteX600" fmla="*/ 1754199 w 7467600"/>
              <a:gd name="connsiteY600" fmla="*/ 2149284 h 6858000"/>
              <a:gd name="connsiteX601" fmla="*/ 1908359 w 7467600"/>
              <a:gd name="connsiteY601" fmla="*/ 2364988 h 6858000"/>
              <a:gd name="connsiteX602" fmla="*/ 1647661 w 7467600"/>
              <a:gd name="connsiteY602" fmla="*/ 1825945 h 6858000"/>
              <a:gd name="connsiteX603" fmla="*/ 1423821 w 7467600"/>
              <a:gd name="connsiteY603" fmla="*/ 1351958 h 6858000"/>
              <a:gd name="connsiteX604" fmla="*/ 1431890 w 7467600"/>
              <a:gd name="connsiteY604" fmla="*/ 1306475 h 6858000"/>
              <a:gd name="connsiteX605" fmla="*/ 1507597 w 7467600"/>
              <a:gd name="connsiteY605" fmla="*/ 1446132 h 6858000"/>
              <a:gd name="connsiteX606" fmla="*/ 1674586 w 7467600"/>
              <a:gd name="connsiteY606" fmla="*/ 1813832 h 6858000"/>
              <a:gd name="connsiteX607" fmla="*/ 1815950 w 7467600"/>
              <a:gd name="connsiteY607" fmla="*/ 2128564 h 6858000"/>
              <a:gd name="connsiteX608" fmla="*/ 1984242 w 7467600"/>
              <a:gd name="connsiteY608" fmla="*/ 2430829 h 6858000"/>
              <a:gd name="connsiteX609" fmla="*/ 2014023 w 7467600"/>
              <a:gd name="connsiteY609" fmla="*/ 2450995 h 6858000"/>
              <a:gd name="connsiteX610" fmla="*/ 1747337 w 7467600"/>
              <a:gd name="connsiteY610" fmla="*/ 1855264 h 6858000"/>
              <a:gd name="connsiteX611" fmla="*/ 1533749 w 7467600"/>
              <a:gd name="connsiteY611" fmla="*/ 1478656 h 6858000"/>
              <a:gd name="connsiteX612" fmla="*/ 1431890 w 7467600"/>
              <a:gd name="connsiteY612" fmla="*/ 1306475 h 6858000"/>
              <a:gd name="connsiteX613" fmla="*/ 5052692 w 7467600"/>
              <a:gd name="connsiteY613" fmla="*/ 1292994 h 6858000"/>
              <a:gd name="connsiteX614" fmla="*/ 5200661 w 7467600"/>
              <a:gd name="connsiteY614" fmla="*/ 1635186 h 6858000"/>
              <a:gd name="connsiteX615" fmla="*/ 5297138 w 7467600"/>
              <a:gd name="connsiteY615" fmla="*/ 1906351 h 6858000"/>
              <a:gd name="connsiteX616" fmla="*/ 5052692 w 7467600"/>
              <a:gd name="connsiteY616" fmla="*/ 1292994 h 6858000"/>
              <a:gd name="connsiteX617" fmla="*/ 5009948 w 7467600"/>
              <a:gd name="connsiteY617" fmla="*/ 1273619 h 6858000"/>
              <a:gd name="connsiteX618" fmla="*/ 5121777 w 7467600"/>
              <a:gd name="connsiteY618" fmla="*/ 1654213 h 6858000"/>
              <a:gd name="connsiteX619" fmla="*/ 5293545 w 7467600"/>
              <a:gd name="connsiteY619" fmla="*/ 2072247 h 6858000"/>
              <a:gd name="connsiteX620" fmla="*/ 5294042 w 7467600"/>
              <a:gd name="connsiteY620" fmla="*/ 2065019 h 6858000"/>
              <a:gd name="connsiteX621" fmla="*/ 5171936 w 7467600"/>
              <a:gd name="connsiteY621" fmla="*/ 1647613 h 6858000"/>
              <a:gd name="connsiteX622" fmla="*/ 5009948 w 7467600"/>
              <a:gd name="connsiteY622" fmla="*/ 1273619 h 6858000"/>
              <a:gd name="connsiteX623" fmla="*/ 655236 w 7467600"/>
              <a:gd name="connsiteY623" fmla="*/ 1268632 h 6858000"/>
              <a:gd name="connsiteX624" fmla="*/ 839521 w 7467600"/>
              <a:gd name="connsiteY624" fmla="*/ 1685315 h 6858000"/>
              <a:gd name="connsiteX625" fmla="*/ 1109416 w 7467600"/>
              <a:gd name="connsiteY625" fmla="*/ 2061663 h 6858000"/>
              <a:gd name="connsiteX626" fmla="*/ 1298300 w 7467600"/>
              <a:gd name="connsiteY626" fmla="*/ 2247742 h 6858000"/>
              <a:gd name="connsiteX627" fmla="*/ 1125871 w 7467600"/>
              <a:gd name="connsiteY627" fmla="*/ 1989513 h 6858000"/>
              <a:gd name="connsiteX628" fmla="*/ 981574 w 7467600"/>
              <a:gd name="connsiteY628" fmla="*/ 1783157 h 6858000"/>
              <a:gd name="connsiteX629" fmla="*/ 922198 w 7467600"/>
              <a:gd name="connsiteY629" fmla="*/ 1677437 h 6858000"/>
              <a:gd name="connsiteX630" fmla="*/ 869293 w 7467600"/>
              <a:gd name="connsiteY630" fmla="*/ 1583214 h 6858000"/>
              <a:gd name="connsiteX631" fmla="*/ 751431 w 7467600"/>
              <a:gd name="connsiteY631" fmla="*/ 1405731 h 6858000"/>
              <a:gd name="connsiteX632" fmla="*/ 655236 w 7467600"/>
              <a:gd name="connsiteY632" fmla="*/ 1268632 h 6858000"/>
              <a:gd name="connsiteX633" fmla="*/ 6516292 w 7467600"/>
              <a:gd name="connsiteY633" fmla="*/ 1263064 h 6858000"/>
              <a:gd name="connsiteX634" fmla="*/ 5736320 w 7467600"/>
              <a:gd name="connsiteY634" fmla="*/ 1501803 h 6858000"/>
              <a:gd name="connsiteX635" fmla="*/ 6516292 w 7467600"/>
              <a:gd name="connsiteY635" fmla="*/ 1263064 h 6858000"/>
              <a:gd name="connsiteX636" fmla="*/ 291466 w 7467600"/>
              <a:gd name="connsiteY636" fmla="*/ 1250369 h 6858000"/>
              <a:gd name="connsiteX637" fmla="*/ 323180 w 7467600"/>
              <a:gd name="connsiteY637" fmla="*/ 1435283 h 6858000"/>
              <a:gd name="connsiteX638" fmla="*/ 349381 w 7467600"/>
              <a:gd name="connsiteY638" fmla="*/ 1875041 h 6858000"/>
              <a:gd name="connsiteX639" fmla="*/ 374363 w 7467600"/>
              <a:gd name="connsiteY639" fmla="*/ 1506494 h 6858000"/>
              <a:gd name="connsiteX640" fmla="*/ 302168 w 7467600"/>
              <a:gd name="connsiteY640" fmla="*/ 1274495 h 6858000"/>
              <a:gd name="connsiteX641" fmla="*/ 291466 w 7467600"/>
              <a:gd name="connsiteY641" fmla="*/ 1250369 h 6858000"/>
              <a:gd name="connsiteX642" fmla="*/ 678222 w 7467600"/>
              <a:gd name="connsiteY642" fmla="*/ 1248670 h 6858000"/>
              <a:gd name="connsiteX643" fmla="*/ 775536 w 7467600"/>
              <a:gd name="connsiteY643" fmla="*/ 1388015 h 6858000"/>
              <a:gd name="connsiteX644" fmla="*/ 894529 w 7467600"/>
              <a:gd name="connsiteY644" fmla="*/ 1567739 h 6858000"/>
              <a:gd name="connsiteX645" fmla="*/ 948000 w 7467600"/>
              <a:gd name="connsiteY645" fmla="*/ 1663088 h 6858000"/>
              <a:gd name="connsiteX646" fmla="*/ 1006812 w 7467600"/>
              <a:gd name="connsiteY646" fmla="*/ 1767683 h 6858000"/>
              <a:gd name="connsiteX647" fmla="*/ 1149133 w 7467600"/>
              <a:gd name="connsiteY647" fmla="*/ 1971513 h 6858000"/>
              <a:gd name="connsiteX648" fmla="*/ 1333952 w 7467600"/>
              <a:gd name="connsiteY648" fmla="*/ 2251620 h 6858000"/>
              <a:gd name="connsiteX649" fmla="*/ 1337329 w 7467600"/>
              <a:gd name="connsiteY649" fmla="*/ 2258350 h 6858000"/>
              <a:gd name="connsiteX650" fmla="*/ 1014726 w 7467600"/>
              <a:gd name="connsiteY650" fmla="*/ 1615556 h 6858000"/>
              <a:gd name="connsiteX651" fmla="*/ 678222 w 7467600"/>
              <a:gd name="connsiteY651" fmla="*/ 1248670 h 6858000"/>
              <a:gd name="connsiteX652" fmla="*/ 6691602 w 7467600"/>
              <a:gd name="connsiteY652" fmla="*/ 1140573 h 6858000"/>
              <a:gd name="connsiteX653" fmla="*/ 6571100 w 7467600"/>
              <a:gd name="connsiteY653" fmla="*/ 1183662 h 6858000"/>
              <a:gd name="connsiteX654" fmla="*/ 6241687 w 7467600"/>
              <a:gd name="connsiteY654" fmla="*/ 1257600 h 6858000"/>
              <a:gd name="connsiteX655" fmla="*/ 5693009 w 7467600"/>
              <a:gd name="connsiteY655" fmla="*/ 1478256 h 6858000"/>
              <a:gd name="connsiteX656" fmla="*/ 6548420 w 7467600"/>
              <a:gd name="connsiteY656" fmla="*/ 1214599 h 6858000"/>
              <a:gd name="connsiteX657" fmla="*/ 6605473 w 7467600"/>
              <a:gd name="connsiteY657" fmla="*/ 1184686 h 6858000"/>
              <a:gd name="connsiteX658" fmla="*/ 6691602 w 7467600"/>
              <a:gd name="connsiteY658" fmla="*/ 1140573 h 6858000"/>
              <a:gd name="connsiteX659" fmla="*/ 4002475 w 7467600"/>
              <a:gd name="connsiteY659" fmla="*/ 1037802 h 6858000"/>
              <a:gd name="connsiteX660" fmla="*/ 4000324 w 7467600"/>
              <a:gd name="connsiteY660" fmla="*/ 1039362 h 6858000"/>
              <a:gd name="connsiteX661" fmla="*/ 4002862 w 7467600"/>
              <a:gd name="connsiteY661" fmla="*/ 1042866 h 6858000"/>
              <a:gd name="connsiteX662" fmla="*/ 4002475 w 7467600"/>
              <a:gd name="connsiteY662" fmla="*/ 1037802 h 6858000"/>
              <a:gd name="connsiteX663" fmla="*/ 506322 w 7467600"/>
              <a:gd name="connsiteY663" fmla="*/ 1020997 h 6858000"/>
              <a:gd name="connsiteX664" fmla="*/ 533068 w 7467600"/>
              <a:gd name="connsiteY664" fmla="*/ 1029409 h 6858000"/>
              <a:gd name="connsiteX665" fmla="*/ 1232525 w 7467600"/>
              <a:gd name="connsiteY665" fmla="*/ 1804675 h 6858000"/>
              <a:gd name="connsiteX666" fmla="*/ 1388858 w 7467600"/>
              <a:gd name="connsiteY666" fmla="*/ 2368011 h 6858000"/>
              <a:gd name="connsiteX667" fmla="*/ 1384098 w 7467600"/>
              <a:gd name="connsiteY667" fmla="*/ 2378125 h 6858000"/>
              <a:gd name="connsiteX668" fmla="*/ 1425393 w 7467600"/>
              <a:gd name="connsiteY668" fmla="*/ 2589124 h 6858000"/>
              <a:gd name="connsiteX669" fmla="*/ 1424001 w 7467600"/>
              <a:gd name="connsiteY669" fmla="*/ 2597541 h 6858000"/>
              <a:gd name="connsiteX670" fmla="*/ 2152729 w 7467600"/>
              <a:gd name="connsiteY670" fmla="*/ 2864487 h 6858000"/>
              <a:gd name="connsiteX671" fmla="*/ 2020609 w 7467600"/>
              <a:gd name="connsiteY671" fmla="*/ 2539671 h 6858000"/>
              <a:gd name="connsiteX672" fmla="*/ 2018920 w 7467600"/>
              <a:gd name="connsiteY672" fmla="*/ 2536309 h 6858000"/>
              <a:gd name="connsiteX673" fmla="*/ 1342441 w 7467600"/>
              <a:gd name="connsiteY673" fmla="*/ 1173017 h 6858000"/>
              <a:gd name="connsiteX674" fmla="*/ 1367925 w 7467600"/>
              <a:gd name="connsiteY674" fmla="*/ 1135648 h 6858000"/>
              <a:gd name="connsiteX675" fmla="*/ 1771401 w 7467600"/>
              <a:gd name="connsiteY675" fmla="*/ 1806673 h 6858000"/>
              <a:gd name="connsiteX676" fmla="*/ 1972385 w 7467600"/>
              <a:gd name="connsiteY676" fmla="*/ 2198735 h 6858000"/>
              <a:gd name="connsiteX677" fmla="*/ 2040892 w 7467600"/>
              <a:gd name="connsiteY677" fmla="*/ 2405205 h 6858000"/>
              <a:gd name="connsiteX678" fmla="*/ 2131689 w 7467600"/>
              <a:gd name="connsiteY678" fmla="*/ 1936926 h 6858000"/>
              <a:gd name="connsiteX679" fmla="*/ 2454820 w 7467600"/>
              <a:gd name="connsiteY679" fmla="*/ 1248808 h 6858000"/>
              <a:gd name="connsiteX680" fmla="*/ 2492512 w 7467600"/>
              <a:gd name="connsiteY680" fmla="*/ 1302920 h 6858000"/>
              <a:gd name="connsiteX681" fmla="*/ 2081216 w 7467600"/>
              <a:gd name="connsiteY681" fmla="*/ 2527513 h 6858000"/>
              <a:gd name="connsiteX682" fmla="*/ 2081211 w 7467600"/>
              <a:gd name="connsiteY682" fmla="*/ 2528916 h 6858000"/>
              <a:gd name="connsiteX683" fmla="*/ 2199067 w 7467600"/>
              <a:gd name="connsiteY683" fmla="*/ 2884061 h 6858000"/>
              <a:gd name="connsiteX684" fmla="*/ 3192586 w 7467600"/>
              <a:gd name="connsiteY684" fmla="*/ 3411496 h 6858000"/>
              <a:gd name="connsiteX685" fmla="*/ 3182620 w 7467600"/>
              <a:gd name="connsiteY685" fmla="*/ 3483279 h 6858000"/>
              <a:gd name="connsiteX686" fmla="*/ 2435119 w 7467600"/>
              <a:gd name="connsiteY686" fmla="*/ 3080173 h 6858000"/>
              <a:gd name="connsiteX687" fmla="*/ 2410152 w 7467600"/>
              <a:gd name="connsiteY687" fmla="*/ 3063751 h 6858000"/>
              <a:gd name="connsiteX688" fmla="*/ 2408099 w 7467600"/>
              <a:gd name="connsiteY688" fmla="*/ 3064403 h 6858000"/>
              <a:gd name="connsiteX689" fmla="*/ 2407218 w 7467600"/>
              <a:gd name="connsiteY689" fmla="*/ 3070324 h 6858000"/>
              <a:gd name="connsiteX690" fmla="*/ 2380138 w 7467600"/>
              <a:gd name="connsiteY690" fmla="*/ 3099341 h 6858000"/>
              <a:gd name="connsiteX691" fmla="*/ 1765923 w 7467600"/>
              <a:gd name="connsiteY691" fmla="*/ 3581043 h 6858000"/>
              <a:gd name="connsiteX692" fmla="*/ 1702258 w 7467600"/>
              <a:gd name="connsiteY692" fmla="*/ 3612286 h 6858000"/>
              <a:gd name="connsiteX693" fmla="*/ 1538370 w 7467600"/>
              <a:gd name="connsiteY693" fmla="*/ 3811804 h 6858000"/>
              <a:gd name="connsiteX694" fmla="*/ 542867 w 7467600"/>
              <a:gd name="connsiteY694" fmla="*/ 4944092 h 6858000"/>
              <a:gd name="connsiteX695" fmla="*/ 515800 w 7467600"/>
              <a:gd name="connsiteY695" fmla="*/ 4862180 h 6858000"/>
              <a:gd name="connsiteX696" fmla="*/ 909145 w 7467600"/>
              <a:gd name="connsiteY696" fmla="*/ 4199225 h 6858000"/>
              <a:gd name="connsiteX697" fmla="*/ 1214067 w 7467600"/>
              <a:gd name="connsiteY697" fmla="*/ 3908561 h 6858000"/>
              <a:gd name="connsiteX698" fmla="*/ 640967 w 7467600"/>
              <a:gd name="connsiteY698" fmla="*/ 4105601 h 6858000"/>
              <a:gd name="connsiteX699" fmla="*/ 112563 w 7467600"/>
              <a:gd name="connsiteY699" fmla="*/ 4396952 h 6858000"/>
              <a:gd name="connsiteX700" fmla="*/ 0 w 7467600"/>
              <a:gd name="connsiteY700" fmla="*/ 4466006 h 6858000"/>
              <a:gd name="connsiteX701" fmla="*/ 0 w 7467600"/>
              <a:gd name="connsiteY701" fmla="*/ 4233763 h 6858000"/>
              <a:gd name="connsiteX702" fmla="*/ 36881 w 7467600"/>
              <a:gd name="connsiteY702" fmla="*/ 4200118 h 6858000"/>
              <a:gd name="connsiteX703" fmla="*/ 910534 w 7467600"/>
              <a:gd name="connsiteY703" fmla="*/ 3629753 h 6858000"/>
              <a:gd name="connsiteX704" fmla="*/ 1578717 w 7467600"/>
              <a:gd name="connsiteY704" fmla="*/ 3575982 h 6858000"/>
              <a:gd name="connsiteX705" fmla="*/ 2338780 w 7467600"/>
              <a:gd name="connsiteY705" fmla="*/ 3033725 h 6858000"/>
              <a:gd name="connsiteX706" fmla="*/ 1807991 w 7467600"/>
              <a:gd name="connsiteY706" fmla="*/ 2807184 h 6858000"/>
              <a:gd name="connsiteX707" fmla="*/ 1416358 w 7467600"/>
              <a:gd name="connsiteY707" fmla="*/ 3112571 h 6858000"/>
              <a:gd name="connsiteX708" fmla="*/ 939066 w 7467600"/>
              <a:gd name="connsiteY708" fmla="*/ 3378798 h 6858000"/>
              <a:gd name="connsiteX709" fmla="*/ 115099 w 7467600"/>
              <a:gd name="connsiteY709" fmla="*/ 3607650 h 6858000"/>
              <a:gd name="connsiteX710" fmla="*/ 97284 w 7467600"/>
              <a:gd name="connsiteY710" fmla="*/ 3520393 h 6858000"/>
              <a:gd name="connsiteX711" fmla="*/ 922050 w 7467600"/>
              <a:gd name="connsiteY711" fmla="*/ 3074867 h 6858000"/>
              <a:gd name="connsiteX712" fmla="*/ 1405265 w 7467600"/>
              <a:gd name="connsiteY712" fmla="*/ 3016319 h 6858000"/>
              <a:gd name="connsiteX713" fmla="*/ 1407512 w 7467600"/>
              <a:gd name="connsiteY713" fmla="*/ 3018001 h 6858000"/>
              <a:gd name="connsiteX714" fmla="*/ 1726266 w 7467600"/>
              <a:gd name="connsiteY714" fmla="*/ 2777274 h 6858000"/>
              <a:gd name="connsiteX715" fmla="*/ 625390 w 7467600"/>
              <a:gd name="connsiteY715" fmla="*/ 2514541 h 6858000"/>
              <a:gd name="connsiteX716" fmla="*/ 619799 w 7467600"/>
              <a:gd name="connsiteY716" fmla="*/ 2527180 h 6858000"/>
              <a:gd name="connsiteX717" fmla="*/ 310030 w 7467600"/>
              <a:gd name="connsiteY717" fmla="*/ 2771818 h 6858000"/>
              <a:gd name="connsiteX718" fmla="*/ 173877 w 7467600"/>
              <a:gd name="connsiteY718" fmla="*/ 2937056 h 6858000"/>
              <a:gd name="connsiteX719" fmla="*/ 77889 w 7467600"/>
              <a:gd name="connsiteY719" fmla="*/ 3138440 h 6858000"/>
              <a:gd name="connsiteX720" fmla="*/ 0 w 7467600"/>
              <a:gd name="connsiteY720" fmla="*/ 3271395 h 6858000"/>
              <a:gd name="connsiteX721" fmla="*/ 0 w 7467600"/>
              <a:gd name="connsiteY721" fmla="*/ 3153002 h 6858000"/>
              <a:gd name="connsiteX722" fmla="*/ 2386 w 7467600"/>
              <a:gd name="connsiteY722" fmla="*/ 3149203 h 6858000"/>
              <a:gd name="connsiteX723" fmla="*/ 89753 w 7467600"/>
              <a:gd name="connsiteY723" fmla="*/ 2987702 h 6858000"/>
              <a:gd name="connsiteX724" fmla="*/ 76869 w 7467600"/>
              <a:gd name="connsiteY724" fmla="*/ 3005404 h 6858000"/>
              <a:gd name="connsiteX725" fmla="*/ 32049 w 7467600"/>
              <a:gd name="connsiteY725" fmla="*/ 3065814 h 6858000"/>
              <a:gd name="connsiteX726" fmla="*/ 0 w 7467600"/>
              <a:gd name="connsiteY726" fmla="*/ 3108744 h 6858000"/>
              <a:gd name="connsiteX727" fmla="*/ 0 w 7467600"/>
              <a:gd name="connsiteY727" fmla="*/ 3058059 h 6858000"/>
              <a:gd name="connsiteX728" fmla="*/ 7610 w 7467600"/>
              <a:gd name="connsiteY728" fmla="*/ 3047889 h 6858000"/>
              <a:gd name="connsiteX729" fmla="*/ 52419 w 7467600"/>
              <a:gd name="connsiteY729" fmla="*/ 2987479 h 6858000"/>
              <a:gd name="connsiteX730" fmla="*/ 59142 w 7467600"/>
              <a:gd name="connsiteY730" fmla="*/ 2978488 h 6858000"/>
              <a:gd name="connsiteX731" fmla="*/ 0 w 7467600"/>
              <a:gd name="connsiteY731" fmla="*/ 3015334 h 6858000"/>
              <a:gd name="connsiteX732" fmla="*/ 0 w 7467600"/>
              <a:gd name="connsiteY732" fmla="*/ 2914286 h 6858000"/>
              <a:gd name="connsiteX733" fmla="*/ 36383 w 7467600"/>
              <a:gd name="connsiteY733" fmla="*/ 2901128 h 6858000"/>
              <a:gd name="connsiteX734" fmla="*/ 156329 w 7467600"/>
              <a:gd name="connsiteY734" fmla="*/ 2840533 h 6858000"/>
              <a:gd name="connsiteX735" fmla="*/ 358355 w 7467600"/>
              <a:gd name="connsiteY735" fmla="*/ 2620471 h 6858000"/>
              <a:gd name="connsiteX736" fmla="*/ 510577 w 7467600"/>
              <a:gd name="connsiteY736" fmla="*/ 2501244 h 6858000"/>
              <a:gd name="connsiteX737" fmla="*/ 211967 w 7467600"/>
              <a:gd name="connsiteY737" fmla="*/ 2479171 h 6858000"/>
              <a:gd name="connsiteX738" fmla="*/ 0 w 7467600"/>
              <a:gd name="connsiteY738" fmla="*/ 2476398 h 6858000"/>
              <a:gd name="connsiteX739" fmla="*/ 0 w 7467600"/>
              <a:gd name="connsiteY739" fmla="*/ 2389189 h 6858000"/>
              <a:gd name="connsiteX740" fmla="*/ 103062 w 7467600"/>
              <a:gd name="connsiteY740" fmla="*/ 2389518 h 6858000"/>
              <a:gd name="connsiteX741" fmla="*/ 510734 w 7467600"/>
              <a:gd name="connsiteY741" fmla="*/ 2416201 h 6858000"/>
              <a:gd name="connsiteX742" fmla="*/ 279257 w 7467600"/>
              <a:gd name="connsiteY742" fmla="*/ 2092102 h 6858000"/>
              <a:gd name="connsiteX743" fmla="*/ 65265 w 7467600"/>
              <a:gd name="connsiteY743" fmla="*/ 2006049 h 6858000"/>
              <a:gd name="connsiteX744" fmla="*/ 0 w 7467600"/>
              <a:gd name="connsiteY744" fmla="*/ 1982532 h 6858000"/>
              <a:gd name="connsiteX745" fmla="*/ 0 w 7467600"/>
              <a:gd name="connsiteY745" fmla="*/ 1912789 h 6858000"/>
              <a:gd name="connsiteX746" fmla="*/ 97460 w 7467600"/>
              <a:gd name="connsiteY746" fmla="*/ 1953725 h 6858000"/>
              <a:gd name="connsiteX747" fmla="*/ 221272 w 7467600"/>
              <a:gd name="connsiteY747" fmla="*/ 1980766 h 6858000"/>
              <a:gd name="connsiteX748" fmla="*/ 116765 w 7467600"/>
              <a:gd name="connsiteY748" fmla="*/ 1911033 h 6858000"/>
              <a:gd name="connsiteX749" fmla="*/ 16405 w 7467600"/>
              <a:gd name="connsiteY749" fmla="*/ 1803412 h 6858000"/>
              <a:gd name="connsiteX750" fmla="*/ 0 w 7467600"/>
              <a:gd name="connsiteY750" fmla="*/ 1784777 h 6858000"/>
              <a:gd name="connsiteX751" fmla="*/ 0 w 7467600"/>
              <a:gd name="connsiteY751" fmla="*/ 1740082 h 6858000"/>
              <a:gd name="connsiteX752" fmla="*/ 39394 w 7467600"/>
              <a:gd name="connsiteY752" fmla="*/ 1784856 h 6858000"/>
              <a:gd name="connsiteX753" fmla="*/ 135813 w 7467600"/>
              <a:gd name="connsiteY753" fmla="*/ 1888838 h 6858000"/>
              <a:gd name="connsiteX754" fmla="*/ 242575 w 7467600"/>
              <a:gd name="connsiteY754" fmla="*/ 1958841 h 6858000"/>
              <a:gd name="connsiteX755" fmla="*/ 82197 w 7467600"/>
              <a:gd name="connsiteY755" fmla="*/ 1754826 h 6858000"/>
              <a:gd name="connsiteX756" fmla="*/ 0 w 7467600"/>
              <a:gd name="connsiteY756" fmla="*/ 1679650 h 6858000"/>
              <a:gd name="connsiteX757" fmla="*/ 0 w 7467600"/>
              <a:gd name="connsiteY757" fmla="*/ 1602463 h 6858000"/>
              <a:gd name="connsiteX758" fmla="*/ 84689 w 7467600"/>
              <a:gd name="connsiteY758" fmla="*/ 1677442 h 6858000"/>
              <a:gd name="connsiteX759" fmla="*/ 298437 w 7467600"/>
              <a:gd name="connsiteY759" fmla="*/ 1968019 h 6858000"/>
              <a:gd name="connsiteX760" fmla="*/ 227269 w 7467600"/>
              <a:gd name="connsiteY760" fmla="*/ 1114064 h 6858000"/>
              <a:gd name="connsiteX761" fmla="*/ 248003 w 7467600"/>
              <a:gd name="connsiteY761" fmla="*/ 1089613 h 6858000"/>
              <a:gd name="connsiteX762" fmla="*/ 427020 w 7467600"/>
              <a:gd name="connsiteY762" fmla="*/ 1619803 h 6858000"/>
              <a:gd name="connsiteX763" fmla="*/ 340345 w 7467600"/>
              <a:gd name="connsiteY763" fmla="*/ 2027739 h 6858000"/>
              <a:gd name="connsiteX764" fmla="*/ 360865 w 7467600"/>
              <a:gd name="connsiteY764" fmla="*/ 2044827 h 6858000"/>
              <a:gd name="connsiteX765" fmla="*/ 560414 w 7467600"/>
              <a:gd name="connsiteY765" fmla="*/ 2421457 h 6858000"/>
              <a:gd name="connsiteX766" fmla="*/ 1359703 w 7467600"/>
              <a:gd name="connsiteY766" fmla="*/ 2578554 h 6858000"/>
              <a:gd name="connsiteX767" fmla="*/ 1359422 w 7467600"/>
              <a:gd name="connsiteY767" fmla="*/ 2577994 h 6858000"/>
              <a:gd name="connsiteX768" fmla="*/ 828701 w 7467600"/>
              <a:gd name="connsiteY768" fmla="*/ 1839520 h 6858000"/>
              <a:gd name="connsiteX769" fmla="*/ 494427 w 7467600"/>
              <a:gd name="connsiteY769" fmla="*/ 1092333 h 6858000"/>
              <a:gd name="connsiteX770" fmla="*/ 506322 w 7467600"/>
              <a:gd name="connsiteY770" fmla="*/ 1020997 h 6858000"/>
              <a:gd name="connsiteX771" fmla="*/ 4570198 w 7467600"/>
              <a:gd name="connsiteY771" fmla="*/ 978081 h 6858000"/>
              <a:gd name="connsiteX772" fmla="*/ 4523691 w 7467600"/>
              <a:gd name="connsiteY772" fmla="*/ 1127776 h 6858000"/>
              <a:gd name="connsiteX773" fmla="*/ 4509875 w 7467600"/>
              <a:gd name="connsiteY773" fmla="*/ 1167552 h 6858000"/>
              <a:gd name="connsiteX774" fmla="*/ 4478168 w 7467600"/>
              <a:gd name="connsiteY774" fmla="*/ 1260735 h 6858000"/>
              <a:gd name="connsiteX775" fmla="*/ 4409309 w 7467600"/>
              <a:gd name="connsiteY775" fmla="*/ 1666996 h 6858000"/>
              <a:gd name="connsiteX776" fmla="*/ 4370031 w 7467600"/>
              <a:gd name="connsiteY776" fmla="*/ 1955666 h 6858000"/>
              <a:gd name="connsiteX777" fmla="*/ 4570198 w 7467600"/>
              <a:gd name="connsiteY777" fmla="*/ 978081 h 6858000"/>
              <a:gd name="connsiteX778" fmla="*/ 4557898 w 7467600"/>
              <a:gd name="connsiteY778" fmla="*/ 900011 h 6858000"/>
              <a:gd name="connsiteX779" fmla="*/ 4344840 w 7467600"/>
              <a:gd name="connsiteY779" fmla="*/ 1922038 h 6858000"/>
              <a:gd name="connsiteX780" fmla="*/ 4378710 w 7467600"/>
              <a:gd name="connsiteY780" fmla="*/ 1665516 h 6858000"/>
              <a:gd name="connsiteX781" fmla="*/ 4448798 w 7467600"/>
              <a:gd name="connsiteY781" fmla="*/ 1253024 h 6858000"/>
              <a:gd name="connsiteX782" fmla="*/ 4480315 w 7467600"/>
              <a:gd name="connsiteY782" fmla="*/ 1158454 h 6858000"/>
              <a:gd name="connsiteX783" fmla="*/ 4494133 w 7467600"/>
              <a:gd name="connsiteY783" fmla="*/ 1118676 h 6858000"/>
              <a:gd name="connsiteX784" fmla="*/ 4557898 w 7467600"/>
              <a:gd name="connsiteY784" fmla="*/ 900011 h 6858000"/>
              <a:gd name="connsiteX785" fmla="*/ 5870151 w 7467600"/>
              <a:gd name="connsiteY785" fmla="*/ 898890 h 6858000"/>
              <a:gd name="connsiteX786" fmla="*/ 5861335 w 7467600"/>
              <a:gd name="connsiteY786" fmla="*/ 899177 h 6858000"/>
              <a:gd name="connsiteX787" fmla="*/ 5843702 w 7467600"/>
              <a:gd name="connsiteY787" fmla="*/ 899748 h 6858000"/>
              <a:gd name="connsiteX788" fmla="*/ 5651107 w 7467600"/>
              <a:gd name="connsiteY788" fmla="*/ 920306 h 6858000"/>
              <a:gd name="connsiteX789" fmla="*/ 5459407 w 7467600"/>
              <a:gd name="connsiteY789" fmla="*/ 940975 h 6858000"/>
              <a:gd name="connsiteX790" fmla="*/ 5374846 w 7467600"/>
              <a:gd name="connsiteY790" fmla="*/ 941988 h 6858000"/>
              <a:gd name="connsiteX791" fmla="*/ 5256105 w 7467600"/>
              <a:gd name="connsiteY791" fmla="*/ 945632 h 6858000"/>
              <a:gd name="connsiteX792" fmla="*/ 5107071 w 7467600"/>
              <a:gd name="connsiteY792" fmla="*/ 969720 h 6858000"/>
              <a:gd name="connsiteX793" fmla="*/ 4998681 w 7467600"/>
              <a:gd name="connsiteY793" fmla="*/ 988771 h 6858000"/>
              <a:gd name="connsiteX794" fmla="*/ 5870151 w 7467600"/>
              <a:gd name="connsiteY794" fmla="*/ 898890 h 6858000"/>
              <a:gd name="connsiteX795" fmla="*/ 5504425 w 7467600"/>
              <a:gd name="connsiteY795" fmla="*/ 848067 h 6858000"/>
              <a:gd name="connsiteX796" fmla="*/ 4968849 w 7467600"/>
              <a:gd name="connsiteY796" fmla="*/ 962318 h 6858000"/>
              <a:gd name="connsiteX797" fmla="*/ 5104039 w 7467600"/>
              <a:gd name="connsiteY797" fmla="*/ 940634 h 6858000"/>
              <a:gd name="connsiteX798" fmla="*/ 5256311 w 7467600"/>
              <a:gd name="connsiteY798" fmla="*/ 916490 h 6858000"/>
              <a:gd name="connsiteX799" fmla="*/ 5377381 w 7467600"/>
              <a:gd name="connsiteY799" fmla="*/ 912671 h 6858000"/>
              <a:gd name="connsiteX800" fmla="*/ 5460148 w 7467600"/>
              <a:gd name="connsiteY800" fmla="*/ 911442 h 6858000"/>
              <a:gd name="connsiteX801" fmla="*/ 5648971 w 7467600"/>
              <a:gd name="connsiteY801" fmla="*/ 891331 h 6858000"/>
              <a:gd name="connsiteX802" fmla="*/ 5844807 w 7467600"/>
              <a:gd name="connsiteY802" fmla="*/ 870718 h 6858000"/>
              <a:gd name="connsiteX803" fmla="*/ 5862975 w 7467600"/>
              <a:gd name="connsiteY803" fmla="*/ 869756 h 6858000"/>
              <a:gd name="connsiteX804" fmla="*/ 5920887 w 7467600"/>
              <a:gd name="connsiteY804" fmla="*/ 865929 h 6858000"/>
              <a:gd name="connsiteX805" fmla="*/ 5504425 w 7467600"/>
              <a:gd name="connsiteY805" fmla="*/ 848067 h 6858000"/>
              <a:gd name="connsiteX806" fmla="*/ 3607114 w 7467600"/>
              <a:gd name="connsiteY806" fmla="*/ 467441 h 6858000"/>
              <a:gd name="connsiteX807" fmla="*/ 3296242 w 7467600"/>
              <a:gd name="connsiteY807" fmla="*/ 807991 h 6858000"/>
              <a:gd name="connsiteX808" fmla="*/ 3174674 w 7467600"/>
              <a:gd name="connsiteY808" fmla="*/ 919759 h 6858000"/>
              <a:gd name="connsiteX809" fmla="*/ 3042978 w 7467600"/>
              <a:gd name="connsiteY809" fmla="*/ 1054894 h 6858000"/>
              <a:gd name="connsiteX810" fmla="*/ 2968914 w 7467600"/>
              <a:gd name="connsiteY810" fmla="*/ 1133756 h 6858000"/>
              <a:gd name="connsiteX811" fmla="*/ 3103823 w 7467600"/>
              <a:gd name="connsiteY811" fmla="*/ 1026814 h 6858000"/>
              <a:gd name="connsiteX812" fmla="*/ 3607114 w 7467600"/>
              <a:gd name="connsiteY812" fmla="*/ 467441 h 6858000"/>
              <a:gd name="connsiteX813" fmla="*/ 3744487 w 7467600"/>
              <a:gd name="connsiteY813" fmla="*/ 383136 h 6858000"/>
              <a:gd name="connsiteX814" fmla="*/ 3970213 w 7467600"/>
              <a:gd name="connsiteY814" fmla="*/ 995559 h 6858000"/>
              <a:gd name="connsiteX815" fmla="*/ 3744487 w 7467600"/>
              <a:gd name="connsiteY815" fmla="*/ 383136 h 6858000"/>
              <a:gd name="connsiteX816" fmla="*/ 3624562 w 7467600"/>
              <a:gd name="connsiteY816" fmla="*/ 367041 h 6858000"/>
              <a:gd name="connsiteX817" fmla="*/ 3489712 w 7467600"/>
              <a:gd name="connsiteY817" fmla="*/ 485386 h 6858000"/>
              <a:gd name="connsiteX818" fmla="*/ 3182994 w 7467600"/>
              <a:gd name="connsiteY818" fmla="*/ 828265 h 6858000"/>
              <a:gd name="connsiteX819" fmla="*/ 2892114 w 7467600"/>
              <a:gd name="connsiteY819" fmla="*/ 1172635 h 6858000"/>
              <a:gd name="connsiteX820" fmla="*/ 3021459 w 7467600"/>
              <a:gd name="connsiteY820" fmla="*/ 1035385 h 6858000"/>
              <a:gd name="connsiteX821" fmla="*/ 3153873 w 7467600"/>
              <a:gd name="connsiteY821" fmla="*/ 898971 h 6858000"/>
              <a:gd name="connsiteX822" fmla="*/ 3276511 w 7467600"/>
              <a:gd name="connsiteY822" fmla="*/ 786423 h 6858000"/>
              <a:gd name="connsiteX823" fmla="*/ 3584154 w 7467600"/>
              <a:gd name="connsiteY823" fmla="*/ 448218 h 6858000"/>
              <a:gd name="connsiteX824" fmla="*/ 3624562 w 7467600"/>
              <a:gd name="connsiteY824" fmla="*/ 367041 h 6858000"/>
              <a:gd name="connsiteX825" fmla="*/ 3766672 w 7467600"/>
              <a:gd name="connsiteY825" fmla="*/ 359429 h 6858000"/>
              <a:gd name="connsiteX826" fmla="*/ 3996338 w 7467600"/>
              <a:gd name="connsiteY826" fmla="*/ 968237 h 6858000"/>
              <a:gd name="connsiteX827" fmla="*/ 3766672 w 7467600"/>
              <a:gd name="connsiteY827" fmla="*/ 359429 h 6858000"/>
              <a:gd name="connsiteX828" fmla="*/ 5805386 w 7467600"/>
              <a:gd name="connsiteY828" fmla="*/ 239240 h 6858000"/>
              <a:gd name="connsiteX829" fmla="*/ 5736947 w 7467600"/>
              <a:gd name="connsiteY829" fmla="*/ 261367 h 6858000"/>
              <a:gd name="connsiteX830" fmla="*/ 5427012 w 7467600"/>
              <a:gd name="connsiteY830" fmla="*/ 311272 h 6858000"/>
              <a:gd name="connsiteX831" fmla="*/ 5147818 w 7467600"/>
              <a:gd name="connsiteY831" fmla="*/ 322112 h 6858000"/>
              <a:gd name="connsiteX832" fmla="*/ 5060854 w 7467600"/>
              <a:gd name="connsiteY832" fmla="*/ 311882 h 6858000"/>
              <a:gd name="connsiteX833" fmla="*/ 4945989 w 7467600"/>
              <a:gd name="connsiteY833" fmla="*/ 300516 h 6858000"/>
              <a:gd name="connsiteX834" fmla="*/ 5410479 w 7467600"/>
              <a:gd name="connsiteY834" fmla="*/ 348434 h 6858000"/>
              <a:gd name="connsiteX835" fmla="*/ 5805386 w 7467600"/>
              <a:gd name="connsiteY835" fmla="*/ 239240 h 6858000"/>
              <a:gd name="connsiteX836" fmla="*/ 5905192 w 7467600"/>
              <a:gd name="connsiteY836" fmla="*/ 163079 h 6858000"/>
              <a:gd name="connsiteX837" fmla="*/ 5865655 w 7467600"/>
              <a:gd name="connsiteY837" fmla="*/ 171901 h 6858000"/>
              <a:gd name="connsiteX838" fmla="*/ 5259740 w 7467600"/>
              <a:gd name="connsiteY838" fmla="*/ 257013 h 6858000"/>
              <a:gd name="connsiteX839" fmla="*/ 5208466 w 7467600"/>
              <a:gd name="connsiteY839" fmla="*/ 257550 h 6858000"/>
              <a:gd name="connsiteX840" fmla="*/ 4980204 w 7467600"/>
              <a:gd name="connsiteY840" fmla="*/ 271903 h 6858000"/>
              <a:gd name="connsiteX841" fmla="*/ 5068068 w 7467600"/>
              <a:gd name="connsiteY841" fmla="*/ 282244 h 6858000"/>
              <a:gd name="connsiteX842" fmla="*/ 5153231 w 7467600"/>
              <a:gd name="connsiteY842" fmla="*/ 292240 h 6858000"/>
              <a:gd name="connsiteX843" fmla="*/ 5426491 w 7467600"/>
              <a:gd name="connsiteY843" fmla="*/ 281128 h 6858000"/>
              <a:gd name="connsiteX844" fmla="*/ 5731212 w 7467600"/>
              <a:gd name="connsiteY844" fmla="*/ 231951 h 6858000"/>
              <a:gd name="connsiteX845" fmla="*/ 5905192 w 7467600"/>
              <a:gd name="connsiteY845" fmla="*/ 163079 h 6858000"/>
              <a:gd name="connsiteX846" fmla="*/ 5944437 w 7467600"/>
              <a:gd name="connsiteY846" fmla="*/ 113829 h 6858000"/>
              <a:gd name="connsiteX847" fmla="*/ 5825032 w 7467600"/>
              <a:gd name="connsiteY847" fmla="*/ 146405 h 6858000"/>
              <a:gd name="connsiteX848" fmla="*/ 4955599 w 7467600"/>
              <a:gd name="connsiteY848" fmla="*/ 247008 h 6858000"/>
              <a:gd name="connsiteX849" fmla="*/ 5210104 w 7467600"/>
              <a:gd name="connsiteY849" fmla="*/ 228123 h 6858000"/>
              <a:gd name="connsiteX850" fmla="*/ 5261015 w 7467600"/>
              <a:gd name="connsiteY850" fmla="*/ 227087 h 6858000"/>
              <a:gd name="connsiteX851" fmla="*/ 5861181 w 7467600"/>
              <a:gd name="connsiteY851" fmla="*/ 143093 h 6858000"/>
              <a:gd name="connsiteX852" fmla="*/ 5961252 w 7467600"/>
              <a:gd name="connsiteY852" fmla="*/ 114820 h 6858000"/>
              <a:gd name="connsiteX853" fmla="*/ 5944437 w 7467600"/>
              <a:gd name="connsiteY853" fmla="*/ 113829 h 6858000"/>
              <a:gd name="connsiteX854" fmla="*/ 3882765 w 7467600"/>
              <a:gd name="connsiteY854" fmla="*/ 0 h 6858000"/>
              <a:gd name="connsiteX855" fmla="*/ 3995099 w 7467600"/>
              <a:gd name="connsiteY855" fmla="*/ 0 h 6858000"/>
              <a:gd name="connsiteX856" fmla="*/ 4163818 w 7467600"/>
              <a:gd name="connsiteY856" fmla="*/ 234104 h 6858000"/>
              <a:gd name="connsiteX857" fmla="*/ 4172099 w 7467600"/>
              <a:gd name="connsiteY857" fmla="*/ 234207 h 6858000"/>
              <a:gd name="connsiteX858" fmla="*/ 4784282 w 7467600"/>
              <a:gd name="connsiteY858" fmla="*/ 276561 h 6858000"/>
              <a:gd name="connsiteX859" fmla="*/ 4801687 w 7467600"/>
              <a:gd name="connsiteY859" fmla="*/ 267764 h 6858000"/>
              <a:gd name="connsiteX860" fmla="*/ 6082788 w 7467600"/>
              <a:gd name="connsiteY860" fmla="*/ 64119 h 6858000"/>
              <a:gd name="connsiteX861" fmla="*/ 6099442 w 7467600"/>
              <a:gd name="connsiteY861" fmla="*/ 82568 h 6858000"/>
              <a:gd name="connsiteX862" fmla="*/ 4804137 w 7467600"/>
              <a:gd name="connsiteY862" fmla="*/ 320931 h 6858000"/>
              <a:gd name="connsiteX863" fmla="*/ 4227047 w 7467600"/>
              <a:gd name="connsiteY863" fmla="*/ 313415 h 6858000"/>
              <a:gd name="connsiteX864" fmla="*/ 4346041 w 7467600"/>
              <a:gd name="connsiteY864" fmla="*/ 456086 h 6858000"/>
              <a:gd name="connsiteX865" fmla="*/ 4870967 w 7467600"/>
              <a:gd name="connsiteY865" fmla="*/ 963061 h 6858000"/>
              <a:gd name="connsiteX866" fmla="*/ 4889647 w 7467600"/>
              <a:gd name="connsiteY866" fmla="*/ 957147 h 6858000"/>
              <a:gd name="connsiteX867" fmla="*/ 5422504 w 7467600"/>
              <a:gd name="connsiteY867" fmla="*/ 805191 h 6858000"/>
              <a:gd name="connsiteX868" fmla="*/ 6087656 w 7467600"/>
              <a:gd name="connsiteY868" fmla="*/ 826703 h 6858000"/>
              <a:gd name="connsiteX869" fmla="*/ 6058717 w 7467600"/>
              <a:gd name="connsiteY869" fmla="*/ 865992 h 6858000"/>
              <a:gd name="connsiteX870" fmla="*/ 4974153 w 7467600"/>
              <a:gd name="connsiteY870" fmla="*/ 1045456 h 6858000"/>
              <a:gd name="connsiteX871" fmla="*/ 5627835 w 7467600"/>
              <a:gd name="connsiteY871" fmla="*/ 1472077 h 6858000"/>
              <a:gd name="connsiteX872" fmla="*/ 5629817 w 7467600"/>
              <a:gd name="connsiteY872" fmla="*/ 1471412 h 6858000"/>
              <a:gd name="connsiteX873" fmla="*/ 5634124 w 7467600"/>
              <a:gd name="connsiteY873" fmla="*/ 1470572 h 6858000"/>
              <a:gd name="connsiteX874" fmla="*/ 5755832 w 7467600"/>
              <a:gd name="connsiteY874" fmla="*/ 1383886 h 6858000"/>
              <a:gd name="connsiteX875" fmla="*/ 6014186 w 7467600"/>
              <a:gd name="connsiteY875" fmla="*/ 1279799 h 6858000"/>
              <a:gd name="connsiteX876" fmla="*/ 6901619 w 7467600"/>
              <a:gd name="connsiteY876" fmla="*/ 1047874 h 6858000"/>
              <a:gd name="connsiteX877" fmla="*/ 6931566 w 7467600"/>
              <a:gd name="connsiteY877" fmla="*/ 1062034 h 6858000"/>
              <a:gd name="connsiteX878" fmla="*/ 5790982 w 7467600"/>
              <a:gd name="connsiteY878" fmla="*/ 1561380 h 6858000"/>
              <a:gd name="connsiteX879" fmla="*/ 6188971 w 7467600"/>
              <a:gd name="connsiteY879" fmla="*/ 1755168 h 6858000"/>
              <a:gd name="connsiteX880" fmla="*/ 6202446 w 7467600"/>
              <a:gd name="connsiteY880" fmla="*/ 1752268 h 6858000"/>
              <a:gd name="connsiteX881" fmla="*/ 7179560 w 7467600"/>
              <a:gd name="connsiteY881" fmla="*/ 1467551 h 6858000"/>
              <a:gd name="connsiteX882" fmla="*/ 7158730 w 7467600"/>
              <a:gd name="connsiteY882" fmla="*/ 1507835 h 6858000"/>
              <a:gd name="connsiteX883" fmla="*/ 6326959 w 7467600"/>
              <a:gd name="connsiteY883" fmla="*/ 1817686 h 6858000"/>
              <a:gd name="connsiteX884" fmla="*/ 6537433 w 7467600"/>
              <a:gd name="connsiteY884" fmla="*/ 1907790 h 6858000"/>
              <a:gd name="connsiteX885" fmla="*/ 6550221 w 7467600"/>
              <a:gd name="connsiteY885" fmla="*/ 1910729 h 6858000"/>
              <a:gd name="connsiteX886" fmla="*/ 6964438 w 7467600"/>
              <a:gd name="connsiteY886" fmla="*/ 2209505 h 6858000"/>
              <a:gd name="connsiteX887" fmla="*/ 7367862 w 7467600"/>
              <a:gd name="connsiteY887" fmla="*/ 2806833 h 6858000"/>
              <a:gd name="connsiteX888" fmla="*/ 7364329 w 7467600"/>
              <a:gd name="connsiteY888" fmla="*/ 2826907 h 6858000"/>
              <a:gd name="connsiteX889" fmla="*/ 7290545 w 7467600"/>
              <a:gd name="connsiteY889" fmla="*/ 2850663 h 6858000"/>
              <a:gd name="connsiteX890" fmla="*/ 6472036 w 7467600"/>
              <a:gd name="connsiteY890" fmla="*/ 1959003 h 6858000"/>
              <a:gd name="connsiteX891" fmla="*/ 5792897 w 7467600"/>
              <a:gd name="connsiteY891" fmla="*/ 1647747 h 6858000"/>
              <a:gd name="connsiteX892" fmla="*/ 5842751 w 7467600"/>
              <a:gd name="connsiteY892" fmla="*/ 1816112 h 6858000"/>
              <a:gd name="connsiteX893" fmla="*/ 5847424 w 7467600"/>
              <a:gd name="connsiteY893" fmla="*/ 1815776 h 6858000"/>
              <a:gd name="connsiteX894" fmla="*/ 6399821 w 7467600"/>
              <a:gd name="connsiteY894" fmla="*/ 2344799 h 6858000"/>
              <a:gd name="connsiteX895" fmla="*/ 6323232 w 7467600"/>
              <a:gd name="connsiteY895" fmla="*/ 2389634 h 6858000"/>
              <a:gd name="connsiteX896" fmla="*/ 5942958 w 7467600"/>
              <a:gd name="connsiteY896" fmla="*/ 2077708 h 6858000"/>
              <a:gd name="connsiteX897" fmla="*/ 5921559 w 7467600"/>
              <a:gd name="connsiteY897" fmla="*/ 2378596 h 6858000"/>
              <a:gd name="connsiteX898" fmla="*/ 5817651 w 7467600"/>
              <a:gd name="connsiteY898" fmla="*/ 3023919 h 6858000"/>
              <a:gd name="connsiteX899" fmla="*/ 5729634 w 7467600"/>
              <a:gd name="connsiteY899" fmla="*/ 3051849 h 6858000"/>
              <a:gd name="connsiteX900" fmla="*/ 5611018 w 7467600"/>
              <a:gd name="connsiteY900" fmla="*/ 2316769 h 6858000"/>
              <a:gd name="connsiteX901" fmla="*/ 5687608 w 7467600"/>
              <a:gd name="connsiteY901" fmla="*/ 2039972 h 6858000"/>
              <a:gd name="connsiteX902" fmla="*/ 5657554 w 7467600"/>
              <a:gd name="connsiteY902" fmla="*/ 1576445 h 6858000"/>
              <a:gd name="connsiteX903" fmla="*/ 5150475 w 7467600"/>
              <a:gd name="connsiteY903" fmla="*/ 1274012 h 6858000"/>
              <a:gd name="connsiteX904" fmla="*/ 5349142 w 7467600"/>
              <a:gd name="connsiteY904" fmla="*/ 2204405 h 6858000"/>
              <a:gd name="connsiteX905" fmla="*/ 5262214 w 7467600"/>
              <a:gd name="connsiteY905" fmla="*/ 2233836 h 6858000"/>
              <a:gd name="connsiteX906" fmla="*/ 4981539 w 7467600"/>
              <a:gd name="connsiteY906" fmla="*/ 1542201 h 6858000"/>
              <a:gd name="connsiteX907" fmla="*/ 4958461 w 7467600"/>
              <a:gd name="connsiteY907" fmla="*/ 1136957 h 6858000"/>
              <a:gd name="connsiteX908" fmla="*/ 4655015 w 7467600"/>
              <a:gd name="connsiteY908" fmla="*/ 891426 h 6858000"/>
              <a:gd name="connsiteX909" fmla="*/ 4348002 w 7467600"/>
              <a:gd name="connsiteY909" fmla="*/ 2205895 h 6858000"/>
              <a:gd name="connsiteX910" fmla="*/ 4262250 w 7467600"/>
              <a:gd name="connsiteY910" fmla="*/ 2219972 h 6858000"/>
              <a:gd name="connsiteX911" fmla="*/ 4550611 w 7467600"/>
              <a:gd name="connsiteY911" fmla="*/ 817540 h 6858000"/>
              <a:gd name="connsiteX912" fmla="*/ 4564418 w 7467600"/>
              <a:gd name="connsiteY912" fmla="*/ 808293 h 6858000"/>
              <a:gd name="connsiteX913" fmla="*/ 4266388 w 7467600"/>
              <a:gd name="connsiteY913" fmla="*/ 500083 h 6858000"/>
              <a:gd name="connsiteX914" fmla="*/ 4032842 w 7467600"/>
              <a:gd name="connsiteY914" fmla="*/ 211809 h 6858000"/>
              <a:gd name="connsiteX915" fmla="*/ 3882765 w 7467600"/>
              <a:gd name="connsiteY915" fmla="*/ 0 h 6858000"/>
              <a:gd name="connsiteX916" fmla="*/ 3721337 w 7467600"/>
              <a:gd name="connsiteY916" fmla="*/ 0 h 6858000"/>
              <a:gd name="connsiteX917" fmla="*/ 3797544 w 7467600"/>
              <a:gd name="connsiteY917" fmla="*/ 0 h 6858000"/>
              <a:gd name="connsiteX918" fmla="*/ 3775734 w 7467600"/>
              <a:gd name="connsiteY918" fmla="*/ 95131 h 6858000"/>
              <a:gd name="connsiteX919" fmla="*/ 3724807 w 7467600"/>
              <a:gd name="connsiteY919" fmla="*/ 272257 h 6858000"/>
              <a:gd name="connsiteX920" fmla="*/ 3726844 w 7467600"/>
              <a:gd name="connsiteY920" fmla="*/ 282988 h 6858000"/>
              <a:gd name="connsiteX921" fmla="*/ 3742664 w 7467600"/>
              <a:gd name="connsiteY921" fmla="*/ 279918 h 6858000"/>
              <a:gd name="connsiteX922" fmla="*/ 4103910 w 7467600"/>
              <a:gd name="connsiteY922" fmla="*/ 1161917 h 6858000"/>
              <a:gd name="connsiteX923" fmla="*/ 4020269 w 7467600"/>
              <a:gd name="connsiteY923" fmla="*/ 1200406 h 6858000"/>
              <a:gd name="connsiteX924" fmla="*/ 3674882 w 7467600"/>
              <a:gd name="connsiteY924" fmla="*/ 488524 h 6858000"/>
              <a:gd name="connsiteX925" fmla="*/ 3132682 w 7467600"/>
              <a:gd name="connsiteY925" fmla="*/ 1072284 h 6858000"/>
              <a:gd name="connsiteX926" fmla="*/ 2716346 w 7467600"/>
              <a:gd name="connsiteY926" fmla="*/ 1276376 h 6858000"/>
              <a:gd name="connsiteX927" fmla="*/ 2716772 w 7467600"/>
              <a:gd name="connsiteY927" fmla="*/ 1255462 h 6858000"/>
              <a:gd name="connsiteX928" fmla="*/ 3471096 w 7467600"/>
              <a:gd name="connsiteY928" fmla="*/ 437072 h 6858000"/>
              <a:gd name="connsiteX929" fmla="*/ 3639057 w 7467600"/>
              <a:gd name="connsiteY929" fmla="*/ 286334 h 6858000"/>
              <a:gd name="connsiteX930" fmla="*/ 3640309 w 7467600"/>
              <a:gd name="connsiteY930" fmla="*/ 284664 h 6858000"/>
              <a:gd name="connsiteX931" fmla="*/ 3646022 w 7467600"/>
              <a:gd name="connsiteY931" fmla="*/ 276711 h 6858000"/>
              <a:gd name="connsiteX932" fmla="*/ 3707943 w 7467600"/>
              <a:gd name="connsiteY932" fmla="*/ 65958 h 6858000"/>
              <a:gd name="connsiteX933" fmla="*/ 3721337 w 7467600"/>
              <a:gd name="connsiteY933" fmla="*/ 0 h 6858000"/>
              <a:gd name="connsiteX934" fmla="*/ 2867960 w 7467600"/>
              <a:gd name="connsiteY934" fmla="*/ 0 h 6858000"/>
              <a:gd name="connsiteX935" fmla="*/ 2926351 w 7467600"/>
              <a:gd name="connsiteY935" fmla="*/ 0 h 6858000"/>
              <a:gd name="connsiteX936" fmla="*/ 2902823 w 7467600"/>
              <a:gd name="connsiteY936" fmla="*/ 262929 h 6858000"/>
              <a:gd name="connsiteX937" fmla="*/ 2940663 w 7467600"/>
              <a:gd name="connsiteY937" fmla="*/ 140884 h 6858000"/>
              <a:gd name="connsiteX938" fmla="*/ 2947039 w 7467600"/>
              <a:gd name="connsiteY938" fmla="*/ 122524 h 6858000"/>
              <a:gd name="connsiteX939" fmla="*/ 2984316 w 7467600"/>
              <a:gd name="connsiteY939" fmla="*/ 0 h 6858000"/>
              <a:gd name="connsiteX940" fmla="*/ 3016114 w 7467600"/>
              <a:gd name="connsiteY940" fmla="*/ 0 h 6858000"/>
              <a:gd name="connsiteX941" fmla="*/ 2979949 w 7467600"/>
              <a:gd name="connsiteY941" fmla="*/ 119274 h 6858000"/>
              <a:gd name="connsiteX942" fmla="*/ 3023879 w 7467600"/>
              <a:gd name="connsiteY942" fmla="*/ 0 h 6858000"/>
              <a:gd name="connsiteX943" fmla="*/ 3105400 w 7467600"/>
              <a:gd name="connsiteY943" fmla="*/ 0 h 6858000"/>
              <a:gd name="connsiteX944" fmla="*/ 3094669 w 7467600"/>
              <a:gd name="connsiteY944" fmla="*/ 30308 h 6858000"/>
              <a:gd name="connsiteX945" fmla="*/ 2901945 w 7467600"/>
              <a:gd name="connsiteY945" fmla="*/ 466538 h 6858000"/>
              <a:gd name="connsiteX946" fmla="*/ 2815209 w 7467600"/>
              <a:gd name="connsiteY946" fmla="*/ 497361 h 6858000"/>
              <a:gd name="connsiteX947" fmla="*/ 2844845 w 7467600"/>
              <a:gd name="connsiteY947" fmla="*/ 127638 h 6858000"/>
              <a:gd name="connsiteX948" fmla="*/ 2867960 w 7467600"/>
              <a:gd name="connsiteY948" fmla="*/ 0 h 6858000"/>
              <a:gd name="connsiteX949" fmla="*/ 1057230 w 7467600"/>
              <a:gd name="connsiteY949" fmla="*/ 0 h 6858000"/>
              <a:gd name="connsiteX950" fmla="*/ 1111003 w 7467600"/>
              <a:gd name="connsiteY950" fmla="*/ 0 h 6858000"/>
              <a:gd name="connsiteX951" fmla="*/ 1125553 w 7467600"/>
              <a:gd name="connsiteY951" fmla="*/ 52588 h 6858000"/>
              <a:gd name="connsiteX952" fmla="*/ 1304276 w 7467600"/>
              <a:gd name="connsiteY952" fmla="*/ 476275 h 6858000"/>
              <a:gd name="connsiteX953" fmla="*/ 1492066 w 7467600"/>
              <a:gd name="connsiteY953" fmla="*/ 886333 h 6858000"/>
              <a:gd name="connsiteX954" fmla="*/ 1423698 w 7467600"/>
              <a:gd name="connsiteY954" fmla="*/ 710817 h 6858000"/>
              <a:gd name="connsiteX955" fmla="*/ 1357609 w 7467600"/>
              <a:gd name="connsiteY955" fmla="*/ 532892 h 6858000"/>
              <a:gd name="connsiteX956" fmla="*/ 1309550 w 7467600"/>
              <a:gd name="connsiteY956" fmla="*/ 374031 h 6858000"/>
              <a:gd name="connsiteX957" fmla="*/ 1193673 w 7467600"/>
              <a:gd name="connsiteY957" fmla="*/ 49533 h 6858000"/>
              <a:gd name="connsiteX958" fmla="*/ 1164391 w 7467600"/>
              <a:gd name="connsiteY958" fmla="*/ 0 h 6858000"/>
              <a:gd name="connsiteX959" fmla="*/ 1200666 w 7467600"/>
              <a:gd name="connsiteY959" fmla="*/ 0 h 6858000"/>
              <a:gd name="connsiteX960" fmla="*/ 1223408 w 7467600"/>
              <a:gd name="connsiteY960" fmla="*/ 38996 h 6858000"/>
              <a:gd name="connsiteX961" fmla="*/ 1339635 w 7467600"/>
              <a:gd name="connsiteY961" fmla="*/ 365517 h 6858000"/>
              <a:gd name="connsiteX962" fmla="*/ 1387469 w 7467600"/>
              <a:gd name="connsiteY962" fmla="*/ 523079 h 6858000"/>
              <a:gd name="connsiteX963" fmla="*/ 1452685 w 7467600"/>
              <a:gd name="connsiteY963" fmla="*/ 699806 h 6858000"/>
              <a:gd name="connsiteX964" fmla="*/ 1492092 w 7467600"/>
              <a:gd name="connsiteY964" fmla="*/ 800424 h 6858000"/>
              <a:gd name="connsiteX965" fmla="*/ 1455302 w 7467600"/>
              <a:gd name="connsiteY965" fmla="*/ 632913 h 6858000"/>
              <a:gd name="connsiteX966" fmla="*/ 1222336 w 7467600"/>
              <a:gd name="connsiteY966" fmla="*/ 9480 h 6858000"/>
              <a:gd name="connsiteX967" fmla="*/ 1214634 w 7467600"/>
              <a:gd name="connsiteY967" fmla="*/ 0 h 6858000"/>
              <a:gd name="connsiteX968" fmla="*/ 1289827 w 7467600"/>
              <a:gd name="connsiteY968" fmla="*/ 0 h 6858000"/>
              <a:gd name="connsiteX969" fmla="*/ 1321076 w 7467600"/>
              <a:gd name="connsiteY969" fmla="*/ 59722 h 6858000"/>
              <a:gd name="connsiteX970" fmla="*/ 1512579 w 7467600"/>
              <a:gd name="connsiteY970" fmla="*/ 626441 h 6858000"/>
              <a:gd name="connsiteX971" fmla="*/ 1506076 w 7467600"/>
              <a:gd name="connsiteY971" fmla="*/ 1089289 h 6858000"/>
              <a:gd name="connsiteX972" fmla="*/ 1486346 w 7467600"/>
              <a:gd name="connsiteY972" fmla="*/ 1079919 h 6858000"/>
              <a:gd name="connsiteX973" fmla="*/ 1070511 w 7467600"/>
              <a:gd name="connsiteY973" fmla="*/ 48609 h 6858000"/>
              <a:gd name="connsiteX974" fmla="*/ 1057230 w 7467600"/>
              <a:gd name="connsiteY974" fmla="*/ 0 h 6858000"/>
              <a:gd name="connsiteX975" fmla="*/ 43151 w 7467600"/>
              <a:gd name="connsiteY975" fmla="*/ 0 h 6858000"/>
              <a:gd name="connsiteX976" fmla="*/ 95283 w 7467600"/>
              <a:gd name="connsiteY976" fmla="*/ 0 h 6858000"/>
              <a:gd name="connsiteX977" fmla="*/ 300708 w 7467600"/>
              <a:gd name="connsiteY977" fmla="*/ 154571 h 6858000"/>
              <a:gd name="connsiteX978" fmla="*/ 530414 w 7467600"/>
              <a:gd name="connsiteY978" fmla="*/ 354673 h 6858000"/>
              <a:gd name="connsiteX979" fmla="*/ 333785 w 7467600"/>
              <a:gd name="connsiteY979" fmla="*/ 161564 h 6858000"/>
              <a:gd name="connsiteX980" fmla="*/ 147005 w 7467600"/>
              <a:gd name="connsiteY980" fmla="*/ 0 h 6858000"/>
              <a:gd name="connsiteX981" fmla="*/ 272509 w 7467600"/>
              <a:gd name="connsiteY981" fmla="*/ 0 h 6858000"/>
              <a:gd name="connsiteX982" fmla="*/ 326276 w 7467600"/>
              <a:gd name="connsiteY982" fmla="*/ 45847 h 6858000"/>
              <a:gd name="connsiteX983" fmla="*/ 823759 w 7467600"/>
              <a:gd name="connsiteY983" fmla="*/ 574145 h 6858000"/>
              <a:gd name="connsiteX984" fmla="*/ 811254 w 7467600"/>
              <a:gd name="connsiteY984" fmla="*/ 665546 h 6858000"/>
              <a:gd name="connsiteX985" fmla="*/ 154042 w 7467600"/>
              <a:gd name="connsiteY985" fmla="*/ 261522 h 6858000"/>
              <a:gd name="connsiteX986" fmla="*/ 13550 w 7467600"/>
              <a:gd name="connsiteY986" fmla="*/ 158423 h 6858000"/>
              <a:gd name="connsiteX987" fmla="*/ 0 w 7467600"/>
              <a:gd name="connsiteY987" fmla="*/ 146618 h 6858000"/>
              <a:gd name="connsiteX988" fmla="*/ 0 w 7467600"/>
              <a:gd name="connsiteY988" fmla="*/ 59161 h 6858000"/>
              <a:gd name="connsiteX989" fmla="*/ 45427 w 7467600"/>
              <a:gd name="connsiteY989" fmla="*/ 101078 h 6858000"/>
              <a:gd name="connsiteX990" fmla="*/ 630103 w 7467600"/>
              <a:gd name="connsiteY990" fmla="*/ 485885 h 6858000"/>
              <a:gd name="connsiteX991" fmla="*/ 532040 w 7467600"/>
              <a:gd name="connsiteY991" fmla="*/ 399359 h 6858000"/>
              <a:gd name="connsiteX992" fmla="*/ 517618 w 7467600"/>
              <a:gd name="connsiteY992" fmla="*/ 385726 h 6858000"/>
              <a:gd name="connsiteX993" fmla="*/ 285074 w 7467600"/>
              <a:gd name="connsiteY993" fmla="*/ 182755 h 6858000"/>
              <a:gd name="connsiteX994" fmla="*/ 43151 w 7467600"/>
              <a:gd name="connsiteY994"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467600 w 7467600"/>
              <a:gd name="connsiteY127" fmla="*/ 5277736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7467600 w 7467600"/>
              <a:gd name="connsiteY137" fmla="*/ 5277736 h 6858000"/>
              <a:gd name="connsiteX138" fmla="*/ 1903353 w 7467600"/>
              <a:gd name="connsiteY138" fmla="*/ 5044827 h 6858000"/>
              <a:gd name="connsiteX139" fmla="*/ 1936931 w 7467600"/>
              <a:gd name="connsiteY139" fmla="*/ 5093954 h 6858000"/>
              <a:gd name="connsiteX140" fmla="*/ 2195868 w 7467600"/>
              <a:gd name="connsiteY140" fmla="*/ 5396574 h 6858000"/>
              <a:gd name="connsiteX141" fmla="*/ 2088852 w 7467600"/>
              <a:gd name="connsiteY141" fmla="*/ 5166123 h 6858000"/>
              <a:gd name="connsiteX142" fmla="*/ 1958241 w 7467600"/>
              <a:gd name="connsiteY142" fmla="*/ 5067955 h 6858000"/>
              <a:gd name="connsiteX143" fmla="*/ 1903353 w 7467600"/>
              <a:gd name="connsiteY143" fmla="*/ 5044827 h 6858000"/>
              <a:gd name="connsiteX144" fmla="*/ 1979378 w 7467600"/>
              <a:gd name="connsiteY144" fmla="*/ 4769504 h 6858000"/>
              <a:gd name="connsiteX145" fmla="*/ 2882120 w 7467600"/>
              <a:gd name="connsiteY145" fmla="*/ 5064547 h 6858000"/>
              <a:gd name="connsiteX146" fmla="*/ 2793103 w 7467600"/>
              <a:gd name="connsiteY146" fmla="*/ 5039699 h 6858000"/>
              <a:gd name="connsiteX147" fmla="*/ 2770041 w 7467600"/>
              <a:gd name="connsiteY147" fmla="*/ 5033634 h 6858000"/>
              <a:gd name="connsiteX148" fmla="*/ 1979378 w 7467600"/>
              <a:gd name="connsiteY148" fmla="*/ 4769504 h 6858000"/>
              <a:gd name="connsiteX149" fmla="*/ 1927410 w 7467600"/>
              <a:gd name="connsiteY149" fmla="*/ 4716164 h 6858000"/>
              <a:gd name="connsiteX150" fmla="*/ 1959587 w 7467600"/>
              <a:gd name="connsiteY150" fmla="*/ 4728849 h 6858000"/>
              <a:gd name="connsiteX151" fmla="*/ 2777707 w 7467600"/>
              <a:gd name="connsiteY151" fmla="*/ 5003991 h 6858000"/>
              <a:gd name="connsiteX152" fmla="*/ 2800768 w 7467600"/>
              <a:gd name="connsiteY152" fmla="*/ 5010056 h 6858000"/>
              <a:gd name="connsiteX153" fmla="*/ 2879408 w 7467600"/>
              <a:gd name="connsiteY153" fmla="*/ 5031590 h 6858000"/>
              <a:gd name="connsiteX154" fmla="*/ 2862295 w 7467600"/>
              <a:gd name="connsiteY154" fmla="*/ 5022958 h 6858000"/>
              <a:gd name="connsiteX155" fmla="*/ 2813343 w 7467600"/>
              <a:gd name="connsiteY155" fmla="*/ 4998369 h 6858000"/>
              <a:gd name="connsiteX156" fmla="*/ 2646245 w 7467600"/>
              <a:gd name="connsiteY156" fmla="*/ 4930999 h 6858000"/>
              <a:gd name="connsiteX157" fmla="*/ 1999243 w 7467600"/>
              <a:gd name="connsiteY157" fmla="*/ 4730524 h 6858000"/>
              <a:gd name="connsiteX158" fmla="*/ 1979527 w 7467600"/>
              <a:gd name="connsiteY158" fmla="*/ 4726651 h 6858000"/>
              <a:gd name="connsiteX159" fmla="*/ 1927410 w 7467600"/>
              <a:gd name="connsiteY159" fmla="*/ 4716164 h 6858000"/>
              <a:gd name="connsiteX160" fmla="*/ 1997014 w 7467600"/>
              <a:gd name="connsiteY160" fmla="*/ 4698007 h 6858000"/>
              <a:gd name="connsiteX161" fmla="*/ 2005458 w 7467600"/>
              <a:gd name="connsiteY161" fmla="*/ 4699540 h 6858000"/>
              <a:gd name="connsiteX162" fmla="*/ 2657186 w 7467600"/>
              <a:gd name="connsiteY162" fmla="*/ 4901687 h 6858000"/>
              <a:gd name="connsiteX163" fmla="*/ 2826662 w 7467600"/>
              <a:gd name="connsiteY163" fmla="*/ 4970362 h 6858000"/>
              <a:gd name="connsiteX164" fmla="*/ 2876100 w 7467600"/>
              <a:gd name="connsiteY164" fmla="*/ 4995397 h 6858000"/>
              <a:gd name="connsiteX165" fmla="*/ 3042600 w 7467600"/>
              <a:gd name="connsiteY165" fmla="*/ 5059532 h 6858000"/>
              <a:gd name="connsiteX166" fmla="*/ 1997014 w 7467600"/>
              <a:gd name="connsiteY166" fmla="*/ 4698007 h 6858000"/>
              <a:gd name="connsiteX167" fmla="*/ 2305292 w 7467600"/>
              <a:gd name="connsiteY167" fmla="*/ 4219492 h 6858000"/>
              <a:gd name="connsiteX168" fmla="*/ 3360922 w 7467600"/>
              <a:gd name="connsiteY168" fmla="*/ 4529373 h 6858000"/>
              <a:gd name="connsiteX169" fmla="*/ 3492420 w 7467600"/>
              <a:gd name="connsiteY169" fmla="*/ 4510145 h 6858000"/>
              <a:gd name="connsiteX170" fmla="*/ 3364086 w 7467600"/>
              <a:gd name="connsiteY170" fmla="*/ 4480340 h 6858000"/>
              <a:gd name="connsiteX171" fmla="*/ 3225818 w 7467600"/>
              <a:gd name="connsiteY171" fmla="*/ 4411822 h 6858000"/>
              <a:gd name="connsiteX172" fmla="*/ 3129696 w 7467600"/>
              <a:gd name="connsiteY172" fmla="*/ 4360704 h 6858000"/>
              <a:gd name="connsiteX173" fmla="*/ 2814545 w 7467600"/>
              <a:gd name="connsiteY173" fmla="*/ 4282955 h 6858000"/>
              <a:gd name="connsiteX174" fmla="*/ 2305292 w 7467600"/>
              <a:gd name="connsiteY174" fmla="*/ 4219492 h 6858000"/>
              <a:gd name="connsiteX175" fmla="*/ 2626982 w 7467600"/>
              <a:gd name="connsiteY175" fmla="*/ 4206450 h 6858000"/>
              <a:gd name="connsiteX176" fmla="*/ 2490617 w 7467600"/>
              <a:gd name="connsiteY176" fmla="*/ 4206951 h 6858000"/>
              <a:gd name="connsiteX177" fmla="*/ 2819869 w 7467600"/>
              <a:gd name="connsiteY177" fmla="*/ 4252936 h 6858000"/>
              <a:gd name="connsiteX178" fmla="*/ 3143018 w 7467600"/>
              <a:gd name="connsiteY178" fmla="*/ 4332698 h 6858000"/>
              <a:gd name="connsiteX179" fmla="*/ 3241520 w 7467600"/>
              <a:gd name="connsiteY179" fmla="*/ 4385112 h 6858000"/>
              <a:gd name="connsiteX180" fmla="*/ 3374575 w 7467600"/>
              <a:gd name="connsiteY180" fmla="*/ 4451517 h 6858000"/>
              <a:gd name="connsiteX181" fmla="*/ 3505221 w 7467600"/>
              <a:gd name="connsiteY181" fmla="*/ 4480757 h 6858000"/>
              <a:gd name="connsiteX182" fmla="*/ 2626982 w 7467600"/>
              <a:gd name="connsiteY182" fmla="*/ 4206450 h 6858000"/>
              <a:gd name="connsiteX183" fmla="*/ 1310106 w 7467600"/>
              <a:gd name="connsiteY183" fmla="*/ 3943217 h 6858000"/>
              <a:gd name="connsiteX184" fmla="*/ 854994 w 7467600"/>
              <a:gd name="connsiteY184" fmla="*/ 4399136 h 6858000"/>
              <a:gd name="connsiteX185" fmla="*/ 742462 w 7467600"/>
              <a:gd name="connsiteY185" fmla="*/ 4594648 h 6858000"/>
              <a:gd name="connsiteX186" fmla="*/ 820602 w 7467600"/>
              <a:gd name="connsiteY186" fmla="*/ 4485915 h 6858000"/>
              <a:gd name="connsiteX187" fmla="*/ 878295 w 7467600"/>
              <a:gd name="connsiteY187" fmla="*/ 4403594 h 6858000"/>
              <a:gd name="connsiteX188" fmla="*/ 1240607 w 7467600"/>
              <a:gd name="connsiteY188" fmla="*/ 4010401 h 6858000"/>
              <a:gd name="connsiteX189" fmla="*/ 1310106 w 7467600"/>
              <a:gd name="connsiteY189" fmla="*/ 3943217 h 6858000"/>
              <a:gd name="connsiteX190" fmla="*/ 1423113 w 7467600"/>
              <a:gd name="connsiteY190" fmla="*/ 3874565 h 6858000"/>
              <a:gd name="connsiteX191" fmla="*/ 1260565 w 7467600"/>
              <a:gd name="connsiteY191" fmla="*/ 4031982 h 6858000"/>
              <a:gd name="connsiteX192" fmla="*/ 901900 w 7467600"/>
              <a:gd name="connsiteY192" fmla="*/ 4421236 h 6858000"/>
              <a:gd name="connsiteX193" fmla="*/ 845044 w 7467600"/>
              <a:gd name="connsiteY193" fmla="*/ 4502436 h 6858000"/>
              <a:gd name="connsiteX194" fmla="*/ 685926 w 7467600"/>
              <a:gd name="connsiteY194" fmla="*/ 4703069 h 6858000"/>
              <a:gd name="connsiteX195" fmla="*/ 684248 w 7467600"/>
              <a:gd name="connsiteY195" fmla="*/ 4706721 h 6858000"/>
              <a:gd name="connsiteX196" fmla="*/ 1423113 w 7467600"/>
              <a:gd name="connsiteY196" fmla="*/ 3874565 h 6858000"/>
              <a:gd name="connsiteX197" fmla="*/ 3316479 w 7467600"/>
              <a:gd name="connsiteY197" fmla="*/ 3872136 h 6858000"/>
              <a:gd name="connsiteX198" fmla="*/ 3546806 w 7467600"/>
              <a:gd name="connsiteY198" fmla="*/ 4356139 h 6858000"/>
              <a:gd name="connsiteX199" fmla="*/ 3364433 w 7467600"/>
              <a:gd name="connsiteY199" fmla="*/ 3953121 h 6858000"/>
              <a:gd name="connsiteX200" fmla="*/ 3316479 w 7467600"/>
              <a:gd name="connsiteY200" fmla="*/ 3872136 h 6858000"/>
              <a:gd name="connsiteX201" fmla="*/ 3291335 w 7467600"/>
              <a:gd name="connsiteY201" fmla="*/ 3767420 h 6858000"/>
              <a:gd name="connsiteX202" fmla="*/ 3390805 w 7467600"/>
              <a:gd name="connsiteY202" fmla="*/ 3937163 h 6858000"/>
              <a:gd name="connsiteX203" fmla="*/ 3579062 w 7467600"/>
              <a:gd name="connsiteY203" fmla="*/ 4359040 h 6858000"/>
              <a:gd name="connsiteX204" fmla="*/ 3467355 w 7467600"/>
              <a:gd name="connsiteY204" fmla="*/ 3988130 h 6858000"/>
              <a:gd name="connsiteX205" fmla="*/ 3310753 w 7467600"/>
              <a:gd name="connsiteY205" fmla="*/ 3787140 h 6858000"/>
              <a:gd name="connsiteX206" fmla="*/ 3291335 w 7467600"/>
              <a:gd name="connsiteY206" fmla="*/ 3767420 h 6858000"/>
              <a:gd name="connsiteX207" fmla="*/ 1635889 w 7467600"/>
              <a:gd name="connsiteY207" fmla="*/ 3709494 h 6858000"/>
              <a:gd name="connsiteX208" fmla="*/ 1634800 w 7467600"/>
              <a:gd name="connsiteY208" fmla="*/ 3731111 h 6858000"/>
              <a:gd name="connsiteX209" fmla="*/ 1635889 w 7467600"/>
              <a:gd name="connsiteY209" fmla="*/ 3709494 h 6858000"/>
              <a:gd name="connsiteX210" fmla="*/ 1510397 w 7467600"/>
              <a:gd name="connsiteY210" fmla="*/ 3684705 h 6858000"/>
              <a:gd name="connsiteX211" fmla="*/ 1146550 w 7467600"/>
              <a:gd name="connsiteY211" fmla="*/ 3802012 h 6858000"/>
              <a:gd name="connsiteX212" fmla="*/ 698834 w 7467600"/>
              <a:gd name="connsiteY212" fmla="*/ 3952272 h 6858000"/>
              <a:gd name="connsiteX213" fmla="*/ 34256 w 7467600"/>
              <a:gd name="connsiteY213" fmla="*/ 4347603 h 6858000"/>
              <a:gd name="connsiteX214" fmla="*/ 527241 w 7467600"/>
              <a:gd name="connsiteY214" fmla="*/ 4065078 h 6858000"/>
              <a:gd name="connsiteX215" fmla="*/ 1510397 w 7467600"/>
              <a:gd name="connsiteY215" fmla="*/ 3684705 h 6858000"/>
              <a:gd name="connsiteX216" fmla="*/ 1313114 w 7467600"/>
              <a:gd name="connsiteY216" fmla="*/ 3655216 h 6858000"/>
              <a:gd name="connsiteX217" fmla="*/ 1109304 w 7467600"/>
              <a:gd name="connsiteY217" fmla="*/ 3669030 h 6858000"/>
              <a:gd name="connsiteX218" fmla="*/ 8129 w 7467600"/>
              <a:gd name="connsiteY218" fmla="*/ 4330519 h 6858000"/>
              <a:gd name="connsiteX219" fmla="*/ 687572 w 7467600"/>
              <a:gd name="connsiteY219" fmla="*/ 3925629 h 6858000"/>
              <a:gd name="connsiteX220" fmla="*/ 1138365 w 7467600"/>
              <a:gd name="connsiteY220" fmla="*/ 3774515 h 6858000"/>
              <a:gd name="connsiteX221" fmla="*/ 1505579 w 7467600"/>
              <a:gd name="connsiteY221" fmla="*/ 3655526 h 6858000"/>
              <a:gd name="connsiteX222" fmla="*/ 1313114 w 7467600"/>
              <a:gd name="connsiteY222" fmla="*/ 3655216 h 6858000"/>
              <a:gd name="connsiteX223" fmla="*/ 3655073 w 7467600"/>
              <a:gd name="connsiteY223" fmla="*/ 3650884 h 6858000"/>
              <a:gd name="connsiteX224" fmla="*/ 3989938 w 7467600"/>
              <a:gd name="connsiteY224" fmla="*/ 3991685 h 6858000"/>
              <a:gd name="connsiteX225" fmla="*/ 4393907 w 7467600"/>
              <a:gd name="connsiteY225" fmla="*/ 4261258 h 6858000"/>
              <a:gd name="connsiteX226" fmla="*/ 4648051 w 7467600"/>
              <a:gd name="connsiteY226" fmla="*/ 4374051 h 6858000"/>
              <a:gd name="connsiteX227" fmla="*/ 4383389 w 7467600"/>
              <a:gd name="connsiteY227" fmla="*/ 4184369 h 6858000"/>
              <a:gd name="connsiteX228" fmla="*/ 4165508 w 7467600"/>
              <a:gd name="connsiteY228" fmla="*/ 4035196 h 6858000"/>
              <a:gd name="connsiteX229" fmla="*/ 4068162 w 7467600"/>
              <a:gd name="connsiteY229" fmla="*/ 3953394 h 6858000"/>
              <a:gd name="connsiteX230" fmla="*/ 3981416 w 7467600"/>
              <a:gd name="connsiteY230" fmla="*/ 3880482 h 6858000"/>
              <a:gd name="connsiteX231" fmla="*/ 3800147 w 7467600"/>
              <a:gd name="connsiteY231" fmla="*/ 3749872 h 6858000"/>
              <a:gd name="connsiteX232" fmla="*/ 3655073 w 7467600"/>
              <a:gd name="connsiteY232" fmla="*/ 3650884 h 6858000"/>
              <a:gd name="connsiteX233" fmla="*/ 3670252 w 7467600"/>
              <a:gd name="connsiteY233" fmla="*/ 3622798 h 6858000"/>
              <a:gd name="connsiteX234" fmla="*/ 3817258 w 7467600"/>
              <a:gd name="connsiteY234" fmla="*/ 3723577 h 6858000"/>
              <a:gd name="connsiteX235" fmla="*/ 4000461 w 7467600"/>
              <a:gd name="connsiteY235" fmla="*/ 3855966 h 6858000"/>
              <a:gd name="connsiteX236" fmla="*/ 4088180 w 7467600"/>
              <a:gd name="connsiteY236" fmla="*/ 3929774 h 6858000"/>
              <a:gd name="connsiteX237" fmla="*/ 4184555 w 7467600"/>
              <a:gd name="connsiteY237" fmla="*/ 4010683 h 6858000"/>
              <a:gd name="connsiteX238" fmla="*/ 4399563 w 7467600"/>
              <a:gd name="connsiteY238" fmla="*/ 4158106 h 6858000"/>
              <a:gd name="connsiteX239" fmla="*/ 4684469 w 7467600"/>
              <a:gd name="connsiteY239" fmla="*/ 4364680 h 6858000"/>
              <a:gd name="connsiteX240" fmla="*/ 4690271 w 7467600"/>
              <a:gd name="connsiteY240" fmla="*/ 4370034 h 6858000"/>
              <a:gd name="connsiteX241" fmla="*/ 4136093 w 7467600"/>
              <a:gd name="connsiteY241" fmla="*/ 3858466 h 6858000"/>
              <a:gd name="connsiteX242" fmla="*/ 3670252 w 7467600"/>
              <a:gd name="connsiteY242" fmla="*/ 3622798 h 6858000"/>
              <a:gd name="connsiteX243" fmla="*/ 4440129 w 7467600"/>
              <a:gd name="connsiteY243" fmla="*/ 3448571 h 6858000"/>
              <a:gd name="connsiteX244" fmla="*/ 4856525 w 7467600"/>
              <a:gd name="connsiteY244" fmla="*/ 3915351 h 6858000"/>
              <a:gd name="connsiteX245" fmla="*/ 5059055 w 7467600"/>
              <a:gd name="connsiteY245" fmla="*/ 4108918 h 6858000"/>
              <a:gd name="connsiteX246" fmla="*/ 5290070 w 7467600"/>
              <a:gd name="connsiteY246" fmla="*/ 4263619 h 6858000"/>
              <a:gd name="connsiteX247" fmla="*/ 4834991 w 7467600"/>
              <a:gd name="connsiteY247" fmla="*/ 3830985 h 6858000"/>
              <a:gd name="connsiteX248" fmla="*/ 4440129 w 7467600"/>
              <a:gd name="connsiteY248" fmla="*/ 3448571 h 6858000"/>
              <a:gd name="connsiteX249" fmla="*/ 4441737 w 7467600"/>
              <a:gd name="connsiteY249" fmla="*/ 3399734 h 6858000"/>
              <a:gd name="connsiteX250" fmla="*/ 4431236 w 7467600"/>
              <a:gd name="connsiteY250" fmla="*/ 3400954 h 6858000"/>
              <a:gd name="connsiteX251" fmla="*/ 4557150 w 7467600"/>
              <a:gd name="connsiteY251" fmla="*/ 3510023 h 6858000"/>
              <a:gd name="connsiteX252" fmla="*/ 4856936 w 7467600"/>
              <a:gd name="connsiteY252" fmla="*/ 3809146 h 6858000"/>
              <a:gd name="connsiteX253" fmla="*/ 5111996 w 7467600"/>
              <a:gd name="connsiteY253" fmla="*/ 4065759 h 6858000"/>
              <a:gd name="connsiteX254" fmla="*/ 5388878 w 7467600"/>
              <a:gd name="connsiteY254" fmla="*/ 4300185 h 6858000"/>
              <a:gd name="connsiteX255" fmla="*/ 5425556 w 7467600"/>
              <a:gd name="connsiteY255" fmla="*/ 4308967 h 6858000"/>
              <a:gd name="connsiteX256" fmla="*/ 4943646 w 7467600"/>
              <a:gd name="connsiteY256" fmla="*/ 3822916 h 6858000"/>
              <a:gd name="connsiteX257" fmla="*/ 4594837 w 7467600"/>
              <a:gd name="connsiteY257" fmla="*/ 3532274 h 6858000"/>
              <a:gd name="connsiteX258" fmla="*/ 4441737 w 7467600"/>
              <a:gd name="connsiteY258" fmla="*/ 3399734 h 6858000"/>
              <a:gd name="connsiteX259" fmla="*/ 5425834 w 7467600"/>
              <a:gd name="connsiteY259" fmla="*/ 3162785 h 6858000"/>
              <a:gd name="connsiteX260" fmla="*/ 5401644 w 7467600"/>
              <a:gd name="connsiteY260" fmla="*/ 3617847 h 6858000"/>
              <a:gd name="connsiteX261" fmla="*/ 5467256 w 7467600"/>
              <a:gd name="connsiteY261" fmla="*/ 4175494 h 6858000"/>
              <a:gd name="connsiteX262" fmla="*/ 5448069 w 7467600"/>
              <a:gd name="connsiteY262" fmla="*/ 3567554 h 6858000"/>
              <a:gd name="connsiteX263" fmla="*/ 5425834 w 7467600"/>
              <a:gd name="connsiteY263" fmla="*/ 3162785 h 6858000"/>
              <a:gd name="connsiteX264" fmla="*/ 1318687 w 7467600"/>
              <a:gd name="connsiteY264" fmla="*/ 3113840 h 6858000"/>
              <a:gd name="connsiteX265" fmla="*/ 1066793 w 7467600"/>
              <a:gd name="connsiteY265" fmla="*/ 3212171 h 6858000"/>
              <a:gd name="connsiteX266" fmla="*/ 993319 w 7467600"/>
              <a:gd name="connsiteY266" fmla="*/ 3247648 h 6858000"/>
              <a:gd name="connsiteX267" fmla="*/ 853081 w 7467600"/>
              <a:gd name="connsiteY267" fmla="*/ 3312410 h 6858000"/>
              <a:gd name="connsiteX268" fmla="*/ 805957 w 7467600"/>
              <a:gd name="connsiteY268" fmla="*/ 3330443 h 6858000"/>
              <a:gd name="connsiteX269" fmla="*/ 1318687 w 7467600"/>
              <a:gd name="connsiteY269" fmla="*/ 3113840 h 6858000"/>
              <a:gd name="connsiteX270" fmla="*/ 5453702 w 7467600"/>
              <a:gd name="connsiteY270" fmla="*/ 3090882 h 6858000"/>
              <a:gd name="connsiteX271" fmla="*/ 5480135 w 7467600"/>
              <a:gd name="connsiteY271" fmla="*/ 3565802 h 6858000"/>
              <a:gd name="connsiteX272" fmla="*/ 5499023 w 7467600"/>
              <a:gd name="connsiteY272" fmla="*/ 4166310 h 6858000"/>
              <a:gd name="connsiteX273" fmla="*/ 5547022 w 7467600"/>
              <a:gd name="connsiteY273" fmla="*/ 3607838 h 6858000"/>
              <a:gd name="connsiteX274" fmla="*/ 5515964 w 7467600"/>
              <a:gd name="connsiteY274" fmla="*/ 3378541 h 6858000"/>
              <a:gd name="connsiteX275" fmla="*/ 5453702 w 7467600"/>
              <a:gd name="connsiteY275" fmla="*/ 3090882 h 6858000"/>
              <a:gd name="connsiteX276" fmla="*/ 1238695 w 7467600"/>
              <a:gd name="connsiteY276" fmla="*/ 3076820 h 6858000"/>
              <a:gd name="connsiteX277" fmla="*/ 716371 w 7467600"/>
              <a:gd name="connsiteY277" fmla="*/ 3293249 h 6858000"/>
              <a:gd name="connsiteX278" fmla="*/ 579522 w 7467600"/>
              <a:gd name="connsiteY278" fmla="*/ 3371759 h 6858000"/>
              <a:gd name="connsiteX279" fmla="*/ 600288 w 7467600"/>
              <a:gd name="connsiteY279" fmla="*/ 3365555 h 6858000"/>
              <a:gd name="connsiteX280" fmla="*/ 840692 w 7467600"/>
              <a:gd name="connsiteY280" fmla="*/ 3284921 h 6858000"/>
              <a:gd name="connsiteX281" fmla="*/ 979248 w 7467600"/>
              <a:gd name="connsiteY281" fmla="*/ 3221003 h 6858000"/>
              <a:gd name="connsiteX282" fmla="*/ 1053282 w 7467600"/>
              <a:gd name="connsiteY282" fmla="*/ 3185247 h 6858000"/>
              <a:gd name="connsiteX283" fmla="*/ 1320603 w 7467600"/>
              <a:gd name="connsiteY283" fmla="*/ 3081281 h 6858000"/>
              <a:gd name="connsiteX284" fmla="*/ 1238695 w 7467600"/>
              <a:gd name="connsiteY284" fmla="*/ 3076820 h 6858000"/>
              <a:gd name="connsiteX285" fmla="*/ 5425627 w 7467600"/>
              <a:gd name="connsiteY285" fmla="*/ 2954192 h 6858000"/>
              <a:gd name="connsiteX286" fmla="*/ 5470770 w 7467600"/>
              <a:gd name="connsiteY286" fmla="*/ 3005435 h 6858000"/>
              <a:gd name="connsiteX287" fmla="*/ 5519779 w 7467600"/>
              <a:gd name="connsiteY287" fmla="*/ 4359223 h 6858000"/>
              <a:gd name="connsiteX288" fmla="*/ 5520293 w 7467600"/>
              <a:gd name="connsiteY288" fmla="*/ 4360602 h 6858000"/>
              <a:gd name="connsiteX289" fmla="*/ 5767221 w 7467600"/>
              <a:gd name="connsiteY289" fmla="*/ 4665564 h 6858000"/>
              <a:gd name="connsiteX290" fmla="*/ 6937169 w 7467600"/>
              <a:gd name="connsiteY290" fmla="*/ 4815941 h 6858000"/>
              <a:gd name="connsiteX291" fmla="*/ 6953922 w 7467600"/>
              <a:gd name="connsiteY291" fmla="*/ 4890068 h 6858000"/>
              <a:gd name="connsiteX292" fmla="*/ 6071359 w 7467600"/>
              <a:gd name="connsiteY292" fmla="*/ 4770770 h 6858000"/>
              <a:gd name="connsiteX293" fmla="*/ 6038839 w 7467600"/>
              <a:gd name="connsiteY293" fmla="*/ 4764474 h 6858000"/>
              <a:gd name="connsiteX294" fmla="*/ 6038706 w 7467600"/>
              <a:gd name="connsiteY294" fmla="*/ 4763847 h 6858000"/>
              <a:gd name="connsiteX295" fmla="*/ 6037784 w 7467600"/>
              <a:gd name="connsiteY295" fmla="*/ 4764270 h 6858000"/>
              <a:gd name="connsiteX296" fmla="*/ 6038839 w 7467600"/>
              <a:gd name="connsiteY296" fmla="*/ 4764474 h 6858000"/>
              <a:gd name="connsiteX297" fmla="*/ 6040338 w 7467600"/>
              <a:gd name="connsiteY297" fmla="*/ 4771418 h 6858000"/>
              <a:gd name="connsiteX298" fmla="*/ 6024488 w 7467600"/>
              <a:gd name="connsiteY298" fmla="*/ 4809903 h 6858000"/>
              <a:gd name="connsiteX299" fmla="*/ 5599771 w 7467600"/>
              <a:gd name="connsiteY299" fmla="*/ 5509652 h 6858000"/>
              <a:gd name="connsiteX300" fmla="*/ 5548843 w 7467600"/>
              <a:gd name="connsiteY300" fmla="*/ 5563845 h 6858000"/>
              <a:gd name="connsiteX301" fmla="*/ 5940952 w 7467600"/>
              <a:gd name="connsiteY301" fmla="*/ 6250028 h 6858000"/>
              <a:gd name="connsiteX302" fmla="*/ 6043441 w 7467600"/>
              <a:gd name="connsiteY302" fmla="*/ 6665847 h 6858000"/>
              <a:gd name="connsiteX303" fmla="*/ 6093432 w 7467600"/>
              <a:gd name="connsiteY303" fmla="*/ 6858000 h 6858000"/>
              <a:gd name="connsiteX304" fmla="*/ 6034344 w 7467600"/>
              <a:gd name="connsiteY304" fmla="*/ 6858000 h 6858000"/>
              <a:gd name="connsiteX305" fmla="*/ 6026679 w 7467600"/>
              <a:gd name="connsiteY305" fmla="*/ 6836959 h 6858000"/>
              <a:gd name="connsiteX306" fmla="*/ 5800441 w 7467600"/>
              <a:gd name="connsiteY306" fmla="*/ 6335286 h 6858000"/>
              <a:gd name="connsiteX307" fmla="*/ 5526562 w 7467600"/>
              <a:gd name="connsiteY307" fmla="*/ 5705388 h 6858000"/>
              <a:gd name="connsiteX308" fmla="*/ 5519640 w 7467600"/>
              <a:gd name="connsiteY308" fmla="*/ 5683774 h 6858000"/>
              <a:gd name="connsiteX309" fmla="*/ 5844559 w 7467600"/>
              <a:gd name="connsiteY309" fmla="*/ 6553349 h 6858000"/>
              <a:gd name="connsiteX310" fmla="*/ 5975994 w 7467600"/>
              <a:gd name="connsiteY310" fmla="*/ 6858000 h 6858000"/>
              <a:gd name="connsiteX311" fmla="*/ 5898547 w 7467600"/>
              <a:gd name="connsiteY311" fmla="*/ 6858000 h 6858000"/>
              <a:gd name="connsiteX312" fmla="*/ 5682041 w 7467600"/>
              <a:gd name="connsiteY312" fmla="*/ 6355860 h 6858000"/>
              <a:gd name="connsiteX313" fmla="*/ 5461758 w 7467600"/>
              <a:gd name="connsiteY313" fmla="*/ 5820220 h 6858000"/>
              <a:gd name="connsiteX314" fmla="*/ 5237282 w 7467600"/>
              <a:gd name="connsiteY314" fmla="*/ 6579086 h 6858000"/>
              <a:gd name="connsiteX315" fmla="*/ 5115009 w 7467600"/>
              <a:gd name="connsiteY315" fmla="*/ 6858000 h 6858000"/>
              <a:gd name="connsiteX316" fmla="*/ 5028074 w 7467600"/>
              <a:gd name="connsiteY316" fmla="*/ 6858000 h 6858000"/>
              <a:gd name="connsiteX317" fmla="*/ 5079508 w 7467600"/>
              <a:gd name="connsiteY317" fmla="*/ 6749074 h 6858000"/>
              <a:gd name="connsiteX318" fmla="*/ 5371846 w 7467600"/>
              <a:gd name="connsiteY318" fmla="*/ 5924413 h 6858000"/>
              <a:gd name="connsiteX319" fmla="*/ 5270512 w 7467600"/>
              <a:gd name="connsiteY319" fmla="*/ 6138975 h 6858000"/>
              <a:gd name="connsiteX320" fmla="*/ 5062409 w 7467600"/>
              <a:gd name="connsiteY320" fmla="*/ 6653544 h 6858000"/>
              <a:gd name="connsiteX321" fmla="*/ 5036628 w 7467600"/>
              <a:gd name="connsiteY321" fmla="*/ 6754247 h 6858000"/>
              <a:gd name="connsiteX322" fmla="*/ 5009112 w 7467600"/>
              <a:gd name="connsiteY322" fmla="*/ 6858000 h 6858000"/>
              <a:gd name="connsiteX323" fmla="*/ 4976679 w 7467600"/>
              <a:gd name="connsiteY323" fmla="*/ 6858000 h 6858000"/>
              <a:gd name="connsiteX324" fmla="*/ 5006537 w 7467600"/>
              <a:gd name="connsiteY324" fmla="*/ 6747068 h 6858000"/>
              <a:gd name="connsiteX325" fmla="*/ 5032723 w 7467600"/>
              <a:gd name="connsiteY325" fmla="*/ 6644957 h 6858000"/>
              <a:gd name="connsiteX326" fmla="*/ 5242949 w 7467600"/>
              <a:gd name="connsiteY326" fmla="*/ 6125175 h 6858000"/>
              <a:gd name="connsiteX327" fmla="*/ 5286321 w 7467600"/>
              <a:gd name="connsiteY327" fmla="*/ 6033555 h 6858000"/>
              <a:gd name="connsiteX328" fmla="*/ 5008210 w 7467600"/>
              <a:gd name="connsiteY328" fmla="*/ 6649194 h 6858000"/>
              <a:gd name="connsiteX329" fmla="*/ 4986321 w 7467600"/>
              <a:gd name="connsiteY329" fmla="*/ 6765687 h 6858000"/>
              <a:gd name="connsiteX330" fmla="*/ 4973474 w 7467600"/>
              <a:gd name="connsiteY330" fmla="*/ 6858000 h 6858000"/>
              <a:gd name="connsiteX331" fmla="*/ 4907178 w 7467600"/>
              <a:gd name="connsiteY331" fmla="*/ 6858000 h 6858000"/>
              <a:gd name="connsiteX332" fmla="*/ 4910810 w 7467600"/>
              <a:gd name="connsiteY332" fmla="*/ 6829660 h 6858000"/>
              <a:gd name="connsiteX333" fmla="*/ 4987461 w 7467600"/>
              <a:gd name="connsiteY333" fmla="*/ 6432994 h 6858000"/>
              <a:gd name="connsiteX334" fmla="*/ 5179262 w 7467600"/>
              <a:gd name="connsiteY334" fmla="*/ 6035044 h 6858000"/>
              <a:gd name="connsiteX335" fmla="*/ 4689678 w 7467600"/>
              <a:gd name="connsiteY335" fmla="*/ 6440241 h 6858000"/>
              <a:gd name="connsiteX336" fmla="*/ 4477543 w 7467600"/>
              <a:gd name="connsiteY336" fmla="*/ 6674836 h 6858000"/>
              <a:gd name="connsiteX337" fmla="*/ 4329957 w 7467600"/>
              <a:gd name="connsiteY337" fmla="*/ 6858000 h 6858000"/>
              <a:gd name="connsiteX338" fmla="*/ 4218595 w 7467600"/>
              <a:gd name="connsiteY338" fmla="*/ 6858000 h 6858000"/>
              <a:gd name="connsiteX339" fmla="*/ 4368888 w 7467600"/>
              <a:gd name="connsiteY339" fmla="*/ 6668412 h 6858000"/>
              <a:gd name="connsiteX340" fmla="*/ 4563091 w 7467600"/>
              <a:gd name="connsiteY340" fmla="*/ 6442508 h 6858000"/>
              <a:gd name="connsiteX341" fmla="*/ 5387324 w 7467600"/>
              <a:gd name="connsiteY341" fmla="*/ 5705830 h 6858000"/>
              <a:gd name="connsiteX342" fmla="*/ 5073620 w 7467600"/>
              <a:gd name="connsiteY342" fmla="*/ 5955437 h 6858000"/>
              <a:gd name="connsiteX343" fmla="*/ 4689789 w 7467600"/>
              <a:gd name="connsiteY343" fmla="*/ 6268382 h 6858000"/>
              <a:gd name="connsiteX344" fmla="*/ 4418722 w 7467600"/>
              <a:gd name="connsiteY344" fmla="*/ 6570886 h 6858000"/>
              <a:gd name="connsiteX345" fmla="*/ 4214944 w 7467600"/>
              <a:gd name="connsiteY345" fmla="*/ 6858000 h 6858000"/>
              <a:gd name="connsiteX346" fmla="*/ 4177898 w 7467600"/>
              <a:gd name="connsiteY346" fmla="*/ 6858000 h 6858000"/>
              <a:gd name="connsiteX347" fmla="*/ 4391597 w 7467600"/>
              <a:gd name="connsiteY347" fmla="*/ 6556370 h 6858000"/>
              <a:gd name="connsiteX348" fmla="*/ 4668889 w 7467600"/>
              <a:gd name="connsiteY348" fmla="*/ 6246399 h 6858000"/>
              <a:gd name="connsiteX349" fmla="*/ 5055427 w 7467600"/>
              <a:gd name="connsiteY349" fmla="*/ 5931476 h 6858000"/>
              <a:gd name="connsiteX350" fmla="*/ 5371814 w 7467600"/>
              <a:gd name="connsiteY350" fmla="*/ 5678975 h 6858000"/>
              <a:gd name="connsiteX351" fmla="*/ 4987918 w 7467600"/>
              <a:gd name="connsiteY351" fmla="*/ 5838701 h 6858000"/>
              <a:gd name="connsiteX352" fmla="*/ 4317146 w 7467600"/>
              <a:gd name="connsiteY352" fmla="*/ 6587716 h 6858000"/>
              <a:gd name="connsiteX353" fmla="*/ 4171627 w 7467600"/>
              <a:gd name="connsiteY353" fmla="*/ 6858000 h 6858000"/>
              <a:gd name="connsiteX354" fmla="*/ 4081585 w 7467600"/>
              <a:gd name="connsiteY354" fmla="*/ 6858000 h 6858000"/>
              <a:gd name="connsiteX355" fmla="*/ 4238603 w 7467600"/>
              <a:gd name="connsiteY355" fmla="*/ 6559341 h 6858000"/>
              <a:gd name="connsiteX356" fmla="*/ 4778333 w 7467600"/>
              <a:gd name="connsiteY356" fmla="*/ 5873626 h 6858000"/>
              <a:gd name="connsiteX357" fmla="*/ 5414185 w 7467600"/>
              <a:gd name="connsiteY357" fmla="*/ 5573882 h 6858000"/>
              <a:gd name="connsiteX358" fmla="*/ 5959648 w 7467600"/>
              <a:gd name="connsiteY358" fmla="*/ 4760797 h 6858000"/>
              <a:gd name="connsiteX359" fmla="*/ 5355019 w 7467600"/>
              <a:gd name="connsiteY359" fmla="*/ 4734672 h 6858000"/>
              <a:gd name="connsiteX360" fmla="*/ 5083565 w 7467600"/>
              <a:gd name="connsiteY360" fmla="*/ 5179121 h 6858000"/>
              <a:gd name="connsiteX361" fmla="*/ 4713577 w 7467600"/>
              <a:gd name="connsiteY361" fmla="*/ 5616803 h 6858000"/>
              <a:gd name="connsiteX362" fmla="*/ 3989559 w 7467600"/>
              <a:gd name="connsiteY362" fmla="*/ 6145945 h 6858000"/>
              <a:gd name="connsiteX363" fmla="*/ 3939824 w 7467600"/>
              <a:gd name="connsiteY363" fmla="*/ 6066900 h 6858000"/>
              <a:gd name="connsiteX364" fmla="*/ 4584537 w 7467600"/>
              <a:gd name="connsiteY364" fmla="*/ 5324826 h 6858000"/>
              <a:gd name="connsiteX365" fmla="*/ 5037105 w 7467600"/>
              <a:gd name="connsiteY365" fmla="*/ 5088765 h 6858000"/>
              <a:gd name="connsiteX366" fmla="*/ 5039930 w 7467600"/>
              <a:gd name="connsiteY366" fmla="*/ 5089585 h 6858000"/>
              <a:gd name="connsiteX367" fmla="*/ 5263764 w 7467600"/>
              <a:gd name="connsiteY367" fmla="*/ 4735525 h 6858000"/>
              <a:gd name="connsiteX368" fmla="*/ 4086300 w 7467600"/>
              <a:gd name="connsiteY368" fmla="*/ 4884599 h 6858000"/>
              <a:gd name="connsiteX369" fmla="*/ 4085485 w 7467600"/>
              <a:gd name="connsiteY369" fmla="*/ 4899070 h 6858000"/>
              <a:gd name="connsiteX370" fmla="*/ 3871915 w 7467600"/>
              <a:gd name="connsiteY370" fmla="*/ 5253645 h 6858000"/>
              <a:gd name="connsiteX371" fmla="*/ 3799374 w 7467600"/>
              <a:gd name="connsiteY371" fmla="*/ 5466127 h 6858000"/>
              <a:gd name="connsiteX372" fmla="*/ 3498850 w 7467600"/>
              <a:gd name="connsiteY372" fmla="*/ 6661888 h 6858000"/>
              <a:gd name="connsiteX373" fmla="*/ 3399216 w 7467600"/>
              <a:gd name="connsiteY373" fmla="*/ 6858000 h 6858000"/>
              <a:gd name="connsiteX374" fmla="*/ 3303688 w 7467600"/>
              <a:gd name="connsiteY374" fmla="*/ 6858000 h 6858000"/>
              <a:gd name="connsiteX375" fmla="*/ 3391774 w 7467600"/>
              <a:gd name="connsiteY375" fmla="*/ 6697181 h 6858000"/>
              <a:gd name="connsiteX376" fmla="*/ 3735540 w 7467600"/>
              <a:gd name="connsiteY376" fmla="*/ 5546923 h 6858000"/>
              <a:gd name="connsiteX377" fmla="*/ 3729438 w 7467600"/>
              <a:gd name="connsiteY377" fmla="*/ 5569058 h 6858000"/>
              <a:gd name="connsiteX378" fmla="*/ 3707782 w 7467600"/>
              <a:gd name="connsiteY378" fmla="*/ 5644908 h 6858000"/>
              <a:gd name="connsiteX379" fmla="*/ 3583827 w 7467600"/>
              <a:gd name="connsiteY379" fmla="*/ 6039215 h 6858000"/>
              <a:gd name="connsiteX380" fmla="*/ 3547861 w 7467600"/>
              <a:gd name="connsiteY380" fmla="*/ 6129609 h 6858000"/>
              <a:gd name="connsiteX381" fmla="*/ 3490905 w 7467600"/>
              <a:gd name="connsiteY381" fmla="*/ 6277660 h 6858000"/>
              <a:gd name="connsiteX382" fmla="*/ 3455859 w 7467600"/>
              <a:gd name="connsiteY382" fmla="*/ 6391301 h 6858000"/>
              <a:gd name="connsiteX383" fmla="*/ 3429112 w 7467600"/>
              <a:gd name="connsiteY383" fmla="*/ 6479469 h 6858000"/>
              <a:gd name="connsiteX384" fmla="*/ 3304862 w 7467600"/>
              <a:gd name="connsiteY384" fmla="*/ 6796476 h 6858000"/>
              <a:gd name="connsiteX385" fmla="*/ 3276071 w 7467600"/>
              <a:gd name="connsiteY385" fmla="*/ 6858000 h 6858000"/>
              <a:gd name="connsiteX386" fmla="*/ 3240805 w 7467600"/>
              <a:gd name="connsiteY386" fmla="*/ 6858000 h 6858000"/>
              <a:gd name="connsiteX387" fmla="*/ 3275917 w 7467600"/>
              <a:gd name="connsiteY387" fmla="*/ 6783192 h 6858000"/>
              <a:gd name="connsiteX388" fmla="*/ 3399358 w 7467600"/>
              <a:gd name="connsiteY388" fmla="*/ 6469011 h 6858000"/>
              <a:gd name="connsiteX389" fmla="*/ 3425650 w 7467600"/>
              <a:gd name="connsiteY389" fmla="*/ 6381333 h 6858000"/>
              <a:gd name="connsiteX390" fmla="*/ 3460661 w 7467600"/>
              <a:gd name="connsiteY390" fmla="*/ 6266763 h 6858000"/>
              <a:gd name="connsiteX391" fmla="*/ 3518021 w 7467600"/>
              <a:gd name="connsiteY391" fmla="*/ 6117298 h 6858000"/>
              <a:gd name="connsiteX392" fmla="*/ 3554035 w 7467600"/>
              <a:gd name="connsiteY392" fmla="*/ 6027832 h 6858000"/>
              <a:gd name="connsiteX393" fmla="*/ 3677174 w 7467600"/>
              <a:gd name="connsiteY393" fmla="*/ 5636351 h 6858000"/>
              <a:gd name="connsiteX394" fmla="*/ 3698819 w 7467600"/>
              <a:gd name="connsiteY394" fmla="*/ 5560503 h 6858000"/>
              <a:gd name="connsiteX395" fmla="*/ 3702094 w 7467600"/>
              <a:gd name="connsiteY395" fmla="*/ 5549194 h 6858000"/>
              <a:gd name="connsiteX396" fmla="*/ 3398355 w 7467600"/>
              <a:gd name="connsiteY396" fmla="*/ 6094603 h 6858000"/>
              <a:gd name="connsiteX397" fmla="*/ 3193941 w 7467600"/>
              <a:gd name="connsiteY397" fmla="*/ 6798775 h 6858000"/>
              <a:gd name="connsiteX398" fmla="*/ 3184140 w 7467600"/>
              <a:gd name="connsiteY398" fmla="*/ 6858000 h 6858000"/>
              <a:gd name="connsiteX399" fmla="*/ 3099978 w 7467600"/>
              <a:gd name="connsiteY399" fmla="*/ 6858000 h 6858000"/>
              <a:gd name="connsiteX400" fmla="*/ 3101556 w 7467600"/>
              <a:gd name="connsiteY400" fmla="*/ 6843337 h 6858000"/>
              <a:gd name="connsiteX401" fmla="*/ 3370162 w 7467600"/>
              <a:gd name="connsiteY401" fmla="*/ 5785550 h 6858000"/>
              <a:gd name="connsiteX402" fmla="*/ 3746477 w 7467600"/>
              <a:gd name="connsiteY402" fmla="*/ 5377889 h 6858000"/>
              <a:gd name="connsiteX403" fmla="*/ 3863399 w 7467600"/>
              <a:gd name="connsiteY403" fmla="*/ 5087257 h 6858000"/>
              <a:gd name="connsiteX404" fmla="*/ 3968712 w 7467600"/>
              <a:gd name="connsiteY404" fmla="*/ 4913989 h 6858000"/>
              <a:gd name="connsiteX405" fmla="*/ 2792390 w 7467600"/>
              <a:gd name="connsiteY405" fmla="*/ 5382974 h 6858000"/>
              <a:gd name="connsiteX406" fmla="*/ 2714982 w 7467600"/>
              <a:gd name="connsiteY406" fmla="*/ 5427051 h 6858000"/>
              <a:gd name="connsiteX407" fmla="*/ 2813361 w 7467600"/>
              <a:gd name="connsiteY407" fmla="*/ 6023912 h 6858000"/>
              <a:gd name="connsiteX408" fmla="*/ 2688430 w 7467600"/>
              <a:gd name="connsiteY408" fmla="*/ 6801564 h 6858000"/>
              <a:gd name="connsiteX409" fmla="*/ 2629626 w 7467600"/>
              <a:gd name="connsiteY409" fmla="*/ 6763394 h 6858000"/>
              <a:gd name="connsiteX410" fmla="*/ 2565328 w 7467600"/>
              <a:gd name="connsiteY410" fmla="*/ 5516399 h 6858000"/>
              <a:gd name="connsiteX411" fmla="*/ 1922999 w 7467600"/>
              <a:gd name="connsiteY411" fmla="*/ 5980343 h 6858000"/>
              <a:gd name="connsiteX412" fmla="*/ 1950261 w 7467600"/>
              <a:gd name="connsiteY412" fmla="*/ 6405858 h 6858000"/>
              <a:gd name="connsiteX413" fmla="*/ 2365554 w 7467600"/>
              <a:gd name="connsiteY413" fmla="*/ 6759107 h 6858000"/>
              <a:gd name="connsiteX414" fmla="*/ 2424142 w 7467600"/>
              <a:gd name="connsiteY414" fmla="*/ 6858000 h 6858000"/>
              <a:gd name="connsiteX415" fmla="*/ 2395994 w 7467600"/>
              <a:gd name="connsiteY415" fmla="*/ 6858000 h 6858000"/>
              <a:gd name="connsiteX416" fmla="*/ 2392863 w 7467600"/>
              <a:gd name="connsiteY416" fmla="*/ 6852964 h 6858000"/>
              <a:gd name="connsiteX417" fmla="*/ 2017589 w 7467600"/>
              <a:gd name="connsiteY417" fmla="*/ 6493982 h 6858000"/>
              <a:gd name="connsiteX418" fmla="*/ 2147336 w 7467600"/>
              <a:gd name="connsiteY418" fmla="*/ 6594052 h 6858000"/>
              <a:gd name="connsiteX419" fmla="*/ 2207047 w 7467600"/>
              <a:gd name="connsiteY419" fmla="*/ 6654540 h 6858000"/>
              <a:gd name="connsiteX420" fmla="*/ 2299106 w 7467600"/>
              <a:gd name="connsiteY420" fmla="*/ 6778931 h 6858000"/>
              <a:gd name="connsiteX421" fmla="*/ 2314430 w 7467600"/>
              <a:gd name="connsiteY421" fmla="*/ 6801144 h 6858000"/>
              <a:gd name="connsiteX422" fmla="*/ 2352406 w 7467600"/>
              <a:gd name="connsiteY422" fmla="*/ 6858000 h 6858000"/>
              <a:gd name="connsiteX423" fmla="*/ 2314492 w 7467600"/>
              <a:gd name="connsiteY423" fmla="*/ 6858000 h 6858000"/>
              <a:gd name="connsiteX424" fmla="*/ 2288095 w 7467600"/>
              <a:gd name="connsiteY424" fmla="*/ 6818030 h 6858000"/>
              <a:gd name="connsiteX425" fmla="*/ 2272768 w 7467600"/>
              <a:gd name="connsiteY425" fmla="*/ 6795822 h 6858000"/>
              <a:gd name="connsiteX426" fmla="*/ 2182715 w 7467600"/>
              <a:gd name="connsiteY426" fmla="*/ 6675071 h 6858000"/>
              <a:gd name="connsiteX427" fmla="*/ 2032061 w 7467600"/>
              <a:gd name="connsiteY427" fmla="*/ 6541380 h 6858000"/>
              <a:gd name="connsiteX428" fmla="*/ 2257220 w 7467600"/>
              <a:gd name="connsiteY428" fmla="*/ 6826257 h 6858000"/>
              <a:gd name="connsiteX429" fmla="*/ 2281324 w 7467600"/>
              <a:gd name="connsiteY429" fmla="*/ 6858000 h 6858000"/>
              <a:gd name="connsiteX430" fmla="*/ 2242860 w 7467600"/>
              <a:gd name="connsiteY430" fmla="*/ 6858000 h 6858000"/>
              <a:gd name="connsiteX431" fmla="*/ 2232818 w 7467600"/>
              <a:gd name="connsiteY431" fmla="*/ 6844926 h 6858000"/>
              <a:gd name="connsiteX432" fmla="*/ 1990172 w 7467600"/>
              <a:gd name="connsiteY432" fmla="*/ 6542121 h 6858000"/>
              <a:gd name="connsiteX433" fmla="*/ 2124090 w 7467600"/>
              <a:gd name="connsiteY433" fmla="*/ 6761017 h 6858000"/>
              <a:gd name="connsiteX434" fmla="*/ 2200380 w 7467600"/>
              <a:gd name="connsiteY434" fmla="*/ 6858000 h 6858000"/>
              <a:gd name="connsiteX435" fmla="*/ 2147507 w 7467600"/>
              <a:gd name="connsiteY435" fmla="*/ 6858000 h 6858000"/>
              <a:gd name="connsiteX436" fmla="*/ 2070668 w 7467600"/>
              <a:gd name="connsiteY436" fmla="*/ 6761520 h 6858000"/>
              <a:gd name="connsiteX437" fmla="*/ 1975142 w 7467600"/>
              <a:gd name="connsiteY437" fmla="*/ 6585570 h 6858000"/>
              <a:gd name="connsiteX438" fmla="*/ 2050035 w 7467600"/>
              <a:gd name="connsiteY438" fmla="*/ 6813345 h 6858000"/>
              <a:gd name="connsiteX439" fmla="*/ 2063025 w 7467600"/>
              <a:gd name="connsiteY439" fmla="*/ 6858000 h 6858000"/>
              <a:gd name="connsiteX440" fmla="*/ 2021675 w 7467600"/>
              <a:gd name="connsiteY440" fmla="*/ 6858000 h 6858000"/>
              <a:gd name="connsiteX441" fmla="*/ 2019308 w 7467600"/>
              <a:gd name="connsiteY441" fmla="*/ 6847118 h 6858000"/>
              <a:gd name="connsiteX442" fmla="*/ 1938835 w 7467600"/>
              <a:gd name="connsiteY442" fmla="*/ 6551160 h 6858000"/>
              <a:gd name="connsiteX443" fmla="*/ 1953230 w 7467600"/>
              <a:gd name="connsiteY443" fmla="*/ 6759699 h 6858000"/>
              <a:gd name="connsiteX444" fmla="*/ 1956763 w 7467600"/>
              <a:gd name="connsiteY444" fmla="*/ 6778191 h 6858000"/>
              <a:gd name="connsiteX445" fmla="*/ 1967925 w 7467600"/>
              <a:gd name="connsiteY445" fmla="*/ 6858000 h 6858000"/>
              <a:gd name="connsiteX446" fmla="*/ 1936622 w 7467600"/>
              <a:gd name="connsiteY446" fmla="*/ 6858000 h 6858000"/>
              <a:gd name="connsiteX447" fmla="*/ 1926261 w 7467600"/>
              <a:gd name="connsiteY447" fmla="*/ 6784064 h 6858000"/>
              <a:gd name="connsiteX448" fmla="*/ 1922724 w 7467600"/>
              <a:gd name="connsiteY448" fmla="*/ 6765577 h 6858000"/>
              <a:gd name="connsiteX449" fmla="*/ 1904650 w 7467600"/>
              <a:gd name="connsiteY449" fmla="*/ 6639616 h 6858000"/>
              <a:gd name="connsiteX450" fmla="*/ 1885273 w 7467600"/>
              <a:gd name="connsiteY450" fmla="*/ 6858000 h 6858000"/>
              <a:gd name="connsiteX451" fmla="*/ 1854363 w 7467600"/>
              <a:gd name="connsiteY451" fmla="*/ 6858000 h 6858000"/>
              <a:gd name="connsiteX452" fmla="*/ 1880391 w 7467600"/>
              <a:gd name="connsiteY452" fmla="*/ 6603796 h 6858000"/>
              <a:gd name="connsiteX453" fmla="*/ 1818273 w 7467600"/>
              <a:gd name="connsiteY453" fmla="*/ 6715729 h 6858000"/>
              <a:gd name="connsiteX454" fmla="*/ 1794691 w 7467600"/>
              <a:gd name="connsiteY454" fmla="*/ 6843239 h 6858000"/>
              <a:gd name="connsiteX455" fmla="*/ 1794914 w 7467600"/>
              <a:gd name="connsiteY455" fmla="*/ 6858000 h 6858000"/>
              <a:gd name="connsiteX456" fmla="*/ 1746128 w 7467600"/>
              <a:gd name="connsiteY456" fmla="*/ 6858000 h 6858000"/>
              <a:gd name="connsiteX457" fmla="*/ 1753934 w 7467600"/>
              <a:gd name="connsiteY457" fmla="*/ 6724796 h 6858000"/>
              <a:gd name="connsiteX458" fmla="*/ 1792053 w 7467600"/>
              <a:gd name="connsiteY458" fmla="*/ 6572396 h 6858000"/>
              <a:gd name="connsiteX459" fmla="*/ 1862248 w 7467600"/>
              <a:gd name="connsiteY459" fmla="*/ 6266397 h 6858000"/>
              <a:gd name="connsiteX460" fmla="*/ 1862250 w 7467600"/>
              <a:gd name="connsiteY460" fmla="*/ 6033531 h 6858000"/>
              <a:gd name="connsiteX461" fmla="*/ 1211999 w 7467600"/>
              <a:gd name="connsiteY461" fmla="*/ 6683610 h 6858000"/>
              <a:gd name="connsiteX462" fmla="*/ 1213266 w 7467600"/>
              <a:gd name="connsiteY462" fmla="*/ 6691947 h 6858000"/>
              <a:gd name="connsiteX463" fmla="*/ 1203370 w 7467600"/>
              <a:gd name="connsiteY463" fmla="*/ 6850676 h 6858000"/>
              <a:gd name="connsiteX464" fmla="*/ 1203671 w 7467600"/>
              <a:gd name="connsiteY464" fmla="*/ 6858000 h 6858000"/>
              <a:gd name="connsiteX465" fmla="*/ 1143180 w 7467600"/>
              <a:gd name="connsiteY465" fmla="*/ 6858000 h 6858000"/>
              <a:gd name="connsiteX466" fmla="*/ 1142176 w 7467600"/>
              <a:gd name="connsiteY466" fmla="*/ 6766045 h 6858000"/>
              <a:gd name="connsiteX467" fmla="*/ 1067484 w 7467600"/>
              <a:gd name="connsiteY467" fmla="*/ 6858000 h 6858000"/>
              <a:gd name="connsiteX468" fmla="*/ 953928 w 7467600"/>
              <a:gd name="connsiteY468" fmla="*/ 6858000 h 6858000"/>
              <a:gd name="connsiteX469" fmla="*/ 959715 w 7467600"/>
              <a:gd name="connsiteY469" fmla="*/ 6850185 h 6858000"/>
              <a:gd name="connsiteX470" fmla="*/ 1483788 w 7467600"/>
              <a:gd name="connsiteY470" fmla="*/ 6259174 h 6858000"/>
              <a:gd name="connsiteX471" fmla="*/ 1100671 w 7467600"/>
              <a:gd name="connsiteY471" fmla="*/ 6252137 h 6858000"/>
              <a:gd name="connsiteX472" fmla="*/ 1090144 w 7467600"/>
              <a:gd name="connsiteY472" fmla="*/ 6256748 h 6858000"/>
              <a:gd name="connsiteX473" fmla="*/ 1095872 w 7467600"/>
              <a:gd name="connsiteY473" fmla="*/ 6271892 h 6858000"/>
              <a:gd name="connsiteX474" fmla="*/ 262785 w 7467600"/>
              <a:gd name="connsiteY474" fmla="*/ 6845450 h 6858000"/>
              <a:gd name="connsiteX475" fmla="*/ 209968 w 7467600"/>
              <a:gd name="connsiteY475" fmla="*/ 6770713 h 6858000"/>
              <a:gd name="connsiteX476" fmla="*/ 873460 w 7467600"/>
              <a:gd name="connsiteY476" fmla="*/ 6253768 h 6858000"/>
              <a:gd name="connsiteX477" fmla="*/ 192686 w 7467600"/>
              <a:gd name="connsiteY477" fmla="*/ 5849257 h 6858000"/>
              <a:gd name="connsiteX478" fmla="*/ 4696 w 7467600"/>
              <a:gd name="connsiteY478" fmla="*/ 5697668 h 6858000"/>
              <a:gd name="connsiteX479" fmla="*/ 0 w 7467600"/>
              <a:gd name="connsiteY479" fmla="*/ 5689984 h 6858000"/>
              <a:gd name="connsiteX480" fmla="*/ 0 w 7467600"/>
              <a:gd name="connsiteY480" fmla="*/ 5513472 h 6858000"/>
              <a:gd name="connsiteX481" fmla="*/ 174101 w 7467600"/>
              <a:gd name="connsiteY481" fmla="*/ 5620277 h 6858000"/>
              <a:gd name="connsiteX482" fmla="*/ 891800 w 7467600"/>
              <a:gd name="connsiteY482" fmla="*/ 6036935 h 6858000"/>
              <a:gd name="connsiteX483" fmla="*/ 1072219 w 7467600"/>
              <a:gd name="connsiteY483" fmla="*/ 6169443 h 6858000"/>
              <a:gd name="connsiteX484" fmla="*/ 1074117 w 7467600"/>
              <a:gd name="connsiteY484" fmla="*/ 6170301 h 6858000"/>
              <a:gd name="connsiteX485" fmla="*/ 1083114 w 7467600"/>
              <a:gd name="connsiteY485" fmla="*/ 6174131 h 6858000"/>
              <a:gd name="connsiteX486" fmla="*/ 1543010 w 7467600"/>
              <a:gd name="connsiteY486" fmla="*/ 6191140 h 6858000"/>
              <a:gd name="connsiteX487" fmla="*/ 1551080 w 7467600"/>
              <a:gd name="connsiteY487" fmla="*/ 6195006 h 6858000"/>
              <a:gd name="connsiteX488" fmla="*/ 2345443 w 7467600"/>
              <a:gd name="connsiteY488" fmla="*/ 5549882 h 6858000"/>
              <a:gd name="connsiteX489" fmla="*/ 1721499 w 7467600"/>
              <a:gd name="connsiteY489" fmla="*/ 5599969 h 6858000"/>
              <a:gd name="connsiteX490" fmla="*/ 767716 w 7467600"/>
              <a:gd name="connsiteY490" fmla="*/ 5472768 h 6858000"/>
              <a:gd name="connsiteX491" fmla="*/ 722147 w 7467600"/>
              <a:gd name="connsiteY491" fmla="*/ 5393091 h 6858000"/>
              <a:gd name="connsiteX492" fmla="*/ 1485552 w 7467600"/>
              <a:gd name="connsiteY492" fmla="*/ 5313202 h 6858000"/>
              <a:gd name="connsiteX493" fmla="*/ 2143004 w 7467600"/>
              <a:gd name="connsiteY493" fmla="*/ 5402420 h 6858000"/>
              <a:gd name="connsiteX494" fmla="*/ 1933391 w 7467600"/>
              <a:gd name="connsiteY494" fmla="*/ 5156971 h 6858000"/>
              <a:gd name="connsiteX495" fmla="*/ 1827118 w 7467600"/>
              <a:gd name="connsiteY495" fmla="*/ 4968410 h 6858000"/>
              <a:gd name="connsiteX496" fmla="*/ 1837349 w 7467600"/>
              <a:gd name="connsiteY496" fmla="*/ 4956357 h 6858000"/>
              <a:gd name="connsiteX497" fmla="*/ 2162835 w 7467600"/>
              <a:gd name="connsiteY497" fmla="*/ 5187853 h 6858000"/>
              <a:gd name="connsiteX498" fmla="*/ 2257167 w 7467600"/>
              <a:gd name="connsiteY498" fmla="*/ 5462123 h 6858000"/>
              <a:gd name="connsiteX499" fmla="*/ 2261598 w 7467600"/>
              <a:gd name="connsiteY499" fmla="*/ 5467998 h 6858000"/>
              <a:gd name="connsiteX500" fmla="*/ 2437177 w 7467600"/>
              <a:gd name="connsiteY500" fmla="*/ 5479608 h 6858000"/>
              <a:gd name="connsiteX501" fmla="*/ 2445247 w 7467600"/>
              <a:gd name="connsiteY501" fmla="*/ 5483476 h 6858000"/>
              <a:gd name="connsiteX502" fmla="*/ 2743626 w 7467600"/>
              <a:gd name="connsiteY502" fmla="*/ 5304819 h 6858000"/>
              <a:gd name="connsiteX503" fmla="*/ 3048102 w 7467600"/>
              <a:gd name="connsiteY503" fmla="*/ 5150595 h 6858000"/>
              <a:gd name="connsiteX504" fmla="*/ 1799414 w 7467600"/>
              <a:gd name="connsiteY504" fmla="*/ 4694732 h 6858000"/>
              <a:gd name="connsiteX505" fmla="*/ 1771735 w 7467600"/>
              <a:gd name="connsiteY505" fmla="*/ 4619929 h 6858000"/>
              <a:gd name="connsiteX506" fmla="*/ 3104273 w 7467600"/>
              <a:gd name="connsiteY506" fmla="*/ 5076159 h 6858000"/>
              <a:gd name="connsiteX507" fmla="*/ 3113245 w 7467600"/>
              <a:gd name="connsiteY507" fmla="*/ 5090705 h 6858000"/>
              <a:gd name="connsiteX508" fmla="*/ 3126294 w 7467600"/>
              <a:gd name="connsiteY508" fmla="*/ 5114400 h 6858000"/>
              <a:gd name="connsiteX509" fmla="*/ 3937433 w 7467600"/>
              <a:gd name="connsiteY509" fmla="*/ 4830473 h 6858000"/>
              <a:gd name="connsiteX510" fmla="*/ 3590475 w 7467600"/>
              <a:gd name="connsiteY510" fmla="*/ 4597974 h 6858000"/>
              <a:gd name="connsiteX511" fmla="*/ 3100264 w 7467600"/>
              <a:gd name="connsiteY511" fmla="*/ 4579845 h 6858000"/>
              <a:gd name="connsiteX512" fmla="*/ 2183576 w 7467600"/>
              <a:gd name="connsiteY512" fmla="*/ 4227150 h 6858000"/>
              <a:gd name="connsiteX513" fmla="*/ 2151029 w 7467600"/>
              <a:gd name="connsiteY513" fmla="*/ 4146947 h 6858000"/>
              <a:gd name="connsiteX514" fmla="*/ 3563434 w 7467600"/>
              <a:gd name="connsiteY514" fmla="*/ 4469115 h 6858000"/>
              <a:gd name="connsiteX515" fmla="*/ 3177952 w 7467600"/>
              <a:gd name="connsiteY515" fmla="*/ 3657386 h 6858000"/>
              <a:gd name="connsiteX516" fmla="*/ 3189263 w 7467600"/>
              <a:gd name="connsiteY516" fmla="*/ 3625726 h 6858000"/>
              <a:gd name="connsiteX517" fmla="*/ 3560912 w 7467600"/>
              <a:gd name="connsiteY517" fmla="*/ 4079863 h 6858000"/>
              <a:gd name="connsiteX518" fmla="*/ 3626636 w 7467600"/>
              <a:gd name="connsiteY518" fmla="*/ 4512230 h 6858000"/>
              <a:gd name="connsiteX519" fmla="*/ 3653088 w 7467600"/>
              <a:gd name="connsiteY519" fmla="*/ 4521417 h 6858000"/>
              <a:gd name="connsiteX520" fmla="*/ 3988128 w 7467600"/>
              <a:gd name="connsiteY520" fmla="*/ 4817267 h 6858000"/>
              <a:gd name="connsiteX521" fmla="*/ 4830582 w 7467600"/>
              <a:gd name="connsiteY521" fmla="*/ 4676000 h 6858000"/>
              <a:gd name="connsiteX522" fmla="*/ 4830100 w 7467600"/>
              <a:gd name="connsiteY522" fmla="*/ 4675554 h 6858000"/>
              <a:gd name="connsiteX523" fmla="*/ 4036318 w 7467600"/>
              <a:gd name="connsiteY523" fmla="*/ 4147013 h 6858000"/>
              <a:gd name="connsiteX524" fmla="*/ 3432098 w 7467600"/>
              <a:gd name="connsiteY524" fmla="*/ 3537312 h 6858000"/>
              <a:gd name="connsiteX525" fmla="*/ 3446761 w 7467600"/>
              <a:gd name="connsiteY525" fmla="*/ 3461278 h 6858000"/>
              <a:gd name="connsiteX526" fmla="*/ 4419733 w 7467600"/>
              <a:gd name="connsiteY526" fmla="*/ 3963555 h 6858000"/>
              <a:gd name="connsiteX527" fmla="*/ 4781371 w 7467600"/>
              <a:gd name="connsiteY527" fmla="*/ 4458604 h 6858000"/>
              <a:gd name="connsiteX528" fmla="*/ 4780440 w 7467600"/>
              <a:gd name="connsiteY528" fmla="*/ 4470290 h 6858000"/>
              <a:gd name="connsiteX529" fmla="*/ 4898954 w 7467600"/>
              <a:gd name="connsiteY529" fmla="*/ 4662092 h 6858000"/>
              <a:gd name="connsiteX530" fmla="*/ 4900699 w 7467600"/>
              <a:gd name="connsiteY530" fmla="*/ 4670867 h 6858000"/>
              <a:gd name="connsiteX531" fmla="*/ 5714511 w 7467600"/>
              <a:gd name="connsiteY531" fmla="*/ 4663483 h 6858000"/>
              <a:gd name="connsiteX532" fmla="*/ 5464793 w 7467600"/>
              <a:gd name="connsiteY532" fmla="*/ 4393556 h 6858000"/>
              <a:gd name="connsiteX533" fmla="*/ 5461897 w 7467600"/>
              <a:gd name="connsiteY533" fmla="*/ 4390879 h 6858000"/>
              <a:gd name="connsiteX534" fmla="*/ 4294126 w 7467600"/>
              <a:gd name="connsiteY534" fmla="*/ 3303048 h 6858000"/>
              <a:gd name="connsiteX535" fmla="*/ 4305321 w 7467600"/>
              <a:gd name="connsiteY535" fmla="*/ 3256953 h 6858000"/>
              <a:gd name="connsiteX536" fmla="*/ 4949299 w 7467600"/>
              <a:gd name="connsiteY536" fmla="*/ 3766336 h 6858000"/>
              <a:gd name="connsiteX537" fmla="*/ 5291452 w 7467600"/>
              <a:gd name="connsiteY537" fmla="*/ 4076801 h 6858000"/>
              <a:gd name="connsiteX538" fmla="*/ 5434998 w 7467600"/>
              <a:gd name="connsiteY538" fmla="*/ 4254100 h 6858000"/>
              <a:gd name="connsiteX539" fmla="*/ 5351015 w 7467600"/>
              <a:gd name="connsiteY539" fmla="*/ 3760989 h 6858000"/>
              <a:gd name="connsiteX540" fmla="*/ 5413780 w 7467600"/>
              <a:gd name="connsiteY540" fmla="*/ 2966265 h 6858000"/>
              <a:gd name="connsiteX541" fmla="*/ 5425627 w 7467600"/>
              <a:gd name="connsiteY541" fmla="*/ 2954192 h 6858000"/>
              <a:gd name="connsiteX542" fmla="*/ 6604735 w 7467600"/>
              <a:gd name="connsiteY542" fmla="*/ 2041381 h 6858000"/>
              <a:gd name="connsiteX543" fmla="*/ 7204487 w 7467600"/>
              <a:gd name="connsiteY543" fmla="*/ 2742112 h 6858000"/>
              <a:gd name="connsiteX544" fmla="*/ 7131592 w 7467600"/>
              <a:gd name="connsiteY544" fmla="*/ 2672096 h 6858000"/>
              <a:gd name="connsiteX545" fmla="*/ 6996344 w 7467600"/>
              <a:gd name="connsiteY545" fmla="*/ 2518310 h 6858000"/>
              <a:gd name="connsiteX546" fmla="*/ 6735495 w 7467600"/>
              <a:gd name="connsiteY546" fmla="*/ 2196890 h 6858000"/>
              <a:gd name="connsiteX547" fmla="*/ 6721901 w 7467600"/>
              <a:gd name="connsiteY547" fmla="*/ 2179274 h 6858000"/>
              <a:gd name="connsiteX548" fmla="*/ 6604735 w 7467600"/>
              <a:gd name="connsiteY548" fmla="*/ 2041381 h 6858000"/>
              <a:gd name="connsiteX549" fmla="*/ 6591670 w 7467600"/>
              <a:gd name="connsiteY549" fmla="*/ 1988277 h 6858000"/>
              <a:gd name="connsiteX550" fmla="*/ 6747349 w 7467600"/>
              <a:gd name="connsiteY550" fmla="*/ 2160069 h 6858000"/>
              <a:gd name="connsiteX551" fmla="*/ 6760943 w 7467600"/>
              <a:gd name="connsiteY551" fmla="*/ 2177686 h 6858000"/>
              <a:gd name="connsiteX552" fmla="*/ 7021065 w 7467600"/>
              <a:gd name="connsiteY552" fmla="*/ 2498102 h 6858000"/>
              <a:gd name="connsiteX553" fmla="*/ 7155223 w 7467600"/>
              <a:gd name="connsiteY553" fmla="*/ 2650386 h 6858000"/>
              <a:gd name="connsiteX554" fmla="*/ 7203167 w 7467600"/>
              <a:gd name="connsiteY554" fmla="*/ 2697288 h 6858000"/>
              <a:gd name="connsiteX555" fmla="*/ 6937703 w 7467600"/>
              <a:gd name="connsiteY555" fmla="*/ 2321981 h 6858000"/>
              <a:gd name="connsiteX556" fmla="*/ 6591670 w 7467600"/>
              <a:gd name="connsiteY556" fmla="*/ 1988277 h 6858000"/>
              <a:gd name="connsiteX557" fmla="*/ 5798671 w 7467600"/>
              <a:gd name="connsiteY557" fmla="*/ 1981601 h 6858000"/>
              <a:gd name="connsiteX558" fmla="*/ 5754709 w 7467600"/>
              <a:gd name="connsiteY558" fmla="*/ 2071454 h 6858000"/>
              <a:gd name="connsiteX559" fmla="*/ 5763044 w 7467600"/>
              <a:gd name="connsiteY559" fmla="*/ 2842206 h 6858000"/>
              <a:gd name="connsiteX560" fmla="*/ 5764974 w 7467600"/>
              <a:gd name="connsiteY560" fmla="*/ 2799609 h 6858000"/>
              <a:gd name="connsiteX561" fmla="*/ 5767665 w 7467600"/>
              <a:gd name="connsiteY561" fmla="*/ 2666409 h 6858000"/>
              <a:gd name="connsiteX562" fmla="*/ 5763055 w 7467600"/>
              <a:gd name="connsiteY562" fmla="*/ 2579705 h 6858000"/>
              <a:gd name="connsiteX563" fmla="*/ 5758079 w 7467600"/>
              <a:gd name="connsiteY563" fmla="*/ 2492508 h 6858000"/>
              <a:gd name="connsiteX564" fmla="*/ 5779325 w 7467600"/>
              <a:gd name="connsiteY564" fmla="*/ 2197069 h 6858000"/>
              <a:gd name="connsiteX565" fmla="*/ 5798671 w 7467600"/>
              <a:gd name="connsiteY565" fmla="*/ 1981601 h 6858000"/>
              <a:gd name="connsiteX566" fmla="*/ 5829202 w 7467600"/>
              <a:gd name="connsiteY566" fmla="*/ 1971679 h 6858000"/>
              <a:gd name="connsiteX567" fmla="*/ 5809558 w 7467600"/>
              <a:gd name="connsiteY567" fmla="*/ 2198043 h 6858000"/>
              <a:gd name="connsiteX568" fmla="*/ 5788653 w 7467600"/>
              <a:gd name="connsiteY568" fmla="*/ 2489430 h 6858000"/>
              <a:gd name="connsiteX569" fmla="*/ 5793439 w 7467600"/>
              <a:gd name="connsiteY569" fmla="*/ 2575235 h 6858000"/>
              <a:gd name="connsiteX570" fmla="*/ 5796837 w 7467600"/>
              <a:gd name="connsiteY570" fmla="*/ 2637633 h 6858000"/>
              <a:gd name="connsiteX571" fmla="*/ 5818614 w 7467600"/>
              <a:gd name="connsiteY571" fmla="*/ 2473055 h 6858000"/>
              <a:gd name="connsiteX572" fmla="*/ 5829202 w 7467600"/>
              <a:gd name="connsiteY572" fmla="*/ 1971679 h 6858000"/>
              <a:gd name="connsiteX573" fmla="*/ 5911389 w 7467600"/>
              <a:gd name="connsiteY573" fmla="*/ 1898371 h 6858000"/>
              <a:gd name="connsiteX574" fmla="*/ 6237627 w 7467600"/>
              <a:gd name="connsiteY574" fmla="*/ 2231921 h 6858000"/>
              <a:gd name="connsiteX575" fmla="*/ 5911389 w 7467600"/>
              <a:gd name="connsiteY575" fmla="*/ 1898371 h 6858000"/>
              <a:gd name="connsiteX576" fmla="*/ 6944437 w 7467600"/>
              <a:gd name="connsiteY576" fmla="*/ 1575402 h 6858000"/>
              <a:gd name="connsiteX577" fmla="*/ 6304730 w 7467600"/>
              <a:gd name="connsiteY577" fmla="*/ 1766654 h 6858000"/>
              <a:gd name="connsiteX578" fmla="*/ 6944437 w 7467600"/>
              <a:gd name="connsiteY578" fmla="*/ 1575402 h 6858000"/>
              <a:gd name="connsiteX579" fmla="*/ 7019523 w 7467600"/>
              <a:gd name="connsiteY579" fmla="*/ 1519450 h 6858000"/>
              <a:gd name="connsiteX580" fmla="*/ 6298091 w 7467600"/>
              <a:gd name="connsiteY580" fmla="*/ 1737122 h 6858000"/>
              <a:gd name="connsiteX581" fmla="*/ 7019523 w 7467600"/>
              <a:gd name="connsiteY581" fmla="*/ 1519450 h 6858000"/>
              <a:gd name="connsiteX582" fmla="*/ 2399523 w 7467600"/>
              <a:gd name="connsiteY582" fmla="*/ 1428234 h 6858000"/>
              <a:gd name="connsiteX583" fmla="*/ 2224982 w 7467600"/>
              <a:gd name="connsiteY583" fmla="*/ 1826201 h 6858000"/>
              <a:gd name="connsiteX584" fmla="*/ 2096099 w 7467600"/>
              <a:gd name="connsiteY584" fmla="*/ 2345900 h 6858000"/>
              <a:gd name="connsiteX585" fmla="*/ 2283317 w 7467600"/>
              <a:gd name="connsiteY585" fmla="*/ 1796925 h 6858000"/>
              <a:gd name="connsiteX586" fmla="*/ 2399523 w 7467600"/>
              <a:gd name="connsiteY586" fmla="*/ 1428234 h 6858000"/>
              <a:gd name="connsiteX587" fmla="*/ 2448558 w 7467600"/>
              <a:gd name="connsiteY587" fmla="*/ 1373435 h 6858000"/>
              <a:gd name="connsiteX588" fmla="*/ 2312521 w 7467600"/>
              <a:gd name="connsiteY588" fmla="*/ 1806140 h 6858000"/>
              <a:gd name="connsiteX589" fmla="*/ 2127533 w 7467600"/>
              <a:gd name="connsiteY589" fmla="*/ 2348380 h 6858000"/>
              <a:gd name="connsiteX590" fmla="*/ 2358080 w 7467600"/>
              <a:gd name="connsiteY590" fmla="*/ 1866134 h 6858000"/>
              <a:gd name="connsiteX591" fmla="*/ 2407436 w 7467600"/>
              <a:gd name="connsiteY591" fmla="*/ 1651070 h 6858000"/>
              <a:gd name="connsiteX592" fmla="*/ 2448558 w 7467600"/>
              <a:gd name="connsiteY592" fmla="*/ 1373435 h 6858000"/>
              <a:gd name="connsiteX593" fmla="*/ 278707 w 7467600"/>
              <a:gd name="connsiteY593" fmla="*/ 1352270 h 6858000"/>
              <a:gd name="connsiteX594" fmla="*/ 321570 w 7467600"/>
              <a:gd name="connsiteY594" fmla="*/ 1861610 h 6858000"/>
              <a:gd name="connsiteX595" fmla="*/ 294281 w 7467600"/>
              <a:gd name="connsiteY595" fmla="*/ 1440658 h 6858000"/>
              <a:gd name="connsiteX596" fmla="*/ 278707 w 7467600"/>
              <a:gd name="connsiteY596" fmla="*/ 1352270 h 6858000"/>
              <a:gd name="connsiteX597" fmla="*/ 1423821 w 7467600"/>
              <a:gd name="connsiteY597" fmla="*/ 1351958 h 6858000"/>
              <a:gd name="connsiteX598" fmla="*/ 1638521 w 7467600"/>
              <a:gd name="connsiteY598" fmla="*/ 1908470 h 6858000"/>
              <a:gd name="connsiteX599" fmla="*/ 1754199 w 7467600"/>
              <a:gd name="connsiteY599" fmla="*/ 2149284 h 6858000"/>
              <a:gd name="connsiteX600" fmla="*/ 1908359 w 7467600"/>
              <a:gd name="connsiteY600" fmla="*/ 2364988 h 6858000"/>
              <a:gd name="connsiteX601" fmla="*/ 1647661 w 7467600"/>
              <a:gd name="connsiteY601" fmla="*/ 1825945 h 6858000"/>
              <a:gd name="connsiteX602" fmla="*/ 1423821 w 7467600"/>
              <a:gd name="connsiteY602" fmla="*/ 1351958 h 6858000"/>
              <a:gd name="connsiteX603" fmla="*/ 1431890 w 7467600"/>
              <a:gd name="connsiteY603" fmla="*/ 1306475 h 6858000"/>
              <a:gd name="connsiteX604" fmla="*/ 1507597 w 7467600"/>
              <a:gd name="connsiteY604" fmla="*/ 1446132 h 6858000"/>
              <a:gd name="connsiteX605" fmla="*/ 1674586 w 7467600"/>
              <a:gd name="connsiteY605" fmla="*/ 1813832 h 6858000"/>
              <a:gd name="connsiteX606" fmla="*/ 1815950 w 7467600"/>
              <a:gd name="connsiteY606" fmla="*/ 2128564 h 6858000"/>
              <a:gd name="connsiteX607" fmla="*/ 1984242 w 7467600"/>
              <a:gd name="connsiteY607" fmla="*/ 2430829 h 6858000"/>
              <a:gd name="connsiteX608" fmla="*/ 2014023 w 7467600"/>
              <a:gd name="connsiteY608" fmla="*/ 2450995 h 6858000"/>
              <a:gd name="connsiteX609" fmla="*/ 1747337 w 7467600"/>
              <a:gd name="connsiteY609" fmla="*/ 1855264 h 6858000"/>
              <a:gd name="connsiteX610" fmla="*/ 1533749 w 7467600"/>
              <a:gd name="connsiteY610" fmla="*/ 1478656 h 6858000"/>
              <a:gd name="connsiteX611" fmla="*/ 1431890 w 7467600"/>
              <a:gd name="connsiteY611" fmla="*/ 1306475 h 6858000"/>
              <a:gd name="connsiteX612" fmla="*/ 5052692 w 7467600"/>
              <a:gd name="connsiteY612" fmla="*/ 1292994 h 6858000"/>
              <a:gd name="connsiteX613" fmla="*/ 5200661 w 7467600"/>
              <a:gd name="connsiteY613" fmla="*/ 1635186 h 6858000"/>
              <a:gd name="connsiteX614" fmla="*/ 5297138 w 7467600"/>
              <a:gd name="connsiteY614" fmla="*/ 1906351 h 6858000"/>
              <a:gd name="connsiteX615" fmla="*/ 5052692 w 7467600"/>
              <a:gd name="connsiteY615" fmla="*/ 1292994 h 6858000"/>
              <a:gd name="connsiteX616" fmla="*/ 5009948 w 7467600"/>
              <a:gd name="connsiteY616" fmla="*/ 1273619 h 6858000"/>
              <a:gd name="connsiteX617" fmla="*/ 5121777 w 7467600"/>
              <a:gd name="connsiteY617" fmla="*/ 1654213 h 6858000"/>
              <a:gd name="connsiteX618" fmla="*/ 5293545 w 7467600"/>
              <a:gd name="connsiteY618" fmla="*/ 2072247 h 6858000"/>
              <a:gd name="connsiteX619" fmla="*/ 5294042 w 7467600"/>
              <a:gd name="connsiteY619" fmla="*/ 2065019 h 6858000"/>
              <a:gd name="connsiteX620" fmla="*/ 5171936 w 7467600"/>
              <a:gd name="connsiteY620" fmla="*/ 1647613 h 6858000"/>
              <a:gd name="connsiteX621" fmla="*/ 5009948 w 7467600"/>
              <a:gd name="connsiteY621" fmla="*/ 1273619 h 6858000"/>
              <a:gd name="connsiteX622" fmla="*/ 655236 w 7467600"/>
              <a:gd name="connsiteY622" fmla="*/ 1268632 h 6858000"/>
              <a:gd name="connsiteX623" fmla="*/ 839521 w 7467600"/>
              <a:gd name="connsiteY623" fmla="*/ 1685315 h 6858000"/>
              <a:gd name="connsiteX624" fmla="*/ 1109416 w 7467600"/>
              <a:gd name="connsiteY624" fmla="*/ 2061663 h 6858000"/>
              <a:gd name="connsiteX625" fmla="*/ 1298300 w 7467600"/>
              <a:gd name="connsiteY625" fmla="*/ 2247742 h 6858000"/>
              <a:gd name="connsiteX626" fmla="*/ 1125871 w 7467600"/>
              <a:gd name="connsiteY626" fmla="*/ 1989513 h 6858000"/>
              <a:gd name="connsiteX627" fmla="*/ 981574 w 7467600"/>
              <a:gd name="connsiteY627" fmla="*/ 1783157 h 6858000"/>
              <a:gd name="connsiteX628" fmla="*/ 922198 w 7467600"/>
              <a:gd name="connsiteY628" fmla="*/ 1677437 h 6858000"/>
              <a:gd name="connsiteX629" fmla="*/ 869293 w 7467600"/>
              <a:gd name="connsiteY629" fmla="*/ 1583214 h 6858000"/>
              <a:gd name="connsiteX630" fmla="*/ 751431 w 7467600"/>
              <a:gd name="connsiteY630" fmla="*/ 1405731 h 6858000"/>
              <a:gd name="connsiteX631" fmla="*/ 655236 w 7467600"/>
              <a:gd name="connsiteY631" fmla="*/ 1268632 h 6858000"/>
              <a:gd name="connsiteX632" fmla="*/ 6516292 w 7467600"/>
              <a:gd name="connsiteY632" fmla="*/ 1263064 h 6858000"/>
              <a:gd name="connsiteX633" fmla="*/ 5736320 w 7467600"/>
              <a:gd name="connsiteY633" fmla="*/ 1501803 h 6858000"/>
              <a:gd name="connsiteX634" fmla="*/ 6516292 w 7467600"/>
              <a:gd name="connsiteY634" fmla="*/ 1263064 h 6858000"/>
              <a:gd name="connsiteX635" fmla="*/ 291466 w 7467600"/>
              <a:gd name="connsiteY635" fmla="*/ 1250369 h 6858000"/>
              <a:gd name="connsiteX636" fmla="*/ 323180 w 7467600"/>
              <a:gd name="connsiteY636" fmla="*/ 1435283 h 6858000"/>
              <a:gd name="connsiteX637" fmla="*/ 349381 w 7467600"/>
              <a:gd name="connsiteY637" fmla="*/ 1875041 h 6858000"/>
              <a:gd name="connsiteX638" fmla="*/ 374363 w 7467600"/>
              <a:gd name="connsiteY638" fmla="*/ 1506494 h 6858000"/>
              <a:gd name="connsiteX639" fmla="*/ 302168 w 7467600"/>
              <a:gd name="connsiteY639" fmla="*/ 1274495 h 6858000"/>
              <a:gd name="connsiteX640" fmla="*/ 291466 w 7467600"/>
              <a:gd name="connsiteY640" fmla="*/ 1250369 h 6858000"/>
              <a:gd name="connsiteX641" fmla="*/ 678222 w 7467600"/>
              <a:gd name="connsiteY641" fmla="*/ 1248670 h 6858000"/>
              <a:gd name="connsiteX642" fmla="*/ 775536 w 7467600"/>
              <a:gd name="connsiteY642" fmla="*/ 1388015 h 6858000"/>
              <a:gd name="connsiteX643" fmla="*/ 894529 w 7467600"/>
              <a:gd name="connsiteY643" fmla="*/ 1567739 h 6858000"/>
              <a:gd name="connsiteX644" fmla="*/ 948000 w 7467600"/>
              <a:gd name="connsiteY644" fmla="*/ 1663088 h 6858000"/>
              <a:gd name="connsiteX645" fmla="*/ 1006812 w 7467600"/>
              <a:gd name="connsiteY645" fmla="*/ 1767683 h 6858000"/>
              <a:gd name="connsiteX646" fmla="*/ 1149133 w 7467600"/>
              <a:gd name="connsiteY646" fmla="*/ 1971513 h 6858000"/>
              <a:gd name="connsiteX647" fmla="*/ 1333952 w 7467600"/>
              <a:gd name="connsiteY647" fmla="*/ 2251620 h 6858000"/>
              <a:gd name="connsiteX648" fmla="*/ 1337329 w 7467600"/>
              <a:gd name="connsiteY648" fmla="*/ 2258350 h 6858000"/>
              <a:gd name="connsiteX649" fmla="*/ 1014726 w 7467600"/>
              <a:gd name="connsiteY649" fmla="*/ 1615556 h 6858000"/>
              <a:gd name="connsiteX650" fmla="*/ 678222 w 7467600"/>
              <a:gd name="connsiteY650" fmla="*/ 1248670 h 6858000"/>
              <a:gd name="connsiteX651" fmla="*/ 6691602 w 7467600"/>
              <a:gd name="connsiteY651" fmla="*/ 1140573 h 6858000"/>
              <a:gd name="connsiteX652" fmla="*/ 6571100 w 7467600"/>
              <a:gd name="connsiteY652" fmla="*/ 1183662 h 6858000"/>
              <a:gd name="connsiteX653" fmla="*/ 6241687 w 7467600"/>
              <a:gd name="connsiteY653" fmla="*/ 1257600 h 6858000"/>
              <a:gd name="connsiteX654" fmla="*/ 5693009 w 7467600"/>
              <a:gd name="connsiteY654" fmla="*/ 1478256 h 6858000"/>
              <a:gd name="connsiteX655" fmla="*/ 6548420 w 7467600"/>
              <a:gd name="connsiteY655" fmla="*/ 1214599 h 6858000"/>
              <a:gd name="connsiteX656" fmla="*/ 6605473 w 7467600"/>
              <a:gd name="connsiteY656" fmla="*/ 1184686 h 6858000"/>
              <a:gd name="connsiteX657" fmla="*/ 6691602 w 7467600"/>
              <a:gd name="connsiteY657" fmla="*/ 1140573 h 6858000"/>
              <a:gd name="connsiteX658" fmla="*/ 4002475 w 7467600"/>
              <a:gd name="connsiteY658" fmla="*/ 1037802 h 6858000"/>
              <a:gd name="connsiteX659" fmla="*/ 4000324 w 7467600"/>
              <a:gd name="connsiteY659" fmla="*/ 1039362 h 6858000"/>
              <a:gd name="connsiteX660" fmla="*/ 4002862 w 7467600"/>
              <a:gd name="connsiteY660" fmla="*/ 1042866 h 6858000"/>
              <a:gd name="connsiteX661" fmla="*/ 4002475 w 7467600"/>
              <a:gd name="connsiteY661" fmla="*/ 1037802 h 6858000"/>
              <a:gd name="connsiteX662" fmla="*/ 506322 w 7467600"/>
              <a:gd name="connsiteY662" fmla="*/ 1020997 h 6858000"/>
              <a:gd name="connsiteX663" fmla="*/ 533068 w 7467600"/>
              <a:gd name="connsiteY663" fmla="*/ 1029409 h 6858000"/>
              <a:gd name="connsiteX664" fmla="*/ 1232525 w 7467600"/>
              <a:gd name="connsiteY664" fmla="*/ 1804675 h 6858000"/>
              <a:gd name="connsiteX665" fmla="*/ 1388858 w 7467600"/>
              <a:gd name="connsiteY665" fmla="*/ 2368011 h 6858000"/>
              <a:gd name="connsiteX666" fmla="*/ 1384098 w 7467600"/>
              <a:gd name="connsiteY666" fmla="*/ 2378125 h 6858000"/>
              <a:gd name="connsiteX667" fmla="*/ 1425393 w 7467600"/>
              <a:gd name="connsiteY667" fmla="*/ 2589124 h 6858000"/>
              <a:gd name="connsiteX668" fmla="*/ 1424001 w 7467600"/>
              <a:gd name="connsiteY668" fmla="*/ 2597541 h 6858000"/>
              <a:gd name="connsiteX669" fmla="*/ 2152729 w 7467600"/>
              <a:gd name="connsiteY669" fmla="*/ 2864487 h 6858000"/>
              <a:gd name="connsiteX670" fmla="*/ 2020609 w 7467600"/>
              <a:gd name="connsiteY670" fmla="*/ 2539671 h 6858000"/>
              <a:gd name="connsiteX671" fmla="*/ 2018920 w 7467600"/>
              <a:gd name="connsiteY671" fmla="*/ 2536309 h 6858000"/>
              <a:gd name="connsiteX672" fmla="*/ 1342441 w 7467600"/>
              <a:gd name="connsiteY672" fmla="*/ 1173017 h 6858000"/>
              <a:gd name="connsiteX673" fmla="*/ 1367925 w 7467600"/>
              <a:gd name="connsiteY673" fmla="*/ 1135648 h 6858000"/>
              <a:gd name="connsiteX674" fmla="*/ 1771401 w 7467600"/>
              <a:gd name="connsiteY674" fmla="*/ 1806673 h 6858000"/>
              <a:gd name="connsiteX675" fmla="*/ 1972385 w 7467600"/>
              <a:gd name="connsiteY675" fmla="*/ 2198735 h 6858000"/>
              <a:gd name="connsiteX676" fmla="*/ 2040892 w 7467600"/>
              <a:gd name="connsiteY676" fmla="*/ 2405205 h 6858000"/>
              <a:gd name="connsiteX677" fmla="*/ 2131689 w 7467600"/>
              <a:gd name="connsiteY677" fmla="*/ 1936926 h 6858000"/>
              <a:gd name="connsiteX678" fmla="*/ 2454820 w 7467600"/>
              <a:gd name="connsiteY678" fmla="*/ 1248808 h 6858000"/>
              <a:gd name="connsiteX679" fmla="*/ 2492512 w 7467600"/>
              <a:gd name="connsiteY679" fmla="*/ 1302920 h 6858000"/>
              <a:gd name="connsiteX680" fmla="*/ 2081216 w 7467600"/>
              <a:gd name="connsiteY680" fmla="*/ 2527513 h 6858000"/>
              <a:gd name="connsiteX681" fmla="*/ 2081211 w 7467600"/>
              <a:gd name="connsiteY681" fmla="*/ 2528916 h 6858000"/>
              <a:gd name="connsiteX682" fmla="*/ 2199067 w 7467600"/>
              <a:gd name="connsiteY682" fmla="*/ 2884061 h 6858000"/>
              <a:gd name="connsiteX683" fmla="*/ 3192586 w 7467600"/>
              <a:gd name="connsiteY683" fmla="*/ 3411496 h 6858000"/>
              <a:gd name="connsiteX684" fmla="*/ 3182620 w 7467600"/>
              <a:gd name="connsiteY684" fmla="*/ 3483279 h 6858000"/>
              <a:gd name="connsiteX685" fmla="*/ 2435119 w 7467600"/>
              <a:gd name="connsiteY685" fmla="*/ 3080173 h 6858000"/>
              <a:gd name="connsiteX686" fmla="*/ 2410152 w 7467600"/>
              <a:gd name="connsiteY686" fmla="*/ 3063751 h 6858000"/>
              <a:gd name="connsiteX687" fmla="*/ 2408099 w 7467600"/>
              <a:gd name="connsiteY687" fmla="*/ 3064403 h 6858000"/>
              <a:gd name="connsiteX688" fmla="*/ 2407218 w 7467600"/>
              <a:gd name="connsiteY688" fmla="*/ 3070324 h 6858000"/>
              <a:gd name="connsiteX689" fmla="*/ 2380138 w 7467600"/>
              <a:gd name="connsiteY689" fmla="*/ 3099341 h 6858000"/>
              <a:gd name="connsiteX690" fmla="*/ 1765923 w 7467600"/>
              <a:gd name="connsiteY690" fmla="*/ 3581043 h 6858000"/>
              <a:gd name="connsiteX691" fmla="*/ 1702258 w 7467600"/>
              <a:gd name="connsiteY691" fmla="*/ 3612286 h 6858000"/>
              <a:gd name="connsiteX692" fmla="*/ 1538370 w 7467600"/>
              <a:gd name="connsiteY692" fmla="*/ 3811804 h 6858000"/>
              <a:gd name="connsiteX693" fmla="*/ 542867 w 7467600"/>
              <a:gd name="connsiteY693" fmla="*/ 4944092 h 6858000"/>
              <a:gd name="connsiteX694" fmla="*/ 515800 w 7467600"/>
              <a:gd name="connsiteY694" fmla="*/ 4862180 h 6858000"/>
              <a:gd name="connsiteX695" fmla="*/ 909145 w 7467600"/>
              <a:gd name="connsiteY695" fmla="*/ 4199225 h 6858000"/>
              <a:gd name="connsiteX696" fmla="*/ 1214067 w 7467600"/>
              <a:gd name="connsiteY696" fmla="*/ 3908561 h 6858000"/>
              <a:gd name="connsiteX697" fmla="*/ 640967 w 7467600"/>
              <a:gd name="connsiteY697" fmla="*/ 4105601 h 6858000"/>
              <a:gd name="connsiteX698" fmla="*/ 112563 w 7467600"/>
              <a:gd name="connsiteY698" fmla="*/ 4396952 h 6858000"/>
              <a:gd name="connsiteX699" fmla="*/ 0 w 7467600"/>
              <a:gd name="connsiteY699" fmla="*/ 4466006 h 6858000"/>
              <a:gd name="connsiteX700" fmla="*/ 0 w 7467600"/>
              <a:gd name="connsiteY700" fmla="*/ 4233763 h 6858000"/>
              <a:gd name="connsiteX701" fmla="*/ 36881 w 7467600"/>
              <a:gd name="connsiteY701" fmla="*/ 4200118 h 6858000"/>
              <a:gd name="connsiteX702" fmla="*/ 910534 w 7467600"/>
              <a:gd name="connsiteY702" fmla="*/ 3629753 h 6858000"/>
              <a:gd name="connsiteX703" fmla="*/ 1578717 w 7467600"/>
              <a:gd name="connsiteY703" fmla="*/ 3575982 h 6858000"/>
              <a:gd name="connsiteX704" fmla="*/ 2338780 w 7467600"/>
              <a:gd name="connsiteY704" fmla="*/ 3033725 h 6858000"/>
              <a:gd name="connsiteX705" fmla="*/ 1807991 w 7467600"/>
              <a:gd name="connsiteY705" fmla="*/ 2807184 h 6858000"/>
              <a:gd name="connsiteX706" fmla="*/ 1416358 w 7467600"/>
              <a:gd name="connsiteY706" fmla="*/ 3112571 h 6858000"/>
              <a:gd name="connsiteX707" fmla="*/ 939066 w 7467600"/>
              <a:gd name="connsiteY707" fmla="*/ 3378798 h 6858000"/>
              <a:gd name="connsiteX708" fmla="*/ 115099 w 7467600"/>
              <a:gd name="connsiteY708" fmla="*/ 3607650 h 6858000"/>
              <a:gd name="connsiteX709" fmla="*/ 97284 w 7467600"/>
              <a:gd name="connsiteY709" fmla="*/ 3520393 h 6858000"/>
              <a:gd name="connsiteX710" fmla="*/ 922050 w 7467600"/>
              <a:gd name="connsiteY710" fmla="*/ 3074867 h 6858000"/>
              <a:gd name="connsiteX711" fmla="*/ 1405265 w 7467600"/>
              <a:gd name="connsiteY711" fmla="*/ 3016319 h 6858000"/>
              <a:gd name="connsiteX712" fmla="*/ 1407512 w 7467600"/>
              <a:gd name="connsiteY712" fmla="*/ 3018001 h 6858000"/>
              <a:gd name="connsiteX713" fmla="*/ 1726266 w 7467600"/>
              <a:gd name="connsiteY713" fmla="*/ 2777274 h 6858000"/>
              <a:gd name="connsiteX714" fmla="*/ 625390 w 7467600"/>
              <a:gd name="connsiteY714" fmla="*/ 2514541 h 6858000"/>
              <a:gd name="connsiteX715" fmla="*/ 619799 w 7467600"/>
              <a:gd name="connsiteY715" fmla="*/ 2527180 h 6858000"/>
              <a:gd name="connsiteX716" fmla="*/ 310030 w 7467600"/>
              <a:gd name="connsiteY716" fmla="*/ 2771818 h 6858000"/>
              <a:gd name="connsiteX717" fmla="*/ 173877 w 7467600"/>
              <a:gd name="connsiteY717" fmla="*/ 2937056 h 6858000"/>
              <a:gd name="connsiteX718" fmla="*/ 77889 w 7467600"/>
              <a:gd name="connsiteY718" fmla="*/ 3138440 h 6858000"/>
              <a:gd name="connsiteX719" fmla="*/ 0 w 7467600"/>
              <a:gd name="connsiteY719" fmla="*/ 3271395 h 6858000"/>
              <a:gd name="connsiteX720" fmla="*/ 0 w 7467600"/>
              <a:gd name="connsiteY720" fmla="*/ 3153002 h 6858000"/>
              <a:gd name="connsiteX721" fmla="*/ 2386 w 7467600"/>
              <a:gd name="connsiteY721" fmla="*/ 3149203 h 6858000"/>
              <a:gd name="connsiteX722" fmla="*/ 89753 w 7467600"/>
              <a:gd name="connsiteY722" fmla="*/ 2987702 h 6858000"/>
              <a:gd name="connsiteX723" fmla="*/ 76869 w 7467600"/>
              <a:gd name="connsiteY723" fmla="*/ 3005404 h 6858000"/>
              <a:gd name="connsiteX724" fmla="*/ 32049 w 7467600"/>
              <a:gd name="connsiteY724" fmla="*/ 3065814 h 6858000"/>
              <a:gd name="connsiteX725" fmla="*/ 0 w 7467600"/>
              <a:gd name="connsiteY725" fmla="*/ 3108744 h 6858000"/>
              <a:gd name="connsiteX726" fmla="*/ 0 w 7467600"/>
              <a:gd name="connsiteY726" fmla="*/ 3058059 h 6858000"/>
              <a:gd name="connsiteX727" fmla="*/ 7610 w 7467600"/>
              <a:gd name="connsiteY727" fmla="*/ 3047889 h 6858000"/>
              <a:gd name="connsiteX728" fmla="*/ 52419 w 7467600"/>
              <a:gd name="connsiteY728" fmla="*/ 2987479 h 6858000"/>
              <a:gd name="connsiteX729" fmla="*/ 59142 w 7467600"/>
              <a:gd name="connsiteY729" fmla="*/ 2978488 h 6858000"/>
              <a:gd name="connsiteX730" fmla="*/ 0 w 7467600"/>
              <a:gd name="connsiteY730" fmla="*/ 3015334 h 6858000"/>
              <a:gd name="connsiteX731" fmla="*/ 0 w 7467600"/>
              <a:gd name="connsiteY731" fmla="*/ 2914286 h 6858000"/>
              <a:gd name="connsiteX732" fmla="*/ 36383 w 7467600"/>
              <a:gd name="connsiteY732" fmla="*/ 2901128 h 6858000"/>
              <a:gd name="connsiteX733" fmla="*/ 156329 w 7467600"/>
              <a:gd name="connsiteY733" fmla="*/ 2840533 h 6858000"/>
              <a:gd name="connsiteX734" fmla="*/ 358355 w 7467600"/>
              <a:gd name="connsiteY734" fmla="*/ 2620471 h 6858000"/>
              <a:gd name="connsiteX735" fmla="*/ 510577 w 7467600"/>
              <a:gd name="connsiteY735" fmla="*/ 2501244 h 6858000"/>
              <a:gd name="connsiteX736" fmla="*/ 211967 w 7467600"/>
              <a:gd name="connsiteY736" fmla="*/ 2479171 h 6858000"/>
              <a:gd name="connsiteX737" fmla="*/ 0 w 7467600"/>
              <a:gd name="connsiteY737" fmla="*/ 2476398 h 6858000"/>
              <a:gd name="connsiteX738" fmla="*/ 0 w 7467600"/>
              <a:gd name="connsiteY738" fmla="*/ 2389189 h 6858000"/>
              <a:gd name="connsiteX739" fmla="*/ 103062 w 7467600"/>
              <a:gd name="connsiteY739" fmla="*/ 2389518 h 6858000"/>
              <a:gd name="connsiteX740" fmla="*/ 510734 w 7467600"/>
              <a:gd name="connsiteY740" fmla="*/ 2416201 h 6858000"/>
              <a:gd name="connsiteX741" fmla="*/ 279257 w 7467600"/>
              <a:gd name="connsiteY741" fmla="*/ 2092102 h 6858000"/>
              <a:gd name="connsiteX742" fmla="*/ 65265 w 7467600"/>
              <a:gd name="connsiteY742" fmla="*/ 2006049 h 6858000"/>
              <a:gd name="connsiteX743" fmla="*/ 0 w 7467600"/>
              <a:gd name="connsiteY743" fmla="*/ 1982532 h 6858000"/>
              <a:gd name="connsiteX744" fmla="*/ 0 w 7467600"/>
              <a:gd name="connsiteY744" fmla="*/ 1912789 h 6858000"/>
              <a:gd name="connsiteX745" fmla="*/ 97460 w 7467600"/>
              <a:gd name="connsiteY745" fmla="*/ 1953725 h 6858000"/>
              <a:gd name="connsiteX746" fmla="*/ 221272 w 7467600"/>
              <a:gd name="connsiteY746" fmla="*/ 1980766 h 6858000"/>
              <a:gd name="connsiteX747" fmla="*/ 116765 w 7467600"/>
              <a:gd name="connsiteY747" fmla="*/ 1911033 h 6858000"/>
              <a:gd name="connsiteX748" fmla="*/ 16405 w 7467600"/>
              <a:gd name="connsiteY748" fmla="*/ 1803412 h 6858000"/>
              <a:gd name="connsiteX749" fmla="*/ 0 w 7467600"/>
              <a:gd name="connsiteY749" fmla="*/ 1784777 h 6858000"/>
              <a:gd name="connsiteX750" fmla="*/ 0 w 7467600"/>
              <a:gd name="connsiteY750" fmla="*/ 1740082 h 6858000"/>
              <a:gd name="connsiteX751" fmla="*/ 39394 w 7467600"/>
              <a:gd name="connsiteY751" fmla="*/ 1784856 h 6858000"/>
              <a:gd name="connsiteX752" fmla="*/ 135813 w 7467600"/>
              <a:gd name="connsiteY752" fmla="*/ 1888838 h 6858000"/>
              <a:gd name="connsiteX753" fmla="*/ 242575 w 7467600"/>
              <a:gd name="connsiteY753" fmla="*/ 1958841 h 6858000"/>
              <a:gd name="connsiteX754" fmla="*/ 82197 w 7467600"/>
              <a:gd name="connsiteY754" fmla="*/ 1754826 h 6858000"/>
              <a:gd name="connsiteX755" fmla="*/ 0 w 7467600"/>
              <a:gd name="connsiteY755" fmla="*/ 1679650 h 6858000"/>
              <a:gd name="connsiteX756" fmla="*/ 0 w 7467600"/>
              <a:gd name="connsiteY756" fmla="*/ 1602463 h 6858000"/>
              <a:gd name="connsiteX757" fmla="*/ 84689 w 7467600"/>
              <a:gd name="connsiteY757" fmla="*/ 1677442 h 6858000"/>
              <a:gd name="connsiteX758" fmla="*/ 298437 w 7467600"/>
              <a:gd name="connsiteY758" fmla="*/ 1968019 h 6858000"/>
              <a:gd name="connsiteX759" fmla="*/ 227269 w 7467600"/>
              <a:gd name="connsiteY759" fmla="*/ 1114064 h 6858000"/>
              <a:gd name="connsiteX760" fmla="*/ 248003 w 7467600"/>
              <a:gd name="connsiteY760" fmla="*/ 1089613 h 6858000"/>
              <a:gd name="connsiteX761" fmla="*/ 427020 w 7467600"/>
              <a:gd name="connsiteY761" fmla="*/ 1619803 h 6858000"/>
              <a:gd name="connsiteX762" fmla="*/ 340345 w 7467600"/>
              <a:gd name="connsiteY762" fmla="*/ 2027739 h 6858000"/>
              <a:gd name="connsiteX763" fmla="*/ 360865 w 7467600"/>
              <a:gd name="connsiteY763" fmla="*/ 2044827 h 6858000"/>
              <a:gd name="connsiteX764" fmla="*/ 560414 w 7467600"/>
              <a:gd name="connsiteY764" fmla="*/ 2421457 h 6858000"/>
              <a:gd name="connsiteX765" fmla="*/ 1359703 w 7467600"/>
              <a:gd name="connsiteY765" fmla="*/ 2578554 h 6858000"/>
              <a:gd name="connsiteX766" fmla="*/ 1359422 w 7467600"/>
              <a:gd name="connsiteY766" fmla="*/ 2577994 h 6858000"/>
              <a:gd name="connsiteX767" fmla="*/ 828701 w 7467600"/>
              <a:gd name="connsiteY767" fmla="*/ 1839520 h 6858000"/>
              <a:gd name="connsiteX768" fmla="*/ 494427 w 7467600"/>
              <a:gd name="connsiteY768" fmla="*/ 1092333 h 6858000"/>
              <a:gd name="connsiteX769" fmla="*/ 506322 w 7467600"/>
              <a:gd name="connsiteY769" fmla="*/ 1020997 h 6858000"/>
              <a:gd name="connsiteX770" fmla="*/ 4570198 w 7467600"/>
              <a:gd name="connsiteY770" fmla="*/ 978081 h 6858000"/>
              <a:gd name="connsiteX771" fmla="*/ 4523691 w 7467600"/>
              <a:gd name="connsiteY771" fmla="*/ 1127776 h 6858000"/>
              <a:gd name="connsiteX772" fmla="*/ 4509875 w 7467600"/>
              <a:gd name="connsiteY772" fmla="*/ 1167552 h 6858000"/>
              <a:gd name="connsiteX773" fmla="*/ 4478168 w 7467600"/>
              <a:gd name="connsiteY773" fmla="*/ 1260735 h 6858000"/>
              <a:gd name="connsiteX774" fmla="*/ 4409309 w 7467600"/>
              <a:gd name="connsiteY774" fmla="*/ 1666996 h 6858000"/>
              <a:gd name="connsiteX775" fmla="*/ 4370031 w 7467600"/>
              <a:gd name="connsiteY775" fmla="*/ 1955666 h 6858000"/>
              <a:gd name="connsiteX776" fmla="*/ 4570198 w 7467600"/>
              <a:gd name="connsiteY776" fmla="*/ 978081 h 6858000"/>
              <a:gd name="connsiteX777" fmla="*/ 4557898 w 7467600"/>
              <a:gd name="connsiteY777" fmla="*/ 900011 h 6858000"/>
              <a:gd name="connsiteX778" fmla="*/ 4344840 w 7467600"/>
              <a:gd name="connsiteY778" fmla="*/ 1922038 h 6858000"/>
              <a:gd name="connsiteX779" fmla="*/ 4378710 w 7467600"/>
              <a:gd name="connsiteY779" fmla="*/ 1665516 h 6858000"/>
              <a:gd name="connsiteX780" fmla="*/ 4448798 w 7467600"/>
              <a:gd name="connsiteY780" fmla="*/ 1253024 h 6858000"/>
              <a:gd name="connsiteX781" fmla="*/ 4480315 w 7467600"/>
              <a:gd name="connsiteY781" fmla="*/ 1158454 h 6858000"/>
              <a:gd name="connsiteX782" fmla="*/ 4494133 w 7467600"/>
              <a:gd name="connsiteY782" fmla="*/ 1118676 h 6858000"/>
              <a:gd name="connsiteX783" fmla="*/ 4557898 w 7467600"/>
              <a:gd name="connsiteY783" fmla="*/ 900011 h 6858000"/>
              <a:gd name="connsiteX784" fmla="*/ 5870151 w 7467600"/>
              <a:gd name="connsiteY784" fmla="*/ 898890 h 6858000"/>
              <a:gd name="connsiteX785" fmla="*/ 5861335 w 7467600"/>
              <a:gd name="connsiteY785" fmla="*/ 899177 h 6858000"/>
              <a:gd name="connsiteX786" fmla="*/ 5843702 w 7467600"/>
              <a:gd name="connsiteY786" fmla="*/ 899748 h 6858000"/>
              <a:gd name="connsiteX787" fmla="*/ 5651107 w 7467600"/>
              <a:gd name="connsiteY787" fmla="*/ 920306 h 6858000"/>
              <a:gd name="connsiteX788" fmla="*/ 5459407 w 7467600"/>
              <a:gd name="connsiteY788" fmla="*/ 940975 h 6858000"/>
              <a:gd name="connsiteX789" fmla="*/ 5374846 w 7467600"/>
              <a:gd name="connsiteY789" fmla="*/ 941988 h 6858000"/>
              <a:gd name="connsiteX790" fmla="*/ 5256105 w 7467600"/>
              <a:gd name="connsiteY790" fmla="*/ 945632 h 6858000"/>
              <a:gd name="connsiteX791" fmla="*/ 5107071 w 7467600"/>
              <a:gd name="connsiteY791" fmla="*/ 969720 h 6858000"/>
              <a:gd name="connsiteX792" fmla="*/ 4998681 w 7467600"/>
              <a:gd name="connsiteY792" fmla="*/ 988771 h 6858000"/>
              <a:gd name="connsiteX793" fmla="*/ 5870151 w 7467600"/>
              <a:gd name="connsiteY793" fmla="*/ 898890 h 6858000"/>
              <a:gd name="connsiteX794" fmla="*/ 5504425 w 7467600"/>
              <a:gd name="connsiteY794" fmla="*/ 848067 h 6858000"/>
              <a:gd name="connsiteX795" fmla="*/ 4968849 w 7467600"/>
              <a:gd name="connsiteY795" fmla="*/ 962318 h 6858000"/>
              <a:gd name="connsiteX796" fmla="*/ 5104039 w 7467600"/>
              <a:gd name="connsiteY796" fmla="*/ 940634 h 6858000"/>
              <a:gd name="connsiteX797" fmla="*/ 5256311 w 7467600"/>
              <a:gd name="connsiteY797" fmla="*/ 916490 h 6858000"/>
              <a:gd name="connsiteX798" fmla="*/ 5377381 w 7467600"/>
              <a:gd name="connsiteY798" fmla="*/ 912671 h 6858000"/>
              <a:gd name="connsiteX799" fmla="*/ 5460148 w 7467600"/>
              <a:gd name="connsiteY799" fmla="*/ 911442 h 6858000"/>
              <a:gd name="connsiteX800" fmla="*/ 5648971 w 7467600"/>
              <a:gd name="connsiteY800" fmla="*/ 891331 h 6858000"/>
              <a:gd name="connsiteX801" fmla="*/ 5844807 w 7467600"/>
              <a:gd name="connsiteY801" fmla="*/ 870718 h 6858000"/>
              <a:gd name="connsiteX802" fmla="*/ 5862975 w 7467600"/>
              <a:gd name="connsiteY802" fmla="*/ 869756 h 6858000"/>
              <a:gd name="connsiteX803" fmla="*/ 5920887 w 7467600"/>
              <a:gd name="connsiteY803" fmla="*/ 865929 h 6858000"/>
              <a:gd name="connsiteX804" fmla="*/ 5504425 w 7467600"/>
              <a:gd name="connsiteY804" fmla="*/ 848067 h 6858000"/>
              <a:gd name="connsiteX805" fmla="*/ 3607114 w 7467600"/>
              <a:gd name="connsiteY805" fmla="*/ 467441 h 6858000"/>
              <a:gd name="connsiteX806" fmla="*/ 3296242 w 7467600"/>
              <a:gd name="connsiteY806" fmla="*/ 807991 h 6858000"/>
              <a:gd name="connsiteX807" fmla="*/ 3174674 w 7467600"/>
              <a:gd name="connsiteY807" fmla="*/ 919759 h 6858000"/>
              <a:gd name="connsiteX808" fmla="*/ 3042978 w 7467600"/>
              <a:gd name="connsiteY808" fmla="*/ 1054894 h 6858000"/>
              <a:gd name="connsiteX809" fmla="*/ 2968914 w 7467600"/>
              <a:gd name="connsiteY809" fmla="*/ 1133756 h 6858000"/>
              <a:gd name="connsiteX810" fmla="*/ 3103823 w 7467600"/>
              <a:gd name="connsiteY810" fmla="*/ 1026814 h 6858000"/>
              <a:gd name="connsiteX811" fmla="*/ 3607114 w 7467600"/>
              <a:gd name="connsiteY811" fmla="*/ 467441 h 6858000"/>
              <a:gd name="connsiteX812" fmla="*/ 3744487 w 7467600"/>
              <a:gd name="connsiteY812" fmla="*/ 383136 h 6858000"/>
              <a:gd name="connsiteX813" fmla="*/ 3970213 w 7467600"/>
              <a:gd name="connsiteY813" fmla="*/ 995559 h 6858000"/>
              <a:gd name="connsiteX814" fmla="*/ 3744487 w 7467600"/>
              <a:gd name="connsiteY814" fmla="*/ 383136 h 6858000"/>
              <a:gd name="connsiteX815" fmla="*/ 3624562 w 7467600"/>
              <a:gd name="connsiteY815" fmla="*/ 367041 h 6858000"/>
              <a:gd name="connsiteX816" fmla="*/ 3489712 w 7467600"/>
              <a:gd name="connsiteY816" fmla="*/ 485386 h 6858000"/>
              <a:gd name="connsiteX817" fmla="*/ 3182994 w 7467600"/>
              <a:gd name="connsiteY817" fmla="*/ 828265 h 6858000"/>
              <a:gd name="connsiteX818" fmla="*/ 2892114 w 7467600"/>
              <a:gd name="connsiteY818" fmla="*/ 1172635 h 6858000"/>
              <a:gd name="connsiteX819" fmla="*/ 3021459 w 7467600"/>
              <a:gd name="connsiteY819" fmla="*/ 1035385 h 6858000"/>
              <a:gd name="connsiteX820" fmla="*/ 3153873 w 7467600"/>
              <a:gd name="connsiteY820" fmla="*/ 898971 h 6858000"/>
              <a:gd name="connsiteX821" fmla="*/ 3276511 w 7467600"/>
              <a:gd name="connsiteY821" fmla="*/ 786423 h 6858000"/>
              <a:gd name="connsiteX822" fmla="*/ 3584154 w 7467600"/>
              <a:gd name="connsiteY822" fmla="*/ 448218 h 6858000"/>
              <a:gd name="connsiteX823" fmla="*/ 3624562 w 7467600"/>
              <a:gd name="connsiteY823" fmla="*/ 367041 h 6858000"/>
              <a:gd name="connsiteX824" fmla="*/ 3766672 w 7467600"/>
              <a:gd name="connsiteY824" fmla="*/ 359429 h 6858000"/>
              <a:gd name="connsiteX825" fmla="*/ 3996338 w 7467600"/>
              <a:gd name="connsiteY825" fmla="*/ 968237 h 6858000"/>
              <a:gd name="connsiteX826" fmla="*/ 3766672 w 7467600"/>
              <a:gd name="connsiteY826" fmla="*/ 359429 h 6858000"/>
              <a:gd name="connsiteX827" fmla="*/ 5805386 w 7467600"/>
              <a:gd name="connsiteY827" fmla="*/ 239240 h 6858000"/>
              <a:gd name="connsiteX828" fmla="*/ 5736947 w 7467600"/>
              <a:gd name="connsiteY828" fmla="*/ 261367 h 6858000"/>
              <a:gd name="connsiteX829" fmla="*/ 5427012 w 7467600"/>
              <a:gd name="connsiteY829" fmla="*/ 311272 h 6858000"/>
              <a:gd name="connsiteX830" fmla="*/ 5147818 w 7467600"/>
              <a:gd name="connsiteY830" fmla="*/ 322112 h 6858000"/>
              <a:gd name="connsiteX831" fmla="*/ 5060854 w 7467600"/>
              <a:gd name="connsiteY831" fmla="*/ 311882 h 6858000"/>
              <a:gd name="connsiteX832" fmla="*/ 4945989 w 7467600"/>
              <a:gd name="connsiteY832" fmla="*/ 300516 h 6858000"/>
              <a:gd name="connsiteX833" fmla="*/ 5410479 w 7467600"/>
              <a:gd name="connsiteY833" fmla="*/ 348434 h 6858000"/>
              <a:gd name="connsiteX834" fmla="*/ 5805386 w 7467600"/>
              <a:gd name="connsiteY834" fmla="*/ 239240 h 6858000"/>
              <a:gd name="connsiteX835" fmla="*/ 5905192 w 7467600"/>
              <a:gd name="connsiteY835" fmla="*/ 163079 h 6858000"/>
              <a:gd name="connsiteX836" fmla="*/ 5865655 w 7467600"/>
              <a:gd name="connsiteY836" fmla="*/ 171901 h 6858000"/>
              <a:gd name="connsiteX837" fmla="*/ 5259740 w 7467600"/>
              <a:gd name="connsiteY837" fmla="*/ 257013 h 6858000"/>
              <a:gd name="connsiteX838" fmla="*/ 5208466 w 7467600"/>
              <a:gd name="connsiteY838" fmla="*/ 257550 h 6858000"/>
              <a:gd name="connsiteX839" fmla="*/ 4980204 w 7467600"/>
              <a:gd name="connsiteY839" fmla="*/ 271903 h 6858000"/>
              <a:gd name="connsiteX840" fmla="*/ 5068068 w 7467600"/>
              <a:gd name="connsiteY840" fmla="*/ 282244 h 6858000"/>
              <a:gd name="connsiteX841" fmla="*/ 5153231 w 7467600"/>
              <a:gd name="connsiteY841" fmla="*/ 292240 h 6858000"/>
              <a:gd name="connsiteX842" fmla="*/ 5426491 w 7467600"/>
              <a:gd name="connsiteY842" fmla="*/ 281128 h 6858000"/>
              <a:gd name="connsiteX843" fmla="*/ 5731212 w 7467600"/>
              <a:gd name="connsiteY843" fmla="*/ 231951 h 6858000"/>
              <a:gd name="connsiteX844" fmla="*/ 5905192 w 7467600"/>
              <a:gd name="connsiteY844" fmla="*/ 163079 h 6858000"/>
              <a:gd name="connsiteX845" fmla="*/ 5944437 w 7467600"/>
              <a:gd name="connsiteY845" fmla="*/ 113829 h 6858000"/>
              <a:gd name="connsiteX846" fmla="*/ 5825032 w 7467600"/>
              <a:gd name="connsiteY846" fmla="*/ 146405 h 6858000"/>
              <a:gd name="connsiteX847" fmla="*/ 4955599 w 7467600"/>
              <a:gd name="connsiteY847" fmla="*/ 247008 h 6858000"/>
              <a:gd name="connsiteX848" fmla="*/ 5210104 w 7467600"/>
              <a:gd name="connsiteY848" fmla="*/ 228123 h 6858000"/>
              <a:gd name="connsiteX849" fmla="*/ 5261015 w 7467600"/>
              <a:gd name="connsiteY849" fmla="*/ 227087 h 6858000"/>
              <a:gd name="connsiteX850" fmla="*/ 5861181 w 7467600"/>
              <a:gd name="connsiteY850" fmla="*/ 143093 h 6858000"/>
              <a:gd name="connsiteX851" fmla="*/ 5961252 w 7467600"/>
              <a:gd name="connsiteY851" fmla="*/ 114820 h 6858000"/>
              <a:gd name="connsiteX852" fmla="*/ 5944437 w 7467600"/>
              <a:gd name="connsiteY852" fmla="*/ 113829 h 6858000"/>
              <a:gd name="connsiteX853" fmla="*/ 3882765 w 7467600"/>
              <a:gd name="connsiteY853" fmla="*/ 0 h 6858000"/>
              <a:gd name="connsiteX854" fmla="*/ 3995099 w 7467600"/>
              <a:gd name="connsiteY854" fmla="*/ 0 h 6858000"/>
              <a:gd name="connsiteX855" fmla="*/ 4163818 w 7467600"/>
              <a:gd name="connsiteY855" fmla="*/ 234104 h 6858000"/>
              <a:gd name="connsiteX856" fmla="*/ 4172099 w 7467600"/>
              <a:gd name="connsiteY856" fmla="*/ 234207 h 6858000"/>
              <a:gd name="connsiteX857" fmla="*/ 4784282 w 7467600"/>
              <a:gd name="connsiteY857" fmla="*/ 276561 h 6858000"/>
              <a:gd name="connsiteX858" fmla="*/ 4801687 w 7467600"/>
              <a:gd name="connsiteY858" fmla="*/ 267764 h 6858000"/>
              <a:gd name="connsiteX859" fmla="*/ 6082788 w 7467600"/>
              <a:gd name="connsiteY859" fmla="*/ 64119 h 6858000"/>
              <a:gd name="connsiteX860" fmla="*/ 6099442 w 7467600"/>
              <a:gd name="connsiteY860" fmla="*/ 82568 h 6858000"/>
              <a:gd name="connsiteX861" fmla="*/ 4804137 w 7467600"/>
              <a:gd name="connsiteY861" fmla="*/ 320931 h 6858000"/>
              <a:gd name="connsiteX862" fmla="*/ 4227047 w 7467600"/>
              <a:gd name="connsiteY862" fmla="*/ 313415 h 6858000"/>
              <a:gd name="connsiteX863" fmla="*/ 4346041 w 7467600"/>
              <a:gd name="connsiteY863" fmla="*/ 456086 h 6858000"/>
              <a:gd name="connsiteX864" fmla="*/ 4870967 w 7467600"/>
              <a:gd name="connsiteY864" fmla="*/ 963061 h 6858000"/>
              <a:gd name="connsiteX865" fmla="*/ 4889647 w 7467600"/>
              <a:gd name="connsiteY865" fmla="*/ 957147 h 6858000"/>
              <a:gd name="connsiteX866" fmla="*/ 5422504 w 7467600"/>
              <a:gd name="connsiteY866" fmla="*/ 805191 h 6858000"/>
              <a:gd name="connsiteX867" fmla="*/ 6087656 w 7467600"/>
              <a:gd name="connsiteY867" fmla="*/ 826703 h 6858000"/>
              <a:gd name="connsiteX868" fmla="*/ 6058717 w 7467600"/>
              <a:gd name="connsiteY868" fmla="*/ 865992 h 6858000"/>
              <a:gd name="connsiteX869" fmla="*/ 4974153 w 7467600"/>
              <a:gd name="connsiteY869" fmla="*/ 1045456 h 6858000"/>
              <a:gd name="connsiteX870" fmla="*/ 5627835 w 7467600"/>
              <a:gd name="connsiteY870" fmla="*/ 1472077 h 6858000"/>
              <a:gd name="connsiteX871" fmla="*/ 5629817 w 7467600"/>
              <a:gd name="connsiteY871" fmla="*/ 1471412 h 6858000"/>
              <a:gd name="connsiteX872" fmla="*/ 5634124 w 7467600"/>
              <a:gd name="connsiteY872" fmla="*/ 1470572 h 6858000"/>
              <a:gd name="connsiteX873" fmla="*/ 5755832 w 7467600"/>
              <a:gd name="connsiteY873" fmla="*/ 1383886 h 6858000"/>
              <a:gd name="connsiteX874" fmla="*/ 6014186 w 7467600"/>
              <a:gd name="connsiteY874" fmla="*/ 1279799 h 6858000"/>
              <a:gd name="connsiteX875" fmla="*/ 6901619 w 7467600"/>
              <a:gd name="connsiteY875" fmla="*/ 1047874 h 6858000"/>
              <a:gd name="connsiteX876" fmla="*/ 6931566 w 7467600"/>
              <a:gd name="connsiteY876" fmla="*/ 1062034 h 6858000"/>
              <a:gd name="connsiteX877" fmla="*/ 5790982 w 7467600"/>
              <a:gd name="connsiteY877" fmla="*/ 1561380 h 6858000"/>
              <a:gd name="connsiteX878" fmla="*/ 6188971 w 7467600"/>
              <a:gd name="connsiteY878" fmla="*/ 1755168 h 6858000"/>
              <a:gd name="connsiteX879" fmla="*/ 6202446 w 7467600"/>
              <a:gd name="connsiteY879" fmla="*/ 1752268 h 6858000"/>
              <a:gd name="connsiteX880" fmla="*/ 7179560 w 7467600"/>
              <a:gd name="connsiteY880" fmla="*/ 1467551 h 6858000"/>
              <a:gd name="connsiteX881" fmla="*/ 7158730 w 7467600"/>
              <a:gd name="connsiteY881" fmla="*/ 1507835 h 6858000"/>
              <a:gd name="connsiteX882" fmla="*/ 6326959 w 7467600"/>
              <a:gd name="connsiteY882" fmla="*/ 1817686 h 6858000"/>
              <a:gd name="connsiteX883" fmla="*/ 6537433 w 7467600"/>
              <a:gd name="connsiteY883" fmla="*/ 1907790 h 6858000"/>
              <a:gd name="connsiteX884" fmla="*/ 6550221 w 7467600"/>
              <a:gd name="connsiteY884" fmla="*/ 1910729 h 6858000"/>
              <a:gd name="connsiteX885" fmla="*/ 6964438 w 7467600"/>
              <a:gd name="connsiteY885" fmla="*/ 2209505 h 6858000"/>
              <a:gd name="connsiteX886" fmla="*/ 7367862 w 7467600"/>
              <a:gd name="connsiteY886" fmla="*/ 2806833 h 6858000"/>
              <a:gd name="connsiteX887" fmla="*/ 7364329 w 7467600"/>
              <a:gd name="connsiteY887" fmla="*/ 2826907 h 6858000"/>
              <a:gd name="connsiteX888" fmla="*/ 7290545 w 7467600"/>
              <a:gd name="connsiteY888" fmla="*/ 2850663 h 6858000"/>
              <a:gd name="connsiteX889" fmla="*/ 6472036 w 7467600"/>
              <a:gd name="connsiteY889" fmla="*/ 1959003 h 6858000"/>
              <a:gd name="connsiteX890" fmla="*/ 5792897 w 7467600"/>
              <a:gd name="connsiteY890" fmla="*/ 1647747 h 6858000"/>
              <a:gd name="connsiteX891" fmla="*/ 5842751 w 7467600"/>
              <a:gd name="connsiteY891" fmla="*/ 1816112 h 6858000"/>
              <a:gd name="connsiteX892" fmla="*/ 5847424 w 7467600"/>
              <a:gd name="connsiteY892" fmla="*/ 1815776 h 6858000"/>
              <a:gd name="connsiteX893" fmla="*/ 6399821 w 7467600"/>
              <a:gd name="connsiteY893" fmla="*/ 2344799 h 6858000"/>
              <a:gd name="connsiteX894" fmla="*/ 6323232 w 7467600"/>
              <a:gd name="connsiteY894" fmla="*/ 2389634 h 6858000"/>
              <a:gd name="connsiteX895" fmla="*/ 5942958 w 7467600"/>
              <a:gd name="connsiteY895" fmla="*/ 2077708 h 6858000"/>
              <a:gd name="connsiteX896" fmla="*/ 5921559 w 7467600"/>
              <a:gd name="connsiteY896" fmla="*/ 2378596 h 6858000"/>
              <a:gd name="connsiteX897" fmla="*/ 5817651 w 7467600"/>
              <a:gd name="connsiteY897" fmla="*/ 3023919 h 6858000"/>
              <a:gd name="connsiteX898" fmla="*/ 5729634 w 7467600"/>
              <a:gd name="connsiteY898" fmla="*/ 3051849 h 6858000"/>
              <a:gd name="connsiteX899" fmla="*/ 5611018 w 7467600"/>
              <a:gd name="connsiteY899" fmla="*/ 2316769 h 6858000"/>
              <a:gd name="connsiteX900" fmla="*/ 5687608 w 7467600"/>
              <a:gd name="connsiteY900" fmla="*/ 2039972 h 6858000"/>
              <a:gd name="connsiteX901" fmla="*/ 5657554 w 7467600"/>
              <a:gd name="connsiteY901" fmla="*/ 1576445 h 6858000"/>
              <a:gd name="connsiteX902" fmla="*/ 5150475 w 7467600"/>
              <a:gd name="connsiteY902" fmla="*/ 1274012 h 6858000"/>
              <a:gd name="connsiteX903" fmla="*/ 5349142 w 7467600"/>
              <a:gd name="connsiteY903" fmla="*/ 2204405 h 6858000"/>
              <a:gd name="connsiteX904" fmla="*/ 5262214 w 7467600"/>
              <a:gd name="connsiteY904" fmla="*/ 2233836 h 6858000"/>
              <a:gd name="connsiteX905" fmla="*/ 4981539 w 7467600"/>
              <a:gd name="connsiteY905" fmla="*/ 1542201 h 6858000"/>
              <a:gd name="connsiteX906" fmla="*/ 4958461 w 7467600"/>
              <a:gd name="connsiteY906" fmla="*/ 1136957 h 6858000"/>
              <a:gd name="connsiteX907" fmla="*/ 4655015 w 7467600"/>
              <a:gd name="connsiteY907" fmla="*/ 891426 h 6858000"/>
              <a:gd name="connsiteX908" fmla="*/ 4348002 w 7467600"/>
              <a:gd name="connsiteY908" fmla="*/ 2205895 h 6858000"/>
              <a:gd name="connsiteX909" fmla="*/ 4262250 w 7467600"/>
              <a:gd name="connsiteY909" fmla="*/ 2219972 h 6858000"/>
              <a:gd name="connsiteX910" fmla="*/ 4550611 w 7467600"/>
              <a:gd name="connsiteY910" fmla="*/ 817540 h 6858000"/>
              <a:gd name="connsiteX911" fmla="*/ 4564418 w 7467600"/>
              <a:gd name="connsiteY911" fmla="*/ 808293 h 6858000"/>
              <a:gd name="connsiteX912" fmla="*/ 4266388 w 7467600"/>
              <a:gd name="connsiteY912" fmla="*/ 500083 h 6858000"/>
              <a:gd name="connsiteX913" fmla="*/ 4032842 w 7467600"/>
              <a:gd name="connsiteY913" fmla="*/ 211809 h 6858000"/>
              <a:gd name="connsiteX914" fmla="*/ 3882765 w 7467600"/>
              <a:gd name="connsiteY914" fmla="*/ 0 h 6858000"/>
              <a:gd name="connsiteX915" fmla="*/ 3721337 w 7467600"/>
              <a:gd name="connsiteY915" fmla="*/ 0 h 6858000"/>
              <a:gd name="connsiteX916" fmla="*/ 3797544 w 7467600"/>
              <a:gd name="connsiteY916" fmla="*/ 0 h 6858000"/>
              <a:gd name="connsiteX917" fmla="*/ 3775734 w 7467600"/>
              <a:gd name="connsiteY917" fmla="*/ 95131 h 6858000"/>
              <a:gd name="connsiteX918" fmla="*/ 3724807 w 7467600"/>
              <a:gd name="connsiteY918" fmla="*/ 272257 h 6858000"/>
              <a:gd name="connsiteX919" fmla="*/ 3726844 w 7467600"/>
              <a:gd name="connsiteY919" fmla="*/ 282988 h 6858000"/>
              <a:gd name="connsiteX920" fmla="*/ 3742664 w 7467600"/>
              <a:gd name="connsiteY920" fmla="*/ 279918 h 6858000"/>
              <a:gd name="connsiteX921" fmla="*/ 4103910 w 7467600"/>
              <a:gd name="connsiteY921" fmla="*/ 1161917 h 6858000"/>
              <a:gd name="connsiteX922" fmla="*/ 4020269 w 7467600"/>
              <a:gd name="connsiteY922" fmla="*/ 1200406 h 6858000"/>
              <a:gd name="connsiteX923" fmla="*/ 3674882 w 7467600"/>
              <a:gd name="connsiteY923" fmla="*/ 488524 h 6858000"/>
              <a:gd name="connsiteX924" fmla="*/ 3132682 w 7467600"/>
              <a:gd name="connsiteY924" fmla="*/ 1072284 h 6858000"/>
              <a:gd name="connsiteX925" fmla="*/ 2716346 w 7467600"/>
              <a:gd name="connsiteY925" fmla="*/ 1276376 h 6858000"/>
              <a:gd name="connsiteX926" fmla="*/ 2716772 w 7467600"/>
              <a:gd name="connsiteY926" fmla="*/ 1255462 h 6858000"/>
              <a:gd name="connsiteX927" fmla="*/ 3471096 w 7467600"/>
              <a:gd name="connsiteY927" fmla="*/ 437072 h 6858000"/>
              <a:gd name="connsiteX928" fmla="*/ 3639057 w 7467600"/>
              <a:gd name="connsiteY928" fmla="*/ 286334 h 6858000"/>
              <a:gd name="connsiteX929" fmla="*/ 3640309 w 7467600"/>
              <a:gd name="connsiteY929" fmla="*/ 284664 h 6858000"/>
              <a:gd name="connsiteX930" fmla="*/ 3646022 w 7467600"/>
              <a:gd name="connsiteY930" fmla="*/ 276711 h 6858000"/>
              <a:gd name="connsiteX931" fmla="*/ 3707943 w 7467600"/>
              <a:gd name="connsiteY931" fmla="*/ 65958 h 6858000"/>
              <a:gd name="connsiteX932" fmla="*/ 3721337 w 7467600"/>
              <a:gd name="connsiteY932" fmla="*/ 0 h 6858000"/>
              <a:gd name="connsiteX933" fmla="*/ 2867960 w 7467600"/>
              <a:gd name="connsiteY933" fmla="*/ 0 h 6858000"/>
              <a:gd name="connsiteX934" fmla="*/ 2926351 w 7467600"/>
              <a:gd name="connsiteY934" fmla="*/ 0 h 6858000"/>
              <a:gd name="connsiteX935" fmla="*/ 2902823 w 7467600"/>
              <a:gd name="connsiteY935" fmla="*/ 262929 h 6858000"/>
              <a:gd name="connsiteX936" fmla="*/ 2940663 w 7467600"/>
              <a:gd name="connsiteY936" fmla="*/ 140884 h 6858000"/>
              <a:gd name="connsiteX937" fmla="*/ 2947039 w 7467600"/>
              <a:gd name="connsiteY937" fmla="*/ 122524 h 6858000"/>
              <a:gd name="connsiteX938" fmla="*/ 2984316 w 7467600"/>
              <a:gd name="connsiteY938" fmla="*/ 0 h 6858000"/>
              <a:gd name="connsiteX939" fmla="*/ 3016114 w 7467600"/>
              <a:gd name="connsiteY939" fmla="*/ 0 h 6858000"/>
              <a:gd name="connsiteX940" fmla="*/ 2979949 w 7467600"/>
              <a:gd name="connsiteY940" fmla="*/ 119274 h 6858000"/>
              <a:gd name="connsiteX941" fmla="*/ 3023879 w 7467600"/>
              <a:gd name="connsiteY941" fmla="*/ 0 h 6858000"/>
              <a:gd name="connsiteX942" fmla="*/ 3105400 w 7467600"/>
              <a:gd name="connsiteY942" fmla="*/ 0 h 6858000"/>
              <a:gd name="connsiteX943" fmla="*/ 3094669 w 7467600"/>
              <a:gd name="connsiteY943" fmla="*/ 30308 h 6858000"/>
              <a:gd name="connsiteX944" fmla="*/ 2901945 w 7467600"/>
              <a:gd name="connsiteY944" fmla="*/ 466538 h 6858000"/>
              <a:gd name="connsiteX945" fmla="*/ 2815209 w 7467600"/>
              <a:gd name="connsiteY945" fmla="*/ 497361 h 6858000"/>
              <a:gd name="connsiteX946" fmla="*/ 2844845 w 7467600"/>
              <a:gd name="connsiteY946" fmla="*/ 127638 h 6858000"/>
              <a:gd name="connsiteX947" fmla="*/ 2867960 w 7467600"/>
              <a:gd name="connsiteY947" fmla="*/ 0 h 6858000"/>
              <a:gd name="connsiteX948" fmla="*/ 1057230 w 7467600"/>
              <a:gd name="connsiteY948" fmla="*/ 0 h 6858000"/>
              <a:gd name="connsiteX949" fmla="*/ 1111003 w 7467600"/>
              <a:gd name="connsiteY949" fmla="*/ 0 h 6858000"/>
              <a:gd name="connsiteX950" fmla="*/ 1125553 w 7467600"/>
              <a:gd name="connsiteY950" fmla="*/ 52588 h 6858000"/>
              <a:gd name="connsiteX951" fmla="*/ 1304276 w 7467600"/>
              <a:gd name="connsiteY951" fmla="*/ 476275 h 6858000"/>
              <a:gd name="connsiteX952" fmla="*/ 1492066 w 7467600"/>
              <a:gd name="connsiteY952" fmla="*/ 886333 h 6858000"/>
              <a:gd name="connsiteX953" fmla="*/ 1423698 w 7467600"/>
              <a:gd name="connsiteY953" fmla="*/ 710817 h 6858000"/>
              <a:gd name="connsiteX954" fmla="*/ 1357609 w 7467600"/>
              <a:gd name="connsiteY954" fmla="*/ 532892 h 6858000"/>
              <a:gd name="connsiteX955" fmla="*/ 1309550 w 7467600"/>
              <a:gd name="connsiteY955" fmla="*/ 374031 h 6858000"/>
              <a:gd name="connsiteX956" fmla="*/ 1193673 w 7467600"/>
              <a:gd name="connsiteY956" fmla="*/ 49533 h 6858000"/>
              <a:gd name="connsiteX957" fmla="*/ 1164391 w 7467600"/>
              <a:gd name="connsiteY957" fmla="*/ 0 h 6858000"/>
              <a:gd name="connsiteX958" fmla="*/ 1200666 w 7467600"/>
              <a:gd name="connsiteY958" fmla="*/ 0 h 6858000"/>
              <a:gd name="connsiteX959" fmla="*/ 1223408 w 7467600"/>
              <a:gd name="connsiteY959" fmla="*/ 38996 h 6858000"/>
              <a:gd name="connsiteX960" fmla="*/ 1339635 w 7467600"/>
              <a:gd name="connsiteY960" fmla="*/ 365517 h 6858000"/>
              <a:gd name="connsiteX961" fmla="*/ 1387469 w 7467600"/>
              <a:gd name="connsiteY961" fmla="*/ 523079 h 6858000"/>
              <a:gd name="connsiteX962" fmla="*/ 1452685 w 7467600"/>
              <a:gd name="connsiteY962" fmla="*/ 699806 h 6858000"/>
              <a:gd name="connsiteX963" fmla="*/ 1492092 w 7467600"/>
              <a:gd name="connsiteY963" fmla="*/ 800424 h 6858000"/>
              <a:gd name="connsiteX964" fmla="*/ 1455302 w 7467600"/>
              <a:gd name="connsiteY964" fmla="*/ 632913 h 6858000"/>
              <a:gd name="connsiteX965" fmla="*/ 1222336 w 7467600"/>
              <a:gd name="connsiteY965" fmla="*/ 9480 h 6858000"/>
              <a:gd name="connsiteX966" fmla="*/ 1214634 w 7467600"/>
              <a:gd name="connsiteY966" fmla="*/ 0 h 6858000"/>
              <a:gd name="connsiteX967" fmla="*/ 1289827 w 7467600"/>
              <a:gd name="connsiteY967" fmla="*/ 0 h 6858000"/>
              <a:gd name="connsiteX968" fmla="*/ 1321076 w 7467600"/>
              <a:gd name="connsiteY968" fmla="*/ 59722 h 6858000"/>
              <a:gd name="connsiteX969" fmla="*/ 1512579 w 7467600"/>
              <a:gd name="connsiteY969" fmla="*/ 626441 h 6858000"/>
              <a:gd name="connsiteX970" fmla="*/ 1506076 w 7467600"/>
              <a:gd name="connsiteY970" fmla="*/ 1089289 h 6858000"/>
              <a:gd name="connsiteX971" fmla="*/ 1486346 w 7467600"/>
              <a:gd name="connsiteY971" fmla="*/ 1079919 h 6858000"/>
              <a:gd name="connsiteX972" fmla="*/ 1070511 w 7467600"/>
              <a:gd name="connsiteY972" fmla="*/ 48609 h 6858000"/>
              <a:gd name="connsiteX973" fmla="*/ 1057230 w 7467600"/>
              <a:gd name="connsiteY973" fmla="*/ 0 h 6858000"/>
              <a:gd name="connsiteX974" fmla="*/ 43151 w 7467600"/>
              <a:gd name="connsiteY974" fmla="*/ 0 h 6858000"/>
              <a:gd name="connsiteX975" fmla="*/ 95283 w 7467600"/>
              <a:gd name="connsiteY975" fmla="*/ 0 h 6858000"/>
              <a:gd name="connsiteX976" fmla="*/ 300708 w 7467600"/>
              <a:gd name="connsiteY976" fmla="*/ 154571 h 6858000"/>
              <a:gd name="connsiteX977" fmla="*/ 530414 w 7467600"/>
              <a:gd name="connsiteY977" fmla="*/ 354673 h 6858000"/>
              <a:gd name="connsiteX978" fmla="*/ 333785 w 7467600"/>
              <a:gd name="connsiteY978" fmla="*/ 161564 h 6858000"/>
              <a:gd name="connsiteX979" fmla="*/ 147005 w 7467600"/>
              <a:gd name="connsiteY979" fmla="*/ 0 h 6858000"/>
              <a:gd name="connsiteX980" fmla="*/ 272509 w 7467600"/>
              <a:gd name="connsiteY980" fmla="*/ 0 h 6858000"/>
              <a:gd name="connsiteX981" fmla="*/ 326276 w 7467600"/>
              <a:gd name="connsiteY981" fmla="*/ 45847 h 6858000"/>
              <a:gd name="connsiteX982" fmla="*/ 823759 w 7467600"/>
              <a:gd name="connsiteY982" fmla="*/ 574145 h 6858000"/>
              <a:gd name="connsiteX983" fmla="*/ 811254 w 7467600"/>
              <a:gd name="connsiteY983" fmla="*/ 665546 h 6858000"/>
              <a:gd name="connsiteX984" fmla="*/ 154042 w 7467600"/>
              <a:gd name="connsiteY984" fmla="*/ 261522 h 6858000"/>
              <a:gd name="connsiteX985" fmla="*/ 13550 w 7467600"/>
              <a:gd name="connsiteY985" fmla="*/ 158423 h 6858000"/>
              <a:gd name="connsiteX986" fmla="*/ 0 w 7467600"/>
              <a:gd name="connsiteY986" fmla="*/ 146618 h 6858000"/>
              <a:gd name="connsiteX987" fmla="*/ 0 w 7467600"/>
              <a:gd name="connsiteY987" fmla="*/ 59161 h 6858000"/>
              <a:gd name="connsiteX988" fmla="*/ 45427 w 7467600"/>
              <a:gd name="connsiteY988" fmla="*/ 101078 h 6858000"/>
              <a:gd name="connsiteX989" fmla="*/ 630103 w 7467600"/>
              <a:gd name="connsiteY989" fmla="*/ 485885 h 6858000"/>
              <a:gd name="connsiteX990" fmla="*/ 532040 w 7467600"/>
              <a:gd name="connsiteY990" fmla="*/ 399359 h 6858000"/>
              <a:gd name="connsiteX991" fmla="*/ 517618 w 7467600"/>
              <a:gd name="connsiteY991" fmla="*/ 385726 h 6858000"/>
              <a:gd name="connsiteX992" fmla="*/ 285074 w 7467600"/>
              <a:gd name="connsiteY992" fmla="*/ 182755 h 6858000"/>
              <a:gd name="connsiteX993" fmla="*/ 43151 w 7467600"/>
              <a:gd name="connsiteY993"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43603 w 7467600"/>
              <a:gd name="connsiteY127" fmla="*/ 5149746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7343603 w 7467600"/>
              <a:gd name="connsiteY136" fmla="*/ 5149746 h 6858000"/>
              <a:gd name="connsiteX137" fmla="*/ 1903353 w 7467600"/>
              <a:gd name="connsiteY137" fmla="*/ 5044827 h 6858000"/>
              <a:gd name="connsiteX138" fmla="*/ 1936931 w 7467600"/>
              <a:gd name="connsiteY138" fmla="*/ 5093954 h 6858000"/>
              <a:gd name="connsiteX139" fmla="*/ 2195868 w 7467600"/>
              <a:gd name="connsiteY139" fmla="*/ 5396574 h 6858000"/>
              <a:gd name="connsiteX140" fmla="*/ 2088852 w 7467600"/>
              <a:gd name="connsiteY140" fmla="*/ 5166123 h 6858000"/>
              <a:gd name="connsiteX141" fmla="*/ 1958241 w 7467600"/>
              <a:gd name="connsiteY141" fmla="*/ 5067955 h 6858000"/>
              <a:gd name="connsiteX142" fmla="*/ 1903353 w 7467600"/>
              <a:gd name="connsiteY142" fmla="*/ 5044827 h 6858000"/>
              <a:gd name="connsiteX143" fmla="*/ 1979378 w 7467600"/>
              <a:gd name="connsiteY143" fmla="*/ 4769504 h 6858000"/>
              <a:gd name="connsiteX144" fmla="*/ 2882120 w 7467600"/>
              <a:gd name="connsiteY144" fmla="*/ 5064547 h 6858000"/>
              <a:gd name="connsiteX145" fmla="*/ 2793103 w 7467600"/>
              <a:gd name="connsiteY145" fmla="*/ 5039699 h 6858000"/>
              <a:gd name="connsiteX146" fmla="*/ 2770041 w 7467600"/>
              <a:gd name="connsiteY146" fmla="*/ 5033634 h 6858000"/>
              <a:gd name="connsiteX147" fmla="*/ 1979378 w 7467600"/>
              <a:gd name="connsiteY147" fmla="*/ 4769504 h 6858000"/>
              <a:gd name="connsiteX148" fmla="*/ 1927410 w 7467600"/>
              <a:gd name="connsiteY148" fmla="*/ 4716164 h 6858000"/>
              <a:gd name="connsiteX149" fmla="*/ 1959587 w 7467600"/>
              <a:gd name="connsiteY149" fmla="*/ 4728849 h 6858000"/>
              <a:gd name="connsiteX150" fmla="*/ 2777707 w 7467600"/>
              <a:gd name="connsiteY150" fmla="*/ 5003991 h 6858000"/>
              <a:gd name="connsiteX151" fmla="*/ 2800768 w 7467600"/>
              <a:gd name="connsiteY151" fmla="*/ 5010056 h 6858000"/>
              <a:gd name="connsiteX152" fmla="*/ 2879408 w 7467600"/>
              <a:gd name="connsiteY152" fmla="*/ 5031590 h 6858000"/>
              <a:gd name="connsiteX153" fmla="*/ 2862295 w 7467600"/>
              <a:gd name="connsiteY153" fmla="*/ 5022958 h 6858000"/>
              <a:gd name="connsiteX154" fmla="*/ 2813343 w 7467600"/>
              <a:gd name="connsiteY154" fmla="*/ 4998369 h 6858000"/>
              <a:gd name="connsiteX155" fmla="*/ 2646245 w 7467600"/>
              <a:gd name="connsiteY155" fmla="*/ 4930999 h 6858000"/>
              <a:gd name="connsiteX156" fmla="*/ 1999243 w 7467600"/>
              <a:gd name="connsiteY156" fmla="*/ 4730524 h 6858000"/>
              <a:gd name="connsiteX157" fmla="*/ 1979527 w 7467600"/>
              <a:gd name="connsiteY157" fmla="*/ 4726651 h 6858000"/>
              <a:gd name="connsiteX158" fmla="*/ 1927410 w 7467600"/>
              <a:gd name="connsiteY158" fmla="*/ 4716164 h 6858000"/>
              <a:gd name="connsiteX159" fmla="*/ 1997014 w 7467600"/>
              <a:gd name="connsiteY159" fmla="*/ 4698007 h 6858000"/>
              <a:gd name="connsiteX160" fmla="*/ 2005458 w 7467600"/>
              <a:gd name="connsiteY160" fmla="*/ 4699540 h 6858000"/>
              <a:gd name="connsiteX161" fmla="*/ 2657186 w 7467600"/>
              <a:gd name="connsiteY161" fmla="*/ 4901687 h 6858000"/>
              <a:gd name="connsiteX162" fmla="*/ 2826662 w 7467600"/>
              <a:gd name="connsiteY162" fmla="*/ 4970362 h 6858000"/>
              <a:gd name="connsiteX163" fmla="*/ 2876100 w 7467600"/>
              <a:gd name="connsiteY163" fmla="*/ 4995397 h 6858000"/>
              <a:gd name="connsiteX164" fmla="*/ 3042600 w 7467600"/>
              <a:gd name="connsiteY164" fmla="*/ 5059532 h 6858000"/>
              <a:gd name="connsiteX165" fmla="*/ 1997014 w 7467600"/>
              <a:gd name="connsiteY165" fmla="*/ 4698007 h 6858000"/>
              <a:gd name="connsiteX166" fmla="*/ 2305292 w 7467600"/>
              <a:gd name="connsiteY166" fmla="*/ 4219492 h 6858000"/>
              <a:gd name="connsiteX167" fmla="*/ 3360922 w 7467600"/>
              <a:gd name="connsiteY167" fmla="*/ 4529373 h 6858000"/>
              <a:gd name="connsiteX168" fmla="*/ 3492420 w 7467600"/>
              <a:gd name="connsiteY168" fmla="*/ 4510145 h 6858000"/>
              <a:gd name="connsiteX169" fmla="*/ 3364086 w 7467600"/>
              <a:gd name="connsiteY169" fmla="*/ 4480340 h 6858000"/>
              <a:gd name="connsiteX170" fmla="*/ 3225818 w 7467600"/>
              <a:gd name="connsiteY170" fmla="*/ 4411822 h 6858000"/>
              <a:gd name="connsiteX171" fmla="*/ 3129696 w 7467600"/>
              <a:gd name="connsiteY171" fmla="*/ 4360704 h 6858000"/>
              <a:gd name="connsiteX172" fmla="*/ 2814545 w 7467600"/>
              <a:gd name="connsiteY172" fmla="*/ 4282955 h 6858000"/>
              <a:gd name="connsiteX173" fmla="*/ 2305292 w 7467600"/>
              <a:gd name="connsiteY173" fmla="*/ 4219492 h 6858000"/>
              <a:gd name="connsiteX174" fmla="*/ 2626982 w 7467600"/>
              <a:gd name="connsiteY174" fmla="*/ 4206450 h 6858000"/>
              <a:gd name="connsiteX175" fmla="*/ 2490617 w 7467600"/>
              <a:gd name="connsiteY175" fmla="*/ 4206951 h 6858000"/>
              <a:gd name="connsiteX176" fmla="*/ 2819869 w 7467600"/>
              <a:gd name="connsiteY176" fmla="*/ 4252936 h 6858000"/>
              <a:gd name="connsiteX177" fmla="*/ 3143018 w 7467600"/>
              <a:gd name="connsiteY177" fmla="*/ 4332698 h 6858000"/>
              <a:gd name="connsiteX178" fmla="*/ 3241520 w 7467600"/>
              <a:gd name="connsiteY178" fmla="*/ 4385112 h 6858000"/>
              <a:gd name="connsiteX179" fmla="*/ 3374575 w 7467600"/>
              <a:gd name="connsiteY179" fmla="*/ 4451517 h 6858000"/>
              <a:gd name="connsiteX180" fmla="*/ 3505221 w 7467600"/>
              <a:gd name="connsiteY180" fmla="*/ 4480757 h 6858000"/>
              <a:gd name="connsiteX181" fmla="*/ 2626982 w 7467600"/>
              <a:gd name="connsiteY181" fmla="*/ 4206450 h 6858000"/>
              <a:gd name="connsiteX182" fmla="*/ 1310106 w 7467600"/>
              <a:gd name="connsiteY182" fmla="*/ 3943217 h 6858000"/>
              <a:gd name="connsiteX183" fmla="*/ 854994 w 7467600"/>
              <a:gd name="connsiteY183" fmla="*/ 4399136 h 6858000"/>
              <a:gd name="connsiteX184" fmla="*/ 742462 w 7467600"/>
              <a:gd name="connsiteY184" fmla="*/ 4594648 h 6858000"/>
              <a:gd name="connsiteX185" fmla="*/ 820602 w 7467600"/>
              <a:gd name="connsiteY185" fmla="*/ 4485915 h 6858000"/>
              <a:gd name="connsiteX186" fmla="*/ 878295 w 7467600"/>
              <a:gd name="connsiteY186" fmla="*/ 4403594 h 6858000"/>
              <a:gd name="connsiteX187" fmla="*/ 1240607 w 7467600"/>
              <a:gd name="connsiteY187" fmla="*/ 4010401 h 6858000"/>
              <a:gd name="connsiteX188" fmla="*/ 1310106 w 7467600"/>
              <a:gd name="connsiteY188" fmla="*/ 3943217 h 6858000"/>
              <a:gd name="connsiteX189" fmla="*/ 1423113 w 7467600"/>
              <a:gd name="connsiteY189" fmla="*/ 3874565 h 6858000"/>
              <a:gd name="connsiteX190" fmla="*/ 1260565 w 7467600"/>
              <a:gd name="connsiteY190" fmla="*/ 4031982 h 6858000"/>
              <a:gd name="connsiteX191" fmla="*/ 901900 w 7467600"/>
              <a:gd name="connsiteY191" fmla="*/ 4421236 h 6858000"/>
              <a:gd name="connsiteX192" fmla="*/ 845044 w 7467600"/>
              <a:gd name="connsiteY192" fmla="*/ 4502436 h 6858000"/>
              <a:gd name="connsiteX193" fmla="*/ 685926 w 7467600"/>
              <a:gd name="connsiteY193" fmla="*/ 4703069 h 6858000"/>
              <a:gd name="connsiteX194" fmla="*/ 684248 w 7467600"/>
              <a:gd name="connsiteY194" fmla="*/ 4706721 h 6858000"/>
              <a:gd name="connsiteX195" fmla="*/ 1423113 w 7467600"/>
              <a:gd name="connsiteY195" fmla="*/ 3874565 h 6858000"/>
              <a:gd name="connsiteX196" fmla="*/ 3316479 w 7467600"/>
              <a:gd name="connsiteY196" fmla="*/ 3872136 h 6858000"/>
              <a:gd name="connsiteX197" fmla="*/ 3546806 w 7467600"/>
              <a:gd name="connsiteY197" fmla="*/ 4356139 h 6858000"/>
              <a:gd name="connsiteX198" fmla="*/ 3364433 w 7467600"/>
              <a:gd name="connsiteY198" fmla="*/ 3953121 h 6858000"/>
              <a:gd name="connsiteX199" fmla="*/ 3316479 w 7467600"/>
              <a:gd name="connsiteY199" fmla="*/ 3872136 h 6858000"/>
              <a:gd name="connsiteX200" fmla="*/ 3291335 w 7467600"/>
              <a:gd name="connsiteY200" fmla="*/ 3767420 h 6858000"/>
              <a:gd name="connsiteX201" fmla="*/ 3390805 w 7467600"/>
              <a:gd name="connsiteY201" fmla="*/ 3937163 h 6858000"/>
              <a:gd name="connsiteX202" fmla="*/ 3579062 w 7467600"/>
              <a:gd name="connsiteY202" fmla="*/ 4359040 h 6858000"/>
              <a:gd name="connsiteX203" fmla="*/ 3467355 w 7467600"/>
              <a:gd name="connsiteY203" fmla="*/ 3988130 h 6858000"/>
              <a:gd name="connsiteX204" fmla="*/ 3310753 w 7467600"/>
              <a:gd name="connsiteY204" fmla="*/ 3787140 h 6858000"/>
              <a:gd name="connsiteX205" fmla="*/ 3291335 w 7467600"/>
              <a:gd name="connsiteY205" fmla="*/ 3767420 h 6858000"/>
              <a:gd name="connsiteX206" fmla="*/ 1635889 w 7467600"/>
              <a:gd name="connsiteY206" fmla="*/ 3709494 h 6858000"/>
              <a:gd name="connsiteX207" fmla="*/ 1634800 w 7467600"/>
              <a:gd name="connsiteY207" fmla="*/ 3731111 h 6858000"/>
              <a:gd name="connsiteX208" fmla="*/ 1635889 w 7467600"/>
              <a:gd name="connsiteY208" fmla="*/ 3709494 h 6858000"/>
              <a:gd name="connsiteX209" fmla="*/ 1510397 w 7467600"/>
              <a:gd name="connsiteY209" fmla="*/ 3684705 h 6858000"/>
              <a:gd name="connsiteX210" fmla="*/ 1146550 w 7467600"/>
              <a:gd name="connsiteY210" fmla="*/ 3802012 h 6858000"/>
              <a:gd name="connsiteX211" fmla="*/ 698834 w 7467600"/>
              <a:gd name="connsiteY211" fmla="*/ 3952272 h 6858000"/>
              <a:gd name="connsiteX212" fmla="*/ 34256 w 7467600"/>
              <a:gd name="connsiteY212" fmla="*/ 4347603 h 6858000"/>
              <a:gd name="connsiteX213" fmla="*/ 527241 w 7467600"/>
              <a:gd name="connsiteY213" fmla="*/ 4065078 h 6858000"/>
              <a:gd name="connsiteX214" fmla="*/ 1510397 w 7467600"/>
              <a:gd name="connsiteY214" fmla="*/ 3684705 h 6858000"/>
              <a:gd name="connsiteX215" fmla="*/ 1313114 w 7467600"/>
              <a:gd name="connsiteY215" fmla="*/ 3655216 h 6858000"/>
              <a:gd name="connsiteX216" fmla="*/ 1109304 w 7467600"/>
              <a:gd name="connsiteY216" fmla="*/ 3669030 h 6858000"/>
              <a:gd name="connsiteX217" fmla="*/ 8129 w 7467600"/>
              <a:gd name="connsiteY217" fmla="*/ 4330519 h 6858000"/>
              <a:gd name="connsiteX218" fmla="*/ 687572 w 7467600"/>
              <a:gd name="connsiteY218" fmla="*/ 3925629 h 6858000"/>
              <a:gd name="connsiteX219" fmla="*/ 1138365 w 7467600"/>
              <a:gd name="connsiteY219" fmla="*/ 3774515 h 6858000"/>
              <a:gd name="connsiteX220" fmla="*/ 1505579 w 7467600"/>
              <a:gd name="connsiteY220" fmla="*/ 3655526 h 6858000"/>
              <a:gd name="connsiteX221" fmla="*/ 1313114 w 7467600"/>
              <a:gd name="connsiteY221" fmla="*/ 3655216 h 6858000"/>
              <a:gd name="connsiteX222" fmla="*/ 3655073 w 7467600"/>
              <a:gd name="connsiteY222" fmla="*/ 3650884 h 6858000"/>
              <a:gd name="connsiteX223" fmla="*/ 3989938 w 7467600"/>
              <a:gd name="connsiteY223" fmla="*/ 3991685 h 6858000"/>
              <a:gd name="connsiteX224" fmla="*/ 4393907 w 7467600"/>
              <a:gd name="connsiteY224" fmla="*/ 4261258 h 6858000"/>
              <a:gd name="connsiteX225" fmla="*/ 4648051 w 7467600"/>
              <a:gd name="connsiteY225" fmla="*/ 4374051 h 6858000"/>
              <a:gd name="connsiteX226" fmla="*/ 4383389 w 7467600"/>
              <a:gd name="connsiteY226" fmla="*/ 4184369 h 6858000"/>
              <a:gd name="connsiteX227" fmla="*/ 4165508 w 7467600"/>
              <a:gd name="connsiteY227" fmla="*/ 4035196 h 6858000"/>
              <a:gd name="connsiteX228" fmla="*/ 4068162 w 7467600"/>
              <a:gd name="connsiteY228" fmla="*/ 3953394 h 6858000"/>
              <a:gd name="connsiteX229" fmla="*/ 3981416 w 7467600"/>
              <a:gd name="connsiteY229" fmla="*/ 3880482 h 6858000"/>
              <a:gd name="connsiteX230" fmla="*/ 3800147 w 7467600"/>
              <a:gd name="connsiteY230" fmla="*/ 3749872 h 6858000"/>
              <a:gd name="connsiteX231" fmla="*/ 3655073 w 7467600"/>
              <a:gd name="connsiteY231" fmla="*/ 3650884 h 6858000"/>
              <a:gd name="connsiteX232" fmla="*/ 3670252 w 7467600"/>
              <a:gd name="connsiteY232" fmla="*/ 3622798 h 6858000"/>
              <a:gd name="connsiteX233" fmla="*/ 3817258 w 7467600"/>
              <a:gd name="connsiteY233" fmla="*/ 3723577 h 6858000"/>
              <a:gd name="connsiteX234" fmla="*/ 4000461 w 7467600"/>
              <a:gd name="connsiteY234" fmla="*/ 3855966 h 6858000"/>
              <a:gd name="connsiteX235" fmla="*/ 4088180 w 7467600"/>
              <a:gd name="connsiteY235" fmla="*/ 3929774 h 6858000"/>
              <a:gd name="connsiteX236" fmla="*/ 4184555 w 7467600"/>
              <a:gd name="connsiteY236" fmla="*/ 4010683 h 6858000"/>
              <a:gd name="connsiteX237" fmla="*/ 4399563 w 7467600"/>
              <a:gd name="connsiteY237" fmla="*/ 4158106 h 6858000"/>
              <a:gd name="connsiteX238" fmla="*/ 4684469 w 7467600"/>
              <a:gd name="connsiteY238" fmla="*/ 4364680 h 6858000"/>
              <a:gd name="connsiteX239" fmla="*/ 4690271 w 7467600"/>
              <a:gd name="connsiteY239" fmla="*/ 4370034 h 6858000"/>
              <a:gd name="connsiteX240" fmla="*/ 4136093 w 7467600"/>
              <a:gd name="connsiteY240" fmla="*/ 3858466 h 6858000"/>
              <a:gd name="connsiteX241" fmla="*/ 3670252 w 7467600"/>
              <a:gd name="connsiteY241" fmla="*/ 3622798 h 6858000"/>
              <a:gd name="connsiteX242" fmla="*/ 4440129 w 7467600"/>
              <a:gd name="connsiteY242" fmla="*/ 3448571 h 6858000"/>
              <a:gd name="connsiteX243" fmla="*/ 4856525 w 7467600"/>
              <a:gd name="connsiteY243" fmla="*/ 3915351 h 6858000"/>
              <a:gd name="connsiteX244" fmla="*/ 5059055 w 7467600"/>
              <a:gd name="connsiteY244" fmla="*/ 4108918 h 6858000"/>
              <a:gd name="connsiteX245" fmla="*/ 5290070 w 7467600"/>
              <a:gd name="connsiteY245" fmla="*/ 4263619 h 6858000"/>
              <a:gd name="connsiteX246" fmla="*/ 4834991 w 7467600"/>
              <a:gd name="connsiteY246" fmla="*/ 3830985 h 6858000"/>
              <a:gd name="connsiteX247" fmla="*/ 4440129 w 7467600"/>
              <a:gd name="connsiteY247" fmla="*/ 3448571 h 6858000"/>
              <a:gd name="connsiteX248" fmla="*/ 4441737 w 7467600"/>
              <a:gd name="connsiteY248" fmla="*/ 3399734 h 6858000"/>
              <a:gd name="connsiteX249" fmla="*/ 4431236 w 7467600"/>
              <a:gd name="connsiteY249" fmla="*/ 3400954 h 6858000"/>
              <a:gd name="connsiteX250" fmla="*/ 4557150 w 7467600"/>
              <a:gd name="connsiteY250" fmla="*/ 3510023 h 6858000"/>
              <a:gd name="connsiteX251" fmla="*/ 4856936 w 7467600"/>
              <a:gd name="connsiteY251" fmla="*/ 3809146 h 6858000"/>
              <a:gd name="connsiteX252" fmla="*/ 5111996 w 7467600"/>
              <a:gd name="connsiteY252" fmla="*/ 4065759 h 6858000"/>
              <a:gd name="connsiteX253" fmla="*/ 5388878 w 7467600"/>
              <a:gd name="connsiteY253" fmla="*/ 4300185 h 6858000"/>
              <a:gd name="connsiteX254" fmla="*/ 5425556 w 7467600"/>
              <a:gd name="connsiteY254" fmla="*/ 4308967 h 6858000"/>
              <a:gd name="connsiteX255" fmla="*/ 4943646 w 7467600"/>
              <a:gd name="connsiteY255" fmla="*/ 3822916 h 6858000"/>
              <a:gd name="connsiteX256" fmla="*/ 4594837 w 7467600"/>
              <a:gd name="connsiteY256" fmla="*/ 3532274 h 6858000"/>
              <a:gd name="connsiteX257" fmla="*/ 4441737 w 7467600"/>
              <a:gd name="connsiteY257" fmla="*/ 3399734 h 6858000"/>
              <a:gd name="connsiteX258" fmla="*/ 5425834 w 7467600"/>
              <a:gd name="connsiteY258" fmla="*/ 3162785 h 6858000"/>
              <a:gd name="connsiteX259" fmla="*/ 5401644 w 7467600"/>
              <a:gd name="connsiteY259" fmla="*/ 3617847 h 6858000"/>
              <a:gd name="connsiteX260" fmla="*/ 5467256 w 7467600"/>
              <a:gd name="connsiteY260" fmla="*/ 4175494 h 6858000"/>
              <a:gd name="connsiteX261" fmla="*/ 5448069 w 7467600"/>
              <a:gd name="connsiteY261" fmla="*/ 3567554 h 6858000"/>
              <a:gd name="connsiteX262" fmla="*/ 5425834 w 7467600"/>
              <a:gd name="connsiteY262" fmla="*/ 3162785 h 6858000"/>
              <a:gd name="connsiteX263" fmla="*/ 1318687 w 7467600"/>
              <a:gd name="connsiteY263" fmla="*/ 3113840 h 6858000"/>
              <a:gd name="connsiteX264" fmla="*/ 1066793 w 7467600"/>
              <a:gd name="connsiteY264" fmla="*/ 3212171 h 6858000"/>
              <a:gd name="connsiteX265" fmla="*/ 993319 w 7467600"/>
              <a:gd name="connsiteY265" fmla="*/ 3247648 h 6858000"/>
              <a:gd name="connsiteX266" fmla="*/ 853081 w 7467600"/>
              <a:gd name="connsiteY266" fmla="*/ 3312410 h 6858000"/>
              <a:gd name="connsiteX267" fmla="*/ 805957 w 7467600"/>
              <a:gd name="connsiteY267" fmla="*/ 3330443 h 6858000"/>
              <a:gd name="connsiteX268" fmla="*/ 1318687 w 7467600"/>
              <a:gd name="connsiteY268" fmla="*/ 3113840 h 6858000"/>
              <a:gd name="connsiteX269" fmla="*/ 5453702 w 7467600"/>
              <a:gd name="connsiteY269" fmla="*/ 3090882 h 6858000"/>
              <a:gd name="connsiteX270" fmla="*/ 5480135 w 7467600"/>
              <a:gd name="connsiteY270" fmla="*/ 3565802 h 6858000"/>
              <a:gd name="connsiteX271" fmla="*/ 5499023 w 7467600"/>
              <a:gd name="connsiteY271" fmla="*/ 4166310 h 6858000"/>
              <a:gd name="connsiteX272" fmla="*/ 5547022 w 7467600"/>
              <a:gd name="connsiteY272" fmla="*/ 3607838 h 6858000"/>
              <a:gd name="connsiteX273" fmla="*/ 5515964 w 7467600"/>
              <a:gd name="connsiteY273" fmla="*/ 3378541 h 6858000"/>
              <a:gd name="connsiteX274" fmla="*/ 5453702 w 7467600"/>
              <a:gd name="connsiteY274" fmla="*/ 3090882 h 6858000"/>
              <a:gd name="connsiteX275" fmla="*/ 1238695 w 7467600"/>
              <a:gd name="connsiteY275" fmla="*/ 3076820 h 6858000"/>
              <a:gd name="connsiteX276" fmla="*/ 716371 w 7467600"/>
              <a:gd name="connsiteY276" fmla="*/ 3293249 h 6858000"/>
              <a:gd name="connsiteX277" fmla="*/ 579522 w 7467600"/>
              <a:gd name="connsiteY277" fmla="*/ 3371759 h 6858000"/>
              <a:gd name="connsiteX278" fmla="*/ 600288 w 7467600"/>
              <a:gd name="connsiteY278" fmla="*/ 3365555 h 6858000"/>
              <a:gd name="connsiteX279" fmla="*/ 840692 w 7467600"/>
              <a:gd name="connsiteY279" fmla="*/ 3284921 h 6858000"/>
              <a:gd name="connsiteX280" fmla="*/ 979248 w 7467600"/>
              <a:gd name="connsiteY280" fmla="*/ 3221003 h 6858000"/>
              <a:gd name="connsiteX281" fmla="*/ 1053282 w 7467600"/>
              <a:gd name="connsiteY281" fmla="*/ 3185247 h 6858000"/>
              <a:gd name="connsiteX282" fmla="*/ 1320603 w 7467600"/>
              <a:gd name="connsiteY282" fmla="*/ 3081281 h 6858000"/>
              <a:gd name="connsiteX283" fmla="*/ 1238695 w 7467600"/>
              <a:gd name="connsiteY283" fmla="*/ 3076820 h 6858000"/>
              <a:gd name="connsiteX284" fmla="*/ 5425627 w 7467600"/>
              <a:gd name="connsiteY284" fmla="*/ 2954192 h 6858000"/>
              <a:gd name="connsiteX285" fmla="*/ 5470770 w 7467600"/>
              <a:gd name="connsiteY285" fmla="*/ 3005435 h 6858000"/>
              <a:gd name="connsiteX286" fmla="*/ 5519779 w 7467600"/>
              <a:gd name="connsiteY286" fmla="*/ 4359223 h 6858000"/>
              <a:gd name="connsiteX287" fmla="*/ 5520293 w 7467600"/>
              <a:gd name="connsiteY287" fmla="*/ 4360602 h 6858000"/>
              <a:gd name="connsiteX288" fmla="*/ 5767221 w 7467600"/>
              <a:gd name="connsiteY288" fmla="*/ 4665564 h 6858000"/>
              <a:gd name="connsiteX289" fmla="*/ 6937169 w 7467600"/>
              <a:gd name="connsiteY289" fmla="*/ 4815941 h 6858000"/>
              <a:gd name="connsiteX290" fmla="*/ 6953922 w 7467600"/>
              <a:gd name="connsiteY290" fmla="*/ 4890068 h 6858000"/>
              <a:gd name="connsiteX291" fmla="*/ 6071359 w 7467600"/>
              <a:gd name="connsiteY291" fmla="*/ 4770770 h 6858000"/>
              <a:gd name="connsiteX292" fmla="*/ 6038839 w 7467600"/>
              <a:gd name="connsiteY292" fmla="*/ 4764474 h 6858000"/>
              <a:gd name="connsiteX293" fmla="*/ 6038706 w 7467600"/>
              <a:gd name="connsiteY293" fmla="*/ 4763847 h 6858000"/>
              <a:gd name="connsiteX294" fmla="*/ 6037784 w 7467600"/>
              <a:gd name="connsiteY294" fmla="*/ 4764270 h 6858000"/>
              <a:gd name="connsiteX295" fmla="*/ 6038839 w 7467600"/>
              <a:gd name="connsiteY295" fmla="*/ 4764474 h 6858000"/>
              <a:gd name="connsiteX296" fmla="*/ 6040338 w 7467600"/>
              <a:gd name="connsiteY296" fmla="*/ 4771418 h 6858000"/>
              <a:gd name="connsiteX297" fmla="*/ 6024488 w 7467600"/>
              <a:gd name="connsiteY297" fmla="*/ 4809903 h 6858000"/>
              <a:gd name="connsiteX298" fmla="*/ 5599771 w 7467600"/>
              <a:gd name="connsiteY298" fmla="*/ 5509652 h 6858000"/>
              <a:gd name="connsiteX299" fmla="*/ 5548843 w 7467600"/>
              <a:gd name="connsiteY299" fmla="*/ 5563845 h 6858000"/>
              <a:gd name="connsiteX300" fmla="*/ 5940952 w 7467600"/>
              <a:gd name="connsiteY300" fmla="*/ 6250028 h 6858000"/>
              <a:gd name="connsiteX301" fmla="*/ 6043441 w 7467600"/>
              <a:gd name="connsiteY301" fmla="*/ 6665847 h 6858000"/>
              <a:gd name="connsiteX302" fmla="*/ 6093432 w 7467600"/>
              <a:gd name="connsiteY302" fmla="*/ 6858000 h 6858000"/>
              <a:gd name="connsiteX303" fmla="*/ 6034344 w 7467600"/>
              <a:gd name="connsiteY303" fmla="*/ 6858000 h 6858000"/>
              <a:gd name="connsiteX304" fmla="*/ 6026679 w 7467600"/>
              <a:gd name="connsiteY304" fmla="*/ 6836959 h 6858000"/>
              <a:gd name="connsiteX305" fmla="*/ 5800441 w 7467600"/>
              <a:gd name="connsiteY305" fmla="*/ 6335286 h 6858000"/>
              <a:gd name="connsiteX306" fmla="*/ 5526562 w 7467600"/>
              <a:gd name="connsiteY306" fmla="*/ 5705388 h 6858000"/>
              <a:gd name="connsiteX307" fmla="*/ 5519640 w 7467600"/>
              <a:gd name="connsiteY307" fmla="*/ 5683774 h 6858000"/>
              <a:gd name="connsiteX308" fmla="*/ 5844559 w 7467600"/>
              <a:gd name="connsiteY308" fmla="*/ 6553349 h 6858000"/>
              <a:gd name="connsiteX309" fmla="*/ 5975994 w 7467600"/>
              <a:gd name="connsiteY309" fmla="*/ 6858000 h 6858000"/>
              <a:gd name="connsiteX310" fmla="*/ 5898547 w 7467600"/>
              <a:gd name="connsiteY310" fmla="*/ 6858000 h 6858000"/>
              <a:gd name="connsiteX311" fmla="*/ 5682041 w 7467600"/>
              <a:gd name="connsiteY311" fmla="*/ 6355860 h 6858000"/>
              <a:gd name="connsiteX312" fmla="*/ 5461758 w 7467600"/>
              <a:gd name="connsiteY312" fmla="*/ 5820220 h 6858000"/>
              <a:gd name="connsiteX313" fmla="*/ 5237282 w 7467600"/>
              <a:gd name="connsiteY313" fmla="*/ 6579086 h 6858000"/>
              <a:gd name="connsiteX314" fmla="*/ 5115009 w 7467600"/>
              <a:gd name="connsiteY314" fmla="*/ 6858000 h 6858000"/>
              <a:gd name="connsiteX315" fmla="*/ 5028074 w 7467600"/>
              <a:gd name="connsiteY315" fmla="*/ 6858000 h 6858000"/>
              <a:gd name="connsiteX316" fmla="*/ 5079508 w 7467600"/>
              <a:gd name="connsiteY316" fmla="*/ 6749074 h 6858000"/>
              <a:gd name="connsiteX317" fmla="*/ 5371846 w 7467600"/>
              <a:gd name="connsiteY317" fmla="*/ 5924413 h 6858000"/>
              <a:gd name="connsiteX318" fmla="*/ 5270512 w 7467600"/>
              <a:gd name="connsiteY318" fmla="*/ 6138975 h 6858000"/>
              <a:gd name="connsiteX319" fmla="*/ 5062409 w 7467600"/>
              <a:gd name="connsiteY319" fmla="*/ 6653544 h 6858000"/>
              <a:gd name="connsiteX320" fmla="*/ 5036628 w 7467600"/>
              <a:gd name="connsiteY320" fmla="*/ 6754247 h 6858000"/>
              <a:gd name="connsiteX321" fmla="*/ 5009112 w 7467600"/>
              <a:gd name="connsiteY321" fmla="*/ 6858000 h 6858000"/>
              <a:gd name="connsiteX322" fmla="*/ 4976679 w 7467600"/>
              <a:gd name="connsiteY322" fmla="*/ 6858000 h 6858000"/>
              <a:gd name="connsiteX323" fmla="*/ 5006537 w 7467600"/>
              <a:gd name="connsiteY323" fmla="*/ 6747068 h 6858000"/>
              <a:gd name="connsiteX324" fmla="*/ 5032723 w 7467600"/>
              <a:gd name="connsiteY324" fmla="*/ 6644957 h 6858000"/>
              <a:gd name="connsiteX325" fmla="*/ 5242949 w 7467600"/>
              <a:gd name="connsiteY325" fmla="*/ 6125175 h 6858000"/>
              <a:gd name="connsiteX326" fmla="*/ 5286321 w 7467600"/>
              <a:gd name="connsiteY326" fmla="*/ 6033555 h 6858000"/>
              <a:gd name="connsiteX327" fmla="*/ 5008210 w 7467600"/>
              <a:gd name="connsiteY327" fmla="*/ 6649194 h 6858000"/>
              <a:gd name="connsiteX328" fmla="*/ 4986321 w 7467600"/>
              <a:gd name="connsiteY328" fmla="*/ 6765687 h 6858000"/>
              <a:gd name="connsiteX329" fmla="*/ 4973474 w 7467600"/>
              <a:gd name="connsiteY329" fmla="*/ 6858000 h 6858000"/>
              <a:gd name="connsiteX330" fmla="*/ 4907178 w 7467600"/>
              <a:gd name="connsiteY330" fmla="*/ 6858000 h 6858000"/>
              <a:gd name="connsiteX331" fmla="*/ 4910810 w 7467600"/>
              <a:gd name="connsiteY331" fmla="*/ 6829660 h 6858000"/>
              <a:gd name="connsiteX332" fmla="*/ 4987461 w 7467600"/>
              <a:gd name="connsiteY332" fmla="*/ 6432994 h 6858000"/>
              <a:gd name="connsiteX333" fmla="*/ 5179262 w 7467600"/>
              <a:gd name="connsiteY333" fmla="*/ 6035044 h 6858000"/>
              <a:gd name="connsiteX334" fmla="*/ 4689678 w 7467600"/>
              <a:gd name="connsiteY334" fmla="*/ 6440241 h 6858000"/>
              <a:gd name="connsiteX335" fmla="*/ 4477543 w 7467600"/>
              <a:gd name="connsiteY335" fmla="*/ 6674836 h 6858000"/>
              <a:gd name="connsiteX336" fmla="*/ 4329957 w 7467600"/>
              <a:gd name="connsiteY336" fmla="*/ 6858000 h 6858000"/>
              <a:gd name="connsiteX337" fmla="*/ 4218595 w 7467600"/>
              <a:gd name="connsiteY337" fmla="*/ 6858000 h 6858000"/>
              <a:gd name="connsiteX338" fmla="*/ 4368888 w 7467600"/>
              <a:gd name="connsiteY338" fmla="*/ 6668412 h 6858000"/>
              <a:gd name="connsiteX339" fmla="*/ 4563091 w 7467600"/>
              <a:gd name="connsiteY339" fmla="*/ 6442508 h 6858000"/>
              <a:gd name="connsiteX340" fmla="*/ 5387324 w 7467600"/>
              <a:gd name="connsiteY340" fmla="*/ 5705830 h 6858000"/>
              <a:gd name="connsiteX341" fmla="*/ 5073620 w 7467600"/>
              <a:gd name="connsiteY341" fmla="*/ 5955437 h 6858000"/>
              <a:gd name="connsiteX342" fmla="*/ 4689789 w 7467600"/>
              <a:gd name="connsiteY342" fmla="*/ 6268382 h 6858000"/>
              <a:gd name="connsiteX343" fmla="*/ 4418722 w 7467600"/>
              <a:gd name="connsiteY343" fmla="*/ 6570886 h 6858000"/>
              <a:gd name="connsiteX344" fmla="*/ 4214944 w 7467600"/>
              <a:gd name="connsiteY344" fmla="*/ 6858000 h 6858000"/>
              <a:gd name="connsiteX345" fmla="*/ 4177898 w 7467600"/>
              <a:gd name="connsiteY345" fmla="*/ 6858000 h 6858000"/>
              <a:gd name="connsiteX346" fmla="*/ 4391597 w 7467600"/>
              <a:gd name="connsiteY346" fmla="*/ 6556370 h 6858000"/>
              <a:gd name="connsiteX347" fmla="*/ 4668889 w 7467600"/>
              <a:gd name="connsiteY347" fmla="*/ 6246399 h 6858000"/>
              <a:gd name="connsiteX348" fmla="*/ 5055427 w 7467600"/>
              <a:gd name="connsiteY348" fmla="*/ 5931476 h 6858000"/>
              <a:gd name="connsiteX349" fmla="*/ 5371814 w 7467600"/>
              <a:gd name="connsiteY349" fmla="*/ 5678975 h 6858000"/>
              <a:gd name="connsiteX350" fmla="*/ 4987918 w 7467600"/>
              <a:gd name="connsiteY350" fmla="*/ 5838701 h 6858000"/>
              <a:gd name="connsiteX351" fmla="*/ 4317146 w 7467600"/>
              <a:gd name="connsiteY351" fmla="*/ 6587716 h 6858000"/>
              <a:gd name="connsiteX352" fmla="*/ 4171627 w 7467600"/>
              <a:gd name="connsiteY352" fmla="*/ 6858000 h 6858000"/>
              <a:gd name="connsiteX353" fmla="*/ 4081585 w 7467600"/>
              <a:gd name="connsiteY353" fmla="*/ 6858000 h 6858000"/>
              <a:gd name="connsiteX354" fmla="*/ 4238603 w 7467600"/>
              <a:gd name="connsiteY354" fmla="*/ 6559341 h 6858000"/>
              <a:gd name="connsiteX355" fmla="*/ 4778333 w 7467600"/>
              <a:gd name="connsiteY355" fmla="*/ 5873626 h 6858000"/>
              <a:gd name="connsiteX356" fmla="*/ 5414185 w 7467600"/>
              <a:gd name="connsiteY356" fmla="*/ 5573882 h 6858000"/>
              <a:gd name="connsiteX357" fmla="*/ 5959648 w 7467600"/>
              <a:gd name="connsiteY357" fmla="*/ 4760797 h 6858000"/>
              <a:gd name="connsiteX358" fmla="*/ 5355019 w 7467600"/>
              <a:gd name="connsiteY358" fmla="*/ 4734672 h 6858000"/>
              <a:gd name="connsiteX359" fmla="*/ 5083565 w 7467600"/>
              <a:gd name="connsiteY359" fmla="*/ 5179121 h 6858000"/>
              <a:gd name="connsiteX360" fmla="*/ 4713577 w 7467600"/>
              <a:gd name="connsiteY360" fmla="*/ 5616803 h 6858000"/>
              <a:gd name="connsiteX361" fmla="*/ 3989559 w 7467600"/>
              <a:gd name="connsiteY361" fmla="*/ 6145945 h 6858000"/>
              <a:gd name="connsiteX362" fmla="*/ 3939824 w 7467600"/>
              <a:gd name="connsiteY362" fmla="*/ 6066900 h 6858000"/>
              <a:gd name="connsiteX363" fmla="*/ 4584537 w 7467600"/>
              <a:gd name="connsiteY363" fmla="*/ 5324826 h 6858000"/>
              <a:gd name="connsiteX364" fmla="*/ 5037105 w 7467600"/>
              <a:gd name="connsiteY364" fmla="*/ 5088765 h 6858000"/>
              <a:gd name="connsiteX365" fmla="*/ 5039930 w 7467600"/>
              <a:gd name="connsiteY365" fmla="*/ 5089585 h 6858000"/>
              <a:gd name="connsiteX366" fmla="*/ 5263764 w 7467600"/>
              <a:gd name="connsiteY366" fmla="*/ 4735525 h 6858000"/>
              <a:gd name="connsiteX367" fmla="*/ 4086300 w 7467600"/>
              <a:gd name="connsiteY367" fmla="*/ 4884599 h 6858000"/>
              <a:gd name="connsiteX368" fmla="*/ 4085485 w 7467600"/>
              <a:gd name="connsiteY368" fmla="*/ 4899070 h 6858000"/>
              <a:gd name="connsiteX369" fmla="*/ 3871915 w 7467600"/>
              <a:gd name="connsiteY369" fmla="*/ 5253645 h 6858000"/>
              <a:gd name="connsiteX370" fmla="*/ 3799374 w 7467600"/>
              <a:gd name="connsiteY370" fmla="*/ 5466127 h 6858000"/>
              <a:gd name="connsiteX371" fmla="*/ 3498850 w 7467600"/>
              <a:gd name="connsiteY371" fmla="*/ 6661888 h 6858000"/>
              <a:gd name="connsiteX372" fmla="*/ 3399216 w 7467600"/>
              <a:gd name="connsiteY372" fmla="*/ 6858000 h 6858000"/>
              <a:gd name="connsiteX373" fmla="*/ 3303688 w 7467600"/>
              <a:gd name="connsiteY373" fmla="*/ 6858000 h 6858000"/>
              <a:gd name="connsiteX374" fmla="*/ 3391774 w 7467600"/>
              <a:gd name="connsiteY374" fmla="*/ 6697181 h 6858000"/>
              <a:gd name="connsiteX375" fmla="*/ 3735540 w 7467600"/>
              <a:gd name="connsiteY375" fmla="*/ 5546923 h 6858000"/>
              <a:gd name="connsiteX376" fmla="*/ 3729438 w 7467600"/>
              <a:gd name="connsiteY376" fmla="*/ 5569058 h 6858000"/>
              <a:gd name="connsiteX377" fmla="*/ 3707782 w 7467600"/>
              <a:gd name="connsiteY377" fmla="*/ 5644908 h 6858000"/>
              <a:gd name="connsiteX378" fmla="*/ 3583827 w 7467600"/>
              <a:gd name="connsiteY378" fmla="*/ 6039215 h 6858000"/>
              <a:gd name="connsiteX379" fmla="*/ 3547861 w 7467600"/>
              <a:gd name="connsiteY379" fmla="*/ 6129609 h 6858000"/>
              <a:gd name="connsiteX380" fmla="*/ 3490905 w 7467600"/>
              <a:gd name="connsiteY380" fmla="*/ 6277660 h 6858000"/>
              <a:gd name="connsiteX381" fmla="*/ 3455859 w 7467600"/>
              <a:gd name="connsiteY381" fmla="*/ 6391301 h 6858000"/>
              <a:gd name="connsiteX382" fmla="*/ 3429112 w 7467600"/>
              <a:gd name="connsiteY382" fmla="*/ 6479469 h 6858000"/>
              <a:gd name="connsiteX383" fmla="*/ 3304862 w 7467600"/>
              <a:gd name="connsiteY383" fmla="*/ 6796476 h 6858000"/>
              <a:gd name="connsiteX384" fmla="*/ 3276071 w 7467600"/>
              <a:gd name="connsiteY384" fmla="*/ 6858000 h 6858000"/>
              <a:gd name="connsiteX385" fmla="*/ 3240805 w 7467600"/>
              <a:gd name="connsiteY385" fmla="*/ 6858000 h 6858000"/>
              <a:gd name="connsiteX386" fmla="*/ 3275917 w 7467600"/>
              <a:gd name="connsiteY386" fmla="*/ 6783192 h 6858000"/>
              <a:gd name="connsiteX387" fmla="*/ 3399358 w 7467600"/>
              <a:gd name="connsiteY387" fmla="*/ 6469011 h 6858000"/>
              <a:gd name="connsiteX388" fmla="*/ 3425650 w 7467600"/>
              <a:gd name="connsiteY388" fmla="*/ 6381333 h 6858000"/>
              <a:gd name="connsiteX389" fmla="*/ 3460661 w 7467600"/>
              <a:gd name="connsiteY389" fmla="*/ 6266763 h 6858000"/>
              <a:gd name="connsiteX390" fmla="*/ 3518021 w 7467600"/>
              <a:gd name="connsiteY390" fmla="*/ 6117298 h 6858000"/>
              <a:gd name="connsiteX391" fmla="*/ 3554035 w 7467600"/>
              <a:gd name="connsiteY391" fmla="*/ 6027832 h 6858000"/>
              <a:gd name="connsiteX392" fmla="*/ 3677174 w 7467600"/>
              <a:gd name="connsiteY392" fmla="*/ 5636351 h 6858000"/>
              <a:gd name="connsiteX393" fmla="*/ 3698819 w 7467600"/>
              <a:gd name="connsiteY393" fmla="*/ 5560503 h 6858000"/>
              <a:gd name="connsiteX394" fmla="*/ 3702094 w 7467600"/>
              <a:gd name="connsiteY394" fmla="*/ 5549194 h 6858000"/>
              <a:gd name="connsiteX395" fmla="*/ 3398355 w 7467600"/>
              <a:gd name="connsiteY395" fmla="*/ 6094603 h 6858000"/>
              <a:gd name="connsiteX396" fmla="*/ 3193941 w 7467600"/>
              <a:gd name="connsiteY396" fmla="*/ 6798775 h 6858000"/>
              <a:gd name="connsiteX397" fmla="*/ 3184140 w 7467600"/>
              <a:gd name="connsiteY397" fmla="*/ 6858000 h 6858000"/>
              <a:gd name="connsiteX398" fmla="*/ 3099978 w 7467600"/>
              <a:gd name="connsiteY398" fmla="*/ 6858000 h 6858000"/>
              <a:gd name="connsiteX399" fmla="*/ 3101556 w 7467600"/>
              <a:gd name="connsiteY399" fmla="*/ 6843337 h 6858000"/>
              <a:gd name="connsiteX400" fmla="*/ 3370162 w 7467600"/>
              <a:gd name="connsiteY400" fmla="*/ 5785550 h 6858000"/>
              <a:gd name="connsiteX401" fmla="*/ 3746477 w 7467600"/>
              <a:gd name="connsiteY401" fmla="*/ 5377889 h 6858000"/>
              <a:gd name="connsiteX402" fmla="*/ 3863399 w 7467600"/>
              <a:gd name="connsiteY402" fmla="*/ 5087257 h 6858000"/>
              <a:gd name="connsiteX403" fmla="*/ 3968712 w 7467600"/>
              <a:gd name="connsiteY403" fmla="*/ 4913989 h 6858000"/>
              <a:gd name="connsiteX404" fmla="*/ 2792390 w 7467600"/>
              <a:gd name="connsiteY404" fmla="*/ 5382974 h 6858000"/>
              <a:gd name="connsiteX405" fmla="*/ 2714982 w 7467600"/>
              <a:gd name="connsiteY405" fmla="*/ 5427051 h 6858000"/>
              <a:gd name="connsiteX406" fmla="*/ 2813361 w 7467600"/>
              <a:gd name="connsiteY406" fmla="*/ 6023912 h 6858000"/>
              <a:gd name="connsiteX407" fmla="*/ 2688430 w 7467600"/>
              <a:gd name="connsiteY407" fmla="*/ 6801564 h 6858000"/>
              <a:gd name="connsiteX408" fmla="*/ 2629626 w 7467600"/>
              <a:gd name="connsiteY408" fmla="*/ 6763394 h 6858000"/>
              <a:gd name="connsiteX409" fmla="*/ 2565328 w 7467600"/>
              <a:gd name="connsiteY409" fmla="*/ 5516399 h 6858000"/>
              <a:gd name="connsiteX410" fmla="*/ 1922999 w 7467600"/>
              <a:gd name="connsiteY410" fmla="*/ 5980343 h 6858000"/>
              <a:gd name="connsiteX411" fmla="*/ 1950261 w 7467600"/>
              <a:gd name="connsiteY411" fmla="*/ 6405858 h 6858000"/>
              <a:gd name="connsiteX412" fmla="*/ 2365554 w 7467600"/>
              <a:gd name="connsiteY412" fmla="*/ 6759107 h 6858000"/>
              <a:gd name="connsiteX413" fmla="*/ 2424142 w 7467600"/>
              <a:gd name="connsiteY413" fmla="*/ 6858000 h 6858000"/>
              <a:gd name="connsiteX414" fmla="*/ 2395994 w 7467600"/>
              <a:gd name="connsiteY414" fmla="*/ 6858000 h 6858000"/>
              <a:gd name="connsiteX415" fmla="*/ 2392863 w 7467600"/>
              <a:gd name="connsiteY415" fmla="*/ 6852964 h 6858000"/>
              <a:gd name="connsiteX416" fmla="*/ 2017589 w 7467600"/>
              <a:gd name="connsiteY416" fmla="*/ 6493982 h 6858000"/>
              <a:gd name="connsiteX417" fmla="*/ 2147336 w 7467600"/>
              <a:gd name="connsiteY417" fmla="*/ 6594052 h 6858000"/>
              <a:gd name="connsiteX418" fmla="*/ 2207047 w 7467600"/>
              <a:gd name="connsiteY418" fmla="*/ 6654540 h 6858000"/>
              <a:gd name="connsiteX419" fmla="*/ 2299106 w 7467600"/>
              <a:gd name="connsiteY419" fmla="*/ 6778931 h 6858000"/>
              <a:gd name="connsiteX420" fmla="*/ 2314430 w 7467600"/>
              <a:gd name="connsiteY420" fmla="*/ 6801144 h 6858000"/>
              <a:gd name="connsiteX421" fmla="*/ 2352406 w 7467600"/>
              <a:gd name="connsiteY421" fmla="*/ 6858000 h 6858000"/>
              <a:gd name="connsiteX422" fmla="*/ 2314492 w 7467600"/>
              <a:gd name="connsiteY422" fmla="*/ 6858000 h 6858000"/>
              <a:gd name="connsiteX423" fmla="*/ 2288095 w 7467600"/>
              <a:gd name="connsiteY423" fmla="*/ 6818030 h 6858000"/>
              <a:gd name="connsiteX424" fmla="*/ 2272768 w 7467600"/>
              <a:gd name="connsiteY424" fmla="*/ 6795822 h 6858000"/>
              <a:gd name="connsiteX425" fmla="*/ 2182715 w 7467600"/>
              <a:gd name="connsiteY425" fmla="*/ 6675071 h 6858000"/>
              <a:gd name="connsiteX426" fmla="*/ 2032061 w 7467600"/>
              <a:gd name="connsiteY426" fmla="*/ 6541380 h 6858000"/>
              <a:gd name="connsiteX427" fmla="*/ 2257220 w 7467600"/>
              <a:gd name="connsiteY427" fmla="*/ 6826257 h 6858000"/>
              <a:gd name="connsiteX428" fmla="*/ 2281324 w 7467600"/>
              <a:gd name="connsiteY428" fmla="*/ 6858000 h 6858000"/>
              <a:gd name="connsiteX429" fmla="*/ 2242860 w 7467600"/>
              <a:gd name="connsiteY429" fmla="*/ 6858000 h 6858000"/>
              <a:gd name="connsiteX430" fmla="*/ 2232818 w 7467600"/>
              <a:gd name="connsiteY430" fmla="*/ 6844926 h 6858000"/>
              <a:gd name="connsiteX431" fmla="*/ 1990172 w 7467600"/>
              <a:gd name="connsiteY431" fmla="*/ 6542121 h 6858000"/>
              <a:gd name="connsiteX432" fmla="*/ 2124090 w 7467600"/>
              <a:gd name="connsiteY432" fmla="*/ 6761017 h 6858000"/>
              <a:gd name="connsiteX433" fmla="*/ 2200380 w 7467600"/>
              <a:gd name="connsiteY433" fmla="*/ 6858000 h 6858000"/>
              <a:gd name="connsiteX434" fmla="*/ 2147507 w 7467600"/>
              <a:gd name="connsiteY434" fmla="*/ 6858000 h 6858000"/>
              <a:gd name="connsiteX435" fmla="*/ 2070668 w 7467600"/>
              <a:gd name="connsiteY435" fmla="*/ 6761520 h 6858000"/>
              <a:gd name="connsiteX436" fmla="*/ 1975142 w 7467600"/>
              <a:gd name="connsiteY436" fmla="*/ 6585570 h 6858000"/>
              <a:gd name="connsiteX437" fmla="*/ 2050035 w 7467600"/>
              <a:gd name="connsiteY437" fmla="*/ 6813345 h 6858000"/>
              <a:gd name="connsiteX438" fmla="*/ 2063025 w 7467600"/>
              <a:gd name="connsiteY438" fmla="*/ 6858000 h 6858000"/>
              <a:gd name="connsiteX439" fmla="*/ 2021675 w 7467600"/>
              <a:gd name="connsiteY439" fmla="*/ 6858000 h 6858000"/>
              <a:gd name="connsiteX440" fmla="*/ 2019308 w 7467600"/>
              <a:gd name="connsiteY440" fmla="*/ 6847118 h 6858000"/>
              <a:gd name="connsiteX441" fmla="*/ 1938835 w 7467600"/>
              <a:gd name="connsiteY441" fmla="*/ 6551160 h 6858000"/>
              <a:gd name="connsiteX442" fmla="*/ 1953230 w 7467600"/>
              <a:gd name="connsiteY442" fmla="*/ 6759699 h 6858000"/>
              <a:gd name="connsiteX443" fmla="*/ 1956763 w 7467600"/>
              <a:gd name="connsiteY443" fmla="*/ 6778191 h 6858000"/>
              <a:gd name="connsiteX444" fmla="*/ 1967925 w 7467600"/>
              <a:gd name="connsiteY444" fmla="*/ 6858000 h 6858000"/>
              <a:gd name="connsiteX445" fmla="*/ 1936622 w 7467600"/>
              <a:gd name="connsiteY445" fmla="*/ 6858000 h 6858000"/>
              <a:gd name="connsiteX446" fmla="*/ 1926261 w 7467600"/>
              <a:gd name="connsiteY446" fmla="*/ 6784064 h 6858000"/>
              <a:gd name="connsiteX447" fmla="*/ 1922724 w 7467600"/>
              <a:gd name="connsiteY447" fmla="*/ 6765577 h 6858000"/>
              <a:gd name="connsiteX448" fmla="*/ 1904650 w 7467600"/>
              <a:gd name="connsiteY448" fmla="*/ 6639616 h 6858000"/>
              <a:gd name="connsiteX449" fmla="*/ 1885273 w 7467600"/>
              <a:gd name="connsiteY449" fmla="*/ 6858000 h 6858000"/>
              <a:gd name="connsiteX450" fmla="*/ 1854363 w 7467600"/>
              <a:gd name="connsiteY450" fmla="*/ 6858000 h 6858000"/>
              <a:gd name="connsiteX451" fmla="*/ 1880391 w 7467600"/>
              <a:gd name="connsiteY451" fmla="*/ 6603796 h 6858000"/>
              <a:gd name="connsiteX452" fmla="*/ 1818273 w 7467600"/>
              <a:gd name="connsiteY452" fmla="*/ 6715729 h 6858000"/>
              <a:gd name="connsiteX453" fmla="*/ 1794691 w 7467600"/>
              <a:gd name="connsiteY453" fmla="*/ 6843239 h 6858000"/>
              <a:gd name="connsiteX454" fmla="*/ 1794914 w 7467600"/>
              <a:gd name="connsiteY454" fmla="*/ 6858000 h 6858000"/>
              <a:gd name="connsiteX455" fmla="*/ 1746128 w 7467600"/>
              <a:gd name="connsiteY455" fmla="*/ 6858000 h 6858000"/>
              <a:gd name="connsiteX456" fmla="*/ 1753934 w 7467600"/>
              <a:gd name="connsiteY456" fmla="*/ 6724796 h 6858000"/>
              <a:gd name="connsiteX457" fmla="*/ 1792053 w 7467600"/>
              <a:gd name="connsiteY457" fmla="*/ 6572396 h 6858000"/>
              <a:gd name="connsiteX458" fmla="*/ 1862248 w 7467600"/>
              <a:gd name="connsiteY458" fmla="*/ 6266397 h 6858000"/>
              <a:gd name="connsiteX459" fmla="*/ 1862250 w 7467600"/>
              <a:gd name="connsiteY459" fmla="*/ 6033531 h 6858000"/>
              <a:gd name="connsiteX460" fmla="*/ 1211999 w 7467600"/>
              <a:gd name="connsiteY460" fmla="*/ 6683610 h 6858000"/>
              <a:gd name="connsiteX461" fmla="*/ 1213266 w 7467600"/>
              <a:gd name="connsiteY461" fmla="*/ 6691947 h 6858000"/>
              <a:gd name="connsiteX462" fmla="*/ 1203370 w 7467600"/>
              <a:gd name="connsiteY462" fmla="*/ 6850676 h 6858000"/>
              <a:gd name="connsiteX463" fmla="*/ 1203671 w 7467600"/>
              <a:gd name="connsiteY463" fmla="*/ 6858000 h 6858000"/>
              <a:gd name="connsiteX464" fmla="*/ 1143180 w 7467600"/>
              <a:gd name="connsiteY464" fmla="*/ 6858000 h 6858000"/>
              <a:gd name="connsiteX465" fmla="*/ 1142176 w 7467600"/>
              <a:gd name="connsiteY465" fmla="*/ 6766045 h 6858000"/>
              <a:gd name="connsiteX466" fmla="*/ 1067484 w 7467600"/>
              <a:gd name="connsiteY466" fmla="*/ 6858000 h 6858000"/>
              <a:gd name="connsiteX467" fmla="*/ 953928 w 7467600"/>
              <a:gd name="connsiteY467" fmla="*/ 6858000 h 6858000"/>
              <a:gd name="connsiteX468" fmla="*/ 959715 w 7467600"/>
              <a:gd name="connsiteY468" fmla="*/ 6850185 h 6858000"/>
              <a:gd name="connsiteX469" fmla="*/ 1483788 w 7467600"/>
              <a:gd name="connsiteY469" fmla="*/ 6259174 h 6858000"/>
              <a:gd name="connsiteX470" fmla="*/ 1100671 w 7467600"/>
              <a:gd name="connsiteY470" fmla="*/ 6252137 h 6858000"/>
              <a:gd name="connsiteX471" fmla="*/ 1090144 w 7467600"/>
              <a:gd name="connsiteY471" fmla="*/ 6256748 h 6858000"/>
              <a:gd name="connsiteX472" fmla="*/ 1095872 w 7467600"/>
              <a:gd name="connsiteY472" fmla="*/ 6271892 h 6858000"/>
              <a:gd name="connsiteX473" fmla="*/ 262785 w 7467600"/>
              <a:gd name="connsiteY473" fmla="*/ 6845450 h 6858000"/>
              <a:gd name="connsiteX474" fmla="*/ 209968 w 7467600"/>
              <a:gd name="connsiteY474" fmla="*/ 6770713 h 6858000"/>
              <a:gd name="connsiteX475" fmla="*/ 873460 w 7467600"/>
              <a:gd name="connsiteY475" fmla="*/ 6253768 h 6858000"/>
              <a:gd name="connsiteX476" fmla="*/ 192686 w 7467600"/>
              <a:gd name="connsiteY476" fmla="*/ 5849257 h 6858000"/>
              <a:gd name="connsiteX477" fmla="*/ 4696 w 7467600"/>
              <a:gd name="connsiteY477" fmla="*/ 5697668 h 6858000"/>
              <a:gd name="connsiteX478" fmla="*/ 0 w 7467600"/>
              <a:gd name="connsiteY478" fmla="*/ 5689984 h 6858000"/>
              <a:gd name="connsiteX479" fmla="*/ 0 w 7467600"/>
              <a:gd name="connsiteY479" fmla="*/ 5513472 h 6858000"/>
              <a:gd name="connsiteX480" fmla="*/ 174101 w 7467600"/>
              <a:gd name="connsiteY480" fmla="*/ 5620277 h 6858000"/>
              <a:gd name="connsiteX481" fmla="*/ 891800 w 7467600"/>
              <a:gd name="connsiteY481" fmla="*/ 6036935 h 6858000"/>
              <a:gd name="connsiteX482" fmla="*/ 1072219 w 7467600"/>
              <a:gd name="connsiteY482" fmla="*/ 6169443 h 6858000"/>
              <a:gd name="connsiteX483" fmla="*/ 1074117 w 7467600"/>
              <a:gd name="connsiteY483" fmla="*/ 6170301 h 6858000"/>
              <a:gd name="connsiteX484" fmla="*/ 1083114 w 7467600"/>
              <a:gd name="connsiteY484" fmla="*/ 6174131 h 6858000"/>
              <a:gd name="connsiteX485" fmla="*/ 1543010 w 7467600"/>
              <a:gd name="connsiteY485" fmla="*/ 6191140 h 6858000"/>
              <a:gd name="connsiteX486" fmla="*/ 1551080 w 7467600"/>
              <a:gd name="connsiteY486" fmla="*/ 6195006 h 6858000"/>
              <a:gd name="connsiteX487" fmla="*/ 2345443 w 7467600"/>
              <a:gd name="connsiteY487" fmla="*/ 5549882 h 6858000"/>
              <a:gd name="connsiteX488" fmla="*/ 1721499 w 7467600"/>
              <a:gd name="connsiteY488" fmla="*/ 5599969 h 6858000"/>
              <a:gd name="connsiteX489" fmla="*/ 767716 w 7467600"/>
              <a:gd name="connsiteY489" fmla="*/ 5472768 h 6858000"/>
              <a:gd name="connsiteX490" fmla="*/ 722147 w 7467600"/>
              <a:gd name="connsiteY490" fmla="*/ 5393091 h 6858000"/>
              <a:gd name="connsiteX491" fmla="*/ 1485552 w 7467600"/>
              <a:gd name="connsiteY491" fmla="*/ 5313202 h 6858000"/>
              <a:gd name="connsiteX492" fmla="*/ 2143004 w 7467600"/>
              <a:gd name="connsiteY492" fmla="*/ 5402420 h 6858000"/>
              <a:gd name="connsiteX493" fmla="*/ 1933391 w 7467600"/>
              <a:gd name="connsiteY493" fmla="*/ 5156971 h 6858000"/>
              <a:gd name="connsiteX494" fmla="*/ 1827118 w 7467600"/>
              <a:gd name="connsiteY494" fmla="*/ 4968410 h 6858000"/>
              <a:gd name="connsiteX495" fmla="*/ 1837349 w 7467600"/>
              <a:gd name="connsiteY495" fmla="*/ 4956357 h 6858000"/>
              <a:gd name="connsiteX496" fmla="*/ 2162835 w 7467600"/>
              <a:gd name="connsiteY496" fmla="*/ 5187853 h 6858000"/>
              <a:gd name="connsiteX497" fmla="*/ 2257167 w 7467600"/>
              <a:gd name="connsiteY497" fmla="*/ 5462123 h 6858000"/>
              <a:gd name="connsiteX498" fmla="*/ 2261598 w 7467600"/>
              <a:gd name="connsiteY498" fmla="*/ 5467998 h 6858000"/>
              <a:gd name="connsiteX499" fmla="*/ 2437177 w 7467600"/>
              <a:gd name="connsiteY499" fmla="*/ 5479608 h 6858000"/>
              <a:gd name="connsiteX500" fmla="*/ 2445247 w 7467600"/>
              <a:gd name="connsiteY500" fmla="*/ 5483476 h 6858000"/>
              <a:gd name="connsiteX501" fmla="*/ 2743626 w 7467600"/>
              <a:gd name="connsiteY501" fmla="*/ 5304819 h 6858000"/>
              <a:gd name="connsiteX502" fmla="*/ 3048102 w 7467600"/>
              <a:gd name="connsiteY502" fmla="*/ 5150595 h 6858000"/>
              <a:gd name="connsiteX503" fmla="*/ 1799414 w 7467600"/>
              <a:gd name="connsiteY503" fmla="*/ 4694732 h 6858000"/>
              <a:gd name="connsiteX504" fmla="*/ 1771735 w 7467600"/>
              <a:gd name="connsiteY504" fmla="*/ 4619929 h 6858000"/>
              <a:gd name="connsiteX505" fmla="*/ 3104273 w 7467600"/>
              <a:gd name="connsiteY505" fmla="*/ 5076159 h 6858000"/>
              <a:gd name="connsiteX506" fmla="*/ 3113245 w 7467600"/>
              <a:gd name="connsiteY506" fmla="*/ 5090705 h 6858000"/>
              <a:gd name="connsiteX507" fmla="*/ 3126294 w 7467600"/>
              <a:gd name="connsiteY507" fmla="*/ 5114400 h 6858000"/>
              <a:gd name="connsiteX508" fmla="*/ 3937433 w 7467600"/>
              <a:gd name="connsiteY508" fmla="*/ 4830473 h 6858000"/>
              <a:gd name="connsiteX509" fmla="*/ 3590475 w 7467600"/>
              <a:gd name="connsiteY509" fmla="*/ 4597974 h 6858000"/>
              <a:gd name="connsiteX510" fmla="*/ 3100264 w 7467600"/>
              <a:gd name="connsiteY510" fmla="*/ 4579845 h 6858000"/>
              <a:gd name="connsiteX511" fmla="*/ 2183576 w 7467600"/>
              <a:gd name="connsiteY511" fmla="*/ 4227150 h 6858000"/>
              <a:gd name="connsiteX512" fmla="*/ 2151029 w 7467600"/>
              <a:gd name="connsiteY512" fmla="*/ 4146947 h 6858000"/>
              <a:gd name="connsiteX513" fmla="*/ 3563434 w 7467600"/>
              <a:gd name="connsiteY513" fmla="*/ 4469115 h 6858000"/>
              <a:gd name="connsiteX514" fmla="*/ 3177952 w 7467600"/>
              <a:gd name="connsiteY514" fmla="*/ 3657386 h 6858000"/>
              <a:gd name="connsiteX515" fmla="*/ 3189263 w 7467600"/>
              <a:gd name="connsiteY515" fmla="*/ 3625726 h 6858000"/>
              <a:gd name="connsiteX516" fmla="*/ 3560912 w 7467600"/>
              <a:gd name="connsiteY516" fmla="*/ 4079863 h 6858000"/>
              <a:gd name="connsiteX517" fmla="*/ 3626636 w 7467600"/>
              <a:gd name="connsiteY517" fmla="*/ 4512230 h 6858000"/>
              <a:gd name="connsiteX518" fmla="*/ 3653088 w 7467600"/>
              <a:gd name="connsiteY518" fmla="*/ 4521417 h 6858000"/>
              <a:gd name="connsiteX519" fmla="*/ 3988128 w 7467600"/>
              <a:gd name="connsiteY519" fmla="*/ 4817267 h 6858000"/>
              <a:gd name="connsiteX520" fmla="*/ 4830582 w 7467600"/>
              <a:gd name="connsiteY520" fmla="*/ 4676000 h 6858000"/>
              <a:gd name="connsiteX521" fmla="*/ 4830100 w 7467600"/>
              <a:gd name="connsiteY521" fmla="*/ 4675554 h 6858000"/>
              <a:gd name="connsiteX522" fmla="*/ 4036318 w 7467600"/>
              <a:gd name="connsiteY522" fmla="*/ 4147013 h 6858000"/>
              <a:gd name="connsiteX523" fmla="*/ 3432098 w 7467600"/>
              <a:gd name="connsiteY523" fmla="*/ 3537312 h 6858000"/>
              <a:gd name="connsiteX524" fmla="*/ 3446761 w 7467600"/>
              <a:gd name="connsiteY524" fmla="*/ 3461278 h 6858000"/>
              <a:gd name="connsiteX525" fmla="*/ 4419733 w 7467600"/>
              <a:gd name="connsiteY525" fmla="*/ 3963555 h 6858000"/>
              <a:gd name="connsiteX526" fmla="*/ 4781371 w 7467600"/>
              <a:gd name="connsiteY526" fmla="*/ 4458604 h 6858000"/>
              <a:gd name="connsiteX527" fmla="*/ 4780440 w 7467600"/>
              <a:gd name="connsiteY527" fmla="*/ 4470290 h 6858000"/>
              <a:gd name="connsiteX528" fmla="*/ 4898954 w 7467600"/>
              <a:gd name="connsiteY528" fmla="*/ 4662092 h 6858000"/>
              <a:gd name="connsiteX529" fmla="*/ 4900699 w 7467600"/>
              <a:gd name="connsiteY529" fmla="*/ 4670867 h 6858000"/>
              <a:gd name="connsiteX530" fmla="*/ 5714511 w 7467600"/>
              <a:gd name="connsiteY530" fmla="*/ 4663483 h 6858000"/>
              <a:gd name="connsiteX531" fmla="*/ 5464793 w 7467600"/>
              <a:gd name="connsiteY531" fmla="*/ 4393556 h 6858000"/>
              <a:gd name="connsiteX532" fmla="*/ 5461897 w 7467600"/>
              <a:gd name="connsiteY532" fmla="*/ 4390879 h 6858000"/>
              <a:gd name="connsiteX533" fmla="*/ 4294126 w 7467600"/>
              <a:gd name="connsiteY533" fmla="*/ 3303048 h 6858000"/>
              <a:gd name="connsiteX534" fmla="*/ 4305321 w 7467600"/>
              <a:gd name="connsiteY534" fmla="*/ 3256953 h 6858000"/>
              <a:gd name="connsiteX535" fmla="*/ 4949299 w 7467600"/>
              <a:gd name="connsiteY535" fmla="*/ 3766336 h 6858000"/>
              <a:gd name="connsiteX536" fmla="*/ 5291452 w 7467600"/>
              <a:gd name="connsiteY536" fmla="*/ 4076801 h 6858000"/>
              <a:gd name="connsiteX537" fmla="*/ 5434998 w 7467600"/>
              <a:gd name="connsiteY537" fmla="*/ 4254100 h 6858000"/>
              <a:gd name="connsiteX538" fmla="*/ 5351015 w 7467600"/>
              <a:gd name="connsiteY538" fmla="*/ 3760989 h 6858000"/>
              <a:gd name="connsiteX539" fmla="*/ 5413780 w 7467600"/>
              <a:gd name="connsiteY539" fmla="*/ 2966265 h 6858000"/>
              <a:gd name="connsiteX540" fmla="*/ 5425627 w 7467600"/>
              <a:gd name="connsiteY540" fmla="*/ 2954192 h 6858000"/>
              <a:gd name="connsiteX541" fmla="*/ 6604735 w 7467600"/>
              <a:gd name="connsiteY541" fmla="*/ 2041381 h 6858000"/>
              <a:gd name="connsiteX542" fmla="*/ 7204487 w 7467600"/>
              <a:gd name="connsiteY542" fmla="*/ 2742112 h 6858000"/>
              <a:gd name="connsiteX543" fmla="*/ 7131592 w 7467600"/>
              <a:gd name="connsiteY543" fmla="*/ 2672096 h 6858000"/>
              <a:gd name="connsiteX544" fmla="*/ 6996344 w 7467600"/>
              <a:gd name="connsiteY544" fmla="*/ 2518310 h 6858000"/>
              <a:gd name="connsiteX545" fmla="*/ 6735495 w 7467600"/>
              <a:gd name="connsiteY545" fmla="*/ 2196890 h 6858000"/>
              <a:gd name="connsiteX546" fmla="*/ 6721901 w 7467600"/>
              <a:gd name="connsiteY546" fmla="*/ 2179274 h 6858000"/>
              <a:gd name="connsiteX547" fmla="*/ 6604735 w 7467600"/>
              <a:gd name="connsiteY547" fmla="*/ 2041381 h 6858000"/>
              <a:gd name="connsiteX548" fmla="*/ 6591670 w 7467600"/>
              <a:gd name="connsiteY548" fmla="*/ 1988277 h 6858000"/>
              <a:gd name="connsiteX549" fmla="*/ 6747349 w 7467600"/>
              <a:gd name="connsiteY549" fmla="*/ 2160069 h 6858000"/>
              <a:gd name="connsiteX550" fmla="*/ 6760943 w 7467600"/>
              <a:gd name="connsiteY550" fmla="*/ 2177686 h 6858000"/>
              <a:gd name="connsiteX551" fmla="*/ 7021065 w 7467600"/>
              <a:gd name="connsiteY551" fmla="*/ 2498102 h 6858000"/>
              <a:gd name="connsiteX552" fmla="*/ 7155223 w 7467600"/>
              <a:gd name="connsiteY552" fmla="*/ 2650386 h 6858000"/>
              <a:gd name="connsiteX553" fmla="*/ 7203167 w 7467600"/>
              <a:gd name="connsiteY553" fmla="*/ 2697288 h 6858000"/>
              <a:gd name="connsiteX554" fmla="*/ 6937703 w 7467600"/>
              <a:gd name="connsiteY554" fmla="*/ 2321981 h 6858000"/>
              <a:gd name="connsiteX555" fmla="*/ 6591670 w 7467600"/>
              <a:gd name="connsiteY555" fmla="*/ 1988277 h 6858000"/>
              <a:gd name="connsiteX556" fmla="*/ 5798671 w 7467600"/>
              <a:gd name="connsiteY556" fmla="*/ 1981601 h 6858000"/>
              <a:gd name="connsiteX557" fmla="*/ 5754709 w 7467600"/>
              <a:gd name="connsiteY557" fmla="*/ 2071454 h 6858000"/>
              <a:gd name="connsiteX558" fmla="*/ 5763044 w 7467600"/>
              <a:gd name="connsiteY558" fmla="*/ 2842206 h 6858000"/>
              <a:gd name="connsiteX559" fmla="*/ 5764974 w 7467600"/>
              <a:gd name="connsiteY559" fmla="*/ 2799609 h 6858000"/>
              <a:gd name="connsiteX560" fmla="*/ 5767665 w 7467600"/>
              <a:gd name="connsiteY560" fmla="*/ 2666409 h 6858000"/>
              <a:gd name="connsiteX561" fmla="*/ 5763055 w 7467600"/>
              <a:gd name="connsiteY561" fmla="*/ 2579705 h 6858000"/>
              <a:gd name="connsiteX562" fmla="*/ 5758079 w 7467600"/>
              <a:gd name="connsiteY562" fmla="*/ 2492508 h 6858000"/>
              <a:gd name="connsiteX563" fmla="*/ 5779325 w 7467600"/>
              <a:gd name="connsiteY563" fmla="*/ 2197069 h 6858000"/>
              <a:gd name="connsiteX564" fmla="*/ 5798671 w 7467600"/>
              <a:gd name="connsiteY564" fmla="*/ 1981601 h 6858000"/>
              <a:gd name="connsiteX565" fmla="*/ 5829202 w 7467600"/>
              <a:gd name="connsiteY565" fmla="*/ 1971679 h 6858000"/>
              <a:gd name="connsiteX566" fmla="*/ 5809558 w 7467600"/>
              <a:gd name="connsiteY566" fmla="*/ 2198043 h 6858000"/>
              <a:gd name="connsiteX567" fmla="*/ 5788653 w 7467600"/>
              <a:gd name="connsiteY567" fmla="*/ 2489430 h 6858000"/>
              <a:gd name="connsiteX568" fmla="*/ 5793439 w 7467600"/>
              <a:gd name="connsiteY568" fmla="*/ 2575235 h 6858000"/>
              <a:gd name="connsiteX569" fmla="*/ 5796837 w 7467600"/>
              <a:gd name="connsiteY569" fmla="*/ 2637633 h 6858000"/>
              <a:gd name="connsiteX570" fmla="*/ 5818614 w 7467600"/>
              <a:gd name="connsiteY570" fmla="*/ 2473055 h 6858000"/>
              <a:gd name="connsiteX571" fmla="*/ 5829202 w 7467600"/>
              <a:gd name="connsiteY571" fmla="*/ 1971679 h 6858000"/>
              <a:gd name="connsiteX572" fmla="*/ 5911389 w 7467600"/>
              <a:gd name="connsiteY572" fmla="*/ 1898371 h 6858000"/>
              <a:gd name="connsiteX573" fmla="*/ 6237627 w 7467600"/>
              <a:gd name="connsiteY573" fmla="*/ 2231921 h 6858000"/>
              <a:gd name="connsiteX574" fmla="*/ 5911389 w 7467600"/>
              <a:gd name="connsiteY574" fmla="*/ 1898371 h 6858000"/>
              <a:gd name="connsiteX575" fmla="*/ 6944437 w 7467600"/>
              <a:gd name="connsiteY575" fmla="*/ 1575402 h 6858000"/>
              <a:gd name="connsiteX576" fmla="*/ 6304730 w 7467600"/>
              <a:gd name="connsiteY576" fmla="*/ 1766654 h 6858000"/>
              <a:gd name="connsiteX577" fmla="*/ 6944437 w 7467600"/>
              <a:gd name="connsiteY577" fmla="*/ 1575402 h 6858000"/>
              <a:gd name="connsiteX578" fmla="*/ 7019523 w 7467600"/>
              <a:gd name="connsiteY578" fmla="*/ 1519450 h 6858000"/>
              <a:gd name="connsiteX579" fmla="*/ 6298091 w 7467600"/>
              <a:gd name="connsiteY579" fmla="*/ 1737122 h 6858000"/>
              <a:gd name="connsiteX580" fmla="*/ 7019523 w 7467600"/>
              <a:gd name="connsiteY580" fmla="*/ 1519450 h 6858000"/>
              <a:gd name="connsiteX581" fmla="*/ 2399523 w 7467600"/>
              <a:gd name="connsiteY581" fmla="*/ 1428234 h 6858000"/>
              <a:gd name="connsiteX582" fmla="*/ 2224982 w 7467600"/>
              <a:gd name="connsiteY582" fmla="*/ 1826201 h 6858000"/>
              <a:gd name="connsiteX583" fmla="*/ 2096099 w 7467600"/>
              <a:gd name="connsiteY583" fmla="*/ 2345900 h 6858000"/>
              <a:gd name="connsiteX584" fmla="*/ 2283317 w 7467600"/>
              <a:gd name="connsiteY584" fmla="*/ 1796925 h 6858000"/>
              <a:gd name="connsiteX585" fmla="*/ 2399523 w 7467600"/>
              <a:gd name="connsiteY585" fmla="*/ 1428234 h 6858000"/>
              <a:gd name="connsiteX586" fmla="*/ 2448558 w 7467600"/>
              <a:gd name="connsiteY586" fmla="*/ 1373435 h 6858000"/>
              <a:gd name="connsiteX587" fmla="*/ 2312521 w 7467600"/>
              <a:gd name="connsiteY587" fmla="*/ 1806140 h 6858000"/>
              <a:gd name="connsiteX588" fmla="*/ 2127533 w 7467600"/>
              <a:gd name="connsiteY588" fmla="*/ 2348380 h 6858000"/>
              <a:gd name="connsiteX589" fmla="*/ 2358080 w 7467600"/>
              <a:gd name="connsiteY589" fmla="*/ 1866134 h 6858000"/>
              <a:gd name="connsiteX590" fmla="*/ 2407436 w 7467600"/>
              <a:gd name="connsiteY590" fmla="*/ 1651070 h 6858000"/>
              <a:gd name="connsiteX591" fmla="*/ 2448558 w 7467600"/>
              <a:gd name="connsiteY591" fmla="*/ 1373435 h 6858000"/>
              <a:gd name="connsiteX592" fmla="*/ 278707 w 7467600"/>
              <a:gd name="connsiteY592" fmla="*/ 1352270 h 6858000"/>
              <a:gd name="connsiteX593" fmla="*/ 321570 w 7467600"/>
              <a:gd name="connsiteY593" fmla="*/ 1861610 h 6858000"/>
              <a:gd name="connsiteX594" fmla="*/ 294281 w 7467600"/>
              <a:gd name="connsiteY594" fmla="*/ 1440658 h 6858000"/>
              <a:gd name="connsiteX595" fmla="*/ 278707 w 7467600"/>
              <a:gd name="connsiteY595" fmla="*/ 1352270 h 6858000"/>
              <a:gd name="connsiteX596" fmla="*/ 1423821 w 7467600"/>
              <a:gd name="connsiteY596" fmla="*/ 1351958 h 6858000"/>
              <a:gd name="connsiteX597" fmla="*/ 1638521 w 7467600"/>
              <a:gd name="connsiteY597" fmla="*/ 1908470 h 6858000"/>
              <a:gd name="connsiteX598" fmla="*/ 1754199 w 7467600"/>
              <a:gd name="connsiteY598" fmla="*/ 2149284 h 6858000"/>
              <a:gd name="connsiteX599" fmla="*/ 1908359 w 7467600"/>
              <a:gd name="connsiteY599" fmla="*/ 2364988 h 6858000"/>
              <a:gd name="connsiteX600" fmla="*/ 1647661 w 7467600"/>
              <a:gd name="connsiteY600" fmla="*/ 1825945 h 6858000"/>
              <a:gd name="connsiteX601" fmla="*/ 1423821 w 7467600"/>
              <a:gd name="connsiteY601" fmla="*/ 1351958 h 6858000"/>
              <a:gd name="connsiteX602" fmla="*/ 1431890 w 7467600"/>
              <a:gd name="connsiteY602" fmla="*/ 1306475 h 6858000"/>
              <a:gd name="connsiteX603" fmla="*/ 1507597 w 7467600"/>
              <a:gd name="connsiteY603" fmla="*/ 1446132 h 6858000"/>
              <a:gd name="connsiteX604" fmla="*/ 1674586 w 7467600"/>
              <a:gd name="connsiteY604" fmla="*/ 1813832 h 6858000"/>
              <a:gd name="connsiteX605" fmla="*/ 1815950 w 7467600"/>
              <a:gd name="connsiteY605" fmla="*/ 2128564 h 6858000"/>
              <a:gd name="connsiteX606" fmla="*/ 1984242 w 7467600"/>
              <a:gd name="connsiteY606" fmla="*/ 2430829 h 6858000"/>
              <a:gd name="connsiteX607" fmla="*/ 2014023 w 7467600"/>
              <a:gd name="connsiteY607" fmla="*/ 2450995 h 6858000"/>
              <a:gd name="connsiteX608" fmla="*/ 1747337 w 7467600"/>
              <a:gd name="connsiteY608" fmla="*/ 1855264 h 6858000"/>
              <a:gd name="connsiteX609" fmla="*/ 1533749 w 7467600"/>
              <a:gd name="connsiteY609" fmla="*/ 1478656 h 6858000"/>
              <a:gd name="connsiteX610" fmla="*/ 1431890 w 7467600"/>
              <a:gd name="connsiteY610" fmla="*/ 1306475 h 6858000"/>
              <a:gd name="connsiteX611" fmla="*/ 5052692 w 7467600"/>
              <a:gd name="connsiteY611" fmla="*/ 1292994 h 6858000"/>
              <a:gd name="connsiteX612" fmla="*/ 5200661 w 7467600"/>
              <a:gd name="connsiteY612" fmla="*/ 1635186 h 6858000"/>
              <a:gd name="connsiteX613" fmla="*/ 5297138 w 7467600"/>
              <a:gd name="connsiteY613" fmla="*/ 1906351 h 6858000"/>
              <a:gd name="connsiteX614" fmla="*/ 5052692 w 7467600"/>
              <a:gd name="connsiteY614" fmla="*/ 1292994 h 6858000"/>
              <a:gd name="connsiteX615" fmla="*/ 5009948 w 7467600"/>
              <a:gd name="connsiteY615" fmla="*/ 1273619 h 6858000"/>
              <a:gd name="connsiteX616" fmla="*/ 5121777 w 7467600"/>
              <a:gd name="connsiteY616" fmla="*/ 1654213 h 6858000"/>
              <a:gd name="connsiteX617" fmla="*/ 5293545 w 7467600"/>
              <a:gd name="connsiteY617" fmla="*/ 2072247 h 6858000"/>
              <a:gd name="connsiteX618" fmla="*/ 5294042 w 7467600"/>
              <a:gd name="connsiteY618" fmla="*/ 2065019 h 6858000"/>
              <a:gd name="connsiteX619" fmla="*/ 5171936 w 7467600"/>
              <a:gd name="connsiteY619" fmla="*/ 1647613 h 6858000"/>
              <a:gd name="connsiteX620" fmla="*/ 5009948 w 7467600"/>
              <a:gd name="connsiteY620" fmla="*/ 1273619 h 6858000"/>
              <a:gd name="connsiteX621" fmla="*/ 655236 w 7467600"/>
              <a:gd name="connsiteY621" fmla="*/ 1268632 h 6858000"/>
              <a:gd name="connsiteX622" fmla="*/ 839521 w 7467600"/>
              <a:gd name="connsiteY622" fmla="*/ 1685315 h 6858000"/>
              <a:gd name="connsiteX623" fmla="*/ 1109416 w 7467600"/>
              <a:gd name="connsiteY623" fmla="*/ 2061663 h 6858000"/>
              <a:gd name="connsiteX624" fmla="*/ 1298300 w 7467600"/>
              <a:gd name="connsiteY624" fmla="*/ 2247742 h 6858000"/>
              <a:gd name="connsiteX625" fmla="*/ 1125871 w 7467600"/>
              <a:gd name="connsiteY625" fmla="*/ 1989513 h 6858000"/>
              <a:gd name="connsiteX626" fmla="*/ 981574 w 7467600"/>
              <a:gd name="connsiteY626" fmla="*/ 1783157 h 6858000"/>
              <a:gd name="connsiteX627" fmla="*/ 922198 w 7467600"/>
              <a:gd name="connsiteY627" fmla="*/ 1677437 h 6858000"/>
              <a:gd name="connsiteX628" fmla="*/ 869293 w 7467600"/>
              <a:gd name="connsiteY628" fmla="*/ 1583214 h 6858000"/>
              <a:gd name="connsiteX629" fmla="*/ 751431 w 7467600"/>
              <a:gd name="connsiteY629" fmla="*/ 1405731 h 6858000"/>
              <a:gd name="connsiteX630" fmla="*/ 655236 w 7467600"/>
              <a:gd name="connsiteY630" fmla="*/ 1268632 h 6858000"/>
              <a:gd name="connsiteX631" fmla="*/ 6516292 w 7467600"/>
              <a:gd name="connsiteY631" fmla="*/ 1263064 h 6858000"/>
              <a:gd name="connsiteX632" fmla="*/ 5736320 w 7467600"/>
              <a:gd name="connsiteY632" fmla="*/ 1501803 h 6858000"/>
              <a:gd name="connsiteX633" fmla="*/ 6516292 w 7467600"/>
              <a:gd name="connsiteY633" fmla="*/ 1263064 h 6858000"/>
              <a:gd name="connsiteX634" fmla="*/ 291466 w 7467600"/>
              <a:gd name="connsiteY634" fmla="*/ 1250369 h 6858000"/>
              <a:gd name="connsiteX635" fmla="*/ 323180 w 7467600"/>
              <a:gd name="connsiteY635" fmla="*/ 1435283 h 6858000"/>
              <a:gd name="connsiteX636" fmla="*/ 349381 w 7467600"/>
              <a:gd name="connsiteY636" fmla="*/ 1875041 h 6858000"/>
              <a:gd name="connsiteX637" fmla="*/ 374363 w 7467600"/>
              <a:gd name="connsiteY637" fmla="*/ 1506494 h 6858000"/>
              <a:gd name="connsiteX638" fmla="*/ 302168 w 7467600"/>
              <a:gd name="connsiteY638" fmla="*/ 1274495 h 6858000"/>
              <a:gd name="connsiteX639" fmla="*/ 291466 w 7467600"/>
              <a:gd name="connsiteY639" fmla="*/ 1250369 h 6858000"/>
              <a:gd name="connsiteX640" fmla="*/ 678222 w 7467600"/>
              <a:gd name="connsiteY640" fmla="*/ 1248670 h 6858000"/>
              <a:gd name="connsiteX641" fmla="*/ 775536 w 7467600"/>
              <a:gd name="connsiteY641" fmla="*/ 1388015 h 6858000"/>
              <a:gd name="connsiteX642" fmla="*/ 894529 w 7467600"/>
              <a:gd name="connsiteY642" fmla="*/ 1567739 h 6858000"/>
              <a:gd name="connsiteX643" fmla="*/ 948000 w 7467600"/>
              <a:gd name="connsiteY643" fmla="*/ 1663088 h 6858000"/>
              <a:gd name="connsiteX644" fmla="*/ 1006812 w 7467600"/>
              <a:gd name="connsiteY644" fmla="*/ 1767683 h 6858000"/>
              <a:gd name="connsiteX645" fmla="*/ 1149133 w 7467600"/>
              <a:gd name="connsiteY645" fmla="*/ 1971513 h 6858000"/>
              <a:gd name="connsiteX646" fmla="*/ 1333952 w 7467600"/>
              <a:gd name="connsiteY646" fmla="*/ 2251620 h 6858000"/>
              <a:gd name="connsiteX647" fmla="*/ 1337329 w 7467600"/>
              <a:gd name="connsiteY647" fmla="*/ 2258350 h 6858000"/>
              <a:gd name="connsiteX648" fmla="*/ 1014726 w 7467600"/>
              <a:gd name="connsiteY648" fmla="*/ 1615556 h 6858000"/>
              <a:gd name="connsiteX649" fmla="*/ 678222 w 7467600"/>
              <a:gd name="connsiteY649" fmla="*/ 1248670 h 6858000"/>
              <a:gd name="connsiteX650" fmla="*/ 6691602 w 7467600"/>
              <a:gd name="connsiteY650" fmla="*/ 1140573 h 6858000"/>
              <a:gd name="connsiteX651" fmla="*/ 6571100 w 7467600"/>
              <a:gd name="connsiteY651" fmla="*/ 1183662 h 6858000"/>
              <a:gd name="connsiteX652" fmla="*/ 6241687 w 7467600"/>
              <a:gd name="connsiteY652" fmla="*/ 1257600 h 6858000"/>
              <a:gd name="connsiteX653" fmla="*/ 5693009 w 7467600"/>
              <a:gd name="connsiteY653" fmla="*/ 1478256 h 6858000"/>
              <a:gd name="connsiteX654" fmla="*/ 6548420 w 7467600"/>
              <a:gd name="connsiteY654" fmla="*/ 1214599 h 6858000"/>
              <a:gd name="connsiteX655" fmla="*/ 6605473 w 7467600"/>
              <a:gd name="connsiteY655" fmla="*/ 1184686 h 6858000"/>
              <a:gd name="connsiteX656" fmla="*/ 6691602 w 7467600"/>
              <a:gd name="connsiteY656" fmla="*/ 1140573 h 6858000"/>
              <a:gd name="connsiteX657" fmla="*/ 4002475 w 7467600"/>
              <a:gd name="connsiteY657" fmla="*/ 1037802 h 6858000"/>
              <a:gd name="connsiteX658" fmla="*/ 4000324 w 7467600"/>
              <a:gd name="connsiteY658" fmla="*/ 1039362 h 6858000"/>
              <a:gd name="connsiteX659" fmla="*/ 4002862 w 7467600"/>
              <a:gd name="connsiteY659" fmla="*/ 1042866 h 6858000"/>
              <a:gd name="connsiteX660" fmla="*/ 4002475 w 7467600"/>
              <a:gd name="connsiteY660" fmla="*/ 1037802 h 6858000"/>
              <a:gd name="connsiteX661" fmla="*/ 506322 w 7467600"/>
              <a:gd name="connsiteY661" fmla="*/ 1020997 h 6858000"/>
              <a:gd name="connsiteX662" fmla="*/ 533068 w 7467600"/>
              <a:gd name="connsiteY662" fmla="*/ 1029409 h 6858000"/>
              <a:gd name="connsiteX663" fmla="*/ 1232525 w 7467600"/>
              <a:gd name="connsiteY663" fmla="*/ 1804675 h 6858000"/>
              <a:gd name="connsiteX664" fmla="*/ 1388858 w 7467600"/>
              <a:gd name="connsiteY664" fmla="*/ 2368011 h 6858000"/>
              <a:gd name="connsiteX665" fmla="*/ 1384098 w 7467600"/>
              <a:gd name="connsiteY665" fmla="*/ 2378125 h 6858000"/>
              <a:gd name="connsiteX666" fmla="*/ 1425393 w 7467600"/>
              <a:gd name="connsiteY666" fmla="*/ 2589124 h 6858000"/>
              <a:gd name="connsiteX667" fmla="*/ 1424001 w 7467600"/>
              <a:gd name="connsiteY667" fmla="*/ 2597541 h 6858000"/>
              <a:gd name="connsiteX668" fmla="*/ 2152729 w 7467600"/>
              <a:gd name="connsiteY668" fmla="*/ 2864487 h 6858000"/>
              <a:gd name="connsiteX669" fmla="*/ 2020609 w 7467600"/>
              <a:gd name="connsiteY669" fmla="*/ 2539671 h 6858000"/>
              <a:gd name="connsiteX670" fmla="*/ 2018920 w 7467600"/>
              <a:gd name="connsiteY670" fmla="*/ 2536309 h 6858000"/>
              <a:gd name="connsiteX671" fmla="*/ 1342441 w 7467600"/>
              <a:gd name="connsiteY671" fmla="*/ 1173017 h 6858000"/>
              <a:gd name="connsiteX672" fmla="*/ 1367925 w 7467600"/>
              <a:gd name="connsiteY672" fmla="*/ 1135648 h 6858000"/>
              <a:gd name="connsiteX673" fmla="*/ 1771401 w 7467600"/>
              <a:gd name="connsiteY673" fmla="*/ 1806673 h 6858000"/>
              <a:gd name="connsiteX674" fmla="*/ 1972385 w 7467600"/>
              <a:gd name="connsiteY674" fmla="*/ 2198735 h 6858000"/>
              <a:gd name="connsiteX675" fmla="*/ 2040892 w 7467600"/>
              <a:gd name="connsiteY675" fmla="*/ 2405205 h 6858000"/>
              <a:gd name="connsiteX676" fmla="*/ 2131689 w 7467600"/>
              <a:gd name="connsiteY676" fmla="*/ 1936926 h 6858000"/>
              <a:gd name="connsiteX677" fmla="*/ 2454820 w 7467600"/>
              <a:gd name="connsiteY677" fmla="*/ 1248808 h 6858000"/>
              <a:gd name="connsiteX678" fmla="*/ 2492512 w 7467600"/>
              <a:gd name="connsiteY678" fmla="*/ 1302920 h 6858000"/>
              <a:gd name="connsiteX679" fmla="*/ 2081216 w 7467600"/>
              <a:gd name="connsiteY679" fmla="*/ 2527513 h 6858000"/>
              <a:gd name="connsiteX680" fmla="*/ 2081211 w 7467600"/>
              <a:gd name="connsiteY680" fmla="*/ 2528916 h 6858000"/>
              <a:gd name="connsiteX681" fmla="*/ 2199067 w 7467600"/>
              <a:gd name="connsiteY681" fmla="*/ 2884061 h 6858000"/>
              <a:gd name="connsiteX682" fmla="*/ 3192586 w 7467600"/>
              <a:gd name="connsiteY682" fmla="*/ 3411496 h 6858000"/>
              <a:gd name="connsiteX683" fmla="*/ 3182620 w 7467600"/>
              <a:gd name="connsiteY683" fmla="*/ 3483279 h 6858000"/>
              <a:gd name="connsiteX684" fmla="*/ 2435119 w 7467600"/>
              <a:gd name="connsiteY684" fmla="*/ 3080173 h 6858000"/>
              <a:gd name="connsiteX685" fmla="*/ 2410152 w 7467600"/>
              <a:gd name="connsiteY685" fmla="*/ 3063751 h 6858000"/>
              <a:gd name="connsiteX686" fmla="*/ 2408099 w 7467600"/>
              <a:gd name="connsiteY686" fmla="*/ 3064403 h 6858000"/>
              <a:gd name="connsiteX687" fmla="*/ 2407218 w 7467600"/>
              <a:gd name="connsiteY687" fmla="*/ 3070324 h 6858000"/>
              <a:gd name="connsiteX688" fmla="*/ 2380138 w 7467600"/>
              <a:gd name="connsiteY688" fmla="*/ 3099341 h 6858000"/>
              <a:gd name="connsiteX689" fmla="*/ 1765923 w 7467600"/>
              <a:gd name="connsiteY689" fmla="*/ 3581043 h 6858000"/>
              <a:gd name="connsiteX690" fmla="*/ 1702258 w 7467600"/>
              <a:gd name="connsiteY690" fmla="*/ 3612286 h 6858000"/>
              <a:gd name="connsiteX691" fmla="*/ 1538370 w 7467600"/>
              <a:gd name="connsiteY691" fmla="*/ 3811804 h 6858000"/>
              <a:gd name="connsiteX692" fmla="*/ 542867 w 7467600"/>
              <a:gd name="connsiteY692" fmla="*/ 4944092 h 6858000"/>
              <a:gd name="connsiteX693" fmla="*/ 515800 w 7467600"/>
              <a:gd name="connsiteY693" fmla="*/ 4862180 h 6858000"/>
              <a:gd name="connsiteX694" fmla="*/ 909145 w 7467600"/>
              <a:gd name="connsiteY694" fmla="*/ 4199225 h 6858000"/>
              <a:gd name="connsiteX695" fmla="*/ 1214067 w 7467600"/>
              <a:gd name="connsiteY695" fmla="*/ 3908561 h 6858000"/>
              <a:gd name="connsiteX696" fmla="*/ 640967 w 7467600"/>
              <a:gd name="connsiteY696" fmla="*/ 4105601 h 6858000"/>
              <a:gd name="connsiteX697" fmla="*/ 112563 w 7467600"/>
              <a:gd name="connsiteY697" fmla="*/ 4396952 h 6858000"/>
              <a:gd name="connsiteX698" fmla="*/ 0 w 7467600"/>
              <a:gd name="connsiteY698" fmla="*/ 4466006 h 6858000"/>
              <a:gd name="connsiteX699" fmla="*/ 0 w 7467600"/>
              <a:gd name="connsiteY699" fmla="*/ 4233763 h 6858000"/>
              <a:gd name="connsiteX700" fmla="*/ 36881 w 7467600"/>
              <a:gd name="connsiteY700" fmla="*/ 4200118 h 6858000"/>
              <a:gd name="connsiteX701" fmla="*/ 910534 w 7467600"/>
              <a:gd name="connsiteY701" fmla="*/ 3629753 h 6858000"/>
              <a:gd name="connsiteX702" fmla="*/ 1578717 w 7467600"/>
              <a:gd name="connsiteY702" fmla="*/ 3575982 h 6858000"/>
              <a:gd name="connsiteX703" fmla="*/ 2338780 w 7467600"/>
              <a:gd name="connsiteY703" fmla="*/ 3033725 h 6858000"/>
              <a:gd name="connsiteX704" fmla="*/ 1807991 w 7467600"/>
              <a:gd name="connsiteY704" fmla="*/ 2807184 h 6858000"/>
              <a:gd name="connsiteX705" fmla="*/ 1416358 w 7467600"/>
              <a:gd name="connsiteY705" fmla="*/ 3112571 h 6858000"/>
              <a:gd name="connsiteX706" fmla="*/ 939066 w 7467600"/>
              <a:gd name="connsiteY706" fmla="*/ 3378798 h 6858000"/>
              <a:gd name="connsiteX707" fmla="*/ 115099 w 7467600"/>
              <a:gd name="connsiteY707" fmla="*/ 3607650 h 6858000"/>
              <a:gd name="connsiteX708" fmla="*/ 97284 w 7467600"/>
              <a:gd name="connsiteY708" fmla="*/ 3520393 h 6858000"/>
              <a:gd name="connsiteX709" fmla="*/ 922050 w 7467600"/>
              <a:gd name="connsiteY709" fmla="*/ 3074867 h 6858000"/>
              <a:gd name="connsiteX710" fmla="*/ 1405265 w 7467600"/>
              <a:gd name="connsiteY710" fmla="*/ 3016319 h 6858000"/>
              <a:gd name="connsiteX711" fmla="*/ 1407512 w 7467600"/>
              <a:gd name="connsiteY711" fmla="*/ 3018001 h 6858000"/>
              <a:gd name="connsiteX712" fmla="*/ 1726266 w 7467600"/>
              <a:gd name="connsiteY712" fmla="*/ 2777274 h 6858000"/>
              <a:gd name="connsiteX713" fmla="*/ 625390 w 7467600"/>
              <a:gd name="connsiteY713" fmla="*/ 2514541 h 6858000"/>
              <a:gd name="connsiteX714" fmla="*/ 619799 w 7467600"/>
              <a:gd name="connsiteY714" fmla="*/ 2527180 h 6858000"/>
              <a:gd name="connsiteX715" fmla="*/ 310030 w 7467600"/>
              <a:gd name="connsiteY715" fmla="*/ 2771818 h 6858000"/>
              <a:gd name="connsiteX716" fmla="*/ 173877 w 7467600"/>
              <a:gd name="connsiteY716" fmla="*/ 2937056 h 6858000"/>
              <a:gd name="connsiteX717" fmla="*/ 77889 w 7467600"/>
              <a:gd name="connsiteY717" fmla="*/ 3138440 h 6858000"/>
              <a:gd name="connsiteX718" fmla="*/ 0 w 7467600"/>
              <a:gd name="connsiteY718" fmla="*/ 3271395 h 6858000"/>
              <a:gd name="connsiteX719" fmla="*/ 0 w 7467600"/>
              <a:gd name="connsiteY719" fmla="*/ 3153002 h 6858000"/>
              <a:gd name="connsiteX720" fmla="*/ 2386 w 7467600"/>
              <a:gd name="connsiteY720" fmla="*/ 3149203 h 6858000"/>
              <a:gd name="connsiteX721" fmla="*/ 89753 w 7467600"/>
              <a:gd name="connsiteY721" fmla="*/ 2987702 h 6858000"/>
              <a:gd name="connsiteX722" fmla="*/ 76869 w 7467600"/>
              <a:gd name="connsiteY722" fmla="*/ 3005404 h 6858000"/>
              <a:gd name="connsiteX723" fmla="*/ 32049 w 7467600"/>
              <a:gd name="connsiteY723" fmla="*/ 3065814 h 6858000"/>
              <a:gd name="connsiteX724" fmla="*/ 0 w 7467600"/>
              <a:gd name="connsiteY724" fmla="*/ 3108744 h 6858000"/>
              <a:gd name="connsiteX725" fmla="*/ 0 w 7467600"/>
              <a:gd name="connsiteY725" fmla="*/ 3058059 h 6858000"/>
              <a:gd name="connsiteX726" fmla="*/ 7610 w 7467600"/>
              <a:gd name="connsiteY726" fmla="*/ 3047889 h 6858000"/>
              <a:gd name="connsiteX727" fmla="*/ 52419 w 7467600"/>
              <a:gd name="connsiteY727" fmla="*/ 2987479 h 6858000"/>
              <a:gd name="connsiteX728" fmla="*/ 59142 w 7467600"/>
              <a:gd name="connsiteY728" fmla="*/ 2978488 h 6858000"/>
              <a:gd name="connsiteX729" fmla="*/ 0 w 7467600"/>
              <a:gd name="connsiteY729" fmla="*/ 3015334 h 6858000"/>
              <a:gd name="connsiteX730" fmla="*/ 0 w 7467600"/>
              <a:gd name="connsiteY730" fmla="*/ 2914286 h 6858000"/>
              <a:gd name="connsiteX731" fmla="*/ 36383 w 7467600"/>
              <a:gd name="connsiteY731" fmla="*/ 2901128 h 6858000"/>
              <a:gd name="connsiteX732" fmla="*/ 156329 w 7467600"/>
              <a:gd name="connsiteY732" fmla="*/ 2840533 h 6858000"/>
              <a:gd name="connsiteX733" fmla="*/ 358355 w 7467600"/>
              <a:gd name="connsiteY733" fmla="*/ 2620471 h 6858000"/>
              <a:gd name="connsiteX734" fmla="*/ 510577 w 7467600"/>
              <a:gd name="connsiteY734" fmla="*/ 2501244 h 6858000"/>
              <a:gd name="connsiteX735" fmla="*/ 211967 w 7467600"/>
              <a:gd name="connsiteY735" fmla="*/ 2479171 h 6858000"/>
              <a:gd name="connsiteX736" fmla="*/ 0 w 7467600"/>
              <a:gd name="connsiteY736" fmla="*/ 2476398 h 6858000"/>
              <a:gd name="connsiteX737" fmla="*/ 0 w 7467600"/>
              <a:gd name="connsiteY737" fmla="*/ 2389189 h 6858000"/>
              <a:gd name="connsiteX738" fmla="*/ 103062 w 7467600"/>
              <a:gd name="connsiteY738" fmla="*/ 2389518 h 6858000"/>
              <a:gd name="connsiteX739" fmla="*/ 510734 w 7467600"/>
              <a:gd name="connsiteY739" fmla="*/ 2416201 h 6858000"/>
              <a:gd name="connsiteX740" fmla="*/ 279257 w 7467600"/>
              <a:gd name="connsiteY740" fmla="*/ 2092102 h 6858000"/>
              <a:gd name="connsiteX741" fmla="*/ 65265 w 7467600"/>
              <a:gd name="connsiteY741" fmla="*/ 2006049 h 6858000"/>
              <a:gd name="connsiteX742" fmla="*/ 0 w 7467600"/>
              <a:gd name="connsiteY742" fmla="*/ 1982532 h 6858000"/>
              <a:gd name="connsiteX743" fmla="*/ 0 w 7467600"/>
              <a:gd name="connsiteY743" fmla="*/ 1912789 h 6858000"/>
              <a:gd name="connsiteX744" fmla="*/ 97460 w 7467600"/>
              <a:gd name="connsiteY744" fmla="*/ 1953725 h 6858000"/>
              <a:gd name="connsiteX745" fmla="*/ 221272 w 7467600"/>
              <a:gd name="connsiteY745" fmla="*/ 1980766 h 6858000"/>
              <a:gd name="connsiteX746" fmla="*/ 116765 w 7467600"/>
              <a:gd name="connsiteY746" fmla="*/ 1911033 h 6858000"/>
              <a:gd name="connsiteX747" fmla="*/ 16405 w 7467600"/>
              <a:gd name="connsiteY747" fmla="*/ 1803412 h 6858000"/>
              <a:gd name="connsiteX748" fmla="*/ 0 w 7467600"/>
              <a:gd name="connsiteY748" fmla="*/ 1784777 h 6858000"/>
              <a:gd name="connsiteX749" fmla="*/ 0 w 7467600"/>
              <a:gd name="connsiteY749" fmla="*/ 1740082 h 6858000"/>
              <a:gd name="connsiteX750" fmla="*/ 39394 w 7467600"/>
              <a:gd name="connsiteY750" fmla="*/ 1784856 h 6858000"/>
              <a:gd name="connsiteX751" fmla="*/ 135813 w 7467600"/>
              <a:gd name="connsiteY751" fmla="*/ 1888838 h 6858000"/>
              <a:gd name="connsiteX752" fmla="*/ 242575 w 7467600"/>
              <a:gd name="connsiteY752" fmla="*/ 1958841 h 6858000"/>
              <a:gd name="connsiteX753" fmla="*/ 82197 w 7467600"/>
              <a:gd name="connsiteY753" fmla="*/ 1754826 h 6858000"/>
              <a:gd name="connsiteX754" fmla="*/ 0 w 7467600"/>
              <a:gd name="connsiteY754" fmla="*/ 1679650 h 6858000"/>
              <a:gd name="connsiteX755" fmla="*/ 0 w 7467600"/>
              <a:gd name="connsiteY755" fmla="*/ 1602463 h 6858000"/>
              <a:gd name="connsiteX756" fmla="*/ 84689 w 7467600"/>
              <a:gd name="connsiteY756" fmla="*/ 1677442 h 6858000"/>
              <a:gd name="connsiteX757" fmla="*/ 298437 w 7467600"/>
              <a:gd name="connsiteY757" fmla="*/ 1968019 h 6858000"/>
              <a:gd name="connsiteX758" fmla="*/ 227269 w 7467600"/>
              <a:gd name="connsiteY758" fmla="*/ 1114064 h 6858000"/>
              <a:gd name="connsiteX759" fmla="*/ 248003 w 7467600"/>
              <a:gd name="connsiteY759" fmla="*/ 1089613 h 6858000"/>
              <a:gd name="connsiteX760" fmla="*/ 427020 w 7467600"/>
              <a:gd name="connsiteY760" fmla="*/ 1619803 h 6858000"/>
              <a:gd name="connsiteX761" fmla="*/ 340345 w 7467600"/>
              <a:gd name="connsiteY761" fmla="*/ 2027739 h 6858000"/>
              <a:gd name="connsiteX762" fmla="*/ 360865 w 7467600"/>
              <a:gd name="connsiteY762" fmla="*/ 2044827 h 6858000"/>
              <a:gd name="connsiteX763" fmla="*/ 560414 w 7467600"/>
              <a:gd name="connsiteY763" fmla="*/ 2421457 h 6858000"/>
              <a:gd name="connsiteX764" fmla="*/ 1359703 w 7467600"/>
              <a:gd name="connsiteY764" fmla="*/ 2578554 h 6858000"/>
              <a:gd name="connsiteX765" fmla="*/ 1359422 w 7467600"/>
              <a:gd name="connsiteY765" fmla="*/ 2577994 h 6858000"/>
              <a:gd name="connsiteX766" fmla="*/ 828701 w 7467600"/>
              <a:gd name="connsiteY766" fmla="*/ 1839520 h 6858000"/>
              <a:gd name="connsiteX767" fmla="*/ 494427 w 7467600"/>
              <a:gd name="connsiteY767" fmla="*/ 1092333 h 6858000"/>
              <a:gd name="connsiteX768" fmla="*/ 506322 w 7467600"/>
              <a:gd name="connsiteY768" fmla="*/ 1020997 h 6858000"/>
              <a:gd name="connsiteX769" fmla="*/ 4570198 w 7467600"/>
              <a:gd name="connsiteY769" fmla="*/ 978081 h 6858000"/>
              <a:gd name="connsiteX770" fmla="*/ 4523691 w 7467600"/>
              <a:gd name="connsiteY770" fmla="*/ 1127776 h 6858000"/>
              <a:gd name="connsiteX771" fmla="*/ 4509875 w 7467600"/>
              <a:gd name="connsiteY771" fmla="*/ 1167552 h 6858000"/>
              <a:gd name="connsiteX772" fmla="*/ 4478168 w 7467600"/>
              <a:gd name="connsiteY772" fmla="*/ 1260735 h 6858000"/>
              <a:gd name="connsiteX773" fmla="*/ 4409309 w 7467600"/>
              <a:gd name="connsiteY773" fmla="*/ 1666996 h 6858000"/>
              <a:gd name="connsiteX774" fmla="*/ 4370031 w 7467600"/>
              <a:gd name="connsiteY774" fmla="*/ 1955666 h 6858000"/>
              <a:gd name="connsiteX775" fmla="*/ 4570198 w 7467600"/>
              <a:gd name="connsiteY775" fmla="*/ 978081 h 6858000"/>
              <a:gd name="connsiteX776" fmla="*/ 4557898 w 7467600"/>
              <a:gd name="connsiteY776" fmla="*/ 900011 h 6858000"/>
              <a:gd name="connsiteX777" fmla="*/ 4344840 w 7467600"/>
              <a:gd name="connsiteY777" fmla="*/ 1922038 h 6858000"/>
              <a:gd name="connsiteX778" fmla="*/ 4378710 w 7467600"/>
              <a:gd name="connsiteY778" fmla="*/ 1665516 h 6858000"/>
              <a:gd name="connsiteX779" fmla="*/ 4448798 w 7467600"/>
              <a:gd name="connsiteY779" fmla="*/ 1253024 h 6858000"/>
              <a:gd name="connsiteX780" fmla="*/ 4480315 w 7467600"/>
              <a:gd name="connsiteY780" fmla="*/ 1158454 h 6858000"/>
              <a:gd name="connsiteX781" fmla="*/ 4494133 w 7467600"/>
              <a:gd name="connsiteY781" fmla="*/ 1118676 h 6858000"/>
              <a:gd name="connsiteX782" fmla="*/ 4557898 w 7467600"/>
              <a:gd name="connsiteY782" fmla="*/ 900011 h 6858000"/>
              <a:gd name="connsiteX783" fmla="*/ 5870151 w 7467600"/>
              <a:gd name="connsiteY783" fmla="*/ 898890 h 6858000"/>
              <a:gd name="connsiteX784" fmla="*/ 5861335 w 7467600"/>
              <a:gd name="connsiteY784" fmla="*/ 899177 h 6858000"/>
              <a:gd name="connsiteX785" fmla="*/ 5843702 w 7467600"/>
              <a:gd name="connsiteY785" fmla="*/ 899748 h 6858000"/>
              <a:gd name="connsiteX786" fmla="*/ 5651107 w 7467600"/>
              <a:gd name="connsiteY786" fmla="*/ 920306 h 6858000"/>
              <a:gd name="connsiteX787" fmla="*/ 5459407 w 7467600"/>
              <a:gd name="connsiteY787" fmla="*/ 940975 h 6858000"/>
              <a:gd name="connsiteX788" fmla="*/ 5374846 w 7467600"/>
              <a:gd name="connsiteY788" fmla="*/ 941988 h 6858000"/>
              <a:gd name="connsiteX789" fmla="*/ 5256105 w 7467600"/>
              <a:gd name="connsiteY789" fmla="*/ 945632 h 6858000"/>
              <a:gd name="connsiteX790" fmla="*/ 5107071 w 7467600"/>
              <a:gd name="connsiteY790" fmla="*/ 969720 h 6858000"/>
              <a:gd name="connsiteX791" fmla="*/ 4998681 w 7467600"/>
              <a:gd name="connsiteY791" fmla="*/ 988771 h 6858000"/>
              <a:gd name="connsiteX792" fmla="*/ 5870151 w 7467600"/>
              <a:gd name="connsiteY792" fmla="*/ 898890 h 6858000"/>
              <a:gd name="connsiteX793" fmla="*/ 5504425 w 7467600"/>
              <a:gd name="connsiteY793" fmla="*/ 848067 h 6858000"/>
              <a:gd name="connsiteX794" fmla="*/ 4968849 w 7467600"/>
              <a:gd name="connsiteY794" fmla="*/ 962318 h 6858000"/>
              <a:gd name="connsiteX795" fmla="*/ 5104039 w 7467600"/>
              <a:gd name="connsiteY795" fmla="*/ 940634 h 6858000"/>
              <a:gd name="connsiteX796" fmla="*/ 5256311 w 7467600"/>
              <a:gd name="connsiteY796" fmla="*/ 916490 h 6858000"/>
              <a:gd name="connsiteX797" fmla="*/ 5377381 w 7467600"/>
              <a:gd name="connsiteY797" fmla="*/ 912671 h 6858000"/>
              <a:gd name="connsiteX798" fmla="*/ 5460148 w 7467600"/>
              <a:gd name="connsiteY798" fmla="*/ 911442 h 6858000"/>
              <a:gd name="connsiteX799" fmla="*/ 5648971 w 7467600"/>
              <a:gd name="connsiteY799" fmla="*/ 891331 h 6858000"/>
              <a:gd name="connsiteX800" fmla="*/ 5844807 w 7467600"/>
              <a:gd name="connsiteY800" fmla="*/ 870718 h 6858000"/>
              <a:gd name="connsiteX801" fmla="*/ 5862975 w 7467600"/>
              <a:gd name="connsiteY801" fmla="*/ 869756 h 6858000"/>
              <a:gd name="connsiteX802" fmla="*/ 5920887 w 7467600"/>
              <a:gd name="connsiteY802" fmla="*/ 865929 h 6858000"/>
              <a:gd name="connsiteX803" fmla="*/ 5504425 w 7467600"/>
              <a:gd name="connsiteY803" fmla="*/ 848067 h 6858000"/>
              <a:gd name="connsiteX804" fmla="*/ 3607114 w 7467600"/>
              <a:gd name="connsiteY804" fmla="*/ 467441 h 6858000"/>
              <a:gd name="connsiteX805" fmla="*/ 3296242 w 7467600"/>
              <a:gd name="connsiteY805" fmla="*/ 807991 h 6858000"/>
              <a:gd name="connsiteX806" fmla="*/ 3174674 w 7467600"/>
              <a:gd name="connsiteY806" fmla="*/ 919759 h 6858000"/>
              <a:gd name="connsiteX807" fmla="*/ 3042978 w 7467600"/>
              <a:gd name="connsiteY807" fmla="*/ 1054894 h 6858000"/>
              <a:gd name="connsiteX808" fmla="*/ 2968914 w 7467600"/>
              <a:gd name="connsiteY808" fmla="*/ 1133756 h 6858000"/>
              <a:gd name="connsiteX809" fmla="*/ 3103823 w 7467600"/>
              <a:gd name="connsiteY809" fmla="*/ 1026814 h 6858000"/>
              <a:gd name="connsiteX810" fmla="*/ 3607114 w 7467600"/>
              <a:gd name="connsiteY810" fmla="*/ 467441 h 6858000"/>
              <a:gd name="connsiteX811" fmla="*/ 3744487 w 7467600"/>
              <a:gd name="connsiteY811" fmla="*/ 383136 h 6858000"/>
              <a:gd name="connsiteX812" fmla="*/ 3970213 w 7467600"/>
              <a:gd name="connsiteY812" fmla="*/ 995559 h 6858000"/>
              <a:gd name="connsiteX813" fmla="*/ 3744487 w 7467600"/>
              <a:gd name="connsiteY813" fmla="*/ 383136 h 6858000"/>
              <a:gd name="connsiteX814" fmla="*/ 3624562 w 7467600"/>
              <a:gd name="connsiteY814" fmla="*/ 367041 h 6858000"/>
              <a:gd name="connsiteX815" fmla="*/ 3489712 w 7467600"/>
              <a:gd name="connsiteY815" fmla="*/ 485386 h 6858000"/>
              <a:gd name="connsiteX816" fmla="*/ 3182994 w 7467600"/>
              <a:gd name="connsiteY816" fmla="*/ 828265 h 6858000"/>
              <a:gd name="connsiteX817" fmla="*/ 2892114 w 7467600"/>
              <a:gd name="connsiteY817" fmla="*/ 1172635 h 6858000"/>
              <a:gd name="connsiteX818" fmla="*/ 3021459 w 7467600"/>
              <a:gd name="connsiteY818" fmla="*/ 1035385 h 6858000"/>
              <a:gd name="connsiteX819" fmla="*/ 3153873 w 7467600"/>
              <a:gd name="connsiteY819" fmla="*/ 898971 h 6858000"/>
              <a:gd name="connsiteX820" fmla="*/ 3276511 w 7467600"/>
              <a:gd name="connsiteY820" fmla="*/ 786423 h 6858000"/>
              <a:gd name="connsiteX821" fmla="*/ 3584154 w 7467600"/>
              <a:gd name="connsiteY821" fmla="*/ 448218 h 6858000"/>
              <a:gd name="connsiteX822" fmla="*/ 3624562 w 7467600"/>
              <a:gd name="connsiteY822" fmla="*/ 367041 h 6858000"/>
              <a:gd name="connsiteX823" fmla="*/ 3766672 w 7467600"/>
              <a:gd name="connsiteY823" fmla="*/ 359429 h 6858000"/>
              <a:gd name="connsiteX824" fmla="*/ 3996338 w 7467600"/>
              <a:gd name="connsiteY824" fmla="*/ 968237 h 6858000"/>
              <a:gd name="connsiteX825" fmla="*/ 3766672 w 7467600"/>
              <a:gd name="connsiteY825" fmla="*/ 359429 h 6858000"/>
              <a:gd name="connsiteX826" fmla="*/ 5805386 w 7467600"/>
              <a:gd name="connsiteY826" fmla="*/ 239240 h 6858000"/>
              <a:gd name="connsiteX827" fmla="*/ 5736947 w 7467600"/>
              <a:gd name="connsiteY827" fmla="*/ 261367 h 6858000"/>
              <a:gd name="connsiteX828" fmla="*/ 5427012 w 7467600"/>
              <a:gd name="connsiteY828" fmla="*/ 311272 h 6858000"/>
              <a:gd name="connsiteX829" fmla="*/ 5147818 w 7467600"/>
              <a:gd name="connsiteY829" fmla="*/ 322112 h 6858000"/>
              <a:gd name="connsiteX830" fmla="*/ 5060854 w 7467600"/>
              <a:gd name="connsiteY830" fmla="*/ 311882 h 6858000"/>
              <a:gd name="connsiteX831" fmla="*/ 4945989 w 7467600"/>
              <a:gd name="connsiteY831" fmla="*/ 300516 h 6858000"/>
              <a:gd name="connsiteX832" fmla="*/ 5410479 w 7467600"/>
              <a:gd name="connsiteY832" fmla="*/ 348434 h 6858000"/>
              <a:gd name="connsiteX833" fmla="*/ 5805386 w 7467600"/>
              <a:gd name="connsiteY833" fmla="*/ 239240 h 6858000"/>
              <a:gd name="connsiteX834" fmla="*/ 5905192 w 7467600"/>
              <a:gd name="connsiteY834" fmla="*/ 163079 h 6858000"/>
              <a:gd name="connsiteX835" fmla="*/ 5865655 w 7467600"/>
              <a:gd name="connsiteY835" fmla="*/ 171901 h 6858000"/>
              <a:gd name="connsiteX836" fmla="*/ 5259740 w 7467600"/>
              <a:gd name="connsiteY836" fmla="*/ 257013 h 6858000"/>
              <a:gd name="connsiteX837" fmla="*/ 5208466 w 7467600"/>
              <a:gd name="connsiteY837" fmla="*/ 257550 h 6858000"/>
              <a:gd name="connsiteX838" fmla="*/ 4980204 w 7467600"/>
              <a:gd name="connsiteY838" fmla="*/ 271903 h 6858000"/>
              <a:gd name="connsiteX839" fmla="*/ 5068068 w 7467600"/>
              <a:gd name="connsiteY839" fmla="*/ 282244 h 6858000"/>
              <a:gd name="connsiteX840" fmla="*/ 5153231 w 7467600"/>
              <a:gd name="connsiteY840" fmla="*/ 292240 h 6858000"/>
              <a:gd name="connsiteX841" fmla="*/ 5426491 w 7467600"/>
              <a:gd name="connsiteY841" fmla="*/ 281128 h 6858000"/>
              <a:gd name="connsiteX842" fmla="*/ 5731212 w 7467600"/>
              <a:gd name="connsiteY842" fmla="*/ 231951 h 6858000"/>
              <a:gd name="connsiteX843" fmla="*/ 5905192 w 7467600"/>
              <a:gd name="connsiteY843" fmla="*/ 163079 h 6858000"/>
              <a:gd name="connsiteX844" fmla="*/ 5944437 w 7467600"/>
              <a:gd name="connsiteY844" fmla="*/ 113829 h 6858000"/>
              <a:gd name="connsiteX845" fmla="*/ 5825032 w 7467600"/>
              <a:gd name="connsiteY845" fmla="*/ 146405 h 6858000"/>
              <a:gd name="connsiteX846" fmla="*/ 4955599 w 7467600"/>
              <a:gd name="connsiteY846" fmla="*/ 247008 h 6858000"/>
              <a:gd name="connsiteX847" fmla="*/ 5210104 w 7467600"/>
              <a:gd name="connsiteY847" fmla="*/ 228123 h 6858000"/>
              <a:gd name="connsiteX848" fmla="*/ 5261015 w 7467600"/>
              <a:gd name="connsiteY848" fmla="*/ 227087 h 6858000"/>
              <a:gd name="connsiteX849" fmla="*/ 5861181 w 7467600"/>
              <a:gd name="connsiteY849" fmla="*/ 143093 h 6858000"/>
              <a:gd name="connsiteX850" fmla="*/ 5961252 w 7467600"/>
              <a:gd name="connsiteY850" fmla="*/ 114820 h 6858000"/>
              <a:gd name="connsiteX851" fmla="*/ 5944437 w 7467600"/>
              <a:gd name="connsiteY851" fmla="*/ 113829 h 6858000"/>
              <a:gd name="connsiteX852" fmla="*/ 3882765 w 7467600"/>
              <a:gd name="connsiteY852" fmla="*/ 0 h 6858000"/>
              <a:gd name="connsiteX853" fmla="*/ 3995099 w 7467600"/>
              <a:gd name="connsiteY853" fmla="*/ 0 h 6858000"/>
              <a:gd name="connsiteX854" fmla="*/ 4163818 w 7467600"/>
              <a:gd name="connsiteY854" fmla="*/ 234104 h 6858000"/>
              <a:gd name="connsiteX855" fmla="*/ 4172099 w 7467600"/>
              <a:gd name="connsiteY855" fmla="*/ 234207 h 6858000"/>
              <a:gd name="connsiteX856" fmla="*/ 4784282 w 7467600"/>
              <a:gd name="connsiteY856" fmla="*/ 276561 h 6858000"/>
              <a:gd name="connsiteX857" fmla="*/ 4801687 w 7467600"/>
              <a:gd name="connsiteY857" fmla="*/ 267764 h 6858000"/>
              <a:gd name="connsiteX858" fmla="*/ 6082788 w 7467600"/>
              <a:gd name="connsiteY858" fmla="*/ 64119 h 6858000"/>
              <a:gd name="connsiteX859" fmla="*/ 6099442 w 7467600"/>
              <a:gd name="connsiteY859" fmla="*/ 82568 h 6858000"/>
              <a:gd name="connsiteX860" fmla="*/ 4804137 w 7467600"/>
              <a:gd name="connsiteY860" fmla="*/ 320931 h 6858000"/>
              <a:gd name="connsiteX861" fmla="*/ 4227047 w 7467600"/>
              <a:gd name="connsiteY861" fmla="*/ 313415 h 6858000"/>
              <a:gd name="connsiteX862" fmla="*/ 4346041 w 7467600"/>
              <a:gd name="connsiteY862" fmla="*/ 456086 h 6858000"/>
              <a:gd name="connsiteX863" fmla="*/ 4870967 w 7467600"/>
              <a:gd name="connsiteY863" fmla="*/ 963061 h 6858000"/>
              <a:gd name="connsiteX864" fmla="*/ 4889647 w 7467600"/>
              <a:gd name="connsiteY864" fmla="*/ 957147 h 6858000"/>
              <a:gd name="connsiteX865" fmla="*/ 5422504 w 7467600"/>
              <a:gd name="connsiteY865" fmla="*/ 805191 h 6858000"/>
              <a:gd name="connsiteX866" fmla="*/ 6087656 w 7467600"/>
              <a:gd name="connsiteY866" fmla="*/ 826703 h 6858000"/>
              <a:gd name="connsiteX867" fmla="*/ 6058717 w 7467600"/>
              <a:gd name="connsiteY867" fmla="*/ 865992 h 6858000"/>
              <a:gd name="connsiteX868" fmla="*/ 4974153 w 7467600"/>
              <a:gd name="connsiteY868" fmla="*/ 1045456 h 6858000"/>
              <a:gd name="connsiteX869" fmla="*/ 5627835 w 7467600"/>
              <a:gd name="connsiteY869" fmla="*/ 1472077 h 6858000"/>
              <a:gd name="connsiteX870" fmla="*/ 5629817 w 7467600"/>
              <a:gd name="connsiteY870" fmla="*/ 1471412 h 6858000"/>
              <a:gd name="connsiteX871" fmla="*/ 5634124 w 7467600"/>
              <a:gd name="connsiteY871" fmla="*/ 1470572 h 6858000"/>
              <a:gd name="connsiteX872" fmla="*/ 5755832 w 7467600"/>
              <a:gd name="connsiteY872" fmla="*/ 1383886 h 6858000"/>
              <a:gd name="connsiteX873" fmla="*/ 6014186 w 7467600"/>
              <a:gd name="connsiteY873" fmla="*/ 1279799 h 6858000"/>
              <a:gd name="connsiteX874" fmla="*/ 6901619 w 7467600"/>
              <a:gd name="connsiteY874" fmla="*/ 1047874 h 6858000"/>
              <a:gd name="connsiteX875" fmla="*/ 6931566 w 7467600"/>
              <a:gd name="connsiteY875" fmla="*/ 1062034 h 6858000"/>
              <a:gd name="connsiteX876" fmla="*/ 5790982 w 7467600"/>
              <a:gd name="connsiteY876" fmla="*/ 1561380 h 6858000"/>
              <a:gd name="connsiteX877" fmla="*/ 6188971 w 7467600"/>
              <a:gd name="connsiteY877" fmla="*/ 1755168 h 6858000"/>
              <a:gd name="connsiteX878" fmla="*/ 6202446 w 7467600"/>
              <a:gd name="connsiteY878" fmla="*/ 1752268 h 6858000"/>
              <a:gd name="connsiteX879" fmla="*/ 7179560 w 7467600"/>
              <a:gd name="connsiteY879" fmla="*/ 1467551 h 6858000"/>
              <a:gd name="connsiteX880" fmla="*/ 7158730 w 7467600"/>
              <a:gd name="connsiteY880" fmla="*/ 1507835 h 6858000"/>
              <a:gd name="connsiteX881" fmla="*/ 6326959 w 7467600"/>
              <a:gd name="connsiteY881" fmla="*/ 1817686 h 6858000"/>
              <a:gd name="connsiteX882" fmla="*/ 6537433 w 7467600"/>
              <a:gd name="connsiteY882" fmla="*/ 1907790 h 6858000"/>
              <a:gd name="connsiteX883" fmla="*/ 6550221 w 7467600"/>
              <a:gd name="connsiteY883" fmla="*/ 1910729 h 6858000"/>
              <a:gd name="connsiteX884" fmla="*/ 6964438 w 7467600"/>
              <a:gd name="connsiteY884" fmla="*/ 2209505 h 6858000"/>
              <a:gd name="connsiteX885" fmla="*/ 7367862 w 7467600"/>
              <a:gd name="connsiteY885" fmla="*/ 2806833 h 6858000"/>
              <a:gd name="connsiteX886" fmla="*/ 7364329 w 7467600"/>
              <a:gd name="connsiteY886" fmla="*/ 2826907 h 6858000"/>
              <a:gd name="connsiteX887" fmla="*/ 7290545 w 7467600"/>
              <a:gd name="connsiteY887" fmla="*/ 2850663 h 6858000"/>
              <a:gd name="connsiteX888" fmla="*/ 6472036 w 7467600"/>
              <a:gd name="connsiteY888" fmla="*/ 1959003 h 6858000"/>
              <a:gd name="connsiteX889" fmla="*/ 5792897 w 7467600"/>
              <a:gd name="connsiteY889" fmla="*/ 1647747 h 6858000"/>
              <a:gd name="connsiteX890" fmla="*/ 5842751 w 7467600"/>
              <a:gd name="connsiteY890" fmla="*/ 1816112 h 6858000"/>
              <a:gd name="connsiteX891" fmla="*/ 5847424 w 7467600"/>
              <a:gd name="connsiteY891" fmla="*/ 1815776 h 6858000"/>
              <a:gd name="connsiteX892" fmla="*/ 6399821 w 7467600"/>
              <a:gd name="connsiteY892" fmla="*/ 2344799 h 6858000"/>
              <a:gd name="connsiteX893" fmla="*/ 6323232 w 7467600"/>
              <a:gd name="connsiteY893" fmla="*/ 2389634 h 6858000"/>
              <a:gd name="connsiteX894" fmla="*/ 5942958 w 7467600"/>
              <a:gd name="connsiteY894" fmla="*/ 2077708 h 6858000"/>
              <a:gd name="connsiteX895" fmla="*/ 5921559 w 7467600"/>
              <a:gd name="connsiteY895" fmla="*/ 2378596 h 6858000"/>
              <a:gd name="connsiteX896" fmla="*/ 5817651 w 7467600"/>
              <a:gd name="connsiteY896" fmla="*/ 3023919 h 6858000"/>
              <a:gd name="connsiteX897" fmla="*/ 5729634 w 7467600"/>
              <a:gd name="connsiteY897" fmla="*/ 3051849 h 6858000"/>
              <a:gd name="connsiteX898" fmla="*/ 5611018 w 7467600"/>
              <a:gd name="connsiteY898" fmla="*/ 2316769 h 6858000"/>
              <a:gd name="connsiteX899" fmla="*/ 5687608 w 7467600"/>
              <a:gd name="connsiteY899" fmla="*/ 2039972 h 6858000"/>
              <a:gd name="connsiteX900" fmla="*/ 5657554 w 7467600"/>
              <a:gd name="connsiteY900" fmla="*/ 1576445 h 6858000"/>
              <a:gd name="connsiteX901" fmla="*/ 5150475 w 7467600"/>
              <a:gd name="connsiteY901" fmla="*/ 1274012 h 6858000"/>
              <a:gd name="connsiteX902" fmla="*/ 5349142 w 7467600"/>
              <a:gd name="connsiteY902" fmla="*/ 2204405 h 6858000"/>
              <a:gd name="connsiteX903" fmla="*/ 5262214 w 7467600"/>
              <a:gd name="connsiteY903" fmla="*/ 2233836 h 6858000"/>
              <a:gd name="connsiteX904" fmla="*/ 4981539 w 7467600"/>
              <a:gd name="connsiteY904" fmla="*/ 1542201 h 6858000"/>
              <a:gd name="connsiteX905" fmla="*/ 4958461 w 7467600"/>
              <a:gd name="connsiteY905" fmla="*/ 1136957 h 6858000"/>
              <a:gd name="connsiteX906" fmla="*/ 4655015 w 7467600"/>
              <a:gd name="connsiteY906" fmla="*/ 891426 h 6858000"/>
              <a:gd name="connsiteX907" fmla="*/ 4348002 w 7467600"/>
              <a:gd name="connsiteY907" fmla="*/ 2205895 h 6858000"/>
              <a:gd name="connsiteX908" fmla="*/ 4262250 w 7467600"/>
              <a:gd name="connsiteY908" fmla="*/ 2219972 h 6858000"/>
              <a:gd name="connsiteX909" fmla="*/ 4550611 w 7467600"/>
              <a:gd name="connsiteY909" fmla="*/ 817540 h 6858000"/>
              <a:gd name="connsiteX910" fmla="*/ 4564418 w 7467600"/>
              <a:gd name="connsiteY910" fmla="*/ 808293 h 6858000"/>
              <a:gd name="connsiteX911" fmla="*/ 4266388 w 7467600"/>
              <a:gd name="connsiteY911" fmla="*/ 500083 h 6858000"/>
              <a:gd name="connsiteX912" fmla="*/ 4032842 w 7467600"/>
              <a:gd name="connsiteY912" fmla="*/ 211809 h 6858000"/>
              <a:gd name="connsiteX913" fmla="*/ 3882765 w 7467600"/>
              <a:gd name="connsiteY913" fmla="*/ 0 h 6858000"/>
              <a:gd name="connsiteX914" fmla="*/ 3721337 w 7467600"/>
              <a:gd name="connsiteY914" fmla="*/ 0 h 6858000"/>
              <a:gd name="connsiteX915" fmla="*/ 3797544 w 7467600"/>
              <a:gd name="connsiteY915" fmla="*/ 0 h 6858000"/>
              <a:gd name="connsiteX916" fmla="*/ 3775734 w 7467600"/>
              <a:gd name="connsiteY916" fmla="*/ 95131 h 6858000"/>
              <a:gd name="connsiteX917" fmla="*/ 3724807 w 7467600"/>
              <a:gd name="connsiteY917" fmla="*/ 272257 h 6858000"/>
              <a:gd name="connsiteX918" fmla="*/ 3726844 w 7467600"/>
              <a:gd name="connsiteY918" fmla="*/ 282988 h 6858000"/>
              <a:gd name="connsiteX919" fmla="*/ 3742664 w 7467600"/>
              <a:gd name="connsiteY919" fmla="*/ 279918 h 6858000"/>
              <a:gd name="connsiteX920" fmla="*/ 4103910 w 7467600"/>
              <a:gd name="connsiteY920" fmla="*/ 1161917 h 6858000"/>
              <a:gd name="connsiteX921" fmla="*/ 4020269 w 7467600"/>
              <a:gd name="connsiteY921" fmla="*/ 1200406 h 6858000"/>
              <a:gd name="connsiteX922" fmla="*/ 3674882 w 7467600"/>
              <a:gd name="connsiteY922" fmla="*/ 488524 h 6858000"/>
              <a:gd name="connsiteX923" fmla="*/ 3132682 w 7467600"/>
              <a:gd name="connsiteY923" fmla="*/ 1072284 h 6858000"/>
              <a:gd name="connsiteX924" fmla="*/ 2716346 w 7467600"/>
              <a:gd name="connsiteY924" fmla="*/ 1276376 h 6858000"/>
              <a:gd name="connsiteX925" fmla="*/ 2716772 w 7467600"/>
              <a:gd name="connsiteY925" fmla="*/ 1255462 h 6858000"/>
              <a:gd name="connsiteX926" fmla="*/ 3471096 w 7467600"/>
              <a:gd name="connsiteY926" fmla="*/ 437072 h 6858000"/>
              <a:gd name="connsiteX927" fmla="*/ 3639057 w 7467600"/>
              <a:gd name="connsiteY927" fmla="*/ 286334 h 6858000"/>
              <a:gd name="connsiteX928" fmla="*/ 3640309 w 7467600"/>
              <a:gd name="connsiteY928" fmla="*/ 284664 h 6858000"/>
              <a:gd name="connsiteX929" fmla="*/ 3646022 w 7467600"/>
              <a:gd name="connsiteY929" fmla="*/ 276711 h 6858000"/>
              <a:gd name="connsiteX930" fmla="*/ 3707943 w 7467600"/>
              <a:gd name="connsiteY930" fmla="*/ 65958 h 6858000"/>
              <a:gd name="connsiteX931" fmla="*/ 3721337 w 7467600"/>
              <a:gd name="connsiteY931" fmla="*/ 0 h 6858000"/>
              <a:gd name="connsiteX932" fmla="*/ 2867960 w 7467600"/>
              <a:gd name="connsiteY932" fmla="*/ 0 h 6858000"/>
              <a:gd name="connsiteX933" fmla="*/ 2926351 w 7467600"/>
              <a:gd name="connsiteY933" fmla="*/ 0 h 6858000"/>
              <a:gd name="connsiteX934" fmla="*/ 2902823 w 7467600"/>
              <a:gd name="connsiteY934" fmla="*/ 262929 h 6858000"/>
              <a:gd name="connsiteX935" fmla="*/ 2940663 w 7467600"/>
              <a:gd name="connsiteY935" fmla="*/ 140884 h 6858000"/>
              <a:gd name="connsiteX936" fmla="*/ 2947039 w 7467600"/>
              <a:gd name="connsiteY936" fmla="*/ 122524 h 6858000"/>
              <a:gd name="connsiteX937" fmla="*/ 2984316 w 7467600"/>
              <a:gd name="connsiteY937" fmla="*/ 0 h 6858000"/>
              <a:gd name="connsiteX938" fmla="*/ 3016114 w 7467600"/>
              <a:gd name="connsiteY938" fmla="*/ 0 h 6858000"/>
              <a:gd name="connsiteX939" fmla="*/ 2979949 w 7467600"/>
              <a:gd name="connsiteY939" fmla="*/ 119274 h 6858000"/>
              <a:gd name="connsiteX940" fmla="*/ 3023879 w 7467600"/>
              <a:gd name="connsiteY940" fmla="*/ 0 h 6858000"/>
              <a:gd name="connsiteX941" fmla="*/ 3105400 w 7467600"/>
              <a:gd name="connsiteY941" fmla="*/ 0 h 6858000"/>
              <a:gd name="connsiteX942" fmla="*/ 3094669 w 7467600"/>
              <a:gd name="connsiteY942" fmla="*/ 30308 h 6858000"/>
              <a:gd name="connsiteX943" fmla="*/ 2901945 w 7467600"/>
              <a:gd name="connsiteY943" fmla="*/ 466538 h 6858000"/>
              <a:gd name="connsiteX944" fmla="*/ 2815209 w 7467600"/>
              <a:gd name="connsiteY944" fmla="*/ 497361 h 6858000"/>
              <a:gd name="connsiteX945" fmla="*/ 2844845 w 7467600"/>
              <a:gd name="connsiteY945" fmla="*/ 127638 h 6858000"/>
              <a:gd name="connsiteX946" fmla="*/ 2867960 w 7467600"/>
              <a:gd name="connsiteY946" fmla="*/ 0 h 6858000"/>
              <a:gd name="connsiteX947" fmla="*/ 1057230 w 7467600"/>
              <a:gd name="connsiteY947" fmla="*/ 0 h 6858000"/>
              <a:gd name="connsiteX948" fmla="*/ 1111003 w 7467600"/>
              <a:gd name="connsiteY948" fmla="*/ 0 h 6858000"/>
              <a:gd name="connsiteX949" fmla="*/ 1125553 w 7467600"/>
              <a:gd name="connsiteY949" fmla="*/ 52588 h 6858000"/>
              <a:gd name="connsiteX950" fmla="*/ 1304276 w 7467600"/>
              <a:gd name="connsiteY950" fmla="*/ 476275 h 6858000"/>
              <a:gd name="connsiteX951" fmla="*/ 1492066 w 7467600"/>
              <a:gd name="connsiteY951" fmla="*/ 886333 h 6858000"/>
              <a:gd name="connsiteX952" fmla="*/ 1423698 w 7467600"/>
              <a:gd name="connsiteY952" fmla="*/ 710817 h 6858000"/>
              <a:gd name="connsiteX953" fmla="*/ 1357609 w 7467600"/>
              <a:gd name="connsiteY953" fmla="*/ 532892 h 6858000"/>
              <a:gd name="connsiteX954" fmla="*/ 1309550 w 7467600"/>
              <a:gd name="connsiteY954" fmla="*/ 374031 h 6858000"/>
              <a:gd name="connsiteX955" fmla="*/ 1193673 w 7467600"/>
              <a:gd name="connsiteY955" fmla="*/ 49533 h 6858000"/>
              <a:gd name="connsiteX956" fmla="*/ 1164391 w 7467600"/>
              <a:gd name="connsiteY956" fmla="*/ 0 h 6858000"/>
              <a:gd name="connsiteX957" fmla="*/ 1200666 w 7467600"/>
              <a:gd name="connsiteY957" fmla="*/ 0 h 6858000"/>
              <a:gd name="connsiteX958" fmla="*/ 1223408 w 7467600"/>
              <a:gd name="connsiteY958" fmla="*/ 38996 h 6858000"/>
              <a:gd name="connsiteX959" fmla="*/ 1339635 w 7467600"/>
              <a:gd name="connsiteY959" fmla="*/ 365517 h 6858000"/>
              <a:gd name="connsiteX960" fmla="*/ 1387469 w 7467600"/>
              <a:gd name="connsiteY960" fmla="*/ 523079 h 6858000"/>
              <a:gd name="connsiteX961" fmla="*/ 1452685 w 7467600"/>
              <a:gd name="connsiteY961" fmla="*/ 699806 h 6858000"/>
              <a:gd name="connsiteX962" fmla="*/ 1492092 w 7467600"/>
              <a:gd name="connsiteY962" fmla="*/ 800424 h 6858000"/>
              <a:gd name="connsiteX963" fmla="*/ 1455302 w 7467600"/>
              <a:gd name="connsiteY963" fmla="*/ 632913 h 6858000"/>
              <a:gd name="connsiteX964" fmla="*/ 1222336 w 7467600"/>
              <a:gd name="connsiteY964" fmla="*/ 9480 h 6858000"/>
              <a:gd name="connsiteX965" fmla="*/ 1214634 w 7467600"/>
              <a:gd name="connsiteY965" fmla="*/ 0 h 6858000"/>
              <a:gd name="connsiteX966" fmla="*/ 1289827 w 7467600"/>
              <a:gd name="connsiteY966" fmla="*/ 0 h 6858000"/>
              <a:gd name="connsiteX967" fmla="*/ 1321076 w 7467600"/>
              <a:gd name="connsiteY967" fmla="*/ 59722 h 6858000"/>
              <a:gd name="connsiteX968" fmla="*/ 1512579 w 7467600"/>
              <a:gd name="connsiteY968" fmla="*/ 626441 h 6858000"/>
              <a:gd name="connsiteX969" fmla="*/ 1506076 w 7467600"/>
              <a:gd name="connsiteY969" fmla="*/ 1089289 h 6858000"/>
              <a:gd name="connsiteX970" fmla="*/ 1486346 w 7467600"/>
              <a:gd name="connsiteY970" fmla="*/ 1079919 h 6858000"/>
              <a:gd name="connsiteX971" fmla="*/ 1070511 w 7467600"/>
              <a:gd name="connsiteY971" fmla="*/ 48609 h 6858000"/>
              <a:gd name="connsiteX972" fmla="*/ 1057230 w 7467600"/>
              <a:gd name="connsiteY972" fmla="*/ 0 h 6858000"/>
              <a:gd name="connsiteX973" fmla="*/ 43151 w 7467600"/>
              <a:gd name="connsiteY973" fmla="*/ 0 h 6858000"/>
              <a:gd name="connsiteX974" fmla="*/ 95283 w 7467600"/>
              <a:gd name="connsiteY974" fmla="*/ 0 h 6858000"/>
              <a:gd name="connsiteX975" fmla="*/ 300708 w 7467600"/>
              <a:gd name="connsiteY975" fmla="*/ 154571 h 6858000"/>
              <a:gd name="connsiteX976" fmla="*/ 530414 w 7467600"/>
              <a:gd name="connsiteY976" fmla="*/ 354673 h 6858000"/>
              <a:gd name="connsiteX977" fmla="*/ 333785 w 7467600"/>
              <a:gd name="connsiteY977" fmla="*/ 161564 h 6858000"/>
              <a:gd name="connsiteX978" fmla="*/ 147005 w 7467600"/>
              <a:gd name="connsiteY978" fmla="*/ 0 h 6858000"/>
              <a:gd name="connsiteX979" fmla="*/ 272509 w 7467600"/>
              <a:gd name="connsiteY979" fmla="*/ 0 h 6858000"/>
              <a:gd name="connsiteX980" fmla="*/ 326276 w 7467600"/>
              <a:gd name="connsiteY980" fmla="*/ 45847 h 6858000"/>
              <a:gd name="connsiteX981" fmla="*/ 823759 w 7467600"/>
              <a:gd name="connsiteY981" fmla="*/ 574145 h 6858000"/>
              <a:gd name="connsiteX982" fmla="*/ 811254 w 7467600"/>
              <a:gd name="connsiteY982" fmla="*/ 665546 h 6858000"/>
              <a:gd name="connsiteX983" fmla="*/ 154042 w 7467600"/>
              <a:gd name="connsiteY983" fmla="*/ 261522 h 6858000"/>
              <a:gd name="connsiteX984" fmla="*/ 13550 w 7467600"/>
              <a:gd name="connsiteY984" fmla="*/ 158423 h 6858000"/>
              <a:gd name="connsiteX985" fmla="*/ 0 w 7467600"/>
              <a:gd name="connsiteY985" fmla="*/ 146618 h 6858000"/>
              <a:gd name="connsiteX986" fmla="*/ 0 w 7467600"/>
              <a:gd name="connsiteY986" fmla="*/ 59161 h 6858000"/>
              <a:gd name="connsiteX987" fmla="*/ 45427 w 7467600"/>
              <a:gd name="connsiteY987" fmla="*/ 101078 h 6858000"/>
              <a:gd name="connsiteX988" fmla="*/ 630103 w 7467600"/>
              <a:gd name="connsiteY988" fmla="*/ 485885 h 6858000"/>
              <a:gd name="connsiteX989" fmla="*/ 532040 w 7467600"/>
              <a:gd name="connsiteY989" fmla="*/ 399359 h 6858000"/>
              <a:gd name="connsiteX990" fmla="*/ 517618 w 7467600"/>
              <a:gd name="connsiteY990" fmla="*/ 385726 h 6858000"/>
              <a:gd name="connsiteX991" fmla="*/ 285074 w 7467600"/>
              <a:gd name="connsiteY991" fmla="*/ 182755 h 6858000"/>
              <a:gd name="connsiteX992" fmla="*/ 43151 w 7467600"/>
              <a:gd name="connsiteY992"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12201 w 7467600"/>
              <a:gd name="connsiteY127" fmla="*/ 5128278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91022 w 7467600"/>
              <a:gd name="connsiteY134" fmla="*/ 5158141 h 6858000"/>
              <a:gd name="connsiteX135" fmla="*/ 7312201 w 7467600"/>
              <a:gd name="connsiteY135" fmla="*/ 5128278 h 6858000"/>
              <a:gd name="connsiteX136" fmla="*/ 1903353 w 7467600"/>
              <a:gd name="connsiteY136" fmla="*/ 5044827 h 6858000"/>
              <a:gd name="connsiteX137" fmla="*/ 1936931 w 7467600"/>
              <a:gd name="connsiteY137" fmla="*/ 5093954 h 6858000"/>
              <a:gd name="connsiteX138" fmla="*/ 2195868 w 7467600"/>
              <a:gd name="connsiteY138" fmla="*/ 5396574 h 6858000"/>
              <a:gd name="connsiteX139" fmla="*/ 2088852 w 7467600"/>
              <a:gd name="connsiteY139" fmla="*/ 5166123 h 6858000"/>
              <a:gd name="connsiteX140" fmla="*/ 1958241 w 7467600"/>
              <a:gd name="connsiteY140" fmla="*/ 5067955 h 6858000"/>
              <a:gd name="connsiteX141" fmla="*/ 1903353 w 7467600"/>
              <a:gd name="connsiteY141" fmla="*/ 5044827 h 6858000"/>
              <a:gd name="connsiteX142" fmla="*/ 1979378 w 7467600"/>
              <a:gd name="connsiteY142" fmla="*/ 4769504 h 6858000"/>
              <a:gd name="connsiteX143" fmla="*/ 2882120 w 7467600"/>
              <a:gd name="connsiteY143" fmla="*/ 5064547 h 6858000"/>
              <a:gd name="connsiteX144" fmla="*/ 2793103 w 7467600"/>
              <a:gd name="connsiteY144" fmla="*/ 5039699 h 6858000"/>
              <a:gd name="connsiteX145" fmla="*/ 2770041 w 7467600"/>
              <a:gd name="connsiteY145" fmla="*/ 5033634 h 6858000"/>
              <a:gd name="connsiteX146" fmla="*/ 1979378 w 7467600"/>
              <a:gd name="connsiteY146" fmla="*/ 4769504 h 6858000"/>
              <a:gd name="connsiteX147" fmla="*/ 1927410 w 7467600"/>
              <a:gd name="connsiteY147" fmla="*/ 4716164 h 6858000"/>
              <a:gd name="connsiteX148" fmla="*/ 1959587 w 7467600"/>
              <a:gd name="connsiteY148" fmla="*/ 4728849 h 6858000"/>
              <a:gd name="connsiteX149" fmla="*/ 2777707 w 7467600"/>
              <a:gd name="connsiteY149" fmla="*/ 5003991 h 6858000"/>
              <a:gd name="connsiteX150" fmla="*/ 2800768 w 7467600"/>
              <a:gd name="connsiteY150" fmla="*/ 5010056 h 6858000"/>
              <a:gd name="connsiteX151" fmla="*/ 2879408 w 7467600"/>
              <a:gd name="connsiteY151" fmla="*/ 5031590 h 6858000"/>
              <a:gd name="connsiteX152" fmla="*/ 2862295 w 7467600"/>
              <a:gd name="connsiteY152" fmla="*/ 5022958 h 6858000"/>
              <a:gd name="connsiteX153" fmla="*/ 2813343 w 7467600"/>
              <a:gd name="connsiteY153" fmla="*/ 4998369 h 6858000"/>
              <a:gd name="connsiteX154" fmla="*/ 2646245 w 7467600"/>
              <a:gd name="connsiteY154" fmla="*/ 4930999 h 6858000"/>
              <a:gd name="connsiteX155" fmla="*/ 1999243 w 7467600"/>
              <a:gd name="connsiteY155" fmla="*/ 4730524 h 6858000"/>
              <a:gd name="connsiteX156" fmla="*/ 1979527 w 7467600"/>
              <a:gd name="connsiteY156" fmla="*/ 4726651 h 6858000"/>
              <a:gd name="connsiteX157" fmla="*/ 1927410 w 7467600"/>
              <a:gd name="connsiteY157" fmla="*/ 4716164 h 6858000"/>
              <a:gd name="connsiteX158" fmla="*/ 1997014 w 7467600"/>
              <a:gd name="connsiteY158" fmla="*/ 4698007 h 6858000"/>
              <a:gd name="connsiteX159" fmla="*/ 2005458 w 7467600"/>
              <a:gd name="connsiteY159" fmla="*/ 4699540 h 6858000"/>
              <a:gd name="connsiteX160" fmla="*/ 2657186 w 7467600"/>
              <a:gd name="connsiteY160" fmla="*/ 4901687 h 6858000"/>
              <a:gd name="connsiteX161" fmla="*/ 2826662 w 7467600"/>
              <a:gd name="connsiteY161" fmla="*/ 4970362 h 6858000"/>
              <a:gd name="connsiteX162" fmla="*/ 2876100 w 7467600"/>
              <a:gd name="connsiteY162" fmla="*/ 4995397 h 6858000"/>
              <a:gd name="connsiteX163" fmla="*/ 3042600 w 7467600"/>
              <a:gd name="connsiteY163" fmla="*/ 5059532 h 6858000"/>
              <a:gd name="connsiteX164" fmla="*/ 1997014 w 7467600"/>
              <a:gd name="connsiteY164" fmla="*/ 4698007 h 6858000"/>
              <a:gd name="connsiteX165" fmla="*/ 2305292 w 7467600"/>
              <a:gd name="connsiteY165" fmla="*/ 4219492 h 6858000"/>
              <a:gd name="connsiteX166" fmla="*/ 3360922 w 7467600"/>
              <a:gd name="connsiteY166" fmla="*/ 4529373 h 6858000"/>
              <a:gd name="connsiteX167" fmla="*/ 3492420 w 7467600"/>
              <a:gd name="connsiteY167" fmla="*/ 4510145 h 6858000"/>
              <a:gd name="connsiteX168" fmla="*/ 3364086 w 7467600"/>
              <a:gd name="connsiteY168" fmla="*/ 4480340 h 6858000"/>
              <a:gd name="connsiteX169" fmla="*/ 3225818 w 7467600"/>
              <a:gd name="connsiteY169" fmla="*/ 4411822 h 6858000"/>
              <a:gd name="connsiteX170" fmla="*/ 3129696 w 7467600"/>
              <a:gd name="connsiteY170" fmla="*/ 4360704 h 6858000"/>
              <a:gd name="connsiteX171" fmla="*/ 2814545 w 7467600"/>
              <a:gd name="connsiteY171" fmla="*/ 4282955 h 6858000"/>
              <a:gd name="connsiteX172" fmla="*/ 2305292 w 7467600"/>
              <a:gd name="connsiteY172" fmla="*/ 4219492 h 6858000"/>
              <a:gd name="connsiteX173" fmla="*/ 2626982 w 7467600"/>
              <a:gd name="connsiteY173" fmla="*/ 4206450 h 6858000"/>
              <a:gd name="connsiteX174" fmla="*/ 2490617 w 7467600"/>
              <a:gd name="connsiteY174" fmla="*/ 4206951 h 6858000"/>
              <a:gd name="connsiteX175" fmla="*/ 2819869 w 7467600"/>
              <a:gd name="connsiteY175" fmla="*/ 4252936 h 6858000"/>
              <a:gd name="connsiteX176" fmla="*/ 3143018 w 7467600"/>
              <a:gd name="connsiteY176" fmla="*/ 4332698 h 6858000"/>
              <a:gd name="connsiteX177" fmla="*/ 3241520 w 7467600"/>
              <a:gd name="connsiteY177" fmla="*/ 4385112 h 6858000"/>
              <a:gd name="connsiteX178" fmla="*/ 3374575 w 7467600"/>
              <a:gd name="connsiteY178" fmla="*/ 4451517 h 6858000"/>
              <a:gd name="connsiteX179" fmla="*/ 3505221 w 7467600"/>
              <a:gd name="connsiteY179" fmla="*/ 4480757 h 6858000"/>
              <a:gd name="connsiteX180" fmla="*/ 2626982 w 7467600"/>
              <a:gd name="connsiteY180" fmla="*/ 4206450 h 6858000"/>
              <a:gd name="connsiteX181" fmla="*/ 1310106 w 7467600"/>
              <a:gd name="connsiteY181" fmla="*/ 3943217 h 6858000"/>
              <a:gd name="connsiteX182" fmla="*/ 854994 w 7467600"/>
              <a:gd name="connsiteY182" fmla="*/ 4399136 h 6858000"/>
              <a:gd name="connsiteX183" fmla="*/ 742462 w 7467600"/>
              <a:gd name="connsiteY183" fmla="*/ 4594648 h 6858000"/>
              <a:gd name="connsiteX184" fmla="*/ 820602 w 7467600"/>
              <a:gd name="connsiteY184" fmla="*/ 4485915 h 6858000"/>
              <a:gd name="connsiteX185" fmla="*/ 878295 w 7467600"/>
              <a:gd name="connsiteY185" fmla="*/ 4403594 h 6858000"/>
              <a:gd name="connsiteX186" fmla="*/ 1240607 w 7467600"/>
              <a:gd name="connsiteY186" fmla="*/ 4010401 h 6858000"/>
              <a:gd name="connsiteX187" fmla="*/ 1310106 w 7467600"/>
              <a:gd name="connsiteY187" fmla="*/ 3943217 h 6858000"/>
              <a:gd name="connsiteX188" fmla="*/ 1423113 w 7467600"/>
              <a:gd name="connsiteY188" fmla="*/ 3874565 h 6858000"/>
              <a:gd name="connsiteX189" fmla="*/ 1260565 w 7467600"/>
              <a:gd name="connsiteY189" fmla="*/ 4031982 h 6858000"/>
              <a:gd name="connsiteX190" fmla="*/ 901900 w 7467600"/>
              <a:gd name="connsiteY190" fmla="*/ 4421236 h 6858000"/>
              <a:gd name="connsiteX191" fmla="*/ 845044 w 7467600"/>
              <a:gd name="connsiteY191" fmla="*/ 4502436 h 6858000"/>
              <a:gd name="connsiteX192" fmla="*/ 685926 w 7467600"/>
              <a:gd name="connsiteY192" fmla="*/ 4703069 h 6858000"/>
              <a:gd name="connsiteX193" fmla="*/ 684248 w 7467600"/>
              <a:gd name="connsiteY193" fmla="*/ 4706721 h 6858000"/>
              <a:gd name="connsiteX194" fmla="*/ 1423113 w 7467600"/>
              <a:gd name="connsiteY194" fmla="*/ 3874565 h 6858000"/>
              <a:gd name="connsiteX195" fmla="*/ 3316479 w 7467600"/>
              <a:gd name="connsiteY195" fmla="*/ 3872136 h 6858000"/>
              <a:gd name="connsiteX196" fmla="*/ 3546806 w 7467600"/>
              <a:gd name="connsiteY196" fmla="*/ 4356139 h 6858000"/>
              <a:gd name="connsiteX197" fmla="*/ 3364433 w 7467600"/>
              <a:gd name="connsiteY197" fmla="*/ 3953121 h 6858000"/>
              <a:gd name="connsiteX198" fmla="*/ 3316479 w 7467600"/>
              <a:gd name="connsiteY198" fmla="*/ 3872136 h 6858000"/>
              <a:gd name="connsiteX199" fmla="*/ 3291335 w 7467600"/>
              <a:gd name="connsiteY199" fmla="*/ 3767420 h 6858000"/>
              <a:gd name="connsiteX200" fmla="*/ 3390805 w 7467600"/>
              <a:gd name="connsiteY200" fmla="*/ 3937163 h 6858000"/>
              <a:gd name="connsiteX201" fmla="*/ 3579062 w 7467600"/>
              <a:gd name="connsiteY201" fmla="*/ 4359040 h 6858000"/>
              <a:gd name="connsiteX202" fmla="*/ 3467355 w 7467600"/>
              <a:gd name="connsiteY202" fmla="*/ 3988130 h 6858000"/>
              <a:gd name="connsiteX203" fmla="*/ 3310753 w 7467600"/>
              <a:gd name="connsiteY203" fmla="*/ 3787140 h 6858000"/>
              <a:gd name="connsiteX204" fmla="*/ 3291335 w 7467600"/>
              <a:gd name="connsiteY204" fmla="*/ 3767420 h 6858000"/>
              <a:gd name="connsiteX205" fmla="*/ 1635889 w 7467600"/>
              <a:gd name="connsiteY205" fmla="*/ 3709494 h 6858000"/>
              <a:gd name="connsiteX206" fmla="*/ 1634800 w 7467600"/>
              <a:gd name="connsiteY206" fmla="*/ 3731111 h 6858000"/>
              <a:gd name="connsiteX207" fmla="*/ 1635889 w 7467600"/>
              <a:gd name="connsiteY207" fmla="*/ 3709494 h 6858000"/>
              <a:gd name="connsiteX208" fmla="*/ 1510397 w 7467600"/>
              <a:gd name="connsiteY208" fmla="*/ 3684705 h 6858000"/>
              <a:gd name="connsiteX209" fmla="*/ 1146550 w 7467600"/>
              <a:gd name="connsiteY209" fmla="*/ 3802012 h 6858000"/>
              <a:gd name="connsiteX210" fmla="*/ 698834 w 7467600"/>
              <a:gd name="connsiteY210" fmla="*/ 3952272 h 6858000"/>
              <a:gd name="connsiteX211" fmla="*/ 34256 w 7467600"/>
              <a:gd name="connsiteY211" fmla="*/ 4347603 h 6858000"/>
              <a:gd name="connsiteX212" fmla="*/ 527241 w 7467600"/>
              <a:gd name="connsiteY212" fmla="*/ 4065078 h 6858000"/>
              <a:gd name="connsiteX213" fmla="*/ 1510397 w 7467600"/>
              <a:gd name="connsiteY213" fmla="*/ 3684705 h 6858000"/>
              <a:gd name="connsiteX214" fmla="*/ 1313114 w 7467600"/>
              <a:gd name="connsiteY214" fmla="*/ 3655216 h 6858000"/>
              <a:gd name="connsiteX215" fmla="*/ 1109304 w 7467600"/>
              <a:gd name="connsiteY215" fmla="*/ 3669030 h 6858000"/>
              <a:gd name="connsiteX216" fmla="*/ 8129 w 7467600"/>
              <a:gd name="connsiteY216" fmla="*/ 4330519 h 6858000"/>
              <a:gd name="connsiteX217" fmla="*/ 687572 w 7467600"/>
              <a:gd name="connsiteY217" fmla="*/ 3925629 h 6858000"/>
              <a:gd name="connsiteX218" fmla="*/ 1138365 w 7467600"/>
              <a:gd name="connsiteY218" fmla="*/ 3774515 h 6858000"/>
              <a:gd name="connsiteX219" fmla="*/ 1505579 w 7467600"/>
              <a:gd name="connsiteY219" fmla="*/ 3655526 h 6858000"/>
              <a:gd name="connsiteX220" fmla="*/ 1313114 w 7467600"/>
              <a:gd name="connsiteY220" fmla="*/ 3655216 h 6858000"/>
              <a:gd name="connsiteX221" fmla="*/ 3655073 w 7467600"/>
              <a:gd name="connsiteY221" fmla="*/ 3650884 h 6858000"/>
              <a:gd name="connsiteX222" fmla="*/ 3989938 w 7467600"/>
              <a:gd name="connsiteY222" fmla="*/ 3991685 h 6858000"/>
              <a:gd name="connsiteX223" fmla="*/ 4393907 w 7467600"/>
              <a:gd name="connsiteY223" fmla="*/ 4261258 h 6858000"/>
              <a:gd name="connsiteX224" fmla="*/ 4648051 w 7467600"/>
              <a:gd name="connsiteY224" fmla="*/ 4374051 h 6858000"/>
              <a:gd name="connsiteX225" fmla="*/ 4383389 w 7467600"/>
              <a:gd name="connsiteY225" fmla="*/ 4184369 h 6858000"/>
              <a:gd name="connsiteX226" fmla="*/ 4165508 w 7467600"/>
              <a:gd name="connsiteY226" fmla="*/ 4035196 h 6858000"/>
              <a:gd name="connsiteX227" fmla="*/ 4068162 w 7467600"/>
              <a:gd name="connsiteY227" fmla="*/ 3953394 h 6858000"/>
              <a:gd name="connsiteX228" fmla="*/ 3981416 w 7467600"/>
              <a:gd name="connsiteY228" fmla="*/ 3880482 h 6858000"/>
              <a:gd name="connsiteX229" fmla="*/ 3800147 w 7467600"/>
              <a:gd name="connsiteY229" fmla="*/ 3749872 h 6858000"/>
              <a:gd name="connsiteX230" fmla="*/ 3655073 w 7467600"/>
              <a:gd name="connsiteY230" fmla="*/ 3650884 h 6858000"/>
              <a:gd name="connsiteX231" fmla="*/ 3670252 w 7467600"/>
              <a:gd name="connsiteY231" fmla="*/ 3622798 h 6858000"/>
              <a:gd name="connsiteX232" fmla="*/ 3817258 w 7467600"/>
              <a:gd name="connsiteY232" fmla="*/ 3723577 h 6858000"/>
              <a:gd name="connsiteX233" fmla="*/ 4000461 w 7467600"/>
              <a:gd name="connsiteY233" fmla="*/ 3855966 h 6858000"/>
              <a:gd name="connsiteX234" fmla="*/ 4088180 w 7467600"/>
              <a:gd name="connsiteY234" fmla="*/ 3929774 h 6858000"/>
              <a:gd name="connsiteX235" fmla="*/ 4184555 w 7467600"/>
              <a:gd name="connsiteY235" fmla="*/ 4010683 h 6858000"/>
              <a:gd name="connsiteX236" fmla="*/ 4399563 w 7467600"/>
              <a:gd name="connsiteY236" fmla="*/ 4158106 h 6858000"/>
              <a:gd name="connsiteX237" fmla="*/ 4684469 w 7467600"/>
              <a:gd name="connsiteY237" fmla="*/ 4364680 h 6858000"/>
              <a:gd name="connsiteX238" fmla="*/ 4690271 w 7467600"/>
              <a:gd name="connsiteY238" fmla="*/ 4370034 h 6858000"/>
              <a:gd name="connsiteX239" fmla="*/ 4136093 w 7467600"/>
              <a:gd name="connsiteY239" fmla="*/ 3858466 h 6858000"/>
              <a:gd name="connsiteX240" fmla="*/ 3670252 w 7467600"/>
              <a:gd name="connsiteY240" fmla="*/ 3622798 h 6858000"/>
              <a:gd name="connsiteX241" fmla="*/ 4440129 w 7467600"/>
              <a:gd name="connsiteY241" fmla="*/ 3448571 h 6858000"/>
              <a:gd name="connsiteX242" fmla="*/ 4856525 w 7467600"/>
              <a:gd name="connsiteY242" fmla="*/ 3915351 h 6858000"/>
              <a:gd name="connsiteX243" fmla="*/ 5059055 w 7467600"/>
              <a:gd name="connsiteY243" fmla="*/ 4108918 h 6858000"/>
              <a:gd name="connsiteX244" fmla="*/ 5290070 w 7467600"/>
              <a:gd name="connsiteY244" fmla="*/ 4263619 h 6858000"/>
              <a:gd name="connsiteX245" fmla="*/ 4834991 w 7467600"/>
              <a:gd name="connsiteY245" fmla="*/ 3830985 h 6858000"/>
              <a:gd name="connsiteX246" fmla="*/ 4440129 w 7467600"/>
              <a:gd name="connsiteY246" fmla="*/ 3448571 h 6858000"/>
              <a:gd name="connsiteX247" fmla="*/ 4441737 w 7467600"/>
              <a:gd name="connsiteY247" fmla="*/ 3399734 h 6858000"/>
              <a:gd name="connsiteX248" fmla="*/ 4431236 w 7467600"/>
              <a:gd name="connsiteY248" fmla="*/ 3400954 h 6858000"/>
              <a:gd name="connsiteX249" fmla="*/ 4557150 w 7467600"/>
              <a:gd name="connsiteY249" fmla="*/ 3510023 h 6858000"/>
              <a:gd name="connsiteX250" fmla="*/ 4856936 w 7467600"/>
              <a:gd name="connsiteY250" fmla="*/ 3809146 h 6858000"/>
              <a:gd name="connsiteX251" fmla="*/ 5111996 w 7467600"/>
              <a:gd name="connsiteY251" fmla="*/ 4065759 h 6858000"/>
              <a:gd name="connsiteX252" fmla="*/ 5388878 w 7467600"/>
              <a:gd name="connsiteY252" fmla="*/ 4300185 h 6858000"/>
              <a:gd name="connsiteX253" fmla="*/ 5425556 w 7467600"/>
              <a:gd name="connsiteY253" fmla="*/ 4308967 h 6858000"/>
              <a:gd name="connsiteX254" fmla="*/ 4943646 w 7467600"/>
              <a:gd name="connsiteY254" fmla="*/ 3822916 h 6858000"/>
              <a:gd name="connsiteX255" fmla="*/ 4594837 w 7467600"/>
              <a:gd name="connsiteY255" fmla="*/ 3532274 h 6858000"/>
              <a:gd name="connsiteX256" fmla="*/ 4441737 w 7467600"/>
              <a:gd name="connsiteY256" fmla="*/ 3399734 h 6858000"/>
              <a:gd name="connsiteX257" fmla="*/ 5425834 w 7467600"/>
              <a:gd name="connsiteY257" fmla="*/ 3162785 h 6858000"/>
              <a:gd name="connsiteX258" fmla="*/ 5401644 w 7467600"/>
              <a:gd name="connsiteY258" fmla="*/ 3617847 h 6858000"/>
              <a:gd name="connsiteX259" fmla="*/ 5467256 w 7467600"/>
              <a:gd name="connsiteY259" fmla="*/ 4175494 h 6858000"/>
              <a:gd name="connsiteX260" fmla="*/ 5448069 w 7467600"/>
              <a:gd name="connsiteY260" fmla="*/ 3567554 h 6858000"/>
              <a:gd name="connsiteX261" fmla="*/ 5425834 w 7467600"/>
              <a:gd name="connsiteY261" fmla="*/ 3162785 h 6858000"/>
              <a:gd name="connsiteX262" fmla="*/ 1318687 w 7467600"/>
              <a:gd name="connsiteY262" fmla="*/ 3113840 h 6858000"/>
              <a:gd name="connsiteX263" fmla="*/ 1066793 w 7467600"/>
              <a:gd name="connsiteY263" fmla="*/ 3212171 h 6858000"/>
              <a:gd name="connsiteX264" fmla="*/ 993319 w 7467600"/>
              <a:gd name="connsiteY264" fmla="*/ 3247648 h 6858000"/>
              <a:gd name="connsiteX265" fmla="*/ 853081 w 7467600"/>
              <a:gd name="connsiteY265" fmla="*/ 3312410 h 6858000"/>
              <a:gd name="connsiteX266" fmla="*/ 805957 w 7467600"/>
              <a:gd name="connsiteY266" fmla="*/ 3330443 h 6858000"/>
              <a:gd name="connsiteX267" fmla="*/ 1318687 w 7467600"/>
              <a:gd name="connsiteY267" fmla="*/ 3113840 h 6858000"/>
              <a:gd name="connsiteX268" fmla="*/ 5453702 w 7467600"/>
              <a:gd name="connsiteY268" fmla="*/ 3090882 h 6858000"/>
              <a:gd name="connsiteX269" fmla="*/ 5480135 w 7467600"/>
              <a:gd name="connsiteY269" fmla="*/ 3565802 h 6858000"/>
              <a:gd name="connsiteX270" fmla="*/ 5499023 w 7467600"/>
              <a:gd name="connsiteY270" fmla="*/ 4166310 h 6858000"/>
              <a:gd name="connsiteX271" fmla="*/ 5547022 w 7467600"/>
              <a:gd name="connsiteY271" fmla="*/ 3607838 h 6858000"/>
              <a:gd name="connsiteX272" fmla="*/ 5515964 w 7467600"/>
              <a:gd name="connsiteY272" fmla="*/ 3378541 h 6858000"/>
              <a:gd name="connsiteX273" fmla="*/ 5453702 w 7467600"/>
              <a:gd name="connsiteY273" fmla="*/ 3090882 h 6858000"/>
              <a:gd name="connsiteX274" fmla="*/ 1238695 w 7467600"/>
              <a:gd name="connsiteY274" fmla="*/ 3076820 h 6858000"/>
              <a:gd name="connsiteX275" fmla="*/ 716371 w 7467600"/>
              <a:gd name="connsiteY275" fmla="*/ 3293249 h 6858000"/>
              <a:gd name="connsiteX276" fmla="*/ 579522 w 7467600"/>
              <a:gd name="connsiteY276" fmla="*/ 3371759 h 6858000"/>
              <a:gd name="connsiteX277" fmla="*/ 600288 w 7467600"/>
              <a:gd name="connsiteY277" fmla="*/ 3365555 h 6858000"/>
              <a:gd name="connsiteX278" fmla="*/ 840692 w 7467600"/>
              <a:gd name="connsiteY278" fmla="*/ 3284921 h 6858000"/>
              <a:gd name="connsiteX279" fmla="*/ 979248 w 7467600"/>
              <a:gd name="connsiteY279" fmla="*/ 3221003 h 6858000"/>
              <a:gd name="connsiteX280" fmla="*/ 1053282 w 7467600"/>
              <a:gd name="connsiteY280" fmla="*/ 3185247 h 6858000"/>
              <a:gd name="connsiteX281" fmla="*/ 1320603 w 7467600"/>
              <a:gd name="connsiteY281" fmla="*/ 3081281 h 6858000"/>
              <a:gd name="connsiteX282" fmla="*/ 1238695 w 7467600"/>
              <a:gd name="connsiteY282" fmla="*/ 3076820 h 6858000"/>
              <a:gd name="connsiteX283" fmla="*/ 5425627 w 7467600"/>
              <a:gd name="connsiteY283" fmla="*/ 2954192 h 6858000"/>
              <a:gd name="connsiteX284" fmla="*/ 5470770 w 7467600"/>
              <a:gd name="connsiteY284" fmla="*/ 3005435 h 6858000"/>
              <a:gd name="connsiteX285" fmla="*/ 5519779 w 7467600"/>
              <a:gd name="connsiteY285" fmla="*/ 4359223 h 6858000"/>
              <a:gd name="connsiteX286" fmla="*/ 5520293 w 7467600"/>
              <a:gd name="connsiteY286" fmla="*/ 4360602 h 6858000"/>
              <a:gd name="connsiteX287" fmla="*/ 5767221 w 7467600"/>
              <a:gd name="connsiteY287" fmla="*/ 4665564 h 6858000"/>
              <a:gd name="connsiteX288" fmla="*/ 6937169 w 7467600"/>
              <a:gd name="connsiteY288" fmla="*/ 4815941 h 6858000"/>
              <a:gd name="connsiteX289" fmla="*/ 6953922 w 7467600"/>
              <a:gd name="connsiteY289" fmla="*/ 4890068 h 6858000"/>
              <a:gd name="connsiteX290" fmla="*/ 6071359 w 7467600"/>
              <a:gd name="connsiteY290" fmla="*/ 4770770 h 6858000"/>
              <a:gd name="connsiteX291" fmla="*/ 6038839 w 7467600"/>
              <a:gd name="connsiteY291" fmla="*/ 4764474 h 6858000"/>
              <a:gd name="connsiteX292" fmla="*/ 6038706 w 7467600"/>
              <a:gd name="connsiteY292" fmla="*/ 4763847 h 6858000"/>
              <a:gd name="connsiteX293" fmla="*/ 6037784 w 7467600"/>
              <a:gd name="connsiteY293" fmla="*/ 4764270 h 6858000"/>
              <a:gd name="connsiteX294" fmla="*/ 6038839 w 7467600"/>
              <a:gd name="connsiteY294" fmla="*/ 4764474 h 6858000"/>
              <a:gd name="connsiteX295" fmla="*/ 6040338 w 7467600"/>
              <a:gd name="connsiteY295" fmla="*/ 4771418 h 6858000"/>
              <a:gd name="connsiteX296" fmla="*/ 6024488 w 7467600"/>
              <a:gd name="connsiteY296" fmla="*/ 4809903 h 6858000"/>
              <a:gd name="connsiteX297" fmla="*/ 5599771 w 7467600"/>
              <a:gd name="connsiteY297" fmla="*/ 5509652 h 6858000"/>
              <a:gd name="connsiteX298" fmla="*/ 5548843 w 7467600"/>
              <a:gd name="connsiteY298" fmla="*/ 5563845 h 6858000"/>
              <a:gd name="connsiteX299" fmla="*/ 5940952 w 7467600"/>
              <a:gd name="connsiteY299" fmla="*/ 6250028 h 6858000"/>
              <a:gd name="connsiteX300" fmla="*/ 6043441 w 7467600"/>
              <a:gd name="connsiteY300" fmla="*/ 6665847 h 6858000"/>
              <a:gd name="connsiteX301" fmla="*/ 6093432 w 7467600"/>
              <a:gd name="connsiteY301" fmla="*/ 6858000 h 6858000"/>
              <a:gd name="connsiteX302" fmla="*/ 6034344 w 7467600"/>
              <a:gd name="connsiteY302" fmla="*/ 6858000 h 6858000"/>
              <a:gd name="connsiteX303" fmla="*/ 6026679 w 7467600"/>
              <a:gd name="connsiteY303" fmla="*/ 6836959 h 6858000"/>
              <a:gd name="connsiteX304" fmla="*/ 5800441 w 7467600"/>
              <a:gd name="connsiteY304" fmla="*/ 6335286 h 6858000"/>
              <a:gd name="connsiteX305" fmla="*/ 5526562 w 7467600"/>
              <a:gd name="connsiteY305" fmla="*/ 5705388 h 6858000"/>
              <a:gd name="connsiteX306" fmla="*/ 5519640 w 7467600"/>
              <a:gd name="connsiteY306" fmla="*/ 5683774 h 6858000"/>
              <a:gd name="connsiteX307" fmla="*/ 5844559 w 7467600"/>
              <a:gd name="connsiteY307" fmla="*/ 6553349 h 6858000"/>
              <a:gd name="connsiteX308" fmla="*/ 5975994 w 7467600"/>
              <a:gd name="connsiteY308" fmla="*/ 6858000 h 6858000"/>
              <a:gd name="connsiteX309" fmla="*/ 5898547 w 7467600"/>
              <a:gd name="connsiteY309" fmla="*/ 6858000 h 6858000"/>
              <a:gd name="connsiteX310" fmla="*/ 5682041 w 7467600"/>
              <a:gd name="connsiteY310" fmla="*/ 6355860 h 6858000"/>
              <a:gd name="connsiteX311" fmla="*/ 5461758 w 7467600"/>
              <a:gd name="connsiteY311" fmla="*/ 5820220 h 6858000"/>
              <a:gd name="connsiteX312" fmla="*/ 5237282 w 7467600"/>
              <a:gd name="connsiteY312" fmla="*/ 6579086 h 6858000"/>
              <a:gd name="connsiteX313" fmla="*/ 5115009 w 7467600"/>
              <a:gd name="connsiteY313" fmla="*/ 6858000 h 6858000"/>
              <a:gd name="connsiteX314" fmla="*/ 5028074 w 7467600"/>
              <a:gd name="connsiteY314" fmla="*/ 6858000 h 6858000"/>
              <a:gd name="connsiteX315" fmla="*/ 5079508 w 7467600"/>
              <a:gd name="connsiteY315" fmla="*/ 6749074 h 6858000"/>
              <a:gd name="connsiteX316" fmla="*/ 5371846 w 7467600"/>
              <a:gd name="connsiteY316" fmla="*/ 5924413 h 6858000"/>
              <a:gd name="connsiteX317" fmla="*/ 5270512 w 7467600"/>
              <a:gd name="connsiteY317" fmla="*/ 6138975 h 6858000"/>
              <a:gd name="connsiteX318" fmla="*/ 5062409 w 7467600"/>
              <a:gd name="connsiteY318" fmla="*/ 6653544 h 6858000"/>
              <a:gd name="connsiteX319" fmla="*/ 5036628 w 7467600"/>
              <a:gd name="connsiteY319" fmla="*/ 6754247 h 6858000"/>
              <a:gd name="connsiteX320" fmla="*/ 5009112 w 7467600"/>
              <a:gd name="connsiteY320" fmla="*/ 6858000 h 6858000"/>
              <a:gd name="connsiteX321" fmla="*/ 4976679 w 7467600"/>
              <a:gd name="connsiteY321" fmla="*/ 6858000 h 6858000"/>
              <a:gd name="connsiteX322" fmla="*/ 5006537 w 7467600"/>
              <a:gd name="connsiteY322" fmla="*/ 6747068 h 6858000"/>
              <a:gd name="connsiteX323" fmla="*/ 5032723 w 7467600"/>
              <a:gd name="connsiteY323" fmla="*/ 6644957 h 6858000"/>
              <a:gd name="connsiteX324" fmla="*/ 5242949 w 7467600"/>
              <a:gd name="connsiteY324" fmla="*/ 6125175 h 6858000"/>
              <a:gd name="connsiteX325" fmla="*/ 5286321 w 7467600"/>
              <a:gd name="connsiteY325" fmla="*/ 6033555 h 6858000"/>
              <a:gd name="connsiteX326" fmla="*/ 5008210 w 7467600"/>
              <a:gd name="connsiteY326" fmla="*/ 6649194 h 6858000"/>
              <a:gd name="connsiteX327" fmla="*/ 4986321 w 7467600"/>
              <a:gd name="connsiteY327" fmla="*/ 6765687 h 6858000"/>
              <a:gd name="connsiteX328" fmla="*/ 4973474 w 7467600"/>
              <a:gd name="connsiteY328" fmla="*/ 6858000 h 6858000"/>
              <a:gd name="connsiteX329" fmla="*/ 4907178 w 7467600"/>
              <a:gd name="connsiteY329" fmla="*/ 6858000 h 6858000"/>
              <a:gd name="connsiteX330" fmla="*/ 4910810 w 7467600"/>
              <a:gd name="connsiteY330" fmla="*/ 6829660 h 6858000"/>
              <a:gd name="connsiteX331" fmla="*/ 4987461 w 7467600"/>
              <a:gd name="connsiteY331" fmla="*/ 6432994 h 6858000"/>
              <a:gd name="connsiteX332" fmla="*/ 5179262 w 7467600"/>
              <a:gd name="connsiteY332" fmla="*/ 6035044 h 6858000"/>
              <a:gd name="connsiteX333" fmla="*/ 4689678 w 7467600"/>
              <a:gd name="connsiteY333" fmla="*/ 6440241 h 6858000"/>
              <a:gd name="connsiteX334" fmla="*/ 4477543 w 7467600"/>
              <a:gd name="connsiteY334" fmla="*/ 6674836 h 6858000"/>
              <a:gd name="connsiteX335" fmla="*/ 4329957 w 7467600"/>
              <a:gd name="connsiteY335" fmla="*/ 6858000 h 6858000"/>
              <a:gd name="connsiteX336" fmla="*/ 4218595 w 7467600"/>
              <a:gd name="connsiteY336" fmla="*/ 6858000 h 6858000"/>
              <a:gd name="connsiteX337" fmla="*/ 4368888 w 7467600"/>
              <a:gd name="connsiteY337" fmla="*/ 6668412 h 6858000"/>
              <a:gd name="connsiteX338" fmla="*/ 4563091 w 7467600"/>
              <a:gd name="connsiteY338" fmla="*/ 6442508 h 6858000"/>
              <a:gd name="connsiteX339" fmla="*/ 5387324 w 7467600"/>
              <a:gd name="connsiteY339" fmla="*/ 5705830 h 6858000"/>
              <a:gd name="connsiteX340" fmla="*/ 5073620 w 7467600"/>
              <a:gd name="connsiteY340" fmla="*/ 5955437 h 6858000"/>
              <a:gd name="connsiteX341" fmla="*/ 4689789 w 7467600"/>
              <a:gd name="connsiteY341" fmla="*/ 6268382 h 6858000"/>
              <a:gd name="connsiteX342" fmla="*/ 4418722 w 7467600"/>
              <a:gd name="connsiteY342" fmla="*/ 6570886 h 6858000"/>
              <a:gd name="connsiteX343" fmla="*/ 4214944 w 7467600"/>
              <a:gd name="connsiteY343" fmla="*/ 6858000 h 6858000"/>
              <a:gd name="connsiteX344" fmla="*/ 4177898 w 7467600"/>
              <a:gd name="connsiteY344" fmla="*/ 6858000 h 6858000"/>
              <a:gd name="connsiteX345" fmla="*/ 4391597 w 7467600"/>
              <a:gd name="connsiteY345" fmla="*/ 6556370 h 6858000"/>
              <a:gd name="connsiteX346" fmla="*/ 4668889 w 7467600"/>
              <a:gd name="connsiteY346" fmla="*/ 6246399 h 6858000"/>
              <a:gd name="connsiteX347" fmla="*/ 5055427 w 7467600"/>
              <a:gd name="connsiteY347" fmla="*/ 5931476 h 6858000"/>
              <a:gd name="connsiteX348" fmla="*/ 5371814 w 7467600"/>
              <a:gd name="connsiteY348" fmla="*/ 5678975 h 6858000"/>
              <a:gd name="connsiteX349" fmla="*/ 4987918 w 7467600"/>
              <a:gd name="connsiteY349" fmla="*/ 5838701 h 6858000"/>
              <a:gd name="connsiteX350" fmla="*/ 4317146 w 7467600"/>
              <a:gd name="connsiteY350" fmla="*/ 6587716 h 6858000"/>
              <a:gd name="connsiteX351" fmla="*/ 4171627 w 7467600"/>
              <a:gd name="connsiteY351" fmla="*/ 6858000 h 6858000"/>
              <a:gd name="connsiteX352" fmla="*/ 4081585 w 7467600"/>
              <a:gd name="connsiteY352" fmla="*/ 6858000 h 6858000"/>
              <a:gd name="connsiteX353" fmla="*/ 4238603 w 7467600"/>
              <a:gd name="connsiteY353" fmla="*/ 6559341 h 6858000"/>
              <a:gd name="connsiteX354" fmla="*/ 4778333 w 7467600"/>
              <a:gd name="connsiteY354" fmla="*/ 5873626 h 6858000"/>
              <a:gd name="connsiteX355" fmla="*/ 5414185 w 7467600"/>
              <a:gd name="connsiteY355" fmla="*/ 5573882 h 6858000"/>
              <a:gd name="connsiteX356" fmla="*/ 5959648 w 7467600"/>
              <a:gd name="connsiteY356" fmla="*/ 4760797 h 6858000"/>
              <a:gd name="connsiteX357" fmla="*/ 5355019 w 7467600"/>
              <a:gd name="connsiteY357" fmla="*/ 4734672 h 6858000"/>
              <a:gd name="connsiteX358" fmla="*/ 5083565 w 7467600"/>
              <a:gd name="connsiteY358" fmla="*/ 5179121 h 6858000"/>
              <a:gd name="connsiteX359" fmla="*/ 4713577 w 7467600"/>
              <a:gd name="connsiteY359" fmla="*/ 5616803 h 6858000"/>
              <a:gd name="connsiteX360" fmla="*/ 3989559 w 7467600"/>
              <a:gd name="connsiteY360" fmla="*/ 6145945 h 6858000"/>
              <a:gd name="connsiteX361" fmla="*/ 3939824 w 7467600"/>
              <a:gd name="connsiteY361" fmla="*/ 6066900 h 6858000"/>
              <a:gd name="connsiteX362" fmla="*/ 4584537 w 7467600"/>
              <a:gd name="connsiteY362" fmla="*/ 5324826 h 6858000"/>
              <a:gd name="connsiteX363" fmla="*/ 5037105 w 7467600"/>
              <a:gd name="connsiteY363" fmla="*/ 5088765 h 6858000"/>
              <a:gd name="connsiteX364" fmla="*/ 5039930 w 7467600"/>
              <a:gd name="connsiteY364" fmla="*/ 5089585 h 6858000"/>
              <a:gd name="connsiteX365" fmla="*/ 5263764 w 7467600"/>
              <a:gd name="connsiteY365" fmla="*/ 4735525 h 6858000"/>
              <a:gd name="connsiteX366" fmla="*/ 4086300 w 7467600"/>
              <a:gd name="connsiteY366" fmla="*/ 4884599 h 6858000"/>
              <a:gd name="connsiteX367" fmla="*/ 4085485 w 7467600"/>
              <a:gd name="connsiteY367" fmla="*/ 4899070 h 6858000"/>
              <a:gd name="connsiteX368" fmla="*/ 3871915 w 7467600"/>
              <a:gd name="connsiteY368" fmla="*/ 5253645 h 6858000"/>
              <a:gd name="connsiteX369" fmla="*/ 3799374 w 7467600"/>
              <a:gd name="connsiteY369" fmla="*/ 5466127 h 6858000"/>
              <a:gd name="connsiteX370" fmla="*/ 3498850 w 7467600"/>
              <a:gd name="connsiteY370" fmla="*/ 6661888 h 6858000"/>
              <a:gd name="connsiteX371" fmla="*/ 3399216 w 7467600"/>
              <a:gd name="connsiteY371" fmla="*/ 6858000 h 6858000"/>
              <a:gd name="connsiteX372" fmla="*/ 3303688 w 7467600"/>
              <a:gd name="connsiteY372" fmla="*/ 6858000 h 6858000"/>
              <a:gd name="connsiteX373" fmla="*/ 3391774 w 7467600"/>
              <a:gd name="connsiteY373" fmla="*/ 6697181 h 6858000"/>
              <a:gd name="connsiteX374" fmla="*/ 3735540 w 7467600"/>
              <a:gd name="connsiteY374" fmla="*/ 5546923 h 6858000"/>
              <a:gd name="connsiteX375" fmla="*/ 3729438 w 7467600"/>
              <a:gd name="connsiteY375" fmla="*/ 5569058 h 6858000"/>
              <a:gd name="connsiteX376" fmla="*/ 3707782 w 7467600"/>
              <a:gd name="connsiteY376" fmla="*/ 5644908 h 6858000"/>
              <a:gd name="connsiteX377" fmla="*/ 3583827 w 7467600"/>
              <a:gd name="connsiteY377" fmla="*/ 6039215 h 6858000"/>
              <a:gd name="connsiteX378" fmla="*/ 3547861 w 7467600"/>
              <a:gd name="connsiteY378" fmla="*/ 6129609 h 6858000"/>
              <a:gd name="connsiteX379" fmla="*/ 3490905 w 7467600"/>
              <a:gd name="connsiteY379" fmla="*/ 6277660 h 6858000"/>
              <a:gd name="connsiteX380" fmla="*/ 3455859 w 7467600"/>
              <a:gd name="connsiteY380" fmla="*/ 6391301 h 6858000"/>
              <a:gd name="connsiteX381" fmla="*/ 3429112 w 7467600"/>
              <a:gd name="connsiteY381" fmla="*/ 6479469 h 6858000"/>
              <a:gd name="connsiteX382" fmla="*/ 3304862 w 7467600"/>
              <a:gd name="connsiteY382" fmla="*/ 6796476 h 6858000"/>
              <a:gd name="connsiteX383" fmla="*/ 3276071 w 7467600"/>
              <a:gd name="connsiteY383" fmla="*/ 6858000 h 6858000"/>
              <a:gd name="connsiteX384" fmla="*/ 3240805 w 7467600"/>
              <a:gd name="connsiteY384" fmla="*/ 6858000 h 6858000"/>
              <a:gd name="connsiteX385" fmla="*/ 3275917 w 7467600"/>
              <a:gd name="connsiteY385" fmla="*/ 6783192 h 6858000"/>
              <a:gd name="connsiteX386" fmla="*/ 3399358 w 7467600"/>
              <a:gd name="connsiteY386" fmla="*/ 6469011 h 6858000"/>
              <a:gd name="connsiteX387" fmla="*/ 3425650 w 7467600"/>
              <a:gd name="connsiteY387" fmla="*/ 6381333 h 6858000"/>
              <a:gd name="connsiteX388" fmla="*/ 3460661 w 7467600"/>
              <a:gd name="connsiteY388" fmla="*/ 6266763 h 6858000"/>
              <a:gd name="connsiteX389" fmla="*/ 3518021 w 7467600"/>
              <a:gd name="connsiteY389" fmla="*/ 6117298 h 6858000"/>
              <a:gd name="connsiteX390" fmla="*/ 3554035 w 7467600"/>
              <a:gd name="connsiteY390" fmla="*/ 6027832 h 6858000"/>
              <a:gd name="connsiteX391" fmla="*/ 3677174 w 7467600"/>
              <a:gd name="connsiteY391" fmla="*/ 5636351 h 6858000"/>
              <a:gd name="connsiteX392" fmla="*/ 3698819 w 7467600"/>
              <a:gd name="connsiteY392" fmla="*/ 5560503 h 6858000"/>
              <a:gd name="connsiteX393" fmla="*/ 3702094 w 7467600"/>
              <a:gd name="connsiteY393" fmla="*/ 5549194 h 6858000"/>
              <a:gd name="connsiteX394" fmla="*/ 3398355 w 7467600"/>
              <a:gd name="connsiteY394" fmla="*/ 6094603 h 6858000"/>
              <a:gd name="connsiteX395" fmla="*/ 3193941 w 7467600"/>
              <a:gd name="connsiteY395" fmla="*/ 6798775 h 6858000"/>
              <a:gd name="connsiteX396" fmla="*/ 3184140 w 7467600"/>
              <a:gd name="connsiteY396" fmla="*/ 6858000 h 6858000"/>
              <a:gd name="connsiteX397" fmla="*/ 3099978 w 7467600"/>
              <a:gd name="connsiteY397" fmla="*/ 6858000 h 6858000"/>
              <a:gd name="connsiteX398" fmla="*/ 3101556 w 7467600"/>
              <a:gd name="connsiteY398" fmla="*/ 6843337 h 6858000"/>
              <a:gd name="connsiteX399" fmla="*/ 3370162 w 7467600"/>
              <a:gd name="connsiteY399" fmla="*/ 5785550 h 6858000"/>
              <a:gd name="connsiteX400" fmla="*/ 3746477 w 7467600"/>
              <a:gd name="connsiteY400" fmla="*/ 5377889 h 6858000"/>
              <a:gd name="connsiteX401" fmla="*/ 3863399 w 7467600"/>
              <a:gd name="connsiteY401" fmla="*/ 5087257 h 6858000"/>
              <a:gd name="connsiteX402" fmla="*/ 3968712 w 7467600"/>
              <a:gd name="connsiteY402" fmla="*/ 4913989 h 6858000"/>
              <a:gd name="connsiteX403" fmla="*/ 2792390 w 7467600"/>
              <a:gd name="connsiteY403" fmla="*/ 5382974 h 6858000"/>
              <a:gd name="connsiteX404" fmla="*/ 2714982 w 7467600"/>
              <a:gd name="connsiteY404" fmla="*/ 5427051 h 6858000"/>
              <a:gd name="connsiteX405" fmla="*/ 2813361 w 7467600"/>
              <a:gd name="connsiteY405" fmla="*/ 6023912 h 6858000"/>
              <a:gd name="connsiteX406" fmla="*/ 2688430 w 7467600"/>
              <a:gd name="connsiteY406" fmla="*/ 6801564 h 6858000"/>
              <a:gd name="connsiteX407" fmla="*/ 2629626 w 7467600"/>
              <a:gd name="connsiteY407" fmla="*/ 6763394 h 6858000"/>
              <a:gd name="connsiteX408" fmla="*/ 2565328 w 7467600"/>
              <a:gd name="connsiteY408" fmla="*/ 5516399 h 6858000"/>
              <a:gd name="connsiteX409" fmla="*/ 1922999 w 7467600"/>
              <a:gd name="connsiteY409" fmla="*/ 5980343 h 6858000"/>
              <a:gd name="connsiteX410" fmla="*/ 1950261 w 7467600"/>
              <a:gd name="connsiteY410" fmla="*/ 6405858 h 6858000"/>
              <a:gd name="connsiteX411" fmla="*/ 2365554 w 7467600"/>
              <a:gd name="connsiteY411" fmla="*/ 6759107 h 6858000"/>
              <a:gd name="connsiteX412" fmla="*/ 2424142 w 7467600"/>
              <a:gd name="connsiteY412" fmla="*/ 6858000 h 6858000"/>
              <a:gd name="connsiteX413" fmla="*/ 2395994 w 7467600"/>
              <a:gd name="connsiteY413" fmla="*/ 6858000 h 6858000"/>
              <a:gd name="connsiteX414" fmla="*/ 2392863 w 7467600"/>
              <a:gd name="connsiteY414" fmla="*/ 6852964 h 6858000"/>
              <a:gd name="connsiteX415" fmla="*/ 2017589 w 7467600"/>
              <a:gd name="connsiteY415" fmla="*/ 6493982 h 6858000"/>
              <a:gd name="connsiteX416" fmla="*/ 2147336 w 7467600"/>
              <a:gd name="connsiteY416" fmla="*/ 6594052 h 6858000"/>
              <a:gd name="connsiteX417" fmla="*/ 2207047 w 7467600"/>
              <a:gd name="connsiteY417" fmla="*/ 6654540 h 6858000"/>
              <a:gd name="connsiteX418" fmla="*/ 2299106 w 7467600"/>
              <a:gd name="connsiteY418" fmla="*/ 6778931 h 6858000"/>
              <a:gd name="connsiteX419" fmla="*/ 2314430 w 7467600"/>
              <a:gd name="connsiteY419" fmla="*/ 6801144 h 6858000"/>
              <a:gd name="connsiteX420" fmla="*/ 2352406 w 7467600"/>
              <a:gd name="connsiteY420" fmla="*/ 6858000 h 6858000"/>
              <a:gd name="connsiteX421" fmla="*/ 2314492 w 7467600"/>
              <a:gd name="connsiteY421" fmla="*/ 6858000 h 6858000"/>
              <a:gd name="connsiteX422" fmla="*/ 2288095 w 7467600"/>
              <a:gd name="connsiteY422" fmla="*/ 6818030 h 6858000"/>
              <a:gd name="connsiteX423" fmla="*/ 2272768 w 7467600"/>
              <a:gd name="connsiteY423" fmla="*/ 6795822 h 6858000"/>
              <a:gd name="connsiteX424" fmla="*/ 2182715 w 7467600"/>
              <a:gd name="connsiteY424" fmla="*/ 6675071 h 6858000"/>
              <a:gd name="connsiteX425" fmla="*/ 2032061 w 7467600"/>
              <a:gd name="connsiteY425" fmla="*/ 6541380 h 6858000"/>
              <a:gd name="connsiteX426" fmla="*/ 2257220 w 7467600"/>
              <a:gd name="connsiteY426" fmla="*/ 6826257 h 6858000"/>
              <a:gd name="connsiteX427" fmla="*/ 2281324 w 7467600"/>
              <a:gd name="connsiteY427" fmla="*/ 6858000 h 6858000"/>
              <a:gd name="connsiteX428" fmla="*/ 2242860 w 7467600"/>
              <a:gd name="connsiteY428" fmla="*/ 6858000 h 6858000"/>
              <a:gd name="connsiteX429" fmla="*/ 2232818 w 7467600"/>
              <a:gd name="connsiteY429" fmla="*/ 6844926 h 6858000"/>
              <a:gd name="connsiteX430" fmla="*/ 1990172 w 7467600"/>
              <a:gd name="connsiteY430" fmla="*/ 6542121 h 6858000"/>
              <a:gd name="connsiteX431" fmla="*/ 2124090 w 7467600"/>
              <a:gd name="connsiteY431" fmla="*/ 6761017 h 6858000"/>
              <a:gd name="connsiteX432" fmla="*/ 2200380 w 7467600"/>
              <a:gd name="connsiteY432" fmla="*/ 6858000 h 6858000"/>
              <a:gd name="connsiteX433" fmla="*/ 2147507 w 7467600"/>
              <a:gd name="connsiteY433" fmla="*/ 6858000 h 6858000"/>
              <a:gd name="connsiteX434" fmla="*/ 2070668 w 7467600"/>
              <a:gd name="connsiteY434" fmla="*/ 6761520 h 6858000"/>
              <a:gd name="connsiteX435" fmla="*/ 1975142 w 7467600"/>
              <a:gd name="connsiteY435" fmla="*/ 6585570 h 6858000"/>
              <a:gd name="connsiteX436" fmla="*/ 2050035 w 7467600"/>
              <a:gd name="connsiteY436" fmla="*/ 6813345 h 6858000"/>
              <a:gd name="connsiteX437" fmla="*/ 2063025 w 7467600"/>
              <a:gd name="connsiteY437" fmla="*/ 6858000 h 6858000"/>
              <a:gd name="connsiteX438" fmla="*/ 2021675 w 7467600"/>
              <a:gd name="connsiteY438" fmla="*/ 6858000 h 6858000"/>
              <a:gd name="connsiteX439" fmla="*/ 2019308 w 7467600"/>
              <a:gd name="connsiteY439" fmla="*/ 6847118 h 6858000"/>
              <a:gd name="connsiteX440" fmla="*/ 1938835 w 7467600"/>
              <a:gd name="connsiteY440" fmla="*/ 6551160 h 6858000"/>
              <a:gd name="connsiteX441" fmla="*/ 1953230 w 7467600"/>
              <a:gd name="connsiteY441" fmla="*/ 6759699 h 6858000"/>
              <a:gd name="connsiteX442" fmla="*/ 1956763 w 7467600"/>
              <a:gd name="connsiteY442" fmla="*/ 6778191 h 6858000"/>
              <a:gd name="connsiteX443" fmla="*/ 1967925 w 7467600"/>
              <a:gd name="connsiteY443" fmla="*/ 6858000 h 6858000"/>
              <a:gd name="connsiteX444" fmla="*/ 1936622 w 7467600"/>
              <a:gd name="connsiteY444" fmla="*/ 6858000 h 6858000"/>
              <a:gd name="connsiteX445" fmla="*/ 1926261 w 7467600"/>
              <a:gd name="connsiteY445" fmla="*/ 6784064 h 6858000"/>
              <a:gd name="connsiteX446" fmla="*/ 1922724 w 7467600"/>
              <a:gd name="connsiteY446" fmla="*/ 6765577 h 6858000"/>
              <a:gd name="connsiteX447" fmla="*/ 1904650 w 7467600"/>
              <a:gd name="connsiteY447" fmla="*/ 6639616 h 6858000"/>
              <a:gd name="connsiteX448" fmla="*/ 1885273 w 7467600"/>
              <a:gd name="connsiteY448" fmla="*/ 6858000 h 6858000"/>
              <a:gd name="connsiteX449" fmla="*/ 1854363 w 7467600"/>
              <a:gd name="connsiteY449" fmla="*/ 6858000 h 6858000"/>
              <a:gd name="connsiteX450" fmla="*/ 1880391 w 7467600"/>
              <a:gd name="connsiteY450" fmla="*/ 6603796 h 6858000"/>
              <a:gd name="connsiteX451" fmla="*/ 1818273 w 7467600"/>
              <a:gd name="connsiteY451" fmla="*/ 6715729 h 6858000"/>
              <a:gd name="connsiteX452" fmla="*/ 1794691 w 7467600"/>
              <a:gd name="connsiteY452" fmla="*/ 6843239 h 6858000"/>
              <a:gd name="connsiteX453" fmla="*/ 1794914 w 7467600"/>
              <a:gd name="connsiteY453" fmla="*/ 6858000 h 6858000"/>
              <a:gd name="connsiteX454" fmla="*/ 1746128 w 7467600"/>
              <a:gd name="connsiteY454" fmla="*/ 6858000 h 6858000"/>
              <a:gd name="connsiteX455" fmla="*/ 1753934 w 7467600"/>
              <a:gd name="connsiteY455" fmla="*/ 6724796 h 6858000"/>
              <a:gd name="connsiteX456" fmla="*/ 1792053 w 7467600"/>
              <a:gd name="connsiteY456" fmla="*/ 6572396 h 6858000"/>
              <a:gd name="connsiteX457" fmla="*/ 1862248 w 7467600"/>
              <a:gd name="connsiteY457" fmla="*/ 6266397 h 6858000"/>
              <a:gd name="connsiteX458" fmla="*/ 1862250 w 7467600"/>
              <a:gd name="connsiteY458" fmla="*/ 6033531 h 6858000"/>
              <a:gd name="connsiteX459" fmla="*/ 1211999 w 7467600"/>
              <a:gd name="connsiteY459" fmla="*/ 6683610 h 6858000"/>
              <a:gd name="connsiteX460" fmla="*/ 1213266 w 7467600"/>
              <a:gd name="connsiteY460" fmla="*/ 6691947 h 6858000"/>
              <a:gd name="connsiteX461" fmla="*/ 1203370 w 7467600"/>
              <a:gd name="connsiteY461" fmla="*/ 6850676 h 6858000"/>
              <a:gd name="connsiteX462" fmla="*/ 1203671 w 7467600"/>
              <a:gd name="connsiteY462" fmla="*/ 6858000 h 6858000"/>
              <a:gd name="connsiteX463" fmla="*/ 1143180 w 7467600"/>
              <a:gd name="connsiteY463" fmla="*/ 6858000 h 6858000"/>
              <a:gd name="connsiteX464" fmla="*/ 1142176 w 7467600"/>
              <a:gd name="connsiteY464" fmla="*/ 6766045 h 6858000"/>
              <a:gd name="connsiteX465" fmla="*/ 1067484 w 7467600"/>
              <a:gd name="connsiteY465" fmla="*/ 6858000 h 6858000"/>
              <a:gd name="connsiteX466" fmla="*/ 953928 w 7467600"/>
              <a:gd name="connsiteY466" fmla="*/ 6858000 h 6858000"/>
              <a:gd name="connsiteX467" fmla="*/ 959715 w 7467600"/>
              <a:gd name="connsiteY467" fmla="*/ 6850185 h 6858000"/>
              <a:gd name="connsiteX468" fmla="*/ 1483788 w 7467600"/>
              <a:gd name="connsiteY468" fmla="*/ 6259174 h 6858000"/>
              <a:gd name="connsiteX469" fmla="*/ 1100671 w 7467600"/>
              <a:gd name="connsiteY469" fmla="*/ 6252137 h 6858000"/>
              <a:gd name="connsiteX470" fmla="*/ 1090144 w 7467600"/>
              <a:gd name="connsiteY470" fmla="*/ 6256748 h 6858000"/>
              <a:gd name="connsiteX471" fmla="*/ 1095872 w 7467600"/>
              <a:gd name="connsiteY471" fmla="*/ 6271892 h 6858000"/>
              <a:gd name="connsiteX472" fmla="*/ 262785 w 7467600"/>
              <a:gd name="connsiteY472" fmla="*/ 6845450 h 6858000"/>
              <a:gd name="connsiteX473" fmla="*/ 209968 w 7467600"/>
              <a:gd name="connsiteY473" fmla="*/ 6770713 h 6858000"/>
              <a:gd name="connsiteX474" fmla="*/ 873460 w 7467600"/>
              <a:gd name="connsiteY474" fmla="*/ 6253768 h 6858000"/>
              <a:gd name="connsiteX475" fmla="*/ 192686 w 7467600"/>
              <a:gd name="connsiteY475" fmla="*/ 5849257 h 6858000"/>
              <a:gd name="connsiteX476" fmla="*/ 4696 w 7467600"/>
              <a:gd name="connsiteY476" fmla="*/ 5697668 h 6858000"/>
              <a:gd name="connsiteX477" fmla="*/ 0 w 7467600"/>
              <a:gd name="connsiteY477" fmla="*/ 5689984 h 6858000"/>
              <a:gd name="connsiteX478" fmla="*/ 0 w 7467600"/>
              <a:gd name="connsiteY478" fmla="*/ 5513472 h 6858000"/>
              <a:gd name="connsiteX479" fmla="*/ 174101 w 7467600"/>
              <a:gd name="connsiteY479" fmla="*/ 5620277 h 6858000"/>
              <a:gd name="connsiteX480" fmla="*/ 891800 w 7467600"/>
              <a:gd name="connsiteY480" fmla="*/ 6036935 h 6858000"/>
              <a:gd name="connsiteX481" fmla="*/ 1072219 w 7467600"/>
              <a:gd name="connsiteY481" fmla="*/ 6169443 h 6858000"/>
              <a:gd name="connsiteX482" fmla="*/ 1074117 w 7467600"/>
              <a:gd name="connsiteY482" fmla="*/ 6170301 h 6858000"/>
              <a:gd name="connsiteX483" fmla="*/ 1083114 w 7467600"/>
              <a:gd name="connsiteY483" fmla="*/ 6174131 h 6858000"/>
              <a:gd name="connsiteX484" fmla="*/ 1543010 w 7467600"/>
              <a:gd name="connsiteY484" fmla="*/ 6191140 h 6858000"/>
              <a:gd name="connsiteX485" fmla="*/ 1551080 w 7467600"/>
              <a:gd name="connsiteY485" fmla="*/ 6195006 h 6858000"/>
              <a:gd name="connsiteX486" fmla="*/ 2345443 w 7467600"/>
              <a:gd name="connsiteY486" fmla="*/ 5549882 h 6858000"/>
              <a:gd name="connsiteX487" fmla="*/ 1721499 w 7467600"/>
              <a:gd name="connsiteY487" fmla="*/ 5599969 h 6858000"/>
              <a:gd name="connsiteX488" fmla="*/ 767716 w 7467600"/>
              <a:gd name="connsiteY488" fmla="*/ 5472768 h 6858000"/>
              <a:gd name="connsiteX489" fmla="*/ 722147 w 7467600"/>
              <a:gd name="connsiteY489" fmla="*/ 5393091 h 6858000"/>
              <a:gd name="connsiteX490" fmla="*/ 1485552 w 7467600"/>
              <a:gd name="connsiteY490" fmla="*/ 5313202 h 6858000"/>
              <a:gd name="connsiteX491" fmla="*/ 2143004 w 7467600"/>
              <a:gd name="connsiteY491" fmla="*/ 5402420 h 6858000"/>
              <a:gd name="connsiteX492" fmla="*/ 1933391 w 7467600"/>
              <a:gd name="connsiteY492" fmla="*/ 5156971 h 6858000"/>
              <a:gd name="connsiteX493" fmla="*/ 1827118 w 7467600"/>
              <a:gd name="connsiteY493" fmla="*/ 4968410 h 6858000"/>
              <a:gd name="connsiteX494" fmla="*/ 1837349 w 7467600"/>
              <a:gd name="connsiteY494" fmla="*/ 4956357 h 6858000"/>
              <a:gd name="connsiteX495" fmla="*/ 2162835 w 7467600"/>
              <a:gd name="connsiteY495" fmla="*/ 5187853 h 6858000"/>
              <a:gd name="connsiteX496" fmla="*/ 2257167 w 7467600"/>
              <a:gd name="connsiteY496" fmla="*/ 5462123 h 6858000"/>
              <a:gd name="connsiteX497" fmla="*/ 2261598 w 7467600"/>
              <a:gd name="connsiteY497" fmla="*/ 5467998 h 6858000"/>
              <a:gd name="connsiteX498" fmla="*/ 2437177 w 7467600"/>
              <a:gd name="connsiteY498" fmla="*/ 5479608 h 6858000"/>
              <a:gd name="connsiteX499" fmla="*/ 2445247 w 7467600"/>
              <a:gd name="connsiteY499" fmla="*/ 5483476 h 6858000"/>
              <a:gd name="connsiteX500" fmla="*/ 2743626 w 7467600"/>
              <a:gd name="connsiteY500" fmla="*/ 5304819 h 6858000"/>
              <a:gd name="connsiteX501" fmla="*/ 3048102 w 7467600"/>
              <a:gd name="connsiteY501" fmla="*/ 5150595 h 6858000"/>
              <a:gd name="connsiteX502" fmla="*/ 1799414 w 7467600"/>
              <a:gd name="connsiteY502" fmla="*/ 4694732 h 6858000"/>
              <a:gd name="connsiteX503" fmla="*/ 1771735 w 7467600"/>
              <a:gd name="connsiteY503" fmla="*/ 4619929 h 6858000"/>
              <a:gd name="connsiteX504" fmla="*/ 3104273 w 7467600"/>
              <a:gd name="connsiteY504" fmla="*/ 5076159 h 6858000"/>
              <a:gd name="connsiteX505" fmla="*/ 3113245 w 7467600"/>
              <a:gd name="connsiteY505" fmla="*/ 5090705 h 6858000"/>
              <a:gd name="connsiteX506" fmla="*/ 3126294 w 7467600"/>
              <a:gd name="connsiteY506" fmla="*/ 5114400 h 6858000"/>
              <a:gd name="connsiteX507" fmla="*/ 3937433 w 7467600"/>
              <a:gd name="connsiteY507" fmla="*/ 4830473 h 6858000"/>
              <a:gd name="connsiteX508" fmla="*/ 3590475 w 7467600"/>
              <a:gd name="connsiteY508" fmla="*/ 4597974 h 6858000"/>
              <a:gd name="connsiteX509" fmla="*/ 3100264 w 7467600"/>
              <a:gd name="connsiteY509" fmla="*/ 4579845 h 6858000"/>
              <a:gd name="connsiteX510" fmla="*/ 2183576 w 7467600"/>
              <a:gd name="connsiteY510" fmla="*/ 4227150 h 6858000"/>
              <a:gd name="connsiteX511" fmla="*/ 2151029 w 7467600"/>
              <a:gd name="connsiteY511" fmla="*/ 4146947 h 6858000"/>
              <a:gd name="connsiteX512" fmla="*/ 3563434 w 7467600"/>
              <a:gd name="connsiteY512" fmla="*/ 4469115 h 6858000"/>
              <a:gd name="connsiteX513" fmla="*/ 3177952 w 7467600"/>
              <a:gd name="connsiteY513" fmla="*/ 3657386 h 6858000"/>
              <a:gd name="connsiteX514" fmla="*/ 3189263 w 7467600"/>
              <a:gd name="connsiteY514" fmla="*/ 3625726 h 6858000"/>
              <a:gd name="connsiteX515" fmla="*/ 3560912 w 7467600"/>
              <a:gd name="connsiteY515" fmla="*/ 4079863 h 6858000"/>
              <a:gd name="connsiteX516" fmla="*/ 3626636 w 7467600"/>
              <a:gd name="connsiteY516" fmla="*/ 4512230 h 6858000"/>
              <a:gd name="connsiteX517" fmla="*/ 3653088 w 7467600"/>
              <a:gd name="connsiteY517" fmla="*/ 4521417 h 6858000"/>
              <a:gd name="connsiteX518" fmla="*/ 3988128 w 7467600"/>
              <a:gd name="connsiteY518" fmla="*/ 4817267 h 6858000"/>
              <a:gd name="connsiteX519" fmla="*/ 4830582 w 7467600"/>
              <a:gd name="connsiteY519" fmla="*/ 4676000 h 6858000"/>
              <a:gd name="connsiteX520" fmla="*/ 4830100 w 7467600"/>
              <a:gd name="connsiteY520" fmla="*/ 4675554 h 6858000"/>
              <a:gd name="connsiteX521" fmla="*/ 4036318 w 7467600"/>
              <a:gd name="connsiteY521" fmla="*/ 4147013 h 6858000"/>
              <a:gd name="connsiteX522" fmla="*/ 3432098 w 7467600"/>
              <a:gd name="connsiteY522" fmla="*/ 3537312 h 6858000"/>
              <a:gd name="connsiteX523" fmla="*/ 3446761 w 7467600"/>
              <a:gd name="connsiteY523" fmla="*/ 3461278 h 6858000"/>
              <a:gd name="connsiteX524" fmla="*/ 4419733 w 7467600"/>
              <a:gd name="connsiteY524" fmla="*/ 3963555 h 6858000"/>
              <a:gd name="connsiteX525" fmla="*/ 4781371 w 7467600"/>
              <a:gd name="connsiteY525" fmla="*/ 4458604 h 6858000"/>
              <a:gd name="connsiteX526" fmla="*/ 4780440 w 7467600"/>
              <a:gd name="connsiteY526" fmla="*/ 4470290 h 6858000"/>
              <a:gd name="connsiteX527" fmla="*/ 4898954 w 7467600"/>
              <a:gd name="connsiteY527" fmla="*/ 4662092 h 6858000"/>
              <a:gd name="connsiteX528" fmla="*/ 4900699 w 7467600"/>
              <a:gd name="connsiteY528" fmla="*/ 4670867 h 6858000"/>
              <a:gd name="connsiteX529" fmla="*/ 5714511 w 7467600"/>
              <a:gd name="connsiteY529" fmla="*/ 4663483 h 6858000"/>
              <a:gd name="connsiteX530" fmla="*/ 5464793 w 7467600"/>
              <a:gd name="connsiteY530" fmla="*/ 4393556 h 6858000"/>
              <a:gd name="connsiteX531" fmla="*/ 5461897 w 7467600"/>
              <a:gd name="connsiteY531" fmla="*/ 4390879 h 6858000"/>
              <a:gd name="connsiteX532" fmla="*/ 4294126 w 7467600"/>
              <a:gd name="connsiteY532" fmla="*/ 3303048 h 6858000"/>
              <a:gd name="connsiteX533" fmla="*/ 4305321 w 7467600"/>
              <a:gd name="connsiteY533" fmla="*/ 3256953 h 6858000"/>
              <a:gd name="connsiteX534" fmla="*/ 4949299 w 7467600"/>
              <a:gd name="connsiteY534" fmla="*/ 3766336 h 6858000"/>
              <a:gd name="connsiteX535" fmla="*/ 5291452 w 7467600"/>
              <a:gd name="connsiteY535" fmla="*/ 4076801 h 6858000"/>
              <a:gd name="connsiteX536" fmla="*/ 5434998 w 7467600"/>
              <a:gd name="connsiteY536" fmla="*/ 4254100 h 6858000"/>
              <a:gd name="connsiteX537" fmla="*/ 5351015 w 7467600"/>
              <a:gd name="connsiteY537" fmla="*/ 3760989 h 6858000"/>
              <a:gd name="connsiteX538" fmla="*/ 5413780 w 7467600"/>
              <a:gd name="connsiteY538" fmla="*/ 2966265 h 6858000"/>
              <a:gd name="connsiteX539" fmla="*/ 5425627 w 7467600"/>
              <a:gd name="connsiteY539" fmla="*/ 2954192 h 6858000"/>
              <a:gd name="connsiteX540" fmla="*/ 6604735 w 7467600"/>
              <a:gd name="connsiteY540" fmla="*/ 2041381 h 6858000"/>
              <a:gd name="connsiteX541" fmla="*/ 7204487 w 7467600"/>
              <a:gd name="connsiteY541" fmla="*/ 2742112 h 6858000"/>
              <a:gd name="connsiteX542" fmla="*/ 7131592 w 7467600"/>
              <a:gd name="connsiteY542" fmla="*/ 2672096 h 6858000"/>
              <a:gd name="connsiteX543" fmla="*/ 6996344 w 7467600"/>
              <a:gd name="connsiteY543" fmla="*/ 2518310 h 6858000"/>
              <a:gd name="connsiteX544" fmla="*/ 6735495 w 7467600"/>
              <a:gd name="connsiteY544" fmla="*/ 2196890 h 6858000"/>
              <a:gd name="connsiteX545" fmla="*/ 6721901 w 7467600"/>
              <a:gd name="connsiteY545" fmla="*/ 2179274 h 6858000"/>
              <a:gd name="connsiteX546" fmla="*/ 6604735 w 7467600"/>
              <a:gd name="connsiteY546" fmla="*/ 2041381 h 6858000"/>
              <a:gd name="connsiteX547" fmla="*/ 6591670 w 7467600"/>
              <a:gd name="connsiteY547" fmla="*/ 1988277 h 6858000"/>
              <a:gd name="connsiteX548" fmla="*/ 6747349 w 7467600"/>
              <a:gd name="connsiteY548" fmla="*/ 2160069 h 6858000"/>
              <a:gd name="connsiteX549" fmla="*/ 6760943 w 7467600"/>
              <a:gd name="connsiteY549" fmla="*/ 2177686 h 6858000"/>
              <a:gd name="connsiteX550" fmla="*/ 7021065 w 7467600"/>
              <a:gd name="connsiteY550" fmla="*/ 2498102 h 6858000"/>
              <a:gd name="connsiteX551" fmla="*/ 7155223 w 7467600"/>
              <a:gd name="connsiteY551" fmla="*/ 2650386 h 6858000"/>
              <a:gd name="connsiteX552" fmla="*/ 7203167 w 7467600"/>
              <a:gd name="connsiteY552" fmla="*/ 2697288 h 6858000"/>
              <a:gd name="connsiteX553" fmla="*/ 6937703 w 7467600"/>
              <a:gd name="connsiteY553" fmla="*/ 2321981 h 6858000"/>
              <a:gd name="connsiteX554" fmla="*/ 6591670 w 7467600"/>
              <a:gd name="connsiteY554" fmla="*/ 1988277 h 6858000"/>
              <a:gd name="connsiteX555" fmla="*/ 5798671 w 7467600"/>
              <a:gd name="connsiteY555" fmla="*/ 1981601 h 6858000"/>
              <a:gd name="connsiteX556" fmla="*/ 5754709 w 7467600"/>
              <a:gd name="connsiteY556" fmla="*/ 2071454 h 6858000"/>
              <a:gd name="connsiteX557" fmla="*/ 5763044 w 7467600"/>
              <a:gd name="connsiteY557" fmla="*/ 2842206 h 6858000"/>
              <a:gd name="connsiteX558" fmla="*/ 5764974 w 7467600"/>
              <a:gd name="connsiteY558" fmla="*/ 2799609 h 6858000"/>
              <a:gd name="connsiteX559" fmla="*/ 5767665 w 7467600"/>
              <a:gd name="connsiteY559" fmla="*/ 2666409 h 6858000"/>
              <a:gd name="connsiteX560" fmla="*/ 5763055 w 7467600"/>
              <a:gd name="connsiteY560" fmla="*/ 2579705 h 6858000"/>
              <a:gd name="connsiteX561" fmla="*/ 5758079 w 7467600"/>
              <a:gd name="connsiteY561" fmla="*/ 2492508 h 6858000"/>
              <a:gd name="connsiteX562" fmla="*/ 5779325 w 7467600"/>
              <a:gd name="connsiteY562" fmla="*/ 2197069 h 6858000"/>
              <a:gd name="connsiteX563" fmla="*/ 5798671 w 7467600"/>
              <a:gd name="connsiteY563" fmla="*/ 1981601 h 6858000"/>
              <a:gd name="connsiteX564" fmla="*/ 5829202 w 7467600"/>
              <a:gd name="connsiteY564" fmla="*/ 1971679 h 6858000"/>
              <a:gd name="connsiteX565" fmla="*/ 5809558 w 7467600"/>
              <a:gd name="connsiteY565" fmla="*/ 2198043 h 6858000"/>
              <a:gd name="connsiteX566" fmla="*/ 5788653 w 7467600"/>
              <a:gd name="connsiteY566" fmla="*/ 2489430 h 6858000"/>
              <a:gd name="connsiteX567" fmla="*/ 5793439 w 7467600"/>
              <a:gd name="connsiteY567" fmla="*/ 2575235 h 6858000"/>
              <a:gd name="connsiteX568" fmla="*/ 5796837 w 7467600"/>
              <a:gd name="connsiteY568" fmla="*/ 2637633 h 6858000"/>
              <a:gd name="connsiteX569" fmla="*/ 5818614 w 7467600"/>
              <a:gd name="connsiteY569" fmla="*/ 2473055 h 6858000"/>
              <a:gd name="connsiteX570" fmla="*/ 5829202 w 7467600"/>
              <a:gd name="connsiteY570" fmla="*/ 1971679 h 6858000"/>
              <a:gd name="connsiteX571" fmla="*/ 5911389 w 7467600"/>
              <a:gd name="connsiteY571" fmla="*/ 1898371 h 6858000"/>
              <a:gd name="connsiteX572" fmla="*/ 6237627 w 7467600"/>
              <a:gd name="connsiteY572" fmla="*/ 2231921 h 6858000"/>
              <a:gd name="connsiteX573" fmla="*/ 5911389 w 7467600"/>
              <a:gd name="connsiteY573" fmla="*/ 1898371 h 6858000"/>
              <a:gd name="connsiteX574" fmla="*/ 6944437 w 7467600"/>
              <a:gd name="connsiteY574" fmla="*/ 1575402 h 6858000"/>
              <a:gd name="connsiteX575" fmla="*/ 6304730 w 7467600"/>
              <a:gd name="connsiteY575" fmla="*/ 1766654 h 6858000"/>
              <a:gd name="connsiteX576" fmla="*/ 6944437 w 7467600"/>
              <a:gd name="connsiteY576" fmla="*/ 1575402 h 6858000"/>
              <a:gd name="connsiteX577" fmla="*/ 7019523 w 7467600"/>
              <a:gd name="connsiteY577" fmla="*/ 1519450 h 6858000"/>
              <a:gd name="connsiteX578" fmla="*/ 6298091 w 7467600"/>
              <a:gd name="connsiteY578" fmla="*/ 1737122 h 6858000"/>
              <a:gd name="connsiteX579" fmla="*/ 7019523 w 7467600"/>
              <a:gd name="connsiteY579" fmla="*/ 1519450 h 6858000"/>
              <a:gd name="connsiteX580" fmla="*/ 2399523 w 7467600"/>
              <a:gd name="connsiteY580" fmla="*/ 1428234 h 6858000"/>
              <a:gd name="connsiteX581" fmla="*/ 2224982 w 7467600"/>
              <a:gd name="connsiteY581" fmla="*/ 1826201 h 6858000"/>
              <a:gd name="connsiteX582" fmla="*/ 2096099 w 7467600"/>
              <a:gd name="connsiteY582" fmla="*/ 2345900 h 6858000"/>
              <a:gd name="connsiteX583" fmla="*/ 2283317 w 7467600"/>
              <a:gd name="connsiteY583" fmla="*/ 1796925 h 6858000"/>
              <a:gd name="connsiteX584" fmla="*/ 2399523 w 7467600"/>
              <a:gd name="connsiteY584" fmla="*/ 1428234 h 6858000"/>
              <a:gd name="connsiteX585" fmla="*/ 2448558 w 7467600"/>
              <a:gd name="connsiteY585" fmla="*/ 1373435 h 6858000"/>
              <a:gd name="connsiteX586" fmla="*/ 2312521 w 7467600"/>
              <a:gd name="connsiteY586" fmla="*/ 1806140 h 6858000"/>
              <a:gd name="connsiteX587" fmla="*/ 2127533 w 7467600"/>
              <a:gd name="connsiteY587" fmla="*/ 2348380 h 6858000"/>
              <a:gd name="connsiteX588" fmla="*/ 2358080 w 7467600"/>
              <a:gd name="connsiteY588" fmla="*/ 1866134 h 6858000"/>
              <a:gd name="connsiteX589" fmla="*/ 2407436 w 7467600"/>
              <a:gd name="connsiteY589" fmla="*/ 1651070 h 6858000"/>
              <a:gd name="connsiteX590" fmla="*/ 2448558 w 7467600"/>
              <a:gd name="connsiteY590" fmla="*/ 1373435 h 6858000"/>
              <a:gd name="connsiteX591" fmla="*/ 278707 w 7467600"/>
              <a:gd name="connsiteY591" fmla="*/ 1352270 h 6858000"/>
              <a:gd name="connsiteX592" fmla="*/ 321570 w 7467600"/>
              <a:gd name="connsiteY592" fmla="*/ 1861610 h 6858000"/>
              <a:gd name="connsiteX593" fmla="*/ 294281 w 7467600"/>
              <a:gd name="connsiteY593" fmla="*/ 1440658 h 6858000"/>
              <a:gd name="connsiteX594" fmla="*/ 278707 w 7467600"/>
              <a:gd name="connsiteY594" fmla="*/ 1352270 h 6858000"/>
              <a:gd name="connsiteX595" fmla="*/ 1423821 w 7467600"/>
              <a:gd name="connsiteY595" fmla="*/ 1351958 h 6858000"/>
              <a:gd name="connsiteX596" fmla="*/ 1638521 w 7467600"/>
              <a:gd name="connsiteY596" fmla="*/ 1908470 h 6858000"/>
              <a:gd name="connsiteX597" fmla="*/ 1754199 w 7467600"/>
              <a:gd name="connsiteY597" fmla="*/ 2149284 h 6858000"/>
              <a:gd name="connsiteX598" fmla="*/ 1908359 w 7467600"/>
              <a:gd name="connsiteY598" fmla="*/ 2364988 h 6858000"/>
              <a:gd name="connsiteX599" fmla="*/ 1647661 w 7467600"/>
              <a:gd name="connsiteY599" fmla="*/ 1825945 h 6858000"/>
              <a:gd name="connsiteX600" fmla="*/ 1423821 w 7467600"/>
              <a:gd name="connsiteY600" fmla="*/ 1351958 h 6858000"/>
              <a:gd name="connsiteX601" fmla="*/ 1431890 w 7467600"/>
              <a:gd name="connsiteY601" fmla="*/ 1306475 h 6858000"/>
              <a:gd name="connsiteX602" fmla="*/ 1507597 w 7467600"/>
              <a:gd name="connsiteY602" fmla="*/ 1446132 h 6858000"/>
              <a:gd name="connsiteX603" fmla="*/ 1674586 w 7467600"/>
              <a:gd name="connsiteY603" fmla="*/ 1813832 h 6858000"/>
              <a:gd name="connsiteX604" fmla="*/ 1815950 w 7467600"/>
              <a:gd name="connsiteY604" fmla="*/ 2128564 h 6858000"/>
              <a:gd name="connsiteX605" fmla="*/ 1984242 w 7467600"/>
              <a:gd name="connsiteY605" fmla="*/ 2430829 h 6858000"/>
              <a:gd name="connsiteX606" fmla="*/ 2014023 w 7467600"/>
              <a:gd name="connsiteY606" fmla="*/ 2450995 h 6858000"/>
              <a:gd name="connsiteX607" fmla="*/ 1747337 w 7467600"/>
              <a:gd name="connsiteY607" fmla="*/ 1855264 h 6858000"/>
              <a:gd name="connsiteX608" fmla="*/ 1533749 w 7467600"/>
              <a:gd name="connsiteY608" fmla="*/ 1478656 h 6858000"/>
              <a:gd name="connsiteX609" fmla="*/ 1431890 w 7467600"/>
              <a:gd name="connsiteY609" fmla="*/ 1306475 h 6858000"/>
              <a:gd name="connsiteX610" fmla="*/ 5052692 w 7467600"/>
              <a:gd name="connsiteY610" fmla="*/ 1292994 h 6858000"/>
              <a:gd name="connsiteX611" fmla="*/ 5200661 w 7467600"/>
              <a:gd name="connsiteY611" fmla="*/ 1635186 h 6858000"/>
              <a:gd name="connsiteX612" fmla="*/ 5297138 w 7467600"/>
              <a:gd name="connsiteY612" fmla="*/ 1906351 h 6858000"/>
              <a:gd name="connsiteX613" fmla="*/ 5052692 w 7467600"/>
              <a:gd name="connsiteY613" fmla="*/ 1292994 h 6858000"/>
              <a:gd name="connsiteX614" fmla="*/ 5009948 w 7467600"/>
              <a:gd name="connsiteY614" fmla="*/ 1273619 h 6858000"/>
              <a:gd name="connsiteX615" fmla="*/ 5121777 w 7467600"/>
              <a:gd name="connsiteY615" fmla="*/ 1654213 h 6858000"/>
              <a:gd name="connsiteX616" fmla="*/ 5293545 w 7467600"/>
              <a:gd name="connsiteY616" fmla="*/ 2072247 h 6858000"/>
              <a:gd name="connsiteX617" fmla="*/ 5294042 w 7467600"/>
              <a:gd name="connsiteY617" fmla="*/ 2065019 h 6858000"/>
              <a:gd name="connsiteX618" fmla="*/ 5171936 w 7467600"/>
              <a:gd name="connsiteY618" fmla="*/ 1647613 h 6858000"/>
              <a:gd name="connsiteX619" fmla="*/ 5009948 w 7467600"/>
              <a:gd name="connsiteY619" fmla="*/ 1273619 h 6858000"/>
              <a:gd name="connsiteX620" fmla="*/ 655236 w 7467600"/>
              <a:gd name="connsiteY620" fmla="*/ 1268632 h 6858000"/>
              <a:gd name="connsiteX621" fmla="*/ 839521 w 7467600"/>
              <a:gd name="connsiteY621" fmla="*/ 1685315 h 6858000"/>
              <a:gd name="connsiteX622" fmla="*/ 1109416 w 7467600"/>
              <a:gd name="connsiteY622" fmla="*/ 2061663 h 6858000"/>
              <a:gd name="connsiteX623" fmla="*/ 1298300 w 7467600"/>
              <a:gd name="connsiteY623" fmla="*/ 2247742 h 6858000"/>
              <a:gd name="connsiteX624" fmla="*/ 1125871 w 7467600"/>
              <a:gd name="connsiteY624" fmla="*/ 1989513 h 6858000"/>
              <a:gd name="connsiteX625" fmla="*/ 981574 w 7467600"/>
              <a:gd name="connsiteY625" fmla="*/ 1783157 h 6858000"/>
              <a:gd name="connsiteX626" fmla="*/ 922198 w 7467600"/>
              <a:gd name="connsiteY626" fmla="*/ 1677437 h 6858000"/>
              <a:gd name="connsiteX627" fmla="*/ 869293 w 7467600"/>
              <a:gd name="connsiteY627" fmla="*/ 1583214 h 6858000"/>
              <a:gd name="connsiteX628" fmla="*/ 751431 w 7467600"/>
              <a:gd name="connsiteY628" fmla="*/ 1405731 h 6858000"/>
              <a:gd name="connsiteX629" fmla="*/ 655236 w 7467600"/>
              <a:gd name="connsiteY629" fmla="*/ 1268632 h 6858000"/>
              <a:gd name="connsiteX630" fmla="*/ 6516292 w 7467600"/>
              <a:gd name="connsiteY630" fmla="*/ 1263064 h 6858000"/>
              <a:gd name="connsiteX631" fmla="*/ 5736320 w 7467600"/>
              <a:gd name="connsiteY631" fmla="*/ 1501803 h 6858000"/>
              <a:gd name="connsiteX632" fmla="*/ 6516292 w 7467600"/>
              <a:gd name="connsiteY632" fmla="*/ 1263064 h 6858000"/>
              <a:gd name="connsiteX633" fmla="*/ 291466 w 7467600"/>
              <a:gd name="connsiteY633" fmla="*/ 1250369 h 6858000"/>
              <a:gd name="connsiteX634" fmla="*/ 323180 w 7467600"/>
              <a:gd name="connsiteY634" fmla="*/ 1435283 h 6858000"/>
              <a:gd name="connsiteX635" fmla="*/ 349381 w 7467600"/>
              <a:gd name="connsiteY635" fmla="*/ 1875041 h 6858000"/>
              <a:gd name="connsiteX636" fmla="*/ 374363 w 7467600"/>
              <a:gd name="connsiteY636" fmla="*/ 1506494 h 6858000"/>
              <a:gd name="connsiteX637" fmla="*/ 302168 w 7467600"/>
              <a:gd name="connsiteY637" fmla="*/ 1274495 h 6858000"/>
              <a:gd name="connsiteX638" fmla="*/ 291466 w 7467600"/>
              <a:gd name="connsiteY638" fmla="*/ 1250369 h 6858000"/>
              <a:gd name="connsiteX639" fmla="*/ 678222 w 7467600"/>
              <a:gd name="connsiteY639" fmla="*/ 1248670 h 6858000"/>
              <a:gd name="connsiteX640" fmla="*/ 775536 w 7467600"/>
              <a:gd name="connsiteY640" fmla="*/ 1388015 h 6858000"/>
              <a:gd name="connsiteX641" fmla="*/ 894529 w 7467600"/>
              <a:gd name="connsiteY641" fmla="*/ 1567739 h 6858000"/>
              <a:gd name="connsiteX642" fmla="*/ 948000 w 7467600"/>
              <a:gd name="connsiteY642" fmla="*/ 1663088 h 6858000"/>
              <a:gd name="connsiteX643" fmla="*/ 1006812 w 7467600"/>
              <a:gd name="connsiteY643" fmla="*/ 1767683 h 6858000"/>
              <a:gd name="connsiteX644" fmla="*/ 1149133 w 7467600"/>
              <a:gd name="connsiteY644" fmla="*/ 1971513 h 6858000"/>
              <a:gd name="connsiteX645" fmla="*/ 1333952 w 7467600"/>
              <a:gd name="connsiteY645" fmla="*/ 2251620 h 6858000"/>
              <a:gd name="connsiteX646" fmla="*/ 1337329 w 7467600"/>
              <a:gd name="connsiteY646" fmla="*/ 2258350 h 6858000"/>
              <a:gd name="connsiteX647" fmla="*/ 1014726 w 7467600"/>
              <a:gd name="connsiteY647" fmla="*/ 1615556 h 6858000"/>
              <a:gd name="connsiteX648" fmla="*/ 678222 w 7467600"/>
              <a:gd name="connsiteY648" fmla="*/ 1248670 h 6858000"/>
              <a:gd name="connsiteX649" fmla="*/ 6691602 w 7467600"/>
              <a:gd name="connsiteY649" fmla="*/ 1140573 h 6858000"/>
              <a:gd name="connsiteX650" fmla="*/ 6571100 w 7467600"/>
              <a:gd name="connsiteY650" fmla="*/ 1183662 h 6858000"/>
              <a:gd name="connsiteX651" fmla="*/ 6241687 w 7467600"/>
              <a:gd name="connsiteY651" fmla="*/ 1257600 h 6858000"/>
              <a:gd name="connsiteX652" fmla="*/ 5693009 w 7467600"/>
              <a:gd name="connsiteY652" fmla="*/ 1478256 h 6858000"/>
              <a:gd name="connsiteX653" fmla="*/ 6548420 w 7467600"/>
              <a:gd name="connsiteY653" fmla="*/ 1214599 h 6858000"/>
              <a:gd name="connsiteX654" fmla="*/ 6605473 w 7467600"/>
              <a:gd name="connsiteY654" fmla="*/ 1184686 h 6858000"/>
              <a:gd name="connsiteX655" fmla="*/ 6691602 w 7467600"/>
              <a:gd name="connsiteY655" fmla="*/ 1140573 h 6858000"/>
              <a:gd name="connsiteX656" fmla="*/ 4002475 w 7467600"/>
              <a:gd name="connsiteY656" fmla="*/ 1037802 h 6858000"/>
              <a:gd name="connsiteX657" fmla="*/ 4000324 w 7467600"/>
              <a:gd name="connsiteY657" fmla="*/ 1039362 h 6858000"/>
              <a:gd name="connsiteX658" fmla="*/ 4002862 w 7467600"/>
              <a:gd name="connsiteY658" fmla="*/ 1042866 h 6858000"/>
              <a:gd name="connsiteX659" fmla="*/ 4002475 w 7467600"/>
              <a:gd name="connsiteY659" fmla="*/ 1037802 h 6858000"/>
              <a:gd name="connsiteX660" fmla="*/ 506322 w 7467600"/>
              <a:gd name="connsiteY660" fmla="*/ 1020997 h 6858000"/>
              <a:gd name="connsiteX661" fmla="*/ 533068 w 7467600"/>
              <a:gd name="connsiteY661" fmla="*/ 1029409 h 6858000"/>
              <a:gd name="connsiteX662" fmla="*/ 1232525 w 7467600"/>
              <a:gd name="connsiteY662" fmla="*/ 1804675 h 6858000"/>
              <a:gd name="connsiteX663" fmla="*/ 1388858 w 7467600"/>
              <a:gd name="connsiteY663" fmla="*/ 2368011 h 6858000"/>
              <a:gd name="connsiteX664" fmla="*/ 1384098 w 7467600"/>
              <a:gd name="connsiteY664" fmla="*/ 2378125 h 6858000"/>
              <a:gd name="connsiteX665" fmla="*/ 1425393 w 7467600"/>
              <a:gd name="connsiteY665" fmla="*/ 2589124 h 6858000"/>
              <a:gd name="connsiteX666" fmla="*/ 1424001 w 7467600"/>
              <a:gd name="connsiteY666" fmla="*/ 2597541 h 6858000"/>
              <a:gd name="connsiteX667" fmla="*/ 2152729 w 7467600"/>
              <a:gd name="connsiteY667" fmla="*/ 2864487 h 6858000"/>
              <a:gd name="connsiteX668" fmla="*/ 2020609 w 7467600"/>
              <a:gd name="connsiteY668" fmla="*/ 2539671 h 6858000"/>
              <a:gd name="connsiteX669" fmla="*/ 2018920 w 7467600"/>
              <a:gd name="connsiteY669" fmla="*/ 2536309 h 6858000"/>
              <a:gd name="connsiteX670" fmla="*/ 1342441 w 7467600"/>
              <a:gd name="connsiteY670" fmla="*/ 1173017 h 6858000"/>
              <a:gd name="connsiteX671" fmla="*/ 1367925 w 7467600"/>
              <a:gd name="connsiteY671" fmla="*/ 1135648 h 6858000"/>
              <a:gd name="connsiteX672" fmla="*/ 1771401 w 7467600"/>
              <a:gd name="connsiteY672" fmla="*/ 1806673 h 6858000"/>
              <a:gd name="connsiteX673" fmla="*/ 1972385 w 7467600"/>
              <a:gd name="connsiteY673" fmla="*/ 2198735 h 6858000"/>
              <a:gd name="connsiteX674" fmla="*/ 2040892 w 7467600"/>
              <a:gd name="connsiteY674" fmla="*/ 2405205 h 6858000"/>
              <a:gd name="connsiteX675" fmla="*/ 2131689 w 7467600"/>
              <a:gd name="connsiteY675" fmla="*/ 1936926 h 6858000"/>
              <a:gd name="connsiteX676" fmla="*/ 2454820 w 7467600"/>
              <a:gd name="connsiteY676" fmla="*/ 1248808 h 6858000"/>
              <a:gd name="connsiteX677" fmla="*/ 2492512 w 7467600"/>
              <a:gd name="connsiteY677" fmla="*/ 1302920 h 6858000"/>
              <a:gd name="connsiteX678" fmla="*/ 2081216 w 7467600"/>
              <a:gd name="connsiteY678" fmla="*/ 2527513 h 6858000"/>
              <a:gd name="connsiteX679" fmla="*/ 2081211 w 7467600"/>
              <a:gd name="connsiteY679" fmla="*/ 2528916 h 6858000"/>
              <a:gd name="connsiteX680" fmla="*/ 2199067 w 7467600"/>
              <a:gd name="connsiteY680" fmla="*/ 2884061 h 6858000"/>
              <a:gd name="connsiteX681" fmla="*/ 3192586 w 7467600"/>
              <a:gd name="connsiteY681" fmla="*/ 3411496 h 6858000"/>
              <a:gd name="connsiteX682" fmla="*/ 3182620 w 7467600"/>
              <a:gd name="connsiteY682" fmla="*/ 3483279 h 6858000"/>
              <a:gd name="connsiteX683" fmla="*/ 2435119 w 7467600"/>
              <a:gd name="connsiteY683" fmla="*/ 3080173 h 6858000"/>
              <a:gd name="connsiteX684" fmla="*/ 2410152 w 7467600"/>
              <a:gd name="connsiteY684" fmla="*/ 3063751 h 6858000"/>
              <a:gd name="connsiteX685" fmla="*/ 2408099 w 7467600"/>
              <a:gd name="connsiteY685" fmla="*/ 3064403 h 6858000"/>
              <a:gd name="connsiteX686" fmla="*/ 2407218 w 7467600"/>
              <a:gd name="connsiteY686" fmla="*/ 3070324 h 6858000"/>
              <a:gd name="connsiteX687" fmla="*/ 2380138 w 7467600"/>
              <a:gd name="connsiteY687" fmla="*/ 3099341 h 6858000"/>
              <a:gd name="connsiteX688" fmla="*/ 1765923 w 7467600"/>
              <a:gd name="connsiteY688" fmla="*/ 3581043 h 6858000"/>
              <a:gd name="connsiteX689" fmla="*/ 1702258 w 7467600"/>
              <a:gd name="connsiteY689" fmla="*/ 3612286 h 6858000"/>
              <a:gd name="connsiteX690" fmla="*/ 1538370 w 7467600"/>
              <a:gd name="connsiteY690" fmla="*/ 3811804 h 6858000"/>
              <a:gd name="connsiteX691" fmla="*/ 542867 w 7467600"/>
              <a:gd name="connsiteY691" fmla="*/ 4944092 h 6858000"/>
              <a:gd name="connsiteX692" fmla="*/ 515800 w 7467600"/>
              <a:gd name="connsiteY692" fmla="*/ 4862180 h 6858000"/>
              <a:gd name="connsiteX693" fmla="*/ 909145 w 7467600"/>
              <a:gd name="connsiteY693" fmla="*/ 4199225 h 6858000"/>
              <a:gd name="connsiteX694" fmla="*/ 1214067 w 7467600"/>
              <a:gd name="connsiteY694" fmla="*/ 3908561 h 6858000"/>
              <a:gd name="connsiteX695" fmla="*/ 640967 w 7467600"/>
              <a:gd name="connsiteY695" fmla="*/ 4105601 h 6858000"/>
              <a:gd name="connsiteX696" fmla="*/ 112563 w 7467600"/>
              <a:gd name="connsiteY696" fmla="*/ 4396952 h 6858000"/>
              <a:gd name="connsiteX697" fmla="*/ 0 w 7467600"/>
              <a:gd name="connsiteY697" fmla="*/ 4466006 h 6858000"/>
              <a:gd name="connsiteX698" fmla="*/ 0 w 7467600"/>
              <a:gd name="connsiteY698" fmla="*/ 4233763 h 6858000"/>
              <a:gd name="connsiteX699" fmla="*/ 36881 w 7467600"/>
              <a:gd name="connsiteY699" fmla="*/ 4200118 h 6858000"/>
              <a:gd name="connsiteX700" fmla="*/ 910534 w 7467600"/>
              <a:gd name="connsiteY700" fmla="*/ 3629753 h 6858000"/>
              <a:gd name="connsiteX701" fmla="*/ 1578717 w 7467600"/>
              <a:gd name="connsiteY701" fmla="*/ 3575982 h 6858000"/>
              <a:gd name="connsiteX702" fmla="*/ 2338780 w 7467600"/>
              <a:gd name="connsiteY702" fmla="*/ 3033725 h 6858000"/>
              <a:gd name="connsiteX703" fmla="*/ 1807991 w 7467600"/>
              <a:gd name="connsiteY703" fmla="*/ 2807184 h 6858000"/>
              <a:gd name="connsiteX704" fmla="*/ 1416358 w 7467600"/>
              <a:gd name="connsiteY704" fmla="*/ 3112571 h 6858000"/>
              <a:gd name="connsiteX705" fmla="*/ 939066 w 7467600"/>
              <a:gd name="connsiteY705" fmla="*/ 3378798 h 6858000"/>
              <a:gd name="connsiteX706" fmla="*/ 115099 w 7467600"/>
              <a:gd name="connsiteY706" fmla="*/ 3607650 h 6858000"/>
              <a:gd name="connsiteX707" fmla="*/ 97284 w 7467600"/>
              <a:gd name="connsiteY707" fmla="*/ 3520393 h 6858000"/>
              <a:gd name="connsiteX708" fmla="*/ 922050 w 7467600"/>
              <a:gd name="connsiteY708" fmla="*/ 3074867 h 6858000"/>
              <a:gd name="connsiteX709" fmla="*/ 1405265 w 7467600"/>
              <a:gd name="connsiteY709" fmla="*/ 3016319 h 6858000"/>
              <a:gd name="connsiteX710" fmla="*/ 1407512 w 7467600"/>
              <a:gd name="connsiteY710" fmla="*/ 3018001 h 6858000"/>
              <a:gd name="connsiteX711" fmla="*/ 1726266 w 7467600"/>
              <a:gd name="connsiteY711" fmla="*/ 2777274 h 6858000"/>
              <a:gd name="connsiteX712" fmla="*/ 625390 w 7467600"/>
              <a:gd name="connsiteY712" fmla="*/ 2514541 h 6858000"/>
              <a:gd name="connsiteX713" fmla="*/ 619799 w 7467600"/>
              <a:gd name="connsiteY713" fmla="*/ 2527180 h 6858000"/>
              <a:gd name="connsiteX714" fmla="*/ 310030 w 7467600"/>
              <a:gd name="connsiteY714" fmla="*/ 2771818 h 6858000"/>
              <a:gd name="connsiteX715" fmla="*/ 173877 w 7467600"/>
              <a:gd name="connsiteY715" fmla="*/ 2937056 h 6858000"/>
              <a:gd name="connsiteX716" fmla="*/ 77889 w 7467600"/>
              <a:gd name="connsiteY716" fmla="*/ 3138440 h 6858000"/>
              <a:gd name="connsiteX717" fmla="*/ 0 w 7467600"/>
              <a:gd name="connsiteY717" fmla="*/ 3271395 h 6858000"/>
              <a:gd name="connsiteX718" fmla="*/ 0 w 7467600"/>
              <a:gd name="connsiteY718" fmla="*/ 3153002 h 6858000"/>
              <a:gd name="connsiteX719" fmla="*/ 2386 w 7467600"/>
              <a:gd name="connsiteY719" fmla="*/ 3149203 h 6858000"/>
              <a:gd name="connsiteX720" fmla="*/ 89753 w 7467600"/>
              <a:gd name="connsiteY720" fmla="*/ 2987702 h 6858000"/>
              <a:gd name="connsiteX721" fmla="*/ 76869 w 7467600"/>
              <a:gd name="connsiteY721" fmla="*/ 3005404 h 6858000"/>
              <a:gd name="connsiteX722" fmla="*/ 32049 w 7467600"/>
              <a:gd name="connsiteY722" fmla="*/ 3065814 h 6858000"/>
              <a:gd name="connsiteX723" fmla="*/ 0 w 7467600"/>
              <a:gd name="connsiteY723" fmla="*/ 3108744 h 6858000"/>
              <a:gd name="connsiteX724" fmla="*/ 0 w 7467600"/>
              <a:gd name="connsiteY724" fmla="*/ 3058059 h 6858000"/>
              <a:gd name="connsiteX725" fmla="*/ 7610 w 7467600"/>
              <a:gd name="connsiteY725" fmla="*/ 3047889 h 6858000"/>
              <a:gd name="connsiteX726" fmla="*/ 52419 w 7467600"/>
              <a:gd name="connsiteY726" fmla="*/ 2987479 h 6858000"/>
              <a:gd name="connsiteX727" fmla="*/ 59142 w 7467600"/>
              <a:gd name="connsiteY727" fmla="*/ 2978488 h 6858000"/>
              <a:gd name="connsiteX728" fmla="*/ 0 w 7467600"/>
              <a:gd name="connsiteY728" fmla="*/ 3015334 h 6858000"/>
              <a:gd name="connsiteX729" fmla="*/ 0 w 7467600"/>
              <a:gd name="connsiteY729" fmla="*/ 2914286 h 6858000"/>
              <a:gd name="connsiteX730" fmla="*/ 36383 w 7467600"/>
              <a:gd name="connsiteY730" fmla="*/ 2901128 h 6858000"/>
              <a:gd name="connsiteX731" fmla="*/ 156329 w 7467600"/>
              <a:gd name="connsiteY731" fmla="*/ 2840533 h 6858000"/>
              <a:gd name="connsiteX732" fmla="*/ 358355 w 7467600"/>
              <a:gd name="connsiteY732" fmla="*/ 2620471 h 6858000"/>
              <a:gd name="connsiteX733" fmla="*/ 510577 w 7467600"/>
              <a:gd name="connsiteY733" fmla="*/ 2501244 h 6858000"/>
              <a:gd name="connsiteX734" fmla="*/ 211967 w 7467600"/>
              <a:gd name="connsiteY734" fmla="*/ 2479171 h 6858000"/>
              <a:gd name="connsiteX735" fmla="*/ 0 w 7467600"/>
              <a:gd name="connsiteY735" fmla="*/ 2476398 h 6858000"/>
              <a:gd name="connsiteX736" fmla="*/ 0 w 7467600"/>
              <a:gd name="connsiteY736" fmla="*/ 2389189 h 6858000"/>
              <a:gd name="connsiteX737" fmla="*/ 103062 w 7467600"/>
              <a:gd name="connsiteY737" fmla="*/ 2389518 h 6858000"/>
              <a:gd name="connsiteX738" fmla="*/ 510734 w 7467600"/>
              <a:gd name="connsiteY738" fmla="*/ 2416201 h 6858000"/>
              <a:gd name="connsiteX739" fmla="*/ 279257 w 7467600"/>
              <a:gd name="connsiteY739" fmla="*/ 2092102 h 6858000"/>
              <a:gd name="connsiteX740" fmla="*/ 65265 w 7467600"/>
              <a:gd name="connsiteY740" fmla="*/ 2006049 h 6858000"/>
              <a:gd name="connsiteX741" fmla="*/ 0 w 7467600"/>
              <a:gd name="connsiteY741" fmla="*/ 1982532 h 6858000"/>
              <a:gd name="connsiteX742" fmla="*/ 0 w 7467600"/>
              <a:gd name="connsiteY742" fmla="*/ 1912789 h 6858000"/>
              <a:gd name="connsiteX743" fmla="*/ 97460 w 7467600"/>
              <a:gd name="connsiteY743" fmla="*/ 1953725 h 6858000"/>
              <a:gd name="connsiteX744" fmla="*/ 221272 w 7467600"/>
              <a:gd name="connsiteY744" fmla="*/ 1980766 h 6858000"/>
              <a:gd name="connsiteX745" fmla="*/ 116765 w 7467600"/>
              <a:gd name="connsiteY745" fmla="*/ 1911033 h 6858000"/>
              <a:gd name="connsiteX746" fmla="*/ 16405 w 7467600"/>
              <a:gd name="connsiteY746" fmla="*/ 1803412 h 6858000"/>
              <a:gd name="connsiteX747" fmla="*/ 0 w 7467600"/>
              <a:gd name="connsiteY747" fmla="*/ 1784777 h 6858000"/>
              <a:gd name="connsiteX748" fmla="*/ 0 w 7467600"/>
              <a:gd name="connsiteY748" fmla="*/ 1740082 h 6858000"/>
              <a:gd name="connsiteX749" fmla="*/ 39394 w 7467600"/>
              <a:gd name="connsiteY749" fmla="*/ 1784856 h 6858000"/>
              <a:gd name="connsiteX750" fmla="*/ 135813 w 7467600"/>
              <a:gd name="connsiteY750" fmla="*/ 1888838 h 6858000"/>
              <a:gd name="connsiteX751" fmla="*/ 242575 w 7467600"/>
              <a:gd name="connsiteY751" fmla="*/ 1958841 h 6858000"/>
              <a:gd name="connsiteX752" fmla="*/ 82197 w 7467600"/>
              <a:gd name="connsiteY752" fmla="*/ 1754826 h 6858000"/>
              <a:gd name="connsiteX753" fmla="*/ 0 w 7467600"/>
              <a:gd name="connsiteY753" fmla="*/ 1679650 h 6858000"/>
              <a:gd name="connsiteX754" fmla="*/ 0 w 7467600"/>
              <a:gd name="connsiteY754" fmla="*/ 1602463 h 6858000"/>
              <a:gd name="connsiteX755" fmla="*/ 84689 w 7467600"/>
              <a:gd name="connsiteY755" fmla="*/ 1677442 h 6858000"/>
              <a:gd name="connsiteX756" fmla="*/ 298437 w 7467600"/>
              <a:gd name="connsiteY756" fmla="*/ 1968019 h 6858000"/>
              <a:gd name="connsiteX757" fmla="*/ 227269 w 7467600"/>
              <a:gd name="connsiteY757" fmla="*/ 1114064 h 6858000"/>
              <a:gd name="connsiteX758" fmla="*/ 248003 w 7467600"/>
              <a:gd name="connsiteY758" fmla="*/ 1089613 h 6858000"/>
              <a:gd name="connsiteX759" fmla="*/ 427020 w 7467600"/>
              <a:gd name="connsiteY759" fmla="*/ 1619803 h 6858000"/>
              <a:gd name="connsiteX760" fmla="*/ 340345 w 7467600"/>
              <a:gd name="connsiteY760" fmla="*/ 2027739 h 6858000"/>
              <a:gd name="connsiteX761" fmla="*/ 360865 w 7467600"/>
              <a:gd name="connsiteY761" fmla="*/ 2044827 h 6858000"/>
              <a:gd name="connsiteX762" fmla="*/ 560414 w 7467600"/>
              <a:gd name="connsiteY762" fmla="*/ 2421457 h 6858000"/>
              <a:gd name="connsiteX763" fmla="*/ 1359703 w 7467600"/>
              <a:gd name="connsiteY763" fmla="*/ 2578554 h 6858000"/>
              <a:gd name="connsiteX764" fmla="*/ 1359422 w 7467600"/>
              <a:gd name="connsiteY764" fmla="*/ 2577994 h 6858000"/>
              <a:gd name="connsiteX765" fmla="*/ 828701 w 7467600"/>
              <a:gd name="connsiteY765" fmla="*/ 1839520 h 6858000"/>
              <a:gd name="connsiteX766" fmla="*/ 494427 w 7467600"/>
              <a:gd name="connsiteY766" fmla="*/ 1092333 h 6858000"/>
              <a:gd name="connsiteX767" fmla="*/ 506322 w 7467600"/>
              <a:gd name="connsiteY767" fmla="*/ 1020997 h 6858000"/>
              <a:gd name="connsiteX768" fmla="*/ 4570198 w 7467600"/>
              <a:gd name="connsiteY768" fmla="*/ 978081 h 6858000"/>
              <a:gd name="connsiteX769" fmla="*/ 4523691 w 7467600"/>
              <a:gd name="connsiteY769" fmla="*/ 1127776 h 6858000"/>
              <a:gd name="connsiteX770" fmla="*/ 4509875 w 7467600"/>
              <a:gd name="connsiteY770" fmla="*/ 1167552 h 6858000"/>
              <a:gd name="connsiteX771" fmla="*/ 4478168 w 7467600"/>
              <a:gd name="connsiteY771" fmla="*/ 1260735 h 6858000"/>
              <a:gd name="connsiteX772" fmla="*/ 4409309 w 7467600"/>
              <a:gd name="connsiteY772" fmla="*/ 1666996 h 6858000"/>
              <a:gd name="connsiteX773" fmla="*/ 4370031 w 7467600"/>
              <a:gd name="connsiteY773" fmla="*/ 1955666 h 6858000"/>
              <a:gd name="connsiteX774" fmla="*/ 4570198 w 7467600"/>
              <a:gd name="connsiteY774" fmla="*/ 978081 h 6858000"/>
              <a:gd name="connsiteX775" fmla="*/ 4557898 w 7467600"/>
              <a:gd name="connsiteY775" fmla="*/ 900011 h 6858000"/>
              <a:gd name="connsiteX776" fmla="*/ 4344840 w 7467600"/>
              <a:gd name="connsiteY776" fmla="*/ 1922038 h 6858000"/>
              <a:gd name="connsiteX777" fmla="*/ 4378710 w 7467600"/>
              <a:gd name="connsiteY777" fmla="*/ 1665516 h 6858000"/>
              <a:gd name="connsiteX778" fmla="*/ 4448798 w 7467600"/>
              <a:gd name="connsiteY778" fmla="*/ 1253024 h 6858000"/>
              <a:gd name="connsiteX779" fmla="*/ 4480315 w 7467600"/>
              <a:gd name="connsiteY779" fmla="*/ 1158454 h 6858000"/>
              <a:gd name="connsiteX780" fmla="*/ 4494133 w 7467600"/>
              <a:gd name="connsiteY780" fmla="*/ 1118676 h 6858000"/>
              <a:gd name="connsiteX781" fmla="*/ 4557898 w 7467600"/>
              <a:gd name="connsiteY781" fmla="*/ 900011 h 6858000"/>
              <a:gd name="connsiteX782" fmla="*/ 5870151 w 7467600"/>
              <a:gd name="connsiteY782" fmla="*/ 898890 h 6858000"/>
              <a:gd name="connsiteX783" fmla="*/ 5861335 w 7467600"/>
              <a:gd name="connsiteY783" fmla="*/ 899177 h 6858000"/>
              <a:gd name="connsiteX784" fmla="*/ 5843702 w 7467600"/>
              <a:gd name="connsiteY784" fmla="*/ 899748 h 6858000"/>
              <a:gd name="connsiteX785" fmla="*/ 5651107 w 7467600"/>
              <a:gd name="connsiteY785" fmla="*/ 920306 h 6858000"/>
              <a:gd name="connsiteX786" fmla="*/ 5459407 w 7467600"/>
              <a:gd name="connsiteY786" fmla="*/ 940975 h 6858000"/>
              <a:gd name="connsiteX787" fmla="*/ 5374846 w 7467600"/>
              <a:gd name="connsiteY787" fmla="*/ 941988 h 6858000"/>
              <a:gd name="connsiteX788" fmla="*/ 5256105 w 7467600"/>
              <a:gd name="connsiteY788" fmla="*/ 945632 h 6858000"/>
              <a:gd name="connsiteX789" fmla="*/ 5107071 w 7467600"/>
              <a:gd name="connsiteY789" fmla="*/ 969720 h 6858000"/>
              <a:gd name="connsiteX790" fmla="*/ 4998681 w 7467600"/>
              <a:gd name="connsiteY790" fmla="*/ 988771 h 6858000"/>
              <a:gd name="connsiteX791" fmla="*/ 5870151 w 7467600"/>
              <a:gd name="connsiteY791" fmla="*/ 898890 h 6858000"/>
              <a:gd name="connsiteX792" fmla="*/ 5504425 w 7467600"/>
              <a:gd name="connsiteY792" fmla="*/ 848067 h 6858000"/>
              <a:gd name="connsiteX793" fmla="*/ 4968849 w 7467600"/>
              <a:gd name="connsiteY793" fmla="*/ 962318 h 6858000"/>
              <a:gd name="connsiteX794" fmla="*/ 5104039 w 7467600"/>
              <a:gd name="connsiteY794" fmla="*/ 940634 h 6858000"/>
              <a:gd name="connsiteX795" fmla="*/ 5256311 w 7467600"/>
              <a:gd name="connsiteY795" fmla="*/ 916490 h 6858000"/>
              <a:gd name="connsiteX796" fmla="*/ 5377381 w 7467600"/>
              <a:gd name="connsiteY796" fmla="*/ 912671 h 6858000"/>
              <a:gd name="connsiteX797" fmla="*/ 5460148 w 7467600"/>
              <a:gd name="connsiteY797" fmla="*/ 911442 h 6858000"/>
              <a:gd name="connsiteX798" fmla="*/ 5648971 w 7467600"/>
              <a:gd name="connsiteY798" fmla="*/ 891331 h 6858000"/>
              <a:gd name="connsiteX799" fmla="*/ 5844807 w 7467600"/>
              <a:gd name="connsiteY799" fmla="*/ 870718 h 6858000"/>
              <a:gd name="connsiteX800" fmla="*/ 5862975 w 7467600"/>
              <a:gd name="connsiteY800" fmla="*/ 869756 h 6858000"/>
              <a:gd name="connsiteX801" fmla="*/ 5920887 w 7467600"/>
              <a:gd name="connsiteY801" fmla="*/ 865929 h 6858000"/>
              <a:gd name="connsiteX802" fmla="*/ 5504425 w 7467600"/>
              <a:gd name="connsiteY802" fmla="*/ 848067 h 6858000"/>
              <a:gd name="connsiteX803" fmla="*/ 3607114 w 7467600"/>
              <a:gd name="connsiteY803" fmla="*/ 467441 h 6858000"/>
              <a:gd name="connsiteX804" fmla="*/ 3296242 w 7467600"/>
              <a:gd name="connsiteY804" fmla="*/ 807991 h 6858000"/>
              <a:gd name="connsiteX805" fmla="*/ 3174674 w 7467600"/>
              <a:gd name="connsiteY805" fmla="*/ 919759 h 6858000"/>
              <a:gd name="connsiteX806" fmla="*/ 3042978 w 7467600"/>
              <a:gd name="connsiteY806" fmla="*/ 1054894 h 6858000"/>
              <a:gd name="connsiteX807" fmla="*/ 2968914 w 7467600"/>
              <a:gd name="connsiteY807" fmla="*/ 1133756 h 6858000"/>
              <a:gd name="connsiteX808" fmla="*/ 3103823 w 7467600"/>
              <a:gd name="connsiteY808" fmla="*/ 1026814 h 6858000"/>
              <a:gd name="connsiteX809" fmla="*/ 3607114 w 7467600"/>
              <a:gd name="connsiteY809" fmla="*/ 467441 h 6858000"/>
              <a:gd name="connsiteX810" fmla="*/ 3744487 w 7467600"/>
              <a:gd name="connsiteY810" fmla="*/ 383136 h 6858000"/>
              <a:gd name="connsiteX811" fmla="*/ 3970213 w 7467600"/>
              <a:gd name="connsiteY811" fmla="*/ 995559 h 6858000"/>
              <a:gd name="connsiteX812" fmla="*/ 3744487 w 7467600"/>
              <a:gd name="connsiteY812" fmla="*/ 383136 h 6858000"/>
              <a:gd name="connsiteX813" fmla="*/ 3624562 w 7467600"/>
              <a:gd name="connsiteY813" fmla="*/ 367041 h 6858000"/>
              <a:gd name="connsiteX814" fmla="*/ 3489712 w 7467600"/>
              <a:gd name="connsiteY814" fmla="*/ 485386 h 6858000"/>
              <a:gd name="connsiteX815" fmla="*/ 3182994 w 7467600"/>
              <a:gd name="connsiteY815" fmla="*/ 828265 h 6858000"/>
              <a:gd name="connsiteX816" fmla="*/ 2892114 w 7467600"/>
              <a:gd name="connsiteY816" fmla="*/ 1172635 h 6858000"/>
              <a:gd name="connsiteX817" fmla="*/ 3021459 w 7467600"/>
              <a:gd name="connsiteY817" fmla="*/ 1035385 h 6858000"/>
              <a:gd name="connsiteX818" fmla="*/ 3153873 w 7467600"/>
              <a:gd name="connsiteY818" fmla="*/ 898971 h 6858000"/>
              <a:gd name="connsiteX819" fmla="*/ 3276511 w 7467600"/>
              <a:gd name="connsiteY819" fmla="*/ 786423 h 6858000"/>
              <a:gd name="connsiteX820" fmla="*/ 3584154 w 7467600"/>
              <a:gd name="connsiteY820" fmla="*/ 448218 h 6858000"/>
              <a:gd name="connsiteX821" fmla="*/ 3624562 w 7467600"/>
              <a:gd name="connsiteY821" fmla="*/ 367041 h 6858000"/>
              <a:gd name="connsiteX822" fmla="*/ 3766672 w 7467600"/>
              <a:gd name="connsiteY822" fmla="*/ 359429 h 6858000"/>
              <a:gd name="connsiteX823" fmla="*/ 3996338 w 7467600"/>
              <a:gd name="connsiteY823" fmla="*/ 968237 h 6858000"/>
              <a:gd name="connsiteX824" fmla="*/ 3766672 w 7467600"/>
              <a:gd name="connsiteY824" fmla="*/ 359429 h 6858000"/>
              <a:gd name="connsiteX825" fmla="*/ 5805386 w 7467600"/>
              <a:gd name="connsiteY825" fmla="*/ 239240 h 6858000"/>
              <a:gd name="connsiteX826" fmla="*/ 5736947 w 7467600"/>
              <a:gd name="connsiteY826" fmla="*/ 261367 h 6858000"/>
              <a:gd name="connsiteX827" fmla="*/ 5427012 w 7467600"/>
              <a:gd name="connsiteY827" fmla="*/ 311272 h 6858000"/>
              <a:gd name="connsiteX828" fmla="*/ 5147818 w 7467600"/>
              <a:gd name="connsiteY828" fmla="*/ 322112 h 6858000"/>
              <a:gd name="connsiteX829" fmla="*/ 5060854 w 7467600"/>
              <a:gd name="connsiteY829" fmla="*/ 311882 h 6858000"/>
              <a:gd name="connsiteX830" fmla="*/ 4945989 w 7467600"/>
              <a:gd name="connsiteY830" fmla="*/ 300516 h 6858000"/>
              <a:gd name="connsiteX831" fmla="*/ 5410479 w 7467600"/>
              <a:gd name="connsiteY831" fmla="*/ 348434 h 6858000"/>
              <a:gd name="connsiteX832" fmla="*/ 5805386 w 7467600"/>
              <a:gd name="connsiteY832" fmla="*/ 239240 h 6858000"/>
              <a:gd name="connsiteX833" fmla="*/ 5905192 w 7467600"/>
              <a:gd name="connsiteY833" fmla="*/ 163079 h 6858000"/>
              <a:gd name="connsiteX834" fmla="*/ 5865655 w 7467600"/>
              <a:gd name="connsiteY834" fmla="*/ 171901 h 6858000"/>
              <a:gd name="connsiteX835" fmla="*/ 5259740 w 7467600"/>
              <a:gd name="connsiteY835" fmla="*/ 257013 h 6858000"/>
              <a:gd name="connsiteX836" fmla="*/ 5208466 w 7467600"/>
              <a:gd name="connsiteY836" fmla="*/ 257550 h 6858000"/>
              <a:gd name="connsiteX837" fmla="*/ 4980204 w 7467600"/>
              <a:gd name="connsiteY837" fmla="*/ 271903 h 6858000"/>
              <a:gd name="connsiteX838" fmla="*/ 5068068 w 7467600"/>
              <a:gd name="connsiteY838" fmla="*/ 282244 h 6858000"/>
              <a:gd name="connsiteX839" fmla="*/ 5153231 w 7467600"/>
              <a:gd name="connsiteY839" fmla="*/ 292240 h 6858000"/>
              <a:gd name="connsiteX840" fmla="*/ 5426491 w 7467600"/>
              <a:gd name="connsiteY840" fmla="*/ 281128 h 6858000"/>
              <a:gd name="connsiteX841" fmla="*/ 5731212 w 7467600"/>
              <a:gd name="connsiteY841" fmla="*/ 231951 h 6858000"/>
              <a:gd name="connsiteX842" fmla="*/ 5905192 w 7467600"/>
              <a:gd name="connsiteY842" fmla="*/ 163079 h 6858000"/>
              <a:gd name="connsiteX843" fmla="*/ 5944437 w 7467600"/>
              <a:gd name="connsiteY843" fmla="*/ 113829 h 6858000"/>
              <a:gd name="connsiteX844" fmla="*/ 5825032 w 7467600"/>
              <a:gd name="connsiteY844" fmla="*/ 146405 h 6858000"/>
              <a:gd name="connsiteX845" fmla="*/ 4955599 w 7467600"/>
              <a:gd name="connsiteY845" fmla="*/ 247008 h 6858000"/>
              <a:gd name="connsiteX846" fmla="*/ 5210104 w 7467600"/>
              <a:gd name="connsiteY846" fmla="*/ 228123 h 6858000"/>
              <a:gd name="connsiteX847" fmla="*/ 5261015 w 7467600"/>
              <a:gd name="connsiteY847" fmla="*/ 227087 h 6858000"/>
              <a:gd name="connsiteX848" fmla="*/ 5861181 w 7467600"/>
              <a:gd name="connsiteY848" fmla="*/ 143093 h 6858000"/>
              <a:gd name="connsiteX849" fmla="*/ 5961252 w 7467600"/>
              <a:gd name="connsiteY849" fmla="*/ 114820 h 6858000"/>
              <a:gd name="connsiteX850" fmla="*/ 5944437 w 7467600"/>
              <a:gd name="connsiteY850" fmla="*/ 113829 h 6858000"/>
              <a:gd name="connsiteX851" fmla="*/ 3882765 w 7467600"/>
              <a:gd name="connsiteY851" fmla="*/ 0 h 6858000"/>
              <a:gd name="connsiteX852" fmla="*/ 3995099 w 7467600"/>
              <a:gd name="connsiteY852" fmla="*/ 0 h 6858000"/>
              <a:gd name="connsiteX853" fmla="*/ 4163818 w 7467600"/>
              <a:gd name="connsiteY853" fmla="*/ 234104 h 6858000"/>
              <a:gd name="connsiteX854" fmla="*/ 4172099 w 7467600"/>
              <a:gd name="connsiteY854" fmla="*/ 234207 h 6858000"/>
              <a:gd name="connsiteX855" fmla="*/ 4784282 w 7467600"/>
              <a:gd name="connsiteY855" fmla="*/ 276561 h 6858000"/>
              <a:gd name="connsiteX856" fmla="*/ 4801687 w 7467600"/>
              <a:gd name="connsiteY856" fmla="*/ 267764 h 6858000"/>
              <a:gd name="connsiteX857" fmla="*/ 6082788 w 7467600"/>
              <a:gd name="connsiteY857" fmla="*/ 64119 h 6858000"/>
              <a:gd name="connsiteX858" fmla="*/ 6099442 w 7467600"/>
              <a:gd name="connsiteY858" fmla="*/ 82568 h 6858000"/>
              <a:gd name="connsiteX859" fmla="*/ 4804137 w 7467600"/>
              <a:gd name="connsiteY859" fmla="*/ 320931 h 6858000"/>
              <a:gd name="connsiteX860" fmla="*/ 4227047 w 7467600"/>
              <a:gd name="connsiteY860" fmla="*/ 313415 h 6858000"/>
              <a:gd name="connsiteX861" fmla="*/ 4346041 w 7467600"/>
              <a:gd name="connsiteY861" fmla="*/ 456086 h 6858000"/>
              <a:gd name="connsiteX862" fmla="*/ 4870967 w 7467600"/>
              <a:gd name="connsiteY862" fmla="*/ 963061 h 6858000"/>
              <a:gd name="connsiteX863" fmla="*/ 4889647 w 7467600"/>
              <a:gd name="connsiteY863" fmla="*/ 957147 h 6858000"/>
              <a:gd name="connsiteX864" fmla="*/ 5422504 w 7467600"/>
              <a:gd name="connsiteY864" fmla="*/ 805191 h 6858000"/>
              <a:gd name="connsiteX865" fmla="*/ 6087656 w 7467600"/>
              <a:gd name="connsiteY865" fmla="*/ 826703 h 6858000"/>
              <a:gd name="connsiteX866" fmla="*/ 6058717 w 7467600"/>
              <a:gd name="connsiteY866" fmla="*/ 865992 h 6858000"/>
              <a:gd name="connsiteX867" fmla="*/ 4974153 w 7467600"/>
              <a:gd name="connsiteY867" fmla="*/ 1045456 h 6858000"/>
              <a:gd name="connsiteX868" fmla="*/ 5627835 w 7467600"/>
              <a:gd name="connsiteY868" fmla="*/ 1472077 h 6858000"/>
              <a:gd name="connsiteX869" fmla="*/ 5629817 w 7467600"/>
              <a:gd name="connsiteY869" fmla="*/ 1471412 h 6858000"/>
              <a:gd name="connsiteX870" fmla="*/ 5634124 w 7467600"/>
              <a:gd name="connsiteY870" fmla="*/ 1470572 h 6858000"/>
              <a:gd name="connsiteX871" fmla="*/ 5755832 w 7467600"/>
              <a:gd name="connsiteY871" fmla="*/ 1383886 h 6858000"/>
              <a:gd name="connsiteX872" fmla="*/ 6014186 w 7467600"/>
              <a:gd name="connsiteY872" fmla="*/ 1279799 h 6858000"/>
              <a:gd name="connsiteX873" fmla="*/ 6901619 w 7467600"/>
              <a:gd name="connsiteY873" fmla="*/ 1047874 h 6858000"/>
              <a:gd name="connsiteX874" fmla="*/ 6931566 w 7467600"/>
              <a:gd name="connsiteY874" fmla="*/ 1062034 h 6858000"/>
              <a:gd name="connsiteX875" fmla="*/ 5790982 w 7467600"/>
              <a:gd name="connsiteY875" fmla="*/ 1561380 h 6858000"/>
              <a:gd name="connsiteX876" fmla="*/ 6188971 w 7467600"/>
              <a:gd name="connsiteY876" fmla="*/ 1755168 h 6858000"/>
              <a:gd name="connsiteX877" fmla="*/ 6202446 w 7467600"/>
              <a:gd name="connsiteY877" fmla="*/ 1752268 h 6858000"/>
              <a:gd name="connsiteX878" fmla="*/ 7179560 w 7467600"/>
              <a:gd name="connsiteY878" fmla="*/ 1467551 h 6858000"/>
              <a:gd name="connsiteX879" fmla="*/ 7158730 w 7467600"/>
              <a:gd name="connsiteY879" fmla="*/ 1507835 h 6858000"/>
              <a:gd name="connsiteX880" fmla="*/ 6326959 w 7467600"/>
              <a:gd name="connsiteY880" fmla="*/ 1817686 h 6858000"/>
              <a:gd name="connsiteX881" fmla="*/ 6537433 w 7467600"/>
              <a:gd name="connsiteY881" fmla="*/ 1907790 h 6858000"/>
              <a:gd name="connsiteX882" fmla="*/ 6550221 w 7467600"/>
              <a:gd name="connsiteY882" fmla="*/ 1910729 h 6858000"/>
              <a:gd name="connsiteX883" fmla="*/ 6964438 w 7467600"/>
              <a:gd name="connsiteY883" fmla="*/ 2209505 h 6858000"/>
              <a:gd name="connsiteX884" fmla="*/ 7367862 w 7467600"/>
              <a:gd name="connsiteY884" fmla="*/ 2806833 h 6858000"/>
              <a:gd name="connsiteX885" fmla="*/ 7364329 w 7467600"/>
              <a:gd name="connsiteY885" fmla="*/ 2826907 h 6858000"/>
              <a:gd name="connsiteX886" fmla="*/ 7290545 w 7467600"/>
              <a:gd name="connsiteY886" fmla="*/ 2850663 h 6858000"/>
              <a:gd name="connsiteX887" fmla="*/ 6472036 w 7467600"/>
              <a:gd name="connsiteY887" fmla="*/ 1959003 h 6858000"/>
              <a:gd name="connsiteX888" fmla="*/ 5792897 w 7467600"/>
              <a:gd name="connsiteY888" fmla="*/ 1647747 h 6858000"/>
              <a:gd name="connsiteX889" fmla="*/ 5842751 w 7467600"/>
              <a:gd name="connsiteY889" fmla="*/ 1816112 h 6858000"/>
              <a:gd name="connsiteX890" fmla="*/ 5847424 w 7467600"/>
              <a:gd name="connsiteY890" fmla="*/ 1815776 h 6858000"/>
              <a:gd name="connsiteX891" fmla="*/ 6399821 w 7467600"/>
              <a:gd name="connsiteY891" fmla="*/ 2344799 h 6858000"/>
              <a:gd name="connsiteX892" fmla="*/ 6323232 w 7467600"/>
              <a:gd name="connsiteY892" fmla="*/ 2389634 h 6858000"/>
              <a:gd name="connsiteX893" fmla="*/ 5942958 w 7467600"/>
              <a:gd name="connsiteY893" fmla="*/ 2077708 h 6858000"/>
              <a:gd name="connsiteX894" fmla="*/ 5921559 w 7467600"/>
              <a:gd name="connsiteY894" fmla="*/ 2378596 h 6858000"/>
              <a:gd name="connsiteX895" fmla="*/ 5817651 w 7467600"/>
              <a:gd name="connsiteY895" fmla="*/ 3023919 h 6858000"/>
              <a:gd name="connsiteX896" fmla="*/ 5729634 w 7467600"/>
              <a:gd name="connsiteY896" fmla="*/ 3051849 h 6858000"/>
              <a:gd name="connsiteX897" fmla="*/ 5611018 w 7467600"/>
              <a:gd name="connsiteY897" fmla="*/ 2316769 h 6858000"/>
              <a:gd name="connsiteX898" fmla="*/ 5687608 w 7467600"/>
              <a:gd name="connsiteY898" fmla="*/ 2039972 h 6858000"/>
              <a:gd name="connsiteX899" fmla="*/ 5657554 w 7467600"/>
              <a:gd name="connsiteY899" fmla="*/ 1576445 h 6858000"/>
              <a:gd name="connsiteX900" fmla="*/ 5150475 w 7467600"/>
              <a:gd name="connsiteY900" fmla="*/ 1274012 h 6858000"/>
              <a:gd name="connsiteX901" fmla="*/ 5349142 w 7467600"/>
              <a:gd name="connsiteY901" fmla="*/ 2204405 h 6858000"/>
              <a:gd name="connsiteX902" fmla="*/ 5262214 w 7467600"/>
              <a:gd name="connsiteY902" fmla="*/ 2233836 h 6858000"/>
              <a:gd name="connsiteX903" fmla="*/ 4981539 w 7467600"/>
              <a:gd name="connsiteY903" fmla="*/ 1542201 h 6858000"/>
              <a:gd name="connsiteX904" fmla="*/ 4958461 w 7467600"/>
              <a:gd name="connsiteY904" fmla="*/ 1136957 h 6858000"/>
              <a:gd name="connsiteX905" fmla="*/ 4655015 w 7467600"/>
              <a:gd name="connsiteY905" fmla="*/ 891426 h 6858000"/>
              <a:gd name="connsiteX906" fmla="*/ 4348002 w 7467600"/>
              <a:gd name="connsiteY906" fmla="*/ 2205895 h 6858000"/>
              <a:gd name="connsiteX907" fmla="*/ 4262250 w 7467600"/>
              <a:gd name="connsiteY907" fmla="*/ 2219972 h 6858000"/>
              <a:gd name="connsiteX908" fmla="*/ 4550611 w 7467600"/>
              <a:gd name="connsiteY908" fmla="*/ 817540 h 6858000"/>
              <a:gd name="connsiteX909" fmla="*/ 4564418 w 7467600"/>
              <a:gd name="connsiteY909" fmla="*/ 808293 h 6858000"/>
              <a:gd name="connsiteX910" fmla="*/ 4266388 w 7467600"/>
              <a:gd name="connsiteY910" fmla="*/ 500083 h 6858000"/>
              <a:gd name="connsiteX911" fmla="*/ 4032842 w 7467600"/>
              <a:gd name="connsiteY911" fmla="*/ 211809 h 6858000"/>
              <a:gd name="connsiteX912" fmla="*/ 3882765 w 7467600"/>
              <a:gd name="connsiteY912" fmla="*/ 0 h 6858000"/>
              <a:gd name="connsiteX913" fmla="*/ 3721337 w 7467600"/>
              <a:gd name="connsiteY913" fmla="*/ 0 h 6858000"/>
              <a:gd name="connsiteX914" fmla="*/ 3797544 w 7467600"/>
              <a:gd name="connsiteY914" fmla="*/ 0 h 6858000"/>
              <a:gd name="connsiteX915" fmla="*/ 3775734 w 7467600"/>
              <a:gd name="connsiteY915" fmla="*/ 95131 h 6858000"/>
              <a:gd name="connsiteX916" fmla="*/ 3724807 w 7467600"/>
              <a:gd name="connsiteY916" fmla="*/ 272257 h 6858000"/>
              <a:gd name="connsiteX917" fmla="*/ 3726844 w 7467600"/>
              <a:gd name="connsiteY917" fmla="*/ 282988 h 6858000"/>
              <a:gd name="connsiteX918" fmla="*/ 3742664 w 7467600"/>
              <a:gd name="connsiteY918" fmla="*/ 279918 h 6858000"/>
              <a:gd name="connsiteX919" fmla="*/ 4103910 w 7467600"/>
              <a:gd name="connsiteY919" fmla="*/ 1161917 h 6858000"/>
              <a:gd name="connsiteX920" fmla="*/ 4020269 w 7467600"/>
              <a:gd name="connsiteY920" fmla="*/ 1200406 h 6858000"/>
              <a:gd name="connsiteX921" fmla="*/ 3674882 w 7467600"/>
              <a:gd name="connsiteY921" fmla="*/ 488524 h 6858000"/>
              <a:gd name="connsiteX922" fmla="*/ 3132682 w 7467600"/>
              <a:gd name="connsiteY922" fmla="*/ 1072284 h 6858000"/>
              <a:gd name="connsiteX923" fmla="*/ 2716346 w 7467600"/>
              <a:gd name="connsiteY923" fmla="*/ 1276376 h 6858000"/>
              <a:gd name="connsiteX924" fmla="*/ 2716772 w 7467600"/>
              <a:gd name="connsiteY924" fmla="*/ 1255462 h 6858000"/>
              <a:gd name="connsiteX925" fmla="*/ 3471096 w 7467600"/>
              <a:gd name="connsiteY925" fmla="*/ 437072 h 6858000"/>
              <a:gd name="connsiteX926" fmla="*/ 3639057 w 7467600"/>
              <a:gd name="connsiteY926" fmla="*/ 286334 h 6858000"/>
              <a:gd name="connsiteX927" fmla="*/ 3640309 w 7467600"/>
              <a:gd name="connsiteY927" fmla="*/ 284664 h 6858000"/>
              <a:gd name="connsiteX928" fmla="*/ 3646022 w 7467600"/>
              <a:gd name="connsiteY928" fmla="*/ 276711 h 6858000"/>
              <a:gd name="connsiteX929" fmla="*/ 3707943 w 7467600"/>
              <a:gd name="connsiteY929" fmla="*/ 65958 h 6858000"/>
              <a:gd name="connsiteX930" fmla="*/ 3721337 w 7467600"/>
              <a:gd name="connsiteY930" fmla="*/ 0 h 6858000"/>
              <a:gd name="connsiteX931" fmla="*/ 2867960 w 7467600"/>
              <a:gd name="connsiteY931" fmla="*/ 0 h 6858000"/>
              <a:gd name="connsiteX932" fmla="*/ 2926351 w 7467600"/>
              <a:gd name="connsiteY932" fmla="*/ 0 h 6858000"/>
              <a:gd name="connsiteX933" fmla="*/ 2902823 w 7467600"/>
              <a:gd name="connsiteY933" fmla="*/ 262929 h 6858000"/>
              <a:gd name="connsiteX934" fmla="*/ 2940663 w 7467600"/>
              <a:gd name="connsiteY934" fmla="*/ 140884 h 6858000"/>
              <a:gd name="connsiteX935" fmla="*/ 2947039 w 7467600"/>
              <a:gd name="connsiteY935" fmla="*/ 122524 h 6858000"/>
              <a:gd name="connsiteX936" fmla="*/ 2984316 w 7467600"/>
              <a:gd name="connsiteY936" fmla="*/ 0 h 6858000"/>
              <a:gd name="connsiteX937" fmla="*/ 3016114 w 7467600"/>
              <a:gd name="connsiteY937" fmla="*/ 0 h 6858000"/>
              <a:gd name="connsiteX938" fmla="*/ 2979949 w 7467600"/>
              <a:gd name="connsiteY938" fmla="*/ 119274 h 6858000"/>
              <a:gd name="connsiteX939" fmla="*/ 3023879 w 7467600"/>
              <a:gd name="connsiteY939" fmla="*/ 0 h 6858000"/>
              <a:gd name="connsiteX940" fmla="*/ 3105400 w 7467600"/>
              <a:gd name="connsiteY940" fmla="*/ 0 h 6858000"/>
              <a:gd name="connsiteX941" fmla="*/ 3094669 w 7467600"/>
              <a:gd name="connsiteY941" fmla="*/ 30308 h 6858000"/>
              <a:gd name="connsiteX942" fmla="*/ 2901945 w 7467600"/>
              <a:gd name="connsiteY942" fmla="*/ 466538 h 6858000"/>
              <a:gd name="connsiteX943" fmla="*/ 2815209 w 7467600"/>
              <a:gd name="connsiteY943" fmla="*/ 497361 h 6858000"/>
              <a:gd name="connsiteX944" fmla="*/ 2844845 w 7467600"/>
              <a:gd name="connsiteY944" fmla="*/ 127638 h 6858000"/>
              <a:gd name="connsiteX945" fmla="*/ 2867960 w 7467600"/>
              <a:gd name="connsiteY945" fmla="*/ 0 h 6858000"/>
              <a:gd name="connsiteX946" fmla="*/ 1057230 w 7467600"/>
              <a:gd name="connsiteY946" fmla="*/ 0 h 6858000"/>
              <a:gd name="connsiteX947" fmla="*/ 1111003 w 7467600"/>
              <a:gd name="connsiteY947" fmla="*/ 0 h 6858000"/>
              <a:gd name="connsiteX948" fmla="*/ 1125553 w 7467600"/>
              <a:gd name="connsiteY948" fmla="*/ 52588 h 6858000"/>
              <a:gd name="connsiteX949" fmla="*/ 1304276 w 7467600"/>
              <a:gd name="connsiteY949" fmla="*/ 476275 h 6858000"/>
              <a:gd name="connsiteX950" fmla="*/ 1492066 w 7467600"/>
              <a:gd name="connsiteY950" fmla="*/ 886333 h 6858000"/>
              <a:gd name="connsiteX951" fmla="*/ 1423698 w 7467600"/>
              <a:gd name="connsiteY951" fmla="*/ 710817 h 6858000"/>
              <a:gd name="connsiteX952" fmla="*/ 1357609 w 7467600"/>
              <a:gd name="connsiteY952" fmla="*/ 532892 h 6858000"/>
              <a:gd name="connsiteX953" fmla="*/ 1309550 w 7467600"/>
              <a:gd name="connsiteY953" fmla="*/ 374031 h 6858000"/>
              <a:gd name="connsiteX954" fmla="*/ 1193673 w 7467600"/>
              <a:gd name="connsiteY954" fmla="*/ 49533 h 6858000"/>
              <a:gd name="connsiteX955" fmla="*/ 1164391 w 7467600"/>
              <a:gd name="connsiteY955" fmla="*/ 0 h 6858000"/>
              <a:gd name="connsiteX956" fmla="*/ 1200666 w 7467600"/>
              <a:gd name="connsiteY956" fmla="*/ 0 h 6858000"/>
              <a:gd name="connsiteX957" fmla="*/ 1223408 w 7467600"/>
              <a:gd name="connsiteY957" fmla="*/ 38996 h 6858000"/>
              <a:gd name="connsiteX958" fmla="*/ 1339635 w 7467600"/>
              <a:gd name="connsiteY958" fmla="*/ 365517 h 6858000"/>
              <a:gd name="connsiteX959" fmla="*/ 1387469 w 7467600"/>
              <a:gd name="connsiteY959" fmla="*/ 523079 h 6858000"/>
              <a:gd name="connsiteX960" fmla="*/ 1452685 w 7467600"/>
              <a:gd name="connsiteY960" fmla="*/ 699806 h 6858000"/>
              <a:gd name="connsiteX961" fmla="*/ 1492092 w 7467600"/>
              <a:gd name="connsiteY961" fmla="*/ 800424 h 6858000"/>
              <a:gd name="connsiteX962" fmla="*/ 1455302 w 7467600"/>
              <a:gd name="connsiteY962" fmla="*/ 632913 h 6858000"/>
              <a:gd name="connsiteX963" fmla="*/ 1222336 w 7467600"/>
              <a:gd name="connsiteY963" fmla="*/ 9480 h 6858000"/>
              <a:gd name="connsiteX964" fmla="*/ 1214634 w 7467600"/>
              <a:gd name="connsiteY964" fmla="*/ 0 h 6858000"/>
              <a:gd name="connsiteX965" fmla="*/ 1289827 w 7467600"/>
              <a:gd name="connsiteY965" fmla="*/ 0 h 6858000"/>
              <a:gd name="connsiteX966" fmla="*/ 1321076 w 7467600"/>
              <a:gd name="connsiteY966" fmla="*/ 59722 h 6858000"/>
              <a:gd name="connsiteX967" fmla="*/ 1512579 w 7467600"/>
              <a:gd name="connsiteY967" fmla="*/ 626441 h 6858000"/>
              <a:gd name="connsiteX968" fmla="*/ 1506076 w 7467600"/>
              <a:gd name="connsiteY968" fmla="*/ 1089289 h 6858000"/>
              <a:gd name="connsiteX969" fmla="*/ 1486346 w 7467600"/>
              <a:gd name="connsiteY969" fmla="*/ 1079919 h 6858000"/>
              <a:gd name="connsiteX970" fmla="*/ 1070511 w 7467600"/>
              <a:gd name="connsiteY970" fmla="*/ 48609 h 6858000"/>
              <a:gd name="connsiteX971" fmla="*/ 1057230 w 7467600"/>
              <a:gd name="connsiteY971" fmla="*/ 0 h 6858000"/>
              <a:gd name="connsiteX972" fmla="*/ 43151 w 7467600"/>
              <a:gd name="connsiteY972" fmla="*/ 0 h 6858000"/>
              <a:gd name="connsiteX973" fmla="*/ 95283 w 7467600"/>
              <a:gd name="connsiteY973" fmla="*/ 0 h 6858000"/>
              <a:gd name="connsiteX974" fmla="*/ 300708 w 7467600"/>
              <a:gd name="connsiteY974" fmla="*/ 154571 h 6858000"/>
              <a:gd name="connsiteX975" fmla="*/ 530414 w 7467600"/>
              <a:gd name="connsiteY975" fmla="*/ 354673 h 6858000"/>
              <a:gd name="connsiteX976" fmla="*/ 333785 w 7467600"/>
              <a:gd name="connsiteY976" fmla="*/ 161564 h 6858000"/>
              <a:gd name="connsiteX977" fmla="*/ 147005 w 7467600"/>
              <a:gd name="connsiteY977" fmla="*/ 0 h 6858000"/>
              <a:gd name="connsiteX978" fmla="*/ 272509 w 7467600"/>
              <a:gd name="connsiteY978" fmla="*/ 0 h 6858000"/>
              <a:gd name="connsiteX979" fmla="*/ 326276 w 7467600"/>
              <a:gd name="connsiteY979" fmla="*/ 45847 h 6858000"/>
              <a:gd name="connsiteX980" fmla="*/ 823759 w 7467600"/>
              <a:gd name="connsiteY980" fmla="*/ 574145 h 6858000"/>
              <a:gd name="connsiteX981" fmla="*/ 811254 w 7467600"/>
              <a:gd name="connsiteY981" fmla="*/ 665546 h 6858000"/>
              <a:gd name="connsiteX982" fmla="*/ 154042 w 7467600"/>
              <a:gd name="connsiteY982" fmla="*/ 261522 h 6858000"/>
              <a:gd name="connsiteX983" fmla="*/ 13550 w 7467600"/>
              <a:gd name="connsiteY983" fmla="*/ 158423 h 6858000"/>
              <a:gd name="connsiteX984" fmla="*/ 0 w 7467600"/>
              <a:gd name="connsiteY984" fmla="*/ 146618 h 6858000"/>
              <a:gd name="connsiteX985" fmla="*/ 0 w 7467600"/>
              <a:gd name="connsiteY985" fmla="*/ 59161 h 6858000"/>
              <a:gd name="connsiteX986" fmla="*/ 45427 w 7467600"/>
              <a:gd name="connsiteY986" fmla="*/ 101078 h 6858000"/>
              <a:gd name="connsiteX987" fmla="*/ 630103 w 7467600"/>
              <a:gd name="connsiteY987" fmla="*/ 485885 h 6858000"/>
              <a:gd name="connsiteX988" fmla="*/ 532040 w 7467600"/>
              <a:gd name="connsiteY988" fmla="*/ 399359 h 6858000"/>
              <a:gd name="connsiteX989" fmla="*/ 517618 w 7467600"/>
              <a:gd name="connsiteY989" fmla="*/ 385726 h 6858000"/>
              <a:gd name="connsiteX990" fmla="*/ 285074 w 7467600"/>
              <a:gd name="connsiteY990" fmla="*/ 182755 h 6858000"/>
              <a:gd name="connsiteX991" fmla="*/ 43151 w 7467600"/>
              <a:gd name="connsiteY991"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12201 w 7467600"/>
              <a:gd name="connsiteY127" fmla="*/ 5128278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467600 w 7467600"/>
              <a:gd name="connsiteY133" fmla="*/ 5199146 h 6858000"/>
              <a:gd name="connsiteX134" fmla="*/ 7312201 w 7467600"/>
              <a:gd name="connsiteY134" fmla="*/ 5128278 h 6858000"/>
              <a:gd name="connsiteX135" fmla="*/ 1903353 w 7467600"/>
              <a:gd name="connsiteY135" fmla="*/ 5044827 h 6858000"/>
              <a:gd name="connsiteX136" fmla="*/ 1936931 w 7467600"/>
              <a:gd name="connsiteY136" fmla="*/ 5093954 h 6858000"/>
              <a:gd name="connsiteX137" fmla="*/ 2195868 w 7467600"/>
              <a:gd name="connsiteY137" fmla="*/ 5396574 h 6858000"/>
              <a:gd name="connsiteX138" fmla="*/ 2088852 w 7467600"/>
              <a:gd name="connsiteY138" fmla="*/ 5166123 h 6858000"/>
              <a:gd name="connsiteX139" fmla="*/ 1958241 w 7467600"/>
              <a:gd name="connsiteY139" fmla="*/ 5067955 h 6858000"/>
              <a:gd name="connsiteX140" fmla="*/ 1903353 w 7467600"/>
              <a:gd name="connsiteY140" fmla="*/ 5044827 h 6858000"/>
              <a:gd name="connsiteX141" fmla="*/ 1979378 w 7467600"/>
              <a:gd name="connsiteY141" fmla="*/ 4769504 h 6858000"/>
              <a:gd name="connsiteX142" fmla="*/ 2882120 w 7467600"/>
              <a:gd name="connsiteY142" fmla="*/ 5064547 h 6858000"/>
              <a:gd name="connsiteX143" fmla="*/ 2793103 w 7467600"/>
              <a:gd name="connsiteY143" fmla="*/ 5039699 h 6858000"/>
              <a:gd name="connsiteX144" fmla="*/ 2770041 w 7467600"/>
              <a:gd name="connsiteY144" fmla="*/ 5033634 h 6858000"/>
              <a:gd name="connsiteX145" fmla="*/ 1979378 w 7467600"/>
              <a:gd name="connsiteY145" fmla="*/ 4769504 h 6858000"/>
              <a:gd name="connsiteX146" fmla="*/ 1927410 w 7467600"/>
              <a:gd name="connsiteY146" fmla="*/ 4716164 h 6858000"/>
              <a:gd name="connsiteX147" fmla="*/ 1959587 w 7467600"/>
              <a:gd name="connsiteY147" fmla="*/ 4728849 h 6858000"/>
              <a:gd name="connsiteX148" fmla="*/ 2777707 w 7467600"/>
              <a:gd name="connsiteY148" fmla="*/ 5003991 h 6858000"/>
              <a:gd name="connsiteX149" fmla="*/ 2800768 w 7467600"/>
              <a:gd name="connsiteY149" fmla="*/ 5010056 h 6858000"/>
              <a:gd name="connsiteX150" fmla="*/ 2879408 w 7467600"/>
              <a:gd name="connsiteY150" fmla="*/ 5031590 h 6858000"/>
              <a:gd name="connsiteX151" fmla="*/ 2862295 w 7467600"/>
              <a:gd name="connsiteY151" fmla="*/ 5022958 h 6858000"/>
              <a:gd name="connsiteX152" fmla="*/ 2813343 w 7467600"/>
              <a:gd name="connsiteY152" fmla="*/ 4998369 h 6858000"/>
              <a:gd name="connsiteX153" fmla="*/ 2646245 w 7467600"/>
              <a:gd name="connsiteY153" fmla="*/ 4930999 h 6858000"/>
              <a:gd name="connsiteX154" fmla="*/ 1999243 w 7467600"/>
              <a:gd name="connsiteY154" fmla="*/ 4730524 h 6858000"/>
              <a:gd name="connsiteX155" fmla="*/ 1979527 w 7467600"/>
              <a:gd name="connsiteY155" fmla="*/ 4726651 h 6858000"/>
              <a:gd name="connsiteX156" fmla="*/ 1927410 w 7467600"/>
              <a:gd name="connsiteY156" fmla="*/ 4716164 h 6858000"/>
              <a:gd name="connsiteX157" fmla="*/ 1997014 w 7467600"/>
              <a:gd name="connsiteY157" fmla="*/ 4698007 h 6858000"/>
              <a:gd name="connsiteX158" fmla="*/ 2005458 w 7467600"/>
              <a:gd name="connsiteY158" fmla="*/ 4699540 h 6858000"/>
              <a:gd name="connsiteX159" fmla="*/ 2657186 w 7467600"/>
              <a:gd name="connsiteY159" fmla="*/ 4901687 h 6858000"/>
              <a:gd name="connsiteX160" fmla="*/ 2826662 w 7467600"/>
              <a:gd name="connsiteY160" fmla="*/ 4970362 h 6858000"/>
              <a:gd name="connsiteX161" fmla="*/ 2876100 w 7467600"/>
              <a:gd name="connsiteY161" fmla="*/ 4995397 h 6858000"/>
              <a:gd name="connsiteX162" fmla="*/ 3042600 w 7467600"/>
              <a:gd name="connsiteY162" fmla="*/ 5059532 h 6858000"/>
              <a:gd name="connsiteX163" fmla="*/ 1997014 w 7467600"/>
              <a:gd name="connsiteY163" fmla="*/ 4698007 h 6858000"/>
              <a:gd name="connsiteX164" fmla="*/ 2305292 w 7467600"/>
              <a:gd name="connsiteY164" fmla="*/ 4219492 h 6858000"/>
              <a:gd name="connsiteX165" fmla="*/ 3360922 w 7467600"/>
              <a:gd name="connsiteY165" fmla="*/ 4529373 h 6858000"/>
              <a:gd name="connsiteX166" fmla="*/ 3492420 w 7467600"/>
              <a:gd name="connsiteY166" fmla="*/ 4510145 h 6858000"/>
              <a:gd name="connsiteX167" fmla="*/ 3364086 w 7467600"/>
              <a:gd name="connsiteY167" fmla="*/ 4480340 h 6858000"/>
              <a:gd name="connsiteX168" fmla="*/ 3225818 w 7467600"/>
              <a:gd name="connsiteY168" fmla="*/ 4411822 h 6858000"/>
              <a:gd name="connsiteX169" fmla="*/ 3129696 w 7467600"/>
              <a:gd name="connsiteY169" fmla="*/ 4360704 h 6858000"/>
              <a:gd name="connsiteX170" fmla="*/ 2814545 w 7467600"/>
              <a:gd name="connsiteY170" fmla="*/ 4282955 h 6858000"/>
              <a:gd name="connsiteX171" fmla="*/ 2305292 w 7467600"/>
              <a:gd name="connsiteY171" fmla="*/ 4219492 h 6858000"/>
              <a:gd name="connsiteX172" fmla="*/ 2626982 w 7467600"/>
              <a:gd name="connsiteY172" fmla="*/ 4206450 h 6858000"/>
              <a:gd name="connsiteX173" fmla="*/ 2490617 w 7467600"/>
              <a:gd name="connsiteY173" fmla="*/ 4206951 h 6858000"/>
              <a:gd name="connsiteX174" fmla="*/ 2819869 w 7467600"/>
              <a:gd name="connsiteY174" fmla="*/ 4252936 h 6858000"/>
              <a:gd name="connsiteX175" fmla="*/ 3143018 w 7467600"/>
              <a:gd name="connsiteY175" fmla="*/ 4332698 h 6858000"/>
              <a:gd name="connsiteX176" fmla="*/ 3241520 w 7467600"/>
              <a:gd name="connsiteY176" fmla="*/ 4385112 h 6858000"/>
              <a:gd name="connsiteX177" fmla="*/ 3374575 w 7467600"/>
              <a:gd name="connsiteY177" fmla="*/ 4451517 h 6858000"/>
              <a:gd name="connsiteX178" fmla="*/ 3505221 w 7467600"/>
              <a:gd name="connsiteY178" fmla="*/ 4480757 h 6858000"/>
              <a:gd name="connsiteX179" fmla="*/ 2626982 w 7467600"/>
              <a:gd name="connsiteY179" fmla="*/ 4206450 h 6858000"/>
              <a:gd name="connsiteX180" fmla="*/ 1310106 w 7467600"/>
              <a:gd name="connsiteY180" fmla="*/ 3943217 h 6858000"/>
              <a:gd name="connsiteX181" fmla="*/ 854994 w 7467600"/>
              <a:gd name="connsiteY181" fmla="*/ 4399136 h 6858000"/>
              <a:gd name="connsiteX182" fmla="*/ 742462 w 7467600"/>
              <a:gd name="connsiteY182" fmla="*/ 4594648 h 6858000"/>
              <a:gd name="connsiteX183" fmla="*/ 820602 w 7467600"/>
              <a:gd name="connsiteY183" fmla="*/ 4485915 h 6858000"/>
              <a:gd name="connsiteX184" fmla="*/ 878295 w 7467600"/>
              <a:gd name="connsiteY184" fmla="*/ 4403594 h 6858000"/>
              <a:gd name="connsiteX185" fmla="*/ 1240607 w 7467600"/>
              <a:gd name="connsiteY185" fmla="*/ 4010401 h 6858000"/>
              <a:gd name="connsiteX186" fmla="*/ 1310106 w 7467600"/>
              <a:gd name="connsiteY186" fmla="*/ 3943217 h 6858000"/>
              <a:gd name="connsiteX187" fmla="*/ 1423113 w 7467600"/>
              <a:gd name="connsiteY187" fmla="*/ 3874565 h 6858000"/>
              <a:gd name="connsiteX188" fmla="*/ 1260565 w 7467600"/>
              <a:gd name="connsiteY188" fmla="*/ 4031982 h 6858000"/>
              <a:gd name="connsiteX189" fmla="*/ 901900 w 7467600"/>
              <a:gd name="connsiteY189" fmla="*/ 4421236 h 6858000"/>
              <a:gd name="connsiteX190" fmla="*/ 845044 w 7467600"/>
              <a:gd name="connsiteY190" fmla="*/ 4502436 h 6858000"/>
              <a:gd name="connsiteX191" fmla="*/ 685926 w 7467600"/>
              <a:gd name="connsiteY191" fmla="*/ 4703069 h 6858000"/>
              <a:gd name="connsiteX192" fmla="*/ 684248 w 7467600"/>
              <a:gd name="connsiteY192" fmla="*/ 4706721 h 6858000"/>
              <a:gd name="connsiteX193" fmla="*/ 1423113 w 7467600"/>
              <a:gd name="connsiteY193" fmla="*/ 3874565 h 6858000"/>
              <a:gd name="connsiteX194" fmla="*/ 3316479 w 7467600"/>
              <a:gd name="connsiteY194" fmla="*/ 3872136 h 6858000"/>
              <a:gd name="connsiteX195" fmla="*/ 3546806 w 7467600"/>
              <a:gd name="connsiteY195" fmla="*/ 4356139 h 6858000"/>
              <a:gd name="connsiteX196" fmla="*/ 3364433 w 7467600"/>
              <a:gd name="connsiteY196" fmla="*/ 3953121 h 6858000"/>
              <a:gd name="connsiteX197" fmla="*/ 3316479 w 7467600"/>
              <a:gd name="connsiteY197" fmla="*/ 3872136 h 6858000"/>
              <a:gd name="connsiteX198" fmla="*/ 3291335 w 7467600"/>
              <a:gd name="connsiteY198" fmla="*/ 3767420 h 6858000"/>
              <a:gd name="connsiteX199" fmla="*/ 3390805 w 7467600"/>
              <a:gd name="connsiteY199" fmla="*/ 3937163 h 6858000"/>
              <a:gd name="connsiteX200" fmla="*/ 3579062 w 7467600"/>
              <a:gd name="connsiteY200" fmla="*/ 4359040 h 6858000"/>
              <a:gd name="connsiteX201" fmla="*/ 3467355 w 7467600"/>
              <a:gd name="connsiteY201" fmla="*/ 3988130 h 6858000"/>
              <a:gd name="connsiteX202" fmla="*/ 3310753 w 7467600"/>
              <a:gd name="connsiteY202" fmla="*/ 3787140 h 6858000"/>
              <a:gd name="connsiteX203" fmla="*/ 3291335 w 7467600"/>
              <a:gd name="connsiteY203" fmla="*/ 3767420 h 6858000"/>
              <a:gd name="connsiteX204" fmla="*/ 1635889 w 7467600"/>
              <a:gd name="connsiteY204" fmla="*/ 3709494 h 6858000"/>
              <a:gd name="connsiteX205" fmla="*/ 1634800 w 7467600"/>
              <a:gd name="connsiteY205" fmla="*/ 3731111 h 6858000"/>
              <a:gd name="connsiteX206" fmla="*/ 1635889 w 7467600"/>
              <a:gd name="connsiteY206" fmla="*/ 3709494 h 6858000"/>
              <a:gd name="connsiteX207" fmla="*/ 1510397 w 7467600"/>
              <a:gd name="connsiteY207" fmla="*/ 3684705 h 6858000"/>
              <a:gd name="connsiteX208" fmla="*/ 1146550 w 7467600"/>
              <a:gd name="connsiteY208" fmla="*/ 3802012 h 6858000"/>
              <a:gd name="connsiteX209" fmla="*/ 698834 w 7467600"/>
              <a:gd name="connsiteY209" fmla="*/ 3952272 h 6858000"/>
              <a:gd name="connsiteX210" fmla="*/ 34256 w 7467600"/>
              <a:gd name="connsiteY210" fmla="*/ 4347603 h 6858000"/>
              <a:gd name="connsiteX211" fmla="*/ 527241 w 7467600"/>
              <a:gd name="connsiteY211" fmla="*/ 4065078 h 6858000"/>
              <a:gd name="connsiteX212" fmla="*/ 1510397 w 7467600"/>
              <a:gd name="connsiteY212" fmla="*/ 3684705 h 6858000"/>
              <a:gd name="connsiteX213" fmla="*/ 1313114 w 7467600"/>
              <a:gd name="connsiteY213" fmla="*/ 3655216 h 6858000"/>
              <a:gd name="connsiteX214" fmla="*/ 1109304 w 7467600"/>
              <a:gd name="connsiteY214" fmla="*/ 3669030 h 6858000"/>
              <a:gd name="connsiteX215" fmla="*/ 8129 w 7467600"/>
              <a:gd name="connsiteY215" fmla="*/ 4330519 h 6858000"/>
              <a:gd name="connsiteX216" fmla="*/ 687572 w 7467600"/>
              <a:gd name="connsiteY216" fmla="*/ 3925629 h 6858000"/>
              <a:gd name="connsiteX217" fmla="*/ 1138365 w 7467600"/>
              <a:gd name="connsiteY217" fmla="*/ 3774515 h 6858000"/>
              <a:gd name="connsiteX218" fmla="*/ 1505579 w 7467600"/>
              <a:gd name="connsiteY218" fmla="*/ 3655526 h 6858000"/>
              <a:gd name="connsiteX219" fmla="*/ 1313114 w 7467600"/>
              <a:gd name="connsiteY219" fmla="*/ 3655216 h 6858000"/>
              <a:gd name="connsiteX220" fmla="*/ 3655073 w 7467600"/>
              <a:gd name="connsiteY220" fmla="*/ 3650884 h 6858000"/>
              <a:gd name="connsiteX221" fmla="*/ 3989938 w 7467600"/>
              <a:gd name="connsiteY221" fmla="*/ 3991685 h 6858000"/>
              <a:gd name="connsiteX222" fmla="*/ 4393907 w 7467600"/>
              <a:gd name="connsiteY222" fmla="*/ 4261258 h 6858000"/>
              <a:gd name="connsiteX223" fmla="*/ 4648051 w 7467600"/>
              <a:gd name="connsiteY223" fmla="*/ 4374051 h 6858000"/>
              <a:gd name="connsiteX224" fmla="*/ 4383389 w 7467600"/>
              <a:gd name="connsiteY224" fmla="*/ 4184369 h 6858000"/>
              <a:gd name="connsiteX225" fmla="*/ 4165508 w 7467600"/>
              <a:gd name="connsiteY225" fmla="*/ 4035196 h 6858000"/>
              <a:gd name="connsiteX226" fmla="*/ 4068162 w 7467600"/>
              <a:gd name="connsiteY226" fmla="*/ 3953394 h 6858000"/>
              <a:gd name="connsiteX227" fmla="*/ 3981416 w 7467600"/>
              <a:gd name="connsiteY227" fmla="*/ 3880482 h 6858000"/>
              <a:gd name="connsiteX228" fmla="*/ 3800147 w 7467600"/>
              <a:gd name="connsiteY228" fmla="*/ 3749872 h 6858000"/>
              <a:gd name="connsiteX229" fmla="*/ 3655073 w 7467600"/>
              <a:gd name="connsiteY229" fmla="*/ 3650884 h 6858000"/>
              <a:gd name="connsiteX230" fmla="*/ 3670252 w 7467600"/>
              <a:gd name="connsiteY230" fmla="*/ 3622798 h 6858000"/>
              <a:gd name="connsiteX231" fmla="*/ 3817258 w 7467600"/>
              <a:gd name="connsiteY231" fmla="*/ 3723577 h 6858000"/>
              <a:gd name="connsiteX232" fmla="*/ 4000461 w 7467600"/>
              <a:gd name="connsiteY232" fmla="*/ 3855966 h 6858000"/>
              <a:gd name="connsiteX233" fmla="*/ 4088180 w 7467600"/>
              <a:gd name="connsiteY233" fmla="*/ 3929774 h 6858000"/>
              <a:gd name="connsiteX234" fmla="*/ 4184555 w 7467600"/>
              <a:gd name="connsiteY234" fmla="*/ 4010683 h 6858000"/>
              <a:gd name="connsiteX235" fmla="*/ 4399563 w 7467600"/>
              <a:gd name="connsiteY235" fmla="*/ 4158106 h 6858000"/>
              <a:gd name="connsiteX236" fmla="*/ 4684469 w 7467600"/>
              <a:gd name="connsiteY236" fmla="*/ 4364680 h 6858000"/>
              <a:gd name="connsiteX237" fmla="*/ 4690271 w 7467600"/>
              <a:gd name="connsiteY237" fmla="*/ 4370034 h 6858000"/>
              <a:gd name="connsiteX238" fmla="*/ 4136093 w 7467600"/>
              <a:gd name="connsiteY238" fmla="*/ 3858466 h 6858000"/>
              <a:gd name="connsiteX239" fmla="*/ 3670252 w 7467600"/>
              <a:gd name="connsiteY239" fmla="*/ 3622798 h 6858000"/>
              <a:gd name="connsiteX240" fmla="*/ 4440129 w 7467600"/>
              <a:gd name="connsiteY240" fmla="*/ 3448571 h 6858000"/>
              <a:gd name="connsiteX241" fmla="*/ 4856525 w 7467600"/>
              <a:gd name="connsiteY241" fmla="*/ 3915351 h 6858000"/>
              <a:gd name="connsiteX242" fmla="*/ 5059055 w 7467600"/>
              <a:gd name="connsiteY242" fmla="*/ 4108918 h 6858000"/>
              <a:gd name="connsiteX243" fmla="*/ 5290070 w 7467600"/>
              <a:gd name="connsiteY243" fmla="*/ 4263619 h 6858000"/>
              <a:gd name="connsiteX244" fmla="*/ 4834991 w 7467600"/>
              <a:gd name="connsiteY244" fmla="*/ 3830985 h 6858000"/>
              <a:gd name="connsiteX245" fmla="*/ 4440129 w 7467600"/>
              <a:gd name="connsiteY245" fmla="*/ 3448571 h 6858000"/>
              <a:gd name="connsiteX246" fmla="*/ 4441737 w 7467600"/>
              <a:gd name="connsiteY246" fmla="*/ 3399734 h 6858000"/>
              <a:gd name="connsiteX247" fmla="*/ 4431236 w 7467600"/>
              <a:gd name="connsiteY247" fmla="*/ 3400954 h 6858000"/>
              <a:gd name="connsiteX248" fmla="*/ 4557150 w 7467600"/>
              <a:gd name="connsiteY248" fmla="*/ 3510023 h 6858000"/>
              <a:gd name="connsiteX249" fmla="*/ 4856936 w 7467600"/>
              <a:gd name="connsiteY249" fmla="*/ 3809146 h 6858000"/>
              <a:gd name="connsiteX250" fmla="*/ 5111996 w 7467600"/>
              <a:gd name="connsiteY250" fmla="*/ 4065759 h 6858000"/>
              <a:gd name="connsiteX251" fmla="*/ 5388878 w 7467600"/>
              <a:gd name="connsiteY251" fmla="*/ 4300185 h 6858000"/>
              <a:gd name="connsiteX252" fmla="*/ 5425556 w 7467600"/>
              <a:gd name="connsiteY252" fmla="*/ 4308967 h 6858000"/>
              <a:gd name="connsiteX253" fmla="*/ 4943646 w 7467600"/>
              <a:gd name="connsiteY253" fmla="*/ 3822916 h 6858000"/>
              <a:gd name="connsiteX254" fmla="*/ 4594837 w 7467600"/>
              <a:gd name="connsiteY254" fmla="*/ 3532274 h 6858000"/>
              <a:gd name="connsiteX255" fmla="*/ 4441737 w 7467600"/>
              <a:gd name="connsiteY255" fmla="*/ 3399734 h 6858000"/>
              <a:gd name="connsiteX256" fmla="*/ 5425834 w 7467600"/>
              <a:gd name="connsiteY256" fmla="*/ 3162785 h 6858000"/>
              <a:gd name="connsiteX257" fmla="*/ 5401644 w 7467600"/>
              <a:gd name="connsiteY257" fmla="*/ 3617847 h 6858000"/>
              <a:gd name="connsiteX258" fmla="*/ 5467256 w 7467600"/>
              <a:gd name="connsiteY258" fmla="*/ 4175494 h 6858000"/>
              <a:gd name="connsiteX259" fmla="*/ 5448069 w 7467600"/>
              <a:gd name="connsiteY259" fmla="*/ 3567554 h 6858000"/>
              <a:gd name="connsiteX260" fmla="*/ 5425834 w 7467600"/>
              <a:gd name="connsiteY260" fmla="*/ 3162785 h 6858000"/>
              <a:gd name="connsiteX261" fmla="*/ 1318687 w 7467600"/>
              <a:gd name="connsiteY261" fmla="*/ 3113840 h 6858000"/>
              <a:gd name="connsiteX262" fmla="*/ 1066793 w 7467600"/>
              <a:gd name="connsiteY262" fmla="*/ 3212171 h 6858000"/>
              <a:gd name="connsiteX263" fmla="*/ 993319 w 7467600"/>
              <a:gd name="connsiteY263" fmla="*/ 3247648 h 6858000"/>
              <a:gd name="connsiteX264" fmla="*/ 853081 w 7467600"/>
              <a:gd name="connsiteY264" fmla="*/ 3312410 h 6858000"/>
              <a:gd name="connsiteX265" fmla="*/ 805957 w 7467600"/>
              <a:gd name="connsiteY265" fmla="*/ 3330443 h 6858000"/>
              <a:gd name="connsiteX266" fmla="*/ 1318687 w 7467600"/>
              <a:gd name="connsiteY266" fmla="*/ 3113840 h 6858000"/>
              <a:gd name="connsiteX267" fmla="*/ 5453702 w 7467600"/>
              <a:gd name="connsiteY267" fmla="*/ 3090882 h 6858000"/>
              <a:gd name="connsiteX268" fmla="*/ 5480135 w 7467600"/>
              <a:gd name="connsiteY268" fmla="*/ 3565802 h 6858000"/>
              <a:gd name="connsiteX269" fmla="*/ 5499023 w 7467600"/>
              <a:gd name="connsiteY269" fmla="*/ 4166310 h 6858000"/>
              <a:gd name="connsiteX270" fmla="*/ 5547022 w 7467600"/>
              <a:gd name="connsiteY270" fmla="*/ 3607838 h 6858000"/>
              <a:gd name="connsiteX271" fmla="*/ 5515964 w 7467600"/>
              <a:gd name="connsiteY271" fmla="*/ 3378541 h 6858000"/>
              <a:gd name="connsiteX272" fmla="*/ 5453702 w 7467600"/>
              <a:gd name="connsiteY272" fmla="*/ 3090882 h 6858000"/>
              <a:gd name="connsiteX273" fmla="*/ 1238695 w 7467600"/>
              <a:gd name="connsiteY273" fmla="*/ 3076820 h 6858000"/>
              <a:gd name="connsiteX274" fmla="*/ 716371 w 7467600"/>
              <a:gd name="connsiteY274" fmla="*/ 3293249 h 6858000"/>
              <a:gd name="connsiteX275" fmla="*/ 579522 w 7467600"/>
              <a:gd name="connsiteY275" fmla="*/ 3371759 h 6858000"/>
              <a:gd name="connsiteX276" fmla="*/ 600288 w 7467600"/>
              <a:gd name="connsiteY276" fmla="*/ 3365555 h 6858000"/>
              <a:gd name="connsiteX277" fmla="*/ 840692 w 7467600"/>
              <a:gd name="connsiteY277" fmla="*/ 3284921 h 6858000"/>
              <a:gd name="connsiteX278" fmla="*/ 979248 w 7467600"/>
              <a:gd name="connsiteY278" fmla="*/ 3221003 h 6858000"/>
              <a:gd name="connsiteX279" fmla="*/ 1053282 w 7467600"/>
              <a:gd name="connsiteY279" fmla="*/ 3185247 h 6858000"/>
              <a:gd name="connsiteX280" fmla="*/ 1320603 w 7467600"/>
              <a:gd name="connsiteY280" fmla="*/ 3081281 h 6858000"/>
              <a:gd name="connsiteX281" fmla="*/ 1238695 w 7467600"/>
              <a:gd name="connsiteY281" fmla="*/ 3076820 h 6858000"/>
              <a:gd name="connsiteX282" fmla="*/ 5425627 w 7467600"/>
              <a:gd name="connsiteY282" fmla="*/ 2954192 h 6858000"/>
              <a:gd name="connsiteX283" fmla="*/ 5470770 w 7467600"/>
              <a:gd name="connsiteY283" fmla="*/ 3005435 h 6858000"/>
              <a:gd name="connsiteX284" fmla="*/ 5519779 w 7467600"/>
              <a:gd name="connsiteY284" fmla="*/ 4359223 h 6858000"/>
              <a:gd name="connsiteX285" fmla="*/ 5520293 w 7467600"/>
              <a:gd name="connsiteY285" fmla="*/ 4360602 h 6858000"/>
              <a:gd name="connsiteX286" fmla="*/ 5767221 w 7467600"/>
              <a:gd name="connsiteY286" fmla="*/ 4665564 h 6858000"/>
              <a:gd name="connsiteX287" fmla="*/ 6937169 w 7467600"/>
              <a:gd name="connsiteY287" fmla="*/ 4815941 h 6858000"/>
              <a:gd name="connsiteX288" fmla="*/ 6953922 w 7467600"/>
              <a:gd name="connsiteY288" fmla="*/ 4890068 h 6858000"/>
              <a:gd name="connsiteX289" fmla="*/ 6071359 w 7467600"/>
              <a:gd name="connsiteY289" fmla="*/ 4770770 h 6858000"/>
              <a:gd name="connsiteX290" fmla="*/ 6038839 w 7467600"/>
              <a:gd name="connsiteY290" fmla="*/ 4764474 h 6858000"/>
              <a:gd name="connsiteX291" fmla="*/ 6038706 w 7467600"/>
              <a:gd name="connsiteY291" fmla="*/ 4763847 h 6858000"/>
              <a:gd name="connsiteX292" fmla="*/ 6037784 w 7467600"/>
              <a:gd name="connsiteY292" fmla="*/ 4764270 h 6858000"/>
              <a:gd name="connsiteX293" fmla="*/ 6038839 w 7467600"/>
              <a:gd name="connsiteY293" fmla="*/ 4764474 h 6858000"/>
              <a:gd name="connsiteX294" fmla="*/ 6040338 w 7467600"/>
              <a:gd name="connsiteY294" fmla="*/ 4771418 h 6858000"/>
              <a:gd name="connsiteX295" fmla="*/ 6024488 w 7467600"/>
              <a:gd name="connsiteY295" fmla="*/ 4809903 h 6858000"/>
              <a:gd name="connsiteX296" fmla="*/ 5599771 w 7467600"/>
              <a:gd name="connsiteY296" fmla="*/ 5509652 h 6858000"/>
              <a:gd name="connsiteX297" fmla="*/ 5548843 w 7467600"/>
              <a:gd name="connsiteY297" fmla="*/ 5563845 h 6858000"/>
              <a:gd name="connsiteX298" fmla="*/ 5940952 w 7467600"/>
              <a:gd name="connsiteY298" fmla="*/ 6250028 h 6858000"/>
              <a:gd name="connsiteX299" fmla="*/ 6043441 w 7467600"/>
              <a:gd name="connsiteY299" fmla="*/ 6665847 h 6858000"/>
              <a:gd name="connsiteX300" fmla="*/ 6093432 w 7467600"/>
              <a:gd name="connsiteY300" fmla="*/ 6858000 h 6858000"/>
              <a:gd name="connsiteX301" fmla="*/ 6034344 w 7467600"/>
              <a:gd name="connsiteY301" fmla="*/ 6858000 h 6858000"/>
              <a:gd name="connsiteX302" fmla="*/ 6026679 w 7467600"/>
              <a:gd name="connsiteY302" fmla="*/ 6836959 h 6858000"/>
              <a:gd name="connsiteX303" fmla="*/ 5800441 w 7467600"/>
              <a:gd name="connsiteY303" fmla="*/ 6335286 h 6858000"/>
              <a:gd name="connsiteX304" fmla="*/ 5526562 w 7467600"/>
              <a:gd name="connsiteY304" fmla="*/ 5705388 h 6858000"/>
              <a:gd name="connsiteX305" fmla="*/ 5519640 w 7467600"/>
              <a:gd name="connsiteY305" fmla="*/ 5683774 h 6858000"/>
              <a:gd name="connsiteX306" fmla="*/ 5844559 w 7467600"/>
              <a:gd name="connsiteY306" fmla="*/ 6553349 h 6858000"/>
              <a:gd name="connsiteX307" fmla="*/ 5975994 w 7467600"/>
              <a:gd name="connsiteY307" fmla="*/ 6858000 h 6858000"/>
              <a:gd name="connsiteX308" fmla="*/ 5898547 w 7467600"/>
              <a:gd name="connsiteY308" fmla="*/ 6858000 h 6858000"/>
              <a:gd name="connsiteX309" fmla="*/ 5682041 w 7467600"/>
              <a:gd name="connsiteY309" fmla="*/ 6355860 h 6858000"/>
              <a:gd name="connsiteX310" fmla="*/ 5461758 w 7467600"/>
              <a:gd name="connsiteY310" fmla="*/ 5820220 h 6858000"/>
              <a:gd name="connsiteX311" fmla="*/ 5237282 w 7467600"/>
              <a:gd name="connsiteY311" fmla="*/ 6579086 h 6858000"/>
              <a:gd name="connsiteX312" fmla="*/ 5115009 w 7467600"/>
              <a:gd name="connsiteY312" fmla="*/ 6858000 h 6858000"/>
              <a:gd name="connsiteX313" fmla="*/ 5028074 w 7467600"/>
              <a:gd name="connsiteY313" fmla="*/ 6858000 h 6858000"/>
              <a:gd name="connsiteX314" fmla="*/ 5079508 w 7467600"/>
              <a:gd name="connsiteY314" fmla="*/ 6749074 h 6858000"/>
              <a:gd name="connsiteX315" fmla="*/ 5371846 w 7467600"/>
              <a:gd name="connsiteY315" fmla="*/ 5924413 h 6858000"/>
              <a:gd name="connsiteX316" fmla="*/ 5270512 w 7467600"/>
              <a:gd name="connsiteY316" fmla="*/ 6138975 h 6858000"/>
              <a:gd name="connsiteX317" fmla="*/ 5062409 w 7467600"/>
              <a:gd name="connsiteY317" fmla="*/ 6653544 h 6858000"/>
              <a:gd name="connsiteX318" fmla="*/ 5036628 w 7467600"/>
              <a:gd name="connsiteY318" fmla="*/ 6754247 h 6858000"/>
              <a:gd name="connsiteX319" fmla="*/ 5009112 w 7467600"/>
              <a:gd name="connsiteY319" fmla="*/ 6858000 h 6858000"/>
              <a:gd name="connsiteX320" fmla="*/ 4976679 w 7467600"/>
              <a:gd name="connsiteY320" fmla="*/ 6858000 h 6858000"/>
              <a:gd name="connsiteX321" fmla="*/ 5006537 w 7467600"/>
              <a:gd name="connsiteY321" fmla="*/ 6747068 h 6858000"/>
              <a:gd name="connsiteX322" fmla="*/ 5032723 w 7467600"/>
              <a:gd name="connsiteY322" fmla="*/ 6644957 h 6858000"/>
              <a:gd name="connsiteX323" fmla="*/ 5242949 w 7467600"/>
              <a:gd name="connsiteY323" fmla="*/ 6125175 h 6858000"/>
              <a:gd name="connsiteX324" fmla="*/ 5286321 w 7467600"/>
              <a:gd name="connsiteY324" fmla="*/ 6033555 h 6858000"/>
              <a:gd name="connsiteX325" fmla="*/ 5008210 w 7467600"/>
              <a:gd name="connsiteY325" fmla="*/ 6649194 h 6858000"/>
              <a:gd name="connsiteX326" fmla="*/ 4986321 w 7467600"/>
              <a:gd name="connsiteY326" fmla="*/ 6765687 h 6858000"/>
              <a:gd name="connsiteX327" fmla="*/ 4973474 w 7467600"/>
              <a:gd name="connsiteY327" fmla="*/ 6858000 h 6858000"/>
              <a:gd name="connsiteX328" fmla="*/ 4907178 w 7467600"/>
              <a:gd name="connsiteY328" fmla="*/ 6858000 h 6858000"/>
              <a:gd name="connsiteX329" fmla="*/ 4910810 w 7467600"/>
              <a:gd name="connsiteY329" fmla="*/ 6829660 h 6858000"/>
              <a:gd name="connsiteX330" fmla="*/ 4987461 w 7467600"/>
              <a:gd name="connsiteY330" fmla="*/ 6432994 h 6858000"/>
              <a:gd name="connsiteX331" fmla="*/ 5179262 w 7467600"/>
              <a:gd name="connsiteY331" fmla="*/ 6035044 h 6858000"/>
              <a:gd name="connsiteX332" fmla="*/ 4689678 w 7467600"/>
              <a:gd name="connsiteY332" fmla="*/ 6440241 h 6858000"/>
              <a:gd name="connsiteX333" fmla="*/ 4477543 w 7467600"/>
              <a:gd name="connsiteY333" fmla="*/ 6674836 h 6858000"/>
              <a:gd name="connsiteX334" fmla="*/ 4329957 w 7467600"/>
              <a:gd name="connsiteY334" fmla="*/ 6858000 h 6858000"/>
              <a:gd name="connsiteX335" fmla="*/ 4218595 w 7467600"/>
              <a:gd name="connsiteY335" fmla="*/ 6858000 h 6858000"/>
              <a:gd name="connsiteX336" fmla="*/ 4368888 w 7467600"/>
              <a:gd name="connsiteY336" fmla="*/ 6668412 h 6858000"/>
              <a:gd name="connsiteX337" fmla="*/ 4563091 w 7467600"/>
              <a:gd name="connsiteY337" fmla="*/ 6442508 h 6858000"/>
              <a:gd name="connsiteX338" fmla="*/ 5387324 w 7467600"/>
              <a:gd name="connsiteY338" fmla="*/ 5705830 h 6858000"/>
              <a:gd name="connsiteX339" fmla="*/ 5073620 w 7467600"/>
              <a:gd name="connsiteY339" fmla="*/ 5955437 h 6858000"/>
              <a:gd name="connsiteX340" fmla="*/ 4689789 w 7467600"/>
              <a:gd name="connsiteY340" fmla="*/ 6268382 h 6858000"/>
              <a:gd name="connsiteX341" fmla="*/ 4418722 w 7467600"/>
              <a:gd name="connsiteY341" fmla="*/ 6570886 h 6858000"/>
              <a:gd name="connsiteX342" fmla="*/ 4214944 w 7467600"/>
              <a:gd name="connsiteY342" fmla="*/ 6858000 h 6858000"/>
              <a:gd name="connsiteX343" fmla="*/ 4177898 w 7467600"/>
              <a:gd name="connsiteY343" fmla="*/ 6858000 h 6858000"/>
              <a:gd name="connsiteX344" fmla="*/ 4391597 w 7467600"/>
              <a:gd name="connsiteY344" fmla="*/ 6556370 h 6858000"/>
              <a:gd name="connsiteX345" fmla="*/ 4668889 w 7467600"/>
              <a:gd name="connsiteY345" fmla="*/ 6246399 h 6858000"/>
              <a:gd name="connsiteX346" fmla="*/ 5055427 w 7467600"/>
              <a:gd name="connsiteY346" fmla="*/ 5931476 h 6858000"/>
              <a:gd name="connsiteX347" fmla="*/ 5371814 w 7467600"/>
              <a:gd name="connsiteY347" fmla="*/ 5678975 h 6858000"/>
              <a:gd name="connsiteX348" fmla="*/ 4987918 w 7467600"/>
              <a:gd name="connsiteY348" fmla="*/ 5838701 h 6858000"/>
              <a:gd name="connsiteX349" fmla="*/ 4317146 w 7467600"/>
              <a:gd name="connsiteY349" fmla="*/ 6587716 h 6858000"/>
              <a:gd name="connsiteX350" fmla="*/ 4171627 w 7467600"/>
              <a:gd name="connsiteY350" fmla="*/ 6858000 h 6858000"/>
              <a:gd name="connsiteX351" fmla="*/ 4081585 w 7467600"/>
              <a:gd name="connsiteY351" fmla="*/ 6858000 h 6858000"/>
              <a:gd name="connsiteX352" fmla="*/ 4238603 w 7467600"/>
              <a:gd name="connsiteY352" fmla="*/ 6559341 h 6858000"/>
              <a:gd name="connsiteX353" fmla="*/ 4778333 w 7467600"/>
              <a:gd name="connsiteY353" fmla="*/ 5873626 h 6858000"/>
              <a:gd name="connsiteX354" fmla="*/ 5414185 w 7467600"/>
              <a:gd name="connsiteY354" fmla="*/ 5573882 h 6858000"/>
              <a:gd name="connsiteX355" fmla="*/ 5959648 w 7467600"/>
              <a:gd name="connsiteY355" fmla="*/ 4760797 h 6858000"/>
              <a:gd name="connsiteX356" fmla="*/ 5355019 w 7467600"/>
              <a:gd name="connsiteY356" fmla="*/ 4734672 h 6858000"/>
              <a:gd name="connsiteX357" fmla="*/ 5083565 w 7467600"/>
              <a:gd name="connsiteY357" fmla="*/ 5179121 h 6858000"/>
              <a:gd name="connsiteX358" fmla="*/ 4713577 w 7467600"/>
              <a:gd name="connsiteY358" fmla="*/ 5616803 h 6858000"/>
              <a:gd name="connsiteX359" fmla="*/ 3989559 w 7467600"/>
              <a:gd name="connsiteY359" fmla="*/ 6145945 h 6858000"/>
              <a:gd name="connsiteX360" fmla="*/ 3939824 w 7467600"/>
              <a:gd name="connsiteY360" fmla="*/ 6066900 h 6858000"/>
              <a:gd name="connsiteX361" fmla="*/ 4584537 w 7467600"/>
              <a:gd name="connsiteY361" fmla="*/ 5324826 h 6858000"/>
              <a:gd name="connsiteX362" fmla="*/ 5037105 w 7467600"/>
              <a:gd name="connsiteY362" fmla="*/ 5088765 h 6858000"/>
              <a:gd name="connsiteX363" fmla="*/ 5039930 w 7467600"/>
              <a:gd name="connsiteY363" fmla="*/ 5089585 h 6858000"/>
              <a:gd name="connsiteX364" fmla="*/ 5263764 w 7467600"/>
              <a:gd name="connsiteY364" fmla="*/ 4735525 h 6858000"/>
              <a:gd name="connsiteX365" fmla="*/ 4086300 w 7467600"/>
              <a:gd name="connsiteY365" fmla="*/ 4884599 h 6858000"/>
              <a:gd name="connsiteX366" fmla="*/ 4085485 w 7467600"/>
              <a:gd name="connsiteY366" fmla="*/ 4899070 h 6858000"/>
              <a:gd name="connsiteX367" fmla="*/ 3871915 w 7467600"/>
              <a:gd name="connsiteY367" fmla="*/ 5253645 h 6858000"/>
              <a:gd name="connsiteX368" fmla="*/ 3799374 w 7467600"/>
              <a:gd name="connsiteY368" fmla="*/ 5466127 h 6858000"/>
              <a:gd name="connsiteX369" fmla="*/ 3498850 w 7467600"/>
              <a:gd name="connsiteY369" fmla="*/ 6661888 h 6858000"/>
              <a:gd name="connsiteX370" fmla="*/ 3399216 w 7467600"/>
              <a:gd name="connsiteY370" fmla="*/ 6858000 h 6858000"/>
              <a:gd name="connsiteX371" fmla="*/ 3303688 w 7467600"/>
              <a:gd name="connsiteY371" fmla="*/ 6858000 h 6858000"/>
              <a:gd name="connsiteX372" fmla="*/ 3391774 w 7467600"/>
              <a:gd name="connsiteY372" fmla="*/ 6697181 h 6858000"/>
              <a:gd name="connsiteX373" fmla="*/ 3735540 w 7467600"/>
              <a:gd name="connsiteY373" fmla="*/ 5546923 h 6858000"/>
              <a:gd name="connsiteX374" fmla="*/ 3729438 w 7467600"/>
              <a:gd name="connsiteY374" fmla="*/ 5569058 h 6858000"/>
              <a:gd name="connsiteX375" fmla="*/ 3707782 w 7467600"/>
              <a:gd name="connsiteY375" fmla="*/ 5644908 h 6858000"/>
              <a:gd name="connsiteX376" fmla="*/ 3583827 w 7467600"/>
              <a:gd name="connsiteY376" fmla="*/ 6039215 h 6858000"/>
              <a:gd name="connsiteX377" fmla="*/ 3547861 w 7467600"/>
              <a:gd name="connsiteY377" fmla="*/ 6129609 h 6858000"/>
              <a:gd name="connsiteX378" fmla="*/ 3490905 w 7467600"/>
              <a:gd name="connsiteY378" fmla="*/ 6277660 h 6858000"/>
              <a:gd name="connsiteX379" fmla="*/ 3455859 w 7467600"/>
              <a:gd name="connsiteY379" fmla="*/ 6391301 h 6858000"/>
              <a:gd name="connsiteX380" fmla="*/ 3429112 w 7467600"/>
              <a:gd name="connsiteY380" fmla="*/ 6479469 h 6858000"/>
              <a:gd name="connsiteX381" fmla="*/ 3304862 w 7467600"/>
              <a:gd name="connsiteY381" fmla="*/ 6796476 h 6858000"/>
              <a:gd name="connsiteX382" fmla="*/ 3276071 w 7467600"/>
              <a:gd name="connsiteY382" fmla="*/ 6858000 h 6858000"/>
              <a:gd name="connsiteX383" fmla="*/ 3240805 w 7467600"/>
              <a:gd name="connsiteY383" fmla="*/ 6858000 h 6858000"/>
              <a:gd name="connsiteX384" fmla="*/ 3275917 w 7467600"/>
              <a:gd name="connsiteY384" fmla="*/ 6783192 h 6858000"/>
              <a:gd name="connsiteX385" fmla="*/ 3399358 w 7467600"/>
              <a:gd name="connsiteY385" fmla="*/ 6469011 h 6858000"/>
              <a:gd name="connsiteX386" fmla="*/ 3425650 w 7467600"/>
              <a:gd name="connsiteY386" fmla="*/ 6381333 h 6858000"/>
              <a:gd name="connsiteX387" fmla="*/ 3460661 w 7467600"/>
              <a:gd name="connsiteY387" fmla="*/ 6266763 h 6858000"/>
              <a:gd name="connsiteX388" fmla="*/ 3518021 w 7467600"/>
              <a:gd name="connsiteY388" fmla="*/ 6117298 h 6858000"/>
              <a:gd name="connsiteX389" fmla="*/ 3554035 w 7467600"/>
              <a:gd name="connsiteY389" fmla="*/ 6027832 h 6858000"/>
              <a:gd name="connsiteX390" fmla="*/ 3677174 w 7467600"/>
              <a:gd name="connsiteY390" fmla="*/ 5636351 h 6858000"/>
              <a:gd name="connsiteX391" fmla="*/ 3698819 w 7467600"/>
              <a:gd name="connsiteY391" fmla="*/ 5560503 h 6858000"/>
              <a:gd name="connsiteX392" fmla="*/ 3702094 w 7467600"/>
              <a:gd name="connsiteY392" fmla="*/ 5549194 h 6858000"/>
              <a:gd name="connsiteX393" fmla="*/ 3398355 w 7467600"/>
              <a:gd name="connsiteY393" fmla="*/ 6094603 h 6858000"/>
              <a:gd name="connsiteX394" fmla="*/ 3193941 w 7467600"/>
              <a:gd name="connsiteY394" fmla="*/ 6798775 h 6858000"/>
              <a:gd name="connsiteX395" fmla="*/ 3184140 w 7467600"/>
              <a:gd name="connsiteY395" fmla="*/ 6858000 h 6858000"/>
              <a:gd name="connsiteX396" fmla="*/ 3099978 w 7467600"/>
              <a:gd name="connsiteY396" fmla="*/ 6858000 h 6858000"/>
              <a:gd name="connsiteX397" fmla="*/ 3101556 w 7467600"/>
              <a:gd name="connsiteY397" fmla="*/ 6843337 h 6858000"/>
              <a:gd name="connsiteX398" fmla="*/ 3370162 w 7467600"/>
              <a:gd name="connsiteY398" fmla="*/ 5785550 h 6858000"/>
              <a:gd name="connsiteX399" fmla="*/ 3746477 w 7467600"/>
              <a:gd name="connsiteY399" fmla="*/ 5377889 h 6858000"/>
              <a:gd name="connsiteX400" fmla="*/ 3863399 w 7467600"/>
              <a:gd name="connsiteY400" fmla="*/ 5087257 h 6858000"/>
              <a:gd name="connsiteX401" fmla="*/ 3968712 w 7467600"/>
              <a:gd name="connsiteY401" fmla="*/ 4913989 h 6858000"/>
              <a:gd name="connsiteX402" fmla="*/ 2792390 w 7467600"/>
              <a:gd name="connsiteY402" fmla="*/ 5382974 h 6858000"/>
              <a:gd name="connsiteX403" fmla="*/ 2714982 w 7467600"/>
              <a:gd name="connsiteY403" fmla="*/ 5427051 h 6858000"/>
              <a:gd name="connsiteX404" fmla="*/ 2813361 w 7467600"/>
              <a:gd name="connsiteY404" fmla="*/ 6023912 h 6858000"/>
              <a:gd name="connsiteX405" fmla="*/ 2688430 w 7467600"/>
              <a:gd name="connsiteY405" fmla="*/ 6801564 h 6858000"/>
              <a:gd name="connsiteX406" fmla="*/ 2629626 w 7467600"/>
              <a:gd name="connsiteY406" fmla="*/ 6763394 h 6858000"/>
              <a:gd name="connsiteX407" fmla="*/ 2565328 w 7467600"/>
              <a:gd name="connsiteY407" fmla="*/ 5516399 h 6858000"/>
              <a:gd name="connsiteX408" fmla="*/ 1922999 w 7467600"/>
              <a:gd name="connsiteY408" fmla="*/ 5980343 h 6858000"/>
              <a:gd name="connsiteX409" fmla="*/ 1950261 w 7467600"/>
              <a:gd name="connsiteY409" fmla="*/ 6405858 h 6858000"/>
              <a:gd name="connsiteX410" fmla="*/ 2365554 w 7467600"/>
              <a:gd name="connsiteY410" fmla="*/ 6759107 h 6858000"/>
              <a:gd name="connsiteX411" fmla="*/ 2424142 w 7467600"/>
              <a:gd name="connsiteY411" fmla="*/ 6858000 h 6858000"/>
              <a:gd name="connsiteX412" fmla="*/ 2395994 w 7467600"/>
              <a:gd name="connsiteY412" fmla="*/ 6858000 h 6858000"/>
              <a:gd name="connsiteX413" fmla="*/ 2392863 w 7467600"/>
              <a:gd name="connsiteY413" fmla="*/ 6852964 h 6858000"/>
              <a:gd name="connsiteX414" fmla="*/ 2017589 w 7467600"/>
              <a:gd name="connsiteY414" fmla="*/ 6493982 h 6858000"/>
              <a:gd name="connsiteX415" fmla="*/ 2147336 w 7467600"/>
              <a:gd name="connsiteY415" fmla="*/ 6594052 h 6858000"/>
              <a:gd name="connsiteX416" fmla="*/ 2207047 w 7467600"/>
              <a:gd name="connsiteY416" fmla="*/ 6654540 h 6858000"/>
              <a:gd name="connsiteX417" fmla="*/ 2299106 w 7467600"/>
              <a:gd name="connsiteY417" fmla="*/ 6778931 h 6858000"/>
              <a:gd name="connsiteX418" fmla="*/ 2314430 w 7467600"/>
              <a:gd name="connsiteY418" fmla="*/ 6801144 h 6858000"/>
              <a:gd name="connsiteX419" fmla="*/ 2352406 w 7467600"/>
              <a:gd name="connsiteY419" fmla="*/ 6858000 h 6858000"/>
              <a:gd name="connsiteX420" fmla="*/ 2314492 w 7467600"/>
              <a:gd name="connsiteY420" fmla="*/ 6858000 h 6858000"/>
              <a:gd name="connsiteX421" fmla="*/ 2288095 w 7467600"/>
              <a:gd name="connsiteY421" fmla="*/ 6818030 h 6858000"/>
              <a:gd name="connsiteX422" fmla="*/ 2272768 w 7467600"/>
              <a:gd name="connsiteY422" fmla="*/ 6795822 h 6858000"/>
              <a:gd name="connsiteX423" fmla="*/ 2182715 w 7467600"/>
              <a:gd name="connsiteY423" fmla="*/ 6675071 h 6858000"/>
              <a:gd name="connsiteX424" fmla="*/ 2032061 w 7467600"/>
              <a:gd name="connsiteY424" fmla="*/ 6541380 h 6858000"/>
              <a:gd name="connsiteX425" fmla="*/ 2257220 w 7467600"/>
              <a:gd name="connsiteY425" fmla="*/ 6826257 h 6858000"/>
              <a:gd name="connsiteX426" fmla="*/ 2281324 w 7467600"/>
              <a:gd name="connsiteY426" fmla="*/ 6858000 h 6858000"/>
              <a:gd name="connsiteX427" fmla="*/ 2242860 w 7467600"/>
              <a:gd name="connsiteY427" fmla="*/ 6858000 h 6858000"/>
              <a:gd name="connsiteX428" fmla="*/ 2232818 w 7467600"/>
              <a:gd name="connsiteY428" fmla="*/ 6844926 h 6858000"/>
              <a:gd name="connsiteX429" fmla="*/ 1990172 w 7467600"/>
              <a:gd name="connsiteY429" fmla="*/ 6542121 h 6858000"/>
              <a:gd name="connsiteX430" fmla="*/ 2124090 w 7467600"/>
              <a:gd name="connsiteY430" fmla="*/ 6761017 h 6858000"/>
              <a:gd name="connsiteX431" fmla="*/ 2200380 w 7467600"/>
              <a:gd name="connsiteY431" fmla="*/ 6858000 h 6858000"/>
              <a:gd name="connsiteX432" fmla="*/ 2147507 w 7467600"/>
              <a:gd name="connsiteY432" fmla="*/ 6858000 h 6858000"/>
              <a:gd name="connsiteX433" fmla="*/ 2070668 w 7467600"/>
              <a:gd name="connsiteY433" fmla="*/ 6761520 h 6858000"/>
              <a:gd name="connsiteX434" fmla="*/ 1975142 w 7467600"/>
              <a:gd name="connsiteY434" fmla="*/ 6585570 h 6858000"/>
              <a:gd name="connsiteX435" fmla="*/ 2050035 w 7467600"/>
              <a:gd name="connsiteY435" fmla="*/ 6813345 h 6858000"/>
              <a:gd name="connsiteX436" fmla="*/ 2063025 w 7467600"/>
              <a:gd name="connsiteY436" fmla="*/ 6858000 h 6858000"/>
              <a:gd name="connsiteX437" fmla="*/ 2021675 w 7467600"/>
              <a:gd name="connsiteY437" fmla="*/ 6858000 h 6858000"/>
              <a:gd name="connsiteX438" fmla="*/ 2019308 w 7467600"/>
              <a:gd name="connsiteY438" fmla="*/ 6847118 h 6858000"/>
              <a:gd name="connsiteX439" fmla="*/ 1938835 w 7467600"/>
              <a:gd name="connsiteY439" fmla="*/ 6551160 h 6858000"/>
              <a:gd name="connsiteX440" fmla="*/ 1953230 w 7467600"/>
              <a:gd name="connsiteY440" fmla="*/ 6759699 h 6858000"/>
              <a:gd name="connsiteX441" fmla="*/ 1956763 w 7467600"/>
              <a:gd name="connsiteY441" fmla="*/ 6778191 h 6858000"/>
              <a:gd name="connsiteX442" fmla="*/ 1967925 w 7467600"/>
              <a:gd name="connsiteY442" fmla="*/ 6858000 h 6858000"/>
              <a:gd name="connsiteX443" fmla="*/ 1936622 w 7467600"/>
              <a:gd name="connsiteY443" fmla="*/ 6858000 h 6858000"/>
              <a:gd name="connsiteX444" fmla="*/ 1926261 w 7467600"/>
              <a:gd name="connsiteY444" fmla="*/ 6784064 h 6858000"/>
              <a:gd name="connsiteX445" fmla="*/ 1922724 w 7467600"/>
              <a:gd name="connsiteY445" fmla="*/ 6765577 h 6858000"/>
              <a:gd name="connsiteX446" fmla="*/ 1904650 w 7467600"/>
              <a:gd name="connsiteY446" fmla="*/ 6639616 h 6858000"/>
              <a:gd name="connsiteX447" fmla="*/ 1885273 w 7467600"/>
              <a:gd name="connsiteY447" fmla="*/ 6858000 h 6858000"/>
              <a:gd name="connsiteX448" fmla="*/ 1854363 w 7467600"/>
              <a:gd name="connsiteY448" fmla="*/ 6858000 h 6858000"/>
              <a:gd name="connsiteX449" fmla="*/ 1880391 w 7467600"/>
              <a:gd name="connsiteY449" fmla="*/ 6603796 h 6858000"/>
              <a:gd name="connsiteX450" fmla="*/ 1818273 w 7467600"/>
              <a:gd name="connsiteY450" fmla="*/ 6715729 h 6858000"/>
              <a:gd name="connsiteX451" fmla="*/ 1794691 w 7467600"/>
              <a:gd name="connsiteY451" fmla="*/ 6843239 h 6858000"/>
              <a:gd name="connsiteX452" fmla="*/ 1794914 w 7467600"/>
              <a:gd name="connsiteY452" fmla="*/ 6858000 h 6858000"/>
              <a:gd name="connsiteX453" fmla="*/ 1746128 w 7467600"/>
              <a:gd name="connsiteY453" fmla="*/ 6858000 h 6858000"/>
              <a:gd name="connsiteX454" fmla="*/ 1753934 w 7467600"/>
              <a:gd name="connsiteY454" fmla="*/ 6724796 h 6858000"/>
              <a:gd name="connsiteX455" fmla="*/ 1792053 w 7467600"/>
              <a:gd name="connsiteY455" fmla="*/ 6572396 h 6858000"/>
              <a:gd name="connsiteX456" fmla="*/ 1862248 w 7467600"/>
              <a:gd name="connsiteY456" fmla="*/ 6266397 h 6858000"/>
              <a:gd name="connsiteX457" fmla="*/ 1862250 w 7467600"/>
              <a:gd name="connsiteY457" fmla="*/ 6033531 h 6858000"/>
              <a:gd name="connsiteX458" fmla="*/ 1211999 w 7467600"/>
              <a:gd name="connsiteY458" fmla="*/ 6683610 h 6858000"/>
              <a:gd name="connsiteX459" fmla="*/ 1213266 w 7467600"/>
              <a:gd name="connsiteY459" fmla="*/ 6691947 h 6858000"/>
              <a:gd name="connsiteX460" fmla="*/ 1203370 w 7467600"/>
              <a:gd name="connsiteY460" fmla="*/ 6850676 h 6858000"/>
              <a:gd name="connsiteX461" fmla="*/ 1203671 w 7467600"/>
              <a:gd name="connsiteY461" fmla="*/ 6858000 h 6858000"/>
              <a:gd name="connsiteX462" fmla="*/ 1143180 w 7467600"/>
              <a:gd name="connsiteY462" fmla="*/ 6858000 h 6858000"/>
              <a:gd name="connsiteX463" fmla="*/ 1142176 w 7467600"/>
              <a:gd name="connsiteY463" fmla="*/ 6766045 h 6858000"/>
              <a:gd name="connsiteX464" fmla="*/ 1067484 w 7467600"/>
              <a:gd name="connsiteY464" fmla="*/ 6858000 h 6858000"/>
              <a:gd name="connsiteX465" fmla="*/ 953928 w 7467600"/>
              <a:gd name="connsiteY465" fmla="*/ 6858000 h 6858000"/>
              <a:gd name="connsiteX466" fmla="*/ 959715 w 7467600"/>
              <a:gd name="connsiteY466" fmla="*/ 6850185 h 6858000"/>
              <a:gd name="connsiteX467" fmla="*/ 1483788 w 7467600"/>
              <a:gd name="connsiteY467" fmla="*/ 6259174 h 6858000"/>
              <a:gd name="connsiteX468" fmla="*/ 1100671 w 7467600"/>
              <a:gd name="connsiteY468" fmla="*/ 6252137 h 6858000"/>
              <a:gd name="connsiteX469" fmla="*/ 1090144 w 7467600"/>
              <a:gd name="connsiteY469" fmla="*/ 6256748 h 6858000"/>
              <a:gd name="connsiteX470" fmla="*/ 1095872 w 7467600"/>
              <a:gd name="connsiteY470" fmla="*/ 6271892 h 6858000"/>
              <a:gd name="connsiteX471" fmla="*/ 262785 w 7467600"/>
              <a:gd name="connsiteY471" fmla="*/ 6845450 h 6858000"/>
              <a:gd name="connsiteX472" fmla="*/ 209968 w 7467600"/>
              <a:gd name="connsiteY472" fmla="*/ 6770713 h 6858000"/>
              <a:gd name="connsiteX473" fmla="*/ 873460 w 7467600"/>
              <a:gd name="connsiteY473" fmla="*/ 6253768 h 6858000"/>
              <a:gd name="connsiteX474" fmla="*/ 192686 w 7467600"/>
              <a:gd name="connsiteY474" fmla="*/ 5849257 h 6858000"/>
              <a:gd name="connsiteX475" fmla="*/ 4696 w 7467600"/>
              <a:gd name="connsiteY475" fmla="*/ 5697668 h 6858000"/>
              <a:gd name="connsiteX476" fmla="*/ 0 w 7467600"/>
              <a:gd name="connsiteY476" fmla="*/ 5689984 h 6858000"/>
              <a:gd name="connsiteX477" fmla="*/ 0 w 7467600"/>
              <a:gd name="connsiteY477" fmla="*/ 5513472 h 6858000"/>
              <a:gd name="connsiteX478" fmla="*/ 174101 w 7467600"/>
              <a:gd name="connsiteY478" fmla="*/ 5620277 h 6858000"/>
              <a:gd name="connsiteX479" fmla="*/ 891800 w 7467600"/>
              <a:gd name="connsiteY479" fmla="*/ 6036935 h 6858000"/>
              <a:gd name="connsiteX480" fmla="*/ 1072219 w 7467600"/>
              <a:gd name="connsiteY480" fmla="*/ 6169443 h 6858000"/>
              <a:gd name="connsiteX481" fmla="*/ 1074117 w 7467600"/>
              <a:gd name="connsiteY481" fmla="*/ 6170301 h 6858000"/>
              <a:gd name="connsiteX482" fmla="*/ 1083114 w 7467600"/>
              <a:gd name="connsiteY482" fmla="*/ 6174131 h 6858000"/>
              <a:gd name="connsiteX483" fmla="*/ 1543010 w 7467600"/>
              <a:gd name="connsiteY483" fmla="*/ 6191140 h 6858000"/>
              <a:gd name="connsiteX484" fmla="*/ 1551080 w 7467600"/>
              <a:gd name="connsiteY484" fmla="*/ 6195006 h 6858000"/>
              <a:gd name="connsiteX485" fmla="*/ 2345443 w 7467600"/>
              <a:gd name="connsiteY485" fmla="*/ 5549882 h 6858000"/>
              <a:gd name="connsiteX486" fmla="*/ 1721499 w 7467600"/>
              <a:gd name="connsiteY486" fmla="*/ 5599969 h 6858000"/>
              <a:gd name="connsiteX487" fmla="*/ 767716 w 7467600"/>
              <a:gd name="connsiteY487" fmla="*/ 5472768 h 6858000"/>
              <a:gd name="connsiteX488" fmla="*/ 722147 w 7467600"/>
              <a:gd name="connsiteY488" fmla="*/ 5393091 h 6858000"/>
              <a:gd name="connsiteX489" fmla="*/ 1485552 w 7467600"/>
              <a:gd name="connsiteY489" fmla="*/ 5313202 h 6858000"/>
              <a:gd name="connsiteX490" fmla="*/ 2143004 w 7467600"/>
              <a:gd name="connsiteY490" fmla="*/ 5402420 h 6858000"/>
              <a:gd name="connsiteX491" fmla="*/ 1933391 w 7467600"/>
              <a:gd name="connsiteY491" fmla="*/ 5156971 h 6858000"/>
              <a:gd name="connsiteX492" fmla="*/ 1827118 w 7467600"/>
              <a:gd name="connsiteY492" fmla="*/ 4968410 h 6858000"/>
              <a:gd name="connsiteX493" fmla="*/ 1837349 w 7467600"/>
              <a:gd name="connsiteY493" fmla="*/ 4956357 h 6858000"/>
              <a:gd name="connsiteX494" fmla="*/ 2162835 w 7467600"/>
              <a:gd name="connsiteY494" fmla="*/ 5187853 h 6858000"/>
              <a:gd name="connsiteX495" fmla="*/ 2257167 w 7467600"/>
              <a:gd name="connsiteY495" fmla="*/ 5462123 h 6858000"/>
              <a:gd name="connsiteX496" fmla="*/ 2261598 w 7467600"/>
              <a:gd name="connsiteY496" fmla="*/ 5467998 h 6858000"/>
              <a:gd name="connsiteX497" fmla="*/ 2437177 w 7467600"/>
              <a:gd name="connsiteY497" fmla="*/ 5479608 h 6858000"/>
              <a:gd name="connsiteX498" fmla="*/ 2445247 w 7467600"/>
              <a:gd name="connsiteY498" fmla="*/ 5483476 h 6858000"/>
              <a:gd name="connsiteX499" fmla="*/ 2743626 w 7467600"/>
              <a:gd name="connsiteY499" fmla="*/ 5304819 h 6858000"/>
              <a:gd name="connsiteX500" fmla="*/ 3048102 w 7467600"/>
              <a:gd name="connsiteY500" fmla="*/ 5150595 h 6858000"/>
              <a:gd name="connsiteX501" fmla="*/ 1799414 w 7467600"/>
              <a:gd name="connsiteY501" fmla="*/ 4694732 h 6858000"/>
              <a:gd name="connsiteX502" fmla="*/ 1771735 w 7467600"/>
              <a:gd name="connsiteY502" fmla="*/ 4619929 h 6858000"/>
              <a:gd name="connsiteX503" fmla="*/ 3104273 w 7467600"/>
              <a:gd name="connsiteY503" fmla="*/ 5076159 h 6858000"/>
              <a:gd name="connsiteX504" fmla="*/ 3113245 w 7467600"/>
              <a:gd name="connsiteY504" fmla="*/ 5090705 h 6858000"/>
              <a:gd name="connsiteX505" fmla="*/ 3126294 w 7467600"/>
              <a:gd name="connsiteY505" fmla="*/ 5114400 h 6858000"/>
              <a:gd name="connsiteX506" fmla="*/ 3937433 w 7467600"/>
              <a:gd name="connsiteY506" fmla="*/ 4830473 h 6858000"/>
              <a:gd name="connsiteX507" fmla="*/ 3590475 w 7467600"/>
              <a:gd name="connsiteY507" fmla="*/ 4597974 h 6858000"/>
              <a:gd name="connsiteX508" fmla="*/ 3100264 w 7467600"/>
              <a:gd name="connsiteY508" fmla="*/ 4579845 h 6858000"/>
              <a:gd name="connsiteX509" fmla="*/ 2183576 w 7467600"/>
              <a:gd name="connsiteY509" fmla="*/ 4227150 h 6858000"/>
              <a:gd name="connsiteX510" fmla="*/ 2151029 w 7467600"/>
              <a:gd name="connsiteY510" fmla="*/ 4146947 h 6858000"/>
              <a:gd name="connsiteX511" fmla="*/ 3563434 w 7467600"/>
              <a:gd name="connsiteY511" fmla="*/ 4469115 h 6858000"/>
              <a:gd name="connsiteX512" fmla="*/ 3177952 w 7467600"/>
              <a:gd name="connsiteY512" fmla="*/ 3657386 h 6858000"/>
              <a:gd name="connsiteX513" fmla="*/ 3189263 w 7467600"/>
              <a:gd name="connsiteY513" fmla="*/ 3625726 h 6858000"/>
              <a:gd name="connsiteX514" fmla="*/ 3560912 w 7467600"/>
              <a:gd name="connsiteY514" fmla="*/ 4079863 h 6858000"/>
              <a:gd name="connsiteX515" fmla="*/ 3626636 w 7467600"/>
              <a:gd name="connsiteY515" fmla="*/ 4512230 h 6858000"/>
              <a:gd name="connsiteX516" fmla="*/ 3653088 w 7467600"/>
              <a:gd name="connsiteY516" fmla="*/ 4521417 h 6858000"/>
              <a:gd name="connsiteX517" fmla="*/ 3988128 w 7467600"/>
              <a:gd name="connsiteY517" fmla="*/ 4817267 h 6858000"/>
              <a:gd name="connsiteX518" fmla="*/ 4830582 w 7467600"/>
              <a:gd name="connsiteY518" fmla="*/ 4676000 h 6858000"/>
              <a:gd name="connsiteX519" fmla="*/ 4830100 w 7467600"/>
              <a:gd name="connsiteY519" fmla="*/ 4675554 h 6858000"/>
              <a:gd name="connsiteX520" fmla="*/ 4036318 w 7467600"/>
              <a:gd name="connsiteY520" fmla="*/ 4147013 h 6858000"/>
              <a:gd name="connsiteX521" fmla="*/ 3432098 w 7467600"/>
              <a:gd name="connsiteY521" fmla="*/ 3537312 h 6858000"/>
              <a:gd name="connsiteX522" fmla="*/ 3446761 w 7467600"/>
              <a:gd name="connsiteY522" fmla="*/ 3461278 h 6858000"/>
              <a:gd name="connsiteX523" fmla="*/ 4419733 w 7467600"/>
              <a:gd name="connsiteY523" fmla="*/ 3963555 h 6858000"/>
              <a:gd name="connsiteX524" fmla="*/ 4781371 w 7467600"/>
              <a:gd name="connsiteY524" fmla="*/ 4458604 h 6858000"/>
              <a:gd name="connsiteX525" fmla="*/ 4780440 w 7467600"/>
              <a:gd name="connsiteY525" fmla="*/ 4470290 h 6858000"/>
              <a:gd name="connsiteX526" fmla="*/ 4898954 w 7467600"/>
              <a:gd name="connsiteY526" fmla="*/ 4662092 h 6858000"/>
              <a:gd name="connsiteX527" fmla="*/ 4900699 w 7467600"/>
              <a:gd name="connsiteY527" fmla="*/ 4670867 h 6858000"/>
              <a:gd name="connsiteX528" fmla="*/ 5714511 w 7467600"/>
              <a:gd name="connsiteY528" fmla="*/ 4663483 h 6858000"/>
              <a:gd name="connsiteX529" fmla="*/ 5464793 w 7467600"/>
              <a:gd name="connsiteY529" fmla="*/ 4393556 h 6858000"/>
              <a:gd name="connsiteX530" fmla="*/ 5461897 w 7467600"/>
              <a:gd name="connsiteY530" fmla="*/ 4390879 h 6858000"/>
              <a:gd name="connsiteX531" fmla="*/ 4294126 w 7467600"/>
              <a:gd name="connsiteY531" fmla="*/ 3303048 h 6858000"/>
              <a:gd name="connsiteX532" fmla="*/ 4305321 w 7467600"/>
              <a:gd name="connsiteY532" fmla="*/ 3256953 h 6858000"/>
              <a:gd name="connsiteX533" fmla="*/ 4949299 w 7467600"/>
              <a:gd name="connsiteY533" fmla="*/ 3766336 h 6858000"/>
              <a:gd name="connsiteX534" fmla="*/ 5291452 w 7467600"/>
              <a:gd name="connsiteY534" fmla="*/ 4076801 h 6858000"/>
              <a:gd name="connsiteX535" fmla="*/ 5434998 w 7467600"/>
              <a:gd name="connsiteY535" fmla="*/ 4254100 h 6858000"/>
              <a:gd name="connsiteX536" fmla="*/ 5351015 w 7467600"/>
              <a:gd name="connsiteY536" fmla="*/ 3760989 h 6858000"/>
              <a:gd name="connsiteX537" fmla="*/ 5413780 w 7467600"/>
              <a:gd name="connsiteY537" fmla="*/ 2966265 h 6858000"/>
              <a:gd name="connsiteX538" fmla="*/ 5425627 w 7467600"/>
              <a:gd name="connsiteY538" fmla="*/ 2954192 h 6858000"/>
              <a:gd name="connsiteX539" fmla="*/ 6604735 w 7467600"/>
              <a:gd name="connsiteY539" fmla="*/ 2041381 h 6858000"/>
              <a:gd name="connsiteX540" fmla="*/ 7204487 w 7467600"/>
              <a:gd name="connsiteY540" fmla="*/ 2742112 h 6858000"/>
              <a:gd name="connsiteX541" fmla="*/ 7131592 w 7467600"/>
              <a:gd name="connsiteY541" fmla="*/ 2672096 h 6858000"/>
              <a:gd name="connsiteX542" fmla="*/ 6996344 w 7467600"/>
              <a:gd name="connsiteY542" fmla="*/ 2518310 h 6858000"/>
              <a:gd name="connsiteX543" fmla="*/ 6735495 w 7467600"/>
              <a:gd name="connsiteY543" fmla="*/ 2196890 h 6858000"/>
              <a:gd name="connsiteX544" fmla="*/ 6721901 w 7467600"/>
              <a:gd name="connsiteY544" fmla="*/ 2179274 h 6858000"/>
              <a:gd name="connsiteX545" fmla="*/ 6604735 w 7467600"/>
              <a:gd name="connsiteY545" fmla="*/ 2041381 h 6858000"/>
              <a:gd name="connsiteX546" fmla="*/ 6591670 w 7467600"/>
              <a:gd name="connsiteY546" fmla="*/ 1988277 h 6858000"/>
              <a:gd name="connsiteX547" fmla="*/ 6747349 w 7467600"/>
              <a:gd name="connsiteY547" fmla="*/ 2160069 h 6858000"/>
              <a:gd name="connsiteX548" fmla="*/ 6760943 w 7467600"/>
              <a:gd name="connsiteY548" fmla="*/ 2177686 h 6858000"/>
              <a:gd name="connsiteX549" fmla="*/ 7021065 w 7467600"/>
              <a:gd name="connsiteY549" fmla="*/ 2498102 h 6858000"/>
              <a:gd name="connsiteX550" fmla="*/ 7155223 w 7467600"/>
              <a:gd name="connsiteY550" fmla="*/ 2650386 h 6858000"/>
              <a:gd name="connsiteX551" fmla="*/ 7203167 w 7467600"/>
              <a:gd name="connsiteY551" fmla="*/ 2697288 h 6858000"/>
              <a:gd name="connsiteX552" fmla="*/ 6937703 w 7467600"/>
              <a:gd name="connsiteY552" fmla="*/ 2321981 h 6858000"/>
              <a:gd name="connsiteX553" fmla="*/ 6591670 w 7467600"/>
              <a:gd name="connsiteY553" fmla="*/ 1988277 h 6858000"/>
              <a:gd name="connsiteX554" fmla="*/ 5798671 w 7467600"/>
              <a:gd name="connsiteY554" fmla="*/ 1981601 h 6858000"/>
              <a:gd name="connsiteX555" fmla="*/ 5754709 w 7467600"/>
              <a:gd name="connsiteY555" fmla="*/ 2071454 h 6858000"/>
              <a:gd name="connsiteX556" fmla="*/ 5763044 w 7467600"/>
              <a:gd name="connsiteY556" fmla="*/ 2842206 h 6858000"/>
              <a:gd name="connsiteX557" fmla="*/ 5764974 w 7467600"/>
              <a:gd name="connsiteY557" fmla="*/ 2799609 h 6858000"/>
              <a:gd name="connsiteX558" fmla="*/ 5767665 w 7467600"/>
              <a:gd name="connsiteY558" fmla="*/ 2666409 h 6858000"/>
              <a:gd name="connsiteX559" fmla="*/ 5763055 w 7467600"/>
              <a:gd name="connsiteY559" fmla="*/ 2579705 h 6858000"/>
              <a:gd name="connsiteX560" fmla="*/ 5758079 w 7467600"/>
              <a:gd name="connsiteY560" fmla="*/ 2492508 h 6858000"/>
              <a:gd name="connsiteX561" fmla="*/ 5779325 w 7467600"/>
              <a:gd name="connsiteY561" fmla="*/ 2197069 h 6858000"/>
              <a:gd name="connsiteX562" fmla="*/ 5798671 w 7467600"/>
              <a:gd name="connsiteY562" fmla="*/ 1981601 h 6858000"/>
              <a:gd name="connsiteX563" fmla="*/ 5829202 w 7467600"/>
              <a:gd name="connsiteY563" fmla="*/ 1971679 h 6858000"/>
              <a:gd name="connsiteX564" fmla="*/ 5809558 w 7467600"/>
              <a:gd name="connsiteY564" fmla="*/ 2198043 h 6858000"/>
              <a:gd name="connsiteX565" fmla="*/ 5788653 w 7467600"/>
              <a:gd name="connsiteY565" fmla="*/ 2489430 h 6858000"/>
              <a:gd name="connsiteX566" fmla="*/ 5793439 w 7467600"/>
              <a:gd name="connsiteY566" fmla="*/ 2575235 h 6858000"/>
              <a:gd name="connsiteX567" fmla="*/ 5796837 w 7467600"/>
              <a:gd name="connsiteY567" fmla="*/ 2637633 h 6858000"/>
              <a:gd name="connsiteX568" fmla="*/ 5818614 w 7467600"/>
              <a:gd name="connsiteY568" fmla="*/ 2473055 h 6858000"/>
              <a:gd name="connsiteX569" fmla="*/ 5829202 w 7467600"/>
              <a:gd name="connsiteY569" fmla="*/ 1971679 h 6858000"/>
              <a:gd name="connsiteX570" fmla="*/ 5911389 w 7467600"/>
              <a:gd name="connsiteY570" fmla="*/ 1898371 h 6858000"/>
              <a:gd name="connsiteX571" fmla="*/ 6237627 w 7467600"/>
              <a:gd name="connsiteY571" fmla="*/ 2231921 h 6858000"/>
              <a:gd name="connsiteX572" fmla="*/ 5911389 w 7467600"/>
              <a:gd name="connsiteY572" fmla="*/ 1898371 h 6858000"/>
              <a:gd name="connsiteX573" fmla="*/ 6944437 w 7467600"/>
              <a:gd name="connsiteY573" fmla="*/ 1575402 h 6858000"/>
              <a:gd name="connsiteX574" fmla="*/ 6304730 w 7467600"/>
              <a:gd name="connsiteY574" fmla="*/ 1766654 h 6858000"/>
              <a:gd name="connsiteX575" fmla="*/ 6944437 w 7467600"/>
              <a:gd name="connsiteY575" fmla="*/ 1575402 h 6858000"/>
              <a:gd name="connsiteX576" fmla="*/ 7019523 w 7467600"/>
              <a:gd name="connsiteY576" fmla="*/ 1519450 h 6858000"/>
              <a:gd name="connsiteX577" fmla="*/ 6298091 w 7467600"/>
              <a:gd name="connsiteY577" fmla="*/ 1737122 h 6858000"/>
              <a:gd name="connsiteX578" fmla="*/ 7019523 w 7467600"/>
              <a:gd name="connsiteY578" fmla="*/ 1519450 h 6858000"/>
              <a:gd name="connsiteX579" fmla="*/ 2399523 w 7467600"/>
              <a:gd name="connsiteY579" fmla="*/ 1428234 h 6858000"/>
              <a:gd name="connsiteX580" fmla="*/ 2224982 w 7467600"/>
              <a:gd name="connsiteY580" fmla="*/ 1826201 h 6858000"/>
              <a:gd name="connsiteX581" fmla="*/ 2096099 w 7467600"/>
              <a:gd name="connsiteY581" fmla="*/ 2345900 h 6858000"/>
              <a:gd name="connsiteX582" fmla="*/ 2283317 w 7467600"/>
              <a:gd name="connsiteY582" fmla="*/ 1796925 h 6858000"/>
              <a:gd name="connsiteX583" fmla="*/ 2399523 w 7467600"/>
              <a:gd name="connsiteY583" fmla="*/ 1428234 h 6858000"/>
              <a:gd name="connsiteX584" fmla="*/ 2448558 w 7467600"/>
              <a:gd name="connsiteY584" fmla="*/ 1373435 h 6858000"/>
              <a:gd name="connsiteX585" fmla="*/ 2312521 w 7467600"/>
              <a:gd name="connsiteY585" fmla="*/ 1806140 h 6858000"/>
              <a:gd name="connsiteX586" fmla="*/ 2127533 w 7467600"/>
              <a:gd name="connsiteY586" fmla="*/ 2348380 h 6858000"/>
              <a:gd name="connsiteX587" fmla="*/ 2358080 w 7467600"/>
              <a:gd name="connsiteY587" fmla="*/ 1866134 h 6858000"/>
              <a:gd name="connsiteX588" fmla="*/ 2407436 w 7467600"/>
              <a:gd name="connsiteY588" fmla="*/ 1651070 h 6858000"/>
              <a:gd name="connsiteX589" fmla="*/ 2448558 w 7467600"/>
              <a:gd name="connsiteY589" fmla="*/ 1373435 h 6858000"/>
              <a:gd name="connsiteX590" fmla="*/ 278707 w 7467600"/>
              <a:gd name="connsiteY590" fmla="*/ 1352270 h 6858000"/>
              <a:gd name="connsiteX591" fmla="*/ 321570 w 7467600"/>
              <a:gd name="connsiteY591" fmla="*/ 1861610 h 6858000"/>
              <a:gd name="connsiteX592" fmla="*/ 294281 w 7467600"/>
              <a:gd name="connsiteY592" fmla="*/ 1440658 h 6858000"/>
              <a:gd name="connsiteX593" fmla="*/ 278707 w 7467600"/>
              <a:gd name="connsiteY593" fmla="*/ 1352270 h 6858000"/>
              <a:gd name="connsiteX594" fmla="*/ 1423821 w 7467600"/>
              <a:gd name="connsiteY594" fmla="*/ 1351958 h 6858000"/>
              <a:gd name="connsiteX595" fmla="*/ 1638521 w 7467600"/>
              <a:gd name="connsiteY595" fmla="*/ 1908470 h 6858000"/>
              <a:gd name="connsiteX596" fmla="*/ 1754199 w 7467600"/>
              <a:gd name="connsiteY596" fmla="*/ 2149284 h 6858000"/>
              <a:gd name="connsiteX597" fmla="*/ 1908359 w 7467600"/>
              <a:gd name="connsiteY597" fmla="*/ 2364988 h 6858000"/>
              <a:gd name="connsiteX598" fmla="*/ 1647661 w 7467600"/>
              <a:gd name="connsiteY598" fmla="*/ 1825945 h 6858000"/>
              <a:gd name="connsiteX599" fmla="*/ 1423821 w 7467600"/>
              <a:gd name="connsiteY599" fmla="*/ 1351958 h 6858000"/>
              <a:gd name="connsiteX600" fmla="*/ 1431890 w 7467600"/>
              <a:gd name="connsiteY600" fmla="*/ 1306475 h 6858000"/>
              <a:gd name="connsiteX601" fmla="*/ 1507597 w 7467600"/>
              <a:gd name="connsiteY601" fmla="*/ 1446132 h 6858000"/>
              <a:gd name="connsiteX602" fmla="*/ 1674586 w 7467600"/>
              <a:gd name="connsiteY602" fmla="*/ 1813832 h 6858000"/>
              <a:gd name="connsiteX603" fmla="*/ 1815950 w 7467600"/>
              <a:gd name="connsiteY603" fmla="*/ 2128564 h 6858000"/>
              <a:gd name="connsiteX604" fmla="*/ 1984242 w 7467600"/>
              <a:gd name="connsiteY604" fmla="*/ 2430829 h 6858000"/>
              <a:gd name="connsiteX605" fmla="*/ 2014023 w 7467600"/>
              <a:gd name="connsiteY605" fmla="*/ 2450995 h 6858000"/>
              <a:gd name="connsiteX606" fmla="*/ 1747337 w 7467600"/>
              <a:gd name="connsiteY606" fmla="*/ 1855264 h 6858000"/>
              <a:gd name="connsiteX607" fmla="*/ 1533749 w 7467600"/>
              <a:gd name="connsiteY607" fmla="*/ 1478656 h 6858000"/>
              <a:gd name="connsiteX608" fmla="*/ 1431890 w 7467600"/>
              <a:gd name="connsiteY608" fmla="*/ 1306475 h 6858000"/>
              <a:gd name="connsiteX609" fmla="*/ 5052692 w 7467600"/>
              <a:gd name="connsiteY609" fmla="*/ 1292994 h 6858000"/>
              <a:gd name="connsiteX610" fmla="*/ 5200661 w 7467600"/>
              <a:gd name="connsiteY610" fmla="*/ 1635186 h 6858000"/>
              <a:gd name="connsiteX611" fmla="*/ 5297138 w 7467600"/>
              <a:gd name="connsiteY611" fmla="*/ 1906351 h 6858000"/>
              <a:gd name="connsiteX612" fmla="*/ 5052692 w 7467600"/>
              <a:gd name="connsiteY612" fmla="*/ 1292994 h 6858000"/>
              <a:gd name="connsiteX613" fmla="*/ 5009948 w 7467600"/>
              <a:gd name="connsiteY613" fmla="*/ 1273619 h 6858000"/>
              <a:gd name="connsiteX614" fmla="*/ 5121777 w 7467600"/>
              <a:gd name="connsiteY614" fmla="*/ 1654213 h 6858000"/>
              <a:gd name="connsiteX615" fmla="*/ 5293545 w 7467600"/>
              <a:gd name="connsiteY615" fmla="*/ 2072247 h 6858000"/>
              <a:gd name="connsiteX616" fmla="*/ 5294042 w 7467600"/>
              <a:gd name="connsiteY616" fmla="*/ 2065019 h 6858000"/>
              <a:gd name="connsiteX617" fmla="*/ 5171936 w 7467600"/>
              <a:gd name="connsiteY617" fmla="*/ 1647613 h 6858000"/>
              <a:gd name="connsiteX618" fmla="*/ 5009948 w 7467600"/>
              <a:gd name="connsiteY618" fmla="*/ 1273619 h 6858000"/>
              <a:gd name="connsiteX619" fmla="*/ 655236 w 7467600"/>
              <a:gd name="connsiteY619" fmla="*/ 1268632 h 6858000"/>
              <a:gd name="connsiteX620" fmla="*/ 839521 w 7467600"/>
              <a:gd name="connsiteY620" fmla="*/ 1685315 h 6858000"/>
              <a:gd name="connsiteX621" fmla="*/ 1109416 w 7467600"/>
              <a:gd name="connsiteY621" fmla="*/ 2061663 h 6858000"/>
              <a:gd name="connsiteX622" fmla="*/ 1298300 w 7467600"/>
              <a:gd name="connsiteY622" fmla="*/ 2247742 h 6858000"/>
              <a:gd name="connsiteX623" fmla="*/ 1125871 w 7467600"/>
              <a:gd name="connsiteY623" fmla="*/ 1989513 h 6858000"/>
              <a:gd name="connsiteX624" fmla="*/ 981574 w 7467600"/>
              <a:gd name="connsiteY624" fmla="*/ 1783157 h 6858000"/>
              <a:gd name="connsiteX625" fmla="*/ 922198 w 7467600"/>
              <a:gd name="connsiteY625" fmla="*/ 1677437 h 6858000"/>
              <a:gd name="connsiteX626" fmla="*/ 869293 w 7467600"/>
              <a:gd name="connsiteY626" fmla="*/ 1583214 h 6858000"/>
              <a:gd name="connsiteX627" fmla="*/ 751431 w 7467600"/>
              <a:gd name="connsiteY627" fmla="*/ 1405731 h 6858000"/>
              <a:gd name="connsiteX628" fmla="*/ 655236 w 7467600"/>
              <a:gd name="connsiteY628" fmla="*/ 1268632 h 6858000"/>
              <a:gd name="connsiteX629" fmla="*/ 6516292 w 7467600"/>
              <a:gd name="connsiteY629" fmla="*/ 1263064 h 6858000"/>
              <a:gd name="connsiteX630" fmla="*/ 5736320 w 7467600"/>
              <a:gd name="connsiteY630" fmla="*/ 1501803 h 6858000"/>
              <a:gd name="connsiteX631" fmla="*/ 6516292 w 7467600"/>
              <a:gd name="connsiteY631" fmla="*/ 1263064 h 6858000"/>
              <a:gd name="connsiteX632" fmla="*/ 291466 w 7467600"/>
              <a:gd name="connsiteY632" fmla="*/ 1250369 h 6858000"/>
              <a:gd name="connsiteX633" fmla="*/ 323180 w 7467600"/>
              <a:gd name="connsiteY633" fmla="*/ 1435283 h 6858000"/>
              <a:gd name="connsiteX634" fmla="*/ 349381 w 7467600"/>
              <a:gd name="connsiteY634" fmla="*/ 1875041 h 6858000"/>
              <a:gd name="connsiteX635" fmla="*/ 374363 w 7467600"/>
              <a:gd name="connsiteY635" fmla="*/ 1506494 h 6858000"/>
              <a:gd name="connsiteX636" fmla="*/ 302168 w 7467600"/>
              <a:gd name="connsiteY636" fmla="*/ 1274495 h 6858000"/>
              <a:gd name="connsiteX637" fmla="*/ 291466 w 7467600"/>
              <a:gd name="connsiteY637" fmla="*/ 1250369 h 6858000"/>
              <a:gd name="connsiteX638" fmla="*/ 678222 w 7467600"/>
              <a:gd name="connsiteY638" fmla="*/ 1248670 h 6858000"/>
              <a:gd name="connsiteX639" fmla="*/ 775536 w 7467600"/>
              <a:gd name="connsiteY639" fmla="*/ 1388015 h 6858000"/>
              <a:gd name="connsiteX640" fmla="*/ 894529 w 7467600"/>
              <a:gd name="connsiteY640" fmla="*/ 1567739 h 6858000"/>
              <a:gd name="connsiteX641" fmla="*/ 948000 w 7467600"/>
              <a:gd name="connsiteY641" fmla="*/ 1663088 h 6858000"/>
              <a:gd name="connsiteX642" fmla="*/ 1006812 w 7467600"/>
              <a:gd name="connsiteY642" fmla="*/ 1767683 h 6858000"/>
              <a:gd name="connsiteX643" fmla="*/ 1149133 w 7467600"/>
              <a:gd name="connsiteY643" fmla="*/ 1971513 h 6858000"/>
              <a:gd name="connsiteX644" fmla="*/ 1333952 w 7467600"/>
              <a:gd name="connsiteY644" fmla="*/ 2251620 h 6858000"/>
              <a:gd name="connsiteX645" fmla="*/ 1337329 w 7467600"/>
              <a:gd name="connsiteY645" fmla="*/ 2258350 h 6858000"/>
              <a:gd name="connsiteX646" fmla="*/ 1014726 w 7467600"/>
              <a:gd name="connsiteY646" fmla="*/ 1615556 h 6858000"/>
              <a:gd name="connsiteX647" fmla="*/ 678222 w 7467600"/>
              <a:gd name="connsiteY647" fmla="*/ 1248670 h 6858000"/>
              <a:gd name="connsiteX648" fmla="*/ 6691602 w 7467600"/>
              <a:gd name="connsiteY648" fmla="*/ 1140573 h 6858000"/>
              <a:gd name="connsiteX649" fmla="*/ 6571100 w 7467600"/>
              <a:gd name="connsiteY649" fmla="*/ 1183662 h 6858000"/>
              <a:gd name="connsiteX650" fmla="*/ 6241687 w 7467600"/>
              <a:gd name="connsiteY650" fmla="*/ 1257600 h 6858000"/>
              <a:gd name="connsiteX651" fmla="*/ 5693009 w 7467600"/>
              <a:gd name="connsiteY651" fmla="*/ 1478256 h 6858000"/>
              <a:gd name="connsiteX652" fmla="*/ 6548420 w 7467600"/>
              <a:gd name="connsiteY652" fmla="*/ 1214599 h 6858000"/>
              <a:gd name="connsiteX653" fmla="*/ 6605473 w 7467600"/>
              <a:gd name="connsiteY653" fmla="*/ 1184686 h 6858000"/>
              <a:gd name="connsiteX654" fmla="*/ 6691602 w 7467600"/>
              <a:gd name="connsiteY654" fmla="*/ 1140573 h 6858000"/>
              <a:gd name="connsiteX655" fmla="*/ 4002475 w 7467600"/>
              <a:gd name="connsiteY655" fmla="*/ 1037802 h 6858000"/>
              <a:gd name="connsiteX656" fmla="*/ 4000324 w 7467600"/>
              <a:gd name="connsiteY656" fmla="*/ 1039362 h 6858000"/>
              <a:gd name="connsiteX657" fmla="*/ 4002862 w 7467600"/>
              <a:gd name="connsiteY657" fmla="*/ 1042866 h 6858000"/>
              <a:gd name="connsiteX658" fmla="*/ 4002475 w 7467600"/>
              <a:gd name="connsiteY658" fmla="*/ 1037802 h 6858000"/>
              <a:gd name="connsiteX659" fmla="*/ 506322 w 7467600"/>
              <a:gd name="connsiteY659" fmla="*/ 1020997 h 6858000"/>
              <a:gd name="connsiteX660" fmla="*/ 533068 w 7467600"/>
              <a:gd name="connsiteY660" fmla="*/ 1029409 h 6858000"/>
              <a:gd name="connsiteX661" fmla="*/ 1232525 w 7467600"/>
              <a:gd name="connsiteY661" fmla="*/ 1804675 h 6858000"/>
              <a:gd name="connsiteX662" fmla="*/ 1388858 w 7467600"/>
              <a:gd name="connsiteY662" fmla="*/ 2368011 h 6858000"/>
              <a:gd name="connsiteX663" fmla="*/ 1384098 w 7467600"/>
              <a:gd name="connsiteY663" fmla="*/ 2378125 h 6858000"/>
              <a:gd name="connsiteX664" fmla="*/ 1425393 w 7467600"/>
              <a:gd name="connsiteY664" fmla="*/ 2589124 h 6858000"/>
              <a:gd name="connsiteX665" fmla="*/ 1424001 w 7467600"/>
              <a:gd name="connsiteY665" fmla="*/ 2597541 h 6858000"/>
              <a:gd name="connsiteX666" fmla="*/ 2152729 w 7467600"/>
              <a:gd name="connsiteY666" fmla="*/ 2864487 h 6858000"/>
              <a:gd name="connsiteX667" fmla="*/ 2020609 w 7467600"/>
              <a:gd name="connsiteY667" fmla="*/ 2539671 h 6858000"/>
              <a:gd name="connsiteX668" fmla="*/ 2018920 w 7467600"/>
              <a:gd name="connsiteY668" fmla="*/ 2536309 h 6858000"/>
              <a:gd name="connsiteX669" fmla="*/ 1342441 w 7467600"/>
              <a:gd name="connsiteY669" fmla="*/ 1173017 h 6858000"/>
              <a:gd name="connsiteX670" fmla="*/ 1367925 w 7467600"/>
              <a:gd name="connsiteY670" fmla="*/ 1135648 h 6858000"/>
              <a:gd name="connsiteX671" fmla="*/ 1771401 w 7467600"/>
              <a:gd name="connsiteY671" fmla="*/ 1806673 h 6858000"/>
              <a:gd name="connsiteX672" fmla="*/ 1972385 w 7467600"/>
              <a:gd name="connsiteY672" fmla="*/ 2198735 h 6858000"/>
              <a:gd name="connsiteX673" fmla="*/ 2040892 w 7467600"/>
              <a:gd name="connsiteY673" fmla="*/ 2405205 h 6858000"/>
              <a:gd name="connsiteX674" fmla="*/ 2131689 w 7467600"/>
              <a:gd name="connsiteY674" fmla="*/ 1936926 h 6858000"/>
              <a:gd name="connsiteX675" fmla="*/ 2454820 w 7467600"/>
              <a:gd name="connsiteY675" fmla="*/ 1248808 h 6858000"/>
              <a:gd name="connsiteX676" fmla="*/ 2492512 w 7467600"/>
              <a:gd name="connsiteY676" fmla="*/ 1302920 h 6858000"/>
              <a:gd name="connsiteX677" fmla="*/ 2081216 w 7467600"/>
              <a:gd name="connsiteY677" fmla="*/ 2527513 h 6858000"/>
              <a:gd name="connsiteX678" fmla="*/ 2081211 w 7467600"/>
              <a:gd name="connsiteY678" fmla="*/ 2528916 h 6858000"/>
              <a:gd name="connsiteX679" fmla="*/ 2199067 w 7467600"/>
              <a:gd name="connsiteY679" fmla="*/ 2884061 h 6858000"/>
              <a:gd name="connsiteX680" fmla="*/ 3192586 w 7467600"/>
              <a:gd name="connsiteY680" fmla="*/ 3411496 h 6858000"/>
              <a:gd name="connsiteX681" fmla="*/ 3182620 w 7467600"/>
              <a:gd name="connsiteY681" fmla="*/ 3483279 h 6858000"/>
              <a:gd name="connsiteX682" fmla="*/ 2435119 w 7467600"/>
              <a:gd name="connsiteY682" fmla="*/ 3080173 h 6858000"/>
              <a:gd name="connsiteX683" fmla="*/ 2410152 w 7467600"/>
              <a:gd name="connsiteY683" fmla="*/ 3063751 h 6858000"/>
              <a:gd name="connsiteX684" fmla="*/ 2408099 w 7467600"/>
              <a:gd name="connsiteY684" fmla="*/ 3064403 h 6858000"/>
              <a:gd name="connsiteX685" fmla="*/ 2407218 w 7467600"/>
              <a:gd name="connsiteY685" fmla="*/ 3070324 h 6858000"/>
              <a:gd name="connsiteX686" fmla="*/ 2380138 w 7467600"/>
              <a:gd name="connsiteY686" fmla="*/ 3099341 h 6858000"/>
              <a:gd name="connsiteX687" fmla="*/ 1765923 w 7467600"/>
              <a:gd name="connsiteY687" fmla="*/ 3581043 h 6858000"/>
              <a:gd name="connsiteX688" fmla="*/ 1702258 w 7467600"/>
              <a:gd name="connsiteY688" fmla="*/ 3612286 h 6858000"/>
              <a:gd name="connsiteX689" fmla="*/ 1538370 w 7467600"/>
              <a:gd name="connsiteY689" fmla="*/ 3811804 h 6858000"/>
              <a:gd name="connsiteX690" fmla="*/ 542867 w 7467600"/>
              <a:gd name="connsiteY690" fmla="*/ 4944092 h 6858000"/>
              <a:gd name="connsiteX691" fmla="*/ 515800 w 7467600"/>
              <a:gd name="connsiteY691" fmla="*/ 4862180 h 6858000"/>
              <a:gd name="connsiteX692" fmla="*/ 909145 w 7467600"/>
              <a:gd name="connsiteY692" fmla="*/ 4199225 h 6858000"/>
              <a:gd name="connsiteX693" fmla="*/ 1214067 w 7467600"/>
              <a:gd name="connsiteY693" fmla="*/ 3908561 h 6858000"/>
              <a:gd name="connsiteX694" fmla="*/ 640967 w 7467600"/>
              <a:gd name="connsiteY694" fmla="*/ 4105601 h 6858000"/>
              <a:gd name="connsiteX695" fmla="*/ 112563 w 7467600"/>
              <a:gd name="connsiteY695" fmla="*/ 4396952 h 6858000"/>
              <a:gd name="connsiteX696" fmla="*/ 0 w 7467600"/>
              <a:gd name="connsiteY696" fmla="*/ 4466006 h 6858000"/>
              <a:gd name="connsiteX697" fmla="*/ 0 w 7467600"/>
              <a:gd name="connsiteY697" fmla="*/ 4233763 h 6858000"/>
              <a:gd name="connsiteX698" fmla="*/ 36881 w 7467600"/>
              <a:gd name="connsiteY698" fmla="*/ 4200118 h 6858000"/>
              <a:gd name="connsiteX699" fmla="*/ 910534 w 7467600"/>
              <a:gd name="connsiteY699" fmla="*/ 3629753 h 6858000"/>
              <a:gd name="connsiteX700" fmla="*/ 1578717 w 7467600"/>
              <a:gd name="connsiteY700" fmla="*/ 3575982 h 6858000"/>
              <a:gd name="connsiteX701" fmla="*/ 2338780 w 7467600"/>
              <a:gd name="connsiteY701" fmla="*/ 3033725 h 6858000"/>
              <a:gd name="connsiteX702" fmla="*/ 1807991 w 7467600"/>
              <a:gd name="connsiteY702" fmla="*/ 2807184 h 6858000"/>
              <a:gd name="connsiteX703" fmla="*/ 1416358 w 7467600"/>
              <a:gd name="connsiteY703" fmla="*/ 3112571 h 6858000"/>
              <a:gd name="connsiteX704" fmla="*/ 939066 w 7467600"/>
              <a:gd name="connsiteY704" fmla="*/ 3378798 h 6858000"/>
              <a:gd name="connsiteX705" fmla="*/ 115099 w 7467600"/>
              <a:gd name="connsiteY705" fmla="*/ 3607650 h 6858000"/>
              <a:gd name="connsiteX706" fmla="*/ 97284 w 7467600"/>
              <a:gd name="connsiteY706" fmla="*/ 3520393 h 6858000"/>
              <a:gd name="connsiteX707" fmla="*/ 922050 w 7467600"/>
              <a:gd name="connsiteY707" fmla="*/ 3074867 h 6858000"/>
              <a:gd name="connsiteX708" fmla="*/ 1405265 w 7467600"/>
              <a:gd name="connsiteY708" fmla="*/ 3016319 h 6858000"/>
              <a:gd name="connsiteX709" fmla="*/ 1407512 w 7467600"/>
              <a:gd name="connsiteY709" fmla="*/ 3018001 h 6858000"/>
              <a:gd name="connsiteX710" fmla="*/ 1726266 w 7467600"/>
              <a:gd name="connsiteY710" fmla="*/ 2777274 h 6858000"/>
              <a:gd name="connsiteX711" fmla="*/ 625390 w 7467600"/>
              <a:gd name="connsiteY711" fmla="*/ 2514541 h 6858000"/>
              <a:gd name="connsiteX712" fmla="*/ 619799 w 7467600"/>
              <a:gd name="connsiteY712" fmla="*/ 2527180 h 6858000"/>
              <a:gd name="connsiteX713" fmla="*/ 310030 w 7467600"/>
              <a:gd name="connsiteY713" fmla="*/ 2771818 h 6858000"/>
              <a:gd name="connsiteX714" fmla="*/ 173877 w 7467600"/>
              <a:gd name="connsiteY714" fmla="*/ 2937056 h 6858000"/>
              <a:gd name="connsiteX715" fmla="*/ 77889 w 7467600"/>
              <a:gd name="connsiteY715" fmla="*/ 3138440 h 6858000"/>
              <a:gd name="connsiteX716" fmla="*/ 0 w 7467600"/>
              <a:gd name="connsiteY716" fmla="*/ 3271395 h 6858000"/>
              <a:gd name="connsiteX717" fmla="*/ 0 w 7467600"/>
              <a:gd name="connsiteY717" fmla="*/ 3153002 h 6858000"/>
              <a:gd name="connsiteX718" fmla="*/ 2386 w 7467600"/>
              <a:gd name="connsiteY718" fmla="*/ 3149203 h 6858000"/>
              <a:gd name="connsiteX719" fmla="*/ 89753 w 7467600"/>
              <a:gd name="connsiteY719" fmla="*/ 2987702 h 6858000"/>
              <a:gd name="connsiteX720" fmla="*/ 76869 w 7467600"/>
              <a:gd name="connsiteY720" fmla="*/ 3005404 h 6858000"/>
              <a:gd name="connsiteX721" fmla="*/ 32049 w 7467600"/>
              <a:gd name="connsiteY721" fmla="*/ 3065814 h 6858000"/>
              <a:gd name="connsiteX722" fmla="*/ 0 w 7467600"/>
              <a:gd name="connsiteY722" fmla="*/ 3108744 h 6858000"/>
              <a:gd name="connsiteX723" fmla="*/ 0 w 7467600"/>
              <a:gd name="connsiteY723" fmla="*/ 3058059 h 6858000"/>
              <a:gd name="connsiteX724" fmla="*/ 7610 w 7467600"/>
              <a:gd name="connsiteY724" fmla="*/ 3047889 h 6858000"/>
              <a:gd name="connsiteX725" fmla="*/ 52419 w 7467600"/>
              <a:gd name="connsiteY725" fmla="*/ 2987479 h 6858000"/>
              <a:gd name="connsiteX726" fmla="*/ 59142 w 7467600"/>
              <a:gd name="connsiteY726" fmla="*/ 2978488 h 6858000"/>
              <a:gd name="connsiteX727" fmla="*/ 0 w 7467600"/>
              <a:gd name="connsiteY727" fmla="*/ 3015334 h 6858000"/>
              <a:gd name="connsiteX728" fmla="*/ 0 w 7467600"/>
              <a:gd name="connsiteY728" fmla="*/ 2914286 h 6858000"/>
              <a:gd name="connsiteX729" fmla="*/ 36383 w 7467600"/>
              <a:gd name="connsiteY729" fmla="*/ 2901128 h 6858000"/>
              <a:gd name="connsiteX730" fmla="*/ 156329 w 7467600"/>
              <a:gd name="connsiteY730" fmla="*/ 2840533 h 6858000"/>
              <a:gd name="connsiteX731" fmla="*/ 358355 w 7467600"/>
              <a:gd name="connsiteY731" fmla="*/ 2620471 h 6858000"/>
              <a:gd name="connsiteX732" fmla="*/ 510577 w 7467600"/>
              <a:gd name="connsiteY732" fmla="*/ 2501244 h 6858000"/>
              <a:gd name="connsiteX733" fmla="*/ 211967 w 7467600"/>
              <a:gd name="connsiteY733" fmla="*/ 2479171 h 6858000"/>
              <a:gd name="connsiteX734" fmla="*/ 0 w 7467600"/>
              <a:gd name="connsiteY734" fmla="*/ 2476398 h 6858000"/>
              <a:gd name="connsiteX735" fmla="*/ 0 w 7467600"/>
              <a:gd name="connsiteY735" fmla="*/ 2389189 h 6858000"/>
              <a:gd name="connsiteX736" fmla="*/ 103062 w 7467600"/>
              <a:gd name="connsiteY736" fmla="*/ 2389518 h 6858000"/>
              <a:gd name="connsiteX737" fmla="*/ 510734 w 7467600"/>
              <a:gd name="connsiteY737" fmla="*/ 2416201 h 6858000"/>
              <a:gd name="connsiteX738" fmla="*/ 279257 w 7467600"/>
              <a:gd name="connsiteY738" fmla="*/ 2092102 h 6858000"/>
              <a:gd name="connsiteX739" fmla="*/ 65265 w 7467600"/>
              <a:gd name="connsiteY739" fmla="*/ 2006049 h 6858000"/>
              <a:gd name="connsiteX740" fmla="*/ 0 w 7467600"/>
              <a:gd name="connsiteY740" fmla="*/ 1982532 h 6858000"/>
              <a:gd name="connsiteX741" fmla="*/ 0 w 7467600"/>
              <a:gd name="connsiteY741" fmla="*/ 1912789 h 6858000"/>
              <a:gd name="connsiteX742" fmla="*/ 97460 w 7467600"/>
              <a:gd name="connsiteY742" fmla="*/ 1953725 h 6858000"/>
              <a:gd name="connsiteX743" fmla="*/ 221272 w 7467600"/>
              <a:gd name="connsiteY743" fmla="*/ 1980766 h 6858000"/>
              <a:gd name="connsiteX744" fmla="*/ 116765 w 7467600"/>
              <a:gd name="connsiteY744" fmla="*/ 1911033 h 6858000"/>
              <a:gd name="connsiteX745" fmla="*/ 16405 w 7467600"/>
              <a:gd name="connsiteY745" fmla="*/ 1803412 h 6858000"/>
              <a:gd name="connsiteX746" fmla="*/ 0 w 7467600"/>
              <a:gd name="connsiteY746" fmla="*/ 1784777 h 6858000"/>
              <a:gd name="connsiteX747" fmla="*/ 0 w 7467600"/>
              <a:gd name="connsiteY747" fmla="*/ 1740082 h 6858000"/>
              <a:gd name="connsiteX748" fmla="*/ 39394 w 7467600"/>
              <a:gd name="connsiteY748" fmla="*/ 1784856 h 6858000"/>
              <a:gd name="connsiteX749" fmla="*/ 135813 w 7467600"/>
              <a:gd name="connsiteY749" fmla="*/ 1888838 h 6858000"/>
              <a:gd name="connsiteX750" fmla="*/ 242575 w 7467600"/>
              <a:gd name="connsiteY750" fmla="*/ 1958841 h 6858000"/>
              <a:gd name="connsiteX751" fmla="*/ 82197 w 7467600"/>
              <a:gd name="connsiteY751" fmla="*/ 1754826 h 6858000"/>
              <a:gd name="connsiteX752" fmla="*/ 0 w 7467600"/>
              <a:gd name="connsiteY752" fmla="*/ 1679650 h 6858000"/>
              <a:gd name="connsiteX753" fmla="*/ 0 w 7467600"/>
              <a:gd name="connsiteY753" fmla="*/ 1602463 h 6858000"/>
              <a:gd name="connsiteX754" fmla="*/ 84689 w 7467600"/>
              <a:gd name="connsiteY754" fmla="*/ 1677442 h 6858000"/>
              <a:gd name="connsiteX755" fmla="*/ 298437 w 7467600"/>
              <a:gd name="connsiteY755" fmla="*/ 1968019 h 6858000"/>
              <a:gd name="connsiteX756" fmla="*/ 227269 w 7467600"/>
              <a:gd name="connsiteY756" fmla="*/ 1114064 h 6858000"/>
              <a:gd name="connsiteX757" fmla="*/ 248003 w 7467600"/>
              <a:gd name="connsiteY757" fmla="*/ 1089613 h 6858000"/>
              <a:gd name="connsiteX758" fmla="*/ 427020 w 7467600"/>
              <a:gd name="connsiteY758" fmla="*/ 1619803 h 6858000"/>
              <a:gd name="connsiteX759" fmla="*/ 340345 w 7467600"/>
              <a:gd name="connsiteY759" fmla="*/ 2027739 h 6858000"/>
              <a:gd name="connsiteX760" fmla="*/ 360865 w 7467600"/>
              <a:gd name="connsiteY760" fmla="*/ 2044827 h 6858000"/>
              <a:gd name="connsiteX761" fmla="*/ 560414 w 7467600"/>
              <a:gd name="connsiteY761" fmla="*/ 2421457 h 6858000"/>
              <a:gd name="connsiteX762" fmla="*/ 1359703 w 7467600"/>
              <a:gd name="connsiteY762" fmla="*/ 2578554 h 6858000"/>
              <a:gd name="connsiteX763" fmla="*/ 1359422 w 7467600"/>
              <a:gd name="connsiteY763" fmla="*/ 2577994 h 6858000"/>
              <a:gd name="connsiteX764" fmla="*/ 828701 w 7467600"/>
              <a:gd name="connsiteY764" fmla="*/ 1839520 h 6858000"/>
              <a:gd name="connsiteX765" fmla="*/ 494427 w 7467600"/>
              <a:gd name="connsiteY765" fmla="*/ 1092333 h 6858000"/>
              <a:gd name="connsiteX766" fmla="*/ 506322 w 7467600"/>
              <a:gd name="connsiteY766" fmla="*/ 1020997 h 6858000"/>
              <a:gd name="connsiteX767" fmla="*/ 4570198 w 7467600"/>
              <a:gd name="connsiteY767" fmla="*/ 978081 h 6858000"/>
              <a:gd name="connsiteX768" fmla="*/ 4523691 w 7467600"/>
              <a:gd name="connsiteY768" fmla="*/ 1127776 h 6858000"/>
              <a:gd name="connsiteX769" fmla="*/ 4509875 w 7467600"/>
              <a:gd name="connsiteY769" fmla="*/ 1167552 h 6858000"/>
              <a:gd name="connsiteX770" fmla="*/ 4478168 w 7467600"/>
              <a:gd name="connsiteY770" fmla="*/ 1260735 h 6858000"/>
              <a:gd name="connsiteX771" fmla="*/ 4409309 w 7467600"/>
              <a:gd name="connsiteY771" fmla="*/ 1666996 h 6858000"/>
              <a:gd name="connsiteX772" fmla="*/ 4370031 w 7467600"/>
              <a:gd name="connsiteY772" fmla="*/ 1955666 h 6858000"/>
              <a:gd name="connsiteX773" fmla="*/ 4570198 w 7467600"/>
              <a:gd name="connsiteY773" fmla="*/ 978081 h 6858000"/>
              <a:gd name="connsiteX774" fmla="*/ 4557898 w 7467600"/>
              <a:gd name="connsiteY774" fmla="*/ 900011 h 6858000"/>
              <a:gd name="connsiteX775" fmla="*/ 4344840 w 7467600"/>
              <a:gd name="connsiteY775" fmla="*/ 1922038 h 6858000"/>
              <a:gd name="connsiteX776" fmla="*/ 4378710 w 7467600"/>
              <a:gd name="connsiteY776" fmla="*/ 1665516 h 6858000"/>
              <a:gd name="connsiteX777" fmla="*/ 4448798 w 7467600"/>
              <a:gd name="connsiteY777" fmla="*/ 1253024 h 6858000"/>
              <a:gd name="connsiteX778" fmla="*/ 4480315 w 7467600"/>
              <a:gd name="connsiteY778" fmla="*/ 1158454 h 6858000"/>
              <a:gd name="connsiteX779" fmla="*/ 4494133 w 7467600"/>
              <a:gd name="connsiteY779" fmla="*/ 1118676 h 6858000"/>
              <a:gd name="connsiteX780" fmla="*/ 4557898 w 7467600"/>
              <a:gd name="connsiteY780" fmla="*/ 900011 h 6858000"/>
              <a:gd name="connsiteX781" fmla="*/ 5870151 w 7467600"/>
              <a:gd name="connsiteY781" fmla="*/ 898890 h 6858000"/>
              <a:gd name="connsiteX782" fmla="*/ 5861335 w 7467600"/>
              <a:gd name="connsiteY782" fmla="*/ 899177 h 6858000"/>
              <a:gd name="connsiteX783" fmla="*/ 5843702 w 7467600"/>
              <a:gd name="connsiteY783" fmla="*/ 899748 h 6858000"/>
              <a:gd name="connsiteX784" fmla="*/ 5651107 w 7467600"/>
              <a:gd name="connsiteY784" fmla="*/ 920306 h 6858000"/>
              <a:gd name="connsiteX785" fmla="*/ 5459407 w 7467600"/>
              <a:gd name="connsiteY785" fmla="*/ 940975 h 6858000"/>
              <a:gd name="connsiteX786" fmla="*/ 5374846 w 7467600"/>
              <a:gd name="connsiteY786" fmla="*/ 941988 h 6858000"/>
              <a:gd name="connsiteX787" fmla="*/ 5256105 w 7467600"/>
              <a:gd name="connsiteY787" fmla="*/ 945632 h 6858000"/>
              <a:gd name="connsiteX788" fmla="*/ 5107071 w 7467600"/>
              <a:gd name="connsiteY788" fmla="*/ 969720 h 6858000"/>
              <a:gd name="connsiteX789" fmla="*/ 4998681 w 7467600"/>
              <a:gd name="connsiteY789" fmla="*/ 988771 h 6858000"/>
              <a:gd name="connsiteX790" fmla="*/ 5870151 w 7467600"/>
              <a:gd name="connsiteY790" fmla="*/ 898890 h 6858000"/>
              <a:gd name="connsiteX791" fmla="*/ 5504425 w 7467600"/>
              <a:gd name="connsiteY791" fmla="*/ 848067 h 6858000"/>
              <a:gd name="connsiteX792" fmla="*/ 4968849 w 7467600"/>
              <a:gd name="connsiteY792" fmla="*/ 962318 h 6858000"/>
              <a:gd name="connsiteX793" fmla="*/ 5104039 w 7467600"/>
              <a:gd name="connsiteY793" fmla="*/ 940634 h 6858000"/>
              <a:gd name="connsiteX794" fmla="*/ 5256311 w 7467600"/>
              <a:gd name="connsiteY794" fmla="*/ 916490 h 6858000"/>
              <a:gd name="connsiteX795" fmla="*/ 5377381 w 7467600"/>
              <a:gd name="connsiteY795" fmla="*/ 912671 h 6858000"/>
              <a:gd name="connsiteX796" fmla="*/ 5460148 w 7467600"/>
              <a:gd name="connsiteY796" fmla="*/ 911442 h 6858000"/>
              <a:gd name="connsiteX797" fmla="*/ 5648971 w 7467600"/>
              <a:gd name="connsiteY797" fmla="*/ 891331 h 6858000"/>
              <a:gd name="connsiteX798" fmla="*/ 5844807 w 7467600"/>
              <a:gd name="connsiteY798" fmla="*/ 870718 h 6858000"/>
              <a:gd name="connsiteX799" fmla="*/ 5862975 w 7467600"/>
              <a:gd name="connsiteY799" fmla="*/ 869756 h 6858000"/>
              <a:gd name="connsiteX800" fmla="*/ 5920887 w 7467600"/>
              <a:gd name="connsiteY800" fmla="*/ 865929 h 6858000"/>
              <a:gd name="connsiteX801" fmla="*/ 5504425 w 7467600"/>
              <a:gd name="connsiteY801" fmla="*/ 848067 h 6858000"/>
              <a:gd name="connsiteX802" fmla="*/ 3607114 w 7467600"/>
              <a:gd name="connsiteY802" fmla="*/ 467441 h 6858000"/>
              <a:gd name="connsiteX803" fmla="*/ 3296242 w 7467600"/>
              <a:gd name="connsiteY803" fmla="*/ 807991 h 6858000"/>
              <a:gd name="connsiteX804" fmla="*/ 3174674 w 7467600"/>
              <a:gd name="connsiteY804" fmla="*/ 919759 h 6858000"/>
              <a:gd name="connsiteX805" fmla="*/ 3042978 w 7467600"/>
              <a:gd name="connsiteY805" fmla="*/ 1054894 h 6858000"/>
              <a:gd name="connsiteX806" fmla="*/ 2968914 w 7467600"/>
              <a:gd name="connsiteY806" fmla="*/ 1133756 h 6858000"/>
              <a:gd name="connsiteX807" fmla="*/ 3103823 w 7467600"/>
              <a:gd name="connsiteY807" fmla="*/ 1026814 h 6858000"/>
              <a:gd name="connsiteX808" fmla="*/ 3607114 w 7467600"/>
              <a:gd name="connsiteY808" fmla="*/ 467441 h 6858000"/>
              <a:gd name="connsiteX809" fmla="*/ 3744487 w 7467600"/>
              <a:gd name="connsiteY809" fmla="*/ 383136 h 6858000"/>
              <a:gd name="connsiteX810" fmla="*/ 3970213 w 7467600"/>
              <a:gd name="connsiteY810" fmla="*/ 995559 h 6858000"/>
              <a:gd name="connsiteX811" fmla="*/ 3744487 w 7467600"/>
              <a:gd name="connsiteY811" fmla="*/ 383136 h 6858000"/>
              <a:gd name="connsiteX812" fmla="*/ 3624562 w 7467600"/>
              <a:gd name="connsiteY812" fmla="*/ 367041 h 6858000"/>
              <a:gd name="connsiteX813" fmla="*/ 3489712 w 7467600"/>
              <a:gd name="connsiteY813" fmla="*/ 485386 h 6858000"/>
              <a:gd name="connsiteX814" fmla="*/ 3182994 w 7467600"/>
              <a:gd name="connsiteY814" fmla="*/ 828265 h 6858000"/>
              <a:gd name="connsiteX815" fmla="*/ 2892114 w 7467600"/>
              <a:gd name="connsiteY815" fmla="*/ 1172635 h 6858000"/>
              <a:gd name="connsiteX816" fmla="*/ 3021459 w 7467600"/>
              <a:gd name="connsiteY816" fmla="*/ 1035385 h 6858000"/>
              <a:gd name="connsiteX817" fmla="*/ 3153873 w 7467600"/>
              <a:gd name="connsiteY817" fmla="*/ 898971 h 6858000"/>
              <a:gd name="connsiteX818" fmla="*/ 3276511 w 7467600"/>
              <a:gd name="connsiteY818" fmla="*/ 786423 h 6858000"/>
              <a:gd name="connsiteX819" fmla="*/ 3584154 w 7467600"/>
              <a:gd name="connsiteY819" fmla="*/ 448218 h 6858000"/>
              <a:gd name="connsiteX820" fmla="*/ 3624562 w 7467600"/>
              <a:gd name="connsiteY820" fmla="*/ 367041 h 6858000"/>
              <a:gd name="connsiteX821" fmla="*/ 3766672 w 7467600"/>
              <a:gd name="connsiteY821" fmla="*/ 359429 h 6858000"/>
              <a:gd name="connsiteX822" fmla="*/ 3996338 w 7467600"/>
              <a:gd name="connsiteY822" fmla="*/ 968237 h 6858000"/>
              <a:gd name="connsiteX823" fmla="*/ 3766672 w 7467600"/>
              <a:gd name="connsiteY823" fmla="*/ 359429 h 6858000"/>
              <a:gd name="connsiteX824" fmla="*/ 5805386 w 7467600"/>
              <a:gd name="connsiteY824" fmla="*/ 239240 h 6858000"/>
              <a:gd name="connsiteX825" fmla="*/ 5736947 w 7467600"/>
              <a:gd name="connsiteY825" fmla="*/ 261367 h 6858000"/>
              <a:gd name="connsiteX826" fmla="*/ 5427012 w 7467600"/>
              <a:gd name="connsiteY826" fmla="*/ 311272 h 6858000"/>
              <a:gd name="connsiteX827" fmla="*/ 5147818 w 7467600"/>
              <a:gd name="connsiteY827" fmla="*/ 322112 h 6858000"/>
              <a:gd name="connsiteX828" fmla="*/ 5060854 w 7467600"/>
              <a:gd name="connsiteY828" fmla="*/ 311882 h 6858000"/>
              <a:gd name="connsiteX829" fmla="*/ 4945989 w 7467600"/>
              <a:gd name="connsiteY829" fmla="*/ 300516 h 6858000"/>
              <a:gd name="connsiteX830" fmla="*/ 5410479 w 7467600"/>
              <a:gd name="connsiteY830" fmla="*/ 348434 h 6858000"/>
              <a:gd name="connsiteX831" fmla="*/ 5805386 w 7467600"/>
              <a:gd name="connsiteY831" fmla="*/ 239240 h 6858000"/>
              <a:gd name="connsiteX832" fmla="*/ 5905192 w 7467600"/>
              <a:gd name="connsiteY832" fmla="*/ 163079 h 6858000"/>
              <a:gd name="connsiteX833" fmla="*/ 5865655 w 7467600"/>
              <a:gd name="connsiteY833" fmla="*/ 171901 h 6858000"/>
              <a:gd name="connsiteX834" fmla="*/ 5259740 w 7467600"/>
              <a:gd name="connsiteY834" fmla="*/ 257013 h 6858000"/>
              <a:gd name="connsiteX835" fmla="*/ 5208466 w 7467600"/>
              <a:gd name="connsiteY835" fmla="*/ 257550 h 6858000"/>
              <a:gd name="connsiteX836" fmla="*/ 4980204 w 7467600"/>
              <a:gd name="connsiteY836" fmla="*/ 271903 h 6858000"/>
              <a:gd name="connsiteX837" fmla="*/ 5068068 w 7467600"/>
              <a:gd name="connsiteY837" fmla="*/ 282244 h 6858000"/>
              <a:gd name="connsiteX838" fmla="*/ 5153231 w 7467600"/>
              <a:gd name="connsiteY838" fmla="*/ 292240 h 6858000"/>
              <a:gd name="connsiteX839" fmla="*/ 5426491 w 7467600"/>
              <a:gd name="connsiteY839" fmla="*/ 281128 h 6858000"/>
              <a:gd name="connsiteX840" fmla="*/ 5731212 w 7467600"/>
              <a:gd name="connsiteY840" fmla="*/ 231951 h 6858000"/>
              <a:gd name="connsiteX841" fmla="*/ 5905192 w 7467600"/>
              <a:gd name="connsiteY841" fmla="*/ 163079 h 6858000"/>
              <a:gd name="connsiteX842" fmla="*/ 5944437 w 7467600"/>
              <a:gd name="connsiteY842" fmla="*/ 113829 h 6858000"/>
              <a:gd name="connsiteX843" fmla="*/ 5825032 w 7467600"/>
              <a:gd name="connsiteY843" fmla="*/ 146405 h 6858000"/>
              <a:gd name="connsiteX844" fmla="*/ 4955599 w 7467600"/>
              <a:gd name="connsiteY844" fmla="*/ 247008 h 6858000"/>
              <a:gd name="connsiteX845" fmla="*/ 5210104 w 7467600"/>
              <a:gd name="connsiteY845" fmla="*/ 228123 h 6858000"/>
              <a:gd name="connsiteX846" fmla="*/ 5261015 w 7467600"/>
              <a:gd name="connsiteY846" fmla="*/ 227087 h 6858000"/>
              <a:gd name="connsiteX847" fmla="*/ 5861181 w 7467600"/>
              <a:gd name="connsiteY847" fmla="*/ 143093 h 6858000"/>
              <a:gd name="connsiteX848" fmla="*/ 5961252 w 7467600"/>
              <a:gd name="connsiteY848" fmla="*/ 114820 h 6858000"/>
              <a:gd name="connsiteX849" fmla="*/ 5944437 w 7467600"/>
              <a:gd name="connsiteY849" fmla="*/ 113829 h 6858000"/>
              <a:gd name="connsiteX850" fmla="*/ 3882765 w 7467600"/>
              <a:gd name="connsiteY850" fmla="*/ 0 h 6858000"/>
              <a:gd name="connsiteX851" fmla="*/ 3995099 w 7467600"/>
              <a:gd name="connsiteY851" fmla="*/ 0 h 6858000"/>
              <a:gd name="connsiteX852" fmla="*/ 4163818 w 7467600"/>
              <a:gd name="connsiteY852" fmla="*/ 234104 h 6858000"/>
              <a:gd name="connsiteX853" fmla="*/ 4172099 w 7467600"/>
              <a:gd name="connsiteY853" fmla="*/ 234207 h 6858000"/>
              <a:gd name="connsiteX854" fmla="*/ 4784282 w 7467600"/>
              <a:gd name="connsiteY854" fmla="*/ 276561 h 6858000"/>
              <a:gd name="connsiteX855" fmla="*/ 4801687 w 7467600"/>
              <a:gd name="connsiteY855" fmla="*/ 267764 h 6858000"/>
              <a:gd name="connsiteX856" fmla="*/ 6082788 w 7467600"/>
              <a:gd name="connsiteY856" fmla="*/ 64119 h 6858000"/>
              <a:gd name="connsiteX857" fmla="*/ 6099442 w 7467600"/>
              <a:gd name="connsiteY857" fmla="*/ 82568 h 6858000"/>
              <a:gd name="connsiteX858" fmla="*/ 4804137 w 7467600"/>
              <a:gd name="connsiteY858" fmla="*/ 320931 h 6858000"/>
              <a:gd name="connsiteX859" fmla="*/ 4227047 w 7467600"/>
              <a:gd name="connsiteY859" fmla="*/ 313415 h 6858000"/>
              <a:gd name="connsiteX860" fmla="*/ 4346041 w 7467600"/>
              <a:gd name="connsiteY860" fmla="*/ 456086 h 6858000"/>
              <a:gd name="connsiteX861" fmla="*/ 4870967 w 7467600"/>
              <a:gd name="connsiteY861" fmla="*/ 963061 h 6858000"/>
              <a:gd name="connsiteX862" fmla="*/ 4889647 w 7467600"/>
              <a:gd name="connsiteY862" fmla="*/ 957147 h 6858000"/>
              <a:gd name="connsiteX863" fmla="*/ 5422504 w 7467600"/>
              <a:gd name="connsiteY863" fmla="*/ 805191 h 6858000"/>
              <a:gd name="connsiteX864" fmla="*/ 6087656 w 7467600"/>
              <a:gd name="connsiteY864" fmla="*/ 826703 h 6858000"/>
              <a:gd name="connsiteX865" fmla="*/ 6058717 w 7467600"/>
              <a:gd name="connsiteY865" fmla="*/ 865992 h 6858000"/>
              <a:gd name="connsiteX866" fmla="*/ 4974153 w 7467600"/>
              <a:gd name="connsiteY866" fmla="*/ 1045456 h 6858000"/>
              <a:gd name="connsiteX867" fmla="*/ 5627835 w 7467600"/>
              <a:gd name="connsiteY867" fmla="*/ 1472077 h 6858000"/>
              <a:gd name="connsiteX868" fmla="*/ 5629817 w 7467600"/>
              <a:gd name="connsiteY868" fmla="*/ 1471412 h 6858000"/>
              <a:gd name="connsiteX869" fmla="*/ 5634124 w 7467600"/>
              <a:gd name="connsiteY869" fmla="*/ 1470572 h 6858000"/>
              <a:gd name="connsiteX870" fmla="*/ 5755832 w 7467600"/>
              <a:gd name="connsiteY870" fmla="*/ 1383886 h 6858000"/>
              <a:gd name="connsiteX871" fmla="*/ 6014186 w 7467600"/>
              <a:gd name="connsiteY871" fmla="*/ 1279799 h 6858000"/>
              <a:gd name="connsiteX872" fmla="*/ 6901619 w 7467600"/>
              <a:gd name="connsiteY872" fmla="*/ 1047874 h 6858000"/>
              <a:gd name="connsiteX873" fmla="*/ 6931566 w 7467600"/>
              <a:gd name="connsiteY873" fmla="*/ 1062034 h 6858000"/>
              <a:gd name="connsiteX874" fmla="*/ 5790982 w 7467600"/>
              <a:gd name="connsiteY874" fmla="*/ 1561380 h 6858000"/>
              <a:gd name="connsiteX875" fmla="*/ 6188971 w 7467600"/>
              <a:gd name="connsiteY875" fmla="*/ 1755168 h 6858000"/>
              <a:gd name="connsiteX876" fmla="*/ 6202446 w 7467600"/>
              <a:gd name="connsiteY876" fmla="*/ 1752268 h 6858000"/>
              <a:gd name="connsiteX877" fmla="*/ 7179560 w 7467600"/>
              <a:gd name="connsiteY877" fmla="*/ 1467551 h 6858000"/>
              <a:gd name="connsiteX878" fmla="*/ 7158730 w 7467600"/>
              <a:gd name="connsiteY878" fmla="*/ 1507835 h 6858000"/>
              <a:gd name="connsiteX879" fmla="*/ 6326959 w 7467600"/>
              <a:gd name="connsiteY879" fmla="*/ 1817686 h 6858000"/>
              <a:gd name="connsiteX880" fmla="*/ 6537433 w 7467600"/>
              <a:gd name="connsiteY880" fmla="*/ 1907790 h 6858000"/>
              <a:gd name="connsiteX881" fmla="*/ 6550221 w 7467600"/>
              <a:gd name="connsiteY881" fmla="*/ 1910729 h 6858000"/>
              <a:gd name="connsiteX882" fmla="*/ 6964438 w 7467600"/>
              <a:gd name="connsiteY882" fmla="*/ 2209505 h 6858000"/>
              <a:gd name="connsiteX883" fmla="*/ 7367862 w 7467600"/>
              <a:gd name="connsiteY883" fmla="*/ 2806833 h 6858000"/>
              <a:gd name="connsiteX884" fmla="*/ 7364329 w 7467600"/>
              <a:gd name="connsiteY884" fmla="*/ 2826907 h 6858000"/>
              <a:gd name="connsiteX885" fmla="*/ 7290545 w 7467600"/>
              <a:gd name="connsiteY885" fmla="*/ 2850663 h 6858000"/>
              <a:gd name="connsiteX886" fmla="*/ 6472036 w 7467600"/>
              <a:gd name="connsiteY886" fmla="*/ 1959003 h 6858000"/>
              <a:gd name="connsiteX887" fmla="*/ 5792897 w 7467600"/>
              <a:gd name="connsiteY887" fmla="*/ 1647747 h 6858000"/>
              <a:gd name="connsiteX888" fmla="*/ 5842751 w 7467600"/>
              <a:gd name="connsiteY888" fmla="*/ 1816112 h 6858000"/>
              <a:gd name="connsiteX889" fmla="*/ 5847424 w 7467600"/>
              <a:gd name="connsiteY889" fmla="*/ 1815776 h 6858000"/>
              <a:gd name="connsiteX890" fmla="*/ 6399821 w 7467600"/>
              <a:gd name="connsiteY890" fmla="*/ 2344799 h 6858000"/>
              <a:gd name="connsiteX891" fmla="*/ 6323232 w 7467600"/>
              <a:gd name="connsiteY891" fmla="*/ 2389634 h 6858000"/>
              <a:gd name="connsiteX892" fmla="*/ 5942958 w 7467600"/>
              <a:gd name="connsiteY892" fmla="*/ 2077708 h 6858000"/>
              <a:gd name="connsiteX893" fmla="*/ 5921559 w 7467600"/>
              <a:gd name="connsiteY893" fmla="*/ 2378596 h 6858000"/>
              <a:gd name="connsiteX894" fmla="*/ 5817651 w 7467600"/>
              <a:gd name="connsiteY894" fmla="*/ 3023919 h 6858000"/>
              <a:gd name="connsiteX895" fmla="*/ 5729634 w 7467600"/>
              <a:gd name="connsiteY895" fmla="*/ 3051849 h 6858000"/>
              <a:gd name="connsiteX896" fmla="*/ 5611018 w 7467600"/>
              <a:gd name="connsiteY896" fmla="*/ 2316769 h 6858000"/>
              <a:gd name="connsiteX897" fmla="*/ 5687608 w 7467600"/>
              <a:gd name="connsiteY897" fmla="*/ 2039972 h 6858000"/>
              <a:gd name="connsiteX898" fmla="*/ 5657554 w 7467600"/>
              <a:gd name="connsiteY898" fmla="*/ 1576445 h 6858000"/>
              <a:gd name="connsiteX899" fmla="*/ 5150475 w 7467600"/>
              <a:gd name="connsiteY899" fmla="*/ 1274012 h 6858000"/>
              <a:gd name="connsiteX900" fmla="*/ 5349142 w 7467600"/>
              <a:gd name="connsiteY900" fmla="*/ 2204405 h 6858000"/>
              <a:gd name="connsiteX901" fmla="*/ 5262214 w 7467600"/>
              <a:gd name="connsiteY901" fmla="*/ 2233836 h 6858000"/>
              <a:gd name="connsiteX902" fmla="*/ 4981539 w 7467600"/>
              <a:gd name="connsiteY902" fmla="*/ 1542201 h 6858000"/>
              <a:gd name="connsiteX903" fmla="*/ 4958461 w 7467600"/>
              <a:gd name="connsiteY903" fmla="*/ 1136957 h 6858000"/>
              <a:gd name="connsiteX904" fmla="*/ 4655015 w 7467600"/>
              <a:gd name="connsiteY904" fmla="*/ 891426 h 6858000"/>
              <a:gd name="connsiteX905" fmla="*/ 4348002 w 7467600"/>
              <a:gd name="connsiteY905" fmla="*/ 2205895 h 6858000"/>
              <a:gd name="connsiteX906" fmla="*/ 4262250 w 7467600"/>
              <a:gd name="connsiteY906" fmla="*/ 2219972 h 6858000"/>
              <a:gd name="connsiteX907" fmla="*/ 4550611 w 7467600"/>
              <a:gd name="connsiteY907" fmla="*/ 817540 h 6858000"/>
              <a:gd name="connsiteX908" fmla="*/ 4564418 w 7467600"/>
              <a:gd name="connsiteY908" fmla="*/ 808293 h 6858000"/>
              <a:gd name="connsiteX909" fmla="*/ 4266388 w 7467600"/>
              <a:gd name="connsiteY909" fmla="*/ 500083 h 6858000"/>
              <a:gd name="connsiteX910" fmla="*/ 4032842 w 7467600"/>
              <a:gd name="connsiteY910" fmla="*/ 211809 h 6858000"/>
              <a:gd name="connsiteX911" fmla="*/ 3882765 w 7467600"/>
              <a:gd name="connsiteY911" fmla="*/ 0 h 6858000"/>
              <a:gd name="connsiteX912" fmla="*/ 3721337 w 7467600"/>
              <a:gd name="connsiteY912" fmla="*/ 0 h 6858000"/>
              <a:gd name="connsiteX913" fmla="*/ 3797544 w 7467600"/>
              <a:gd name="connsiteY913" fmla="*/ 0 h 6858000"/>
              <a:gd name="connsiteX914" fmla="*/ 3775734 w 7467600"/>
              <a:gd name="connsiteY914" fmla="*/ 95131 h 6858000"/>
              <a:gd name="connsiteX915" fmla="*/ 3724807 w 7467600"/>
              <a:gd name="connsiteY915" fmla="*/ 272257 h 6858000"/>
              <a:gd name="connsiteX916" fmla="*/ 3726844 w 7467600"/>
              <a:gd name="connsiteY916" fmla="*/ 282988 h 6858000"/>
              <a:gd name="connsiteX917" fmla="*/ 3742664 w 7467600"/>
              <a:gd name="connsiteY917" fmla="*/ 279918 h 6858000"/>
              <a:gd name="connsiteX918" fmla="*/ 4103910 w 7467600"/>
              <a:gd name="connsiteY918" fmla="*/ 1161917 h 6858000"/>
              <a:gd name="connsiteX919" fmla="*/ 4020269 w 7467600"/>
              <a:gd name="connsiteY919" fmla="*/ 1200406 h 6858000"/>
              <a:gd name="connsiteX920" fmla="*/ 3674882 w 7467600"/>
              <a:gd name="connsiteY920" fmla="*/ 488524 h 6858000"/>
              <a:gd name="connsiteX921" fmla="*/ 3132682 w 7467600"/>
              <a:gd name="connsiteY921" fmla="*/ 1072284 h 6858000"/>
              <a:gd name="connsiteX922" fmla="*/ 2716346 w 7467600"/>
              <a:gd name="connsiteY922" fmla="*/ 1276376 h 6858000"/>
              <a:gd name="connsiteX923" fmla="*/ 2716772 w 7467600"/>
              <a:gd name="connsiteY923" fmla="*/ 1255462 h 6858000"/>
              <a:gd name="connsiteX924" fmla="*/ 3471096 w 7467600"/>
              <a:gd name="connsiteY924" fmla="*/ 437072 h 6858000"/>
              <a:gd name="connsiteX925" fmla="*/ 3639057 w 7467600"/>
              <a:gd name="connsiteY925" fmla="*/ 286334 h 6858000"/>
              <a:gd name="connsiteX926" fmla="*/ 3640309 w 7467600"/>
              <a:gd name="connsiteY926" fmla="*/ 284664 h 6858000"/>
              <a:gd name="connsiteX927" fmla="*/ 3646022 w 7467600"/>
              <a:gd name="connsiteY927" fmla="*/ 276711 h 6858000"/>
              <a:gd name="connsiteX928" fmla="*/ 3707943 w 7467600"/>
              <a:gd name="connsiteY928" fmla="*/ 65958 h 6858000"/>
              <a:gd name="connsiteX929" fmla="*/ 3721337 w 7467600"/>
              <a:gd name="connsiteY929" fmla="*/ 0 h 6858000"/>
              <a:gd name="connsiteX930" fmla="*/ 2867960 w 7467600"/>
              <a:gd name="connsiteY930" fmla="*/ 0 h 6858000"/>
              <a:gd name="connsiteX931" fmla="*/ 2926351 w 7467600"/>
              <a:gd name="connsiteY931" fmla="*/ 0 h 6858000"/>
              <a:gd name="connsiteX932" fmla="*/ 2902823 w 7467600"/>
              <a:gd name="connsiteY932" fmla="*/ 262929 h 6858000"/>
              <a:gd name="connsiteX933" fmla="*/ 2940663 w 7467600"/>
              <a:gd name="connsiteY933" fmla="*/ 140884 h 6858000"/>
              <a:gd name="connsiteX934" fmla="*/ 2947039 w 7467600"/>
              <a:gd name="connsiteY934" fmla="*/ 122524 h 6858000"/>
              <a:gd name="connsiteX935" fmla="*/ 2984316 w 7467600"/>
              <a:gd name="connsiteY935" fmla="*/ 0 h 6858000"/>
              <a:gd name="connsiteX936" fmla="*/ 3016114 w 7467600"/>
              <a:gd name="connsiteY936" fmla="*/ 0 h 6858000"/>
              <a:gd name="connsiteX937" fmla="*/ 2979949 w 7467600"/>
              <a:gd name="connsiteY937" fmla="*/ 119274 h 6858000"/>
              <a:gd name="connsiteX938" fmla="*/ 3023879 w 7467600"/>
              <a:gd name="connsiteY938" fmla="*/ 0 h 6858000"/>
              <a:gd name="connsiteX939" fmla="*/ 3105400 w 7467600"/>
              <a:gd name="connsiteY939" fmla="*/ 0 h 6858000"/>
              <a:gd name="connsiteX940" fmla="*/ 3094669 w 7467600"/>
              <a:gd name="connsiteY940" fmla="*/ 30308 h 6858000"/>
              <a:gd name="connsiteX941" fmla="*/ 2901945 w 7467600"/>
              <a:gd name="connsiteY941" fmla="*/ 466538 h 6858000"/>
              <a:gd name="connsiteX942" fmla="*/ 2815209 w 7467600"/>
              <a:gd name="connsiteY942" fmla="*/ 497361 h 6858000"/>
              <a:gd name="connsiteX943" fmla="*/ 2844845 w 7467600"/>
              <a:gd name="connsiteY943" fmla="*/ 127638 h 6858000"/>
              <a:gd name="connsiteX944" fmla="*/ 2867960 w 7467600"/>
              <a:gd name="connsiteY944" fmla="*/ 0 h 6858000"/>
              <a:gd name="connsiteX945" fmla="*/ 1057230 w 7467600"/>
              <a:gd name="connsiteY945" fmla="*/ 0 h 6858000"/>
              <a:gd name="connsiteX946" fmla="*/ 1111003 w 7467600"/>
              <a:gd name="connsiteY946" fmla="*/ 0 h 6858000"/>
              <a:gd name="connsiteX947" fmla="*/ 1125553 w 7467600"/>
              <a:gd name="connsiteY947" fmla="*/ 52588 h 6858000"/>
              <a:gd name="connsiteX948" fmla="*/ 1304276 w 7467600"/>
              <a:gd name="connsiteY948" fmla="*/ 476275 h 6858000"/>
              <a:gd name="connsiteX949" fmla="*/ 1492066 w 7467600"/>
              <a:gd name="connsiteY949" fmla="*/ 886333 h 6858000"/>
              <a:gd name="connsiteX950" fmla="*/ 1423698 w 7467600"/>
              <a:gd name="connsiteY950" fmla="*/ 710817 h 6858000"/>
              <a:gd name="connsiteX951" fmla="*/ 1357609 w 7467600"/>
              <a:gd name="connsiteY951" fmla="*/ 532892 h 6858000"/>
              <a:gd name="connsiteX952" fmla="*/ 1309550 w 7467600"/>
              <a:gd name="connsiteY952" fmla="*/ 374031 h 6858000"/>
              <a:gd name="connsiteX953" fmla="*/ 1193673 w 7467600"/>
              <a:gd name="connsiteY953" fmla="*/ 49533 h 6858000"/>
              <a:gd name="connsiteX954" fmla="*/ 1164391 w 7467600"/>
              <a:gd name="connsiteY954" fmla="*/ 0 h 6858000"/>
              <a:gd name="connsiteX955" fmla="*/ 1200666 w 7467600"/>
              <a:gd name="connsiteY955" fmla="*/ 0 h 6858000"/>
              <a:gd name="connsiteX956" fmla="*/ 1223408 w 7467600"/>
              <a:gd name="connsiteY956" fmla="*/ 38996 h 6858000"/>
              <a:gd name="connsiteX957" fmla="*/ 1339635 w 7467600"/>
              <a:gd name="connsiteY957" fmla="*/ 365517 h 6858000"/>
              <a:gd name="connsiteX958" fmla="*/ 1387469 w 7467600"/>
              <a:gd name="connsiteY958" fmla="*/ 523079 h 6858000"/>
              <a:gd name="connsiteX959" fmla="*/ 1452685 w 7467600"/>
              <a:gd name="connsiteY959" fmla="*/ 699806 h 6858000"/>
              <a:gd name="connsiteX960" fmla="*/ 1492092 w 7467600"/>
              <a:gd name="connsiteY960" fmla="*/ 800424 h 6858000"/>
              <a:gd name="connsiteX961" fmla="*/ 1455302 w 7467600"/>
              <a:gd name="connsiteY961" fmla="*/ 632913 h 6858000"/>
              <a:gd name="connsiteX962" fmla="*/ 1222336 w 7467600"/>
              <a:gd name="connsiteY962" fmla="*/ 9480 h 6858000"/>
              <a:gd name="connsiteX963" fmla="*/ 1214634 w 7467600"/>
              <a:gd name="connsiteY963" fmla="*/ 0 h 6858000"/>
              <a:gd name="connsiteX964" fmla="*/ 1289827 w 7467600"/>
              <a:gd name="connsiteY964" fmla="*/ 0 h 6858000"/>
              <a:gd name="connsiteX965" fmla="*/ 1321076 w 7467600"/>
              <a:gd name="connsiteY965" fmla="*/ 59722 h 6858000"/>
              <a:gd name="connsiteX966" fmla="*/ 1512579 w 7467600"/>
              <a:gd name="connsiteY966" fmla="*/ 626441 h 6858000"/>
              <a:gd name="connsiteX967" fmla="*/ 1506076 w 7467600"/>
              <a:gd name="connsiteY967" fmla="*/ 1089289 h 6858000"/>
              <a:gd name="connsiteX968" fmla="*/ 1486346 w 7467600"/>
              <a:gd name="connsiteY968" fmla="*/ 1079919 h 6858000"/>
              <a:gd name="connsiteX969" fmla="*/ 1070511 w 7467600"/>
              <a:gd name="connsiteY969" fmla="*/ 48609 h 6858000"/>
              <a:gd name="connsiteX970" fmla="*/ 1057230 w 7467600"/>
              <a:gd name="connsiteY970" fmla="*/ 0 h 6858000"/>
              <a:gd name="connsiteX971" fmla="*/ 43151 w 7467600"/>
              <a:gd name="connsiteY971" fmla="*/ 0 h 6858000"/>
              <a:gd name="connsiteX972" fmla="*/ 95283 w 7467600"/>
              <a:gd name="connsiteY972" fmla="*/ 0 h 6858000"/>
              <a:gd name="connsiteX973" fmla="*/ 300708 w 7467600"/>
              <a:gd name="connsiteY973" fmla="*/ 154571 h 6858000"/>
              <a:gd name="connsiteX974" fmla="*/ 530414 w 7467600"/>
              <a:gd name="connsiteY974" fmla="*/ 354673 h 6858000"/>
              <a:gd name="connsiteX975" fmla="*/ 333785 w 7467600"/>
              <a:gd name="connsiteY975" fmla="*/ 161564 h 6858000"/>
              <a:gd name="connsiteX976" fmla="*/ 147005 w 7467600"/>
              <a:gd name="connsiteY976" fmla="*/ 0 h 6858000"/>
              <a:gd name="connsiteX977" fmla="*/ 272509 w 7467600"/>
              <a:gd name="connsiteY977" fmla="*/ 0 h 6858000"/>
              <a:gd name="connsiteX978" fmla="*/ 326276 w 7467600"/>
              <a:gd name="connsiteY978" fmla="*/ 45847 h 6858000"/>
              <a:gd name="connsiteX979" fmla="*/ 823759 w 7467600"/>
              <a:gd name="connsiteY979" fmla="*/ 574145 h 6858000"/>
              <a:gd name="connsiteX980" fmla="*/ 811254 w 7467600"/>
              <a:gd name="connsiteY980" fmla="*/ 665546 h 6858000"/>
              <a:gd name="connsiteX981" fmla="*/ 154042 w 7467600"/>
              <a:gd name="connsiteY981" fmla="*/ 261522 h 6858000"/>
              <a:gd name="connsiteX982" fmla="*/ 13550 w 7467600"/>
              <a:gd name="connsiteY982" fmla="*/ 158423 h 6858000"/>
              <a:gd name="connsiteX983" fmla="*/ 0 w 7467600"/>
              <a:gd name="connsiteY983" fmla="*/ 146618 h 6858000"/>
              <a:gd name="connsiteX984" fmla="*/ 0 w 7467600"/>
              <a:gd name="connsiteY984" fmla="*/ 59161 h 6858000"/>
              <a:gd name="connsiteX985" fmla="*/ 45427 w 7467600"/>
              <a:gd name="connsiteY985" fmla="*/ 101078 h 6858000"/>
              <a:gd name="connsiteX986" fmla="*/ 630103 w 7467600"/>
              <a:gd name="connsiteY986" fmla="*/ 485885 h 6858000"/>
              <a:gd name="connsiteX987" fmla="*/ 532040 w 7467600"/>
              <a:gd name="connsiteY987" fmla="*/ 399359 h 6858000"/>
              <a:gd name="connsiteX988" fmla="*/ 517618 w 7467600"/>
              <a:gd name="connsiteY988" fmla="*/ 385726 h 6858000"/>
              <a:gd name="connsiteX989" fmla="*/ 285074 w 7467600"/>
              <a:gd name="connsiteY989" fmla="*/ 182755 h 6858000"/>
              <a:gd name="connsiteX990" fmla="*/ 43151 w 7467600"/>
              <a:gd name="connsiteY990"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12201 w 7467600"/>
              <a:gd name="connsiteY127" fmla="*/ 5128278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467600 w 7467600"/>
              <a:gd name="connsiteY132" fmla="*/ 5164774 h 6858000"/>
              <a:gd name="connsiteX133" fmla="*/ 7312201 w 7467600"/>
              <a:gd name="connsiteY133" fmla="*/ 5128278 h 6858000"/>
              <a:gd name="connsiteX134" fmla="*/ 1903353 w 7467600"/>
              <a:gd name="connsiteY134" fmla="*/ 5044827 h 6858000"/>
              <a:gd name="connsiteX135" fmla="*/ 1936931 w 7467600"/>
              <a:gd name="connsiteY135" fmla="*/ 5093954 h 6858000"/>
              <a:gd name="connsiteX136" fmla="*/ 2195868 w 7467600"/>
              <a:gd name="connsiteY136" fmla="*/ 5396574 h 6858000"/>
              <a:gd name="connsiteX137" fmla="*/ 2088852 w 7467600"/>
              <a:gd name="connsiteY137" fmla="*/ 5166123 h 6858000"/>
              <a:gd name="connsiteX138" fmla="*/ 1958241 w 7467600"/>
              <a:gd name="connsiteY138" fmla="*/ 5067955 h 6858000"/>
              <a:gd name="connsiteX139" fmla="*/ 1903353 w 7467600"/>
              <a:gd name="connsiteY139" fmla="*/ 5044827 h 6858000"/>
              <a:gd name="connsiteX140" fmla="*/ 1979378 w 7467600"/>
              <a:gd name="connsiteY140" fmla="*/ 4769504 h 6858000"/>
              <a:gd name="connsiteX141" fmla="*/ 2882120 w 7467600"/>
              <a:gd name="connsiteY141" fmla="*/ 5064547 h 6858000"/>
              <a:gd name="connsiteX142" fmla="*/ 2793103 w 7467600"/>
              <a:gd name="connsiteY142" fmla="*/ 5039699 h 6858000"/>
              <a:gd name="connsiteX143" fmla="*/ 2770041 w 7467600"/>
              <a:gd name="connsiteY143" fmla="*/ 5033634 h 6858000"/>
              <a:gd name="connsiteX144" fmla="*/ 1979378 w 7467600"/>
              <a:gd name="connsiteY144" fmla="*/ 4769504 h 6858000"/>
              <a:gd name="connsiteX145" fmla="*/ 1927410 w 7467600"/>
              <a:gd name="connsiteY145" fmla="*/ 4716164 h 6858000"/>
              <a:gd name="connsiteX146" fmla="*/ 1959587 w 7467600"/>
              <a:gd name="connsiteY146" fmla="*/ 4728849 h 6858000"/>
              <a:gd name="connsiteX147" fmla="*/ 2777707 w 7467600"/>
              <a:gd name="connsiteY147" fmla="*/ 5003991 h 6858000"/>
              <a:gd name="connsiteX148" fmla="*/ 2800768 w 7467600"/>
              <a:gd name="connsiteY148" fmla="*/ 5010056 h 6858000"/>
              <a:gd name="connsiteX149" fmla="*/ 2879408 w 7467600"/>
              <a:gd name="connsiteY149" fmla="*/ 5031590 h 6858000"/>
              <a:gd name="connsiteX150" fmla="*/ 2862295 w 7467600"/>
              <a:gd name="connsiteY150" fmla="*/ 5022958 h 6858000"/>
              <a:gd name="connsiteX151" fmla="*/ 2813343 w 7467600"/>
              <a:gd name="connsiteY151" fmla="*/ 4998369 h 6858000"/>
              <a:gd name="connsiteX152" fmla="*/ 2646245 w 7467600"/>
              <a:gd name="connsiteY152" fmla="*/ 4930999 h 6858000"/>
              <a:gd name="connsiteX153" fmla="*/ 1999243 w 7467600"/>
              <a:gd name="connsiteY153" fmla="*/ 4730524 h 6858000"/>
              <a:gd name="connsiteX154" fmla="*/ 1979527 w 7467600"/>
              <a:gd name="connsiteY154" fmla="*/ 4726651 h 6858000"/>
              <a:gd name="connsiteX155" fmla="*/ 1927410 w 7467600"/>
              <a:gd name="connsiteY155" fmla="*/ 4716164 h 6858000"/>
              <a:gd name="connsiteX156" fmla="*/ 1997014 w 7467600"/>
              <a:gd name="connsiteY156" fmla="*/ 4698007 h 6858000"/>
              <a:gd name="connsiteX157" fmla="*/ 2005458 w 7467600"/>
              <a:gd name="connsiteY157" fmla="*/ 4699540 h 6858000"/>
              <a:gd name="connsiteX158" fmla="*/ 2657186 w 7467600"/>
              <a:gd name="connsiteY158" fmla="*/ 4901687 h 6858000"/>
              <a:gd name="connsiteX159" fmla="*/ 2826662 w 7467600"/>
              <a:gd name="connsiteY159" fmla="*/ 4970362 h 6858000"/>
              <a:gd name="connsiteX160" fmla="*/ 2876100 w 7467600"/>
              <a:gd name="connsiteY160" fmla="*/ 4995397 h 6858000"/>
              <a:gd name="connsiteX161" fmla="*/ 3042600 w 7467600"/>
              <a:gd name="connsiteY161" fmla="*/ 5059532 h 6858000"/>
              <a:gd name="connsiteX162" fmla="*/ 1997014 w 7467600"/>
              <a:gd name="connsiteY162" fmla="*/ 4698007 h 6858000"/>
              <a:gd name="connsiteX163" fmla="*/ 2305292 w 7467600"/>
              <a:gd name="connsiteY163" fmla="*/ 4219492 h 6858000"/>
              <a:gd name="connsiteX164" fmla="*/ 3360922 w 7467600"/>
              <a:gd name="connsiteY164" fmla="*/ 4529373 h 6858000"/>
              <a:gd name="connsiteX165" fmla="*/ 3492420 w 7467600"/>
              <a:gd name="connsiteY165" fmla="*/ 4510145 h 6858000"/>
              <a:gd name="connsiteX166" fmla="*/ 3364086 w 7467600"/>
              <a:gd name="connsiteY166" fmla="*/ 4480340 h 6858000"/>
              <a:gd name="connsiteX167" fmla="*/ 3225818 w 7467600"/>
              <a:gd name="connsiteY167" fmla="*/ 4411822 h 6858000"/>
              <a:gd name="connsiteX168" fmla="*/ 3129696 w 7467600"/>
              <a:gd name="connsiteY168" fmla="*/ 4360704 h 6858000"/>
              <a:gd name="connsiteX169" fmla="*/ 2814545 w 7467600"/>
              <a:gd name="connsiteY169" fmla="*/ 4282955 h 6858000"/>
              <a:gd name="connsiteX170" fmla="*/ 2305292 w 7467600"/>
              <a:gd name="connsiteY170" fmla="*/ 4219492 h 6858000"/>
              <a:gd name="connsiteX171" fmla="*/ 2626982 w 7467600"/>
              <a:gd name="connsiteY171" fmla="*/ 4206450 h 6858000"/>
              <a:gd name="connsiteX172" fmla="*/ 2490617 w 7467600"/>
              <a:gd name="connsiteY172" fmla="*/ 4206951 h 6858000"/>
              <a:gd name="connsiteX173" fmla="*/ 2819869 w 7467600"/>
              <a:gd name="connsiteY173" fmla="*/ 4252936 h 6858000"/>
              <a:gd name="connsiteX174" fmla="*/ 3143018 w 7467600"/>
              <a:gd name="connsiteY174" fmla="*/ 4332698 h 6858000"/>
              <a:gd name="connsiteX175" fmla="*/ 3241520 w 7467600"/>
              <a:gd name="connsiteY175" fmla="*/ 4385112 h 6858000"/>
              <a:gd name="connsiteX176" fmla="*/ 3374575 w 7467600"/>
              <a:gd name="connsiteY176" fmla="*/ 4451517 h 6858000"/>
              <a:gd name="connsiteX177" fmla="*/ 3505221 w 7467600"/>
              <a:gd name="connsiteY177" fmla="*/ 4480757 h 6858000"/>
              <a:gd name="connsiteX178" fmla="*/ 2626982 w 7467600"/>
              <a:gd name="connsiteY178" fmla="*/ 4206450 h 6858000"/>
              <a:gd name="connsiteX179" fmla="*/ 1310106 w 7467600"/>
              <a:gd name="connsiteY179" fmla="*/ 3943217 h 6858000"/>
              <a:gd name="connsiteX180" fmla="*/ 854994 w 7467600"/>
              <a:gd name="connsiteY180" fmla="*/ 4399136 h 6858000"/>
              <a:gd name="connsiteX181" fmla="*/ 742462 w 7467600"/>
              <a:gd name="connsiteY181" fmla="*/ 4594648 h 6858000"/>
              <a:gd name="connsiteX182" fmla="*/ 820602 w 7467600"/>
              <a:gd name="connsiteY182" fmla="*/ 4485915 h 6858000"/>
              <a:gd name="connsiteX183" fmla="*/ 878295 w 7467600"/>
              <a:gd name="connsiteY183" fmla="*/ 4403594 h 6858000"/>
              <a:gd name="connsiteX184" fmla="*/ 1240607 w 7467600"/>
              <a:gd name="connsiteY184" fmla="*/ 4010401 h 6858000"/>
              <a:gd name="connsiteX185" fmla="*/ 1310106 w 7467600"/>
              <a:gd name="connsiteY185" fmla="*/ 3943217 h 6858000"/>
              <a:gd name="connsiteX186" fmla="*/ 1423113 w 7467600"/>
              <a:gd name="connsiteY186" fmla="*/ 3874565 h 6858000"/>
              <a:gd name="connsiteX187" fmla="*/ 1260565 w 7467600"/>
              <a:gd name="connsiteY187" fmla="*/ 4031982 h 6858000"/>
              <a:gd name="connsiteX188" fmla="*/ 901900 w 7467600"/>
              <a:gd name="connsiteY188" fmla="*/ 4421236 h 6858000"/>
              <a:gd name="connsiteX189" fmla="*/ 845044 w 7467600"/>
              <a:gd name="connsiteY189" fmla="*/ 4502436 h 6858000"/>
              <a:gd name="connsiteX190" fmla="*/ 685926 w 7467600"/>
              <a:gd name="connsiteY190" fmla="*/ 4703069 h 6858000"/>
              <a:gd name="connsiteX191" fmla="*/ 684248 w 7467600"/>
              <a:gd name="connsiteY191" fmla="*/ 4706721 h 6858000"/>
              <a:gd name="connsiteX192" fmla="*/ 1423113 w 7467600"/>
              <a:gd name="connsiteY192" fmla="*/ 3874565 h 6858000"/>
              <a:gd name="connsiteX193" fmla="*/ 3316479 w 7467600"/>
              <a:gd name="connsiteY193" fmla="*/ 3872136 h 6858000"/>
              <a:gd name="connsiteX194" fmla="*/ 3546806 w 7467600"/>
              <a:gd name="connsiteY194" fmla="*/ 4356139 h 6858000"/>
              <a:gd name="connsiteX195" fmla="*/ 3364433 w 7467600"/>
              <a:gd name="connsiteY195" fmla="*/ 3953121 h 6858000"/>
              <a:gd name="connsiteX196" fmla="*/ 3316479 w 7467600"/>
              <a:gd name="connsiteY196" fmla="*/ 3872136 h 6858000"/>
              <a:gd name="connsiteX197" fmla="*/ 3291335 w 7467600"/>
              <a:gd name="connsiteY197" fmla="*/ 3767420 h 6858000"/>
              <a:gd name="connsiteX198" fmla="*/ 3390805 w 7467600"/>
              <a:gd name="connsiteY198" fmla="*/ 3937163 h 6858000"/>
              <a:gd name="connsiteX199" fmla="*/ 3579062 w 7467600"/>
              <a:gd name="connsiteY199" fmla="*/ 4359040 h 6858000"/>
              <a:gd name="connsiteX200" fmla="*/ 3467355 w 7467600"/>
              <a:gd name="connsiteY200" fmla="*/ 3988130 h 6858000"/>
              <a:gd name="connsiteX201" fmla="*/ 3310753 w 7467600"/>
              <a:gd name="connsiteY201" fmla="*/ 3787140 h 6858000"/>
              <a:gd name="connsiteX202" fmla="*/ 3291335 w 7467600"/>
              <a:gd name="connsiteY202" fmla="*/ 3767420 h 6858000"/>
              <a:gd name="connsiteX203" fmla="*/ 1635889 w 7467600"/>
              <a:gd name="connsiteY203" fmla="*/ 3709494 h 6858000"/>
              <a:gd name="connsiteX204" fmla="*/ 1634800 w 7467600"/>
              <a:gd name="connsiteY204" fmla="*/ 3731111 h 6858000"/>
              <a:gd name="connsiteX205" fmla="*/ 1635889 w 7467600"/>
              <a:gd name="connsiteY205" fmla="*/ 3709494 h 6858000"/>
              <a:gd name="connsiteX206" fmla="*/ 1510397 w 7467600"/>
              <a:gd name="connsiteY206" fmla="*/ 3684705 h 6858000"/>
              <a:gd name="connsiteX207" fmla="*/ 1146550 w 7467600"/>
              <a:gd name="connsiteY207" fmla="*/ 3802012 h 6858000"/>
              <a:gd name="connsiteX208" fmla="*/ 698834 w 7467600"/>
              <a:gd name="connsiteY208" fmla="*/ 3952272 h 6858000"/>
              <a:gd name="connsiteX209" fmla="*/ 34256 w 7467600"/>
              <a:gd name="connsiteY209" fmla="*/ 4347603 h 6858000"/>
              <a:gd name="connsiteX210" fmla="*/ 527241 w 7467600"/>
              <a:gd name="connsiteY210" fmla="*/ 4065078 h 6858000"/>
              <a:gd name="connsiteX211" fmla="*/ 1510397 w 7467600"/>
              <a:gd name="connsiteY211" fmla="*/ 3684705 h 6858000"/>
              <a:gd name="connsiteX212" fmla="*/ 1313114 w 7467600"/>
              <a:gd name="connsiteY212" fmla="*/ 3655216 h 6858000"/>
              <a:gd name="connsiteX213" fmla="*/ 1109304 w 7467600"/>
              <a:gd name="connsiteY213" fmla="*/ 3669030 h 6858000"/>
              <a:gd name="connsiteX214" fmla="*/ 8129 w 7467600"/>
              <a:gd name="connsiteY214" fmla="*/ 4330519 h 6858000"/>
              <a:gd name="connsiteX215" fmla="*/ 687572 w 7467600"/>
              <a:gd name="connsiteY215" fmla="*/ 3925629 h 6858000"/>
              <a:gd name="connsiteX216" fmla="*/ 1138365 w 7467600"/>
              <a:gd name="connsiteY216" fmla="*/ 3774515 h 6858000"/>
              <a:gd name="connsiteX217" fmla="*/ 1505579 w 7467600"/>
              <a:gd name="connsiteY217" fmla="*/ 3655526 h 6858000"/>
              <a:gd name="connsiteX218" fmla="*/ 1313114 w 7467600"/>
              <a:gd name="connsiteY218" fmla="*/ 3655216 h 6858000"/>
              <a:gd name="connsiteX219" fmla="*/ 3655073 w 7467600"/>
              <a:gd name="connsiteY219" fmla="*/ 3650884 h 6858000"/>
              <a:gd name="connsiteX220" fmla="*/ 3989938 w 7467600"/>
              <a:gd name="connsiteY220" fmla="*/ 3991685 h 6858000"/>
              <a:gd name="connsiteX221" fmla="*/ 4393907 w 7467600"/>
              <a:gd name="connsiteY221" fmla="*/ 4261258 h 6858000"/>
              <a:gd name="connsiteX222" fmla="*/ 4648051 w 7467600"/>
              <a:gd name="connsiteY222" fmla="*/ 4374051 h 6858000"/>
              <a:gd name="connsiteX223" fmla="*/ 4383389 w 7467600"/>
              <a:gd name="connsiteY223" fmla="*/ 4184369 h 6858000"/>
              <a:gd name="connsiteX224" fmla="*/ 4165508 w 7467600"/>
              <a:gd name="connsiteY224" fmla="*/ 4035196 h 6858000"/>
              <a:gd name="connsiteX225" fmla="*/ 4068162 w 7467600"/>
              <a:gd name="connsiteY225" fmla="*/ 3953394 h 6858000"/>
              <a:gd name="connsiteX226" fmla="*/ 3981416 w 7467600"/>
              <a:gd name="connsiteY226" fmla="*/ 3880482 h 6858000"/>
              <a:gd name="connsiteX227" fmla="*/ 3800147 w 7467600"/>
              <a:gd name="connsiteY227" fmla="*/ 3749872 h 6858000"/>
              <a:gd name="connsiteX228" fmla="*/ 3655073 w 7467600"/>
              <a:gd name="connsiteY228" fmla="*/ 3650884 h 6858000"/>
              <a:gd name="connsiteX229" fmla="*/ 3670252 w 7467600"/>
              <a:gd name="connsiteY229" fmla="*/ 3622798 h 6858000"/>
              <a:gd name="connsiteX230" fmla="*/ 3817258 w 7467600"/>
              <a:gd name="connsiteY230" fmla="*/ 3723577 h 6858000"/>
              <a:gd name="connsiteX231" fmla="*/ 4000461 w 7467600"/>
              <a:gd name="connsiteY231" fmla="*/ 3855966 h 6858000"/>
              <a:gd name="connsiteX232" fmla="*/ 4088180 w 7467600"/>
              <a:gd name="connsiteY232" fmla="*/ 3929774 h 6858000"/>
              <a:gd name="connsiteX233" fmla="*/ 4184555 w 7467600"/>
              <a:gd name="connsiteY233" fmla="*/ 4010683 h 6858000"/>
              <a:gd name="connsiteX234" fmla="*/ 4399563 w 7467600"/>
              <a:gd name="connsiteY234" fmla="*/ 4158106 h 6858000"/>
              <a:gd name="connsiteX235" fmla="*/ 4684469 w 7467600"/>
              <a:gd name="connsiteY235" fmla="*/ 4364680 h 6858000"/>
              <a:gd name="connsiteX236" fmla="*/ 4690271 w 7467600"/>
              <a:gd name="connsiteY236" fmla="*/ 4370034 h 6858000"/>
              <a:gd name="connsiteX237" fmla="*/ 4136093 w 7467600"/>
              <a:gd name="connsiteY237" fmla="*/ 3858466 h 6858000"/>
              <a:gd name="connsiteX238" fmla="*/ 3670252 w 7467600"/>
              <a:gd name="connsiteY238" fmla="*/ 3622798 h 6858000"/>
              <a:gd name="connsiteX239" fmla="*/ 4440129 w 7467600"/>
              <a:gd name="connsiteY239" fmla="*/ 3448571 h 6858000"/>
              <a:gd name="connsiteX240" fmla="*/ 4856525 w 7467600"/>
              <a:gd name="connsiteY240" fmla="*/ 3915351 h 6858000"/>
              <a:gd name="connsiteX241" fmla="*/ 5059055 w 7467600"/>
              <a:gd name="connsiteY241" fmla="*/ 4108918 h 6858000"/>
              <a:gd name="connsiteX242" fmla="*/ 5290070 w 7467600"/>
              <a:gd name="connsiteY242" fmla="*/ 4263619 h 6858000"/>
              <a:gd name="connsiteX243" fmla="*/ 4834991 w 7467600"/>
              <a:gd name="connsiteY243" fmla="*/ 3830985 h 6858000"/>
              <a:gd name="connsiteX244" fmla="*/ 4440129 w 7467600"/>
              <a:gd name="connsiteY244" fmla="*/ 3448571 h 6858000"/>
              <a:gd name="connsiteX245" fmla="*/ 4441737 w 7467600"/>
              <a:gd name="connsiteY245" fmla="*/ 3399734 h 6858000"/>
              <a:gd name="connsiteX246" fmla="*/ 4431236 w 7467600"/>
              <a:gd name="connsiteY246" fmla="*/ 3400954 h 6858000"/>
              <a:gd name="connsiteX247" fmla="*/ 4557150 w 7467600"/>
              <a:gd name="connsiteY247" fmla="*/ 3510023 h 6858000"/>
              <a:gd name="connsiteX248" fmla="*/ 4856936 w 7467600"/>
              <a:gd name="connsiteY248" fmla="*/ 3809146 h 6858000"/>
              <a:gd name="connsiteX249" fmla="*/ 5111996 w 7467600"/>
              <a:gd name="connsiteY249" fmla="*/ 4065759 h 6858000"/>
              <a:gd name="connsiteX250" fmla="*/ 5388878 w 7467600"/>
              <a:gd name="connsiteY250" fmla="*/ 4300185 h 6858000"/>
              <a:gd name="connsiteX251" fmla="*/ 5425556 w 7467600"/>
              <a:gd name="connsiteY251" fmla="*/ 4308967 h 6858000"/>
              <a:gd name="connsiteX252" fmla="*/ 4943646 w 7467600"/>
              <a:gd name="connsiteY252" fmla="*/ 3822916 h 6858000"/>
              <a:gd name="connsiteX253" fmla="*/ 4594837 w 7467600"/>
              <a:gd name="connsiteY253" fmla="*/ 3532274 h 6858000"/>
              <a:gd name="connsiteX254" fmla="*/ 4441737 w 7467600"/>
              <a:gd name="connsiteY254" fmla="*/ 3399734 h 6858000"/>
              <a:gd name="connsiteX255" fmla="*/ 5425834 w 7467600"/>
              <a:gd name="connsiteY255" fmla="*/ 3162785 h 6858000"/>
              <a:gd name="connsiteX256" fmla="*/ 5401644 w 7467600"/>
              <a:gd name="connsiteY256" fmla="*/ 3617847 h 6858000"/>
              <a:gd name="connsiteX257" fmla="*/ 5467256 w 7467600"/>
              <a:gd name="connsiteY257" fmla="*/ 4175494 h 6858000"/>
              <a:gd name="connsiteX258" fmla="*/ 5448069 w 7467600"/>
              <a:gd name="connsiteY258" fmla="*/ 3567554 h 6858000"/>
              <a:gd name="connsiteX259" fmla="*/ 5425834 w 7467600"/>
              <a:gd name="connsiteY259" fmla="*/ 3162785 h 6858000"/>
              <a:gd name="connsiteX260" fmla="*/ 1318687 w 7467600"/>
              <a:gd name="connsiteY260" fmla="*/ 3113840 h 6858000"/>
              <a:gd name="connsiteX261" fmla="*/ 1066793 w 7467600"/>
              <a:gd name="connsiteY261" fmla="*/ 3212171 h 6858000"/>
              <a:gd name="connsiteX262" fmla="*/ 993319 w 7467600"/>
              <a:gd name="connsiteY262" fmla="*/ 3247648 h 6858000"/>
              <a:gd name="connsiteX263" fmla="*/ 853081 w 7467600"/>
              <a:gd name="connsiteY263" fmla="*/ 3312410 h 6858000"/>
              <a:gd name="connsiteX264" fmla="*/ 805957 w 7467600"/>
              <a:gd name="connsiteY264" fmla="*/ 3330443 h 6858000"/>
              <a:gd name="connsiteX265" fmla="*/ 1318687 w 7467600"/>
              <a:gd name="connsiteY265" fmla="*/ 3113840 h 6858000"/>
              <a:gd name="connsiteX266" fmla="*/ 5453702 w 7467600"/>
              <a:gd name="connsiteY266" fmla="*/ 3090882 h 6858000"/>
              <a:gd name="connsiteX267" fmla="*/ 5480135 w 7467600"/>
              <a:gd name="connsiteY267" fmla="*/ 3565802 h 6858000"/>
              <a:gd name="connsiteX268" fmla="*/ 5499023 w 7467600"/>
              <a:gd name="connsiteY268" fmla="*/ 4166310 h 6858000"/>
              <a:gd name="connsiteX269" fmla="*/ 5547022 w 7467600"/>
              <a:gd name="connsiteY269" fmla="*/ 3607838 h 6858000"/>
              <a:gd name="connsiteX270" fmla="*/ 5515964 w 7467600"/>
              <a:gd name="connsiteY270" fmla="*/ 3378541 h 6858000"/>
              <a:gd name="connsiteX271" fmla="*/ 5453702 w 7467600"/>
              <a:gd name="connsiteY271" fmla="*/ 3090882 h 6858000"/>
              <a:gd name="connsiteX272" fmla="*/ 1238695 w 7467600"/>
              <a:gd name="connsiteY272" fmla="*/ 3076820 h 6858000"/>
              <a:gd name="connsiteX273" fmla="*/ 716371 w 7467600"/>
              <a:gd name="connsiteY273" fmla="*/ 3293249 h 6858000"/>
              <a:gd name="connsiteX274" fmla="*/ 579522 w 7467600"/>
              <a:gd name="connsiteY274" fmla="*/ 3371759 h 6858000"/>
              <a:gd name="connsiteX275" fmla="*/ 600288 w 7467600"/>
              <a:gd name="connsiteY275" fmla="*/ 3365555 h 6858000"/>
              <a:gd name="connsiteX276" fmla="*/ 840692 w 7467600"/>
              <a:gd name="connsiteY276" fmla="*/ 3284921 h 6858000"/>
              <a:gd name="connsiteX277" fmla="*/ 979248 w 7467600"/>
              <a:gd name="connsiteY277" fmla="*/ 3221003 h 6858000"/>
              <a:gd name="connsiteX278" fmla="*/ 1053282 w 7467600"/>
              <a:gd name="connsiteY278" fmla="*/ 3185247 h 6858000"/>
              <a:gd name="connsiteX279" fmla="*/ 1320603 w 7467600"/>
              <a:gd name="connsiteY279" fmla="*/ 3081281 h 6858000"/>
              <a:gd name="connsiteX280" fmla="*/ 1238695 w 7467600"/>
              <a:gd name="connsiteY280" fmla="*/ 3076820 h 6858000"/>
              <a:gd name="connsiteX281" fmla="*/ 5425627 w 7467600"/>
              <a:gd name="connsiteY281" fmla="*/ 2954192 h 6858000"/>
              <a:gd name="connsiteX282" fmla="*/ 5470770 w 7467600"/>
              <a:gd name="connsiteY282" fmla="*/ 3005435 h 6858000"/>
              <a:gd name="connsiteX283" fmla="*/ 5519779 w 7467600"/>
              <a:gd name="connsiteY283" fmla="*/ 4359223 h 6858000"/>
              <a:gd name="connsiteX284" fmla="*/ 5520293 w 7467600"/>
              <a:gd name="connsiteY284" fmla="*/ 4360602 h 6858000"/>
              <a:gd name="connsiteX285" fmla="*/ 5767221 w 7467600"/>
              <a:gd name="connsiteY285" fmla="*/ 4665564 h 6858000"/>
              <a:gd name="connsiteX286" fmla="*/ 6937169 w 7467600"/>
              <a:gd name="connsiteY286" fmla="*/ 4815941 h 6858000"/>
              <a:gd name="connsiteX287" fmla="*/ 6953922 w 7467600"/>
              <a:gd name="connsiteY287" fmla="*/ 4890068 h 6858000"/>
              <a:gd name="connsiteX288" fmla="*/ 6071359 w 7467600"/>
              <a:gd name="connsiteY288" fmla="*/ 4770770 h 6858000"/>
              <a:gd name="connsiteX289" fmla="*/ 6038839 w 7467600"/>
              <a:gd name="connsiteY289" fmla="*/ 4764474 h 6858000"/>
              <a:gd name="connsiteX290" fmla="*/ 6038706 w 7467600"/>
              <a:gd name="connsiteY290" fmla="*/ 4763847 h 6858000"/>
              <a:gd name="connsiteX291" fmla="*/ 6037784 w 7467600"/>
              <a:gd name="connsiteY291" fmla="*/ 4764270 h 6858000"/>
              <a:gd name="connsiteX292" fmla="*/ 6038839 w 7467600"/>
              <a:gd name="connsiteY292" fmla="*/ 4764474 h 6858000"/>
              <a:gd name="connsiteX293" fmla="*/ 6040338 w 7467600"/>
              <a:gd name="connsiteY293" fmla="*/ 4771418 h 6858000"/>
              <a:gd name="connsiteX294" fmla="*/ 6024488 w 7467600"/>
              <a:gd name="connsiteY294" fmla="*/ 4809903 h 6858000"/>
              <a:gd name="connsiteX295" fmla="*/ 5599771 w 7467600"/>
              <a:gd name="connsiteY295" fmla="*/ 5509652 h 6858000"/>
              <a:gd name="connsiteX296" fmla="*/ 5548843 w 7467600"/>
              <a:gd name="connsiteY296" fmla="*/ 5563845 h 6858000"/>
              <a:gd name="connsiteX297" fmla="*/ 5940952 w 7467600"/>
              <a:gd name="connsiteY297" fmla="*/ 6250028 h 6858000"/>
              <a:gd name="connsiteX298" fmla="*/ 6043441 w 7467600"/>
              <a:gd name="connsiteY298" fmla="*/ 6665847 h 6858000"/>
              <a:gd name="connsiteX299" fmla="*/ 6093432 w 7467600"/>
              <a:gd name="connsiteY299" fmla="*/ 6858000 h 6858000"/>
              <a:gd name="connsiteX300" fmla="*/ 6034344 w 7467600"/>
              <a:gd name="connsiteY300" fmla="*/ 6858000 h 6858000"/>
              <a:gd name="connsiteX301" fmla="*/ 6026679 w 7467600"/>
              <a:gd name="connsiteY301" fmla="*/ 6836959 h 6858000"/>
              <a:gd name="connsiteX302" fmla="*/ 5800441 w 7467600"/>
              <a:gd name="connsiteY302" fmla="*/ 6335286 h 6858000"/>
              <a:gd name="connsiteX303" fmla="*/ 5526562 w 7467600"/>
              <a:gd name="connsiteY303" fmla="*/ 5705388 h 6858000"/>
              <a:gd name="connsiteX304" fmla="*/ 5519640 w 7467600"/>
              <a:gd name="connsiteY304" fmla="*/ 5683774 h 6858000"/>
              <a:gd name="connsiteX305" fmla="*/ 5844559 w 7467600"/>
              <a:gd name="connsiteY305" fmla="*/ 6553349 h 6858000"/>
              <a:gd name="connsiteX306" fmla="*/ 5975994 w 7467600"/>
              <a:gd name="connsiteY306" fmla="*/ 6858000 h 6858000"/>
              <a:gd name="connsiteX307" fmla="*/ 5898547 w 7467600"/>
              <a:gd name="connsiteY307" fmla="*/ 6858000 h 6858000"/>
              <a:gd name="connsiteX308" fmla="*/ 5682041 w 7467600"/>
              <a:gd name="connsiteY308" fmla="*/ 6355860 h 6858000"/>
              <a:gd name="connsiteX309" fmla="*/ 5461758 w 7467600"/>
              <a:gd name="connsiteY309" fmla="*/ 5820220 h 6858000"/>
              <a:gd name="connsiteX310" fmla="*/ 5237282 w 7467600"/>
              <a:gd name="connsiteY310" fmla="*/ 6579086 h 6858000"/>
              <a:gd name="connsiteX311" fmla="*/ 5115009 w 7467600"/>
              <a:gd name="connsiteY311" fmla="*/ 6858000 h 6858000"/>
              <a:gd name="connsiteX312" fmla="*/ 5028074 w 7467600"/>
              <a:gd name="connsiteY312" fmla="*/ 6858000 h 6858000"/>
              <a:gd name="connsiteX313" fmla="*/ 5079508 w 7467600"/>
              <a:gd name="connsiteY313" fmla="*/ 6749074 h 6858000"/>
              <a:gd name="connsiteX314" fmla="*/ 5371846 w 7467600"/>
              <a:gd name="connsiteY314" fmla="*/ 5924413 h 6858000"/>
              <a:gd name="connsiteX315" fmla="*/ 5270512 w 7467600"/>
              <a:gd name="connsiteY315" fmla="*/ 6138975 h 6858000"/>
              <a:gd name="connsiteX316" fmla="*/ 5062409 w 7467600"/>
              <a:gd name="connsiteY316" fmla="*/ 6653544 h 6858000"/>
              <a:gd name="connsiteX317" fmla="*/ 5036628 w 7467600"/>
              <a:gd name="connsiteY317" fmla="*/ 6754247 h 6858000"/>
              <a:gd name="connsiteX318" fmla="*/ 5009112 w 7467600"/>
              <a:gd name="connsiteY318" fmla="*/ 6858000 h 6858000"/>
              <a:gd name="connsiteX319" fmla="*/ 4976679 w 7467600"/>
              <a:gd name="connsiteY319" fmla="*/ 6858000 h 6858000"/>
              <a:gd name="connsiteX320" fmla="*/ 5006537 w 7467600"/>
              <a:gd name="connsiteY320" fmla="*/ 6747068 h 6858000"/>
              <a:gd name="connsiteX321" fmla="*/ 5032723 w 7467600"/>
              <a:gd name="connsiteY321" fmla="*/ 6644957 h 6858000"/>
              <a:gd name="connsiteX322" fmla="*/ 5242949 w 7467600"/>
              <a:gd name="connsiteY322" fmla="*/ 6125175 h 6858000"/>
              <a:gd name="connsiteX323" fmla="*/ 5286321 w 7467600"/>
              <a:gd name="connsiteY323" fmla="*/ 6033555 h 6858000"/>
              <a:gd name="connsiteX324" fmla="*/ 5008210 w 7467600"/>
              <a:gd name="connsiteY324" fmla="*/ 6649194 h 6858000"/>
              <a:gd name="connsiteX325" fmla="*/ 4986321 w 7467600"/>
              <a:gd name="connsiteY325" fmla="*/ 6765687 h 6858000"/>
              <a:gd name="connsiteX326" fmla="*/ 4973474 w 7467600"/>
              <a:gd name="connsiteY326" fmla="*/ 6858000 h 6858000"/>
              <a:gd name="connsiteX327" fmla="*/ 4907178 w 7467600"/>
              <a:gd name="connsiteY327" fmla="*/ 6858000 h 6858000"/>
              <a:gd name="connsiteX328" fmla="*/ 4910810 w 7467600"/>
              <a:gd name="connsiteY328" fmla="*/ 6829660 h 6858000"/>
              <a:gd name="connsiteX329" fmla="*/ 4987461 w 7467600"/>
              <a:gd name="connsiteY329" fmla="*/ 6432994 h 6858000"/>
              <a:gd name="connsiteX330" fmla="*/ 5179262 w 7467600"/>
              <a:gd name="connsiteY330" fmla="*/ 6035044 h 6858000"/>
              <a:gd name="connsiteX331" fmla="*/ 4689678 w 7467600"/>
              <a:gd name="connsiteY331" fmla="*/ 6440241 h 6858000"/>
              <a:gd name="connsiteX332" fmla="*/ 4477543 w 7467600"/>
              <a:gd name="connsiteY332" fmla="*/ 6674836 h 6858000"/>
              <a:gd name="connsiteX333" fmla="*/ 4329957 w 7467600"/>
              <a:gd name="connsiteY333" fmla="*/ 6858000 h 6858000"/>
              <a:gd name="connsiteX334" fmla="*/ 4218595 w 7467600"/>
              <a:gd name="connsiteY334" fmla="*/ 6858000 h 6858000"/>
              <a:gd name="connsiteX335" fmla="*/ 4368888 w 7467600"/>
              <a:gd name="connsiteY335" fmla="*/ 6668412 h 6858000"/>
              <a:gd name="connsiteX336" fmla="*/ 4563091 w 7467600"/>
              <a:gd name="connsiteY336" fmla="*/ 6442508 h 6858000"/>
              <a:gd name="connsiteX337" fmla="*/ 5387324 w 7467600"/>
              <a:gd name="connsiteY337" fmla="*/ 5705830 h 6858000"/>
              <a:gd name="connsiteX338" fmla="*/ 5073620 w 7467600"/>
              <a:gd name="connsiteY338" fmla="*/ 5955437 h 6858000"/>
              <a:gd name="connsiteX339" fmla="*/ 4689789 w 7467600"/>
              <a:gd name="connsiteY339" fmla="*/ 6268382 h 6858000"/>
              <a:gd name="connsiteX340" fmla="*/ 4418722 w 7467600"/>
              <a:gd name="connsiteY340" fmla="*/ 6570886 h 6858000"/>
              <a:gd name="connsiteX341" fmla="*/ 4214944 w 7467600"/>
              <a:gd name="connsiteY341" fmla="*/ 6858000 h 6858000"/>
              <a:gd name="connsiteX342" fmla="*/ 4177898 w 7467600"/>
              <a:gd name="connsiteY342" fmla="*/ 6858000 h 6858000"/>
              <a:gd name="connsiteX343" fmla="*/ 4391597 w 7467600"/>
              <a:gd name="connsiteY343" fmla="*/ 6556370 h 6858000"/>
              <a:gd name="connsiteX344" fmla="*/ 4668889 w 7467600"/>
              <a:gd name="connsiteY344" fmla="*/ 6246399 h 6858000"/>
              <a:gd name="connsiteX345" fmla="*/ 5055427 w 7467600"/>
              <a:gd name="connsiteY345" fmla="*/ 5931476 h 6858000"/>
              <a:gd name="connsiteX346" fmla="*/ 5371814 w 7467600"/>
              <a:gd name="connsiteY346" fmla="*/ 5678975 h 6858000"/>
              <a:gd name="connsiteX347" fmla="*/ 4987918 w 7467600"/>
              <a:gd name="connsiteY347" fmla="*/ 5838701 h 6858000"/>
              <a:gd name="connsiteX348" fmla="*/ 4317146 w 7467600"/>
              <a:gd name="connsiteY348" fmla="*/ 6587716 h 6858000"/>
              <a:gd name="connsiteX349" fmla="*/ 4171627 w 7467600"/>
              <a:gd name="connsiteY349" fmla="*/ 6858000 h 6858000"/>
              <a:gd name="connsiteX350" fmla="*/ 4081585 w 7467600"/>
              <a:gd name="connsiteY350" fmla="*/ 6858000 h 6858000"/>
              <a:gd name="connsiteX351" fmla="*/ 4238603 w 7467600"/>
              <a:gd name="connsiteY351" fmla="*/ 6559341 h 6858000"/>
              <a:gd name="connsiteX352" fmla="*/ 4778333 w 7467600"/>
              <a:gd name="connsiteY352" fmla="*/ 5873626 h 6858000"/>
              <a:gd name="connsiteX353" fmla="*/ 5414185 w 7467600"/>
              <a:gd name="connsiteY353" fmla="*/ 5573882 h 6858000"/>
              <a:gd name="connsiteX354" fmla="*/ 5959648 w 7467600"/>
              <a:gd name="connsiteY354" fmla="*/ 4760797 h 6858000"/>
              <a:gd name="connsiteX355" fmla="*/ 5355019 w 7467600"/>
              <a:gd name="connsiteY355" fmla="*/ 4734672 h 6858000"/>
              <a:gd name="connsiteX356" fmla="*/ 5083565 w 7467600"/>
              <a:gd name="connsiteY356" fmla="*/ 5179121 h 6858000"/>
              <a:gd name="connsiteX357" fmla="*/ 4713577 w 7467600"/>
              <a:gd name="connsiteY357" fmla="*/ 5616803 h 6858000"/>
              <a:gd name="connsiteX358" fmla="*/ 3989559 w 7467600"/>
              <a:gd name="connsiteY358" fmla="*/ 6145945 h 6858000"/>
              <a:gd name="connsiteX359" fmla="*/ 3939824 w 7467600"/>
              <a:gd name="connsiteY359" fmla="*/ 6066900 h 6858000"/>
              <a:gd name="connsiteX360" fmla="*/ 4584537 w 7467600"/>
              <a:gd name="connsiteY360" fmla="*/ 5324826 h 6858000"/>
              <a:gd name="connsiteX361" fmla="*/ 5037105 w 7467600"/>
              <a:gd name="connsiteY361" fmla="*/ 5088765 h 6858000"/>
              <a:gd name="connsiteX362" fmla="*/ 5039930 w 7467600"/>
              <a:gd name="connsiteY362" fmla="*/ 5089585 h 6858000"/>
              <a:gd name="connsiteX363" fmla="*/ 5263764 w 7467600"/>
              <a:gd name="connsiteY363" fmla="*/ 4735525 h 6858000"/>
              <a:gd name="connsiteX364" fmla="*/ 4086300 w 7467600"/>
              <a:gd name="connsiteY364" fmla="*/ 4884599 h 6858000"/>
              <a:gd name="connsiteX365" fmla="*/ 4085485 w 7467600"/>
              <a:gd name="connsiteY365" fmla="*/ 4899070 h 6858000"/>
              <a:gd name="connsiteX366" fmla="*/ 3871915 w 7467600"/>
              <a:gd name="connsiteY366" fmla="*/ 5253645 h 6858000"/>
              <a:gd name="connsiteX367" fmla="*/ 3799374 w 7467600"/>
              <a:gd name="connsiteY367" fmla="*/ 5466127 h 6858000"/>
              <a:gd name="connsiteX368" fmla="*/ 3498850 w 7467600"/>
              <a:gd name="connsiteY368" fmla="*/ 6661888 h 6858000"/>
              <a:gd name="connsiteX369" fmla="*/ 3399216 w 7467600"/>
              <a:gd name="connsiteY369" fmla="*/ 6858000 h 6858000"/>
              <a:gd name="connsiteX370" fmla="*/ 3303688 w 7467600"/>
              <a:gd name="connsiteY370" fmla="*/ 6858000 h 6858000"/>
              <a:gd name="connsiteX371" fmla="*/ 3391774 w 7467600"/>
              <a:gd name="connsiteY371" fmla="*/ 6697181 h 6858000"/>
              <a:gd name="connsiteX372" fmla="*/ 3735540 w 7467600"/>
              <a:gd name="connsiteY372" fmla="*/ 5546923 h 6858000"/>
              <a:gd name="connsiteX373" fmla="*/ 3729438 w 7467600"/>
              <a:gd name="connsiteY373" fmla="*/ 5569058 h 6858000"/>
              <a:gd name="connsiteX374" fmla="*/ 3707782 w 7467600"/>
              <a:gd name="connsiteY374" fmla="*/ 5644908 h 6858000"/>
              <a:gd name="connsiteX375" fmla="*/ 3583827 w 7467600"/>
              <a:gd name="connsiteY375" fmla="*/ 6039215 h 6858000"/>
              <a:gd name="connsiteX376" fmla="*/ 3547861 w 7467600"/>
              <a:gd name="connsiteY376" fmla="*/ 6129609 h 6858000"/>
              <a:gd name="connsiteX377" fmla="*/ 3490905 w 7467600"/>
              <a:gd name="connsiteY377" fmla="*/ 6277660 h 6858000"/>
              <a:gd name="connsiteX378" fmla="*/ 3455859 w 7467600"/>
              <a:gd name="connsiteY378" fmla="*/ 6391301 h 6858000"/>
              <a:gd name="connsiteX379" fmla="*/ 3429112 w 7467600"/>
              <a:gd name="connsiteY379" fmla="*/ 6479469 h 6858000"/>
              <a:gd name="connsiteX380" fmla="*/ 3304862 w 7467600"/>
              <a:gd name="connsiteY380" fmla="*/ 6796476 h 6858000"/>
              <a:gd name="connsiteX381" fmla="*/ 3276071 w 7467600"/>
              <a:gd name="connsiteY381" fmla="*/ 6858000 h 6858000"/>
              <a:gd name="connsiteX382" fmla="*/ 3240805 w 7467600"/>
              <a:gd name="connsiteY382" fmla="*/ 6858000 h 6858000"/>
              <a:gd name="connsiteX383" fmla="*/ 3275917 w 7467600"/>
              <a:gd name="connsiteY383" fmla="*/ 6783192 h 6858000"/>
              <a:gd name="connsiteX384" fmla="*/ 3399358 w 7467600"/>
              <a:gd name="connsiteY384" fmla="*/ 6469011 h 6858000"/>
              <a:gd name="connsiteX385" fmla="*/ 3425650 w 7467600"/>
              <a:gd name="connsiteY385" fmla="*/ 6381333 h 6858000"/>
              <a:gd name="connsiteX386" fmla="*/ 3460661 w 7467600"/>
              <a:gd name="connsiteY386" fmla="*/ 6266763 h 6858000"/>
              <a:gd name="connsiteX387" fmla="*/ 3518021 w 7467600"/>
              <a:gd name="connsiteY387" fmla="*/ 6117298 h 6858000"/>
              <a:gd name="connsiteX388" fmla="*/ 3554035 w 7467600"/>
              <a:gd name="connsiteY388" fmla="*/ 6027832 h 6858000"/>
              <a:gd name="connsiteX389" fmla="*/ 3677174 w 7467600"/>
              <a:gd name="connsiteY389" fmla="*/ 5636351 h 6858000"/>
              <a:gd name="connsiteX390" fmla="*/ 3698819 w 7467600"/>
              <a:gd name="connsiteY390" fmla="*/ 5560503 h 6858000"/>
              <a:gd name="connsiteX391" fmla="*/ 3702094 w 7467600"/>
              <a:gd name="connsiteY391" fmla="*/ 5549194 h 6858000"/>
              <a:gd name="connsiteX392" fmla="*/ 3398355 w 7467600"/>
              <a:gd name="connsiteY392" fmla="*/ 6094603 h 6858000"/>
              <a:gd name="connsiteX393" fmla="*/ 3193941 w 7467600"/>
              <a:gd name="connsiteY393" fmla="*/ 6798775 h 6858000"/>
              <a:gd name="connsiteX394" fmla="*/ 3184140 w 7467600"/>
              <a:gd name="connsiteY394" fmla="*/ 6858000 h 6858000"/>
              <a:gd name="connsiteX395" fmla="*/ 3099978 w 7467600"/>
              <a:gd name="connsiteY395" fmla="*/ 6858000 h 6858000"/>
              <a:gd name="connsiteX396" fmla="*/ 3101556 w 7467600"/>
              <a:gd name="connsiteY396" fmla="*/ 6843337 h 6858000"/>
              <a:gd name="connsiteX397" fmla="*/ 3370162 w 7467600"/>
              <a:gd name="connsiteY397" fmla="*/ 5785550 h 6858000"/>
              <a:gd name="connsiteX398" fmla="*/ 3746477 w 7467600"/>
              <a:gd name="connsiteY398" fmla="*/ 5377889 h 6858000"/>
              <a:gd name="connsiteX399" fmla="*/ 3863399 w 7467600"/>
              <a:gd name="connsiteY399" fmla="*/ 5087257 h 6858000"/>
              <a:gd name="connsiteX400" fmla="*/ 3968712 w 7467600"/>
              <a:gd name="connsiteY400" fmla="*/ 4913989 h 6858000"/>
              <a:gd name="connsiteX401" fmla="*/ 2792390 w 7467600"/>
              <a:gd name="connsiteY401" fmla="*/ 5382974 h 6858000"/>
              <a:gd name="connsiteX402" fmla="*/ 2714982 w 7467600"/>
              <a:gd name="connsiteY402" fmla="*/ 5427051 h 6858000"/>
              <a:gd name="connsiteX403" fmla="*/ 2813361 w 7467600"/>
              <a:gd name="connsiteY403" fmla="*/ 6023912 h 6858000"/>
              <a:gd name="connsiteX404" fmla="*/ 2688430 w 7467600"/>
              <a:gd name="connsiteY404" fmla="*/ 6801564 h 6858000"/>
              <a:gd name="connsiteX405" fmla="*/ 2629626 w 7467600"/>
              <a:gd name="connsiteY405" fmla="*/ 6763394 h 6858000"/>
              <a:gd name="connsiteX406" fmla="*/ 2565328 w 7467600"/>
              <a:gd name="connsiteY406" fmla="*/ 5516399 h 6858000"/>
              <a:gd name="connsiteX407" fmla="*/ 1922999 w 7467600"/>
              <a:gd name="connsiteY407" fmla="*/ 5980343 h 6858000"/>
              <a:gd name="connsiteX408" fmla="*/ 1950261 w 7467600"/>
              <a:gd name="connsiteY408" fmla="*/ 6405858 h 6858000"/>
              <a:gd name="connsiteX409" fmla="*/ 2365554 w 7467600"/>
              <a:gd name="connsiteY409" fmla="*/ 6759107 h 6858000"/>
              <a:gd name="connsiteX410" fmla="*/ 2424142 w 7467600"/>
              <a:gd name="connsiteY410" fmla="*/ 6858000 h 6858000"/>
              <a:gd name="connsiteX411" fmla="*/ 2395994 w 7467600"/>
              <a:gd name="connsiteY411" fmla="*/ 6858000 h 6858000"/>
              <a:gd name="connsiteX412" fmla="*/ 2392863 w 7467600"/>
              <a:gd name="connsiteY412" fmla="*/ 6852964 h 6858000"/>
              <a:gd name="connsiteX413" fmla="*/ 2017589 w 7467600"/>
              <a:gd name="connsiteY413" fmla="*/ 6493982 h 6858000"/>
              <a:gd name="connsiteX414" fmla="*/ 2147336 w 7467600"/>
              <a:gd name="connsiteY414" fmla="*/ 6594052 h 6858000"/>
              <a:gd name="connsiteX415" fmla="*/ 2207047 w 7467600"/>
              <a:gd name="connsiteY415" fmla="*/ 6654540 h 6858000"/>
              <a:gd name="connsiteX416" fmla="*/ 2299106 w 7467600"/>
              <a:gd name="connsiteY416" fmla="*/ 6778931 h 6858000"/>
              <a:gd name="connsiteX417" fmla="*/ 2314430 w 7467600"/>
              <a:gd name="connsiteY417" fmla="*/ 6801144 h 6858000"/>
              <a:gd name="connsiteX418" fmla="*/ 2352406 w 7467600"/>
              <a:gd name="connsiteY418" fmla="*/ 6858000 h 6858000"/>
              <a:gd name="connsiteX419" fmla="*/ 2314492 w 7467600"/>
              <a:gd name="connsiteY419" fmla="*/ 6858000 h 6858000"/>
              <a:gd name="connsiteX420" fmla="*/ 2288095 w 7467600"/>
              <a:gd name="connsiteY420" fmla="*/ 6818030 h 6858000"/>
              <a:gd name="connsiteX421" fmla="*/ 2272768 w 7467600"/>
              <a:gd name="connsiteY421" fmla="*/ 6795822 h 6858000"/>
              <a:gd name="connsiteX422" fmla="*/ 2182715 w 7467600"/>
              <a:gd name="connsiteY422" fmla="*/ 6675071 h 6858000"/>
              <a:gd name="connsiteX423" fmla="*/ 2032061 w 7467600"/>
              <a:gd name="connsiteY423" fmla="*/ 6541380 h 6858000"/>
              <a:gd name="connsiteX424" fmla="*/ 2257220 w 7467600"/>
              <a:gd name="connsiteY424" fmla="*/ 6826257 h 6858000"/>
              <a:gd name="connsiteX425" fmla="*/ 2281324 w 7467600"/>
              <a:gd name="connsiteY425" fmla="*/ 6858000 h 6858000"/>
              <a:gd name="connsiteX426" fmla="*/ 2242860 w 7467600"/>
              <a:gd name="connsiteY426" fmla="*/ 6858000 h 6858000"/>
              <a:gd name="connsiteX427" fmla="*/ 2232818 w 7467600"/>
              <a:gd name="connsiteY427" fmla="*/ 6844926 h 6858000"/>
              <a:gd name="connsiteX428" fmla="*/ 1990172 w 7467600"/>
              <a:gd name="connsiteY428" fmla="*/ 6542121 h 6858000"/>
              <a:gd name="connsiteX429" fmla="*/ 2124090 w 7467600"/>
              <a:gd name="connsiteY429" fmla="*/ 6761017 h 6858000"/>
              <a:gd name="connsiteX430" fmla="*/ 2200380 w 7467600"/>
              <a:gd name="connsiteY430" fmla="*/ 6858000 h 6858000"/>
              <a:gd name="connsiteX431" fmla="*/ 2147507 w 7467600"/>
              <a:gd name="connsiteY431" fmla="*/ 6858000 h 6858000"/>
              <a:gd name="connsiteX432" fmla="*/ 2070668 w 7467600"/>
              <a:gd name="connsiteY432" fmla="*/ 6761520 h 6858000"/>
              <a:gd name="connsiteX433" fmla="*/ 1975142 w 7467600"/>
              <a:gd name="connsiteY433" fmla="*/ 6585570 h 6858000"/>
              <a:gd name="connsiteX434" fmla="*/ 2050035 w 7467600"/>
              <a:gd name="connsiteY434" fmla="*/ 6813345 h 6858000"/>
              <a:gd name="connsiteX435" fmla="*/ 2063025 w 7467600"/>
              <a:gd name="connsiteY435" fmla="*/ 6858000 h 6858000"/>
              <a:gd name="connsiteX436" fmla="*/ 2021675 w 7467600"/>
              <a:gd name="connsiteY436" fmla="*/ 6858000 h 6858000"/>
              <a:gd name="connsiteX437" fmla="*/ 2019308 w 7467600"/>
              <a:gd name="connsiteY437" fmla="*/ 6847118 h 6858000"/>
              <a:gd name="connsiteX438" fmla="*/ 1938835 w 7467600"/>
              <a:gd name="connsiteY438" fmla="*/ 6551160 h 6858000"/>
              <a:gd name="connsiteX439" fmla="*/ 1953230 w 7467600"/>
              <a:gd name="connsiteY439" fmla="*/ 6759699 h 6858000"/>
              <a:gd name="connsiteX440" fmla="*/ 1956763 w 7467600"/>
              <a:gd name="connsiteY440" fmla="*/ 6778191 h 6858000"/>
              <a:gd name="connsiteX441" fmla="*/ 1967925 w 7467600"/>
              <a:gd name="connsiteY441" fmla="*/ 6858000 h 6858000"/>
              <a:gd name="connsiteX442" fmla="*/ 1936622 w 7467600"/>
              <a:gd name="connsiteY442" fmla="*/ 6858000 h 6858000"/>
              <a:gd name="connsiteX443" fmla="*/ 1926261 w 7467600"/>
              <a:gd name="connsiteY443" fmla="*/ 6784064 h 6858000"/>
              <a:gd name="connsiteX444" fmla="*/ 1922724 w 7467600"/>
              <a:gd name="connsiteY444" fmla="*/ 6765577 h 6858000"/>
              <a:gd name="connsiteX445" fmla="*/ 1904650 w 7467600"/>
              <a:gd name="connsiteY445" fmla="*/ 6639616 h 6858000"/>
              <a:gd name="connsiteX446" fmla="*/ 1885273 w 7467600"/>
              <a:gd name="connsiteY446" fmla="*/ 6858000 h 6858000"/>
              <a:gd name="connsiteX447" fmla="*/ 1854363 w 7467600"/>
              <a:gd name="connsiteY447" fmla="*/ 6858000 h 6858000"/>
              <a:gd name="connsiteX448" fmla="*/ 1880391 w 7467600"/>
              <a:gd name="connsiteY448" fmla="*/ 6603796 h 6858000"/>
              <a:gd name="connsiteX449" fmla="*/ 1818273 w 7467600"/>
              <a:gd name="connsiteY449" fmla="*/ 6715729 h 6858000"/>
              <a:gd name="connsiteX450" fmla="*/ 1794691 w 7467600"/>
              <a:gd name="connsiteY450" fmla="*/ 6843239 h 6858000"/>
              <a:gd name="connsiteX451" fmla="*/ 1794914 w 7467600"/>
              <a:gd name="connsiteY451" fmla="*/ 6858000 h 6858000"/>
              <a:gd name="connsiteX452" fmla="*/ 1746128 w 7467600"/>
              <a:gd name="connsiteY452" fmla="*/ 6858000 h 6858000"/>
              <a:gd name="connsiteX453" fmla="*/ 1753934 w 7467600"/>
              <a:gd name="connsiteY453" fmla="*/ 6724796 h 6858000"/>
              <a:gd name="connsiteX454" fmla="*/ 1792053 w 7467600"/>
              <a:gd name="connsiteY454" fmla="*/ 6572396 h 6858000"/>
              <a:gd name="connsiteX455" fmla="*/ 1862248 w 7467600"/>
              <a:gd name="connsiteY455" fmla="*/ 6266397 h 6858000"/>
              <a:gd name="connsiteX456" fmla="*/ 1862250 w 7467600"/>
              <a:gd name="connsiteY456" fmla="*/ 6033531 h 6858000"/>
              <a:gd name="connsiteX457" fmla="*/ 1211999 w 7467600"/>
              <a:gd name="connsiteY457" fmla="*/ 6683610 h 6858000"/>
              <a:gd name="connsiteX458" fmla="*/ 1213266 w 7467600"/>
              <a:gd name="connsiteY458" fmla="*/ 6691947 h 6858000"/>
              <a:gd name="connsiteX459" fmla="*/ 1203370 w 7467600"/>
              <a:gd name="connsiteY459" fmla="*/ 6850676 h 6858000"/>
              <a:gd name="connsiteX460" fmla="*/ 1203671 w 7467600"/>
              <a:gd name="connsiteY460" fmla="*/ 6858000 h 6858000"/>
              <a:gd name="connsiteX461" fmla="*/ 1143180 w 7467600"/>
              <a:gd name="connsiteY461" fmla="*/ 6858000 h 6858000"/>
              <a:gd name="connsiteX462" fmla="*/ 1142176 w 7467600"/>
              <a:gd name="connsiteY462" fmla="*/ 6766045 h 6858000"/>
              <a:gd name="connsiteX463" fmla="*/ 1067484 w 7467600"/>
              <a:gd name="connsiteY463" fmla="*/ 6858000 h 6858000"/>
              <a:gd name="connsiteX464" fmla="*/ 953928 w 7467600"/>
              <a:gd name="connsiteY464" fmla="*/ 6858000 h 6858000"/>
              <a:gd name="connsiteX465" fmla="*/ 959715 w 7467600"/>
              <a:gd name="connsiteY465" fmla="*/ 6850185 h 6858000"/>
              <a:gd name="connsiteX466" fmla="*/ 1483788 w 7467600"/>
              <a:gd name="connsiteY466" fmla="*/ 6259174 h 6858000"/>
              <a:gd name="connsiteX467" fmla="*/ 1100671 w 7467600"/>
              <a:gd name="connsiteY467" fmla="*/ 6252137 h 6858000"/>
              <a:gd name="connsiteX468" fmla="*/ 1090144 w 7467600"/>
              <a:gd name="connsiteY468" fmla="*/ 6256748 h 6858000"/>
              <a:gd name="connsiteX469" fmla="*/ 1095872 w 7467600"/>
              <a:gd name="connsiteY469" fmla="*/ 6271892 h 6858000"/>
              <a:gd name="connsiteX470" fmla="*/ 262785 w 7467600"/>
              <a:gd name="connsiteY470" fmla="*/ 6845450 h 6858000"/>
              <a:gd name="connsiteX471" fmla="*/ 209968 w 7467600"/>
              <a:gd name="connsiteY471" fmla="*/ 6770713 h 6858000"/>
              <a:gd name="connsiteX472" fmla="*/ 873460 w 7467600"/>
              <a:gd name="connsiteY472" fmla="*/ 6253768 h 6858000"/>
              <a:gd name="connsiteX473" fmla="*/ 192686 w 7467600"/>
              <a:gd name="connsiteY473" fmla="*/ 5849257 h 6858000"/>
              <a:gd name="connsiteX474" fmla="*/ 4696 w 7467600"/>
              <a:gd name="connsiteY474" fmla="*/ 5697668 h 6858000"/>
              <a:gd name="connsiteX475" fmla="*/ 0 w 7467600"/>
              <a:gd name="connsiteY475" fmla="*/ 5689984 h 6858000"/>
              <a:gd name="connsiteX476" fmla="*/ 0 w 7467600"/>
              <a:gd name="connsiteY476" fmla="*/ 5513472 h 6858000"/>
              <a:gd name="connsiteX477" fmla="*/ 174101 w 7467600"/>
              <a:gd name="connsiteY477" fmla="*/ 5620277 h 6858000"/>
              <a:gd name="connsiteX478" fmla="*/ 891800 w 7467600"/>
              <a:gd name="connsiteY478" fmla="*/ 6036935 h 6858000"/>
              <a:gd name="connsiteX479" fmla="*/ 1072219 w 7467600"/>
              <a:gd name="connsiteY479" fmla="*/ 6169443 h 6858000"/>
              <a:gd name="connsiteX480" fmla="*/ 1074117 w 7467600"/>
              <a:gd name="connsiteY480" fmla="*/ 6170301 h 6858000"/>
              <a:gd name="connsiteX481" fmla="*/ 1083114 w 7467600"/>
              <a:gd name="connsiteY481" fmla="*/ 6174131 h 6858000"/>
              <a:gd name="connsiteX482" fmla="*/ 1543010 w 7467600"/>
              <a:gd name="connsiteY482" fmla="*/ 6191140 h 6858000"/>
              <a:gd name="connsiteX483" fmla="*/ 1551080 w 7467600"/>
              <a:gd name="connsiteY483" fmla="*/ 6195006 h 6858000"/>
              <a:gd name="connsiteX484" fmla="*/ 2345443 w 7467600"/>
              <a:gd name="connsiteY484" fmla="*/ 5549882 h 6858000"/>
              <a:gd name="connsiteX485" fmla="*/ 1721499 w 7467600"/>
              <a:gd name="connsiteY485" fmla="*/ 5599969 h 6858000"/>
              <a:gd name="connsiteX486" fmla="*/ 767716 w 7467600"/>
              <a:gd name="connsiteY486" fmla="*/ 5472768 h 6858000"/>
              <a:gd name="connsiteX487" fmla="*/ 722147 w 7467600"/>
              <a:gd name="connsiteY487" fmla="*/ 5393091 h 6858000"/>
              <a:gd name="connsiteX488" fmla="*/ 1485552 w 7467600"/>
              <a:gd name="connsiteY488" fmla="*/ 5313202 h 6858000"/>
              <a:gd name="connsiteX489" fmla="*/ 2143004 w 7467600"/>
              <a:gd name="connsiteY489" fmla="*/ 5402420 h 6858000"/>
              <a:gd name="connsiteX490" fmla="*/ 1933391 w 7467600"/>
              <a:gd name="connsiteY490" fmla="*/ 5156971 h 6858000"/>
              <a:gd name="connsiteX491" fmla="*/ 1827118 w 7467600"/>
              <a:gd name="connsiteY491" fmla="*/ 4968410 h 6858000"/>
              <a:gd name="connsiteX492" fmla="*/ 1837349 w 7467600"/>
              <a:gd name="connsiteY492" fmla="*/ 4956357 h 6858000"/>
              <a:gd name="connsiteX493" fmla="*/ 2162835 w 7467600"/>
              <a:gd name="connsiteY493" fmla="*/ 5187853 h 6858000"/>
              <a:gd name="connsiteX494" fmla="*/ 2257167 w 7467600"/>
              <a:gd name="connsiteY494" fmla="*/ 5462123 h 6858000"/>
              <a:gd name="connsiteX495" fmla="*/ 2261598 w 7467600"/>
              <a:gd name="connsiteY495" fmla="*/ 5467998 h 6858000"/>
              <a:gd name="connsiteX496" fmla="*/ 2437177 w 7467600"/>
              <a:gd name="connsiteY496" fmla="*/ 5479608 h 6858000"/>
              <a:gd name="connsiteX497" fmla="*/ 2445247 w 7467600"/>
              <a:gd name="connsiteY497" fmla="*/ 5483476 h 6858000"/>
              <a:gd name="connsiteX498" fmla="*/ 2743626 w 7467600"/>
              <a:gd name="connsiteY498" fmla="*/ 5304819 h 6858000"/>
              <a:gd name="connsiteX499" fmla="*/ 3048102 w 7467600"/>
              <a:gd name="connsiteY499" fmla="*/ 5150595 h 6858000"/>
              <a:gd name="connsiteX500" fmla="*/ 1799414 w 7467600"/>
              <a:gd name="connsiteY500" fmla="*/ 4694732 h 6858000"/>
              <a:gd name="connsiteX501" fmla="*/ 1771735 w 7467600"/>
              <a:gd name="connsiteY501" fmla="*/ 4619929 h 6858000"/>
              <a:gd name="connsiteX502" fmla="*/ 3104273 w 7467600"/>
              <a:gd name="connsiteY502" fmla="*/ 5076159 h 6858000"/>
              <a:gd name="connsiteX503" fmla="*/ 3113245 w 7467600"/>
              <a:gd name="connsiteY503" fmla="*/ 5090705 h 6858000"/>
              <a:gd name="connsiteX504" fmla="*/ 3126294 w 7467600"/>
              <a:gd name="connsiteY504" fmla="*/ 5114400 h 6858000"/>
              <a:gd name="connsiteX505" fmla="*/ 3937433 w 7467600"/>
              <a:gd name="connsiteY505" fmla="*/ 4830473 h 6858000"/>
              <a:gd name="connsiteX506" fmla="*/ 3590475 w 7467600"/>
              <a:gd name="connsiteY506" fmla="*/ 4597974 h 6858000"/>
              <a:gd name="connsiteX507" fmla="*/ 3100264 w 7467600"/>
              <a:gd name="connsiteY507" fmla="*/ 4579845 h 6858000"/>
              <a:gd name="connsiteX508" fmla="*/ 2183576 w 7467600"/>
              <a:gd name="connsiteY508" fmla="*/ 4227150 h 6858000"/>
              <a:gd name="connsiteX509" fmla="*/ 2151029 w 7467600"/>
              <a:gd name="connsiteY509" fmla="*/ 4146947 h 6858000"/>
              <a:gd name="connsiteX510" fmla="*/ 3563434 w 7467600"/>
              <a:gd name="connsiteY510" fmla="*/ 4469115 h 6858000"/>
              <a:gd name="connsiteX511" fmla="*/ 3177952 w 7467600"/>
              <a:gd name="connsiteY511" fmla="*/ 3657386 h 6858000"/>
              <a:gd name="connsiteX512" fmla="*/ 3189263 w 7467600"/>
              <a:gd name="connsiteY512" fmla="*/ 3625726 h 6858000"/>
              <a:gd name="connsiteX513" fmla="*/ 3560912 w 7467600"/>
              <a:gd name="connsiteY513" fmla="*/ 4079863 h 6858000"/>
              <a:gd name="connsiteX514" fmla="*/ 3626636 w 7467600"/>
              <a:gd name="connsiteY514" fmla="*/ 4512230 h 6858000"/>
              <a:gd name="connsiteX515" fmla="*/ 3653088 w 7467600"/>
              <a:gd name="connsiteY515" fmla="*/ 4521417 h 6858000"/>
              <a:gd name="connsiteX516" fmla="*/ 3988128 w 7467600"/>
              <a:gd name="connsiteY516" fmla="*/ 4817267 h 6858000"/>
              <a:gd name="connsiteX517" fmla="*/ 4830582 w 7467600"/>
              <a:gd name="connsiteY517" fmla="*/ 4676000 h 6858000"/>
              <a:gd name="connsiteX518" fmla="*/ 4830100 w 7467600"/>
              <a:gd name="connsiteY518" fmla="*/ 4675554 h 6858000"/>
              <a:gd name="connsiteX519" fmla="*/ 4036318 w 7467600"/>
              <a:gd name="connsiteY519" fmla="*/ 4147013 h 6858000"/>
              <a:gd name="connsiteX520" fmla="*/ 3432098 w 7467600"/>
              <a:gd name="connsiteY520" fmla="*/ 3537312 h 6858000"/>
              <a:gd name="connsiteX521" fmla="*/ 3446761 w 7467600"/>
              <a:gd name="connsiteY521" fmla="*/ 3461278 h 6858000"/>
              <a:gd name="connsiteX522" fmla="*/ 4419733 w 7467600"/>
              <a:gd name="connsiteY522" fmla="*/ 3963555 h 6858000"/>
              <a:gd name="connsiteX523" fmla="*/ 4781371 w 7467600"/>
              <a:gd name="connsiteY523" fmla="*/ 4458604 h 6858000"/>
              <a:gd name="connsiteX524" fmla="*/ 4780440 w 7467600"/>
              <a:gd name="connsiteY524" fmla="*/ 4470290 h 6858000"/>
              <a:gd name="connsiteX525" fmla="*/ 4898954 w 7467600"/>
              <a:gd name="connsiteY525" fmla="*/ 4662092 h 6858000"/>
              <a:gd name="connsiteX526" fmla="*/ 4900699 w 7467600"/>
              <a:gd name="connsiteY526" fmla="*/ 4670867 h 6858000"/>
              <a:gd name="connsiteX527" fmla="*/ 5714511 w 7467600"/>
              <a:gd name="connsiteY527" fmla="*/ 4663483 h 6858000"/>
              <a:gd name="connsiteX528" fmla="*/ 5464793 w 7467600"/>
              <a:gd name="connsiteY528" fmla="*/ 4393556 h 6858000"/>
              <a:gd name="connsiteX529" fmla="*/ 5461897 w 7467600"/>
              <a:gd name="connsiteY529" fmla="*/ 4390879 h 6858000"/>
              <a:gd name="connsiteX530" fmla="*/ 4294126 w 7467600"/>
              <a:gd name="connsiteY530" fmla="*/ 3303048 h 6858000"/>
              <a:gd name="connsiteX531" fmla="*/ 4305321 w 7467600"/>
              <a:gd name="connsiteY531" fmla="*/ 3256953 h 6858000"/>
              <a:gd name="connsiteX532" fmla="*/ 4949299 w 7467600"/>
              <a:gd name="connsiteY532" fmla="*/ 3766336 h 6858000"/>
              <a:gd name="connsiteX533" fmla="*/ 5291452 w 7467600"/>
              <a:gd name="connsiteY533" fmla="*/ 4076801 h 6858000"/>
              <a:gd name="connsiteX534" fmla="*/ 5434998 w 7467600"/>
              <a:gd name="connsiteY534" fmla="*/ 4254100 h 6858000"/>
              <a:gd name="connsiteX535" fmla="*/ 5351015 w 7467600"/>
              <a:gd name="connsiteY535" fmla="*/ 3760989 h 6858000"/>
              <a:gd name="connsiteX536" fmla="*/ 5413780 w 7467600"/>
              <a:gd name="connsiteY536" fmla="*/ 2966265 h 6858000"/>
              <a:gd name="connsiteX537" fmla="*/ 5425627 w 7467600"/>
              <a:gd name="connsiteY537" fmla="*/ 2954192 h 6858000"/>
              <a:gd name="connsiteX538" fmla="*/ 6604735 w 7467600"/>
              <a:gd name="connsiteY538" fmla="*/ 2041381 h 6858000"/>
              <a:gd name="connsiteX539" fmla="*/ 7204487 w 7467600"/>
              <a:gd name="connsiteY539" fmla="*/ 2742112 h 6858000"/>
              <a:gd name="connsiteX540" fmla="*/ 7131592 w 7467600"/>
              <a:gd name="connsiteY540" fmla="*/ 2672096 h 6858000"/>
              <a:gd name="connsiteX541" fmla="*/ 6996344 w 7467600"/>
              <a:gd name="connsiteY541" fmla="*/ 2518310 h 6858000"/>
              <a:gd name="connsiteX542" fmla="*/ 6735495 w 7467600"/>
              <a:gd name="connsiteY542" fmla="*/ 2196890 h 6858000"/>
              <a:gd name="connsiteX543" fmla="*/ 6721901 w 7467600"/>
              <a:gd name="connsiteY543" fmla="*/ 2179274 h 6858000"/>
              <a:gd name="connsiteX544" fmla="*/ 6604735 w 7467600"/>
              <a:gd name="connsiteY544" fmla="*/ 2041381 h 6858000"/>
              <a:gd name="connsiteX545" fmla="*/ 6591670 w 7467600"/>
              <a:gd name="connsiteY545" fmla="*/ 1988277 h 6858000"/>
              <a:gd name="connsiteX546" fmla="*/ 6747349 w 7467600"/>
              <a:gd name="connsiteY546" fmla="*/ 2160069 h 6858000"/>
              <a:gd name="connsiteX547" fmla="*/ 6760943 w 7467600"/>
              <a:gd name="connsiteY547" fmla="*/ 2177686 h 6858000"/>
              <a:gd name="connsiteX548" fmla="*/ 7021065 w 7467600"/>
              <a:gd name="connsiteY548" fmla="*/ 2498102 h 6858000"/>
              <a:gd name="connsiteX549" fmla="*/ 7155223 w 7467600"/>
              <a:gd name="connsiteY549" fmla="*/ 2650386 h 6858000"/>
              <a:gd name="connsiteX550" fmla="*/ 7203167 w 7467600"/>
              <a:gd name="connsiteY550" fmla="*/ 2697288 h 6858000"/>
              <a:gd name="connsiteX551" fmla="*/ 6937703 w 7467600"/>
              <a:gd name="connsiteY551" fmla="*/ 2321981 h 6858000"/>
              <a:gd name="connsiteX552" fmla="*/ 6591670 w 7467600"/>
              <a:gd name="connsiteY552" fmla="*/ 1988277 h 6858000"/>
              <a:gd name="connsiteX553" fmla="*/ 5798671 w 7467600"/>
              <a:gd name="connsiteY553" fmla="*/ 1981601 h 6858000"/>
              <a:gd name="connsiteX554" fmla="*/ 5754709 w 7467600"/>
              <a:gd name="connsiteY554" fmla="*/ 2071454 h 6858000"/>
              <a:gd name="connsiteX555" fmla="*/ 5763044 w 7467600"/>
              <a:gd name="connsiteY555" fmla="*/ 2842206 h 6858000"/>
              <a:gd name="connsiteX556" fmla="*/ 5764974 w 7467600"/>
              <a:gd name="connsiteY556" fmla="*/ 2799609 h 6858000"/>
              <a:gd name="connsiteX557" fmla="*/ 5767665 w 7467600"/>
              <a:gd name="connsiteY557" fmla="*/ 2666409 h 6858000"/>
              <a:gd name="connsiteX558" fmla="*/ 5763055 w 7467600"/>
              <a:gd name="connsiteY558" fmla="*/ 2579705 h 6858000"/>
              <a:gd name="connsiteX559" fmla="*/ 5758079 w 7467600"/>
              <a:gd name="connsiteY559" fmla="*/ 2492508 h 6858000"/>
              <a:gd name="connsiteX560" fmla="*/ 5779325 w 7467600"/>
              <a:gd name="connsiteY560" fmla="*/ 2197069 h 6858000"/>
              <a:gd name="connsiteX561" fmla="*/ 5798671 w 7467600"/>
              <a:gd name="connsiteY561" fmla="*/ 1981601 h 6858000"/>
              <a:gd name="connsiteX562" fmla="*/ 5829202 w 7467600"/>
              <a:gd name="connsiteY562" fmla="*/ 1971679 h 6858000"/>
              <a:gd name="connsiteX563" fmla="*/ 5809558 w 7467600"/>
              <a:gd name="connsiteY563" fmla="*/ 2198043 h 6858000"/>
              <a:gd name="connsiteX564" fmla="*/ 5788653 w 7467600"/>
              <a:gd name="connsiteY564" fmla="*/ 2489430 h 6858000"/>
              <a:gd name="connsiteX565" fmla="*/ 5793439 w 7467600"/>
              <a:gd name="connsiteY565" fmla="*/ 2575235 h 6858000"/>
              <a:gd name="connsiteX566" fmla="*/ 5796837 w 7467600"/>
              <a:gd name="connsiteY566" fmla="*/ 2637633 h 6858000"/>
              <a:gd name="connsiteX567" fmla="*/ 5818614 w 7467600"/>
              <a:gd name="connsiteY567" fmla="*/ 2473055 h 6858000"/>
              <a:gd name="connsiteX568" fmla="*/ 5829202 w 7467600"/>
              <a:gd name="connsiteY568" fmla="*/ 1971679 h 6858000"/>
              <a:gd name="connsiteX569" fmla="*/ 5911389 w 7467600"/>
              <a:gd name="connsiteY569" fmla="*/ 1898371 h 6858000"/>
              <a:gd name="connsiteX570" fmla="*/ 6237627 w 7467600"/>
              <a:gd name="connsiteY570" fmla="*/ 2231921 h 6858000"/>
              <a:gd name="connsiteX571" fmla="*/ 5911389 w 7467600"/>
              <a:gd name="connsiteY571" fmla="*/ 1898371 h 6858000"/>
              <a:gd name="connsiteX572" fmla="*/ 6944437 w 7467600"/>
              <a:gd name="connsiteY572" fmla="*/ 1575402 h 6858000"/>
              <a:gd name="connsiteX573" fmla="*/ 6304730 w 7467600"/>
              <a:gd name="connsiteY573" fmla="*/ 1766654 h 6858000"/>
              <a:gd name="connsiteX574" fmla="*/ 6944437 w 7467600"/>
              <a:gd name="connsiteY574" fmla="*/ 1575402 h 6858000"/>
              <a:gd name="connsiteX575" fmla="*/ 7019523 w 7467600"/>
              <a:gd name="connsiteY575" fmla="*/ 1519450 h 6858000"/>
              <a:gd name="connsiteX576" fmla="*/ 6298091 w 7467600"/>
              <a:gd name="connsiteY576" fmla="*/ 1737122 h 6858000"/>
              <a:gd name="connsiteX577" fmla="*/ 7019523 w 7467600"/>
              <a:gd name="connsiteY577" fmla="*/ 1519450 h 6858000"/>
              <a:gd name="connsiteX578" fmla="*/ 2399523 w 7467600"/>
              <a:gd name="connsiteY578" fmla="*/ 1428234 h 6858000"/>
              <a:gd name="connsiteX579" fmla="*/ 2224982 w 7467600"/>
              <a:gd name="connsiteY579" fmla="*/ 1826201 h 6858000"/>
              <a:gd name="connsiteX580" fmla="*/ 2096099 w 7467600"/>
              <a:gd name="connsiteY580" fmla="*/ 2345900 h 6858000"/>
              <a:gd name="connsiteX581" fmla="*/ 2283317 w 7467600"/>
              <a:gd name="connsiteY581" fmla="*/ 1796925 h 6858000"/>
              <a:gd name="connsiteX582" fmla="*/ 2399523 w 7467600"/>
              <a:gd name="connsiteY582" fmla="*/ 1428234 h 6858000"/>
              <a:gd name="connsiteX583" fmla="*/ 2448558 w 7467600"/>
              <a:gd name="connsiteY583" fmla="*/ 1373435 h 6858000"/>
              <a:gd name="connsiteX584" fmla="*/ 2312521 w 7467600"/>
              <a:gd name="connsiteY584" fmla="*/ 1806140 h 6858000"/>
              <a:gd name="connsiteX585" fmla="*/ 2127533 w 7467600"/>
              <a:gd name="connsiteY585" fmla="*/ 2348380 h 6858000"/>
              <a:gd name="connsiteX586" fmla="*/ 2358080 w 7467600"/>
              <a:gd name="connsiteY586" fmla="*/ 1866134 h 6858000"/>
              <a:gd name="connsiteX587" fmla="*/ 2407436 w 7467600"/>
              <a:gd name="connsiteY587" fmla="*/ 1651070 h 6858000"/>
              <a:gd name="connsiteX588" fmla="*/ 2448558 w 7467600"/>
              <a:gd name="connsiteY588" fmla="*/ 1373435 h 6858000"/>
              <a:gd name="connsiteX589" fmla="*/ 278707 w 7467600"/>
              <a:gd name="connsiteY589" fmla="*/ 1352270 h 6858000"/>
              <a:gd name="connsiteX590" fmla="*/ 321570 w 7467600"/>
              <a:gd name="connsiteY590" fmla="*/ 1861610 h 6858000"/>
              <a:gd name="connsiteX591" fmla="*/ 294281 w 7467600"/>
              <a:gd name="connsiteY591" fmla="*/ 1440658 h 6858000"/>
              <a:gd name="connsiteX592" fmla="*/ 278707 w 7467600"/>
              <a:gd name="connsiteY592" fmla="*/ 1352270 h 6858000"/>
              <a:gd name="connsiteX593" fmla="*/ 1423821 w 7467600"/>
              <a:gd name="connsiteY593" fmla="*/ 1351958 h 6858000"/>
              <a:gd name="connsiteX594" fmla="*/ 1638521 w 7467600"/>
              <a:gd name="connsiteY594" fmla="*/ 1908470 h 6858000"/>
              <a:gd name="connsiteX595" fmla="*/ 1754199 w 7467600"/>
              <a:gd name="connsiteY595" fmla="*/ 2149284 h 6858000"/>
              <a:gd name="connsiteX596" fmla="*/ 1908359 w 7467600"/>
              <a:gd name="connsiteY596" fmla="*/ 2364988 h 6858000"/>
              <a:gd name="connsiteX597" fmla="*/ 1647661 w 7467600"/>
              <a:gd name="connsiteY597" fmla="*/ 1825945 h 6858000"/>
              <a:gd name="connsiteX598" fmla="*/ 1423821 w 7467600"/>
              <a:gd name="connsiteY598" fmla="*/ 1351958 h 6858000"/>
              <a:gd name="connsiteX599" fmla="*/ 1431890 w 7467600"/>
              <a:gd name="connsiteY599" fmla="*/ 1306475 h 6858000"/>
              <a:gd name="connsiteX600" fmla="*/ 1507597 w 7467600"/>
              <a:gd name="connsiteY600" fmla="*/ 1446132 h 6858000"/>
              <a:gd name="connsiteX601" fmla="*/ 1674586 w 7467600"/>
              <a:gd name="connsiteY601" fmla="*/ 1813832 h 6858000"/>
              <a:gd name="connsiteX602" fmla="*/ 1815950 w 7467600"/>
              <a:gd name="connsiteY602" fmla="*/ 2128564 h 6858000"/>
              <a:gd name="connsiteX603" fmla="*/ 1984242 w 7467600"/>
              <a:gd name="connsiteY603" fmla="*/ 2430829 h 6858000"/>
              <a:gd name="connsiteX604" fmla="*/ 2014023 w 7467600"/>
              <a:gd name="connsiteY604" fmla="*/ 2450995 h 6858000"/>
              <a:gd name="connsiteX605" fmla="*/ 1747337 w 7467600"/>
              <a:gd name="connsiteY605" fmla="*/ 1855264 h 6858000"/>
              <a:gd name="connsiteX606" fmla="*/ 1533749 w 7467600"/>
              <a:gd name="connsiteY606" fmla="*/ 1478656 h 6858000"/>
              <a:gd name="connsiteX607" fmla="*/ 1431890 w 7467600"/>
              <a:gd name="connsiteY607" fmla="*/ 1306475 h 6858000"/>
              <a:gd name="connsiteX608" fmla="*/ 5052692 w 7467600"/>
              <a:gd name="connsiteY608" fmla="*/ 1292994 h 6858000"/>
              <a:gd name="connsiteX609" fmla="*/ 5200661 w 7467600"/>
              <a:gd name="connsiteY609" fmla="*/ 1635186 h 6858000"/>
              <a:gd name="connsiteX610" fmla="*/ 5297138 w 7467600"/>
              <a:gd name="connsiteY610" fmla="*/ 1906351 h 6858000"/>
              <a:gd name="connsiteX611" fmla="*/ 5052692 w 7467600"/>
              <a:gd name="connsiteY611" fmla="*/ 1292994 h 6858000"/>
              <a:gd name="connsiteX612" fmla="*/ 5009948 w 7467600"/>
              <a:gd name="connsiteY612" fmla="*/ 1273619 h 6858000"/>
              <a:gd name="connsiteX613" fmla="*/ 5121777 w 7467600"/>
              <a:gd name="connsiteY613" fmla="*/ 1654213 h 6858000"/>
              <a:gd name="connsiteX614" fmla="*/ 5293545 w 7467600"/>
              <a:gd name="connsiteY614" fmla="*/ 2072247 h 6858000"/>
              <a:gd name="connsiteX615" fmla="*/ 5294042 w 7467600"/>
              <a:gd name="connsiteY615" fmla="*/ 2065019 h 6858000"/>
              <a:gd name="connsiteX616" fmla="*/ 5171936 w 7467600"/>
              <a:gd name="connsiteY616" fmla="*/ 1647613 h 6858000"/>
              <a:gd name="connsiteX617" fmla="*/ 5009948 w 7467600"/>
              <a:gd name="connsiteY617" fmla="*/ 1273619 h 6858000"/>
              <a:gd name="connsiteX618" fmla="*/ 655236 w 7467600"/>
              <a:gd name="connsiteY618" fmla="*/ 1268632 h 6858000"/>
              <a:gd name="connsiteX619" fmla="*/ 839521 w 7467600"/>
              <a:gd name="connsiteY619" fmla="*/ 1685315 h 6858000"/>
              <a:gd name="connsiteX620" fmla="*/ 1109416 w 7467600"/>
              <a:gd name="connsiteY620" fmla="*/ 2061663 h 6858000"/>
              <a:gd name="connsiteX621" fmla="*/ 1298300 w 7467600"/>
              <a:gd name="connsiteY621" fmla="*/ 2247742 h 6858000"/>
              <a:gd name="connsiteX622" fmla="*/ 1125871 w 7467600"/>
              <a:gd name="connsiteY622" fmla="*/ 1989513 h 6858000"/>
              <a:gd name="connsiteX623" fmla="*/ 981574 w 7467600"/>
              <a:gd name="connsiteY623" fmla="*/ 1783157 h 6858000"/>
              <a:gd name="connsiteX624" fmla="*/ 922198 w 7467600"/>
              <a:gd name="connsiteY624" fmla="*/ 1677437 h 6858000"/>
              <a:gd name="connsiteX625" fmla="*/ 869293 w 7467600"/>
              <a:gd name="connsiteY625" fmla="*/ 1583214 h 6858000"/>
              <a:gd name="connsiteX626" fmla="*/ 751431 w 7467600"/>
              <a:gd name="connsiteY626" fmla="*/ 1405731 h 6858000"/>
              <a:gd name="connsiteX627" fmla="*/ 655236 w 7467600"/>
              <a:gd name="connsiteY627" fmla="*/ 1268632 h 6858000"/>
              <a:gd name="connsiteX628" fmla="*/ 6516292 w 7467600"/>
              <a:gd name="connsiteY628" fmla="*/ 1263064 h 6858000"/>
              <a:gd name="connsiteX629" fmla="*/ 5736320 w 7467600"/>
              <a:gd name="connsiteY629" fmla="*/ 1501803 h 6858000"/>
              <a:gd name="connsiteX630" fmla="*/ 6516292 w 7467600"/>
              <a:gd name="connsiteY630" fmla="*/ 1263064 h 6858000"/>
              <a:gd name="connsiteX631" fmla="*/ 291466 w 7467600"/>
              <a:gd name="connsiteY631" fmla="*/ 1250369 h 6858000"/>
              <a:gd name="connsiteX632" fmla="*/ 323180 w 7467600"/>
              <a:gd name="connsiteY632" fmla="*/ 1435283 h 6858000"/>
              <a:gd name="connsiteX633" fmla="*/ 349381 w 7467600"/>
              <a:gd name="connsiteY633" fmla="*/ 1875041 h 6858000"/>
              <a:gd name="connsiteX634" fmla="*/ 374363 w 7467600"/>
              <a:gd name="connsiteY634" fmla="*/ 1506494 h 6858000"/>
              <a:gd name="connsiteX635" fmla="*/ 302168 w 7467600"/>
              <a:gd name="connsiteY635" fmla="*/ 1274495 h 6858000"/>
              <a:gd name="connsiteX636" fmla="*/ 291466 w 7467600"/>
              <a:gd name="connsiteY636" fmla="*/ 1250369 h 6858000"/>
              <a:gd name="connsiteX637" fmla="*/ 678222 w 7467600"/>
              <a:gd name="connsiteY637" fmla="*/ 1248670 h 6858000"/>
              <a:gd name="connsiteX638" fmla="*/ 775536 w 7467600"/>
              <a:gd name="connsiteY638" fmla="*/ 1388015 h 6858000"/>
              <a:gd name="connsiteX639" fmla="*/ 894529 w 7467600"/>
              <a:gd name="connsiteY639" fmla="*/ 1567739 h 6858000"/>
              <a:gd name="connsiteX640" fmla="*/ 948000 w 7467600"/>
              <a:gd name="connsiteY640" fmla="*/ 1663088 h 6858000"/>
              <a:gd name="connsiteX641" fmla="*/ 1006812 w 7467600"/>
              <a:gd name="connsiteY641" fmla="*/ 1767683 h 6858000"/>
              <a:gd name="connsiteX642" fmla="*/ 1149133 w 7467600"/>
              <a:gd name="connsiteY642" fmla="*/ 1971513 h 6858000"/>
              <a:gd name="connsiteX643" fmla="*/ 1333952 w 7467600"/>
              <a:gd name="connsiteY643" fmla="*/ 2251620 h 6858000"/>
              <a:gd name="connsiteX644" fmla="*/ 1337329 w 7467600"/>
              <a:gd name="connsiteY644" fmla="*/ 2258350 h 6858000"/>
              <a:gd name="connsiteX645" fmla="*/ 1014726 w 7467600"/>
              <a:gd name="connsiteY645" fmla="*/ 1615556 h 6858000"/>
              <a:gd name="connsiteX646" fmla="*/ 678222 w 7467600"/>
              <a:gd name="connsiteY646" fmla="*/ 1248670 h 6858000"/>
              <a:gd name="connsiteX647" fmla="*/ 6691602 w 7467600"/>
              <a:gd name="connsiteY647" fmla="*/ 1140573 h 6858000"/>
              <a:gd name="connsiteX648" fmla="*/ 6571100 w 7467600"/>
              <a:gd name="connsiteY648" fmla="*/ 1183662 h 6858000"/>
              <a:gd name="connsiteX649" fmla="*/ 6241687 w 7467600"/>
              <a:gd name="connsiteY649" fmla="*/ 1257600 h 6858000"/>
              <a:gd name="connsiteX650" fmla="*/ 5693009 w 7467600"/>
              <a:gd name="connsiteY650" fmla="*/ 1478256 h 6858000"/>
              <a:gd name="connsiteX651" fmla="*/ 6548420 w 7467600"/>
              <a:gd name="connsiteY651" fmla="*/ 1214599 h 6858000"/>
              <a:gd name="connsiteX652" fmla="*/ 6605473 w 7467600"/>
              <a:gd name="connsiteY652" fmla="*/ 1184686 h 6858000"/>
              <a:gd name="connsiteX653" fmla="*/ 6691602 w 7467600"/>
              <a:gd name="connsiteY653" fmla="*/ 1140573 h 6858000"/>
              <a:gd name="connsiteX654" fmla="*/ 4002475 w 7467600"/>
              <a:gd name="connsiteY654" fmla="*/ 1037802 h 6858000"/>
              <a:gd name="connsiteX655" fmla="*/ 4000324 w 7467600"/>
              <a:gd name="connsiteY655" fmla="*/ 1039362 h 6858000"/>
              <a:gd name="connsiteX656" fmla="*/ 4002862 w 7467600"/>
              <a:gd name="connsiteY656" fmla="*/ 1042866 h 6858000"/>
              <a:gd name="connsiteX657" fmla="*/ 4002475 w 7467600"/>
              <a:gd name="connsiteY657" fmla="*/ 1037802 h 6858000"/>
              <a:gd name="connsiteX658" fmla="*/ 506322 w 7467600"/>
              <a:gd name="connsiteY658" fmla="*/ 1020997 h 6858000"/>
              <a:gd name="connsiteX659" fmla="*/ 533068 w 7467600"/>
              <a:gd name="connsiteY659" fmla="*/ 1029409 h 6858000"/>
              <a:gd name="connsiteX660" fmla="*/ 1232525 w 7467600"/>
              <a:gd name="connsiteY660" fmla="*/ 1804675 h 6858000"/>
              <a:gd name="connsiteX661" fmla="*/ 1388858 w 7467600"/>
              <a:gd name="connsiteY661" fmla="*/ 2368011 h 6858000"/>
              <a:gd name="connsiteX662" fmla="*/ 1384098 w 7467600"/>
              <a:gd name="connsiteY662" fmla="*/ 2378125 h 6858000"/>
              <a:gd name="connsiteX663" fmla="*/ 1425393 w 7467600"/>
              <a:gd name="connsiteY663" fmla="*/ 2589124 h 6858000"/>
              <a:gd name="connsiteX664" fmla="*/ 1424001 w 7467600"/>
              <a:gd name="connsiteY664" fmla="*/ 2597541 h 6858000"/>
              <a:gd name="connsiteX665" fmla="*/ 2152729 w 7467600"/>
              <a:gd name="connsiteY665" fmla="*/ 2864487 h 6858000"/>
              <a:gd name="connsiteX666" fmla="*/ 2020609 w 7467600"/>
              <a:gd name="connsiteY666" fmla="*/ 2539671 h 6858000"/>
              <a:gd name="connsiteX667" fmla="*/ 2018920 w 7467600"/>
              <a:gd name="connsiteY667" fmla="*/ 2536309 h 6858000"/>
              <a:gd name="connsiteX668" fmla="*/ 1342441 w 7467600"/>
              <a:gd name="connsiteY668" fmla="*/ 1173017 h 6858000"/>
              <a:gd name="connsiteX669" fmla="*/ 1367925 w 7467600"/>
              <a:gd name="connsiteY669" fmla="*/ 1135648 h 6858000"/>
              <a:gd name="connsiteX670" fmla="*/ 1771401 w 7467600"/>
              <a:gd name="connsiteY670" fmla="*/ 1806673 h 6858000"/>
              <a:gd name="connsiteX671" fmla="*/ 1972385 w 7467600"/>
              <a:gd name="connsiteY671" fmla="*/ 2198735 h 6858000"/>
              <a:gd name="connsiteX672" fmla="*/ 2040892 w 7467600"/>
              <a:gd name="connsiteY672" fmla="*/ 2405205 h 6858000"/>
              <a:gd name="connsiteX673" fmla="*/ 2131689 w 7467600"/>
              <a:gd name="connsiteY673" fmla="*/ 1936926 h 6858000"/>
              <a:gd name="connsiteX674" fmla="*/ 2454820 w 7467600"/>
              <a:gd name="connsiteY674" fmla="*/ 1248808 h 6858000"/>
              <a:gd name="connsiteX675" fmla="*/ 2492512 w 7467600"/>
              <a:gd name="connsiteY675" fmla="*/ 1302920 h 6858000"/>
              <a:gd name="connsiteX676" fmla="*/ 2081216 w 7467600"/>
              <a:gd name="connsiteY676" fmla="*/ 2527513 h 6858000"/>
              <a:gd name="connsiteX677" fmla="*/ 2081211 w 7467600"/>
              <a:gd name="connsiteY677" fmla="*/ 2528916 h 6858000"/>
              <a:gd name="connsiteX678" fmla="*/ 2199067 w 7467600"/>
              <a:gd name="connsiteY678" fmla="*/ 2884061 h 6858000"/>
              <a:gd name="connsiteX679" fmla="*/ 3192586 w 7467600"/>
              <a:gd name="connsiteY679" fmla="*/ 3411496 h 6858000"/>
              <a:gd name="connsiteX680" fmla="*/ 3182620 w 7467600"/>
              <a:gd name="connsiteY680" fmla="*/ 3483279 h 6858000"/>
              <a:gd name="connsiteX681" fmla="*/ 2435119 w 7467600"/>
              <a:gd name="connsiteY681" fmla="*/ 3080173 h 6858000"/>
              <a:gd name="connsiteX682" fmla="*/ 2410152 w 7467600"/>
              <a:gd name="connsiteY682" fmla="*/ 3063751 h 6858000"/>
              <a:gd name="connsiteX683" fmla="*/ 2408099 w 7467600"/>
              <a:gd name="connsiteY683" fmla="*/ 3064403 h 6858000"/>
              <a:gd name="connsiteX684" fmla="*/ 2407218 w 7467600"/>
              <a:gd name="connsiteY684" fmla="*/ 3070324 h 6858000"/>
              <a:gd name="connsiteX685" fmla="*/ 2380138 w 7467600"/>
              <a:gd name="connsiteY685" fmla="*/ 3099341 h 6858000"/>
              <a:gd name="connsiteX686" fmla="*/ 1765923 w 7467600"/>
              <a:gd name="connsiteY686" fmla="*/ 3581043 h 6858000"/>
              <a:gd name="connsiteX687" fmla="*/ 1702258 w 7467600"/>
              <a:gd name="connsiteY687" fmla="*/ 3612286 h 6858000"/>
              <a:gd name="connsiteX688" fmla="*/ 1538370 w 7467600"/>
              <a:gd name="connsiteY688" fmla="*/ 3811804 h 6858000"/>
              <a:gd name="connsiteX689" fmla="*/ 542867 w 7467600"/>
              <a:gd name="connsiteY689" fmla="*/ 4944092 h 6858000"/>
              <a:gd name="connsiteX690" fmla="*/ 515800 w 7467600"/>
              <a:gd name="connsiteY690" fmla="*/ 4862180 h 6858000"/>
              <a:gd name="connsiteX691" fmla="*/ 909145 w 7467600"/>
              <a:gd name="connsiteY691" fmla="*/ 4199225 h 6858000"/>
              <a:gd name="connsiteX692" fmla="*/ 1214067 w 7467600"/>
              <a:gd name="connsiteY692" fmla="*/ 3908561 h 6858000"/>
              <a:gd name="connsiteX693" fmla="*/ 640967 w 7467600"/>
              <a:gd name="connsiteY693" fmla="*/ 4105601 h 6858000"/>
              <a:gd name="connsiteX694" fmla="*/ 112563 w 7467600"/>
              <a:gd name="connsiteY694" fmla="*/ 4396952 h 6858000"/>
              <a:gd name="connsiteX695" fmla="*/ 0 w 7467600"/>
              <a:gd name="connsiteY695" fmla="*/ 4466006 h 6858000"/>
              <a:gd name="connsiteX696" fmla="*/ 0 w 7467600"/>
              <a:gd name="connsiteY696" fmla="*/ 4233763 h 6858000"/>
              <a:gd name="connsiteX697" fmla="*/ 36881 w 7467600"/>
              <a:gd name="connsiteY697" fmla="*/ 4200118 h 6858000"/>
              <a:gd name="connsiteX698" fmla="*/ 910534 w 7467600"/>
              <a:gd name="connsiteY698" fmla="*/ 3629753 h 6858000"/>
              <a:gd name="connsiteX699" fmla="*/ 1578717 w 7467600"/>
              <a:gd name="connsiteY699" fmla="*/ 3575982 h 6858000"/>
              <a:gd name="connsiteX700" fmla="*/ 2338780 w 7467600"/>
              <a:gd name="connsiteY700" fmla="*/ 3033725 h 6858000"/>
              <a:gd name="connsiteX701" fmla="*/ 1807991 w 7467600"/>
              <a:gd name="connsiteY701" fmla="*/ 2807184 h 6858000"/>
              <a:gd name="connsiteX702" fmla="*/ 1416358 w 7467600"/>
              <a:gd name="connsiteY702" fmla="*/ 3112571 h 6858000"/>
              <a:gd name="connsiteX703" fmla="*/ 939066 w 7467600"/>
              <a:gd name="connsiteY703" fmla="*/ 3378798 h 6858000"/>
              <a:gd name="connsiteX704" fmla="*/ 115099 w 7467600"/>
              <a:gd name="connsiteY704" fmla="*/ 3607650 h 6858000"/>
              <a:gd name="connsiteX705" fmla="*/ 97284 w 7467600"/>
              <a:gd name="connsiteY705" fmla="*/ 3520393 h 6858000"/>
              <a:gd name="connsiteX706" fmla="*/ 922050 w 7467600"/>
              <a:gd name="connsiteY706" fmla="*/ 3074867 h 6858000"/>
              <a:gd name="connsiteX707" fmla="*/ 1405265 w 7467600"/>
              <a:gd name="connsiteY707" fmla="*/ 3016319 h 6858000"/>
              <a:gd name="connsiteX708" fmla="*/ 1407512 w 7467600"/>
              <a:gd name="connsiteY708" fmla="*/ 3018001 h 6858000"/>
              <a:gd name="connsiteX709" fmla="*/ 1726266 w 7467600"/>
              <a:gd name="connsiteY709" fmla="*/ 2777274 h 6858000"/>
              <a:gd name="connsiteX710" fmla="*/ 625390 w 7467600"/>
              <a:gd name="connsiteY710" fmla="*/ 2514541 h 6858000"/>
              <a:gd name="connsiteX711" fmla="*/ 619799 w 7467600"/>
              <a:gd name="connsiteY711" fmla="*/ 2527180 h 6858000"/>
              <a:gd name="connsiteX712" fmla="*/ 310030 w 7467600"/>
              <a:gd name="connsiteY712" fmla="*/ 2771818 h 6858000"/>
              <a:gd name="connsiteX713" fmla="*/ 173877 w 7467600"/>
              <a:gd name="connsiteY713" fmla="*/ 2937056 h 6858000"/>
              <a:gd name="connsiteX714" fmla="*/ 77889 w 7467600"/>
              <a:gd name="connsiteY714" fmla="*/ 3138440 h 6858000"/>
              <a:gd name="connsiteX715" fmla="*/ 0 w 7467600"/>
              <a:gd name="connsiteY715" fmla="*/ 3271395 h 6858000"/>
              <a:gd name="connsiteX716" fmla="*/ 0 w 7467600"/>
              <a:gd name="connsiteY716" fmla="*/ 3153002 h 6858000"/>
              <a:gd name="connsiteX717" fmla="*/ 2386 w 7467600"/>
              <a:gd name="connsiteY717" fmla="*/ 3149203 h 6858000"/>
              <a:gd name="connsiteX718" fmla="*/ 89753 w 7467600"/>
              <a:gd name="connsiteY718" fmla="*/ 2987702 h 6858000"/>
              <a:gd name="connsiteX719" fmla="*/ 76869 w 7467600"/>
              <a:gd name="connsiteY719" fmla="*/ 3005404 h 6858000"/>
              <a:gd name="connsiteX720" fmla="*/ 32049 w 7467600"/>
              <a:gd name="connsiteY720" fmla="*/ 3065814 h 6858000"/>
              <a:gd name="connsiteX721" fmla="*/ 0 w 7467600"/>
              <a:gd name="connsiteY721" fmla="*/ 3108744 h 6858000"/>
              <a:gd name="connsiteX722" fmla="*/ 0 w 7467600"/>
              <a:gd name="connsiteY722" fmla="*/ 3058059 h 6858000"/>
              <a:gd name="connsiteX723" fmla="*/ 7610 w 7467600"/>
              <a:gd name="connsiteY723" fmla="*/ 3047889 h 6858000"/>
              <a:gd name="connsiteX724" fmla="*/ 52419 w 7467600"/>
              <a:gd name="connsiteY724" fmla="*/ 2987479 h 6858000"/>
              <a:gd name="connsiteX725" fmla="*/ 59142 w 7467600"/>
              <a:gd name="connsiteY725" fmla="*/ 2978488 h 6858000"/>
              <a:gd name="connsiteX726" fmla="*/ 0 w 7467600"/>
              <a:gd name="connsiteY726" fmla="*/ 3015334 h 6858000"/>
              <a:gd name="connsiteX727" fmla="*/ 0 w 7467600"/>
              <a:gd name="connsiteY727" fmla="*/ 2914286 h 6858000"/>
              <a:gd name="connsiteX728" fmla="*/ 36383 w 7467600"/>
              <a:gd name="connsiteY728" fmla="*/ 2901128 h 6858000"/>
              <a:gd name="connsiteX729" fmla="*/ 156329 w 7467600"/>
              <a:gd name="connsiteY729" fmla="*/ 2840533 h 6858000"/>
              <a:gd name="connsiteX730" fmla="*/ 358355 w 7467600"/>
              <a:gd name="connsiteY730" fmla="*/ 2620471 h 6858000"/>
              <a:gd name="connsiteX731" fmla="*/ 510577 w 7467600"/>
              <a:gd name="connsiteY731" fmla="*/ 2501244 h 6858000"/>
              <a:gd name="connsiteX732" fmla="*/ 211967 w 7467600"/>
              <a:gd name="connsiteY732" fmla="*/ 2479171 h 6858000"/>
              <a:gd name="connsiteX733" fmla="*/ 0 w 7467600"/>
              <a:gd name="connsiteY733" fmla="*/ 2476398 h 6858000"/>
              <a:gd name="connsiteX734" fmla="*/ 0 w 7467600"/>
              <a:gd name="connsiteY734" fmla="*/ 2389189 h 6858000"/>
              <a:gd name="connsiteX735" fmla="*/ 103062 w 7467600"/>
              <a:gd name="connsiteY735" fmla="*/ 2389518 h 6858000"/>
              <a:gd name="connsiteX736" fmla="*/ 510734 w 7467600"/>
              <a:gd name="connsiteY736" fmla="*/ 2416201 h 6858000"/>
              <a:gd name="connsiteX737" fmla="*/ 279257 w 7467600"/>
              <a:gd name="connsiteY737" fmla="*/ 2092102 h 6858000"/>
              <a:gd name="connsiteX738" fmla="*/ 65265 w 7467600"/>
              <a:gd name="connsiteY738" fmla="*/ 2006049 h 6858000"/>
              <a:gd name="connsiteX739" fmla="*/ 0 w 7467600"/>
              <a:gd name="connsiteY739" fmla="*/ 1982532 h 6858000"/>
              <a:gd name="connsiteX740" fmla="*/ 0 w 7467600"/>
              <a:gd name="connsiteY740" fmla="*/ 1912789 h 6858000"/>
              <a:gd name="connsiteX741" fmla="*/ 97460 w 7467600"/>
              <a:gd name="connsiteY741" fmla="*/ 1953725 h 6858000"/>
              <a:gd name="connsiteX742" fmla="*/ 221272 w 7467600"/>
              <a:gd name="connsiteY742" fmla="*/ 1980766 h 6858000"/>
              <a:gd name="connsiteX743" fmla="*/ 116765 w 7467600"/>
              <a:gd name="connsiteY743" fmla="*/ 1911033 h 6858000"/>
              <a:gd name="connsiteX744" fmla="*/ 16405 w 7467600"/>
              <a:gd name="connsiteY744" fmla="*/ 1803412 h 6858000"/>
              <a:gd name="connsiteX745" fmla="*/ 0 w 7467600"/>
              <a:gd name="connsiteY745" fmla="*/ 1784777 h 6858000"/>
              <a:gd name="connsiteX746" fmla="*/ 0 w 7467600"/>
              <a:gd name="connsiteY746" fmla="*/ 1740082 h 6858000"/>
              <a:gd name="connsiteX747" fmla="*/ 39394 w 7467600"/>
              <a:gd name="connsiteY747" fmla="*/ 1784856 h 6858000"/>
              <a:gd name="connsiteX748" fmla="*/ 135813 w 7467600"/>
              <a:gd name="connsiteY748" fmla="*/ 1888838 h 6858000"/>
              <a:gd name="connsiteX749" fmla="*/ 242575 w 7467600"/>
              <a:gd name="connsiteY749" fmla="*/ 1958841 h 6858000"/>
              <a:gd name="connsiteX750" fmla="*/ 82197 w 7467600"/>
              <a:gd name="connsiteY750" fmla="*/ 1754826 h 6858000"/>
              <a:gd name="connsiteX751" fmla="*/ 0 w 7467600"/>
              <a:gd name="connsiteY751" fmla="*/ 1679650 h 6858000"/>
              <a:gd name="connsiteX752" fmla="*/ 0 w 7467600"/>
              <a:gd name="connsiteY752" fmla="*/ 1602463 h 6858000"/>
              <a:gd name="connsiteX753" fmla="*/ 84689 w 7467600"/>
              <a:gd name="connsiteY753" fmla="*/ 1677442 h 6858000"/>
              <a:gd name="connsiteX754" fmla="*/ 298437 w 7467600"/>
              <a:gd name="connsiteY754" fmla="*/ 1968019 h 6858000"/>
              <a:gd name="connsiteX755" fmla="*/ 227269 w 7467600"/>
              <a:gd name="connsiteY755" fmla="*/ 1114064 h 6858000"/>
              <a:gd name="connsiteX756" fmla="*/ 248003 w 7467600"/>
              <a:gd name="connsiteY756" fmla="*/ 1089613 h 6858000"/>
              <a:gd name="connsiteX757" fmla="*/ 427020 w 7467600"/>
              <a:gd name="connsiteY757" fmla="*/ 1619803 h 6858000"/>
              <a:gd name="connsiteX758" fmla="*/ 340345 w 7467600"/>
              <a:gd name="connsiteY758" fmla="*/ 2027739 h 6858000"/>
              <a:gd name="connsiteX759" fmla="*/ 360865 w 7467600"/>
              <a:gd name="connsiteY759" fmla="*/ 2044827 h 6858000"/>
              <a:gd name="connsiteX760" fmla="*/ 560414 w 7467600"/>
              <a:gd name="connsiteY760" fmla="*/ 2421457 h 6858000"/>
              <a:gd name="connsiteX761" fmla="*/ 1359703 w 7467600"/>
              <a:gd name="connsiteY761" fmla="*/ 2578554 h 6858000"/>
              <a:gd name="connsiteX762" fmla="*/ 1359422 w 7467600"/>
              <a:gd name="connsiteY762" fmla="*/ 2577994 h 6858000"/>
              <a:gd name="connsiteX763" fmla="*/ 828701 w 7467600"/>
              <a:gd name="connsiteY763" fmla="*/ 1839520 h 6858000"/>
              <a:gd name="connsiteX764" fmla="*/ 494427 w 7467600"/>
              <a:gd name="connsiteY764" fmla="*/ 1092333 h 6858000"/>
              <a:gd name="connsiteX765" fmla="*/ 506322 w 7467600"/>
              <a:gd name="connsiteY765" fmla="*/ 1020997 h 6858000"/>
              <a:gd name="connsiteX766" fmla="*/ 4570198 w 7467600"/>
              <a:gd name="connsiteY766" fmla="*/ 978081 h 6858000"/>
              <a:gd name="connsiteX767" fmla="*/ 4523691 w 7467600"/>
              <a:gd name="connsiteY767" fmla="*/ 1127776 h 6858000"/>
              <a:gd name="connsiteX768" fmla="*/ 4509875 w 7467600"/>
              <a:gd name="connsiteY768" fmla="*/ 1167552 h 6858000"/>
              <a:gd name="connsiteX769" fmla="*/ 4478168 w 7467600"/>
              <a:gd name="connsiteY769" fmla="*/ 1260735 h 6858000"/>
              <a:gd name="connsiteX770" fmla="*/ 4409309 w 7467600"/>
              <a:gd name="connsiteY770" fmla="*/ 1666996 h 6858000"/>
              <a:gd name="connsiteX771" fmla="*/ 4370031 w 7467600"/>
              <a:gd name="connsiteY771" fmla="*/ 1955666 h 6858000"/>
              <a:gd name="connsiteX772" fmla="*/ 4570198 w 7467600"/>
              <a:gd name="connsiteY772" fmla="*/ 978081 h 6858000"/>
              <a:gd name="connsiteX773" fmla="*/ 4557898 w 7467600"/>
              <a:gd name="connsiteY773" fmla="*/ 900011 h 6858000"/>
              <a:gd name="connsiteX774" fmla="*/ 4344840 w 7467600"/>
              <a:gd name="connsiteY774" fmla="*/ 1922038 h 6858000"/>
              <a:gd name="connsiteX775" fmla="*/ 4378710 w 7467600"/>
              <a:gd name="connsiteY775" fmla="*/ 1665516 h 6858000"/>
              <a:gd name="connsiteX776" fmla="*/ 4448798 w 7467600"/>
              <a:gd name="connsiteY776" fmla="*/ 1253024 h 6858000"/>
              <a:gd name="connsiteX777" fmla="*/ 4480315 w 7467600"/>
              <a:gd name="connsiteY777" fmla="*/ 1158454 h 6858000"/>
              <a:gd name="connsiteX778" fmla="*/ 4494133 w 7467600"/>
              <a:gd name="connsiteY778" fmla="*/ 1118676 h 6858000"/>
              <a:gd name="connsiteX779" fmla="*/ 4557898 w 7467600"/>
              <a:gd name="connsiteY779" fmla="*/ 900011 h 6858000"/>
              <a:gd name="connsiteX780" fmla="*/ 5870151 w 7467600"/>
              <a:gd name="connsiteY780" fmla="*/ 898890 h 6858000"/>
              <a:gd name="connsiteX781" fmla="*/ 5861335 w 7467600"/>
              <a:gd name="connsiteY781" fmla="*/ 899177 h 6858000"/>
              <a:gd name="connsiteX782" fmla="*/ 5843702 w 7467600"/>
              <a:gd name="connsiteY782" fmla="*/ 899748 h 6858000"/>
              <a:gd name="connsiteX783" fmla="*/ 5651107 w 7467600"/>
              <a:gd name="connsiteY783" fmla="*/ 920306 h 6858000"/>
              <a:gd name="connsiteX784" fmla="*/ 5459407 w 7467600"/>
              <a:gd name="connsiteY784" fmla="*/ 940975 h 6858000"/>
              <a:gd name="connsiteX785" fmla="*/ 5374846 w 7467600"/>
              <a:gd name="connsiteY785" fmla="*/ 941988 h 6858000"/>
              <a:gd name="connsiteX786" fmla="*/ 5256105 w 7467600"/>
              <a:gd name="connsiteY786" fmla="*/ 945632 h 6858000"/>
              <a:gd name="connsiteX787" fmla="*/ 5107071 w 7467600"/>
              <a:gd name="connsiteY787" fmla="*/ 969720 h 6858000"/>
              <a:gd name="connsiteX788" fmla="*/ 4998681 w 7467600"/>
              <a:gd name="connsiteY788" fmla="*/ 988771 h 6858000"/>
              <a:gd name="connsiteX789" fmla="*/ 5870151 w 7467600"/>
              <a:gd name="connsiteY789" fmla="*/ 898890 h 6858000"/>
              <a:gd name="connsiteX790" fmla="*/ 5504425 w 7467600"/>
              <a:gd name="connsiteY790" fmla="*/ 848067 h 6858000"/>
              <a:gd name="connsiteX791" fmla="*/ 4968849 w 7467600"/>
              <a:gd name="connsiteY791" fmla="*/ 962318 h 6858000"/>
              <a:gd name="connsiteX792" fmla="*/ 5104039 w 7467600"/>
              <a:gd name="connsiteY792" fmla="*/ 940634 h 6858000"/>
              <a:gd name="connsiteX793" fmla="*/ 5256311 w 7467600"/>
              <a:gd name="connsiteY793" fmla="*/ 916490 h 6858000"/>
              <a:gd name="connsiteX794" fmla="*/ 5377381 w 7467600"/>
              <a:gd name="connsiteY794" fmla="*/ 912671 h 6858000"/>
              <a:gd name="connsiteX795" fmla="*/ 5460148 w 7467600"/>
              <a:gd name="connsiteY795" fmla="*/ 911442 h 6858000"/>
              <a:gd name="connsiteX796" fmla="*/ 5648971 w 7467600"/>
              <a:gd name="connsiteY796" fmla="*/ 891331 h 6858000"/>
              <a:gd name="connsiteX797" fmla="*/ 5844807 w 7467600"/>
              <a:gd name="connsiteY797" fmla="*/ 870718 h 6858000"/>
              <a:gd name="connsiteX798" fmla="*/ 5862975 w 7467600"/>
              <a:gd name="connsiteY798" fmla="*/ 869756 h 6858000"/>
              <a:gd name="connsiteX799" fmla="*/ 5920887 w 7467600"/>
              <a:gd name="connsiteY799" fmla="*/ 865929 h 6858000"/>
              <a:gd name="connsiteX800" fmla="*/ 5504425 w 7467600"/>
              <a:gd name="connsiteY800" fmla="*/ 848067 h 6858000"/>
              <a:gd name="connsiteX801" fmla="*/ 3607114 w 7467600"/>
              <a:gd name="connsiteY801" fmla="*/ 467441 h 6858000"/>
              <a:gd name="connsiteX802" fmla="*/ 3296242 w 7467600"/>
              <a:gd name="connsiteY802" fmla="*/ 807991 h 6858000"/>
              <a:gd name="connsiteX803" fmla="*/ 3174674 w 7467600"/>
              <a:gd name="connsiteY803" fmla="*/ 919759 h 6858000"/>
              <a:gd name="connsiteX804" fmla="*/ 3042978 w 7467600"/>
              <a:gd name="connsiteY804" fmla="*/ 1054894 h 6858000"/>
              <a:gd name="connsiteX805" fmla="*/ 2968914 w 7467600"/>
              <a:gd name="connsiteY805" fmla="*/ 1133756 h 6858000"/>
              <a:gd name="connsiteX806" fmla="*/ 3103823 w 7467600"/>
              <a:gd name="connsiteY806" fmla="*/ 1026814 h 6858000"/>
              <a:gd name="connsiteX807" fmla="*/ 3607114 w 7467600"/>
              <a:gd name="connsiteY807" fmla="*/ 467441 h 6858000"/>
              <a:gd name="connsiteX808" fmla="*/ 3744487 w 7467600"/>
              <a:gd name="connsiteY808" fmla="*/ 383136 h 6858000"/>
              <a:gd name="connsiteX809" fmla="*/ 3970213 w 7467600"/>
              <a:gd name="connsiteY809" fmla="*/ 995559 h 6858000"/>
              <a:gd name="connsiteX810" fmla="*/ 3744487 w 7467600"/>
              <a:gd name="connsiteY810" fmla="*/ 383136 h 6858000"/>
              <a:gd name="connsiteX811" fmla="*/ 3624562 w 7467600"/>
              <a:gd name="connsiteY811" fmla="*/ 367041 h 6858000"/>
              <a:gd name="connsiteX812" fmla="*/ 3489712 w 7467600"/>
              <a:gd name="connsiteY812" fmla="*/ 485386 h 6858000"/>
              <a:gd name="connsiteX813" fmla="*/ 3182994 w 7467600"/>
              <a:gd name="connsiteY813" fmla="*/ 828265 h 6858000"/>
              <a:gd name="connsiteX814" fmla="*/ 2892114 w 7467600"/>
              <a:gd name="connsiteY814" fmla="*/ 1172635 h 6858000"/>
              <a:gd name="connsiteX815" fmla="*/ 3021459 w 7467600"/>
              <a:gd name="connsiteY815" fmla="*/ 1035385 h 6858000"/>
              <a:gd name="connsiteX816" fmla="*/ 3153873 w 7467600"/>
              <a:gd name="connsiteY816" fmla="*/ 898971 h 6858000"/>
              <a:gd name="connsiteX817" fmla="*/ 3276511 w 7467600"/>
              <a:gd name="connsiteY817" fmla="*/ 786423 h 6858000"/>
              <a:gd name="connsiteX818" fmla="*/ 3584154 w 7467600"/>
              <a:gd name="connsiteY818" fmla="*/ 448218 h 6858000"/>
              <a:gd name="connsiteX819" fmla="*/ 3624562 w 7467600"/>
              <a:gd name="connsiteY819" fmla="*/ 367041 h 6858000"/>
              <a:gd name="connsiteX820" fmla="*/ 3766672 w 7467600"/>
              <a:gd name="connsiteY820" fmla="*/ 359429 h 6858000"/>
              <a:gd name="connsiteX821" fmla="*/ 3996338 w 7467600"/>
              <a:gd name="connsiteY821" fmla="*/ 968237 h 6858000"/>
              <a:gd name="connsiteX822" fmla="*/ 3766672 w 7467600"/>
              <a:gd name="connsiteY822" fmla="*/ 359429 h 6858000"/>
              <a:gd name="connsiteX823" fmla="*/ 5805386 w 7467600"/>
              <a:gd name="connsiteY823" fmla="*/ 239240 h 6858000"/>
              <a:gd name="connsiteX824" fmla="*/ 5736947 w 7467600"/>
              <a:gd name="connsiteY824" fmla="*/ 261367 h 6858000"/>
              <a:gd name="connsiteX825" fmla="*/ 5427012 w 7467600"/>
              <a:gd name="connsiteY825" fmla="*/ 311272 h 6858000"/>
              <a:gd name="connsiteX826" fmla="*/ 5147818 w 7467600"/>
              <a:gd name="connsiteY826" fmla="*/ 322112 h 6858000"/>
              <a:gd name="connsiteX827" fmla="*/ 5060854 w 7467600"/>
              <a:gd name="connsiteY827" fmla="*/ 311882 h 6858000"/>
              <a:gd name="connsiteX828" fmla="*/ 4945989 w 7467600"/>
              <a:gd name="connsiteY828" fmla="*/ 300516 h 6858000"/>
              <a:gd name="connsiteX829" fmla="*/ 5410479 w 7467600"/>
              <a:gd name="connsiteY829" fmla="*/ 348434 h 6858000"/>
              <a:gd name="connsiteX830" fmla="*/ 5805386 w 7467600"/>
              <a:gd name="connsiteY830" fmla="*/ 239240 h 6858000"/>
              <a:gd name="connsiteX831" fmla="*/ 5905192 w 7467600"/>
              <a:gd name="connsiteY831" fmla="*/ 163079 h 6858000"/>
              <a:gd name="connsiteX832" fmla="*/ 5865655 w 7467600"/>
              <a:gd name="connsiteY832" fmla="*/ 171901 h 6858000"/>
              <a:gd name="connsiteX833" fmla="*/ 5259740 w 7467600"/>
              <a:gd name="connsiteY833" fmla="*/ 257013 h 6858000"/>
              <a:gd name="connsiteX834" fmla="*/ 5208466 w 7467600"/>
              <a:gd name="connsiteY834" fmla="*/ 257550 h 6858000"/>
              <a:gd name="connsiteX835" fmla="*/ 4980204 w 7467600"/>
              <a:gd name="connsiteY835" fmla="*/ 271903 h 6858000"/>
              <a:gd name="connsiteX836" fmla="*/ 5068068 w 7467600"/>
              <a:gd name="connsiteY836" fmla="*/ 282244 h 6858000"/>
              <a:gd name="connsiteX837" fmla="*/ 5153231 w 7467600"/>
              <a:gd name="connsiteY837" fmla="*/ 292240 h 6858000"/>
              <a:gd name="connsiteX838" fmla="*/ 5426491 w 7467600"/>
              <a:gd name="connsiteY838" fmla="*/ 281128 h 6858000"/>
              <a:gd name="connsiteX839" fmla="*/ 5731212 w 7467600"/>
              <a:gd name="connsiteY839" fmla="*/ 231951 h 6858000"/>
              <a:gd name="connsiteX840" fmla="*/ 5905192 w 7467600"/>
              <a:gd name="connsiteY840" fmla="*/ 163079 h 6858000"/>
              <a:gd name="connsiteX841" fmla="*/ 5944437 w 7467600"/>
              <a:gd name="connsiteY841" fmla="*/ 113829 h 6858000"/>
              <a:gd name="connsiteX842" fmla="*/ 5825032 w 7467600"/>
              <a:gd name="connsiteY842" fmla="*/ 146405 h 6858000"/>
              <a:gd name="connsiteX843" fmla="*/ 4955599 w 7467600"/>
              <a:gd name="connsiteY843" fmla="*/ 247008 h 6858000"/>
              <a:gd name="connsiteX844" fmla="*/ 5210104 w 7467600"/>
              <a:gd name="connsiteY844" fmla="*/ 228123 h 6858000"/>
              <a:gd name="connsiteX845" fmla="*/ 5261015 w 7467600"/>
              <a:gd name="connsiteY845" fmla="*/ 227087 h 6858000"/>
              <a:gd name="connsiteX846" fmla="*/ 5861181 w 7467600"/>
              <a:gd name="connsiteY846" fmla="*/ 143093 h 6858000"/>
              <a:gd name="connsiteX847" fmla="*/ 5961252 w 7467600"/>
              <a:gd name="connsiteY847" fmla="*/ 114820 h 6858000"/>
              <a:gd name="connsiteX848" fmla="*/ 5944437 w 7467600"/>
              <a:gd name="connsiteY848" fmla="*/ 113829 h 6858000"/>
              <a:gd name="connsiteX849" fmla="*/ 3882765 w 7467600"/>
              <a:gd name="connsiteY849" fmla="*/ 0 h 6858000"/>
              <a:gd name="connsiteX850" fmla="*/ 3995099 w 7467600"/>
              <a:gd name="connsiteY850" fmla="*/ 0 h 6858000"/>
              <a:gd name="connsiteX851" fmla="*/ 4163818 w 7467600"/>
              <a:gd name="connsiteY851" fmla="*/ 234104 h 6858000"/>
              <a:gd name="connsiteX852" fmla="*/ 4172099 w 7467600"/>
              <a:gd name="connsiteY852" fmla="*/ 234207 h 6858000"/>
              <a:gd name="connsiteX853" fmla="*/ 4784282 w 7467600"/>
              <a:gd name="connsiteY853" fmla="*/ 276561 h 6858000"/>
              <a:gd name="connsiteX854" fmla="*/ 4801687 w 7467600"/>
              <a:gd name="connsiteY854" fmla="*/ 267764 h 6858000"/>
              <a:gd name="connsiteX855" fmla="*/ 6082788 w 7467600"/>
              <a:gd name="connsiteY855" fmla="*/ 64119 h 6858000"/>
              <a:gd name="connsiteX856" fmla="*/ 6099442 w 7467600"/>
              <a:gd name="connsiteY856" fmla="*/ 82568 h 6858000"/>
              <a:gd name="connsiteX857" fmla="*/ 4804137 w 7467600"/>
              <a:gd name="connsiteY857" fmla="*/ 320931 h 6858000"/>
              <a:gd name="connsiteX858" fmla="*/ 4227047 w 7467600"/>
              <a:gd name="connsiteY858" fmla="*/ 313415 h 6858000"/>
              <a:gd name="connsiteX859" fmla="*/ 4346041 w 7467600"/>
              <a:gd name="connsiteY859" fmla="*/ 456086 h 6858000"/>
              <a:gd name="connsiteX860" fmla="*/ 4870967 w 7467600"/>
              <a:gd name="connsiteY860" fmla="*/ 963061 h 6858000"/>
              <a:gd name="connsiteX861" fmla="*/ 4889647 w 7467600"/>
              <a:gd name="connsiteY861" fmla="*/ 957147 h 6858000"/>
              <a:gd name="connsiteX862" fmla="*/ 5422504 w 7467600"/>
              <a:gd name="connsiteY862" fmla="*/ 805191 h 6858000"/>
              <a:gd name="connsiteX863" fmla="*/ 6087656 w 7467600"/>
              <a:gd name="connsiteY863" fmla="*/ 826703 h 6858000"/>
              <a:gd name="connsiteX864" fmla="*/ 6058717 w 7467600"/>
              <a:gd name="connsiteY864" fmla="*/ 865992 h 6858000"/>
              <a:gd name="connsiteX865" fmla="*/ 4974153 w 7467600"/>
              <a:gd name="connsiteY865" fmla="*/ 1045456 h 6858000"/>
              <a:gd name="connsiteX866" fmla="*/ 5627835 w 7467600"/>
              <a:gd name="connsiteY866" fmla="*/ 1472077 h 6858000"/>
              <a:gd name="connsiteX867" fmla="*/ 5629817 w 7467600"/>
              <a:gd name="connsiteY867" fmla="*/ 1471412 h 6858000"/>
              <a:gd name="connsiteX868" fmla="*/ 5634124 w 7467600"/>
              <a:gd name="connsiteY868" fmla="*/ 1470572 h 6858000"/>
              <a:gd name="connsiteX869" fmla="*/ 5755832 w 7467600"/>
              <a:gd name="connsiteY869" fmla="*/ 1383886 h 6858000"/>
              <a:gd name="connsiteX870" fmla="*/ 6014186 w 7467600"/>
              <a:gd name="connsiteY870" fmla="*/ 1279799 h 6858000"/>
              <a:gd name="connsiteX871" fmla="*/ 6901619 w 7467600"/>
              <a:gd name="connsiteY871" fmla="*/ 1047874 h 6858000"/>
              <a:gd name="connsiteX872" fmla="*/ 6931566 w 7467600"/>
              <a:gd name="connsiteY872" fmla="*/ 1062034 h 6858000"/>
              <a:gd name="connsiteX873" fmla="*/ 5790982 w 7467600"/>
              <a:gd name="connsiteY873" fmla="*/ 1561380 h 6858000"/>
              <a:gd name="connsiteX874" fmla="*/ 6188971 w 7467600"/>
              <a:gd name="connsiteY874" fmla="*/ 1755168 h 6858000"/>
              <a:gd name="connsiteX875" fmla="*/ 6202446 w 7467600"/>
              <a:gd name="connsiteY875" fmla="*/ 1752268 h 6858000"/>
              <a:gd name="connsiteX876" fmla="*/ 7179560 w 7467600"/>
              <a:gd name="connsiteY876" fmla="*/ 1467551 h 6858000"/>
              <a:gd name="connsiteX877" fmla="*/ 7158730 w 7467600"/>
              <a:gd name="connsiteY877" fmla="*/ 1507835 h 6858000"/>
              <a:gd name="connsiteX878" fmla="*/ 6326959 w 7467600"/>
              <a:gd name="connsiteY878" fmla="*/ 1817686 h 6858000"/>
              <a:gd name="connsiteX879" fmla="*/ 6537433 w 7467600"/>
              <a:gd name="connsiteY879" fmla="*/ 1907790 h 6858000"/>
              <a:gd name="connsiteX880" fmla="*/ 6550221 w 7467600"/>
              <a:gd name="connsiteY880" fmla="*/ 1910729 h 6858000"/>
              <a:gd name="connsiteX881" fmla="*/ 6964438 w 7467600"/>
              <a:gd name="connsiteY881" fmla="*/ 2209505 h 6858000"/>
              <a:gd name="connsiteX882" fmla="*/ 7367862 w 7467600"/>
              <a:gd name="connsiteY882" fmla="*/ 2806833 h 6858000"/>
              <a:gd name="connsiteX883" fmla="*/ 7364329 w 7467600"/>
              <a:gd name="connsiteY883" fmla="*/ 2826907 h 6858000"/>
              <a:gd name="connsiteX884" fmla="*/ 7290545 w 7467600"/>
              <a:gd name="connsiteY884" fmla="*/ 2850663 h 6858000"/>
              <a:gd name="connsiteX885" fmla="*/ 6472036 w 7467600"/>
              <a:gd name="connsiteY885" fmla="*/ 1959003 h 6858000"/>
              <a:gd name="connsiteX886" fmla="*/ 5792897 w 7467600"/>
              <a:gd name="connsiteY886" fmla="*/ 1647747 h 6858000"/>
              <a:gd name="connsiteX887" fmla="*/ 5842751 w 7467600"/>
              <a:gd name="connsiteY887" fmla="*/ 1816112 h 6858000"/>
              <a:gd name="connsiteX888" fmla="*/ 5847424 w 7467600"/>
              <a:gd name="connsiteY888" fmla="*/ 1815776 h 6858000"/>
              <a:gd name="connsiteX889" fmla="*/ 6399821 w 7467600"/>
              <a:gd name="connsiteY889" fmla="*/ 2344799 h 6858000"/>
              <a:gd name="connsiteX890" fmla="*/ 6323232 w 7467600"/>
              <a:gd name="connsiteY890" fmla="*/ 2389634 h 6858000"/>
              <a:gd name="connsiteX891" fmla="*/ 5942958 w 7467600"/>
              <a:gd name="connsiteY891" fmla="*/ 2077708 h 6858000"/>
              <a:gd name="connsiteX892" fmla="*/ 5921559 w 7467600"/>
              <a:gd name="connsiteY892" fmla="*/ 2378596 h 6858000"/>
              <a:gd name="connsiteX893" fmla="*/ 5817651 w 7467600"/>
              <a:gd name="connsiteY893" fmla="*/ 3023919 h 6858000"/>
              <a:gd name="connsiteX894" fmla="*/ 5729634 w 7467600"/>
              <a:gd name="connsiteY894" fmla="*/ 3051849 h 6858000"/>
              <a:gd name="connsiteX895" fmla="*/ 5611018 w 7467600"/>
              <a:gd name="connsiteY895" fmla="*/ 2316769 h 6858000"/>
              <a:gd name="connsiteX896" fmla="*/ 5687608 w 7467600"/>
              <a:gd name="connsiteY896" fmla="*/ 2039972 h 6858000"/>
              <a:gd name="connsiteX897" fmla="*/ 5657554 w 7467600"/>
              <a:gd name="connsiteY897" fmla="*/ 1576445 h 6858000"/>
              <a:gd name="connsiteX898" fmla="*/ 5150475 w 7467600"/>
              <a:gd name="connsiteY898" fmla="*/ 1274012 h 6858000"/>
              <a:gd name="connsiteX899" fmla="*/ 5349142 w 7467600"/>
              <a:gd name="connsiteY899" fmla="*/ 2204405 h 6858000"/>
              <a:gd name="connsiteX900" fmla="*/ 5262214 w 7467600"/>
              <a:gd name="connsiteY900" fmla="*/ 2233836 h 6858000"/>
              <a:gd name="connsiteX901" fmla="*/ 4981539 w 7467600"/>
              <a:gd name="connsiteY901" fmla="*/ 1542201 h 6858000"/>
              <a:gd name="connsiteX902" fmla="*/ 4958461 w 7467600"/>
              <a:gd name="connsiteY902" fmla="*/ 1136957 h 6858000"/>
              <a:gd name="connsiteX903" fmla="*/ 4655015 w 7467600"/>
              <a:gd name="connsiteY903" fmla="*/ 891426 h 6858000"/>
              <a:gd name="connsiteX904" fmla="*/ 4348002 w 7467600"/>
              <a:gd name="connsiteY904" fmla="*/ 2205895 h 6858000"/>
              <a:gd name="connsiteX905" fmla="*/ 4262250 w 7467600"/>
              <a:gd name="connsiteY905" fmla="*/ 2219972 h 6858000"/>
              <a:gd name="connsiteX906" fmla="*/ 4550611 w 7467600"/>
              <a:gd name="connsiteY906" fmla="*/ 817540 h 6858000"/>
              <a:gd name="connsiteX907" fmla="*/ 4564418 w 7467600"/>
              <a:gd name="connsiteY907" fmla="*/ 808293 h 6858000"/>
              <a:gd name="connsiteX908" fmla="*/ 4266388 w 7467600"/>
              <a:gd name="connsiteY908" fmla="*/ 500083 h 6858000"/>
              <a:gd name="connsiteX909" fmla="*/ 4032842 w 7467600"/>
              <a:gd name="connsiteY909" fmla="*/ 211809 h 6858000"/>
              <a:gd name="connsiteX910" fmla="*/ 3882765 w 7467600"/>
              <a:gd name="connsiteY910" fmla="*/ 0 h 6858000"/>
              <a:gd name="connsiteX911" fmla="*/ 3721337 w 7467600"/>
              <a:gd name="connsiteY911" fmla="*/ 0 h 6858000"/>
              <a:gd name="connsiteX912" fmla="*/ 3797544 w 7467600"/>
              <a:gd name="connsiteY912" fmla="*/ 0 h 6858000"/>
              <a:gd name="connsiteX913" fmla="*/ 3775734 w 7467600"/>
              <a:gd name="connsiteY913" fmla="*/ 95131 h 6858000"/>
              <a:gd name="connsiteX914" fmla="*/ 3724807 w 7467600"/>
              <a:gd name="connsiteY914" fmla="*/ 272257 h 6858000"/>
              <a:gd name="connsiteX915" fmla="*/ 3726844 w 7467600"/>
              <a:gd name="connsiteY915" fmla="*/ 282988 h 6858000"/>
              <a:gd name="connsiteX916" fmla="*/ 3742664 w 7467600"/>
              <a:gd name="connsiteY916" fmla="*/ 279918 h 6858000"/>
              <a:gd name="connsiteX917" fmla="*/ 4103910 w 7467600"/>
              <a:gd name="connsiteY917" fmla="*/ 1161917 h 6858000"/>
              <a:gd name="connsiteX918" fmla="*/ 4020269 w 7467600"/>
              <a:gd name="connsiteY918" fmla="*/ 1200406 h 6858000"/>
              <a:gd name="connsiteX919" fmla="*/ 3674882 w 7467600"/>
              <a:gd name="connsiteY919" fmla="*/ 488524 h 6858000"/>
              <a:gd name="connsiteX920" fmla="*/ 3132682 w 7467600"/>
              <a:gd name="connsiteY920" fmla="*/ 1072284 h 6858000"/>
              <a:gd name="connsiteX921" fmla="*/ 2716346 w 7467600"/>
              <a:gd name="connsiteY921" fmla="*/ 1276376 h 6858000"/>
              <a:gd name="connsiteX922" fmla="*/ 2716772 w 7467600"/>
              <a:gd name="connsiteY922" fmla="*/ 1255462 h 6858000"/>
              <a:gd name="connsiteX923" fmla="*/ 3471096 w 7467600"/>
              <a:gd name="connsiteY923" fmla="*/ 437072 h 6858000"/>
              <a:gd name="connsiteX924" fmla="*/ 3639057 w 7467600"/>
              <a:gd name="connsiteY924" fmla="*/ 286334 h 6858000"/>
              <a:gd name="connsiteX925" fmla="*/ 3640309 w 7467600"/>
              <a:gd name="connsiteY925" fmla="*/ 284664 h 6858000"/>
              <a:gd name="connsiteX926" fmla="*/ 3646022 w 7467600"/>
              <a:gd name="connsiteY926" fmla="*/ 276711 h 6858000"/>
              <a:gd name="connsiteX927" fmla="*/ 3707943 w 7467600"/>
              <a:gd name="connsiteY927" fmla="*/ 65958 h 6858000"/>
              <a:gd name="connsiteX928" fmla="*/ 3721337 w 7467600"/>
              <a:gd name="connsiteY928" fmla="*/ 0 h 6858000"/>
              <a:gd name="connsiteX929" fmla="*/ 2867960 w 7467600"/>
              <a:gd name="connsiteY929" fmla="*/ 0 h 6858000"/>
              <a:gd name="connsiteX930" fmla="*/ 2926351 w 7467600"/>
              <a:gd name="connsiteY930" fmla="*/ 0 h 6858000"/>
              <a:gd name="connsiteX931" fmla="*/ 2902823 w 7467600"/>
              <a:gd name="connsiteY931" fmla="*/ 262929 h 6858000"/>
              <a:gd name="connsiteX932" fmla="*/ 2940663 w 7467600"/>
              <a:gd name="connsiteY932" fmla="*/ 140884 h 6858000"/>
              <a:gd name="connsiteX933" fmla="*/ 2947039 w 7467600"/>
              <a:gd name="connsiteY933" fmla="*/ 122524 h 6858000"/>
              <a:gd name="connsiteX934" fmla="*/ 2984316 w 7467600"/>
              <a:gd name="connsiteY934" fmla="*/ 0 h 6858000"/>
              <a:gd name="connsiteX935" fmla="*/ 3016114 w 7467600"/>
              <a:gd name="connsiteY935" fmla="*/ 0 h 6858000"/>
              <a:gd name="connsiteX936" fmla="*/ 2979949 w 7467600"/>
              <a:gd name="connsiteY936" fmla="*/ 119274 h 6858000"/>
              <a:gd name="connsiteX937" fmla="*/ 3023879 w 7467600"/>
              <a:gd name="connsiteY937" fmla="*/ 0 h 6858000"/>
              <a:gd name="connsiteX938" fmla="*/ 3105400 w 7467600"/>
              <a:gd name="connsiteY938" fmla="*/ 0 h 6858000"/>
              <a:gd name="connsiteX939" fmla="*/ 3094669 w 7467600"/>
              <a:gd name="connsiteY939" fmla="*/ 30308 h 6858000"/>
              <a:gd name="connsiteX940" fmla="*/ 2901945 w 7467600"/>
              <a:gd name="connsiteY940" fmla="*/ 466538 h 6858000"/>
              <a:gd name="connsiteX941" fmla="*/ 2815209 w 7467600"/>
              <a:gd name="connsiteY941" fmla="*/ 497361 h 6858000"/>
              <a:gd name="connsiteX942" fmla="*/ 2844845 w 7467600"/>
              <a:gd name="connsiteY942" fmla="*/ 127638 h 6858000"/>
              <a:gd name="connsiteX943" fmla="*/ 2867960 w 7467600"/>
              <a:gd name="connsiteY943" fmla="*/ 0 h 6858000"/>
              <a:gd name="connsiteX944" fmla="*/ 1057230 w 7467600"/>
              <a:gd name="connsiteY944" fmla="*/ 0 h 6858000"/>
              <a:gd name="connsiteX945" fmla="*/ 1111003 w 7467600"/>
              <a:gd name="connsiteY945" fmla="*/ 0 h 6858000"/>
              <a:gd name="connsiteX946" fmla="*/ 1125553 w 7467600"/>
              <a:gd name="connsiteY946" fmla="*/ 52588 h 6858000"/>
              <a:gd name="connsiteX947" fmla="*/ 1304276 w 7467600"/>
              <a:gd name="connsiteY947" fmla="*/ 476275 h 6858000"/>
              <a:gd name="connsiteX948" fmla="*/ 1492066 w 7467600"/>
              <a:gd name="connsiteY948" fmla="*/ 886333 h 6858000"/>
              <a:gd name="connsiteX949" fmla="*/ 1423698 w 7467600"/>
              <a:gd name="connsiteY949" fmla="*/ 710817 h 6858000"/>
              <a:gd name="connsiteX950" fmla="*/ 1357609 w 7467600"/>
              <a:gd name="connsiteY950" fmla="*/ 532892 h 6858000"/>
              <a:gd name="connsiteX951" fmla="*/ 1309550 w 7467600"/>
              <a:gd name="connsiteY951" fmla="*/ 374031 h 6858000"/>
              <a:gd name="connsiteX952" fmla="*/ 1193673 w 7467600"/>
              <a:gd name="connsiteY952" fmla="*/ 49533 h 6858000"/>
              <a:gd name="connsiteX953" fmla="*/ 1164391 w 7467600"/>
              <a:gd name="connsiteY953" fmla="*/ 0 h 6858000"/>
              <a:gd name="connsiteX954" fmla="*/ 1200666 w 7467600"/>
              <a:gd name="connsiteY954" fmla="*/ 0 h 6858000"/>
              <a:gd name="connsiteX955" fmla="*/ 1223408 w 7467600"/>
              <a:gd name="connsiteY955" fmla="*/ 38996 h 6858000"/>
              <a:gd name="connsiteX956" fmla="*/ 1339635 w 7467600"/>
              <a:gd name="connsiteY956" fmla="*/ 365517 h 6858000"/>
              <a:gd name="connsiteX957" fmla="*/ 1387469 w 7467600"/>
              <a:gd name="connsiteY957" fmla="*/ 523079 h 6858000"/>
              <a:gd name="connsiteX958" fmla="*/ 1452685 w 7467600"/>
              <a:gd name="connsiteY958" fmla="*/ 699806 h 6858000"/>
              <a:gd name="connsiteX959" fmla="*/ 1492092 w 7467600"/>
              <a:gd name="connsiteY959" fmla="*/ 800424 h 6858000"/>
              <a:gd name="connsiteX960" fmla="*/ 1455302 w 7467600"/>
              <a:gd name="connsiteY960" fmla="*/ 632913 h 6858000"/>
              <a:gd name="connsiteX961" fmla="*/ 1222336 w 7467600"/>
              <a:gd name="connsiteY961" fmla="*/ 9480 h 6858000"/>
              <a:gd name="connsiteX962" fmla="*/ 1214634 w 7467600"/>
              <a:gd name="connsiteY962" fmla="*/ 0 h 6858000"/>
              <a:gd name="connsiteX963" fmla="*/ 1289827 w 7467600"/>
              <a:gd name="connsiteY963" fmla="*/ 0 h 6858000"/>
              <a:gd name="connsiteX964" fmla="*/ 1321076 w 7467600"/>
              <a:gd name="connsiteY964" fmla="*/ 59722 h 6858000"/>
              <a:gd name="connsiteX965" fmla="*/ 1512579 w 7467600"/>
              <a:gd name="connsiteY965" fmla="*/ 626441 h 6858000"/>
              <a:gd name="connsiteX966" fmla="*/ 1506076 w 7467600"/>
              <a:gd name="connsiteY966" fmla="*/ 1089289 h 6858000"/>
              <a:gd name="connsiteX967" fmla="*/ 1486346 w 7467600"/>
              <a:gd name="connsiteY967" fmla="*/ 1079919 h 6858000"/>
              <a:gd name="connsiteX968" fmla="*/ 1070511 w 7467600"/>
              <a:gd name="connsiteY968" fmla="*/ 48609 h 6858000"/>
              <a:gd name="connsiteX969" fmla="*/ 1057230 w 7467600"/>
              <a:gd name="connsiteY969" fmla="*/ 0 h 6858000"/>
              <a:gd name="connsiteX970" fmla="*/ 43151 w 7467600"/>
              <a:gd name="connsiteY970" fmla="*/ 0 h 6858000"/>
              <a:gd name="connsiteX971" fmla="*/ 95283 w 7467600"/>
              <a:gd name="connsiteY971" fmla="*/ 0 h 6858000"/>
              <a:gd name="connsiteX972" fmla="*/ 300708 w 7467600"/>
              <a:gd name="connsiteY972" fmla="*/ 154571 h 6858000"/>
              <a:gd name="connsiteX973" fmla="*/ 530414 w 7467600"/>
              <a:gd name="connsiteY973" fmla="*/ 354673 h 6858000"/>
              <a:gd name="connsiteX974" fmla="*/ 333785 w 7467600"/>
              <a:gd name="connsiteY974" fmla="*/ 161564 h 6858000"/>
              <a:gd name="connsiteX975" fmla="*/ 147005 w 7467600"/>
              <a:gd name="connsiteY975" fmla="*/ 0 h 6858000"/>
              <a:gd name="connsiteX976" fmla="*/ 272509 w 7467600"/>
              <a:gd name="connsiteY976" fmla="*/ 0 h 6858000"/>
              <a:gd name="connsiteX977" fmla="*/ 326276 w 7467600"/>
              <a:gd name="connsiteY977" fmla="*/ 45847 h 6858000"/>
              <a:gd name="connsiteX978" fmla="*/ 823759 w 7467600"/>
              <a:gd name="connsiteY978" fmla="*/ 574145 h 6858000"/>
              <a:gd name="connsiteX979" fmla="*/ 811254 w 7467600"/>
              <a:gd name="connsiteY979" fmla="*/ 665546 h 6858000"/>
              <a:gd name="connsiteX980" fmla="*/ 154042 w 7467600"/>
              <a:gd name="connsiteY980" fmla="*/ 261522 h 6858000"/>
              <a:gd name="connsiteX981" fmla="*/ 13550 w 7467600"/>
              <a:gd name="connsiteY981" fmla="*/ 158423 h 6858000"/>
              <a:gd name="connsiteX982" fmla="*/ 0 w 7467600"/>
              <a:gd name="connsiteY982" fmla="*/ 146618 h 6858000"/>
              <a:gd name="connsiteX983" fmla="*/ 0 w 7467600"/>
              <a:gd name="connsiteY983" fmla="*/ 59161 h 6858000"/>
              <a:gd name="connsiteX984" fmla="*/ 45427 w 7467600"/>
              <a:gd name="connsiteY984" fmla="*/ 101078 h 6858000"/>
              <a:gd name="connsiteX985" fmla="*/ 630103 w 7467600"/>
              <a:gd name="connsiteY985" fmla="*/ 485885 h 6858000"/>
              <a:gd name="connsiteX986" fmla="*/ 532040 w 7467600"/>
              <a:gd name="connsiteY986" fmla="*/ 399359 h 6858000"/>
              <a:gd name="connsiteX987" fmla="*/ 517618 w 7467600"/>
              <a:gd name="connsiteY987" fmla="*/ 385726 h 6858000"/>
              <a:gd name="connsiteX988" fmla="*/ 285074 w 7467600"/>
              <a:gd name="connsiteY988" fmla="*/ 182755 h 6858000"/>
              <a:gd name="connsiteX989" fmla="*/ 43151 w 7467600"/>
              <a:gd name="connsiteY989"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12201 w 7467600"/>
              <a:gd name="connsiteY127" fmla="*/ 5128278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427076 w 7467600"/>
              <a:gd name="connsiteY131" fmla="*/ 5142684 h 6858000"/>
              <a:gd name="connsiteX132" fmla="*/ 7312201 w 7467600"/>
              <a:gd name="connsiteY132" fmla="*/ 5128278 h 6858000"/>
              <a:gd name="connsiteX133" fmla="*/ 1903353 w 7467600"/>
              <a:gd name="connsiteY133" fmla="*/ 5044827 h 6858000"/>
              <a:gd name="connsiteX134" fmla="*/ 1936931 w 7467600"/>
              <a:gd name="connsiteY134" fmla="*/ 5093954 h 6858000"/>
              <a:gd name="connsiteX135" fmla="*/ 2195868 w 7467600"/>
              <a:gd name="connsiteY135" fmla="*/ 5396574 h 6858000"/>
              <a:gd name="connsiteX136" fmla="*/ 2088852 w 7467600"/>
              <a:gd name="connsiteY136" fmla="*/ 5166123 h 6858000"/>
              <a:gd name="connsiteX137" fmla="*/ 1958241 w 7467600"/>
              <a:gd name="connsiteY137" fmla="*/ 5067955 h 6858000"/>
              <a:gd name="connsiteX138" fmla="*/ 1903353 w 7467600"/>
              <a:gd name="connsiteY138" fmla="*/ 5044827 h 6858000"/>
              <a:gd name="connsiteX139" fmla="*/ 1979378 w 7467600"/>
              <a:gd name="connsiteY139" fmla="*/ 4769504 h 6858000"/>
              <a:gd name="connsiteX140" fmla="*/ 2882120 w 7467600"/>
              <a:gd name="connsiteY140" fmla="*/ 5064547 h 6858000"/>
              <a:gd name="connsiteX141" fmla="*/ 2793103 w 7467600"/>
              <a:gd name="connsiteY141" fmla="*/ 5039699 h 6858000"/>
              <a:gd name="connsiteX142" fmla="*/ 2770041 w 7467600"/>
              <a:gd name="connsiteY142" fmla="*/ 5033634 h 6858000"/>
              <a:gd name="connsiteX143" fmla="*/ 1979378 w 7467600"/>
              <a:gd name="connsiteY143" fmla="*/ 4769504 h 6858000"/>
              <a:gd name="connsiteX144" fmla="*/ 1927410 w 7467600"/>
              <a:gd name="connsiteY144" fmla="*/ 4716164 h 6858000"/>
              <a:gd name="connsiteX145" fmla="*/ 1959587 w 7467600"/>
              <a:gd name="connsiteY145" fmla="*/ 4728849 h 6858000"/>
              <a:gd name="connsiteX146" fmla="*/ 2777707 w 7467600"/>
              <a:gd name="connsiteY146" fmla="*/ 5003991 h 6858000"/>
              <a:gd name="connsiteX147" fmla="*/ 2800768 w 7467600"/>
              <a:gd name="connsiteY147" fmla="*/ 5010056 h 6858000"/>
              <a:gd name="connsiteX148" fmla="*/ 2879408 w 7467600"/>
              <a:gd name="connsiteY148" fmla="*/ 5031590 h 6858000"/>
              <a:gd name="connsiteX149" fmla="*/ 2862295 w 7467600"/>
              <a:gd name="connsiteY149" fmla="*/ 5022958 h 6858000"/>
              <a:gd name="connsiteX150" fmla="*/ 2813343 w 7467600"/>
              <a:gd name="connsiteY150" fmla="*/ 4998369 h 6858000"/>
              <a:gd name="connsiteX151" fmla="*/ 2646245 w 7467600"/>
              <a:gd name="connsiteY151" fmla="*/ 4930999 h 6858000"/>
              <a:gd name="connsiteX152" fmla="*/ 1999243 w 7467600"/>
              <a:gd name="connsiteY152" fmla="*/ 4730524 h 6858000"/>
              <a:gd name="connsiteX153" fmla="*/ 1979527 w 7467600"/>
              <a:gd name="connsiteY153" fmla="*/ 4726651 h 6858000"/>
              <a:gd name="connsiteX154" fmla="*/ 1927410 w 7467600"/>
              <a:gd name="connsiteY154" fmla="*/ 4716164 h 6858000"/>
              <a:gd name="connsiteX155" fmla="*/ 1997014 w 7467600"/>
              <a:gd name="connsiteY155" fmla="*/ 4698007 h 6858000"/>
              <a:gd name="connsiteX156" fmla="*/ 2005458 w 7467600"/>
              <a:gd name="connsiteY156" fmla="*/ 4699540 h 6858000"/>
              <a:gd name="connsiteX157" fmla="*/ 2657186 w 7467600"/>
              <a:gd name="connsiteY157" fmla="*/ 4901687 h 6858000"/>
              <a:gd name="connsiteX158" fmla="*/ 2826662 w 7467600"/>
              <a:gd name="connsiteY158" fmla="*/ 4970362 h 6858000"/>
              <a:gd name="connsiteX159" fmla="*/ 2876100 w 7467600"/>
              <a:gd name="connsiteY159" fmla="*/ 4995397 h 6858000"/>
              <a:gd name="connsiteX160" fmla="*/ 3042600 w 7467600"/>
              <a:gd name="connsiteY160" fmla="*/ 5059532 h 6858000"/>
              <a:gd name="connsiteX161" fmla="*/ 1997014 w 7467600"/>
              <a:gd name="connsiteY161" fmla="*/ 4698007 h 6858000"/>
              <a:gd name="connsiteX162" fmla="*/ 2305292 w 7467600"/>
              <a:gd name="connsiteY162" fmla="*/ 4219492 h 6858000"/>
              <a:gd name="connsiteX163" fmla="*/ 3360922 w 7467600"/>
              <a:gd name="connsiteY163" fmla="*/ 4529373 h 6858000"/>
              <a:gd name="connsiteX164" fmla="*/ 3492420 w 7467600"/>
              <a:gd name="connsiteY164" fmla="*/ 4510145 h 6858000"/>
              <a:gd name="connsiteX165" fmla="*/ 3364086 w 7467600"/>
              <a:gd name="connsiteY165" fmla="*/ 4480340 h 6858000"/>
              <a:gd name="connsiteX166" fmla="*/ 3225818 w 7467600"/>
              <a:gd name="connsiteY166" fmla="*/ 4411822 h 6858000"/>
              <a:gd name="connsiteX167" fmla="*/ 3129696 w 7467600"/>
              <a:gd name="connsiteY167" fmla="*/ 4360704 h 6858000"/>
              <a:gd name="connsiteX168" fmla="*/ 2814545 w 7467600"/>
              <a:gd name="connsiteY168" fmla="*/ 4282955 h 6858000"/>
              <a:gd name="connsiteX169" fmla="*/ 2305292 w 7467600"/>
              <a:gd name="connsiteY169" fmla="*/ 4219492 h 6858000"/>
              <a:gd name="connsiteX170" fmla="*/ 2626982 w 7467600"/>
              <a:gd name="connsiteY170" fmla="*/ 4206450 h 6858000"/>
              <a:gd name="connsiteX171" fmla="*/ 2490617 w 7467600"/>
              <a:gd name="connsiteY171" fmla="*/ 4206951 h 6858000"/>
              <a:gd name="connsiteX172" fmla="*/ 2819869 w 7467600"/>
              <a:gd name="connsiteY172" fmla="*/ 4252936 h 6858000"/>
              <a:gd name="connsiteX173" fmla="*/ 3143018 w 7467600"/>
              <a:gd name="connsiteY173" fmla="*/ 4332698 h 6858000"/>
              <a:gd name="connsiteX174" fmla="*/ 3241520 w 7467600"/>
              <a:gd name="connsiteY174" fmla="*/ 4385112 h 6858000"/>
              <a:gd name="connsiteX175" fmla="*/ 3374575 w 7467600"/>
              <a:gd name="connsiteY175" fmla="*/ 4451517 h 6858000"/>
              <a:gd name="connsiteX176" fmla="*/ 3505221 w 7467600"/>
              <a:gd name="connsiteY176" fmla="*/ 4480757 h 6858000"/>
              <a:gd name="connsiteX177" fmla="*/ 2626982 w 7467600"/>
              <a:gd name="connsiteY177" fmla="*/ 4206450 h 6858000"/>
              <a:gd name="connsiteX178" fmla="*/ 1310106 w 7467600"/>
              <a:gd name="connsiteY178" fmla="*/ 3943217 h 6858000"/>
              <a:gd name="connsiteX179" fmla="*/ 854994 w 7467600"/>
              <a:gd name="connsiteY179" fmla="*/ 4399136 h 6858000"/>
              <a:gd name="connsiteX180" fmla="*/ 742462 w 7467600"/>
              <a:gd name="connsiteY180" fmla="*/ 4594648 h 6858000"/>
              <a:gd name="connsiteX181" fmla="*/ 820602 w 7467600"/>
              <a:gd name="connsiteY181" fmla="*/ 4485915 h 6858000"/>
              <a:gd name="connsiteX182" fmla="*/ 878295 w 7467600"/>
              <a:gd name="connsiteY182" fmla="*/ 4403594 h 6858000"/>
              <a:gd name="connsiteX183" fmla="*/ 1240607 w 7467600"/>
              <a:gd name="connsiteY183" fmla="*/ 4010401 h 6858000"/>
              <a:gd name="connsiteX184" fmla="*/ 1310106 w 7467600"/>
              <a:gd name="connsiteY184" fmla="*/ 3943217 h 6858000"/>
              <a:gd name="connsiteX185" fmla="*/ 1423113 w 7467600"/>
              <a:gd name="connsiteY185" fmla="*/ 3874565 h 6858000"/>
              <a:gd name="connsiteX186" fmla="*/ 1260565 w 7467600"/>
              <a:gd name="connsiteY186" fmla="*/ 4031982 h 6858000"/>
              <a:gd name="connsiteX187" fmla="*/ 901900 w 7467600"/>
              <a:gd name="connsiteY187" fmla="*/ 4421236 h 6858000"/>
              <a:gd name="connsiteX188" fmla="*/ 845044 w 7467600"/>
              <a:gd name="connsiteY188" fmla="*/ 4502436 h 6858000"/>
              <a:gd name="connsiteX189" fmla="*/ 685926 w 7467600"/>
              <a:gd name="connsiteY189" fmla="*/ 4703069 h 6858000"/>
              <a:gd name="connsiteX190" fmla="*/ 684248 w 7467600"/>
              <a:gd name="connsiteY190" fmla="*/ 4706721 h 6858000"/>
              <a:gd name="connsiteX191" fmla="*/ 1423113 w 7467600"/>
              <a:gd name="connsiteY191" fmla="*/ 3874565 h 6858000"/>
              <a:gd name="connsiteX192" fmla="*/ 3316479 w 7467600"/>
              <a:gd name="connsiteY192" fmla="*/ 3872136 h 6858000"/>
              <a:gd name="connsiteX193" fmla="*/ 3546806 w 7467600"/>
              <a:gd name="connsiteY193" fmla="*/ 4356139 h 6858000"/>
              <a:gd name="connsiteX194" fmla="*/ 3364433 w 7467600"/>
              <a:gd name="connsiteY194" fmla="*/ 3953121 h 6858000"/>
              <a:gd name="connsiteX195" fmla="*/ 3316479 w 7467600"/>
              <a:gd name="connsiteY195" fmla="*/ 3872136 h 6858000"/>
              <a:gd name="connsiteX196" fmla="*/ 3291335 w 7467600"/>
              <a:gd name="connsiteY196" fmla="*/ 3767420 h 6858000"/>
              <a:gd name="connsiteX197" fmla="*/ 3390805 w 7467600"/>
              <a:gd name="connsiteY197" fmla="*/ 3937163 h 6858000"/>
              <a:gd name="connsiteX198" fmla="*/ 3579062 w 7467600"/>
              <a:gd name="connsiteY198" fmla="*/ 4359040 h 6858000"/>
              <a:gd name="connsiteX199" fmla="*/ 3467355 w 7467600"/>
              <a:gd name="connsiteY199" fmla="*/ 3988130 h 6858000"/>
              <a:gd name="connsiteX200" fmla="*/ 3310753 w 7467600"/>
              <a:gd name="connsiteY200" fmla="*/ 3787140 h 6858000"/>
              <a:gd name="connsiteX201" fmla="*/ 3291335 w 7467600"/>
              <a:gd name="connsiteY201" fmla="*/ 3767420 h 6858000"/>
              <a:gd name="connsiteX202" fmla="*/ 1635889 w 7467600"/>
              <a:gd name="connsiteY202" fmla="*/ 3709494 h 6858000"/>
              <a:gd name="connsiteX203" fmla="*/ 1634800 w 7467600"/>
              <a:gd name="connsiteY203" fmla="*/ 3731111 h 6858000"/>
              <a:gd name="connsiteX204" fmla="*/ 1635889 w 7467600"/>
              <a:gd name="connsiteY204" fmla="*/ 3709494 h 6858000"/>
              <a:gd name="connsiteX205" fmla="*/ 1510397 w 7467600"/>
              <a:gd name="connsiteY205" fmla="*/ 3684705 h 6858000"/>
              <a:gd name="connsiteX206" fmla="*/ 1146550 w 7467600"/>
              <a:gd name="connsiteY206" fmla="*/ 3802012 h 6858000"/>
              <a:gd name="connsiteX207" fmla="*/ 698834 w 7467600"/>
              <a:gd name="connsiteY207" fmla="*/ 3952272 h 6858000"/>
              <a:gd name="connsiteX208" fmla="*/ 34256 w 7467600"/>
              <a:gd name="connsiteY208" fmla="*/ 4347603 h 6858000"/>
              <a:gd name="connsiteX209" fmla="*/ 527241 w 7467600"/>
              <a:gd name="connsiteY209" fmla="*/ 4065078 h 6858000"/>
              <a:gd name="connsiteX210" fmla="*/ 1510397 w 7467600"/>
              <a:gd name="connsiteY210" fmla="*/ 3684705 h 6858000"/>
              <a:gd name="connsiteX211" fmla="*/ 1313114 w 7467600"/>
              <a:gd name="connsiteY211" fmla="*/ 3655216 h 6858000"/>
              <a:gd name="connsiteX212" fmla="*/ 1109304 w 7467600"/>
              <a:gd name="connsiteY212" fmla="*/ 3669030 h 6858000"/>
              <a:gd name="connsiteX213" fmla="*/ 8129 w 7467600"/>
              <a:gd name="connsiteY213" fmla="*/ 4330519 h 6858000"/>
              <a:gd name="connsiteX214" fmla="*/ 687572 w 7467600"/>
              <a:gd name="connsiteY214" fmla="*/ 3925629 h 6858000"/>
              <a:gd name="connsiteX215" fmla="*/ 1138365 w 7467600"/>
              <a:gd name="connsiteY215" fmla="*/ 3774515 h 6858000"/>
              <a:gd name="connsiteX216" fmla="*/ 1505579 w 7467600"/>
              <a:gd name="connsiteY216" fmla="*/ 3655526 h 6858000"/>
              <a:gd name="connsiteX217" fmla="*/ 1313114 w 7467600"/>
              <a:gd name="connsiteY217" fmla="*/ 3655216 h 6858000"/>
              <a:gd name="connsiteX218" fmla="*/ 3655073 w 7467600"/>
              <a:gd name="connsiteY218" fmla="*/ 3650884 h 6858000"/>
              <a:gd name="connsiteX219" fmla="*/ 3989938 w 7467600"/>
              <a:gd name="connsiteY219" fmla="*/ 3991685 h 6858000"/>
              <a:gd name="connsiteX220" fmla="*/ 4393907 w 7467600"/>
              <a:gd name="connsiteY220" fmla="*/ 4261258 h 6858000"/>
              <a:gd name="connsiteX221" fmla="*/ 4648051 w 7467600"/>
              <a:gd name="connsiteY221" fmla="*/ 4374051 h 6858000"/>
              <a:gd name="connsiteX222" fmla="*/ 4383389 w 7467600"/>
              <a:gd name="connsiteY222" fmla="*/ 4184369 h 6858000"/>
              <a:gd name="connsiteX223" fmla="*/ 4165508 w 7467600"/>
              <a:gd name="connsiteY223" fmla="*/ 4035196 h 6858000"/>
              <a:gd name="connsiteX224" fmla="*/ 4068162 w 7467600"/>
              <a:gd name="connsiteY224" fmla="*/ 3953394 h 6858000"/>
              <a:gd name="connsiteX225" fmla="*/ 3981416 w 7467600"/>
              <a:gd name="connsiteY225" fmla="*/ 3880482 h 6858000"/>
              <a:gd name="connsiteX226" fmla="*/ 3800147 w 7467600"/>
              <a:gd name="connsiteY226" fmla="*/ 3749872 h 6858000"/>
              <a:gd name="connsiteX227" fmla="*/ 3655073 w 7467600"/>
              <a:gd name="connsiteY227" fmla="*/ 3650884 h 6858000"/>
              <a:gd name="connsiteX228" fmla="*/ 3670252 w 7467600"/>
              <a:gd name="connsiteY228" fmla="*/ 3622798 h 6858000"/>
              <a:gd name="connsiteX229" fmla="*/ 3817258 w 7467600"/>
              <a:gd name="connsiteY229" fmla="*/ 3723577 h 6858000"/>
              <a:gd name="connsiteX230" fmla="*/ 4000461 w 7467600"/>
              <a:gd name="connsiteY230" fmla="*/ 3855966 h 6858000"/>
              <a:gd name="connsiteX231" fmla="*/ 4088180 w 7467600"/>
              <a:gd name="connsiteY231" fmla="*/ 3929774 h 6858000"/>
              <a:gd name="connsiteX232" fmla="*/ 4184555 w 7467600"/>
              <a:gd name="connsiteY232" fmla="*/ 4010683 h 6858000"/>
              <a:gd name="connsiteX233" fmla="*/ 4399563 w 7467600"/>
              <a:gd name="connsiteY233" fmla="*/ 4158106 h 6858000"/>
              <a:gd name="connsiteX234" fmla="*/ 4684469 w 7467600"/>
              <a:gd name="connsiteY234" fmla="*/ 4364680 h 6858000"/>
              <a:gd name="connsiteX235" fmla="*/ 4690271 w 7467600"/>
              <a:gd name="connsiteY235" fmla="*/ 4370034 h 6858000"/>
              <a:gd name="connsiteX236" fmla="*/ 4136093 w 7467600"/>
              <a:gd name="connsiteY236" fmla="*/ 3858466 h 6858000"/>
              <a:gd name="connsiteX237" fmla="*/ 3670252 w 7467600"/>
              <a:gd name="connsiteY237" fmla="*/ 3622798 h 6858000"/>
              <a:gd name="connsiteX238" fmla="*/ 4440129 w 7467600"/>
              <a:gd name="connsiteY238" fmla="*/ 3448571 h 6858000"/>
              <a:gd name="connsiteX239" fmla="*/ 4856525 w 7467600"/>
              <a:gd name="connsiteY239" fmla="*/ 3915351 h 6858000"/>
              <a:gd name="connsiteX240" fmla="*/ 5059055 w 7467600"/>
              <a:gd name="connsiteY240" fmla="*/ 4108918 h 6858000"/>
              <a:gd name="connsiteX241" fmla="*/ 5290070 w 7467600"/>
              <a:gd name="connsiteY241" fmla="*/ 4263619 h 6858000"/>
              <a:gd name="connsiteX242" fmla="*/ 4834991 w 7467600"/>
              <a:gd name="connsiteY242" fmla="*/ 3830985 h 6858000"/>
              <a:gd name="connsiteX243" fmla="*/ 4440129 w 7467600"/>
              <a:gd name="connsiteY243" fmla="*/ 3448571 h 6858000"/>
              <a:gd name="connsiteX244" fmla="*/ 4441737 w 7467600"/>
              <a:gd name="connsiteY244" fmla="*/ 3399734 h 6858000"/>
              <a:gd name="connsiteX245" fmla="*/ 4431236 w 7467600"/>
              <a:gd name="connsiteY245" fmla="*/ 3400954 h 6858000"/>
              <a:gd name="connsiteX246" fmla="*/ 4557150 w 7467600"/>
              <a:gd name="connsiteY246" fmla="*/ 3510023 h 6858000"/>
              <a:gd name="connsiteX247" fmla="*/ 4856936 w 7467600"/>
              <a:gd name="connsiteY247" fmla="*/ 3809146 h 6858000"/>
              <a:gd name="connsiteX248" fmla="*/ 5111996 w 7467600"/>
              <a:gd name="connsiteY248" fmla="*/ 4065759 h 6858000"/>
              <a:gd name="connsiteX249" fmla="*/ 5388878 w 7467600"/>
              <a:gd name="connsiteY249" fmla="*/ 4300185 h 6858000"/>
              <a:gd name="connsiteX250" fmla="*/ 5425556 w 7467600"/>
              <a:gd name="connsiteY250" fmla="*/ 4308967 h 6858000"/>
              <a:gd name="connsiteX251" fmla="*/ 4943646 w 7467600"/>
              <a:gd name="connsiteY251" fmla="*/ 3822916 h 6858000"/>
              <a:gd name="connsiteX252" fmla="*/ 4594837 w 7467600"/>
              <a:gd name="connsiteY252" fmla="*/ 3532274 h 6858000"/>
              <a:gd name="connsiteX253" fmla="*/ 4441737 w 7467600"/>
              <a:gd name="connsiteY253" fmla="*/ 3399734 h 6858000"/>
              <a:gd name="connsiteX254" fmla="*/ 5425834 w 7467600"/>
              <a:gd name="connsiteY254" fmla="*/ 3162785 h 6858000"/>
              <a:gd name="connsiteX255" fmla="*/ 5401644 w 7467600"/>
              <a:gd name="connsiteY255" fmla="*/ 3617847 h 6858000"/>
              <a:gd name="connsiteX256" fmla="*/ 5467256 w 7467600"/>
              <a:gd name="connsiteY256" fmla="*/ 4175494 h 6858000"/>
              <a:gd name="connsiteX257" fmla="*/ 5448069 w 7467600"/>
              <a:gd name="connsiteY257" fmla="*/ 3567554 h 6858000"/>
              <a:gd name="connsiteX258" fmla="*/ 5425834 w 7467600"/>
              <a:gd name="connsiteY258" fmla="*/ 3162785 h 6858000"/>
              <a:gd name="connsiteX259" fmla="*/ 1318687 w 7467600"/>
              <a:gd name="connsiteY259" fmla="*/ 3113840 h 6858000"/>
              <a:gd name="connsiteX260" fmla="*/ 1066793 w 7467600"/>
              <a:gd name="connsiteY260" fmla="*/ 3212171 h 6858000"/>
              <a:gd name="connsiteX261" fmla="*/ 993319 w 7467600"/>
              <a:gd name="connsiteY261" fmla="*/ 3247648 h 6858000"/>
              <a:gd name="connsiteX262" fmla="*/ 853081 w 7467600"/>
              <a:gd name="connsiteY262" fmla="*/ 3312410 h 6858000"/>
              <a:gd name="connsiteX263" fmla="*/ 805957 w 7467600"/>
              <a:gd name="connsiteY263" fmla="*/ 3330443 h 6858000"/>
              <a:gd name="connsiteX264" fmla="*/ 1318687 w 7467600"/>
              <a:gd name="connsiteY264" fmla="*/ 3113840 h 6858000"/>
              <a:gd name="connsiteX265" fmla="*/ 5453702 w 7467600"/>
              <a:gd name="connsiteY265" fmla="*/ 3090882 h 6858000"/>
              <a:gd name="connsiteX266" fmla="*/ 5480135 w 7467600"/>
              <a:gd name="connsiteY266" fmla="*/ 3565802 h 6858000"/>
              <a:gd name="connsiteX267" fmla="*/ 5499023 w 7467600"/>
              <a:gd name="connsiteY267" fmla="*/ 4166310 h 6858000"/>
              <a:gd name="connsiteX268" fmla="*/ 5547022 w 7467600"/>
              <a:gd name="connsiteY268" fmla="*/ 3607838 h 6858000"/>
              <a:gd name="connsiteX269" fmla="*/ 5515964 w 7467600"/>
              <a:gd name="connsiteY269" fmla="*/ 3378541 h 6858000"/>
              <a:gd name="connsiteX270" fmla="*/ 5453702 w 7467600"/>
              <a:gd name="connsiteY270" fmla="*/ 3090882 h 6858000"/>
              <a:gd name="connsiteX271" fmla="*/ 1238695 w 7467600"/>
              <a:gd name="connsiteY271" fmla="*/ 3076820 h 6858000"/>
              <a:gd name="connsiteX272" fmla="*/ 716371 w 7467600"/>
              <a:gd name="connsiteY272" fmla="*/ 3293249 h 6858000"/>
              <a:gd name="connsiteX273" fmla="*/ 579522 w 7467600"/>
              <a:gd name="connsiteY273" fmla="*/ 3371759 h 6858000"/>
              <a:gd name="connsiteX274" fmla="*/ 600288 w 7467600"/>
              <a:gd name="connsiteY274" fmla="*/ 3365555 h 6858000"/>
              <a:gd name="connsiteX275" fmla="*/ 840692 w 7467600"/>
              <a:gd name="connsiteY275" fmla="*/ 3284921 h 6858000"/>
              <a:gd name="connsiteX276" fmla="*/ 979248 w 7467600"/>
              <a:gd name="connsiteY276" fmla="*/ 3221003 h 6858000"/>
              <a:gd name="connsiteX277" fmla="*/ 1053282 w 7467600"/>
              <a:gd name="connsiteY277" fmla="*/ 3185247 h 6858000"/>
              <a:gd name="connsiteX278" fmla="*/ 1320603 w 7467600"/>
              <a:gd name="connsiteY278" fmla="*/ 3081281 h 6858000"/>
              <a:gd name="connsiteX279" fmla="*/ 1238695 w 7467600"/>
              <a:gd name="connsiteY279" fmla="*/ 3076820 h 6858000"/>
              <a:gd name="connsiteX280" fmla="*/ 5425627 w 7467600"/>
              <a:gd name="connsiteY280" fmla="*/ 2954192 h 6858000"/>
              <a:gd name="connsiteX281" fmla="*/ 5470770 w 7467600"/>
              <a:gd name="connsiteY281" fmla="*/ 3005435 h 6858000"/>
              <a:gd name="connsiteX282" fmla="*/ 5519779 w 7467600"/>
              <a:gd name="connsiteY282" fmla="*/ 4359223 h 6858000"/>
              <a:gd name="connsiteX283" fmla="*/ 5520293 w 7467600"/>
              <a:gd name="connsiteY283" fmla="*/ 4360602 h 6858000"/>
              <a:gd name="connsiteX284" fmla="*/ 5767221 w 7467600"/>
              <a:gd name="connsiteY284" fmla="*/ 4665564 h 6858000"/>
              <a:gd name="connsiteX285" fmla="*/ 6937169 w 7467600"/>
              <a:gd name="connsiteY285" fmla="*/ 4815941 h 6858000"/>
              <a:gd name="connsiteX286" fmla="*/ 6953922 w 7467600"/>
              <a:gd name="connsiteY286" fmla="*/ 4890068 h 6858000"/>
              <a:gd name="connsiteX287" fmla="*/ 6071359 w 7467600"/>
              <a:gd name="connsiteY287" fmla="*/ 4770770 h 6858000"/>
              <a:gd name="connsiteX288" fmla="*/ 6038839 w 7467600"/>
              <a:gd name="connsiteY288" fmla="*/ 4764474 h 6858000"/>
              <a:gd name="connsiteX289" fmla="*/ 6038706 w 7467600"/>
              <a:gd name="connsiteY289" fmla="*/ 4763847 h 6858000"/>
              <a:gd name="connsiteX290" fmla="*/ 6037784 w 7467600"/>
              <a:gd name="connsiteY290" fmla="*/ 4764270 h 6858000"/>
              <a:gd name="connsiteX291" fmla="*/ 6038839 w 7467600"/>
              <a:gd name="connsiteY291" fmla="*/ 4764474 h 6858000"/>
              <a:gd name="connsiteX292" fmla="*/ 6040338 w 7467600"/>
              <a:gd name="connsiteY292" fmla="*/ 4771418 h 6858000"/>
              <a:gd name="connsiteX293" fmla="*/ 6024488 w 7467600"/>
              <a:gd name="connsiteY293" fmla="*/ 4809903 h 6858000"/>
              <a:gd name="connsiteX294" fmla="*/ 5599771 w 7467600"/>
              <a:gd name="connsiteY294" fmla="*/ 5509652 h 6858000"/>
              <a:gd name="connsiteX295" fmla="*/ 5548843 w 7467600"/>
              <a:gd name="connsiteY295" fmla="*/ 5563845 h 6858000"/>
              <a:gd name="connsiteX296" fmla="*/ 5940952 w 7467600"/>
              <a:gd name="connsiteY296" fmla="*/ 6250028 h 6858000"/>
              <a:gd name="connsiteX297" fmla="*/ 6043441 w 7467600"/>
              <a:gd name="connsiteY297" fmla="*/ 6665847 h 6858000"/>
              <a:gd name="connsiteX298" fmla="*/ 6093432 w 7467600"/>
              <a:gd name="connsiteY298" fmla="*/ 6858000 h 6858000"/>
              <a:gd name="connsiteX299" fmla="*/ 6034344 w 7467600"/>
              <a:gd name="connsiteY299" fmla="*/ 6858000 h 6858000"/>
              <a:gd name="connsiteX300" fmla="*/ 6026679 w 7467600"/>
              <a:gd name="connsiteY300" fmla="*/ 6836959 h 6858000"/>
              <a:gd name="connsiteX301" fmla="*/ 5800441 w 7467600"/>
              <a:gd name="connsiteY301" fmla="*/ 6335286 h 6858000"/>
              <a:gd name="connsiteX302" fmla="*/ 5526562 w 7467600"/>
              <a:gd name="connsiteY302" fmla="*/ 5705388 h 6858000"/>
              <a:gd name="connsiteX303" fmla="*/ 5519640 w 7467600"/>
              <a:gd name="connsiteY303" fmla="*/ 5683774 h 6858000"/>
              <a:gd name="connsiteX304" fmla="*/ 5844559 w 7467600"/>
              <a:gd name="connsiteY304" fmla="*/ 6553349 h 6858000"/>
              <a:gd name="connsiteX305" fmla="*/ 5975994 w 7467600"/>
              <a:gd name="connsiteY305" fmla="*/ 6858000 h 6858000"/>
              <a:gd name="connsiteX306" fmla="*/ 5898547 w 7467600"/>
              <a:gd name="connsiteY306" fmla="*/ 6858000 h 6858000"/>
              <a:gd name="connsiteX307" fmla="*/ 5682041 w 7467600"/>
              <a:gd name="connsiteY307" fmla="*/ 6355860 h 6858000"/>
              <a:gd name="connsiteX308" fmla="*/ 5461758 w 7467600"/>
              <a:gd name="connsiteY308" fmla="*/ 5820220 h 6858000"/>
              <a:gd name="connsiteX309" fmla="*/ 5237282 w 7467600"/>
              <a:gd name="connsiteY309" fmla="*/ 6579086 h 6858000"/>
              <a:gd name="connsiteX310" fmla="*/ 5115009 w 7467600"/>
              <a:gd name="connsiteY310" fmla="*/ 6858000 h 6858000"/>
              <a:gd name="connsiteX311" fmla="*/ 5028074 w 7467600"/>
              <a:gd name="connsiteY311" fmla="*/ 6858000 h 6858000"/>
              <a:gd name="connsiteX312" fmla="*/ 5079508 w 7467600"/>
              <a:gd name="connsiteY312" fmla="*/ 6749074 h 6858000"/>
              <a:gd name="connsiteX313" fmla="*/ 5371846 w 7467600"/>
              <a:gd name="connsiteY313" fmla="*/ 5924413 h 6858000"/>
              <a:gd name="connsiteX314" fmla="*/ 5270512 w 7467600"/>
              <a:gd name="connsiteY314" fmla="*/ 6138975 h 6858000"/>
              <a:gd name="connsiteX315" fmla="*/ 5062409 w 7467600"/>
              <a:gd name="connsiteY315" fmla="*/ 6653544 h 6858000"/>
              <a:gd name="connsiteX316" fmla="*/ 5036628 w 7467600"/>
              <a:gd name="connsiteY316" fmla="*/ 6754247 h 6858000"/>
              <a:gd name="connsiteX317" fmla="*/ 5009112 w 7467600"/>
              <a:gd name="connsiteY317" fmla="*/ 6858000 h 6858000"/>
              <a:gd name="connsiteX318" fmla="*/ 4976679 w 7467600"/>
              <a:gd name="connsiteY318" fmla="*/ 6858000 h 6858000"/>
              <a:gd name="connsiteX319" fmla="*/ 5006537 w 7467600"/>
              <a:gd name="connsiteY319" fmla="*/ 6747068 h 6858000"/>
              <a:gd name="connsiteX320" fmla="*/ 5032723 w 7467600"/>
              <a:gd name="connsiteY320" fmla="*/ 6644957 h 6858000"/>
              <a:gd name="connsiteX321" fmla="*/ 5242949 w 7467600"/>
              <a:gd name="connsiteY321" fmla="*/ 6125175 h 6858000"/>
              <a:gd name="connsiteX322" fmla="*/ 5286321 w 7467600"/>
              <a:gd name="connsiteY322" fmla="*/ 6033555 h 6858000"/>
              <a:gd name="connsiteX323" fmla="*/ 5008210 w 7467600"/>
              <a:gd name="connsiteY323" fmla="*/ 6649194 h 6858000"/>
              <a:gd name="connsiteX324" fmla="*/ 4986321 w 7467600"/>
              <a:gd name="connsiteY324" fmla="*/ 6765687 h 6858000"/>
              <a:gd name="connsiteX325" fmla="*/ 4973474 w 7467600"/>
              <a:gd name="connsiteY325" fmla="*/ 6858000 h 6858000"/>
              <a:gd name="connsiteX326" fmla="*/ 4907178 w 7467600"/>
              <a:gd name="connsiteY326" fmla="*/ 6858000 h 6858000"/>
              <a:gd name="connsiteX327" fmla="*/ 4910810 w 7467600"/>
              <a:gd name="connsiteY327" fmla="*/ 6829660 h 6858000"/>
              <a:gd name="connsiteX328" fmla="*/ 4987461 w 7467600"/>
              <a:gd name="connsiteY328" fmla="*/ 6432994 h 6858000"/>
              <a:gd name="connsiteX329" fmla="*/ 5179262 w 7467600"/>
              <a:gd name="connsiteY329" fmla="*/ 6035044 h 6858000"/>
              <a:gd name="connsiteX330" fmla="*/ 4689678 w 7467600"/>
              <a:gd name="connsiteY330" fmla="*/ 6440241 h 6858000"/>
              <a:gd name="connsiteX331" fmla="*/ 4477543 w 7467600"/>
              <a:gd name="connsiteY331" fmla="*/ 6674836 h 6858000"/>
              <a:gd name="connsiteX332" fmla="*/ 4329957 w 7467600"/>
              <a:gd name="connsiteY332" fmla="*/ 6858000 h 6858000"/>
              <a:gd name="connsiteX333" fmla="*/ 4218595 w 7467600"/>
              <a:gd name="connsiteY333" fmla="*/ 6858000 h 6858000"/>
              <a:gd name="connsiteX334" fmla="*/ 4368888 w 7467600"/>
              <a:gd name="connsiteY334" fmla="*/ 6668412 h 6858000"/>
              <a:gd name="connsiteX335" fmla="*/ 4563091 w 7467600"/>
              <a:gd name="connsiteY335" fmla="*/ 6442508 h 6858000"/>
              <a:gd name="connsiteX336" fmla="*/ 5387324 w 7467600"/>
              <a:gd name="connsiteY336" fmla="*/ 5705830 h 6858000"/>
              <a:gd name="connsiteX337" fmla="*/ 5073620 w 7467600"/>
              <a:gd name="connsiteY337" fmla="*/ 5955437 h 6858000"/>
              <a:gd name="connsiteX338" fmla="*/ 4689789 w 7467600"/>
              <a:gd name="connsiteY338" fmla="*/ 6268382 h 6858000"/>
              <a:gd name="connsiteX339" fmla="*/ 4418722 w 7467600"/>
              <a:gd name="connsiteY339" fmla="*/ 6570886 h 6858000"/>
              <a:gd name="connsiteX340" fmla="*/ 4214944 w 7467600"/>
              <a:gd name="connsiteY340" fmla="*/ 6858000 h 6858000"/>
              <a:gd name="connsiteX341" fmla="*/ 4177898 w 7467600"/>
              <a:gd name="connsiteY341" fmla="*/ 6858000 h 6858000"/>
              <a:gd name="connsiteX342" fmla="*/ 4391597 w 7467600"/>
              <a:gd name="connsiteY342" fmla="*/ 6556370 h 6858000"/>
              <a:gd name="connsiteX343" fmla="*/ 4668889 w 7467600"/>
              <a:gd name="connsiteY343" fmla="*/ 6246399 h 6858000"/>
              <a:gd name="connsiteX344" fmla="*/ 5055427 w 7467600"/>
              <a:gd name="connsiteY344" fmla="*/ 5931476 h 6858000"/>
              <a:gd name="connsiteX345" fmla="*/ 5371814 w 7467600"/>
              <a:gd name="connsiteY345" fmla="*/ 5678975 h 6858000"/>
              <a:gd name="connsiteX346" fmla="*/ 4987918 w 7467600"/>
              <a:gd name="connsiteY346" fmla="*/ 5838701 h 6858000"/>
              <a:gd name="connsiteX347" fmla="*/ 4317146 w 7467600"/>
              <a:gd name="connsiteY347" fmla="*/ 6587716 h 6858000"/>
              <a:gd name="connsiteX348" fmla="*/ 4171627 w 7467600"/>
              <a:gd name="connsiteY348" fmla="*/ 6858000 h 6858000"/>
              <a:gd name="connsiteX349" fmla="*/ 4081585 w 7467600"/>
              <a:gd name="connsiteY349" fmla="*/ 6858000 h 6858000"/>
              <a:gd name="connsiteX350" fmla="*/ 4238603 w 7467600"/>
              <a:gd name="connsiteY350" fmla="*/ 6559341 h 6858000"/>
              <a:gd name="connsiteX351" fmla="*/ 4778333 w 7467600"/>
              <a:gd name="connsiteY351" fmla="*/ 5873626 h 6858000"/>
              <a:gd name="connsiteX352" fmla="*/ 5414185 w 7467600"/>
              <a:gd name="connsiteY352" fmla="*/ 5573882 h 6858000"/>
              <a:gd name="connsiteX353" fmla="*/ 5959648 w 7467600"/>
              <a:gd name="connsiteY353" fmla="*/ 4760797 h 6858000"/>
              <a:gd name="connsiteX354" fmla="*/ 5355019 w 7467600"/>
              <a:gd name="connsiteY354" fmla="*/ 4734672 h 6858000"/>
              <a:gd name="connsiteX355" fmla="*/ 5083565 w 7467600"/>
              <a:gd name="connsiteY355" fmla="*/ 5179121 h 6858000"/>
              <a:gd name="connsiteX356" fmla="*/ 4713577 w 7467600"/>
              <a:gd name="connsiteY356" fmla="*/ 5616803 h 6858000"/>
              <a:gd name="connsiteX357" fmla="*/ 3989559 w 7467600"/>
              <a:gd name="connsiteY357" fmla="*/ 6145945 h 6858000"/>
              <a:gd name="connsiteX358" fmla="*/ 3939824 w 7467600"/>
              <a:gd name="connsiteY358" fmla="*/ 6066900 h 6858000"/>
              <a:gd name="connsiteX359" fmla="*/ 4584537 w 7467600"/>
              <a:gd name="connsiteY359" fmla="*/ 5324826 h 6858000"/>
              <a:gd name="connsiteX360" fmla="*/ 5037105 w 7467600"/>
              <a:gd name="connsiteY360" fmla="*/ 5088765 h 6858000"/>
              <a:gd name="connsiteX361" fmla="*/ 5039930 w 7467600"/>
              <a:gd name="connsiteY361" fmla="*/ 5089585 h 6858000"/>
              <a:gd name="connsiteX362" fmla="*/ 5263764 w 7467600"/>
              <a:gd name="connsiteY362" fmla="*/ 4735525 h 6858000"/>
              <a:gd name="connsiteX363" fmla="*/ 4086300 w 7467600"/>
              <a:gd name="connsiteY363" fmla="*/ 4884599 h 6858000"/>
              <a:gd name="connsiteX364" fmla="*/ 4085485 w 7467600"/>
              <a:gd name="connsiteY364" fmla="*/ 4899070 h 6858000"/>
              <a:gd name="connsiteX365" fmla="*/ 3871915 w 7467600"/>
              <a:gd name="connsiteY365" fmla="*/ 5253645 h 6858000"/>
              <a:gd name="connsiteX366" fmla="*/ 3799374 w 7467600"/>
              <a:gd name="connsiteY366" fmla="*/ 5466127 h 6858000"/>
              <a:gd name="connsiteX367" fmla="*/ 3498850 w 7467600"/>
              <a:gd name="connsiteY367" fmla="*/ 6661888 h 6858000"/>
              <a:gd name="connsiteX368" fmla="*/ 3399216 w 7467600"/>
              <a:gd name="connsiteY368" fmla="*/ 6858000 h 6858000"/>
              <a:gd name="connsiteX369" fmla="*/ 3303688 w 7467600"/>
              <a:gd name="connsiteY369" fmla="*/ 6858000 h 6858000"/>
              <a:gd name="connsiteX370" fmla="*/ 3391774 w 7467600"/>
              <a:gd name="connsiteY370" fmla="*/ 6697181 h 6858000"/>
              <a:gd name="connsiteX371" fmla="*/ 3735540 w 7467600"/>
              <a:gd name="connsiteY371" fmla="*/ 5546923 h 6858000"/>
              <a:gd name="connsiteX372" fmla="*/ 3729438 w 7467600"/>
              <a:gd name="connsiteY372" fmla="*/ 5569058 h 6858000"/>
              <a:gd name="connsiteX373" fmla="*/ 3707782 w 7467600"/>
              <a:gd name="connsiteY373" fmla="*/ 5644908 h 6858000"/>
              <a:gd name="connsiteX374" fmla="*/ 3583827 w 7467600"/>
              <a:gd name="connsiteY374" fmla="*/ 6039215 h 6858000"/>
              <a:gd name="connsiteX375" fmla="*/ 3547861 w 7467600"/>
              <a:gd name="connsiteY375" fmla="*/ 6129609 h 6858000"/>
              <a:gd name="connsiteX376" fmla="*/ 3490905 w 7467600"/>
              <a:gd name="connsiteY376" fmla="*/ 6277660 h 6858000"/>
              <a:gd name="connsiteX377" fmla="*/ 3455859 w 7467600"/>
              <a:gd name="connsiteY377" fmla="*/ 6391301 h 6858000"/>
              <a:gd name="connsiteX378" fmla="*/ 3429112 w 7467600"/>
              <a:gd name="connsiteY378" fmla="*/ 6479469 h 6858000"/>
              <a:gd name="connsiteX379" fmla="*/ 3304862 w 7467600"/>
              <a:gd name="connsiteY379" fmla="*/ 6796476 h 6858000"/>
              <a:gd name="connsiteX380" fmla="*/ 3276071 w 7467600"/>
              <a:gd name="connsiteY380" fmla="*/ 6858000 h 6858000"/>
              <a:gd name="connsiteX381" fmla="*/ 3240805 w 7467600"/>
              <a:gd name="connsiteY381" fmla="*/ 6858000 h 6858000"/>
              <a:gd name="connsiteX382" fmla="*/ 3275917 w 7467600"/>
              <a:gd name="connsiteY382" fmla="*/ 6783192 h 6858000"/>
              <a:gd name="connsiteX383" fmla="*/ 3399358 w 7467600"/>
              <a:gd name="connsiteY383" fmla="*/ 6469011 h 6858000"/>
              <a:gd name="connsiteX384" fmla="*/ 3425650 w 7467600"/>
              <a:gd name="connsiteY384" fmla="*/ 6381333 h 6858000"/>
              <a:gd name="connsiteX385" fmla="*/ 3460661 w 7467600"/>
              <a:gd name="connsiteY385" fmla="*/ 6266763 h 6858000"/>
              <a:gd name="connsiteX386" fmla="*/ 3518021 w 7467600"/>
              <a:gd name="connsiteY386" fmla="*/ 6117298 h 6858000"/>
              <a:gd name="connsiteX387" fmla="*/ 3554035 w 7467600"/>
              <a:gd name="connsiteY387" fmla="*/ 6027832 h 6858000"/>
              <a:gd name="connsiteX388" fmla="*/ 3677174 w 7467600"/>
              <a:gd name="connsiteY388" fmla="*/ 5636351 h 6858000"/>
              <a:gd name="connsiteX389" fmla="*/ 3698819 w 7467600"/>
              <a:gd name="connsiteY389" fmla="*/ 5560503 h 6858000"/>
              <a:gd name="connsiteX390" fmla="*/ 3702094 w 7467600"/>
              <a:gd name="connsiteY390" fmla="*/ 5549194 h 6858000"/>
              <a:gd name="connsiteX391" fmla="*/ 3398355 w 7467600"/>
              <a:gd name="connsiteY391" fmla="*/ 6094603 h 6858000"/>
              <a:gd name="connsiteX392" fmla="*/ 3193941 w 7467600"/>
              <a:gd name="connsiteY392" fmla="*/ 6798775 h 6858000"/>
              <a:gd name="connsiteX393" fmla="*/ 3184140 w 7467600"/>
              <a:gd name="connsiteY393" fmla="*/ 6858000 h 6858000"/>
              <a:gd name="connsiteX394" fmla="*/ 3099978 w 7467600"/>
              <a:gd name="connsiteY394" fmla="*/ 6858000 h 6858000"/>
              <a:gd name="connsiteX395" fmla="*/ 3101556 w 7467600"/>
              <a:gd name="connsiteY395" fmla="*/ 6843337 h 6858000"/>
              <a:gd name="connsiteX396" fmla="*/ 3370162 w 7467600"/>
              <a:gd name="connsiteY396" fmla="*/ 5785550 h 6858000"/>
              <a:gd name="connsiteX397" fmla="*/ 3746477 w 7467600"/>
              <a:gd name="connsiteY397" fmla="*/ 5377889 h 6858000"/>
              <a:gd name="connsiteX398" fmla="*/ 3863399 w 7467600"/>
              <a:gd name="connsiteY398" fmla="*/ 5087257 h 6858000"/>
              <a:gd name="connsiteX399" fmla="*/ 3968712 w 7467600"/>
              <a:gd name="connsiteY399" fmla="*/ 4913989 h 6858000"/>
              <a:gd name="connsiteX400" fmla="*/ 2792390 w 7467600"/>
              <a:gd name="connsiteY400" fmla="*/ 5382974 h 6858000"/>
              <a:gd name="connsiteX401" fmla="*/ 2714982 w 7467600"/>
              <a:gd name="connsiteY401" fmla="*/ 5427051 h 6858000"/>
              <a:gd name="connsiteX402" fmla="*/ 2813361 w 7467600"/>
              <a:gd name="connsiteY402" fmla="*/ 6023912 h 6858000"/>
              <a:gd name="connsiteX403" fmla="*/ 2688430 w 7467600"/>
              <a:gd name="connsiteY403" fmla="*/ 6801564 h 6858000"/>
              <a:gd name="connsiteX404" fmla="*/ 2629626 w 7467600"/>
              <a:gd name="connsiteY404" fmla="*/ 6763394 h 6858000"/>
              <a:gd name="connsiteX405" fmla="*/ 2565328 w 7467600"/>
              <a:gd name="connsiteY405" fmla="*/ 5516399 h 6858000"/>
              <a:gd name="connsiteX406" fmla="*/ 1922999 w 7467600"/>
              <a:gd name="connsiteY406" fmla="*/ 5980343 h 6858000"/>
              <a:gd name="connsiteX407" fmla="*/ 1950261 w 7467600"/>
              <a:gd name="connsiteY407" fmla="*/ 6405858 h 6858000"/>
              <a:gd name="connsiteX408" fmla="*/ 2365554 w 7467600"/>
              <a:gd name="connsiteY408" fmla="*/ 6759107 h 6858000"/>
              <a:gd name="connsiteX409" fmla="*/ 2424142 w 7467600"/>
              <a:gd name="connsiteY409" fmla="*/ 6858000 h 6858000"/>
              <a:gd name="connsiteX410" fmla="*/ 2395994 w 7467600"/>
              <a:gd name="connsiteY410" fmla="*/ 6858000 h 6858000"/>
              <a:gd name="connsiteX411" fmla="*/ 2392863 w 7467600"/>
              <a:gd name="connsiteY411" fmla="*/ 6852964 h 6858000"/>
              <a:gd name="connsiteX412" fmla="*/ 2017589 w 7467600"/>
              <a:gd name="connsiteY412" fmla="*/ 6493982 h 6858000"/>
              <a:gd name="connsiteX413" fmla="*/ 2147336 w 7467600"/>
              <a:gd name="connsiteY413" fmla="*/ 6594052 h 6858000"/>
              <a:gd name="connsiteX414" fmla="*/ 2207047 w 7467600"/>
              <a:gd name="connsiteY414" fmla="*/ 6654540 h 6858000"/>
              <a:gd name="connsiteX415" fmla="*/ 2299106 w 7467600"/>
              <a:gd name="connsiteY415" fmla="*/ 6778931 h 6858000"/>
              <a:gd name="connsiteX416" fmla="*/ 2314430 w 7467600"/>
              <a:gd name="connsiteY416" fmla="*/ 6801144 h 6858000"/>
              <a:gd name="connsiteX417" fmla="*/ 2352406 w 7467600"/>
              <a:gd name="connsiteY417" fmla="*/ 6858000 h 6858000"/>
              <a:gd name="connsiteX418" fmla="*/ 2314492 w 7467600"/>
              <a:gd name="connsiteY418" fmla="*/ 6858000 h 6858000"/>
              <a:gd name="connsiteX419" fmla="*/ 2288095 w 7467600"/>
              <a:gd name="connsiteY419" fmla="*/ 6818030 h 6858000"/>
              <a:gd name="connsiteX420" fmla="*/ 2272768 w 7467600"/>
              <a:gd name="connsiteY420" fmla="*/ 6795822 h 6858000"/>
              <a:gd name="connsiteX421" fmla="*/ 2182715 w 7467600"/>
              <a:gd name="connsiteY421" fmla="*/ 6675071 h 6858000"/>
              <a:gd name="connsiteX422" fmla="*/ 2032061 w 7467600"/>
              <a:gd name="connsiteY422" fmla="*/ 6541380 h 6858000"/>
              <a:gd name="connsiteX423" fmla="*/ 2257220 w 7467600"/>
              <a:gd name="connsiteY423" fmla="*/ 6826257 h 6858000"/>
              <a:gd name="connsiteX424" fmla="*/ 2281324 w 7467600"/>
              <a:gd name="connsiteY424" fmla="*/ 6858000 h 6858000"/>
              <a:gd name="connsiteX425" fmla="*/ 2242860 w 7467600"/>
              <a:gd name="connsiteY425" fmla="*/ 6858000 h 6858000"/>
              <a:gd name="connsiteX426" fmla="*/ 2232818 w 7467600"/>
              <a:gd name="connsiteY426" fmla="*/ 6844926 h 6858000"/>
              <a:gd name="connsiteX427" fmla="*/ 1990172 w 7467600"/>
              <a:gd name="connsiteY427" fmla="*/ 6542121 h 6858000"/>
              <a:gd name="connsiteX428" fmla="*/ 2124090 w 7467600"/>
              <a:gd name="connsiteY428" fmla="*/ 6761017 h 6858000"/>
              <a:gd name="connsiteX429" fmla="*/ 2200380 w 7467600"/>
              <a:gd name="connsiteY429" fmla="*/ 6858000 h 6858000"/>
              <a:gd name="connsiteX430" fmla="*/ 2147507 w 7467600"/>
              <a:gd name="connsiteY430" fmla="*/ 6858000 h 6858000"/>
              <a:gd name="connsiteX431" fmla="*/ 2070668 w 7467600"/>
              <a:gd name="connsiteY431" fmla="*/ 6761520 h 6858000"/>
              <a:gd name="connsiteX432" fmla="*/ 1975142 w 7467600"/>
              <a:gd name="connsiteY432" fmla="*/ 6585570 h 6858000"/>
              <a:gd name="connsiteX433" fmla="*/ 2050035 w 7467600"/>
              <a:gd name="connsiteY433" fmla="*/ 6813345 h 6858000"/>
              <a:gd name="connsiteX434" fmla="*/ 2063025 w 7467600"/>
              <a:gd name="connsiteY434" fmla="*/ 6858000 h 6858000"/>
              <a:gd name="connsiteX435" fmla="*/ 2021675 w 7467600"/>
              <a:gd name="connsiteY435" fmla="*/ 6858000 h 6858000"/>
              <a:gd name="connsiteX436" fmla="*/ 2019308 w 7467600"/>
              <a:gd name="connsiteY436" fmla="*/ 6847118 h 6858000"/>
              <a:gd name="connsiteX437" fmla="*/ 1938835 w 7467600"/>
              <a:gd name="connsiteY437" fmla="*/ 6551160 h 6858000"/>
              <a:gd name="connsiteX438" fmla="*/ 1953230 w 7467600"/>
              <a:gd name="connsiteY438" fmla="*/ 6759699 h 6858000"/>
              <a:gd name="connsiteX439" fmla="*/ 1956763 w 7467600"/>
              <a:gd name="connsiteY439" fmla="*/ 6778191 h 6858000"/>
              <a:gd name="connsiteX440" fmla="*/ 1967925 w 7467600"/>
              <a:gd name="connsiteY440" fmla="*/ 6858000 h 6858000"/>
              <a:gd name="connsiteX441" fmla="*/ 1936622 w 7467600"/>
              <a:gd name="connsiteY441" fmla="*/ 6858000 h 6858000"/>
              <a:gd name="connsiteX442" fmla="*/ 1926261 w 7467600"/>
              <a:gd name="connsiteY442" fmla="*/ 6784064 h 6858000"/>
              <a:gd name="connsiteX443" fmla="*/ 1922724 w 7467600"/>
              <a:gd name="connsiteY443" fmla="*/ 6765577 h 6858000"/>
              <a:gd name="connsiteX444" fmla="*/ 1904650 w 7467600"/>
              <a:gd name="connsiteY444" fmla="*/ 6639616 h 6858000"/>
              <a:gd name="connsiteX445" fmla="*/ 1885273 w 7467600"/>
              <a:gd name="connsiteY445" fmla="*/ 6858000 h 6858000"/>
              <a:gd name="connsiteX446" fmla="*/ 1854363 w 7467600"/>
              <a:gd name="connsiteY446" fmla="*/ 6858000 h 6858000"/>
              <a:gd name="connsiteX447" fmla="*/ 1880391 w 7467600"/>
              <a:gd name="connsiteY447" fmla="*/ 6603796 h 6858000"/>
              <a:gd name="connsiteX448" fmla="*/ 1818273 w 7467600"/>
              <a:gd name="connsiteY448" fmla="*/ 6715729 h 6858000"/>
              <a:gd name="connsiteX449" fmla="*/ 1794691 w 7467600"/>
              <a:gd name="connsiteY449" fmla="*/ 6843239 h 6858000"/>
              <a:gd name="connsiteX450" fmla="*/ 1794914 w 7467600"/>
              <a:gd name="connsiteY450" fmla="*/ 6858000 h 6858000"/>
              <a:gd name="connsiteX451" fmla="*/ 1746128 w 7467600"/>
              <a:gd name="connsiteY451" fmla="*/ 6858000 h 6858000"/>
              <a:gd name="connsiteX452" fmla="*/ 1753934 w 7467600"/>
              <a:gd name="connsiteY452" fmla="*/ 6724796 h 6858000"/>
              <a:gd name="connsiteX453" fmla="*/ 1792053 w 7467600"/>
              <a:gd name="connsiteY453" fmla="*/ 6572396 h 6858000"/>
              <a:gd name="connsiteX454" fmla="*/ 1862248 w 7467600"/>
              <a:gd name="connsiteY454" fmla="*/ 6266397 h 6858000"/>
              <a:gd name="connsiteX455" fmla="*/ 1862250 w 7467600"/>
              <a:gd name="connsiteY455" fmla="*/ 6033531 h 6858000"/>
              <a:gd name="connsiteX456" fmla="*/ 1211999 w 7467600"/>
              <a:gd name="connsiteY456" fmla="*/ 6683610 h 6858000"/>
              <a:gd name="connsiteX457" fmla="*/ 1213266 w 7467600"/>
              <a:gd name="connsiteY457" fmla="*/ 6691947 h 6858000"/>
              <a:gd name="connsiteX458" fmla="*/ 1203370 w 7467600"/>
              <a:gd name="connsiteY458" fmla="*/ 6850676 h 6858000"/>
              <a:gd name="connsiteX459" fmla="*/ 1203671 w 7467600"/>
              <a:gd name="connsiteY459" fmla="*/ 6858000 h 6858000"/>
              <a:gd name="connsiteX460" fmla="*/ 1143180 w 7467600"/>
              <a:gd name="connsiteY460" fmla="*/ 6858000 h 6858000"/>
              <a:gd name="connsiteX461" fmla="*/ 1142176 w 7467600"/>
              <a:gd name="connsiteY461" fmla="*/ 6766045 h 6858000"/>
              <a:gd name="connsiteX462" fmla="*/ 1067484 w 7467600"/>
              <a:gd name="connsiteY462" fmla="*/ 6858000 h 6858000"/>
              <a:gd name="connsiteX463" fmla="*/ 953928 w 7467600"/>
              <a:gd name="connsiteY463" fmla="*/ 6858000 h 6858000"/>
              <a:gd name="connsiteX464" fmla="*/ 959715 w 7467600"/>
              <a:gd name="connsiteY464" fmla="*/ 6850185 h 6858000"/>
              <a:gd name="connsiteX465" fmla="*/ 1483788 w 7467600"/>
              <a:gd name="connsiteY465" fmla="*/ 6259174 h 6858000"/>
              <a:gd name="connsiteX466" fmla="*/ 1100671 w 7467600"/>
              <a:gd name="connsiteY466" fmla="*/ 6252137 h 6858000"/>
              <a:gd name="connsiteX467" fmla="*/ 1090144 w 7467600"/>
              <a:gd name="connsiteY467" fmla="*/ 6256748 h 6858000"/>
              <a:gd name="connsiteX468" fmla="*/ 1095872 w 7467600"/>
              <a:gd name="connsiteY468" fmla="*/ 6271892 h 6858000"/>
              <a:gd name="connsiteX469" fmla="*/ 262785 w 7467600"/>
              <a:gd name="connsiteY469" fmla="*/ 6845450 h 6858000"/>
              <a:gd name="connsiteX470" fmla="*/ 209968 w 7467600"/>
              <a:gd name="connsiteY470" fmla="*/ 6770713 h 6858000"/>
              <a:gd name="connsiteX471" fmla="*/ 873460 w 7467600"/>
              <a:gd name="connsiteY471" fmla="*/ 6253768 h 6858000"/>
              <a:gd name="connsiteX472" fmla="*/ 192686 w 7467600"/>
              <a:gd name="connsiteY472" fmla="*/ 5849257 h 6858000"/>
              <a:gd name="connsiteX473" fmla="*/ 4696 w 7467600"/>
              <a:gd name="connsiteY473" fmla="*/ 5697668 h 6858000"/>
              <a:gd name="connsiteX474" fmla="*/ 0 w 7467600"/>
              <a:gd name="connsiteY474" fmla="*/ 5689984 h 6858000"/>
              <a:gd name="connsiteX475" fmla="*/ 0 w 7467600"/>
              <a:gd name="connsiteY475" fmla="*/ 5513472 h 6858000"/>
              <a:gd name="connsiteX476" fmla="*/ 174101 w 7467600"/>
              <a:gd name="connsiteY476" fmla="*/ 5620277 h 6858000"/>
              <a:gd name="connsiteX477" fmla="*/ 891800 w 7467600"/>
              <a:gd name="connsiteY477" fmla="*/ 6036935 h 6858000"/>
              <a:gd name="connsiteX478" fmla="*/ 1072219 w 7467600"/>
              <a:gd name="connsiteY478" fmla="*/ 6169443 h 6858000"/>
              <a:gd name="connsiteX479" fmla="*/ 1074117 w 7467600"/>
              <a:gd name="connsiteY479" fmla="*/ 6170301 h 6858000"/>
              <a:gd name="connsiteX480" fmla="*/ 1083114 w 7467600"/>
              <a:gd name="connsiteY480" fmla="*/ 6174131 h 6858000"/>
              <a:gd name="connsiteX481" fmla="*/ 1543010 w 7467600"/>
              <a:gd name="connsiteY481" fmla="*/ 6191140 h 6858000"/>
              <a:gd name="connsiteX482" fmla="*/ 1551080 w 7467600"/>
              <a:gd name="connsiteY482" fmla="*/ 6195006 h 6858000"/>
              <a:gd name="connsiteX483" fmla="*/ 2345443 w 7467600"/>
              <a:gd name="connsiteY483" fmla="*/ 5549882 h 6858000"/>
              <a:gd name="connsiteX484" fmla="*/ 1721499 w 7467600"/>
              <a:gd name="connsiteY484" fmla="*/ 5599969 h 6858000"/>
              <a:gd name="connsiteX485" fmla="*/ 767716 w 7467600"/>
              <a:gd name="connsiteY485" fmla="*/ 5472768 h 6858000"/>
              <a:gd name="connsiteX486" fmla="*/ 722147 w 7467600"/>
              <a:gd name="connsiteY486" fmla="*/ 5393091 h 6858000"/>
              <a:gd name="connsiteX487" fmla="*/ 1485552 w 7467600"/>
              <a:gd name="connsiteY487" fmla="*/ 5313202 h 6858000"/>
              <a:gd name="connsiteX488" fmla="*/ 2143004 w 7467600"/>
              <a:gd name="connsiteY488" fmla="*/ 5402420 h 6858000"/>
              <a:gd name="connsiteX489" fmla="*/ 1933391 w 7467600"/>
              <a:gd name="connsiteY489" fmla="*/ 5156971 h 6858000"/>
              <a:gd name="connsiteX490" fmla="*/ 1827118 w 7467600"/>
              <a:gd name="connsiteY490" fmla="*/ 4968410 h 6858000"/>
              <a:gd name="connsiteX491" fmla="*/ 1837349 w 7467600"/>
              <a:gd name="connsiteY491" fmla="*/ 4956357 h 6858000"/>
              <a:gd name="connsiteX492" fmla="*/ 2162835 w 7467600"/>
              <a:gd name="connsiteY492" fmla="*/ 5187853 h 6858000"/>
              <a:gd name="connsiteX493" fmla="*/ 2257167 w 7467600"/>
              <a:gd name="connsiteY493" fmla="*/ 5462123 h 6858000"/>
              <a:gd name="connsiteX494" fmla="*/ 2261598 w 7467600"/>
              <a:gd name="connsiteY494" fmla="*/ 5467998 h 6858000"/>
              <a:gd name="connsiteX495" fmla="*/ 2437177 w 7467600"/>
              <a:gd name="connsiteY495" fmla="*/ 5479608 h 6858000"/>
              <a:gd name="connsiteX496" fmla="*/ 2445247 w 7467600"/>
              <a:gd name="connsiteY496" fmla="*/ 5483476 h 6858000"/>
              <a:gd name="connsiteX497" fmla="*/ 2743626 w 7467600"/>
              <a:gd name="connsiteY497" fmla="*/ 5304819 h 6858000"/>
              <a:gd name="connsiteX498" fmla="*/ 3048102 w 7467600"/>
              <a:gd name="connsiteY498" fmla="*/ 5150595 h 6858000"/>
              <a:gd name="connsiteX499" fmla="*/ 1799414 w 7467600"/>
              <a:gd name="connsiteY499" fmla="*/ 4694732 h 6858000"/>
              <a:gd name="connsiteX500" fmla="*/ 1771735 w 7467600"/>
              <a:gd name="connsiteY500" fmla="*/ 4619929 h 6858000"/>
              <a:gd name="connsiteX501" fmla="*/ 3104273 w 7467600"/>
              <a:gd name="connsiteY501" fmla="*/ 5076159 h 6858000"/>
              <a:gd name="connsiteX502" fmla="*/ 3113245 w 7467600"/>
              <a:gd name="connsiteY502" fmla="*/ 5090705 h 6858000"/>
              <a:gd name="connsiteX503" fmla="*/ 3126294 w 7467600"/>
              <a:gd name="connsiteY503" fmla="*/ 5114400 h 6858000"/>
              <a:gd name="connsiteX504" fmla="*/ 3937433 w 7467600"/>
              <a:gd name="connsiteY504" fmla="*/ 4830473 h 6858000"/>
              <a:gd name="connsiteX505" fmla="*/ 3590475 w 7467600"/>
              <a:gd name="connsiteY505" fmla="*/ 4597974 h 6858000"/>
              <a:gd name="connsiteX506" fmla="*/ 3100264 w 7467600"/>
              <a:gd name="connsiteY506" fmla="*/ 4579845 h 6858000"/>
              <a:gd name="connsiteX507" fmla="*/ 2183576 w 7467600"/>
              <a:gd name="connsiteY507" fmla="*/ 4227150 h 6858000"/>
              <a:gd name="connsiteX508" fmla="*/ 2151029 w 7467600"/>
              <a:gd name="connsiteY508" fmla="*/ 4146947 h 6858000"/>
              <a:gd name="connsiteX509" fmla="*/ 3563434 w 7467600"/>
              <a:gd name="connsiteY509" fmla="*/ 4469115 h 6858000"/>
              <a:gd name="connsiteX510" fmla="*/ 3177952 w 7467600"/>
              <a:gd name="connsiteY510" fmla="*/ 3657386 h 6858000"/>
              <a:gd name="connsiteX511" fmla="*/ 3189263 w 7467600"/>
              <a:gd name="connsiteY511" fmla="*/ 3625726 h 6858000"/>
              <a:gd name="connsiteX512" fmla="*/ 3560912 w 7467600"/>
              <a:gd name="connsiteY512" fmla="*/ 4079863 h 6858000"/>
              <a:gd name="connsiteX513" fmla="*/ 3626636 w 7467600"/>
              <a:gd name="connsiteY513" fmla="*/ 4512230 h 6858000"/>
              <a:gd name="connsiteX514" fmla="*/ 3653088 w 7467600"/>
              <a:gd name="connsiteY514" fmla="*/ 4521417 h 6858000"/>
              <a:gd name="connsiteX515" fmla="*/ 3988128 w 7467600"/>
              <a:gd name="connsiteY515" fmla="*/ 4817267 h 6858000"/>
              <a:gd name="connsiteX516" fmla="*/ 4830582 w 7467600"/>
              <a:gd name="connsiteY516" fmla="*/ 4676000 h 6858000"/>
              <a:gd name="connsiteX517" fmla="*/ 4830100 w 7467600"/>
              <a:gd name="connsiteY517" fmla="*/ 4675554 h 6858000"/>
              <a:gd name="connsiteX518" fmla="*/ 4036318 w 7467600"/>
              <a:gd name="connsiteY518" fmla="*/ 4147013 h 6858000"/>
              <a:gd name="connsiteX519" fmla="*/ 3432098 w 7467600"/>
              <a:gd name="connsiteY519" fmla="*/ 3537312 h 6858000"/>
              <a:gd name="connsiteX520" fmla="*/ 3446761 w 7467600"/>
              <a:gd name="connsiteY520" fmla="*/ 3461278 h 6858000"/>
              <a:gd name="connsiteX521" fmla="*/ 4419733 w 7467600"/>
              <a:gd name="connsiteY521" fmla="*/ 3963555 h 6858000"/>
              <a:gd name="connsiteX522" fmla="*/ 4781371 w 7467600"/>
              <a:gd name="connsiteY522" fmla="*/ 4458604 h 6858000"/>
              <a:gd name="connsiteX523" fmla="*/ 4780440 w 7467600"/>
              <a:gd name="connsiteY523" fmla="*/ 4470290 h 6858000"/>
              <a:gd name="connsiteX524" fmla="*/ 4898954 w 7467600"/>
              <a:gd name="connsiteY524" fmla="*/ 4662092 h 6858000"/>
              <a:gd name="connsiteX525" fmla="*/ 4900699 w 7467600"/>
              <a:gd name="connsiteY525" fmla="*/ 4670867 h 6858000"/>
              <a:gd name="connsiteX526" fmla="*/ 5714511 w 7467600"/>
              <a:gd name="connsiteY526" fmla="*/ 4663483 h 6858000"/>
              <a:gd name="connsiteX527" fmla="*/ 5464793 w 7467600"/>
              <a:gd name="connsiteY527" fmla="*/ 4393556 h 6858000"/>
              <a:gd name="connsiteX528" fmla="*/ 5461897 w 7467600"/>
              <a:gd name="connsiteY528" fmla="*/ 4390879 h 6858000"/>
              <a:gd name="connsiteX529" fmla="*/ 4294126 w 7467600"/>
              <a:gd name="connsiteY529" fmla="*/ 3303048 h 6858000"/>
              <a:gd name="connsiteX530" fmla="*/ 4305321 w 7467600"/>
              <a:gd name="connsiteY530" fmla="*/ 3256953 h 6858000"/>
              <a:gd name="connsiteX531" fmla="*/ 4949299 w 7467600"/>
              <a:gd name="connsiteY531" fmla="*/ 3766336 h 6858000"/>
              <a:gd name="connsiteX532" fmla="*/ 5291452 w 7467600"/>
              <a:gd name="connsiteY532" fmla="*/ 4076801 h 6858000"/>
              <a:gd name="connsiteX533" fmla="*/ 5434998 w 7467600"/>
              <a:gd name="connsiteY533" fmla="*/ 4254100 h 6858000"/>
              <a:gd name="connsiteX534" fmla="*/ 5351015 w 7467600"/>
              <a:gd name="connsiteY534" fmla="*/ 3760989 h 6858000"/>
              <a:gd name="connsiteX535" fmla="*/ 5413780 w 7467600"/>
              <a:gd name="connsiteY535" fmla="*/ 2966265 h 6858000"/>
              <a:gd name="connsiteX536" fmla="*/ 5425627 w 7467600"/>
              <a:gd name="connsiteY536" fmla="*/ 2954192 h 6858000"/>
              <a:gd name="connsiteX537" fmla="*/ 6604735 w 7467600"/>
              <a:gd name="connsiteY537" fmla="*/ 2041381 h 6858000"/>
              <a:gd name="connsiteX538" fmla="*/ 7204487 w 7467600"/>
              <a:gd name="connsiteY538" fmla="*/ 2742112 h 6858000"/>
              <a:gd name="connsiteX539" fmla="*/ 7131592 w 7467600"/>
              <a:gd name="connsiteY539" fmla="*/ 2672096 h 6858000"/>
              <a:gd name="connsiteX540" fmla="*/ 6996344 w 7467600"/>
              <a:gd name="connsiteY540" fmla="*/ 2518310 h 6858000"/>
              <a:gd name="connsiteX541" fmla="*/ 6735495 w 7467600"/>
              <a:gd name="connsiteY541" fmla="*/ 2196890 h 6858000"/>
              <a:gd name="connsiteX542" fmla="*/ 6721901 w 7467600"/>
              <a:gd name="connsiteY542" fmla="*/ 2179274 h 6858000"/>
              <a:gd name="connsiteX543" fmla="*/ 6604735 w 7467600"/>
              <a:gd name="connsiteY543" fmla="*/ 2041381 h 6858000"/>
              <a:gd name="connsiteX544" fmla="*/ 6591670 w 7467600"/>
              <a:gd name="connsiteY544" fmla="*/ 1988277 h 6858000"/>
              <a:gd name="connsiteX545" fmla="*/ 6747349 w 7467600"/>
              <a:gd name="connsiteY545" fmla="*/ 2160069 h 6858000"/>
              <a:gd name="connsiteX546" fmla="*/ 6760943 w 7467600"/>
              <a:gd name="connsiteY546" fmla="*/ 2177686 h 6858000"/>
              <a:gd name="connsiteX547" fmla="*/ 7021065 w 7467600"/>
              <a:gd name="connsiteY547" fmla="*/ 2498102 h 6858000"/>
              <a:gd name="connsiteX548" fmla="*/ 7155223 w 7467600"/>
              <a:gd name="connsiteY548" fmla="*/ 2650386 h 6858000"/>
              <a:gd name="connsiteX549" fmla="*/ 7203167 w 7467600"/>
              <a:gd name="connsiteY549" fmla="*/ 2697288 h 6858000"/>
              <a:gd name="connsiteX550" fmla="*/ 6937703 w 7467600"/>
              <a:gd name="connsiteY550" fmla="*/ 2321981 h 6858000"/>
              <a:gd name="connsiteX551" fmla="*/ 6591670 w 7467600"/>
              <a:gd name="connsiteY551" fmla="*/ 1988277 h 6858000"/>
              <a:gd name="connsiteX552" fmla="*/ 5798671 w 7467600"/>
              <a:gd name="connsiteY552" fmla="*/ 1981601 h 6858000"/>
              <a:gd name="connsiteX553" fmla="*/ 5754709 w 7467600"/>
              <a:gd name="connsiteY553" fmla="*/ 2071454 h 6858000"/>
              <a:gd name="connsiteX554" fmla="*/ 5763044 w 7467600"/>
              <a:gd name="connsiteY554" fmla="*/ 2842206 h 6858000"/>
              <a:gd name="connsiteX555" fmla="*/ 5764974 w 7467600"/>
              <a:gd name="connsiteY555" fmla="*/ 2799609 h 6858000"/>
              <a:gd name="connsiteX556" fmla="*/ 5767665 w 7467600"/>
              <a:gd name="connsiteY556" fmla="*/ 2666409 h 6858000"/>
              <a:gd name="connsiteX557" fmla="*/ 5763055 w 7467600"/>
              <a:gd name="connsiteY557" fmla="*/ 2579705 h 6858000"/>
              <a:gd name="connsiteX558" fmla="*/ 5758079 w 7467600"/>
              <a:gd name="connsiteY558" fmla="*/ 2492508 h 6858000"/>
              <a:gd name="connsiteX559" fmla="*/ 5779325 w 7467600"/>
              <a:gd name="connsiteY559" fmla="*/ 2197069 h 6858000"/>
              <a:gd name="connsiteX560" fmla="*/ 5798671 w 7467600"/>
              <a:gd name="connsiteY560" fmla="*/ 1981601 h 6858000"/>
              <a:gd name="connsiteX561" fmla="*/ 5829202 w 7467600"/>
              <a:gd name="connsiteY561" fmla="*/ 1971679 h 6858000"/>
              <a:gd name="connsiteX562" fmla="*/ 5809558 w 7467600"/>
              <a:gd name="connsiteY562" fmla="*/ 2198043 h 6858000"/>
              <a:gd name="connsiteX563" fmla="*/ 5788653 w 7467600"/>
              <a:gd name="connsiteY563" fmla="*/ 2489430 h 6858000"/>
              <a:gd name="connsiteX564" fmla="*/ 5793439 w 7467600"/>
              <a:gd name="connsiteY564" fmla="*/ 2575235 h 6858000"/>
              <a:gd name="connsiteX565" fmla="*/ 5796837 w 7467600"/>
              <a:gd name="connsiteY565" fmla="*/ 2637633 h 6858000"/>
              <a:gd name="connsiteX566" fmla="*/ 5818614 w 7467600"/>
              <a:gd name="connsiteY566" fmla="*/ 2473055 h 6858000"/>
              <a:gd name="connsiteX567" fmla="*/ 5829202 w 7467600"/>
              <a:gd name="connsiteY567" fmla="*/ 1971679 h 6858000"/>
              <a:gd name="connsiteX568" fmla="*/ 5911389 w 7467600"/>
              <a:gd name="connsiteY568" fmla="*/ 1898371 h 6858000"/>
              <a:gd name="connsiteX569" fmla="*/ 6237627 w 7467600"/>
              <a:gd name="connsiteY569" fmla="*/ 2231921 h 6858000"/>
              <a:gd name="connsiteX570" fmla="*/ 5911389 w 7467600"/>
              <a:gd name="connsiteY570" fmla="*/ 1898371 h 6858000"/>
              <a:gd name="connsiteX571" fmla="*/ 6944437 w 7467600"/>
              <a:gd name="connsiteY571" fmla="*/ 1575402 h 6858000"/>
              <a:gd name="connsiteX572" fmla="*/ 6304730 w 7467600"/>
              <a:gd name="connsiteY572" fmla="*/ 1766654 h 6858000"/>
              <a:gd name="connsiteX573" fmla="*/ 6944437 w 7467600"/>
              <a:gd name="connsiteY573" fmla="*/ 1575402 h 6858000"/>
              <a:gd name="connsiteX574" fmla="*/ 7019523 w 7467600"/>
              <a:gd name="connsiteY574" fmla="*/ 1519450 h 6858000"/>
              <a:gd name="connsiteX575" fmla="*/ 6298091 w 7467600"/>
              <a:gd name="connsiteY575" fmla="*/ 1737122 h 6858000"/>
              <a:gd name="connsiteX576" fmla="*/ 7019523 w 7467600"/>
              <a:gd name="connsiteY576" fmla="*/ 1519450 h 6858000"/>
              <a:gd name="connsiteX577" fmla="*/ 2399523 w 7467600"/>
              <a:gd name="connsiteY577" fmla="*/ 1428234 h 6858000"/>
              <a:gd name="connsiteX578" fmla="*/ 2224982 w 7467600"/>
              <a:gd name="connsiteY578" fmla="*/ 1826201 h 6858000"/>
              <a:gd name="connsiteX579" fmla="*/ 2096099 w 7467600"/>
              <a:gd name="connsiteY579" fmla="*/ 2345900 h 6858000"/>
              <a:gd name="connsiteX580" fmla="*/ 2283317 w 7467600"/>
              <a:gd name="connsiteY580" fmla="*/ 1796925 h 6858000"/>
              <a:gd name="connsiteX581" fmla="*/ 2399523 w 7467600"/>
              <a:gd name="connsiteY581" fmla="*/ 1428234 h 6858000"/>
              <a:gd name="connsiteX582" fmla="*/ 2448558 w 7467600"/>
              <a:gd name="connsiteY582" fmla="*/ 1373435 h 6858000"/>
              <a:gd name="connsiteX583" fmla="*/ 2312521 w 7467600"/>
              <a:gd name="connsiteY583" fmla="*/ 1806140 h 6858000"/>
              <a:gd name="connsiteX584" fmla="*/ 2127533 w 7467600"/>
              <a:gd name="connsiteY584" fmla="*/ 2348380 h 6858000"/>
              <a:gd name="connsiteX585" fmla="*/ 2358080 w 7467600"/>
              <a:gd name="connsiteY585" fmla="*/ 1866134 h 6858000"/>
              <a:gd name="connsiteX586" fmla="*/ 2407436 w 7467600"/>
              <a:gd name="connsiteY586" fmla="*/ 1651070 h 6858000"/>
              <a:gd name="connsiteX587" fmla="*/ 2448558 w 7467600"/>
              <a:gd name="connsiteY587" fmla="*/ 1373435 h 6858000"/>
              <a:gd name="connsiteX588" fmla="*/ 278707 w 7467600"/>
              <a:gd name="connsiteY588" fmla="*/ 1352270 h 6858000"/>
              <a:gd name="connsiteX589" fmla="*/ 321570 w 7467600"/>
              <a:gd name="connsiteY589" fmla="*/ 1861610 h 6858000"/>
              <a:gd name="connsiteX590" fmla="*/ 294281 w 7467600"/>
              <a:gd name="connsiteY590" fmla="*/ 1440658 h 6858000"/>
              <a:gd name="connsiteX591" fmla="*/ 278707 w 7467600"/>
              <a:gd name="connsiteY591" fmla="*/ 1352270 h 6858000"/>
              <a:gd name="connsiteX592" fmla="*/ 1423821 w 7467600"/>
              <a:gd name="connsiteY592" fmla="*/ 1351958 h 6858000"/>
              <a:gd name="connsiteX593" fmla="*/ 1638521 w 7467600"/>
              <a:gd name="connsiteY593" fmla="*/ 1908470 h 6858000"/>
              <a:gd name="connsiteX594" fmla="*/ 1754199 w 7467600"/>
              <a:gd name="connsiteY594" fmla="*/ 2149284 h 6858000"/>
              <a:gd name="connsiteX595" fmla="*/ 1908359 w 7467600"/>
              <a:gd name="connsiteY595" fmla="*/ 2364988 h 6858000"/>
              <a:gd name="connsiteX596" fmla="*/ 1647661 w 7467600"/>
              <a:gd name="connsiteY596" fmla="*/ 1825945 h 6858000"/>
              <a:gd name="connsiteX597" fmla="*/ 1423821 w 7467600"/>
              <a:gd name="connsiteY597" fmla="*/ 1351958 h 6858000"/>
              <a:gd name="connsiteX598" fmla="*/ 1431890 w 7467600"/>
              <a:gd name="connsiteY598" fmla="*/ 1306475 h 6858000"/>
              <a:gd name="connsiteX599" fmla="*/ 1507597 w 7467600"/>
              <a:gd name="connsiteY599" fmla="*/ 1446132 h 6858000"/>
              <a:gd name="connsiteX600" fmla="*/ 1674586 w 7467600"/>
              <a:gd name="connsiteY600" fmla="*/ 1813832 h 6858000"/>
              <a:gd name="connsiteX601" fmla="*/ 1815950 w 7467600"/>
              <a:gd name="connsiteY601" fmla="*/ 2128564 h 6858000"/>
              <a:gd name="connsiteX602" fmla="*/ 1984242 w 7467600"/>
              <a:gd name="connsiteY602" fmla="*/ 2430829 h 6858000"/>
              <a:gd name="connsiteX603" fmla="*/ 2014023 w 7467600"/>
              <a:gd name="connsiteY603" fmla="*/ 2450995 h 6858000"/>
              <a:gd name="connsiteX604" fmla="*/ 1747337 w 7467600"/>
              <a:gd name="connsiteY604" fmla="*/ 1855264 h 6858000"/>
              <a:gd name="connsiteX605" fmla="*/ 1533749 w 7467600"/>
              <a:gd name="connsiteY605" fmla="*/ 1478656 h 6858000"/>
              <a:gd name="connsiteX606" fmla="*/ 1431890 w 7467600"/>
              <a:gd name="connsiteY606" fmla="*/ 1306475 h 6858000"/>
              <a:gd name="connsiteX607" fmla="*/ 5052692 w 7467600"/>
              <a:gd name="connsiteY607" fmla="*/ 1292994 h 6858000"/>
              <a:gd name="connsiteX608" fmla="*/ 5200661 w 7467600"/>
              <a:gd name="connsiteY608" fmla="*/ 1635186 h 6858000"/>
              <a:gd name="connsiteX609" fmla="*/ 5297138 w 7467600"/>
              <a:gd name="connsiteY609" fmla="*/ 1906351 h 6858000"/>
              <a:gd name="connsiteX610" fmla="*/ 5052692 w 7467600"/>
              <a:gd name="connsiteY610" fmla="*/ 1292994 h 6858000"/>
              <a:gd name="connsiteX611" fmla="*/ 5009948 w 7467600"/>
              <a:gd name="connsiteY611" fmla="*/ 1273619 h 6858000"/>
              <a:gd name="connsiteX612" fmla="*/ 5121777 w 7467600"/>
              <a:gd name="connsiteY612" fmla="*/ 1654213 h 6858000"/>
              <a:gd name="connsiteX613" fmla="*/ 5293545 w 7467600"/>
              <a:gd name="connsiteY613" fmla="*/ 2072247 h 6858000"/>
              <a:gd name="connsiteX614" fmla="*/ 5294042 w 7467600"/>
              <a:gd name="connsiteY614" fmla="*/ 2065019 h 6858000"/>
              <a:gd name="connsiteX615" fmla="*/ 5171936 w 7467600"/>
              <a:gd name="connsiteY615" fmla="*/ 1647613 h 6858000"/>
              <a:gd name="connsiteX616" fmla="*/ 5009948 w 7467600"/>
              <a:gd name="connsiteY616" fmla="*/ 1273619 h 6858000"/>
              <a:gd name="connsiteX617" fmla="*/ 655236 w 7467600"/>
              <a:gd name="connsiteY617" fmla="*/ 1268632 h 6858000"/>
              <a:gd name="connsiteX618" fmla="*/ 839521 w 7467600"/>
              <a:gd name="connsiteY618" fmla="*/ 1685315 h 6858000"/>
              <a:gd name="connsiteX619" fmla="*/ 1109416 w 7467600"/>
              <a:gd name="connsiteY619" fmla="*/ 2061663 h 6858000"/>
              <a:gd name="connsiteX620" fmla="*/ 1298300 w 7467600"/>
              <a:gd name="connsiteY620" fmla="*/ 2247742 h 6858000"/>
              <a:gd name="connsiteX621" fmla="*/ 1125871 w 7467600"/>
              <a:gd name="connsiteY621" fmla="*/ 1989513 h 6858000"/>
              <a:gd name="connsiteX622" fmla="*/ 981574 w 7467600"/>
              <a:gd name="connsiteY622" fmla="*/ 1783157 h 6858000"/>
              <a:gd name="connsiteX623" fmla="*/ 922198 w 7467600"/>
              <a:gd name="connsiteY623" fmla="*/ 1677437 h 6858000"/>
              <a:gd name="connsiteX624" fmla="*/ 869293 w 7467600"/>
              <a:gd name="connsiteY624" fmla="*/ 1583214 h 6858000"/>
              <a:gd name="connsiteX625" fmla="*/ 751431 w 7467600"/>
              <a:gd name="connsiteY625" fmla="*/ 1405731 h 6858000"/>
              <a:gd name="connsiteX626" fmla="*/ 655236 w 7467600"/>
              <a:gd name="connsiteY626" fmla="*/ 1268632 h 6858000"/>
              <a:gd name="connsiteX627" fmla="*/ 6516292 w 7467600"/>
              <a:gd name="connsiteY627" fmla="*/ 1263064 h 6858000"/>
              <a:gd name="connsiteX628" fmla="*/ 5736320 w 7467600"/>
              <a:gd name="connsiteY628" fmla="*/ 1501803 h 6858000"/>
              <a:gd name="connsiteX629" fmla="*/ 6516292 w 7467600"/>
              <a:gd name="connsiteY629" fmla="*/ 1263064 h 6858000"/>
              <a:gd name="connsiteX630" fmla="*/ 291466 w 7467600"/>
              <a:gd name="connsiteY630" fmla="*/ 1250369 h 6858000"/>
              <a:gd name="connsiteX631" fmla="*/ 323180 w 7467600"/>
              <a:gd name="connsiteY631" fmla="*/ 1435283 h 6858000"/>
              <a:gd name="connsiteX632" fmla="*/ 349381 w 7467600"/>
              <a:gd name="connsiteY632" fmla="*/ 1875041 h 6858000"/>
              <a:gd name="connsiteX633" fmla="*/ 374363 w 7467600"/>
              <a:gd name="connsiteY633" fmla="*/ 1506494 h 6858000"/>
              <a:gd name="connsiteX634" fmla="*/ 302168 w 7467600"/>
              <a:gd name="connsiteY634" fmla="*/ 1274495 h 6858000"/>
              <a:gd name="connsiteX635" fmla="*/ 291466 w 7467600"/>
              <a:gd name="connsiteY635" fmla="*/ 1250369 h 6858000"/>
              <a:gd name="connsiteX636" fmla="*/ 678222 w 7467600"/>
              <a:gd name="connsiteY636" fmla="*/ 1248670 h 6858000"/>
              <a:gd name="connsiteX637" fmla="*/ 775536 w 7467600"/>
              <a:gd name="connsiteY637" fmla="*/ 1388015 h 6858000"/>
              <a:gd name="connsiteX638" fmla="*/ 894529 w 7467600"/>
              <a:gd name="connsiteY638" fmla="*/ 1567739 h 6858000"/>
              <a:gd name="connsiteX639" fmla="*/ 948000 w 7467600"/>
              <a:gd name="connsiteY639" fmla="*/ 1663088 h 6858000"/>
              <a:gd name="connsiteX640" fmla="*/ 1006812 w 7467600"/>
              <a:gd name="connsiteY640" fmla="*/ 1767683 h 6858000"/>
              <a:gd name="connsiteX641" fmla="*/ 1149133 w 7467600"/>
              <a:gd name="connsiteY641" fmla="*/ 1971513 h 6858000"/>
              <a:gd name="connsiteX642" fmla="*/ 1333952 w 7467600"/>
              <a:gd name="connsiteY642" fmla="*/ 2251620 h 6858000"/>
              <a:gd name="connsiteX643" fmla="*/ 1337329 w 7467600"/>
              <a:gd name="connsiteY643" fmla="*/ 2258350 h 6858000"/>
              <a:gd name="connsiteX644" fmla="*/ 1014726 w 7467600"/>
              <a:gd name="connsiteY644" fmla="*/ 1615556 h 6858000"/>
              <a:gd name="connsiteX645" fmla="*/ 678222 w 7467600"/>
              <a:gd name="connsiteY645" fmla="*/ 1248670 h 6858000"/>
              <a:gd name="connsiteX646" fmla="*/ 6691602 w 7467600"/>
              <a:gd name="connsiteY646" fmla="*/ 1140573 h 6858000"/>
              <a:gd name="connsiteX647" fmla="*/ 6571100 w 7467600"/>
              <a:gd name="connsiteY647" fmla="*/ 1183662 h 6858000"/>
              <a:gd name="connsiteX648" fmla="*/ 6241687 w 7467600"/>
              <a:gd name="connsiteY648" fmla="*/ 1257600 h 6858000"/>
              <a:gd name="connsiteX649" fmla="*/ 5693009 w 7467600"/>
              <a:gd name="connsiteY649" fmla="*/ 1478256 h 6858000"/>
              <a:gd name="connsiteX650" fmla="*/ 6548420 w 7467600"/>
              <a:gd name="connsiteY650" fmla="*/ 1214599 h 6858000"/>
              <a:gd name="connsiteX651" fmla="*/ 6605473 w 7467600"/>
              <a:gd name="connsiteY651" fmla="*/ 1184686 h 6858000"/>
              <a:gd name="connsiteX652" fmla="*/ 6691602 w 7467600"/>
              <a:gd name="connsiteY652" fmla="*/ 1140573 h 6858000"/>
              <a:gd name="connsiteX653" fmla="*/ 4002475 w 7467600"/>
              <a:gd name="connsiteY653" fmla="*/ 1037802 h 6858000"/>
              <a:gd name="connsiteX654" fmla="*/ 4000324 w 7467600"/>
              <a:gd name="connsiteY654" fmla="*/ 1039362 h 6858000"/>
              <a:gd name="connsiteX655" fmla="*/ 4002862 w 7467600"/>
              <a:gd name="connsiteY655" fmla="*/ 1042866 h 6858000"/>
              <a:gd name="connsiteX656" fmla="*/ 4002475 w 7467600"/>
              <a:gd name="connsiteY656" fmla="*/ 1037802 h 6858000"/>
              <a:gd name="connsiteX657" fmla="*/ 506322 w 7467600"/>
              <a:gd name="connsiteY657" fmla="*/ 1020997 h 6858000"/>
              <a:gd name="connsiteX658" fmla="*/ 533068 w 7467600"/>
              <a:gd name="connsiteY658" fmla="*/ 1029409 h 6858000"/>
              <a:gd name="connsiteX659" fmla="*/ 1232525 w 7467600"/>
              <a:gd name="connsiteY659" fmla="*/ 1804675 h 6858000"/>
              <a:gd name="connsiteX660" fmla="*/ 1388858 w 7467600"/>
              <a:gd name="connsiteY660" fmla="*/ 2368011 h 6858000"/>
              <a:gd name="connsiteX661" fmla="*/ 1384098 w 7467600"/>
              <a:gd name="connsiteY661" fmla="*/ 2378125 h 6858000"/>
              <a:gd name="connsiteX662" fmla="*/ 1425393 w 7467600"/>
              <a:gd name="connsiteY662" fmla="*/ 2589124 h 6858000"/>
              <a:gd name="connsiteX663" fmla="*/ 1424001 w 7467600"/>
              <a:gd name="connsiteY663" fmla="*/ 2597541 h 6858000"/>
              <a:gd name="connsiteX664" fmla="*/ 2152729 w 7467600"/>
              <a:gd name="connsiteY664" fmla="*/ 2864487 h 6858000"/>
              <a:gd name="connsiteX665" fmla="*/ 2020609 w 7467600"/>
              <a:gd name="connsiteY665" fmla="*/ 2539671 h 6858000"/>
              <a:gd name="connsiteX666" fmla="*/ 2018920 w 7467600"/>
              <a:gd name="connsiteY666" fmla="*/ 2536309 h 6858000"/>
              <a:gd name="connsiteX667" fmla="*/ 1342441 w 7467600"/>
              <a:gd name="connsiteY667" fmla="*/ 1173017 h 6858000"/>
              <a:gd name="connsiteX668" fmla="*/ 1367925 w 7467600"/>
              <a:gd name="connsiteY668" fmla="*/ 1135648 h 6858000"/>
              <a:gd name="connsiteX669" fmla="*/ 1771401 w 7467600"/>
              <a:gd name="connsiteY669" fmla="*/ 1806673 h 6858000"/>
              <a:gd name="connsiteX670" fmla="*/ 1972385 w 7467600"/>
              <a:gd name="connsiteY670" fmla="*/ 2198735 h 6858000"/>
              <a:gd name="connsiteX671" fmla="*/ 2040892 w 7467600"/>
              <a:gd name="connsiteY671" fmla="*/ 2405205 h 6858000"/>
              <a:gd name="connsiteX672" fmla="*/ 2131689 w 7467600"/>
              <a:gd name="connsiteY672" fmla="*/ 1936926 h 6858000"/>
              <a:gd name="connsiteX673" fmla="*/ 2454820 w 7467600"/>
              <a:gd name="connsiteY673" fmla="*/ 1248808 h 6858000"/>
              <a:gd name="connsiteX674" fmla="*/ 2492512 w 7467600"/>
              <a:gd name="connsiteY674" fmla="*/ 1302920 h 6858000"/>
              <a:gd name="connsiteX675" fmla="*/ 2081216 w 7467600"/>
              <a:gd name="connsiteY675" fmla="*/ 2527513 h 6858000"/>
              <a:gd name="connsiteX676" fmla="*/ 2081211 w 7467600"/>
              <a:gd name="connsiteY676" fmla="*/ 2528916 h 6858000"/>
              <a:gd name="connsiteX677" fmla="*/ 2199067 w 7467600"/>
              <a:gd name="connsiteY677" fmla="*/ 2884061 h 6858000"/>
              <a:gd name="connsiteX678" fmla="*/ 3192586 w 7467600"/>
              <a:gd name="connsiteY678" fmla="*/ 3411496 h 6858000"/>
              <a:gd name="connsiteX679" fmla="*/ 3182620 w 7467600"/>
              <a:gd name="connsiteY679" fmla="*/ 3483279 h 6858000"/>
              <a:gd name="connsiteX680" fmla="*/ 2435119 w 7467600"/>
              <a:gd name="connsiteY680" fmla="*/ 3080173 h 6858000"/>
              <a:gd name="connsiteX681" fmla="*/ 2410152 w 7467600"/>
              <a:gd name="connsiteY681" fmla="*/ 3063751 h 6858000"/>
              <a:gd name="connsiteX682" fmla="*/ 2408099 w 7467600"/>
              <a:gd name="connsiteY682" fmla="*/ 3064403 h 6858000"/>
              <a:gd name="connsiteX683" fmla="*/ 2407218 w 7467600"/>
              <a:gd name="connsiteY683" fmla="*/ 3070324 h 6858000"/>
              <a:gd name="connsiteX684" fmla="*/ 2380138 w 7467600"/>
              <a:gd name="connsiteY684" fmla="*/ 3099341 h 6858000"/>
              <a:gd name="connsiteX685" fmla="*/ 1765923 w 7467600"/>
              <a:gd name="connsiteY685" fmla="*/ 3581043 h 6858000"/>
              <a:gd name="connsiteX686" fmla="*/ 1702258 w 7467600"/>
              <a:gd name="connsiteY686" fmla="*/ 3612286 h 6858000"/>
              <a:gd name="connsiteX687" fmla="*/ 1538370 w 7467600"/>
              <a:gd name="connsiteY687" fmla="*/ 3811804 h 6858000"/>
              <a:gd name="connsiteX688" fmla="*/ 542867 w 7467600"/>
              <a:gd name="connsiteY688" fmla="*/ 4944092 h 6858000"/>
              <a:gd name="connsiteX689" fmla="*/ 515800 w 7467600"/>
              <a:gd name="connsiteY689" fmla="*/ 4862180 h 6858000"/>
              <a:gd name="connsiteX690" fmla="*/ 909145 w 7467600"/>
              <a:gd name="connsiteY690" fmla="*/ 4199225 h 6858000"/>
              <a:gd name="connsiteX691" fmla="*/ 1214067 w 7467600"/>
              <a:gd name="connsiteY691" fmla="*/ 3908561 h 6858000"/>
              <a:gd name="connsiteX692" fmla="*/ 640967 w 7467600"/>
              <a:gd name="connsiteY692" fmla="*/ 4105601 h 6858000"/>
              <a:gd name="connsiteX693" fmla="*/ 112563 w 7467600"/>
              <a:gd name="connsiteY693" fmla="*/ 4396952 h 6858000"/>
              <a:gd name="connsiteX694" fmla="*/ 0 w 7467600"/>
              <a:gd name="connsiteY694" fmla="*/ 4466006 h 6858000"/>
              <a:gd name="connsiteX695" fmla="*/ 0 w 7467600"/>
              <a:gd name="connsiteY695" fmla="*/ 4233763 h 6858000"/>
              <a:gd name="connsiteX696" fmla="*/ 36881 w 7467600"/>
              <a:gd name="connsiteY696" fmla="*/ 4200118 h 6858000"/>
              <a:gd name="connsiteX697" fmla="*/ 910534 w 7467600"/>
              <a:gd name="connsiteY697" fmla="*/ 3629753 h 6858000"/>
              <a:gd name="connsiteX698" fmla="*/ 1578717 w 7467600"/>
              <a:gd name="connsiteY698" fmla="*/ 3575982 h 6858000"/>
              <a:gd name="connsiteX699" fmla="*/ 2338780 w 7467600"/>
              <a:gd name="connsiteY699" fmla="*/ 3033725 h 6858000"/>
              <a:gd name="connsiteX700" fmla="*/ 1807991 w 7467600"/>
              <a:gd name="connsiteY700" fmla="*/ 2807184 h 6858000"/>
              <a:gd name="connsiteX701" fmla="*/ 1416358 w 7467600"/>
              <a:gd name="connsiteY701" fmla="*/ 3112571 h 6858000"/>
              <a:gd name="connsiteX702" fmla="*/ 939066 w 7467600"/>
              <a:gd name="connsiteY702" fmla="*/ 3378798 h 6858000"/>
              <a:gd name="connsiteX703" fmla="*/ 115099 w 7467600"/>
              <a:gd name="connsiteY703" fmla="*/ 3607650 h 6858000"/>
              <a:gd name="connsiteX704" fmla="*/ 97284 w 7467600"/>
              <a:gd name="connsiteY704" fmla="*/ 3520393 h 6858000"/>
              <a:gd name="connsiteX705" fmla="*/ 922050 w 7467600"/>
              <a:gd name="connsiteY705" fmla="*/ 3074867 h 6858000"/>
              <a:gd name="connsiteX706" fmla="*/ 1405265 w 7467600"/>
              <a:gd name="connsiteY706" fmla="*/ 3016319 h 6858000"/>
              <a:gd name="connsiteX707" fmla="*/ 1407512 w 7467600"/>
              <a:gd name="connsiteY707" fmla="*/ 3018001 h 6858000"/>
              <a:gd name="connsiteX708" fmla="*/ 1726266 w 7467600"/>
              <a:gd name="connsiteY708" fmla="*/ 2777274 h 6858000"/>
              <a:gd name="connsiteX709" fmla="*/ 625390 w 7467600"/>
              <a:gd name="connsiteY709" fmla="*/ 2514541 h 6858000"/>
              <a:gd name="connsiteX710" fmla="*/ 619799 w 7467600"/>
              <a:gd name="connsiteY710" fmla="*/ 2527180 h 6858000"/>
              <a:gd name="connsiteX711" fmla="*/ 310030 w 7467600"/>
              <a:gd name="connsiteY711" fmla="*/ 2771818 h 6858000"/>
              <a:gd name="connsiteX712" fmla="*/ 173877 w 7467600"/>
              <a:gd name="connsiteY712" fmla="*/ 2937056 h 6858000"/>
              <a:gd name="connsiteX713" fmla="*/ 77889 w 7467600"/>
              <a:gd name="connsiteY713" fmla="*/ 3138440 h 6858000"/>
              <a:gd name="connsiteX714" fmla="*/ 0 w 7467600"/>
              <a:gd name="connsiteY714" fmla="*/ 3271395 h 6858000"/>
              <a:gd name="connsiteX715" fmla="*/ 0 w 7467600"/>
              <a:gd name="connsiteY715" fmla="*/ 3153002 h 6858000"/>
              <a:gd name="connsiteX716" fmla="*/ 2386 w 7467600"/>
              <a:gd name="connsiteY716" fmla="*/ 3149203 h 6858000"/>
              <a:gd name="connsiteX717" fmla="*/ 89753 w 7467600"/>
              <a:gd name="connsiteY717" fmla="*/ 2987702 h 6858000"/>
              <a:gd name="connsiteX718" fmla="*/ 76869 w 7467600"/>
              <a:gd name="connsiteY718" fmla="*/ 3005404 h 6858000"/>
              <a:gd name="connsiteX719" fmla="*/ 32049 w 7467600"/>
              <a:gd name="connsiteY719" fmla="*/ 3065814 h 6858000"/>
              <a:gd name="connsiteX720" fmla="*/ 0 w 7467600"/>
              <a:gd name="connsiteY720" fmla="*/ 3108744 h 6858000"/>
              <a:gd name="connsiteX721" fmla="*/ 0 w 7467600"/>
              <a:gd name="connsiteY721" fmla="*/ 3058059 h 6858000"/>
              <a:gd name="connsiteX722" fmla="*/ 7610 w 7467600"/>
              <a:gd name="connsiteY722" fmla="*/ 3047889 h 6858000"/>
              <a:gd name="connsiteX723" fmla="*/ 52419 w 7467600"/>
              <a:gd name="connsiteY723" fmla="*/ 2987479 h 6858000"/>
              <a:gd name="connsiteX724" fmla="*/ 59142 w 7467600"/>
              <a:gd name="connsiteY724" fmla="*/ 2978488 h 6858000"/>
              <a:gd name="connsiteX725" fmla="*/ 0 w 7467600"/>
              <a:gd name="connsiteY725" fmla="*/ 3015334 h 6858000"/>
              <a:gd name="connsiteX726" fmla="*/ 0 w 7467600"/>
              <a:gd name="connsiteY726" fmla="*/ 2914286 h 6858000"/>
              <a:gd name="connsiteX727" fmla="*/ 36383 w 7467600"/>
              <a:gd name="connsiteY727" fmla="*/ 2901128 h 6858000"/>
              <a:gd name="connsiteX728" fmla="*/ 156329 w 7467600"/>
              <a:gd name="connsiteY728" fmla="*/ 2840533 h 6858000"/>
              <a:gd name="connsiteX729" fmla="*/ 358355 w 7467600"/>
              <a:gd name="connsiteY729" fmla="*/ 2620471 h 6858000"/>
              <a:gd name="connsiteX730" fmla="*/ 510577 w 7467600"/>
              <a:gd name="connsiteY730" fmla="*/ 2501244 h 6858000"/>
              <a:gd name="connsiteX731" fmla="*/ 211967 w 7467600"/>
              <a:gd name="connsiteY731" fmla="*/ 2479171 h 6858000"/>
              <a:gd name="connsiteX732" fmla="*/ 0 w 7467600"/>
              <a:gd name="connsiteY732" fmla="*/ 2476398 h 6858000"/>
              <a:gd name="connsiteX733" fmla="*/ 0 w 7467600"/>
              <a:gd name="connsiteY733" fmla="*/ 2389189 h 6858000"/>
              <a:gd name="connsiteX734" fmla="*/ 103062 w 7467600"/>
              <a:gd name="connsiteY734" fmla="*/ 2389518 h 6858000"/>
              <a:gd name="connsiteX735" fmla="*/ 510734 w 7467600"/>
              <a:gd name="connsiteY735" fmla="*/ 2416201 h 6858000"/>
              <a:gd name="connsiteX736" fmla="*/ 279257 w 7467600"/>
              <a:gd name="connsiteY736" fmla="*/ 2092102 h 6858000"/>
              <a:gd name="connsiteX737" fmla="*/ 65265 w 7467600"/>
              <a:gd name="connsiteY737" fmla="*/ 2006049 h 6858000"/>
              <a:gd name="connsiteX738" fmla="*/ 0 w 7467600"/>
              <a:gd name="connsiteY738" fmla="*/ 1982532 h 6858000"/>
              <a:gd name="connsiteX739" fmla="*/ 0 w 7467600"/>
              <a:gd name="connsiteY739" fmla="*/ 1912789 h 6858000"/>
              <a:gd name="connsiteX740" fmla="*/ 97460 w 7467600"/>
              <a:gd name="connsiteY740" fmla="*/ 1953725 h 6858000"/>
              <a:gd name="connsiteX741" fmla="*/ 221272 w 7467600"/>
              <a:gd name="connsiteY741" fmla="*/ 1980766 h 6858000"/>
              <a:gd name="connsiteX742" fmla="*/ 116765 w 7467600"/>
              <a:gd name="connsiteY742" fmla="*/ 1911033 h 6858000"/>
              <a:gd name="connsiteX743" fmla="*/ 16405 w 7467600"/>
              <a:gd name="connsiteY743" fmla="*/ 1803412 h 6858000"/>
              <a:gd name="connsiteX744" fmla="*/ 0 w 7467600"/>
              <a:gd name="connsiteY744" fmla="*/ 1784777 h 6858000"/>
              <a:gd name="connsiteX745" fmla="*/ 0 w 7467600"/>
              <a:gd name="connsiteY745" fmla="*/ 1740082 h 6858000"/>
              <a:gd name="connsiteX746" fmla="*/ 39394 w 7467600"/>
              <a:gd name="connsiteY746" fmla="*/ 1784856 h 6858000"/>
              <a:gd name="connsiteX747" fmla="*/ 135813 w 7467600"/>
              <a:gd name="connsiteY747" fmla="*/ 1888838 h 6858000"/>
              <a:gd name="connsiteX748" fmla="*/ 242575 w 7467600"/>
              <a:gd name="connsiteY748" fmla="*/ 1958841 h 6858000"/>
              <a:gd name="connsiteX749" fmla="*/ 82197 w 7467600"/>
              <a:gd name="connsiteY749" fmla="*/ 1754826 h 6858000"/>
              <a:gd name="connsiteX750" fmla="*/ 0 w 7467600"/>
              <a:gd name="connsiteY750" fmla="*/ 1679650 h 6858000"/>
              <a:gd name="connsiteX751" fmla="*/ 0 w 7467600"/>
              <a:gd name="connsiteY751" fmla="*/ 1602463 h 6858000"/>
              <a:gd name="connsiteX752" fmla="*/ 84689 w 7467600"/>
              <a:gd name="connsiteY752" fmla="*/ 1677442 h 6858000"/>
              <a:gd name="connsiteX753" fmla="*/ 298437 w 7467600"/>
              <a:gd name="connsiteY753" fmla="*/ 1968019 h 6858000"/>
              <a:gd name="connsiteX754" fmla="*/ 227269 w 7467600"/>
              <a:gd name="connsiteY754" fmla="*/ 1114064 h 6858000"/>
              <a:gd name="connsiteX755" fmla="*/ 248003 w 7467600"/>
              <a:gd name="connsiteY755" fmla="*/ 1089613 h 6858000"/>
              <a:gd name="connsiteX756" fmla="*/ 427020 w 7467600"/>
              <a:gd name="connsiteY756" fmla="*/ 1619803 h 6858000"/>
              <a:gd name="connsiteX757" fmla="*/ 340345 w 7467600"/>
              <a:gd name="connsiteY757" fmla="*/ 2027739 h 6858000"/>
              <a:gd name="connsiteX758" fmla="*/ 360865 w 7467600"/>
              <a:gd name="connsiteY758" fmla="*/ 2044827 h 6858000"/>
              <a:gd name="connsiteX759" fmla="*/ 560414 w 7467600"/>
              <a:gd name="connsiteY759" fmla="*/ 2421457 h 6858000"/>
              <a:gd name="connsiteX760" fmla="*/ 1359703 w 7467600"/>
              <a:gd name="connsiteY760" fmla="*/ 2578554 h 6858000"/>
              <a:gd name="connsiteX761" fmla="*/ 1359422 w 7467600"/>
              <a:gd name="connsiteY761" fmla="*/ 2577994 h 6858000"/>
              <a:gd name="connsiteX762" fmla="*/ 828701 w 7467600"/>
              <a:gd name="connsiteY762" fmla="*/ 1839520 h 6858000"/>
              <a:gd name="connsiteX763" fmla="*/ 494427 w 7467600"/>
              <a:gd name="connsiteY763" fmla="*/ 1092333 h 6858000"/>
              <a:gd name="connsiteX764" fmla="*/ 506322 w 7467600"/>
              <a:gd name="connsiteY764" fmla="*/ 1020997 h 6858000"/>
              <a:gd name="connsiteX765" fmla="*/ 4570198 w 7467600"/>
              <a:gd name="connsiteY765" fmla="*/ 978081 h 6858000"/>
              <a:gd name="connsiteX766" fmla="*/ 4523691 w 7467600"/>
              <a:gd name="connsiteY766" fmla="*/ 1127776 h 6858000"/>
              <a:gd name="connsiteX767" fmla="*/ 4509875 w 7467600"/>
              <a:gd name="connsiteY767" fmla="*/ 1167552 h 6858000"/>
              <a:gd name="connsiteX768" fmla="*/ 4478168 w 7467600"/>
              <a:gd name="connsiteY768" fmla="*/ 1260735 h 6858000"/>
              <a:gd name="connsiteX769" fmla="*/ 4409309 w 7467600"/>
              <a:gd name="connsiteY769" fmla="*/ 1666996 h 6858000"/>
              <a:gd name="connsiteX770" fmla="*/ 4370031 w 7467600"/>
              <a:gd name="connsiteY770" fmla="*/ 1955666 h 6858000"/>
              <a:gd name="connsiteX771" fmla="*/ 4570198 w 7467600"/>
              <a:gd name="connsiteY771" fmla="*/ 978081 h 6858000"/>
              <a:gd name="connsiteX772" fmla="*/ 4557898 w 7467600"/>
              <a:gd name="connsiteY772" fmla="*/ 900011 h 6858000"/>
              <a:gd name="connsiteX773" fmla="*/ 4344840 w 7467600"/>
              <a:gd name="connsiteY773" fmla="*/ 1922038 h 6858000"/>
              <a:gd name="connsiteX774" fmla="*/ 4378710 w 7467600"/>
              <a:gd name="connsiteY774" fmla="*/ 1665516 h 6858000"/>
              <a:gd name="connsiteX775" fmla="*/ 4448798 w 7467600"/>
              <a:gd name="connsiteY775" fmla="*/ 1253024 h 6858000"/>
              <a:gd name="connsiteX776" fmla="*/ 4480315 w 7467600"/>
              <a:gd name="connsiteY776" fmla="*/ 1158454 h 6858000"/>
              <a:gd name="connsiteX777" fmla="*/ 4494133 w 7467600"/>
              <a:gd name="connsiteY777" fmla="*/ 1118676 h 6858000"/>
              <a:gd name="connsiteX778" fmla="*/ 4557898 w 7467600"/>
              <a:gd name="connsiteY778" fmla="*/ 900011 h 6858000"/>
              <a:gd name="connsiteX779" fmla="*/ 5870151 w 7467600"/>
              <a:gd name="connsiteY779" fmla="*/ 898890 h 6858000"/>
              <a:gd name="connsiteX780" fmla="*/ 5861335 w 7467600"/>
              <a:gd name="connsiteY780" fmla="*/ 899177 h 6858000"/>
              <a:gd name="connsiteX781" fmla="*/ 5843702 w 7467600"/>
              <a:gd name="connsiteY781" fmla="*/ 899748 h 6858000"/>
              <a:gd name="connsiteX782" fmla="*/ 5651107 w 7467600"/>
              <a:gd name="connsiteY782" fmla="*/ 920306 h 6858000"/>
              <a:gd name="connsiteX783" fmla="*/ 5459407 w 7467600"/>
              <a:gd name="connsiteY783" fmla="*/ 940975 h 6858000"/>
              <a:gd name="connsiteX784" fmla="*/ 5374846 w 7467600"/>
              <a:gd name="connsiteY784" fmla="*/ 941988 h 6858000"/>
              <a:gd name="connsiteX785" fmla="*/ 5256105 w 7467600"/>
              <a:gd name="connsiteY785" fmla="*/ 945632 h 6858000"/>
              <a:gd name="connsiteX786" fmla="*/ 5107071 w 7467600"/>
              <a:gd name="connsiteY786" fmla="*/ 969720 h 6858000"/>
              <a:gd name="connsiteX787" fmla="*/ 4998681 w 7467600"/>
              <a:gd name="connsiteY787" fmla="*/ 988771 h 6858000"/>
              <a:gd name="connsiteX788" fmla="*/ 5870151 w 7467600"/>
              <a:gd name="connsiteY788" fmla="*/ 898890 h 6858000"/>
              <a:gd name="connsiteX789" fmla="*/ 5504425 w 7467600"/>
              <a:gd name="connsiteY789" fmla="*/ 848067 h 6858000"/>
              <a:gd name="connsiteX790" fmla="*/ 4968849 w 7467600"/>
              <a:gd name="connsiteY790" fmla="*/ 962318 h 6858000"/>
              <a:gd name="connsiteX791" fmla="*/ 5104039 w 7467600"/>
              <a:gd name="connsiteY791" fmla="*/ 940634 h 6858000"/>
              <a:gd name="connsiteX792" fmla="*/ 5256311 w 7467600"/>
              <a:gd name="connsiteY792" fmla="*/ 916490 h 6858000"/>
              <a:gd name="connsiteX793" fmla="*/ 5377381 w 7467600"/>
              <a:gd name="connsiteY793" fmla="*/ 912671 h 6858000"/>
              <a:gd name="connsiteX794" fmla="*/ 5460148 w 7467600"/>
              <a:gd name="connsiteY794" fmla="*/ 911442 h 6858000"/>
              <a:gd name="connsiteX795" fmla="*/ 5648971 w 7467600"/>
              <a:gd name="connsiteY795" fmla="*/ 891331 h 6858000"/>
              <a:gd name="connsiteX796" fmla="*/ 5844807 w 7467600"/>
              <a:gd name="connsiteY796" fmla="*/ 870718 h 6858000"/>
              <a:gd name="connsiteX797" fmla="*/ 5862975 w 7467600"/>
              <a:gd name="connsiteY797" fmla="*/ 869756 h 6858000"/>
              <a:gd name="connsiteX798" fmla="*/ 5920887 w 7467600"/>
              <a:gd name="connsiteY798" fmla="*/ 865929 h 6858000"/>
              <a:gd name="connsiteX799" fmla="*/ 5504425 w 7467600"/>
              <a:gd name="connsiteY799" fmla="*/ 848067 h 6858000"/>
              <a:gd name="connsiteX800" fmla="*/ 3607114 w 7467600"/>
              <a:gd name="connsiteY800" fmla="*/ 467441 h 6858000"/>
              <a:gd name="connsiteX801" fmla="*/ 3296242 w 7467600"/>
              <a:gd name="connsiteY801" fmla="*/ 807991 h 6858000"/>
              <a:gd name="connsiteX802" fmla="*/ 3174674 w 7467600"/>
              <a:gd name="connsiteY802" fmla="*/ 919759 h 6858000"/>
              <a:gd name="connsiteX803" fmla="*/ 3042978 w 7467600"/>
              <a:gd name="connsiteY803" fmla="*/ 1054894 h 6858000"/>
              <a:gd name="connsiteX804" fmla="*/ 2968914 w 7467600"/>
              <a:gd name="connsiteY804" fmla="*/ 1133756 h 6858000"/>
              <a:gd name="connsiteX805" fmla="*/ 3103823 w 7467600"/>
              <a:gd name="connsiteY805" fmla="*/ 1026814 h 6858000"/>
              <a:gd name="connsiteX806" fmla="*/ 3607114 w 7467600"/>
              <a:gd name="connsiteY806" fmla="*/ 467441 h 6858000"/>
              <a:gd name="connsiteX807" fmla="*/ 3744487 w 7467600"/>
              <a:gd name="connsiteY807" fmla="*/ 383136 h 6858000"/>
              <a:gd name="connsiteX808" fmla="*/ 3970213 w 7467600"/>
              <a:gd name="connsiteY808" fmla="*/ 995559 h 6858000"/>
              <a:gd name="connsiteX809" fmla="*/ 3744487 w 7467600"/>
              <a:gd name="connsiteY809" fmla="*/ 383136 h 6858000"/>
              <a:gd name="connsiteX810" fmla="*/ 3624562 w 7467600"/>
              <a:gd name="connsiteY810" fmla="*/ 367041 h 6858000"/>
              <a:gd name="connsiteX811" fmla="*/ 3489712 w 7467600"/>
              <a:gd name="connsiteY811" fmla="*/ 485386 h 6858000"/>
              <a:gd name="connsiteX812" fmla="*/ 3182994 w 7467600"/>
              <a:gd name="connsiteY812" fmla="*/ 828265 h 6858000"/>
              <a:gd name="connsiteX813" fmla="*/ 2892114 w 7467600"/>
              <a:gd name="connsiteY813" fmla="*/ 1172635 h 6858000"/>
              <a:gd name="connsiteX814" fmla="*/ 3021459 w 7467600"/>
              <a:gd name="connsiteY814" fmla="*/ 1035385 h 6858000"/>
              <a:gd name="connsiteX815" fmla="*/ 3153873 w 7467600"/>
              <a:gd name="connsiteY815" fmla="*/ 898971 h 6858000"/>
              <a:gd name="connsiteX816" fmla="*/ 3276511 w 7467600"/>
              <a:gd name="connsiteY816" fmla="*/ 786423 h 6858000"/>
              <a:gd name="connsiteX817" fmla="*/ 3584154 w 7467600"/>
              <a:gd name="connsiteY817" fmla="*/ 448218 h 6858000"/>
              <a:gd name="connsiteX818" fmla="*/ 3624562 w 7467600"/>
              <a:gd name="connsiteY818" fmla="*/ 367041 h 6858000"/>
              <a:gd name="connsiteX819" fmla="*/ 3766672 w 7467600"/>
              <a:gd name="connsiteY819" fmla="*/ 359429 h 6858000"/>
              <a:gd name="connsiteX820" fmla="*/ 3996338 w 7467600"/>
              <a:gd name="connsiteY820" fmla="*/ 968237 h 6858000"/>
              <a:gd name="connsiteX821" fmla="*/ 3766672 w 7467600"/>
              <a:gd name="connsiteY821" fmla="*/ 359429 h 6858000"/>
              <a:gd name="connsiteX822" fmla="*/ 5805386 w 7467600"/>
              <a:gd name="connsiteY822" fmla="*/ 239240 h 6858000"/>
              <a:gd name="connsiteX823" fmla="*/ 5736947 w 7467600"/>
              <a:gd name="connsiteY823" fmla="*/ 261367 h 6858000"/>
              <a:gd name="connsiteX824" fmla="*/ 5427012 w 7467600"/>
              <a:gd name="connsiteY824" fmla="*/ 311272 h 6858000"/>
              <a:gd name="connsiteX825" fmla="*/ 5147818 w 7467600"/>
              <a:gd name="connsiteY825" fmla="*/ 322112 h 6858000"/>
              <a:gd name="connsiteX826" fmla="*/ 5060854 w 7467600"/>
              <a:gd name="connsiteY826" fmla="*/ 311882 h 6858000"/>
              <a:gd name="connsiteX827" fmla="*/ 4945989 w 7467600"/>
              <a:gd name="connsiteY827" fmla="*/ 300516 h 6858000"/>
              <a:gd name="connsiteX828" fmla="*/ 5410479 w 7467600"/>
              <a:gd name="connsiteY828" fmla="*/ 348434 h 6858000"/>
              <a:gd name="connsiteX829" fmla="*/ 5805386 w 7467600"/>
              <a:gd name="connsiteY829" fmla="*/ 239240 h 6858000"/>
              <a:gd name="connsiteX830" fmla="*/ 5905192 w 7467600"/>
              <a:gd name="connsiteY830" fmla="*/ 163079 h 6858000"/>
              <a:gd name="connsiteX831" fmla="*/ 5865655 w 7467600"/>
              <a:gd name="connsiteY831" fmla="*/ 171901 h 6858000"/>
              <a:gd name="connsiteX832" fmla="*/ 5259740 w 7467600"/>
              <a:gd name="connsiteY832" fmla="*/ 257013 h 6858000"/>
              <a:gd name="connsiteX833" fmla="*/ 5208466 w 7467600"/>
              <a:gd name="connsiteY833" fmla="*/ 257550 h 6858000"/>
              <a:gd name="connsiteX834" fmla="*/ 4980204 w 7467600"/>
              <a:gd name="connsiteY834" fmla="*/ 271903 h 6858000"/>
              <a:gd name="connsiteX835" fmla="*/ 5068068 w 7467600"/>
              <a:gd name="connsiteY835" fmla="*/ 282244 h 6858000"/>
              <a:gd name="connsiteX836" fmla="*/ 5153231 w 7467600"/>
              <a:gd name="connsiteY836" fmla="*/ 292240 h 6858000"/>
              <a:gd name="connsiteX837" fmla="*/ 5426491 w 7467600"/>
              <a:gd name="connsiteY837" fmla="*/ 281128 h 6858000"/>
              <a:gd name="connsiteX838" fmla="*/ 5731212 w 7467600"/>
              <a:gd name="connsiteY838" fmla="*/ 231951 h 6858000"/>
              <a:gd name="connsiteX839" fmla="*/ 5905192 w 7467600"/>
              <a:gd name="connsiteY839" fmla="*/ 163079 h 6858000"/>
              <a:gd name="connsiteX840" fmla="*/ 5944437 w 7467600"/>
              <a:gd name="connsiteY840" fmla="*/ 113829 h 6858000"/>
              <a:gd name="connsiteX841" fmla="*/ 5825032 w 7467600"/>
              <a:gd name="connsiteY841" fmla="*/ 146405 h 6858000"/>
              <a:gd name="connsiteX842" fmla="*/ 4955599 w 7467600"/>
              <a:gd name="connsiteY842" fmla="*/ 247008 h 6858000"/>
              <a:gd name="connsiteX843" fmla="*/ 5210104 w 7467600"/>
              <a:gd name="connsiteY843" fmla="*/ 228123 h 6858000"/>
              <a:gd name="connsiteX844" fmla="*/ 5261015 w 7467600"/>
              <a:gd name="connsiteY844" fmla="*/ 227087 h 6858000"/>
              <a:gd name="connsiteX845" fmla="*/ 5861181 w 7467600"/>
              <a:gd name="connsiteY845" fmla="*/ 143093 h 6858000"/>
              <a:gd name="connsiteX846" fmla="*/ 5961252 w 7467600"/>
              <a:gd name="connsiteY846" fmla="*/ 114820 h 6858000"/>
              <a:gd name="connsiteX847" fmla="*/ 5944437 w 7467600"/>
              <a:gd name="connsiteY847" fmla="*/ 113829 h 6858000"/>
              <a:gd name="connsiteX848" fmla="*/ 3882765 w 7467600"/>
              <a:gd name="connsiteY848" fmla="*/ 0 h 6858000"/>
              <a:gd name="connsiteX849" fmla="*/ 3995099 w 7467600"/>
              <a:gd name="connsiteY849" fmla="*/ 0 h 6858000"/>
              <a:gd name="connsiteX850" fmla="*/ 4163818 w 7467600"/>
              <a:gd name="connsiteY850" fmla="*/ 234104 h 6858000"/>
              <a:gd name="connsiteX851" fmla="*/ 4172099 w 7467600"/>
              <a:gd name="connsiteY851" fmla="*/ 234207 h 6858000"/>
              <a:gd name="connsiteX852" fmla="*/ 4784282 w 7467600"/>
              <a:gd name="connsiteY852" fmla="*/ 276561 h 6858000"/>
              <a:gd name="connsiteX853" fmla="*/ 4801687 w 7467600"/>
              <a:gd name="connsiteY853" fmla="*/ 267764 h 6858000"/>
              <a:gd name="connsiteX854" fmla="*/ 6082788 w 7467600"/>
              <a:gd name="connsiteY854" fmla="*/ 64119 h 6858000"/>
              <a:gd name="connsiteX855" fmla="*/ 6099442 w 7467600"/>
              <a:gd name="connsiteY855" fmla="*/ 82568 h 6858000"/>
              <a:gd name="connsiteX856" fmla="*/ 4804137 w 7467600"/>
              <a:gd name="connsiteY856" fmla="*/ 320931 h 6858000"/>
              <a:gd name="connsiteX857" fmla="*/ 4227047 w 7467600"/>
              <a:gd name="connsiteY857" fmla="*/ 313415 h 6858000"/>
              <a:gd name="connsiteX858" fmla="*/ 4346041 w 7467600"/>
              <a:gd name="connsiteY858" fmla="*/ 456086 h 6858000"/>
              <a:gd name="connsiteX859" fmla="*/ 4870967 w 7467600"/>
              <a:gd name="connsiteY859" fmla="*/ 963061 h 6858000"/>
              <a:gd name="connsiteX860" fmla="*/ 4889647 w 7467600"/>
              <a:gd name="connsiteY860" fmla="*/ 957147 h 6858000"/>
              <a:gd name="connsiteX861" fmla="*/ 5422504 w 7467600"/>
              <a:gd name="connsiteY861" fmla="*/ 805191 h 6858000"/>
              <a:gd name="connsiteX862" fmla="*/ 6087656 w 7467600"/>
              <a:gd name="connsiteY862" fmla="*/ 826703 h 6858000"/>
              <a:gd name="connsiteX863" fmla="*/ 6058717 w 7467600"/>
              <a:gd name="connsiteY863" fmla="*/ 865992 h 6858000"/>
              <a:gd name="connsiteX864" fmla="*/ 4974153 w 7467600"/>
              <a:gd name="connsiteY864" fmla="*/ 1045456 h 6858000"/>
              <a:gd name="connsiteX865" fmla="*/ 5627835 w 7467600"/>
              <a:gd name="connsiteY865" fmla="*/ 1472077 h 6858000"/>
              <a:gd name="connsiteX866" fmla="*/ 5629817 w 7467600"/>
              <a:gd name="connsiteY866" fmla="*/ 1471412 h 6858000"/>
              <a:gd name="connsiteX867" fmla="*/ 5634124 w 7467600"/>
              <a:gd name="connsiteY867" fmla="*/ 1470572 h 6858000"/>
              <a:gd name="connsiteX868" fmla="*/ 5755832 w 7467600"/>
              <a:gd name="connsiteY868" fmla="*/ 1383886 h 6858000"/>
              <a:gd name="connsiteX869" fmla="*/ 6014186 w 7467600"/>
              <a:gd name="connsiteY869" fmla="*/ 1279799 h 6858000"/>
              <a:gd name="connsiteX870" fmla="*/ 6901619 w 7467600"/>
              <a:gd name="connsiteY870" fmla="*/ 1047874 h 6858000"/>
              <a:gd name="connsiteX871" fmla="*/ 6931566 w 7467600"/>
              <a:gd name="connsiteY871" fmla="*/ 1062034 h 6858000"/>
              <a:gd name="connsiteX872" fmla="*/ 5790982 w 7467600"/>
              <a:gd name="connsiteY872" fmla="*/ 1561380 h 6858000"/>
              <a:gd name="connsiteX873" fmla="*/ 6188971 w 7467600"/>
              <a:gd name="connsiteY873" fmla="*/ 1755168 h 6858000"/>
              <a:gd name="connsiteX874" fmla="*/ 6202446 w 7467600"/>
              <a:gd name="connsiteY874" fmla="*/ 1752268 h 6858000"/>
              <a:gd name="connsiteX875" fmla="*/ 7179560 w 7467600"/>
              <a:gd name="connsiteY875" fmla="*/ 1467551 h 6858000"/>
              <a:gd name="connsiteX876" fmla="*/ 7158730 w 7467600"/>
              <a:gd name="connsiteY876" fmla="*/ 1507835 h 6858000"/>
              <a:gd name="connsiteX877" fmla="*/ 6326959 w 7467600"/>
              <a:gd name="connsiteY877" fmla="*/ 1817686 h 6858000"/>
              <a:gd name="connsiteX878" fmla="*/ 6537433 w 7467600"/>
              <a:gd name="connsiteY878" fmla="*/ 1907790 h 6858000"/>
              <a:gd name="connsiteX879" fmla="*/ 6550221 w 7467600"/>
              <a:gd name="connsiteY879" fmla="*/ 1910729 h 6858000"/>
              <a:gd name="connsiteX880" fmla="*/ 6964438 w 7467600"/>
              <a:gd name="connsiteY880" fmla="*/ 2209505 h 6858000"/>
              <a:gd name="connsiteX881" fmla="*/ 7367862 w 7467600"/>
              <a:gd name="connsiteY881" fmla="*/ 2806833 h 6858000"/>
              <a:gd name="connsiteX882" fmla="*/ 7364329 w 7467600"/>
              <a:gd name="connsiteY882" fmla="*/ 2826907 h 6858000"/>
              <a:gd name="connsiteX883" fmla="*/ 7290545 w 7467600"/>
              <a:gd name="connsiteY883" fmla="*/ 2850663 h 6858000"/>
              <a:gd name="connsiteX884" fmla="*/ 6472036 w 7467600"/>
              <a:gd name="connsiteY884" fmla="*/ 1959003 h 6858000"/>
              <a:gd name="connsiteX885" fmla="*/ 5792897 w 7467600"/>
              <a:gd name="connsiteY885" fmla="*/ 1647747 h 6858000"/>
              <a:gd name="connsiteX886" fmla="*/ 5842751 w 7467600"/>
              <a:gd name="connsiteY886" fmla="*/ 1816112 h 6858000"/>
              <a:gd name="connsiteX887" fmla="*/ 5847424 w 7467600"/>
              <a:gd name="connsiteY887" fmla="*/ 1815776 h 6858000"/>
              <a:gd name="connsiteX888" fmla="*/ 6399821 w 7467600"/>
              <a:gd name="connsiteY888" fmla="*/ 2344799 h 6858000"/>
              <a:gd name="connsiteX889" fmla="*/ 6323232 w 7467600"/>
              <a:gd name="connsiteY889" fmla="*/ 2389634 h 6858000"/>
              <a:gd name="connsiteX890" fmla="*/ 5942958 w 7467600"/>
              <a:gd name="connsiteY890" fmla="*/ 2077708 h 6858000"/>
              <a:gd name="connsiteX891" fmla="*/ 5921559 w 7467600"/>
              <a:gd name="connsiteY891" fmla="*/ 2378596 h 6858000"/>
              <a:gd name="connsiteX892" fmla="*/ 5817651 w 7467600"/>
              <a:gd name="connsiteY892" fmla="*/ 3023919 h 6858000"/>
              <a:gd name="connsiteX893" fmla="*/ 5729634 w 7467600"/>
              <a:gd name="connsiteY893" fmla="*/ 3051849 h 6858000"/>
              <a:gd name="connsiteX894" fmla="*/ 5611018 w 7467600"/>
              <a:gd name="connsiteY894" fmla="*/ 2316769 h 6858000"/>
              <a:gd name="connsiteX895" fmla="*/ 5687608 w 7467600"/>
              <a:gd name="connsiteY895" fmla="*/ 2039972 h 6858000"/>
              <a:gd name="connsiteX896" fmla="*/ 5657554 w 7467600"/>
              <a:gd name="connsiteY896" fmla="*/ 1576445 h 6858000"/>
              <a:gd name="connsiteX897" fmla="*/ 5150475 w 7467600"/>
              <a:gd name="connsiteY897" fmla="*/ 1274012 h 6858000"/>
              <a:gd name="connsiteX898" fmla="*/ 5349142 w 7467600"/>
              <a:gd name="connsiteY898" fmla="*/ 2204405 h 6858000"/>
              <a:gd name="connsiteX899" fmla="*/ 5262214 w 7467600"/>
              <a:gd name="connsiteY899" fmla="*/ 2233836 h 6858000"/>
              <a:gd name="connsiteX900" fmla="*/ 4981539 w 7467600"/>
              <a:gd name="connsiteY900" fmla="*/ 1542201 h 6858000"/>
              <a:gd name="connsiteX901" fmla="*/ 4958461 w 7467600"/>
              <a:gd name="connsiteY901" fmla="*/ 1136957 h 6858000"/>
              <a:gd name="connsiteX902" fmla="*/ 4655015 w 7467600"/>
              <a:gd name="connsiteY902" fmla="*/ 891426 h 6858000"/>
              <a:gd name="connsiteX903" fmla="*/ 4348002 w 7467600"/>
              <a:gd name="connsiteY903" fmla="*/ 2205895 h 6858000"/>
              <a:gd name="connsiteX904" fmla="*/ 4262250 w 7467600"/>
              <a:gd name="connsiteY904" fmla="*/ 2219972 h 6858000"/>
              <a:gd name="connsiteX905" fmla="*/ 4550611 w 7467600"/>
              <a:gd name="connsiteY905" fmla="*/ 817540 h 6858000"/>
              <a:gd name="connsiteX906" fmla="*/ 4564418 w 7467600"/>
              <a:gd name="connsiteY906" fmla="*/ 808293 h 6858000"/>
              <a:gd name="connsiteX907" fmla="*/ 4266388 w 7467600"/>
              <a:gd name="connsiteY907" fmla="*/ 500083 h 6858000"/>
              <a:gd name="connsiteX908" fmla="*/ 4032842 w 7467600"/>
              <a:gd name="connsiteY908" fmla="*/ 211809 h 6858000"/>
              <a:gd name="connsiteX909" fmla="*/ 3882765 w 7467600"/>
              <a:gd name="connsiteY909" fmla="*/ 0 h 6858000"/>
              <a:gd name="connsiteX910" fmla="*/ 3721337 w 7467600"/>
              <a:gd name="connsiteY910" fmla="*/ 0 h 6858000"/>
              <a:gd name="connsiteX911" fmla="*/ 3797544 w 7467600"/>
              <a:gd name="connsiteY911" fmla="*/ 0 h 6858000"/>
              <a:gd name="connsiteX912" fmla="*/ 3775734 w 7467600"/>
              <a:gd name="connsiteY912" fmla="*/ 95131 h 6858000"/>
              <a:gd name="connsiteX913" fmla="*/ 3724807 w 7467600"/>
              <a:gd name="connsiteY913" fmla="*/ 272257 h 6858000"/>
              <a:gd name="connsiteX914" fmla="*/ 3726844 w 7467600"/>
              <a:gd name="connsiteY914" fmla="*/ 282988 h 6858000"/>
              <a:gd name="connsiteX915" fmla="*/ 3742664 w 7467600"/>
              <a:gd name="connsiteY915" fmla="*/ 279918 h 6858000"/>
              <a:gd name="connsiteX916" fmla="*/ 4103910 w 7467600"/>
              <a:gd name="connsiteY916" fmla="*/ 1161917 h 6858000"/>
              <a:gd name="connsiteX917" fmla="*/ 4020269 w 7467600"/>
              <a:gd name="connsiteY917" fmla="*/ 1200406 h 6858000"/>
              <a:gd name="connsiteX918" fmla="*/ 3674882 w 7467600"/>
              <a:gd name="connsiteY918" fmla="*/ 488524 h 6858000"/>
              <a:gd name="connsiteX919" fmla="*/ 3132682 w 7467600"/>
              <a:gd name="connsiteY919" fmla="*/ 1072284 h 6858000"/>
              <a:gd name="connsiteX920" fmla="*/ 2716346 w 7467600"/>
              <a:gd name="connsiteY920" fmla="*/ 1276376 h 6858000"/>
              <a:gd name="connsiteX921" fmla="*/ 2716772 w 7467600"/>
              <a:gd name="connsiteY921" fmla="*/ 1255462 h 6858000"/>
              <a:gd name="connsiteX922" fmla="*/ 3471096 w 7467600"/>
              <a:gd name="connsiteY922" fmla="*/ 437072 h 6858000"/>
              <a:gd name="connsiteX923" fmla="*/ 3639057 w 7467600"/>
              <a:gd name="connsiteY923" fmla="*/ 286334 h 6858000"/>
              <a:gd name="connsiteX924" fmla="*/ 3640309 w 7467600"/>
              <a:gd name="connsiteY924" fmla="*/ 284664 h 6858000"/>
              <a:gd name="connsiteX925" fmla="*/ 3646022 w 7467600"/>
              <a:gd name="connsiteY925" fmla="*/ 276711 h 6858000"/>
              <a:gd name="connsiteX926" fmla="*/ 3707943 w 7467600"/>
              <a:gd name="connsiteY926" fmla="*/ 65958 h 6858000"/>
              <a:gd name="connsiteX927" fmla="*/ 3721337 w 7467600"/>
              <a:gd name="connsiteY927" fmla="*/ 0 h 6858000"/>
              <a:gd name="connsiteX928" fmla="*/ 2867960 w 7467600"/>
              <a:gd name="connsiteY928" fmla="*/ 0 h 6858000"/>
              <a:gd name="connsiteX929" fmla="*/ 2926351 w 7467600"/>
              <a:gd name="connsiteY929" fmla="*/ 0 h 6858000"/>
              <a:gd name="connsiteX930" fmla="*/ 2902823 w 7467600"/>
              <a:gd name="connsiteY930" fmla="*/ 262929 h 6858000"/>
              <a:gd name="connsiteX931" fmla="*/ 2940663 w 7467600"/>
              <a:gd name="connsiteY931" fmla="*/ 140884 h 6858000"/>
              <a:gd name="connsiteX932" fmla="*/ 2947039 w 7467600"/>
              <a:gd name="connsiteY932" fmla="*/ 122524 h 6858000"/>
              <a:gd name="connsiteX933" fmla="*/ 2984316 w 7467600"/>
              <a:gd name="connsiteY933" fmla="*/ 0 h 6858000"/>
              <a:gd name="connsiteX934" fmla="*/ 3016114 w 7467600"/>
              <a:gd name="connsiteY934" fmla="*/ 0 h 6858000"/>
              <a:gd name="connsiteX935" fmla="*/ 2979949 w 7467600"/>
              <a:gd name="connsiteY935" fmla="*/ 119274 h 6858000"/>
              <a:gd name="connsiteX936" fmla="*/ 3023879 w 7467600"/>
              <a:gd name="connsiteY936" fmla="*/ 0 h 6858000"/>
              <a:gd name="connsiteX937" fmla="*/ 3105400 w 7467600"/>
              <a:gd name="connsiteY937" fmla="*/ 0 h 6858000"/>
              <a:gd name="connsiteX938" fmla="*/ 3094669 w 7467600"/>
              <a:gd name="connsiteY938" fmla="*/ 30308 h 6858000"/>
              <a:gd name="connsiteX939" fmla="*/ 2901945 w 7467600"/>
              <a:gd name="connsiteY939" fmla="*/ 466538 h 6858000"/>
              <a:gd name="connsiteX940" fmla="*/ 2815209 w 7467600"/>
              <a:gd name="connsiteY940" fmla="*/ 497361 h 6858000"/>
              <a:gd name="connsiteX941" fmla="*/ 2844845 w 7467600"/>
              <a:gd name="connsiteY941" fmla="*/ 127638 h 6858000"/>
              <a:gd name="connsiteX942" fmla="*/ 2867960 w 7467600"/>
              <a:gd name="connsiteY942" fmla="*/ 0 h 6858000"/>
              <a:gd name="connsiteX943" fmla="*/ 1057230 w 7467600"/>
              <a:gd name="connsiteY943" fmla="*/ 0 h 6858000"/>
              <a:gd name="connsiteX944" fmla="*/ 1111003 w 7467600"/>
              <a:gd name="connsiteY944" fmla="*/ 0 h 6858000"/>
              <a:gd name="connsiteX945" fmla="*/ 1125553 w 7467600"/>
              <a:gd name="connsiteY945" fmla="*/ 52588 h 6858000"/>
              <a:gd name="connsiteX946" fmla="*/ 1304276 w 7467600"/>
              <a:gd name="connsiteY946" fmla="*/ 476275 h 6858000"/>
              <a:gd name="connsiteX947" fmla="*/ 1492066 w 7467600"/>
              <a:gd name="connsiteY947" fmla="*/ 886333 h 6858000"/>
              <a:gd name="connsiteX948" fmla="*/ 1423698 w 7467600"/>
              <a:gd name="connsiteY948" fmla="*/ 710817 h 6858000"/>
              <a:gd name="connsiteX949" fmla="*/ 1357609 w 7467600"/>
              <a:gd name="connsiteY949" fmla="*/ 532892 h 6858000"/>
              <a:gd name="connsiteX950" fmla="*/ 1309550 w 7467600"/>
              <a:gd name="connsiteY950" fmla="*/ 374031 h 6858000"/>
              <a:gd name="connsiteX951" fmla="*/ 1193673 w 7467600"/>
              <a:gd name="connsiteY951" fmla="*/ 49533 h 6858000"/>
              <a:gd name="connsiteX952" fmla="*/ 1164391 w 7467600"/>
              <a:gd name="connsiteY952" fmla="*/ 0 h 6858000"/>
              <a:gd name="connsiteX953" fmla="*/ 1200666 w 7467600"/>
              <a:gd name="connsiteY953" fmla="*/ 0 h 6858000"/>
              <a:gd name="connsiteX954" fmla="*/ 1223408 w 7467600"/>
              <a:gd name="connsiteY954" fmla="*/ 38996 h 6858000"/>
              <a:gd name="connsiteX955" fmla="*/ 1339635 w 7467600"/>
              <a:gd name="connsiteY955" fmla="*/ 365517 h 6858000"/>
              <a:gd name="connsiteX956" fmla="*/ 1387469 w 7467600"/>
              <a:gd name="connsiteY956" fmla="*/ 523079 h 6858000"/>
              <a:gd name="connsiteX957" fmla="*/ 1452685 w 7467600"/>
              <a:gd name="connsiteY957" fmla="*/ 699806 h 6858000"/>
              <a:gd name="connsiteX958" fmla="*/ 1492092 w 7467600"/>
              <a:gd name="connsiteY958" fmla="*/ 800424 h 6858000"/>
              <a:gd name="connsiteX959" fmla="*/ 1455302 w 7467600"/>
              <a:gd name="connsiteY959" fmla="*/ 632913 h 6858000"/>
              <a:gd name="connsiteX960" fmla="*/ 1222336 w 7467600"/>
              <a:gd name="connsiteY960" fmla="*/ 9480 h 6858000"/>
              <a:gd name="connsiteX961" fmla="*/ 1214634 w 7467600"/>
              <a:gd name="connsiteY961" fmla="*/ 0 h 6858000"/>
              <a:gd name="connsiteX962" fmla="*/ 1289827 w 7467600"/>
              <a:gd name="connsiteY962" fmla="*/ 0 h 6858000"/>
              <a:gd name="connsiteX963" fmla="*/ 1321076 w 7467600"/>
              <a:gd name="connsiteY963" fmla="*/ 59722 h 6858000"/>
              <a:gd name="connsiteX964" fmla="*/ 1512579 w 7467600"/>
              <a:gd name="connsiteY964" fmla="*/ 626441 h 6858000"/>
              <a:gd name="connsiteX965" fmla="*/ 1506076 w 7467600"/>
              <a:gd name="connsiteY965" fmla="*/ 1089289 h 6858000"/>
              <a:gd name="connsiteX966" fmla="*/ 1486346 w 7467600"/>
              <a:gd name="connsiteY966" fmla="*/ 1079919 h 6858000"/>
              <a:gd name="connsiteX967" fmla="*/ 1070511 w 7467600"/>
              <a:gd name="connsiteY967" fmla="*/ 48609 h 6858000"/>
              <a:gd name="connsiteX968" fmla="*/ 1057230 w 7467600"/>
              <a:gd name="connsiteY968" fmla="*/ 0 h 6858000"/>
              <a:gd name="connsiteX969" fmla="*/ 43151 w 7467600"/>
              <a:gd name="connsiteY969" fmla="*/ 0 h 6858000"/>
              <a:gd name="connsiteX970" fmla="*/ 95283 w 7467600"/>
              <a:gd name="connsiteY970" fmla="*/ 0 h 6858000"/>
              <a:gd name="connsiteX971" fmla="*/ 300708 w 7467600"/>
              <a:gd name="connsiteY971" fmla="*/ 154571 h 6858000"/>
              <a:gd name="connsiteX972" fmla="*/ 530414 w 7467600"/>
              <a:gd name="connsiteY972" fmla="*/ 354673 h 6858000"/>
              <a:gd name="connsiteX973" fmla="*/ 333785 w 7467600"/>
              <a:gd name="connsiteY973" fmla="*/ 161564 h 6858000"/>
              <a:gd name="connsiteX974" fmla="*/ 147005 w 7467600"/>
              <a:gd name="connsiteY974" fmla="*/ 0 h 6858000"/>
              <a:gd name="connsiteX975" fmla="*/ 272509 w 7467600"/>
              <a:gd name="connsiteY975" fmla="*/ 0 h 6858000"/>
              <a:gd name="connsiteX976" fmla="*/ 326276 w 7467600"/>
              <a:gd name="connsiteY976" fmla="*/ 45847 h 6858000"/>
              <a:gd name="connsiteX977" fmla="*/ 823759 w 7467600"/>
              <a:gd name="connsiteY977" fmla="*/ 574145 h 6858000"/>
              <a:gd name="connsiteX978" fmla="*/ 811254 w 7467600"/>
              <a:gd name="connsiteY978" fmla="*/ 665546 h 6858000"/>
              <a:gd name="connsiteX979" fmla="*/ 154042 w 7467600"/>
              <a:gd name="connsiteY979" fmla="*/ 261522 h 6858000"/>
              <a:gd name="connsiteX980" fmla="*/ 13550 w 7467600"/>
              <a:gd name="connsiteY980" fmla="*/ 158423 h 6858000"/>
              <a:gd name="connsiteX981" fmla="*/ 0 w 7467600"/>
              <a:gd name="connsiteY981" fmla="*/ 146618 h 6858000"/>
              <a:gd name="connsiteX982" fmla="*/ 0 w 7467600"/>
              <a:gd name="connsiteY982" fmla="*/ 59161 h 6858000"/>
              <a:gd name="connsiteX983" fmla="*/ 45427 w 7467600"/>
              <a:gd name="connsiteY983" fmla="*/ 101078 h 6858000"/>
              <a:gd name="connsiteX984" fmla="*/ 630103 w 7467600"/>
              <a:gd name="connsiteY984" fmla="*/ 485885 h 6858000"/>
              <a:gd name="connsiteX985" fmla="*/ 532040 w 7467600"/>
              <a:gd name="connsiteY985" fmla="*/ 399359 h 6858000"/>
              <a:gd name="connsiteX986" fmla="*/ 517618 w 7467600"/>
              <a:gd name="connsiteY986" fmla="*/ 385726 h 6858000"/>
              <a:gd name="connsiteX987" fmla="*/ 285074 w 7467600"/>
              <a:gd name="connsiteY987" fmla="*/ 182755 h 6858000"/>
              <a:gd name="connsiteX988" fmla="*/ 43151 w 7467600"/>
              <a:gd name="connsiteY988"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12201 w 7467600"/>
              <a:gd name="connsiteY127" fmla="*/ 5128278 h 6858000"/>
              <a:gd name="connsiteX128" fmla="*/ 7450656 w 7467600"/>
              <a:gd name="connsiteY128" fmla="*/ 5134750 h 6858000"/>
              <a:gd name="connsiteX129" fmla="*/ 7467600 w 7467600"/>
              <a:gd name="connsiteY129" fmla="*/ 5142496 h 6858000"/>
              <a:gd name="connsiteX130" fmla="*/ 7467600 w 7467600"/>
              <a:gd name="connsiteY130" fmla="*/ 5158623 h 6858000"/>
              <a:gd name="connsiteX131" fmla="*/ 7312201 w 7467600"/>
              <a:gd name="connsiteY131" fmla="*/ 5128278 h 6858000"/>
              <a:gd name="connsiteX132" fmla="*/ 1903353 w 7467600"/>
              <a:gd name="connsiteY132" fmla="*/ 5044827 h 6858000"/>
              <a:gd name="connsiteX133" fmla="*/ 1936931 w 7467600"/>
              <a:gd name="connsiteY133" fmla="*/ 5093954 h 6858000"/>
              <a:gd name="connsiteX134" fmla="*/ 2195868 w 7467600"/>
              <a:gd name="connsiteY134" fmla="*/ 5396574 h 6858000"/>
              <a:gd name="connsiteX135" fmla="*/ 2088852 w 7467600"/>
              <a:gd name="connsiteY135" fmla="*/ 5166123 h 6858000"/>
              <a:gd name="connsiteX136" fmla="*/ 1958241 w 7467600"/>
              <a:gd name="connsiteY136" fmla="*/ 5067955 h 6858000"/>
              <a:gd name="connsiteX137" fmla="*/ 1903353 w 7467600"/>
              <a:gd name="connsiteY137" fmla="*/ 5044827 h 6858000"/>
              <a:gd name="connsiteX138" fmla="*/ 1979378 w 7467600"/>
              <a:gd name="connsiteY138" fmla="*/ 4769504 h 6858000"/>
              <a:gd name="connsiteX139" fmla="*/ 2882120 w 7467600"/>
              <a:gd name="connsiteY139" fmla="*/ 5064547 h 6858000"/>
              <a:gd name="connsiteX140" fmla="*/ 2793103 w 7467600"/>
              <a:gd name="connsiteY140" fmla="*/ 5039699 h 6858000"/>
              <a:gd name="connsiteX141" fmla="*/ 2770041 w 7467600"/>
              <a:gd name="connsiteY141" fmla="*/ 5033634 h 6858000"/>
              <a:gd name="connsiteX142" fmla="*/ 1979378 w 7467600"/>
              <a:gd name="connsiteY142" fmla="*/ 4769504 h 6858000"/>
              <a:gd name="connsiteX143" fmla="*/ 1927410 w 7467600"/>
              <a:gd name="connsiteY143" fmla="*/ 4716164 h 6858000"/>
              <a:gd name="connsiteX144" fmla="*/ 1959587 w 7467600"/>
              <a:gd name="connsiteY144" fmla="*/ 4728849 h 6858000"/>
              <a:gd name="connsiteX145" fmla="*/ 2777707 w 7467600"/>
              <a:gd name="connsiteY145" fmla="*/ 5003991 h 6858000"/>
              <a:gd name="connsiteX146" fmla="*/ 2800768 w 7467600"/>
              <a:gd name="connsiteY146" fmla="*/ 5010056 h 6858000"/>
              <a:gd name="connsiteX147" fmla="*/ 2879408 w 7467600"/>
              <a:gd name="connsiteY147" fmla="*/ 5031590 h 6858000"/>
              <a:gd name="connsiteX148" fmla="*/ 2862295 w 7467600"/>
              <a:gd name="connsiteY148" fmla="*/ 5022958 h 6858000"/>
              <a:gd name="connsiteX149" fmla="*/ 2813343 w 7467600"/>
              <a:gd name="connsiteY149" fmla="*/ 4998369 h 6858000"/>
              <a:gd name="connsiteX150" fmla="*/ 2646245 w 7467600"/>
              <a:gd name="connsiteY150" fmla="*/ 4930999 h 6858000"/>
              <a:gd name="connsiteX151" fmla="*/ 1999243 w 7467600"/>
              <a:gd name="connsiteY151" fmla="*/ 4730524 h 6858000"/>
              <a:gd name="connsiteX152" fmla="*/ 1979527 w 7467600"/>
              <a:gd name="connsiteY152" fmla="*/ 4726651 h 6858000"/>
              <a:gd name="connsiteX153" fmla="*/ 1927410 w 7467600"/>
              <a:gd name="connsiteY153" fmla="*/ 4716164 h 6858000"/>
              <a:gd name="connsiteX154" fmla="*/ 1997014 w 7467600"/>
              <a:gd name="connsiteY154" fmla="*/ 4698007 h 6858000"/>
              <a:gd name="connsiteX155" fmla="*/ 2005458 w 7467600"/>
              <a:gd name="connsiteY155" fmla="*/ 4699540 h 6858000"/>
              <a:gd name="connsiteX156" fmla="*/ 2657186 w 7467600"/>
              <a:gd name="connsiteY156" fmla="*/ 4901687 h 6858000"/>
              <a:gd name="connsiteX157" fmla="*/ 2826662 w 7467600"/>
              <a:gd name="connsiteY157" fmla="*/ 4970362 h 6858000"/>
              <a:gd name="connsiteX158" fmla="*/ 2876100 w 7467600"/>
              <a:gd name="connsiteY158" fmla="*/ 4995397 h 6858000"/>
              <a:gd name="connsiteX159" fmla="*/ 3042600 w 7467600"/>
              <a:gd name="connsiteY159" fmla="*/ 5059532 h 6858000"/>
              <a:gd name="connsiteX160" fmla="*/ 1997014 w 7467600"/>
              <a:gd name="connsiteY160" fmla="*/ 4698007 h 6858000"/>
              <a:gd name="connsiteX161" fmla="*/ 2305292 w 7467600"/>
              <a:gd name="connsiteY161" fmla="*/ 4219492 h 6858000"/>
              <a:gd name="connsiteX162" fmla="*/ 3360922 w 7467600"/>
              <a:gd name="connsiteY162" fmla="*/ 4529373 h 6858000"/>
              <a:gd name="connsiteX163" fmla="*/ 3492420 w 7467600"/>
              <a:gd name="connsiteY163" fmla="*/ 4510145 h 6858000"/>
              <a:gd name="connsiteX164" fmla="*/ 3364086 w 7467600"/>
              <a:gd name="connsiteY164" fmla="*/ 4480340 h 6858000"/>
              <a:gd name="connsiteX165" fmla="*/ 3225818 w 7467600"/>
              <a:gd name="connsiteY165" fmla="*/ 4411822 h 6858000"/>
              <a:gd name="connsiteX166" fmla="*/ 3129696 w 7467600"/>
              <a:gd name="connsiteY166" fmla="*/ 4360704 h 6858000"/>
              <a:gd name="connsiteX167" fmla="*/ 2814545 w 7467600"/>
              <a:gd name="connsiteY167" fmla="*/ 4282955 h 6858000"/>
              <a:gd name="connsiteX168" fmla="*/ 2305292 w 7467600"/>
              <a:gd name="connsiteY168" fmla="*/ 4219492 h 6858000"/>
              <a:gd name="connsiteX169" fmla="*/ 2626982 w 7467600"/>
              <a:gd name="connsiteY169" fmla="*/ 4206450 h 6858000"/>
              <a:gd name="connsiteX170" fmla="*/ 2490617 w 7467600"/>
              <a:gd name="connsiteY170" fmla="*/ 4206951 h 6858000"/>
              <a:gd name="connsiteX171" fmla="*/ 2819869 w 7467600"/>
              <a:gd name="connsiteY171" fmla="*/ 4252936 h 6858000"/>
              <a:gd name="connsiteX172" fmla="*/ 3143018 w 7467600"/>
              <a:gd name="connsiteY172" fmla="*/ 4332698 h 6858000"/>
              <a:gd name="connsiteX173" fmla="*/ 3241520 w 7467600"/>
              <a:gd name="connsiteY173" fmla="*/ 4385112 h 6858000"/>
              <a:gd name="connsiteX174" fmla="*/ 3374575 w 7467600"/>
              <a:gd name="connsiteY174" fmla="*/ 4451517 h 6858000"/>
              <a:gd name="connsiteX175" fmla="*/ 3505221 w 7467600"/>
              <a:gd name="connsiteY175" fmla="*/ 4480757 h 6858000"/>
              <a:gd name="connsiteX176" fmla="*/ 2626982 w 7467600"/>
              <a:gd name="connsiteY176" fmla="*/ 4206450 h 6858000"/>
              <a:gd name="connsiteX177" fmla="*/ 1310106 w 7467600"/>
              <a:gd name="connsiteY177" fmla="*/ 3943217 h 6858000"/>
              <a:gd name="connsiteX178" fmla="*/ 854994 w 7467600"/>
              <a:gd name="connsiteY178" fmla="*/ 4399136 h 6858000"/>
              <a:gd name="connsiteX179" fmla="*/ 742462 w 7467600"/>
              <a:gd name="connsiteY179" fmla="*/ 4594648 h 6858000"/>
              <a:gd name="connsiteX180" fmla="*/ 820602 w 7467600"/>
              <a:gd name="connsiteY180" fmla="*/ 4485915 h 6858000"/>
              <a:gd name="connsiteX181" fmla="*/ 878295 w 7467600"/>
              <a:gd name="connsiteY181" fmla="*/ 4403594 h 6858000"/>
              <a:gd name="connsiteX182" fmla="*/ 1240607 w 7467600"/>
              <a:gd name="connsiteY182" fmla="*/ 4010401 h 6858000"/>
              <a:gd name="connsiteX183" fmla="*/ 1310106 w 7467600"/>
              <a:gd name="connsiteY183" fmla="*/ 3943217 h 6858000"/>
              <a:gd name="connsiteX184" fmla="*/ 1423113 w 7467600"/>
              <a:gd name="connsiteY184" fmla="*/ 3874565 h 6858000"/>
              <a:gd name="connsiteX185" fmla="*/ 1260565 w 7467600"/>
              <a:gd name="connsiteY185" fmla="*/ 4031982 h 6858000"/>
              <a:gd name="connsiteX186" fmla="*/ 901900 w 7467600"/>
              <a:gd name="connsiteY186" fmla="*/ 4421236 h 6858000"/>
              <a:gd name="connsiteX187" fmla="*/ 845044 w 7467600"/>
              <a:gd name="connsiteY187" fmla="*/ 4502436 h 6858000"/>
              <a:gd name="connsiteX188" fmla="*/ 685926 w 7467600"/>
              <a:gd name="connsiteY188" fmla="*/ 4703069 h 6858000"/>
              <a:gd name="connsiteX189" fmla="*/ 684248 w 7467600"/>
              <a:gd name="connsiteY189" fmla="*/ 4706721 h 6858000"/>
              <a:gd name="connsiteX190" fmla="*/ 1423113 w 7467600"/>
              <a:gd name="connsiteY190" fmla="*/ 3874565 h 6858000"/>
              <a:gd name="connsiteX191" fmla="*/ 3316479 w 7467600"/>
              <a:gd name="connsiteY191" fmla="*/ 3872136 h 6858000"/>
              <a:gd name="connsiteX192" fmla="*/ 3546806 w 7467600"/>
              <a:gd name="connsiteY192" fmla="*/ 4356139 h 6858000"/>
              <a:gd name="connsiteX193" fmla="*/ 3364433 w 7467600"/>
              <a:gd name="connsiteY193" fmla="*/ 3953121 h 6858000"/>
              <a:gd name="connsiteX194" fmla="*/ 3316479 w 7467600"/>
              <a:gd name="connsiteY194" fmla="*/ 3872136 h 6858000"/>
              <a:gd name="connsiteX195" fmla="*/ 3291335 w 7467600"/>
              <a:gd name="connsiteY195" fmla="*/ 3767420 h 6858000"/>
              <a:gd name="connsiteX196" fmla="*/ 3390805 w 7467600"/>
              <a:gd name="connsiteY196" fmla="*/ 3937163 h 6858000"/>
              <a:gd name="connsiteX197" fmla="*/ 3579062 w 7467600"/>
              <a:gd name="connsiteY197" fmla="*/ 4359040 h 6858000"/>
              <a:gd name="connsiteX198" fmla="*/ 3467355 w 7467600"/>
              <a:gd name="connsiteY198" fmla="*/ 3988130 h 6858000"/>
              <a:gd name="connsiteX199" fmla="*/ 3310753 w 7467600"/>
              <a:gd name="connsiteY199" fmla="*/ 3787140 h 6858000"/>
              <a:gd name="connsiteX200" fmla="*/ 3291335 w 7467600"/>
              <a:gd name="connsiteY200" fmla="*/ 3767420 h 6858000"/>
              <a:gd name="connsiteX201" fmla="*/ 1635889 w 7467600"/>
              <a:gd name="connsiteY201" fmla="*/ 3709494 h 6858000"/>
              <a:gd name="connsiteX202" fmla="*/ 1634800 w 7467600"/>
              <a:gd name="connsiteY202" fmla="*/ 3731111 h 6858000"/>
              <a:gd name="connsiteX203" fmla="*/ 1635889 w 7467600"/>
              <a:gd name="connsiteY203" fmla="*/ 3709494 h 6858000"/>
              <a:gd name="connsiteX204" fmla="*/ 1510397 w 7467600"/>
              <a:gd name="connsiteY204" fmla="*/ 3684705 h 6858000"/>
              <a:gd name="connsiteX205" fmla="*/ 1146550 w 7467600"/>
              <a:gd name="connsiteY205" fmla="*/ 3802012 h 6858000"/>
              <a:gd name="connsiteX206" fmla="*/ 698834 w 7467600"/>
              <a:gd name="connsiteY206" fmla="*/ 3952272 h 6858000"/>
              <a:gd name="connsiteX207" fmla="*/ 34256 w 7467600"/>
              <a:gd name="connsiteY207" fmla="*/ 4347603 h 6858000"/>
              <a:gd name="connsiteX208" fmla="*/ 527241 w 7467600"/>
              <a:gd name="connsiteY208" fmla="*/ 4065078 h 6858000"/>
              <a:gd name="connsiteX209" fmla="*/ 1510397 w 7467600"/>
              <a:gd name="connsiteY209" fmla="*/ 3684705 h 6858000"/>
              <a:gd name="connsiteX210" fmla="*/ 1313114 w 7467600"/>
              <a:gd name="connsiteY210" fmla="*/ 3655216 h 6858000"/>
              <a:gd name="connsiteX211" fmla="*/ 1109304 w 7467600"/>
              <a:gd name="connsiteY211" fmla="*/ 3669030 h 6858000"/>
              <a:gd name="connsiteX212" fmla="*/ 8129 w 7467600"/>
              <a:gd name="connsiteY212" fmla="*/ 4330519 h 6858000"/>
              <a:gd name="connsiteX213" fmla="*/ 687572 w 7467600"/>
              <a:gd name="connsiteY213" fmla="*/ 3925629 h 6858000"/>
              <a:gd name="connsiteX214" fmla="*/ 1138365 w 7467600"/>
              <a:gd name="connsiteY214" fmla="*/ 3774515 h 6858000"/>
              <a:gd name="connsiteX215" fmla="*/ 1505579 w 7467600"/>
              <a:gd name="connsiteY215" fmla="*/ 3655526 h 6858000"/>
              <a:gd name="connsiteX216" fmla="*/ 1313114 w 7467600"/>
              <a:gd name="connsiteY216" fmla="*/ 3655216 h 6858000"/>
              <a:gd name="connsiteX217" fmla="*/ 3655073 w 7467600"/>
              <a:gd name="connsiteY217" fmla="*/ 3650884 h 6858000"/>
              <a:gd name="connsiteX218" fmla="*/ 3989938 w 7467600"/>
              <a:gd name="connsiteY218" fmla="*/ 3991685 h 6858000"/>
              <a:gd name="connsiteX219" fmla="*/ 4393907 w 7467600"/>
              <a:gd name="connsiteY219" fmla="*/ 4261258 h 6858000"/>
              <a:gd name="connsiteX220" fmla="*/ 4648051 w 7467600"/>
              <a:gd name="connsiteY220" fmla="*/ 4374051 h 6858000"/>
              <a:gd name="connsiteX221" fmla="*/ 4383389 w 7467600"/>
              <a:gd name="connsiteY221" fmla="*/ 4184369 h 6858000"/>
              <a:gd name="connsiteX222" fmla="*/ 4165508 w 7467600"/>
              <a:gd name="connsiteY222" fmla="*/ 4035196 h 6858000"/>
              <a:gd name="connsiteX223" fmla="*/ 4068162 w 7467600"/>
              <a:gd name="connsiteY223" fmla="*/ 3953394 h 6858000"/>
              <a:gd name="connsiteX224" fmla="*/ 3981416 w 7467600"/>
              <a:gd name="connsiteY224" fmla="*/ 3880482 h 6858000"/>
              <a:gd name="connsiteX225" fmla="*/ 3800147 w 7467600"/>
              <a:gd name="connsiteY225" fmla="*/ 3749872 h 6858000"/>
              <a:gd name="connsiteX226" fmla="*/ 3655073 w 7467600"/>
              <a:gd name="connsiteY226" fmla="*/ 3650884 h 6858000"/>
              <a:gd name="connsiteX227" fmla="*/ 3670252 w 7467600"/>
              <a:gd name="connsiteY227" fmla="*/ 3622798 h 6858000"/>
              <a:gd name="connsiteX228" fmla="*/ 3817258 w 7467600"/>
              <a:gd name="connsiteY228" fmla="*/ 3723577 h 6858000"/>
              <a:gd name="connsiteX229" fmla="*/ 4000461 w 7467600"/>
              <a:gd name="connsiteY229" fmla="*/ 3855966 h 6858000"/>
              <a:gd name="connsiteX230" fmla="*/ 4088180 w 7467600"/>
              <a:gd name="connsiteY230" fmla="*/ 3929774 h 6858000"/>
              <a:gd name="connsiteX231" fmla="*/ 4184555 w 7467600"/>
              <a:gd name="connsiteY231" fmla="*/ 4010683 h 6858000"/>
              <a:gd name="connsiteX232" fmla="*/ 4399563 w 7467600"/>
              <a:gd name="connsiteY232" fmla="*/ 4158106 h 6858000"/>
              <a:gd name="connsiteX233" fmla="*/ 4684469 w 7467600"/>
              <a:gd name="connsiteY233" fmla="*/ 4364680 h 6858000"/>
              <a:gd name="connsiteX234" fmla="*/ 4690271 w 7467600"/>
              <a:gd name="connsiteY234" fmla="*/ 4370034 h 6858000"/>
              <a:gd name="connsiteX235" fmla="*/ 4136093 w 7467600"/>
              <a:gd name="connsiteY235" fmla="*/ 3858466 h 6858000"/>
              <a:gd name="connsiteX236" fmla="*/ 3670252 w 7467600"/>
              <a:gd name="connsiteY236" fmla="*/ 3622798 h 6858000"/>
              <a:gd name="connsiteX237" fmla="*/ 4440129 w 7467600"/>
              <a:gd name="connsiteY237" fmla="*/ 3448571 h 6858000"/>
              <a:gd name="connsiteX238" fmla="*/ 4856525 w 7467600"/>
              <a:gd name="connsiteY238" fmla="*/ 3915351 h 6858000"/>
              <a:gd name="connsiteX239" fmla="*/ 5059055 w 7467600"/>
              <a:gd name="connsiteY239" fmla="*/ 4108918 h 6858000"/>
              <a:gd name="connsiteX240" fmla="*/ 5290070 w 7467600"/>
              <a:gd name="connsiteY240" fmla="*/ 4263619 h 6858000"/>
              <a:gd name="connsiteX241" fmla="*/ 4834991 w 7467600"/>
              <a:gd name="connsiteY241" fmla="*/ 3830985 h 6858000"/>
              <a:gd name="connsiteX242" fmla="*/ 4440129 w 7467600"/>
              <a:gd name="connsiteY242" fmla="*/ 3448571 h 6858000"/>
              <a:gd name="connsiteX243" fmla="*/ 4441737 w 7467600"/>
              <a:gd name="connsiteY243" fmla="*/ 3399734 h 6858000"/>
              <a:gd name="connsiteX244" fmla="*/ 4431236 w 7467600"/>
              <a:gd name="connsiteY244" fmla="*/ 3400954 h 6858000"/>
              <a:gd name="connsiteX245" fmla="*/ 4557150 w 7467600"/>
              <a:gd name="connsiteY245" fmla="*/ 3510023 h 6858000"/>
              <a:gd name="connsiteX246" fmla="*/ 4856936 w 7467600"/>
              <a:gd name="connsiteY246" fmla="*/ 3809146 h 6858000"/>
              <a:gd name="connsiteX247" fmla="*/ 5111996 w 7467600"/>
              <a:gd name="connsiteY247" fmla="*/ 4065759 h 6858000"/>
              <a:gd name="connsiteX248" fmla="*/ 5388878 w 7467600"/>
              <a:gd name="connsiteY248" fmla="*/ 4300185 h 6858000"/>
              <a:gd name="connsiteX249" fmla="*/ 5425556 w 7467600"/>
              <a:gd name="connsiteY249" fmla="*/ 4308967 h 6858000"/>
              <a:gd name="connsiteX250" fmla="*/ 4943646 w 7467600"/>
              <a:gd name="connsiteY250" fmla="*/ 3822916 h 6858000"/>
              <a:gd name="connsiteX251" fmla="*/ 4594837 w 7467600"/>
              <a:gd name="connsiteY251" fmla="*/ 3532274 h 6858000"/>
              <a:gd name="connsiteX252" fmla="*/ 4441737 w 7467600"/>
              <a:gd name="connsiteY252" fmla="*/ 3399734 h 6858000"/>
              <a:gd name="connsiteX253" fmla="*/ 5425834 w 7467600"/>
              <a:gd name="connsiteY253" fmla="*/ 3162785 h 6858000"/>
              <a:gd name="connsiteX254" fmla="*/ 5401644 w 7467600"/>
              <a:gd name="connsiteY254" fmla="*/ 3617847 h 6858000"/>
              <a:gd name="connsiteX255" fmla="*/ 5467256 w 7467600"/>
              <a:gd name="connsiteY255" fmla="*/ 4175494 h 6858000"/>
              <a:gd name="connsiteX256" fmla="*/ 5448069 w 7467600"/>
              <a:gd name="connsiteY256" fmla="*/ 3567554 h 6858000"/>
              <a:gd name="connsiteX257" fmla="*/ 5425834 w 7467600"/>
              <a:gd name="connsiteY257" fmla="*/ 3162785 h 6858000"/>
              <a:gd name="connsiteX258" fmla="*/ 1318687 w 7467600"/>
              <a:gd name="connsiteY258" fmla="*/ 3113840 h 6858000"/>
              <a:gd name="connsiteX259" fmla="*/ 1066793 w 7467600"/>
              <a:gd name="connsiteY259" fmla="*/ 3212171 h 6858000"/>
              <a:gd name="connsiteX260" fmla="*/ 993319 w 7467600"/>
              <a:gd name="connsiteY260" fmla="*/ 3247648 h 6858000"/>
              <a:gd name="connsiteX261" fmla="*/ 853081 w 7467600"/>
              <a:gd name="connsiteY261" fmla="*/ 3312410 h 6858000"/>
              <a:gd name="connsiteX262" fmla="*/ 805957 w 7467600"/>
              <a:gd name="connsiteY262" fmla="*/ 3330443 h 6858000"/>
              <a:gd name="connsiteX263" fmla="*/ 1318687 w 7467600"/>
              <a:gd name="connsiteY263" fmla="*/ 3113840 h 6858000"/>
              <a:gd name="connsiteX264" fmla="*/ 5453702 w 7467600"/>
              <a:gd name="connsiteY264" fmla="*/ 3090882 h 6858000"/>
              <a:gd name="connsiteX265" fmla="*/ 5480135 w 7467600"/>
              <a:gd name="connsiteY265" fmla="*/ 3565802 h 6858000"/>
              <a:gd name="connsiteX266" fmla="*/ 5499023 w 7467600"/>
              <a:gd name="connsiteY266" fmla="*/ 4166310 h 6858000"/>
              <a:gd name="connsiteX267" fmla="*/ 5547022 w 7467600"/>
              <a:gd name="connsiteY267" fmla="*/ 3607838 h 6858000"/>
              <a:gd name="connsiteX268" fmla="*/ 5515964 w 7467600"/>
              <a:gd name="connsiteY268" fmla="*/ 3378541 h 6858000"/>
              <a:gd name="connsiteX269" fmla="*/ 5453702 w 7467600"/>
              <a:gd name="connsiteY269" fmla="*/ 3090882 h 6858000"/>
              <a:gd name="connsiteX270" fmla="*/ 1238695 w 7467600"/>
              <a:gd name="connsiteY270" fmla="*/ 3076820 h 6858000"/>
              <a:gd name="connsiteX271" fmla="*/ 716371 w 7467600"/>
              <a:gd name="connsiteY271" fmla="*/ 3293249 h 6858000"/>
              <a:gd name="connsiteX272" fmla="*/ 579522 w 7467600"/>
              <a:gd name="connsiteY272" fmla="*/ 3371759 h 6858000"/>
              <a:gd name="connsiteX273" fmla="*/ 600288 w 7467600"/>
              <a:gd name="connsiteY273" fmla="*/ 3365555 h 6858000"/>
              <a:gd name="connsiteX274" fmla="*/ 840692 w 7467600"/>
              <a:gd name="connsiteY274" fmla="*/ 3284921 h 6858000"/>
              <a:gd name="connsiteX275" fmla="*/ 979248 w 7467600"/>
              <a:gd name="connsiteY275" fmla="*/ 3221003 h 6858000"/>
              <a:gd name="connsiteX276" fmla="*/ 1053282 w 7467600"/>
              <a:gd name="connsiteY276" fmla="*/ 3185247 h 6858000"/>
              <a:gd name="connsiteX277" fmla="*/ 1320603 w 7467600"/>
              <a:gd name="connsiteY277" fmla="*/ 3081281 h 6858000"/>
              <a:gd name="connsiteX278" fmla="*/ 1238695 w 7467600"/>
              <a:gd name="connsiteY278" fmla="*/ 3076820 h 6858000"/>
              <a:gd name="connsiteX279" fmla="*/ 5425627 w 7467600"/>
              <a:gd name="connsiteY279" fmla="*/ 2954192 h 6858000"/>
              <a:gd name="connsiteX280" fmla="*/ 5470770 w 7467600"/>
              <a:gd name="connsiteY280" fmla="*/ 3005435 h 6858000"/>
              <a:gd name="connsiteX281" fmla="*/ 5519779 w 7467600"/>
              <a:gd name="connsiteY281" fmla="*/ 4359223 h 6858000"/>
              <a:gd name="connsiteX282" fmla="*/ 5520293 w 7467600"/>
              <a:gd name="connsiteY282" fmla="*/ 4360602 h 6858000"/>
              <a:gd name="connsiteX283" fmla="*/ 5767221 w 7467600"/>
              <a:gd name="connsiteY283" fmla="*/ 4665564 h 6858000"/>
              <a:gd name="connsiteX284" fmla="*/ 6937169 w 7467600"/>
              <a:gd name="connsiteY284" fmla="*/ 4815941 h 6858000"/>
              <a:gd name="connsiteX285" fmla="*/ 6953922 w 7467600"/>
              <a:gd name="connsiteY285" fmla="*/ 4890068 h 6858000"/>
              <a:gd name="connsiteX286" fmla="*/ 6071359 w 7467600"/>
              <a:gd name="connsiteY286" fmla="*/ 4770770 h 6858000"/>
              <a:gd name="connsiteX287" fmla="*/ 6038839 w 7467600"/>
              <a:gd name="connsiteY287" fmla="*/ 4764474 h 6858000"/>
              <a:gd name="connsiteX288" fmla="*/ 6038706 w 7467600"/>
              <a:gd name="connsiteY288" fmla="*/ 4763847 h 6858000"/>
              <a:gd name="connsiteX289" fmla="*/ 6037784 w 7467600"/>
              <a:gd name="connsiteY289" fmla="*/ 4764270 h 6858000"/>
              <a:gd name="connsiteX290" fmla="*/ 6038839 w 7467600"/>
              <a:gd name="connsiteY290" fmla="*/ 4764474 h 6858000"/>
              <a:gd name="connsiteX291" fmla="*/ 6040338 w 7467600"/>
              <a:gd name="connsiteY291" fmla="*/ 4771418 h 6858000"/>
              <a:gd name="connsiteX292" fmla="*/ 6024488 w 7467600"/>
              <a:gd name="connsiteY292" fmla="*/ 4809903 h 6858000"/>
              <a:gd name="connsiteX293" fmla="*/ 5599771 w 7467600"/>
              <a:gd name="connsiteY293" fmla="*/ 5509652 h 6858000"/>
              <a:gd name="connsiteX294" fmla="*/ 5548843 w 7467600"/>
              <a:gd name="connsiteY294" fmla="*/ 5563845 h 6858000"/>
              <a:gd name="connsiteX295" fmla="*/ 5940952 w 7467600"/>
              <a:gd name="connsiteY295" fmla="*/ 6250028 h 6858000"/>
              <a:gd name="connsiteX296" fmla="*/ 6043441 w 7467600"/>
              <a:gd name="connsiteY296" fmla="*/ 6665847 h 6858000"/>
              <a:gd name="connsiteX297" fmla="*/ 6093432 w 7467600"/>
              <a:gd name="connsiteY297" fmla="*/ 6858000 h 6858000"/>
              <a:gd name="connsiteX298" fmla="*/ 6034344 w 7467600"/>
              <a:gd name="connsiteY298" fmla="*/ 6858000 h 6858000"/>
              <a:gd name="connsiteX299" fmla="*/ 6026679 w 7467600"/>
              <a:gd name="connsiteY299" fmla="*/ 6836959 h 6858000"/>
              <a:gd name="connsiteX300" fmla="*/ 5800441 w 7467600"/>
              <a:gd name="connsiteY300" fmla="*/ 6335286 h 6858000"/>
              <a:gd name="connsiteX301" fmla="*/ 5526562 w 7467600"/>
              <a:gd name="connsiteY301" fmla="*/ 5705388 h 6858000"/>
              <a:gd name="connsiteX302" fmla="*/ 5519640 w 7467600"/>
              <a:gd name="connsiteY302" fmla="*/ 5683774 h 6858000"/>
              <a:gd name="connsiteX303" fmla="*/ 5844559 w 7467600"/>
              <a:gd name="connsiteY303" fmla="*/ 6553349 h 6858000"/>
              <a:gd name="connsiteX304" fmla="*/ 5975994 w 7467600"/>
              <a:gd name="connsiteY304" fmla="*/ 6858000 h 6858000"/>
              <a:gd name="connsiteX305" fmla="*/ 5898547 w 7467600"/>
              <a:gd name="connsiteY305" fmla="*/ 6858000 h 6858000"/>
              <a:gd name="connsiteX306" fmla="*/ 5682041 w 7467600"/>
              <a:gd name="connsiteY306" fmla="*/ 6355860 h 6858000"/>
              <a:gd name="connsiteX307" fmla="*/ 5461758 w 7467600"/>
              <a:gd name="connsiteY307" fmla="*/ 5820220 h 6858000"/>
              <a:gd name="connsiteX308" fmla="*/ 5237282 w 7467600"/>
              <a:gd name="connsiteY308" fmla="*/ 6579086 h 6858000"/>
              <a:gd name="connsiteX309" fmla="*/ 5115009 w 7467600"/>
              <a:gd name="connsiteY309" fmla="*/ 6858000 h 6858000"/>
              <a:gd name="connsiteX310" fmla="*/ 5028074 w 7467600"/>
              <a:gd name="connsiteY310" fmla="*/ 6858000 h 6858000"/>
              <a:gd name="connsiteX311" fmla="*/ 5079508 w 7467600"/>
              <a:gd name="connsiteY311" fmla="*/ 6749074 h 6858000"/>
              <a:gd name="connsiteX312" fmla="*/ 5371846 w 7467600"/>
              <a:gd name="connsiteY312" fmla="*/ 5924413 h 6858000"/>
              <a:gd name="connsiteX313" fmla="*/ 5270512 w 7467600"/>
              <a:gd name="connsiteY313" fmla="*/ 6138975 h 6858000"/>
              <a:gd name="connsiteX314" fmla="*/ 5062409 w 7467600"/>
              <a:gd name="connsiteY314" fmla="*/ 6653544 h 6858000"/>
              <a:gd name="connsiteX315" fmla="*/ 5036628 w 7467600"/>
              <a:gd name="connsiteY315" fmla="*/ 6754247 h 6858000"/>
              <a:gd name="connsiteX316" fmla="*/ 5009112 w 7467600"/>
              <a:gd name="connsiteY316" fmla="*/ 6858000 h 6858000"/>
              <a:gd name="connsiteX317" fmla="*/ 4976679 w 7467600"/>
              <a:gd name="connsiteY317" fmla="*/ 6858000 h 6858000"/>
              <a:gd name="connsiteX318" fmla="*/ 5006537 w 7467600"/>
              <a:gd name="connsiteY318" fmla="*/ 6747068 h 6858000"/>
              <a:gd name="connsiteX319" fmla="*/ 5032723 w 7467600"/>
              <a:gd name="connsiteY319" fmla="*/ 6644957 h 6858000"/>
              <a:gd name="connsiteX320" fmla="*/ 5242949 w 7467600"/>
              <a:gd name="connsiteY320" fmla="*/ 6125175 h 6858000"/>
              <a:gd name="connsiteX321" fmla="*/ 5286321 w 7467600"/>
              <a:gd name="connsiteY321" fmla="*/ 6033555 h 6858000"/>
              <a:gd name="connsiteX322" fmla="*/ 5008210 w 7467600"/>
              <a:gd name="connsiteY322" fmla="*/ 6649194 h 6858000"/>
              <a:gd name="connsiteX323" fmla="*/ 4986321 w 7467600"/>
              <a:gd name="connsiteY323" fmla="*/ 6765687 h 6858000"/>
              <a:gd name="connsiteX324" fmla="*/ 4973474 w 7467600"/>
              <a:gd name="connsiteY324" fmla="*/ 6858000 h 6858000"/>
              <a:gd name="connsiteX325" fmla="*/ 4907178 w 7467600"/>
              <a:gd name="connsiteY325" fmla="*/ 6858000 h 6858000"/>
              <a:gd name="connsiteX326" fmla="*/ 4910810 w 7467600"/>
              <a:gd name="connsiteY326" fmla="*/ 6829660 h 6858000"/>
              <a:gd name="connsiteX327" fmla="*/ 4987461 w 7467600"/>
              <a:gd name="connsiteY327" fmla="*/ 6432994 h 6858000"/>
              <a:gd name="connsiteX328" fmla="*/ 5179262 w 7467600"/>
              <a:gd name="connsiteY328" fmla="*/ 6035044 h 6858000"/>
              <a:gd name="connsiteX329" fmla="*/ 4689678 w 7467600"/>
              <a:gd name="connsiteY329" fmla="*/ 6440241 h 6858000"/>
              <a:gd name="connsiteX330" fmla="*/ 4477543 w 7467600"/>
              <a:gd name="connsiteY330" fmla="*/ 6674836 h 6858000"/>
              <a:gd name="connsiteX331" fmla="*/ 4329957 w 7467600"/>
              <a:gd name="connsiteY331" fmla="*/ 6858000 h 6858000"/>
              <a:gd name="connsiteX332" fmla="*/ 4218595 w 7467600"/>
              <a:gd name="connsiteY332" fmla="*/ 6858000 h 6858000"/>
              <a:gd name="connsiteX333" fmla="*/ 4368888 w 7467600"/>
              <a:gd name="connsiteY333" fmla="*/ 6668412 h 6858000"/>
              <a:gd name="connsiteX334" fmla="*/ 4563091 w 7467600"/>
              <a:gd name="connsiteY334" fmla="*/ 6442508 h 6858000"/>
              <a:gd name="connsiteX335" fmla="*/ 5387324 w 7467600"/>
              <a:gd name="connsiteY335" fmla="*/ 5705830 h 6858000"/>
              <a:gd name="connsiteX336" fmla="*/ 5073620 w 7467600"/>
              <a:gd name="connsiteY336" fmla="*/ 5955437 h 6858000"/>
              <a:gd name="connsiteX337" fmla="*/ 4689789 w 7467600"/>
              <a:gd name="connsiteY337" fmla="*/ 6268382 h 6858000"/>
              <a:gd name="connsiteX338" fmla="*/ 4418722 w 7467600"/>
              <a:gd name="connsiteY338" fmla="*/ 6570886 h 6858000"/>
              <a:gd name="connsiteX339" fmla="*/ 4214944 w 7467600"/>
              <a:gd name="connsiteY339" fmla="*/ 6858000 h 6858000"/>
              <a:gd name="connsiteX340" fmla="*/ 4177898 w 7467600"/>
              <a:gd name="connsiteY340" fmla="*/ 6858000 h 6858000"/>
              <a:gd name="connsiteX341" fmla="*/ 4391597 w 7467600"/>
              <a:gd name="connsiteY341" fmla="*/ 6556370 h 6858000"/>
              <a:gd name="connsiteX342" fmla="*/ 4668889 w 7467600"/>
              <a:gd name="connsiteY342" fmla="*/ 6246399 h 6858000"/>
              <a:gd name="connsiteX343" fmla="*/ 5055427 w 7467600"/>
              <a:gd name="connsiteY343" fmla="*/ 5931476 h 6858000"/>
              <a:gd name="connsiteX344" fmla="*/ 5371814 w 7467600"/>
              <a:gd name="connsiteY344" fmla="*/ 5678975 h 6858000"/>
              <a:gd name="connsiteX345" fmla="*/ 4987918 w 7467600"/>
              <a:gd name="connsiteY345" fmla="*/ 5838701 h 6858000"/>
              <a:gd name="connsiteX346" fmla="*/ 4317146 w 7467600"/>
              <a:gd name="connsiteY346" fmla="*/ 6587716 h 6858000"/>
              <a:gd name="connsiteX347" fmla="*/ 4171627 w 7467600"/>
              <a:gd name="connsiteY347" fmla="*/ 6858000 h 6858000"/>
              <a:gd name="connsiteX348" fmla="*/ 4081585 w 7467600"/>
              <a:gd name="connsiteY348" fmla="*/ 6858000 h 6858000"/>
              <a:gd name="connsiteX349" fmla="*/ 4238603 w 7467600"/>
              <a:gd name="connsiteY349" fmla="*/ 6559341 h 6858000"/>
              <a:gd name="connsiteX350" fmla="*/ 4778333 w 7467600"/>
              <a:gd name="connsiteY350" fmla="*/ 5873626 h 6858000"/>
              <a:gd name="connsiteX351" fmla="*/ 5414185 w 7467600"/>
              <a:gd name="connsiteY351" fmla="*/ 5573882 h 6858000"/>
              <a:gd name="connsiteX352" fmla="*/ 5959648 w 7467600"/>
              <a:gd name="connsiteY352" fmla="*/ 4760797 h 6858000"/>
              <a:gd name="connsiteX353" fmla="*/ 5355019 w 7467600"/>
              <a:gd name="connsiteY353" fmla="*/ 4734672 h 6858000"/>
              <a:gd name="connsiteX354" fmla="*/ 5083565 w 7467600"/>
              <a:gd name="connsiteY354" fmla="*/ 5179121 h 6858000"/>
              <a:gd name="connsiteX355" fmla="*/ 4713577 w 7467600"/>
              <a:gd name="connsiteY355" fmla="*/ 5616803 h 6858000"/>
              <a:gd name="connsiteX356" fmla="*/ 3989559 w 7467600"/>
              <a:gd name="connsiteY356" fmla="*/ 6145945 h 6858000"/>
              <a:gd name="connsiteX357" fmla="*/ 3939824 w 7467600"/>
              <a:gd name="connsiteY357" fmla="*/ 6066900 h 6858000"/>
              <a:gd name="connsiteX358" fmla="*/ 4584537 w 7467600"/>
              <a:gd name="connsiteY358" fmla="*/ 5324826 h 6858000"/>
              <a:gd name="connsiteX359" fmla="*/ 5037105 w 7467600"/>
              <a:gd name="connsiteY359" fmla="*/ 5088765 h 6858000"/>
              <a:gd name="connsiteX360" fmla="*/ 5039930 w 7467600"/>
              <a:gd name="connsiteY360" fmla="*/ 5089585 h 6858000"/>
              <a:gd name="connsiteX361" fmla="*/ 5263764 w 7467600"/>
              <a:gd name="connsiteY361" fmla="*/ 4735525 h 6858000"/>
              <a:gd name="connsiteX362" fmla="*/ 4086300 w 7467600"/>
              <a:gd name="connsiteY362" fmla="*/ 4884599 h 6858000"/>
              <a:gd name="connsiteX363" fmla="*/ 4085485 w 7467600"/>
              <a:gd name="connsiteY363" fmla="*/ 4899070 h 6858000"/>
              <a:gd name="connsiteX364" fmla="*/ 3871915 w 7467600"/>
              <a:gd name="connsiteY364" fmla="*/ 5253645 h 6858000"/>
              <a:gd name="connsiteX365" fmla="*/ 3799374 w 7467600"/>
              <a:gd name="connsiteY365" fmla="*/ 5466127 h 6858000"/>
              <a:gd name="connsiteX366" fmla="*/ 3498850 w 7467600"/>
              <a:gd name="connsiteY366" fmla="*/ 6661888 h 6858000"/>
              <a:gd name="connsiteX367" fmla="*/ 3399216 w 7467600"/>
              <a:gd name="connsiteY367" fmla="*/ 6858000 h 6858000"/>
              <a:gd name="connsiteX368" fmla="*/ 3303688 w 7467600"/>
              <a:gd name="connsiteY368" fmla="*/ 6858000 h 6858000"/>
              <a:gd name="connsiteX369" fmla="*/ 3391774 w 7467600"/>
              <a:gd name="connsiteY369" fmla="*/ 6697181 h 6858000"/>
              <a:gd name="connsiteX370" fmla="*/ 3735540 w 7467600"/>
              <a:gd name="connsiteY370" fmla="*/ 5546923 h 6858000"/>
              <a:gd name="connsiteX371" fmla="*/ 3729438 w 7467600"/>
              <a:gd name="connsiteY371" fmla="*/ 5569058 h 6858000"/>
              <a:gd name="connsiteX372" fmla="*/ 3707782 w 7467600"/>
              <a:gd name="connsiteY372" fmla="*/ 5644908 h 6858000"/>
              <a:gd name="connsiteX373" fmla="*/ 3583827 w 7467600"/>
              <a:gd name="connsiteY373" fmla="*/ 6039215 h 6858000"/>
              <a:gd name="connsiteX374" fmla="*/ 3547861 w 7467600"/>
              <a:gd name="connsiteY374" fmla="*/ 6129609 h 6858000"/>
              <a:gd name="connsiteX375" fmla="*/ 3490905 w 7467600"/>
              <a:gd name="connsiteY375" fmla="*/ 6277660 h 6858000"/>
              <a:gd name="connsiteX376" fmla="*/ 3455859 w 7467600"/>
              <a:gd name="connsiteY376" fmla="*/ 6391301 h 6858000"/>
              <a:gd name="connsiteX377" fmla="*/ 3429112 w 7467600"/>
              <a:gd name="connsiteY377" fmla="*/ 6479469 h 6858000"/>
              <a:gd name="connsiteX378" fmla="*/ 3304862 w 7467600"/>
              <a:gd name="connsiteY378" fmla="*/ 6796476 h 6858000"/>
              <a:gd name="connsiteX379" fmla="*/ 3276071 w 7467600"/>
              <a:gd name="connsiteY379" fmla="*/ 6858000 h 6858000"/>
              <a:gd name="connsiteX380" fmla="*/ 3240805 w 7467600"/>
              <a:gd name="connsiteY380" fmla="*/ 6858000 h 6858000"/>
              <a:gd name="connsiteX381" fmla="*/ 3275917 w 7467600"/>
              <a:gd name="connsiteY381" fmla="*/ 6783192 h 6858000"/>
              <a:gd name="connsiteX382" fmla="*/ 3399358 w 7467600"/>
              <a:gd name="connsiteY382" fmla="*/ 6469011 h 6858000"/>
              <a:gd name="connsiteX383" fmla="*/ 3425650 w 7467600"/>
              <a:gd name="connsiteY383" fmla="*/ 6381333 h 6858000"/>
              <a:gd name="connsiteX384" fmla="*/ 3460661 w 7467600"/>
              <a:gd name="connsiteY384" fmla="*/ 6266763 h 6858000"/>
              <a:gd name="connsiteX385" fmla="*/ 3518021 w 7467600"/>
              <a:gd name="connsiteY385" fmla="*/ 6117298 h 6858000"/>
              <a:gd name="connsiteX386" fmla="*/ 3554035 w 7467600"/>
              <a:gd name="connsiteY386" fmla="*/ 6027832 h 6858000"/>
              <a:gd name="connsiteX387" fmla="*/ 3677174 w 7467600"/>
              <a:gd name="connsiteY387" fmla="*/ 5636351 h 6858000"/>
              <a:gd name="connsiteX388" fmla="*/ 3698819 w 7467600"/>
              <a:gd name="connsiteY388" fmla="*/ 5560503 h 6858000"/>
              <a:gd name="connsiteX389" fmla="*/ 3702094 w 7467600"/>
              <a:gd name="connsiteY389" fmla="*/ 5549194 h 6858000"/>
              <a:gd name="connsiteX390" fmla="*/ 3398355 w 7467600"/>
              <a:gd name="connsiteY390" fmla="*/ 6094603 h 6858000"/>
              <a:gd name="connsiteX391" fmla="*/ 3193941 w 7467600"/>
              <a:gd name="connsiteY391" fmla="*/ 6798775 h 6858000"/>
              <a:gd name="connsiteX392" fmla="*/ 3184140 w 7467600"/>
              <a:gd name="connsiteY392" fmla="*/ 6858000 h 6858000"/>
              <a:gd name="connsiteX393" fmla="*/ 3099978 w 7467600"/>
              <a:gd name="connsiteY393" fmla="*/ 6858000 h 6858000"/>
              <a:gd name="connsiteX394" fmla="*/ 3101556 w 7467600"/>
              <a:gd name="connsiteY394" fmla="*/ 6843337 h 6858000"/>
              <a:gd name="connsiteX395" fmla="*/ 3370162 w 7467600"/>
              <a:gd name="connsiteY395" fmla="*/ 5785550 h 6858000"/>
              <a:gd name="connsiteX396" fmla="*/ 3746477 w 7467600"/>
              <a:gd name="connsiteY396" fmla="*/ 5377889 h 6858000"/>
              <a:gd name="connsiteX397" fmla="*/ 3863399 w 7467600"/>
              <a:gd name="connsiteY397" fmla="*/ 5087257 h 6858000"/>
              <a:gd name="connsiteX398" fmla="*/ 3968712 w 7467600"/>
              <a:gd name="connsiteY398" fmla="*/ 4913989 h 6858000"/>
              <a:gd name="connsiteX399" fmla="*/ 2792390 w 7467600"/>
              <a:gd name="connsiteY399" fmla="*/ 5382974 h 6858000"/>
              <a:gd name="connsiteX400" fmla="*/ 2714982 w 7467600"/>
              <a:gd name="connsiteY400" fmla="*/ 5427051 h 6858000"/>
              <a:gd name="connsiteX401" fmla="*/ 2813361 w 7467600"/>
              <a:gd name="connsiteY401" fmla="*/ 6023912 h 6858000"/>
              <a:gd name="connsiteX402" fmla="*/ 2688430 w 7467600"/>
              <a:gd name="connsiteY402" fmla="*/ 6801564 h 6858000"/>
              <a:gd name="connsiteX403" fmla="*/ 2629626 w 7467600"/>
              <a:gd name="connsiteY403" fmla="*/ 6763394 h 6858000"/>
              <a:gd name="connsiteX404" fmla="*/ 2565328 w 7467600"/>
              <a:gd name="connsiteY404" fmla="*/ 5516399 h 6858000"/>
              <a:gd name="connsiteX405" fmla="*/ 1922999 w 7467600"/>
              <a:gd name="connsiteY405" fmla="*/ 5980343 h 6858000"/>
              <a:gd name="connsiteX406" fmla="*/ 1950261 w 7467600"/>
              <a:gd name="connsiteY406" fmla="*/ 6405858 h 6858000"/>
              <a:gd name="connsiteX407" fmla="*/ 2365554 w 7467600"/>
              <a:gd name="connsiteY407" fmla="*/ 6759107 h 6858000"/>
              <a:gd name="connsiteX408" fmla="*/ 2424142 w 7467600"/>
              <a:gd name="connsiteY408" fmla="*/ 6858000 h 6858000"/>
              <a:gd name="connsiteX409" fmla="*/ 2395994 w 7467600"/>
              <a:gd name="connsiteY409" fmla="*/ 6858000 h 6858000"/>
              <a:gd name="connsiteX410" fmla="*/ 2392863 w 7467600"/>
              <a:gd name="connsiteY410" fmla="*/ 6852964 h 6858000"/>
              <a:gd name="connsiteX411" fmla="*/ 2017589 w 7467600"/>
              <a:gd name="connsiteY411" fmla="*/ 6493982 h 6858000"/>
              <a:gd name="connsiteX412" fmla="*/ 2147336 w 7467600"/>
              <a:gd name="connsiteY412" fmla="*/ 6594052 h 6858000"/>
              <a:gd name="connsiteX413" fmla="*/ 2207047 w 7467600"/>
              <a:gd name="connsiteY413" fmla="*/ 6654540 h 6858000"/>
              <a:gd name="connsiteX414" fmla="*/ 2299106 w 7467600"/>
              <a:gd name="connsiteY414" fmla="*/ 6778931 h 6858000"/>
              <a:gd name="connsiteX415" fmla="*/ 2314430 w 7467600"/>
              <a:gd name="connsiteY415" fmla="*/ 6801144 h 6858000"/>
              <a:gd name="connsiteX416" fmla="*/ 2352406 w 7467600"/>
              <a:gd name="connsiteY416" fmla="*/ 6858000 h 6858000"/>
              <a:gd name="connsiteX417" fmla="*/ 2314492 w 7467600"/>
              <a:gd name="connsiteY417" fmla="*/ 6858000 h 6858000"/>
              <a:gd name="connsiteX418" fmla="*/ 2288095 w 7467600"/>
              <a:gd name="connsiteY418" fmla="*/ 6818030 h 6858000"/>
              <a:gd name="connsiteX419" fmla="*/ 2272768 w 7467600"/>
              <a:gd name="connsiteY419" fmla="*/ 6795822 h 6858000"/>
              <a:gd name="connsiteX420" fmla="*/ 2182715 w 7467600"/>
              <a:gd name="connsiteY420" fmla="*/ 6675071 h 6858000"/>
              <a:gd name="connsiteX421" fmla="*/ 2032061 w 7467600"/>
              <a:gd name="connsiteY421" fmla="*/ 6541380 h 6858000"/>
              <a:gd name="connsiteX422" fmla="*/ 2257220 w 7467600"/>
              <a:gd name="connsiteY422" fmla="*/ 6826257 h 6858000"/>
              <a:gd name="connsiteX423" fmla="*/ 2281324 w 7467600"/>
              <a:gd name="connsiteY423" fmla="*/ 6858000 h 6858000"/>
              <a:gd name="connsiteX424" fmla="*/ 2242860 w 7467600"/>
              <a:gd name="connsiteY424" fmla="*/ 6858000 h 6858000"/>
              <a:gd name="connsiteX425" fmla="*/ 2232818 w 7467600"/>
              <a:gd name="connsiteY425" fmla="*/ 6844926 h 6858000"/>
              <a:gd name="connsiteX426" fmla="*/ 1990172 w 7467600"/>
              <a:gd name="connsiteY426" fmla="*/ 6542121 h 6858000"/>
              <a:gd name="connsiteX427" fmla="*/ 2124090 w 7467600"/>
              <a:gd name="connsiteY427" fmla="*/ 6761017 h 6858000"/>
              <a:gd name="connsiteX428" fmla="*/ 2200380 w 7467600"/>
              <a:gd name="connsiteY428" fmla="*/ 6858000 h 6858000"/>
              <a:gd name="connsiteX429" fmla="*/ 2147507 w 7467600"/>
              <a:gd name="connsiteY429" fmla="*/ 6858000 h 6858000"/>
              <a:gd name="connsiteX430" fmla="*/ 2070668 w 7467600"/>
              <a:gd name="connsiteY430" fmla="*/ 6761520 h 6858000"/>
              <a:gd name="connsiteX431" fmla="*/ 1975142 w 7467600"/>
              <a:gd name="connsiteY431" fmla="*/ 6585570 h 6858000"/>
              <a:gd name="connsiteX432" fmla="*/ 2050035 w 7467600"/>
              <a:gd name="connsiteY432" fmla="*/ 6813345 h 6858000"/>
              <a:gd name="connsiteX433" fmla="*/ 2063025 w 7467600"/>
              <a:gd name="connsiteY433" fmla="*/ 6858000 h 6858000"/>
              <a:gd name="connsiteX434" fmla="*/ 2021675 w 7467600"/>
              <a:gd name="connsiteY434" fmla="*/ 6858000 h 6858000"/>
              <a:gd name="connsiteX435" fmla="*/ 2019308 w 7467600"/>
              <a:gd name="connsiteY435" fmla="*/ 6847118 h 6858000"/>
              <a:gd name="connsiteX436" fmla="*/ 1938835 w 7467600"/>
              <a:gd name="connsiteY436" fmla="*/ 6551160 h 6858000"/>
              <a:gd name="connsiteX437" fmla="*/ 1953230 w 7467600"/>
              <a:gd name="connsiteY437" fmla="*/ 6759699 h 6858000"/>
              <a:gd name="connsiteX438" fmla="*/ 1956763 w 7467600"/>
              <a:gd name="connsiteY438" fmla="*/ 6778191 h 6858000"/>
              <a:gd name="connsiteX439" fmla="*/ 1967925 w 7467600"/>
              <a:gd name="connsiteY439" fmla="*/ 6858000 h 6858000"/>
              <a:gd name="connsiteX440" fmla="*/ 1936622 w 7467600"/>
              <a:gd name="connsiteY440" fmla="*/ 6858000 h 6858000"/>
              <a:gd name="connsiteX441" fmla="*/ 1926261 w 7467600"/>
              <a:gd name="connsiteY441" fmla="*/ 6784064 h 6858000"/>
              <a:gd name="connsiteX442" fmla="*/ 1922724 w 7467600"/>
              <a:gd name="connsiteY442" fmla="*/ 6765577 h 6858000"/>
              <a:gd name="connsiteX443" fmla="*/ 1904650 w 7467600"/>
              <a:gd name="connsiteY443" fmla="*/ 6639616 h 6858000"/>
              <a:gd name="connsiteX444" fmla="*/ 1885273 w 7467600"/>
              <a:gd name="connsiteY444" fmla="*/ 6858000 h 6858000"/>
              <a:gd name="connsiteX445" fmla="*/ 1854363 w 7467600"/>
              <a:gd name="connsiteY445" fmla="*/ 6858000 h 6858000"/>
              <a:gd name="connsiteX446" fmla="*/ 1880391 w 7467600"/>
              <a:gd name="connsiteY446" fmla="*/ 6603796 h 6858000"/>
              <a:gd name="connsiteX447" fmla="*/ 1818273 w 7467600"/>
              <a:gd name="connsiteY447" fmla="*/ 6715729 h 6858000"/>
              <a:gd name="connsiteX448" fmla="*/ 1794691 w 7467600"/>
              <a:gd name="connsiteY448" fmla="*/ 6843239 h 6858000"/>
              <a:gd name="connsiteX449" fmla="*/ 1794914 w 7467600"/>
              <a:gd name="connsiteY449" fmla="*/ 6858000 h 6858000"/>
              <a:gd name="connsiteX450" fmla="*/ 1746128 w 7467600"/>
              <a:gd name="connsiteY450" fmla="*/ 6858000 h 6858000"/>
              <a:gd name="connsiteX451" fmla="*/ 1753934 w 7467600"/>
              <a:gd name="connsiteY451" fmla="*/ 6724796 h 6858000"/>
              <a:gd name="connsiteX452" fmla="*/ 1792053 w 7467600"/>
              <a:gd name="connsiteY452" fmla="*/ 6572396 h 6858000"/>
              <a:gd name="connsiteX453" fmla="*/ 1862248 w 7467600"/>
              <a:gd name="connsiteY453" fmla="*/ 6266397 h 6858000"/>
              <a:gd name="connsiteX454" fmla="*/ 1862250 w 7467600"/>
              <a:gd name="connsiteY454" fmla="*/ 6033531 h 6858000"/>
              <a:gd name="connsiteX455" fmla="*/ 1211999 w 7467600"/>
              <a:gd name="connsiteY455" fmla="*/ 6683610 h 6858000"/>
              <a:gd name="connsiteX456" fmla="*/ 1213266 w 7467600"/>
              <a:gd name="connsiteY456" fmla="*/ 6691947 h 6858000"/>
              <a:gd name="connsiteX457" fmla="*/ 1203370 w 7467600"/>
              <a:gd name="connsiteY457" fmla="*/ 6850676 h 6858000"/>
              <a:gd name="connsiteX458" fmla="*/ 1203671 w 7467600"/>
              <a:gd name="connsiteY458" fmla="*/ 6858000 h 6858000"/>
              <a:gd name="connsiteX459" fmla="*/ 1143180 w 7467600"/>
              <a:gd name="connsiteY459" fmla="*/ 6858000 h 6858000"/>
              <a:gd name="connsiteX460" fmla="*/ 1142176 w 7467600"/>
              <a:gd name="connsiteY460" fmla="*/ 6766045 h 6858000"/>
              <a:gd name="connsiteX461" fmla="*/ 1067484 w 7467600"/>
              <a:gd name="connsiteY461" fmla="*/ 6858000 h 6858000"/>
              <a:gd name="connsiteX462" fmla="*/ 953928 w 7467600"/>
              <a:gd name="connsiteY462" fmla="*/ 6858000 h 6858000"/>
              <a:gd name="connsiteX463" fmla="*/ 959715 w 7467600"/>
              <a:gd name="connsiteY463" fmla="*/ 6850185 h 6858000"/>
              <a:gd name="connsiteX464" fmla="*/ 1483788 w 7467600"/>
              <a:gd name="connsiteY464" fmla="*/ 6259174 h 6858000"/>
              <a:gd name="connsiteX465" fmla="*/ 1100671 w 7467600"/>
              <a:gd name="connsiteY465" fmla="*/ 6252137 h 6858000"/>
              <a:gd name="connsiteX466" fmla="*/ 1090144 w 7467600"/>
              <a:gd name="connsiteY466" fmla="*/ 6256748 h 6858000"/>
              <a:gd name="connsiteX467" fmla="*/ 1095872 w 7467600"/>
              <a:gd name="connsiteY467" fmla="*/ 6271892 h 6858000"/>
              <a:gd name="connsiteX468" fmla="*/ 262785 w 7467600"/>
              <a:gd name="connsiteY468" fmla="*/ 6845450 h 6858000"/>
              <a:gd name="connsiteX469" fmla="*/ 209968 w 7467600"/>
              <a:gd name="connsiteY469" fmla="*/ 6770713 h 6858000"/>
              <a:gd name="connsiteX470" fmla="*/ 873460 w 7467600"/>
              <a:gd name="connsiteY470" fmla="*/ 6253768 h 6858000"/>
              <a:gd name="connsiteX471" fmla="*/ 192686 w 7467600"/>
              <a:gd name="connsiteY471" fmla="*/ 5849257 h 6858000"/>
              <a:gd name="connsiteX472" fmla="*/ 4696 w 7467600"/>
              <a:gd name="connsiteY472" fmla="*/ 5697668 h 6858000"/>
              <a:gd name="connsiteX473" fmla="*/ 0 w 7467600"/>
              <a:gd name="connsiteY473" fmla="*/ 5689984 h 6858000"/>
              <a:gd name="connsiteX474" fmla="*/ 0 w 7467600"/>
              <a:gd name="connsiteY474" fmla="*/ 5513472 h 6858000"/>
              <a:gd name="connsiteX475" fmla="*/ 174101 w 7467600"/>
              <a:gd name="connsiteY475" fmla="*/ 5620277 h 6858000"/>
              <a:gd name="connsiteX476" fmla="*/ 891800 w 7467600"/>
              <a:gd name="connsiteY476" fmla="*/ 6036935 h 6858000"/>
              <a:gd name="connsiteX477" fmla="*/ 1072219 w 7467600"/>
              <a:gd name="connsiteY477" fmla="*/ 6169443 h 6858000"/>
              <a:gd name="connsiteX478" fmla="*/ 1074117 w 7467600"/>
              <a:gd name="connsiteY478" fmla="*/ 6170301 h 6858000"/>
              <a:gd name="connsiteX479" fmla="*/ 1083114 w 7467600"/>
              <a:gd name="connsiteY479" fmla="*/ 6174131 h 6858000"/>
              <a:gd name="connsiteX480" fmla="*/ 1543010 w 7467600"/>
              <a:gd name="connsiteY480" fmla="*/ 6191140 h 6858000"/>
              <a:gd name="connsiteX481" fmla="*/ 1551080 w 7467600"/>
              <a:gd name="connsiteY481" fmla="*/ 6195006 h 6858000"/>
              <a:gd name="connsiteX482" fmla="*/ 2345443 w 7467600"/>
              <a:gd name="connsiteY482" fmla="*/ 5549882 h 6858000"/>
              <a:gd name="connsiteX483" fmla="*/ 1721499 w 7467600"/>
              <a:gd name="connsiteY483" fmla="*/ 5599969 h 6858000"/>
              <a:gd name="connsiteX484" fmla="*/ 767716 w 7467600"/>
              <a:gd name="connsiteY484" fmla="*/ 5472768 h 6858000"/>
              <a:gd name="connsiteX485" fmla="*/ 722147 w 7467600"/>
              <a:gd name="connsiteY485" fmla="*/ 5393091 h 6858000"/>
              <a:gd name="connsiteX486" fmla="*/ 1485552 w 7467600"/>
              <a:gd name="connsiteY486" fmla="*/ 5313202 h 6858000"/>
              <a:gd name="connsiteX487" fmla="*/ 2143004 w 7467600"/>
              <a:gd name="connsiteY487" fmla="*/ 5402420 h 6858000"/>
              <a:gd name="connsiteX488" fmla="*/ 1933391 w 7467600"/>
              <a:gd name="connsiteY488" fmla="*/ 5156971 h 6858000"/>
              <a:gd name="connsiteX489" fmla="*/ 1827118 w 7467600"/>
              <a:gd name="connsiteY489" fmla="*/ 4968410 h 6858000"/>
              <a:gd name="connsiteX490" fmla="*/ 1837349 w 7467600"/>
              <a:gd name="connsiteY490" fmla="*/ 4956357 h 6858000"/>
              <a:gd name="connsiteX491" fmla="*/ 2162835 w 7467600"/>
              <a:gd name="connsiteY491" fmla="*/ 5187853 h 6858000"/>
              <a:gd name="connsiteX492" fmla="*/ 2257167 w 7467600"/>
              <a:gd name="connsiteY492" fmla="*/ 5462123 h 6858000"/>
              <a:gd name="connsiteX493" fmla="*/ 2261598 w 7467600"/>
              <a:gd name="connsiteY493" fmla="*/ 5467998 h 6858000"/>
              <a:gd name="connsiteX494" fmla="*/ 2437177 w 7467600"/>
              <a:gd name="connsiteY494" fmla="*/ 5479608 h 6858000"/>
              <a:gd name="connsiteX495" fmla="*/ 2445247 w 7467600"/>
              <a:gd name="connsiteY495" fmla="*/ 5483476 h 6858000"/>
              <a:gd name="connsiteX496" fmla="*/ 2743626 w 7467600"/>
              <a:gd name="connsiteY496" fmla="*/ 5304819 h 6858000"/>
              <a:gd name="connsiteX497" fmla="*/ 3048102 w 7467600"/>
              <a:gd name="connsiteY497" fmla="*/ 5150595 h 6858000"/>
              <a:gd name="connsiteX498" fmla="*/ 1799414 w 7467600"/>
              <a:gd name="connsiteY498" fmla="*/ 4694732 h 6858000"/>
              <a:gd name="connsiteX499" fmla="*/ 1771735 w 7467600"/>
              <a:gd name="connsiteY499" fmla="*/ 4619929 h 6858000"/>
              <a:gd name="connsiteX500" fmla="*/ 3104273 w 7467600"/>
              <a:gd name="connsiteY500" fmla="*/ 5076159 h 6858000"/>
              <a:gd name="connsiteX501" fmla="*/ 3113245 w 7467600"/>
              <a:gd name="connsiteY501" fmla="*/ 5090705 h 6858000"/>
              <a:gd name="connsiteX502" fmla="*/ 3126294 w 7467600"/>
              <a:gd name="connsiteY502" fmla="*/ 5114400 h 6858000"/>
              <a:gd name="connsiteX503" fmla="*/ 3937433 w 7467600"/>
              <a:gd name="connsiteY503" fmla="*/ 4830473 h 6858000"/>
              <a:gd name="connsiteX504" fmla="*/ 3590475 w 7467600"/>
              <a:gd name="connsiteY504" fmla="*/ 4597974 h 6858000"/>
              <a:gd name="connsiteX505" fmla="*/ 3100264 w 7467600"/>
              <a:gd name="connsiteY505" fmla="*/ 4579845 h 6858000"/>
              <a:gd name="connsiteX506" fmla="*/ 2183576 w 7467600"/>
              <a:gd name="connsiteY506" fmla="*/ 4227150 h 6858000"/>
              <a:gd name="connsiteX507" fmla="*/ 2151029 w 7467600"/>
              <a:gd name="connsiteY507" fmla="*/ 4146947 h 6858000"/>
              <a:gd name="connsiteX508" fmla="*/ 3563434 w 7467600"/>
              <a:gd name="connsiteY508" fmla="*/ 4469115 h 6858000"/>
              <a:gd name="connsiteX509" fmla="*/ 3177952 w 7467600"/>
              <a:gd name="connsiteY509" fmla="*/ 3657386 h 6858000"/>
              <a:gd name="connsiteX510" fmla="*/ 3189263 w 7467600"/>
              <a:gd name="connsiteY510" fmla="*/ 3625726 h 6858000"/>
              <a:gd name="connsiteX511" fmla="*/ 3560912 w 7467600"/>
              <a:gd name="connsiteY511" fmla="*/ 4079863 h 6858000"/>
              <a:gd name="connsiteX512" fmla="*/ 3626636 w 7467600"/>
              <a:gd name="connsiteY512" fmla="*/ 4512230 h 6858000"/>
              <a:gd name="connsiteX513" fmla="*/ 3653088 w 7467600"/>
              <a:gd name="connsiteY513" fmla="*/ 4521417 h 6858000"/>
              <a:gd name="connsiteX514" fmla="*/ 3988128 w 7467600"/>
              <a:gd name="connsiteY514" fmla="*/ 4817267 h 6858000"/>
              <a:gd name="connsiteX515" fmla="*/ 4830582 w 7467600"/>
              <a:gd name="connsiteY515" fmla="*/ 4676000 h 6858000"/>
              <a:gd name="connsiteX516" fmla="*/ 4830100 w 7467600"/>
              <a:gd name="connsiteY516" fmla="*/ 4675554 h 6858000"/>
              <a:gd name="connsiteX517" fmla="*/ 4036318 w 7467600"/>
              <a:gd name="connsiteY517" fmla="*/ 4147013 h 6858000"/>
              <a:gd name="connsiteX518" fmla="*/ 3432098 w 7467600"/>
              <a:gd name="connsiteY518" fmla="*/ 3537312 h 6858000"/>
              <a:gd name="connsiteX519" fmla="*/ 3446761 w 7467600"/>
              <a:gd name="connsiteY519" fmla="*/ 3461278 h 6858000"/>
              <a:gd name="connsiteX520" fmla="*/ 4419733 w 7467600"/>
              <a:gd name="connsiteY520" fmla="*/ 3963555 h 6858000"/>
              <a:gd name="connsiteX521" fmla="*/ 4781371 w 7467600"/>
              <a:gd name="connsiteY521" fmla="*/ 4458604 h 6858000"/>
              <a:gd name="connsiteX522" fmla="*/ 4780440 w 7467600"/>
              <a:gd name="connsiteY522" fmla="*/ 4470290 h 6858000"/>
              <a:gd name="connsiteX523" fmla="*/ 4898954 w 7467600"/>
              <a:gd name="connsiteY523" fmla="*/ 4662092 h 6858000"/>
              <a:gd name="connsiteX524" fmla="*/ 4900699 w 7467600"/>
              <a:gd name="connsiteY524" fmla="*/ 4670867 h 6858000"/>
              <a:gd name="connsiteX525" fmla="*/ 5714511 w 7467600"/>
              <a:gd name="connsiteY525" fmla="*/ 4663483 h 6858000"/>
              <a:gd name="connsiteX526" fmla="*/ 5464793 w 7467600"/>
              <a:gd name="connsiteY526" fmla="*/ 4393556 h 6858000"/>
              <a:gd name="connsiteX527" fmla="*/ 5461897 w 7467600"/>
              <a:gd name="connsiteY527" fmla="*/ 4390879 h 6858000"/>
              <a:gd name="connsiteX528" fmla="*/ 4294126 w 7467600"/>
              <a:gd name="connsiteY528" fmla="*/ 3303048 h 6858000"/>
              <a:gd name="connsiteX529" fmla="*/ 4305321 w 7467600"/>
              <a:gd name="connsiteY529" fmla="*/ 3256953 h 6858000"/>
              <a:gd name="connsiteX530" fmla="*/ 4949299 w 7467600"/>
              <a:gd name="connsiteY530" fmla="*/ 3766336 h 6858000"/>
              <a:gd name="connsiteX531" fmla="*/ 5291452 w 7467600"/>
              <a:gd name="connsiteY531" fmla="*/ 4076801 h 6858000"/>
              <a:gd name="connsiteX532" fmla="*/ 5434998 w 7467600"/>
              <a:gd name="connsiteY532" fmla="*/ 4254100 h 6858000"/>
              <a:gd name="connsiteX533" fmla="*/ 5351015 w 7467600"/>
              <a:gd name="connsiteY533" fmla="*/ 3760989 h 6858000"/>
              <a:gd name="connsiteX534" fmla="*/ 5413780 w 7467600"/>
              <a:gd name="connsiteY534" fmla="*/ 2966265 h 6858000"/>
              <a:gd name="connsiteX535" fmla="*/ 5425627 w 7467600"/>
              <a:gd name="connsiteY535" fmla="*/ 2954192 h 6858000"/>
              <a:gd name="connsiteX536" fmla="*/ 6604735 w 7467600"/>
              <a:gd name="connsiteY536" fmla="*/ 2041381 h 6858000"/>
              <a:gd name="connsiteX537" fmla="*/ 7204487 w 7467600"/>
              <a:gd name="connsiteY537" fmla="*/ 2742112 h 6858000"/>
              <a:gd name="connsiteX538" fmla="*/ 7131592 w 7467600"/>
              <a:gd name="connsiteY538" fmla="*/ 2672096 h 6858000"/>
              <a:gd name="connsiteX539" fmla="*/ 6996344 w 7467600"/>
              <a:gd name="connsiteY539" fmla="*/ 2518310 h 6858000"/>
              <a:gd name="connsiteX540" fmla="*/ 6735495 w 7467600"/>
              <a:gd name="connsiteY540" fmla="*/ 2196890 h 6858000"/>
              <a:gd name="connsiteX541" fmla="*/ 6721901 w 7467600"/>
              <a:gd name="connsiteY541" fmla="*/ 2179274 h 6858000"/>
              <a:gd name="connsiteX542" fmla="*/ 6604735 w 7467600"/>
              <a:gd name="connsiteY542" fmla="*/ 2041381 h 6858000"/>
              <a:gd name="connsiteX543" fmla="*/ 6591670 w 7467600"/>
              <a:gd name="connsiteY543" fmla="*/ 1988277 h 6858000"/>
              <a:gd name="connsiteX544" fmla="*/ 6747349 w 7467600"/>
              <a:gd name="connsiteY544" fmla="*/ 2160069 h 6858000"/>
              <a:gd name="connsiteX545" fmla="*/ 6760943 w 7467600"/>
              <a:gd name="connsiteY545" fmla="*/ 2177686 h 6858000"/>
              <a:gd name="connsiteX546" fmla="*/ 7021065 w 7467600"/>
              <a:gd name="connsiteY546" fmla="*/ 2498102 h 6858000"/>
              <a:gd name="connsiteX547" fmla="*/ 7155223 w 7467600"/>
              <a:gd name="connsiteY547" fmla="*/ 2650386 h 6858000"/>
              <a:gd name="connsiteX548" fmla="*/ 7203167 w 7467600"/>
              <a:gd name="connsiteY548" fmla="*/ 2697288 h 6858000"/>
              <a:gd name="connsiteX549" fmla="*/ 6937703 w 7467600"/>
              <a:gd name="connsiteY549" fmla="*/ 2321981 h 6858000"/>
              <a:gd name="connsiteX550" fmla="*/ 6591670 w 7467600"/>
              <a:gd name="connsiteY550" fmla="*/ 1988277 h 6858000"/>
              <a:gd name="connsiteX551" fmla="*/ 5798671 w 7467600"/>
              <a:gd name="connsiteY551" fmla="*/ 1981601 h 6858000"/>
              <a:gd name="connsiteX552" fmla="*/ 5754709 w 7467600"/>
              <a:gd name="connsiteY552" fmla="*/ 2071454 h 6858000"/>
              <a:gd name="connsiteX553" fmla="*/ 5763044 w 7467600"/>
              <a:gd name="connsiteY553" fmla="*/ 2842206 h 6858000"/>
              <a:gd name="connsiteX554" fmla="*/ 5764974 w 7467600"/>
              <a:gd name="connsiteY554" fmla="*/ 2799609 h 6858000"/>
              <a:gd name="connsiteX555" fmla="*/ 5767665 w 7467600"/>
              <a:gd name="connsiteY555" fmla="*/ 2666409 h 6858000"/>
              <a:gd name="connsiteX556" fmla="*/ 5763055 w 7467600"/>
              <a:gd name="connsiteY556" fmla="*/ 2579705 h 6858000"/>
              <a:gd name="connsiteX557" fmla="*/ 5758079 w 7467600"/>
              <a:gd name="connsiteY557" fmla="*/ 2492508 h 6858000"/>
              <a:gd name="connsiteX558" fmla="*/ 5779325 w 7467600"/>
              <a:gd name="connsiteY558" fmla="*/ 2197069 h 6858000"/>
              <a:gd name="connsiteX559" fmla="*/ 5798671 w 7467600"/>
              <a:gd name="connsiteY559" fmla="*/ 1981601 h 6858000"/>
              <a:gd name="connsiteX560" fmla="*/ 5829202 w 7467600"/>
              <a:gd name="connsiteY560" fmla="*/ 1971679 h 6858000"/>
              <a:gd name="connsiteX561" fmla="*/ 5809558 w 7467600"/>
              <a:gd name="connsiteY561" fmla="*/ 2198043 h 6858000"/>
              <a:gd name="connsiteX562" fmla="*/ 5788653 w 7467600"/>
              <a:gd name="connsiteY562" fmla="*/ 2489430 h 6858000"/>
              <a:gd name="connsiteX563" fmla="*/ 5793439 w 7467600"/>
              <a:gd name="connsiteY563" fmla="*/ 2575235 h 6858000"/>
              <a:gd name="connsiteX564" fmla="*/ 5796837 w 7467600"/>
              <a:gd name="connsiteY564" fmla="*/ 2637633 h 6858000"/>
              <a:gd name="connsiteX565" fmla="*/ 5818614 w 7467600"/>
              <a:gd name="connsiteY565" fmla="*/ 2473055 h 6858000"/>
              <a:gd name="connsiteX566" fmla="*/ 5829202 w 7467600"/>
              <a:gd name="connsiteY566" fmla="*/ 1971679 h 6858000"/>
              <a:gd name="connsiteX567" fmla="*/ 5911389 w 7467600"/>
              <a:gd name="connsiteY567" fmla="*/ 1898371 h 6858000"/>
              <a:gd name="connsiteX568" fmla="*/ 6237627 w 7467600"/>
              <a:gd name="connsiteY568" fmla="*/ 2231921 h 6858000"/>
              <a:gd name="connsiteX569" fmla="*/ 5911389 w 7467600"/>
              <a:gd name="connsiteY569" fmla="*/ 1898371 h 6858000"/>
              <a:gd name="connsiteX570" fmla="*/ 6944437 w 7467600"/>
              <a:gd name="connsiteY570" fmla="*/ 1575402 h 6858000"/>
              <a:gd name="connsiteX571" fmla="*/ 6304730 w 7467600"/>
              <a:gd name="connsiteY571" fmla="*/ 1766654 h 6858000"/>
              <a:gd name="connsiteX572" fmla="*/ 6944437 w 7467600"/>
              <a:gd name="connsiteY572" fmla="*/ 1575402 h 6858000"/>
              <a:gd name="connsiteX573" fmla="*/ 7019523 w 7467600"/>
              <a:gd name="connsiteY573" fmla="*/ 1519450 h 6858000"/>
              <a:gd name="connsiteX574" fmla="*/ 6298091 w 7467600"/>
              <a:gd name="connsiteY574" fmla="*/ 1737122 h 6858000"/>
              <a:gd name="connsiteX575" fmla="*/ 7019523 w 7467600"/>
              <a:gd name="connsiteY575" fmla="*/ 1519450 h 6858000"/>
              <a:gd name="connsiteX576" fmla="*/ 2399523 w 7467600"/>
              <a:gd name="connsiteY576" fmla="*/ 1428234 h 6858000"/>
              <a:gd name="connsiteX577" fmla="*/ 2224982 w 7467600"/>
              <a:gd name="connsiteY577" fmla="*/ 1826201 h 6858000"/>
              <a:gd name="connsiteX578" fmla="*/ 2096099 w 7467600"/>
              <a:gd name="connsiteY578" fmla="*/ 2345900 h 6858000"/>
              <a:gd name="connsiteX579" fmla="*/ 2283317 w 7467600"/>
              <a:gd name="connsiteY579" fmla="*/ 1796925 h 6858000"/>
              <a:gd name="connsiteX580" fmla="*/ 2399523 w 7467600"/>
              <a:gd name="connsiteY580" fmla="*/ 1428234 h 6858000"/>
              <a:gd name="connsiteX581" fmla="*/ 2448558 w 7467600"/>
              <a:gd name="connsiteY581" fmla="*/ 1373435 h 6858000"/>
              <a:gd name="connsiteX582" fmla="*/ 2312521 w 7467600"/>
              <a:gd name="connsiteY582" fmla="*/ 1806140 h 6858000"/>
              <a:gd name="connsiteX583" fmla="*/ 2127533 w 7467600"/>
              <a:gd name="connsiteY583" fmla="*/ 2348380 h 6858000"/>
              <a:gd name="connsiteX584" fmla="*/ 2358080 w 7467600"/>
              <a:gd name="connsiteY584" fmla="*/ 1866134 h 6858000"/>
              <a:gd name="connsiteX585" fmla="*/ 2407436 w 7467600"/>
              <a:gd name="connsiteY585" fmla="*/ 1651070 h 6858000"/>
              <a:gd name="connsiteX586" fmla="*/ 2448558 w 7467600"/>
              <a:gd name="connsiteY586" fmla="*/ 1373435 h 6858000"/>
              <a:gd name="connsiteX587" fmla="*/ 278707 w 7467600"/>
              <a:gd name="connsiteY587" fmla="*/ 1352270 h 6858000"/>
              <a:gd name="connsiteX588" fmla="*/ 321570 w 7467600"/>
              <a:gd name="connsiteY588" fmla="*/ 1861610 h 6858000"/>
              <a:gd name="connsiteX589" fmla="*/ 294281 w 7467600"/>
              <a:gd name="connsiteY589" fmla="*/ 1440658 h 6858000"/>
              <a:gd name="connsiteX590" fmla="*/ 278707 w 7467600"/>
              <a:gd name="connsiteY590" fmla="*/ 1352270 h 6858000"/>
              <a:gd name="connsiteX591" fmla="*/ 1423821 w 7467600"/>
              <a:gd name="connsiteY591" fmla="*/ 1351958 h 6858000"/>
              <a:gd name="connsiteX592" fmla="*/ 1638521 w 7467600"/>
              <a:gd name="connsiteY592" fmla="*/ 1908470 h 6858000"/>
              <a:gd name="connsiteX593" fmla="*/ 1754199 w 7467600"/>
              <a:gd name="connsiteY593" fmla="*/ 2149284 h 6858000"/>
              <a:gd name="connsiteX594" fmla="*/ 1908359 w 7467600"/>
              <a:gd name="connsiteY594" fmla="*/ 2364988 h 6858000"/>
              <a:gd name="connsiteX595" fmla="*/ 1647661 w 7467600"/>
              <a:gd name="connsiteY595" fmla="*/ 1825945 h 6858000"/>
              <a:gd name="connsiteX596" fmla="*/ 1423821 w 7467600"/>
              <a:gd name="connsiteY596" fmla="*/ 1351958 h 6858000"/>
              <a:gd name="connsiteX597" fmla="*/ 1431890 w 7467600"/>
              <a:gd name="connsiteY597" fmla="*/ 1306475 h 6858000"/>
              <a:gd name="connsiteX598" fmla="*/ 1507597 w 7467600"/>
              <a:gd name="connsiteY598" fmla="*/ 1446132 h 6858000"/>
              <a:gd name="connsiteX599" fmla="*/ 1674586 w 7467600"/>
              <a:gd name="connsiteY599" fmla="*/ 1813832 h 6858000"/>
              <a:gd name="connsiteX600" fmla="*/ 1815950 w 7467600"/>
              <a:gd name="connsiteY600" fmla="*/ 2128564 h 6858000"/>
              <a:gd name="connsiteX601" fmla="*/ 1984242 w 7467600"/>
              <a:gd name="connsiteY601" fmla="*/ 2430829 h 6858000"/>
              <a:gd name="connsiteX602" fmla="*/ 2014023 w 7467600"/>
              <a:gd name="connsiteY602" fmla="*/ 2450995 h 6858000"/>
              <a:gd name="connsiteX603" fmla="*/ 1747337 w 7467600"/>
              <a:gd name="connsiteY603" fmla="*/ 1855264 h 6858000"/>
              <a:gd name="connsiteX604" fmla="*/ 1533749 w 7467600"/>
              <a:gd name="connsiteY604" fmla="*/ 1478656 h 6858000"/>
              <a:gd name="connsiteX605" fmla="*/ 1431890 w 7467600"/>
              <a:gd name="connsiteY605" fmla="*/ 1306475 h 6858000"/>
              <a:gd name="connsiteX606" fmla="*/ 5052692 w 7467600"/>
              <a:gd name="connsiteY606" fmla="*/ 1292994 h 6858000"/>
              <a:gd name="connsiteX607" fmla="*/ 5200661 w 7467600"/>
              <a:gd name="connsiteY607" fmla="*/ 1635186 h 6858000"/>
              <a:gd name="connsiteX608" fmla="*/ 5297138 w 7467600"/>
              <a:gd name="connsiteY608" fmla="*/ 1906351 h 6858000"/>
              <a:gd name="connsiteX609" fmla="*/ 5052692 w 7467600"/>
              <a:gd name="connsiteY609" fmla="*/ 1292994 h 6858000"/>
              <a:gd name="connsiteX610" fmla="*/ 5009948 w 7467600"/>
              <a:gd name="connsiteY610" fmla="*/ 1273619 h 6858000"/>
              <a:gd name="connsiteX611" fmla="*/ 5121777 w 7467600"/>
              <a:gd name="connsiteY611" fmla="*/ 1654213 h 6858000"/>
              <a:gd name="connsiteX612" fmla="*/ 5293545 w 7467600"/>
              <a:gd name="connsiteY612" fmla="*/ 2072247 h 6858000"/>
              <a:gd name="connsiteX613" fmla="*/ 5294042 w 7467600"/>
              <a:gd name="connsiteY613" fmla="*/ 2065019 h 6858000"/>
              <a:gd name="connsiteX614" fmla="*/ 5171936 w 7467600"/>
              <a:gd name="connsiteY614" fmla="*/ 1647613 h 6858000"/>
              <a:gd name="connsiteX615" fmla="*/ 5009948 w 7467600"/>
              <a:gd name="connsiteY615" fmla="*/ 1273619 h 6858000"/>
              <a:gd name="connsiteX616" fmla="*/ 655236 w 7467600"/>
              <a:gd name="connsiteY616" fmla="*/ 1268632 h 6858000"/>
              <a:gd name="connsiteX617" fmla="*/ 839521 w 7467600"/>
              <a:gd name="connsiteY617" fmla="*/ 1685315 h 6858000"/>
              <a:gd name="connsiteX618" fmla="*/ 1109416 w 7467600"/>
              <a:gd name="connsiteY618" fmla="*/ 2061663 h 6858000"/>
              <a:gd name="connsiteX619" fmla="*/ 1298300 w 7467600"/>
              <a:gd name="connsiteY619" fmla="*/ 2247742 h 6858000"/>
              <a:gd name="connsiteX620" fmla="*/ 1125871 w 7467600"/>
              <a:gd name="connsiteY620" fmla="*/ 1989513 h 6858000"/>
              <a:gd name="connsiteX621" fmla="*/ 981574 w 7467600"/>
              <a:gd name="connsiteY621" fmla="*/ 1783157 h 6858000"/>
              <a:gd name="connsiteX622" fmla="*/ 922198 w 7467600"/>
              <a:gd name="connsiteY622" fmla="*/ 1677437 h 6858000"/>
              <a:gd name="connsiteX623" fmla="*/ 869293 w 7467600"/>
              <a:gd name="connsiteY623" fmla="*/ 1583214 h 6858000"/>
              <a:gd name="connsiteX624" fmla="*/ 751431 w 7467600"/>
              <a:gd name="connsiteY624" fmla="*/ 1405731 h 6858000"/>
              <a:gd name="connsiteX625" fmla="*/ 655236 w 7467600"/>
              <a:gd name="connsiteY625" fmla="*/ 1268632 h 6858000"/>
              <a:gd name="connsiteX626" fmla="*/ 6516292 w 7467600"/>
              <a:gd name="connsiteY626" fmla="*/ 1263064 h 6858000"/>
              <a:gd name="connsiteX627" fmla="*/ 5736320 w 7467600"/>
              <a:gd name="connsiteY627" fmla="*/ 1501803 h 6858000"/>
              <a:gd name="connsiteX628" fmla="*/ 6516292 w 7467600"/>
              <a:gd name="connsiteY628" fmla="*/ 1263064 h 6858000"/>
              <a:gd name="connsiteX629" fmla="*/ 291466 w 7467600"/>
              <a:gd name="connsiteY629" fmla="*/ 1250369 h 6858000"/>
              <a:gd name="connsiteX630" fmla="*/ 323180 w 7467600"/>
              <a:gd name="connsiteY630" fmla="*/ 1435283 h 6858000"/>
              <a:gd name="connsiteX631" fmla="*/ 349381 w 7467600"/>
              <a:gd name="connsiteY631" fmla="*/ 1875041 h 6858000"/>
              <a:gd name="connsiteX632" fmla="*/ 374363 w 7467600"/>
              <a:gd name="connsiteY632" fmla="*/ 1506494 h 6858000"/>
              <a:gd name="connsiteX633" fmla="*/ 302168 w 7467600"/>
              <a:gd name="connsiteY633" fmla="*/ 1274495 h 6858000"/>
              <a:gd name="connsiteX634" fmla="*/ 291466 w 7467600"/>
              <a:gd name="connsiteY634" fmla="*/ 1250369 h 6858000"/>
              <a:gd name="connsiteX635" fmla="*/ 678222 w 7467600"/>
              <a:gd name="connsiteY635" fmla="*/ 1248670 h 6858000"/>
              <a:gd name="connsiteX636" fmla="*/ 775536 w 7467600"/>
              <a:gd name="connsiteY636" fmla="*/ 1388015 h 6858000"/>
              <a:gd name="connsiteX637" fmla="*/ 894529 w 7467600"/>
              <a:gd name="connsiteY637" fmla="*/ 1567739 h 6858000"/>
              <a:gd name="connsiteX638" fmla="*/ 948000 w 7467600"/>
              <a:gd name="connsiteY638" fmla="*/ 1663088 h 6858000"/>
              <a:gd name="connsiteX639" fmla="*/ 1006812 w 7467600"/>
              <a:gd name="connsiteY639" fmla="*/ 1767683 h 6858000"/>
              <a:gd name="connsiteX640" fmla="*/ 1149133 w 7467600"/>
              <a:gd name="connsiteY640" fmla="*/ 1971513 h 6858000"/>
              <a:gd name="connsiteX641" fmla="*/ 1333952 w 7467600"/>
              <a:gd name="connsiteY641" fmla="*/ 2251620 h 6858000"/>
              <a:gd name="connsiteX642" fmla="*/ 1337329 w 7467600"/>
              <a:gd name="connsiteY642" fmla="*/ 2258350 h 6858000"/>
              <a:gd name="connsiteX643" fmla="*/ 1014726 w 7467600"/>
              <a:gd name="connsiteY643" fmla="*/ 1615556 h 6858000"/>
              <a:gd name="connsiteX644" fmla="*/ 678222 w 7467600"/>
              <a:gd name="connsiteY644" fmla="*/ 1248670 h 6858000"/>
              <a:gd name="connsiteX645" fmla="*/ 6691602 w 7467600"/>
              <a:gd name="connsiteY645" fmla="*/ 1140573 h 6858000"/>
              <a:gd name="connsiteX646" fmla="*/ 6571100 w 7467600"/>
              <a:gd name="connsiteY646" fmla="*/ 1183662 h 6858000"/>
              <a:gd name="connsiteX647" fmla="*/ 6241687 w 7467600"/>
              <a:gd name="connsiteY647" fmla="*/ 1257600 h 6858000"/>
              <a:gd name="connsiteX648" fmla="*/ 5693009 w 7467600"/>
              <a:gd name="connsiteY648" fmla="*/ 1478256 h 6858000"/>
              <a:gd name="connsiteX649" fmla="*/ 6548420 w 7467600"/>
              <a:gd name="connsiteY649" fmla="*/ 1214599 h 6858000"/>
              <a:gd name="connsiteX650" fmla="*/ 6605473 w 7467600"/>
              <a:gd name="connsiteY650" fmla="*/ 1184686 h 6858000"/>
              <a:gd name="connsiteX651" fmla="*/ 6691602 w 7467600"/>
              <a:gd name="connsiteY651" fmla="*/ 1140573 h 6858000"/>
              <a:gd name="connsiteX652" fmla="*/ 4002475 w 7467600"/>
              <a:gd name="connsiteY652" fmla="*/ 1037802 h 6858000"/>
              <a:gd name="connsiteX653" fmla="*/ 4000324 w 7467600"/>
              <a:gd name="connsiteY653" fmla="*/ 1039362 h 6858000"/>
              <a:gd name="connsiteX654" fmla="*/ 4002862 w 7467600"/>
              <a:gd name="connsiteY654" fmla="*/ 1042866 h 6858000"/>
              <a:gd name="connsiteX655" fmla="*/ 4002475 w 7467600"/>
              <a:gd name="connsiteY655" fmla="*/ 1037802 h 6858000"/>
              <a:gd name="connsiteX656" fmla="*/ 506322 w 7467600"/>
              <a:gd name="connsiteY656" fmla="*/ 1020997 h 6858000"/>
              <a:gd name="connsiteX657" fmla="*/ 533068 w 7467600"/>
              <a:gd name="connsiteY657" fmla="*/ 1029409 h 6858000"/>
              <a:gd name="connsiteX658" fmla="*/ 1232525 w 7467600"/>
              <a:gd name="connsiteY658" fmla="*/ 1804675 h 6858000"/>
              <a:gd name="connsiteX659" fmla="*/ 1388858 w 7467600"/>
              <a:gd name="connsiteY659" fmla="*/ 2368011 h 6858000"/>
              <a:gd name="connsiteX660" fmla="*/ 1384098 w 7467600"/>
              <a:gd name="connsiteY660" fmla="*/ 2378125 h 6858000"/>
              <a:gd name="connsiteX661" fmla="*/ 1425393 w 7467600"/>
              <a:gd name="connsiteY661" fmla="*/ 2589124 h 6858000"/>
              <a:gd name="connsiteX662" fmla="*/ 1424001 w 7467600"/>
              <a:gd name="connsiteY662" fmla="*/ 2597541 h 6858000"/>
              <a:gd name="connsiteX663" fmla="*/ 2152729 w 7467600"/>
              <a:gd name="connsiteY663" fmla="*/ 2864487 h 6858000"/>
              <a:gd name="connsiteX664" fmla="*/ 2020609 w 7467600"/>
              <a:gd name="connsiteY664" fmla="*/ 2539671 h 6858000"/>
              <a:gd name="connsiteX665" fmla="*/ 2018920 w 7467600"/>
              <a:gd name="connsiteY665" fmla="*/ 2536309 h 6858000"/>
              <a:gd name="connsiteX666" fmla="*/ 1342441 w 7467600"/>
              <a:gd name="connsiteY666" fmla="*/ 1173017 h 6858000"/>
              <a:gd name="connsiteX667" fmla="*/ 1367925 w 7467600"/>
              <a:gd name="connsiteY667" fmla="*/ 1135648 h 6858000"/>
              <a:gd name="connsiteX668" fmla="*/ 1771401 w 7467600"/>
              <a:gd name="connsiteY668" fmla="*/ 1806673 h 6858000"/>
              <a:gd name="connsiteX669" fmla="*/ 1972385 w 7467600"/>
              <a:gd name="connsiteY669" fmla="*/ 2198735 h 6858000"/>
              <a:gd name="connsiteX670" fmla="*/ 2040892 w 7467600"/>
              <a:gd name="connsiteY670" fmla="*/ 2405205 h 6858000"/>
              <a:gd name="connsiteX671" fmla="*/ 2131689 w 7467600"/>
              <a:gd name="connsiteY671" fmla="*/ 1936926 h 6858000"/>
              <a:gd name="connsiteX672" fmla="*/ 2454820 w 7467600"/>
              <a:gd name="connsiteY672" fmla="*/ 1248808 h 6858000"/>
              <a:gd name="connsiteX673" fmla="*/ 2492512 w 7467600"/>
              <a:gd name="connsiteY673" fmla="*/ 1302920 h 6858000"/>
              <a:gd name="connsiteX674" fmla="*/ 2081216 w 7467600"/>
              <a:gd name="connsiteY674" fmla="*/ 2527513 h 6858000"/>
              <a:gd name="connsiteX675" fmla="*/ 2081211 w 7467600"/>
              <a:gd name="connsiteY675" fmla="*/ 2528916 h 6858000"/>
              <a:gd name="connsiteX676" fmla="*/ 2199067 w 7467600"/>
              <a:gd name="connsiteY676" fmla="*/ 2884061 h 6858000"/>
              <a:gd name="connsiteX677" fmla="*/ 3192586 w 7467600"/>
              <a:gd name="connsiteY677" fmla="*/ 3411496 h 6858000"/>
              <a:gd name="connsiteX678" fmla="*/ 3182620 w 7467600"/>
              <a:gd name="connsiteY678" fmla="*/ 3483279 h 6858000"/>
              <a:gd name="connsiteX679" fmla="*/ 2435119 w 7467600"/>
              <a:gd name="connsiteY679" fmla="*/ 3080173 h 6858000"/>
              <a:gd name="connsiteX680" fmla="*/ 2410152 w 7467600"/>
              <a:gd name="connsiteY680" fmla="*/ 3063751 h 6858000"/>
              <a:gd name="connsiteX681" fmla="*/ 2408099 w 7467600"/>
              <a:gd name="connsiteY681" fmla="*/ 3064403 h 6858000"/>
              <a:gd name="connsiteX682" fmla="*/ 2407218 w 7467600"/>
              <a:gd name="connsiteY682" fmla="*/ 3070324 h 6858000"/>
              <a:gd name="connsiteX683" fmla="*/ 2380138 w 7467600"/>
              <a:gd name="connsiteY683" fmla="*/ 3099341 h 6858000"/>
              <a:gd name="connsiteX684" fmla="*/ 1765923 w 7467600"/>
              <a:gd name="connsiteY684" fmla="*/ 3581043 h 6858000"/>
              <a:gd name="connsiteX685" fmla="*/ 1702258 w 7467600"/>
              <a:gd name="connsiteY685" fmla="*/ 3612286 h 6858000"/>
              <a:gd name="connsiteX686" fmla="*/ 1538370 w 7467600"/>
              <a:gd name="connsiteY686" fmla="*/ 3811804 h 6858000"/>
              <a:gd name="connsiteX687" fmla="*/ 542867 w 7467600"/>
              <a:gd name="connsiteY687" fmla="*/ 4944092 h 6858000"/>
              <a:gd name="connsiteX688" fmla="*/ 515800 w 7467600"/>
              <a:gd name="connsiteY688" fmla="*/ 4862180 h 6858000"/>
              <a:gd name="connsiteX689" fmla="*/ 909145 w 7467600"/>
              <a:gd name="connsiteY689" fmla="*/ 4199225 h 6858000"/>
              <a:gd name="connsiteX690" fmla="*/ 1214067 w 7467600"/>
              <a:gd name="connsiteY690" fmla="*/ 3908561 h 6858000"/>
              <a:gd name="connsiteX691" fmla="*/ 640967 w 7467600"/>
              <a:gd name="connsiteY691" fmla="*/ 4105601 h 6858000"/>
              <a:gd name="connsiteX692" fmla="*/ 112563 w 7467600"/>
              <a:gd name="connsiteY692" fmla="*/ 4396952 h 6858000"/>
              <a:gd name="connsiteX693" fmla="*/ 0 w 7467600"/>
              <a:gd name="connsiteY693" fmla="*/ 4466006 h 6858000"/>
              <a:gd name="connsiteX694" fmla="*/ 0 w 7467600"/>
              <a:gd name="connsiteY694" fmla="*/ 4233763 h 6858000"/>
              <a:gd name="connsiteX695" fmla="*/ 36881 w 7467600"/>
              <a:gd name="connsiteY695" fmla="*/ 4200118 h 6858000"/>
              <a:gd name="connsiteX696" fmla="*/ 910534 w 7467600"/>
              <a:gd name="connsiteY696" fmla="*/ 3629753 h 6858000"/>
              <a:gd name="connsiteX697" fmla="*/ 1578717 w 7467600"/>
              <a:gd name="connsiteY697" fmla="*/ 3575982 h 6858000"/>
              <a:gd name="connsiteX698" fmla="*/ 2338780 w 7467600"/>
              <a:gd name="connsiteY698" fmla="*/ 3033725 h 6858000"/>
              <a:gd name="connsiteX699" fmla="*/ 1807991 w 7467600"/>
              <a:gd name="connsiteY699" fmla="*/ 2807184 h 6858000"/>
              <a:gd name="connsiteX700" fmla="*/ 1416358 w 7467600"/>
              <a:gd name="connsiteY700" fmla="*/ 3112571 h 6858000"/>
              <a:gd name="connsiteX701" fmla="*/ 939066 w 7467600"/>
              <a:gd name="connsiteY701" fmla="*/ 3378798 h 6858000"/>
              <a:gd name="connsiteX702" fmla="*/ 115099 w 7467600"/>
              <a:gd name="connsiteY702" fmla="*/ 3607650 h 6858000"/>
              <a:gd name="connsiteX703" fmla="*/ 97284 w 7467600"/>
              <a:gd name="connsiteY703" fmla="*/ 3520393 h 6858000"/>
              <a:gd name="connsiteX704" fmla="*/ 922050 w 7467600"/>
              <a:gd name="connsiteY704" fmla="*/ 3074867 h 6858000"/>
              <a:gd name="connsiteX705" fmla="*/ 1405265 w 7467600"/>
              <a:gd name="connsiteY705" fmla="*/ 3016319 h 6858000"/>
              <a:gd name="connsiteX706" fmla="*/ 1407512 w 7467600"/>
              <a:gd name="connsiteY706" fmla="*/ 3018001 h 6858000"/>
              <a:gd name="connsiteX707" fmla="*/ 1726266 w 7467600"/>
              <a:gd name="connsiteY707" fmla="*/ 2777274 h 6858000"/>
              <a:gd name="connsiteX708" fmla="*/ 625390 w 7467600"/>
              <a:gd name="connsiteY708" fmla="*/ 2514541 h 6858000"/>
              <a:gd name="connsiteX709" fmla="*/ 619799 w 7467600"/>
              <a:gd name="connsiteY709" fmla="*/ 2527180 h 6858000"/>
              <a:gd name="connsiteX710" fmla="*/ 310030 w 7467600"/>
              <a:gd name="connsiteY710" fmla="*/ 2771818 h 6858000"/>
              <a:gd name="connsiteX711" fmla="*/ 173877 w 7467600"/>
              <a:gd name="connsiteY711" fmla="*/ 2937056 h 6858000"/>
              <a:gd name="connsiteX712" fmla="*/ 77889 w 7467600"/>
              <a:gd name="connsiteY712" fmla="*/ 3138440 h 6858000"/>
              <a:gd name="connsiteX713" fmla="*/ 0 w 7467600"/>
              <a:gd name="connsiteY713" fmla="*/ 3271395 h 6858000"/>
              <a:gd name="connsiteX714" fmla="*/ 0 w 7467600"/>
              <a:gd name="connsiteY714" fmla="*/ 3153002 h 6858000"/>
              <a:gd name="connsiteX715" fmla="*/ 2386 w 7467600"/>
              <a:gd name="connsiteY715" fmla="*/ 3149203 h 6858000"/>
              <a:gd name="connsiteX716" fmla="*/ 89753 w 7467600"/>
              <a:gd name="connsiteY716" fmla="*/ 2987702 h 6858000"/>
              <a:gd name="connsiteX717" fmla="*/ 76869 w 7467600"/>
              <a:gd name="connsiteY717" fmla="*/ 3005404 h 6858000"/>
              <a:gd name="connsiteX718" fmla="*/ 32049 w 7467600"/>
              <a:gd name="connsiteY718" fmla="*/ 3065814 h 6858000"/>
              <a:gd name="connsiteX719" fmla="*/ 0 w 7467600"/>
              <a:gd name="connsiteY719" fmla="*/ 3108744 h 6858000"/>
              <a:gd name="connsiteX720" fmla="*/ 0 w 7467600"/>
              <a:gd name="connsiteY720" fmla="*/ 3058059 h 6858000"/>
              <a:gd name="connsiteX721" fmla="*/ 7610 w 7467600"/>
              <a:gd name="connsiteY721" fmla="*/ 3047889 h 6858000"/>
              <a:gd name="connsiteX722" fmla="*/ 52419 w 7467600"/>
              <a:gd name="connsiteY722" fmla="*/ 2987479 h 6858000"/>
              <a:gd name="connsiteX723" fmla="*/ 59142 w 7467600"/>
              <a:gd name="connsiteY723" fmla="*/ 2978488 h 6858000"/>
              <a:gd name="connsiteX724" fmla="*/ 0 w 7467600"/>
              <a:gd name="connsiteY724" fmla="*/ 3015334 h 6858000"/>
              <a:gd name="connsiteX725" fmla="*/ 0 w 7467600"/>
              <a:gd name="connsiteY725" fmla="*/ 2914286 h 6858000"/>
              <a:gd name="connsiteX726" fmla="*/ 36383 w 7467600"/>
              <a:gd name="connsiteY726" fmla="*/ 2901128 h 6858000"/>
              <a:gd name="connsiteX727" fmla="*/ 156329 w 7467600"/>
              <a:gd name="connsiteY727" fmla="*/ 2840533 h 6858000"/>
              <a:gd name="connsiteX728" fmla="*/ 358355 w 7467600"/>
              <a:gd name="connsiteY728" fmla="*/ 2620471 h 6858000"/>
              <a:gd name="connsiteX729" fmla="*/ 510577 w 7467600"/>
              <a:gd name="connsiteY729" fmla="*/ 2501244 h 6858000"/>
              <a:gd name="connsiteX730" fmla="*/ 211967 w 7467600"/>
              <a:gd name="connsiteY730" fmla="*/ 2479171 h 6858000"/>
              <a:gd name="connsiteX731" fmla="*/ 0 w 7467600"/>
              <a:gd name="connsiteY731" fmla="*/ 2476398 h 6858000"/>
              <a:gd name="connsiteX732" fmla="*/ 0 w 7467600"/>
              <a:gd name="connsiteY732" fmla="*/ 2389189 h 6858000"/>
              <a:gd name="connsiteX733" fmla="*/ 103062 w 7467600"/>
              <a:gd name="connsiteY733" fmla="*/ 2389518 h 6858000"/>
              <a:gd name="connsiteX734" fmla="*/ 510734 w 7467600"/>
              <a:gd name="connsiteY734" fmla="*/ 2416201 h 6858000"/>
              <a:gd name="connsiteX735" fmla="*/ 279257 w 7467600"/>
              <a:gd name="connsiteY735" fmla="*/ 2092102 h 6858000"/>
              <a:gd name="connsiteX736" fmla="*/ 65265 w 7467600"/>
              <a:gd name="connsiteY736" fmla="*/ 2006049 h 6858000"/>
              <a:gd name="connsiteX737" fmla="*/ 0 w 7467600"/>
              <a:gd name="connsiteY737" fmla="*/ 1982532 h 6858000"/>
              <a:gd name="connsiteX738" fmla="*/ 0 w 7467600"/>
              <a:gd name="connsiteY738" fmla="*/ 1912789 h 6858000"/>
              <a:gd name="connsiteX739" fmla="*/ 97460 w 7467600"/>
              <a:gd name="connsiteY739" fmla="*/ 1953725 h 6858000"/>
              <a:gd name="connsiteX740" fmla="*/ 221272 w 7467600"/>
              <a:gd name="connsiteY740" fmla="*/ 1980766 h 6858000"/>
              <a:gd name="connsiteX741" fmla="*/ 116765 w 7467600"/>
              <a:gd name="connsiteY741" fmla="*/ 1911033 h 6858000"/>
              <a:gd name="connsiteX742" fmla="*/ 16405 w 7467600"/>
              <a:gd name="connsiteY742" fmla="*/ 1803412 h 6858000"/>
              <a:gd name="connsiteX743" fmla="*/ 0 w 7467600"/>
              <a:gd name="connsiteY743" fmla="*/ 1784777 h 6858000"/>
              <a:gd name="connsiteX744" fmla="*/ 0 w 7467600"/>
              <a:gd name="connsiteY744" fmla="*/ 1740082 h 6858000"/>
              <a:gd name="connsiteX745" fmla="*/ 39394 w 7467600"/>
              <a:gd name="connsiteY745" fmla="*/ 1784856 h 6858000"/>
              <a:gd name="connsiteX746" fmla="*/ 135813 w 7467600"/>
              <a:gd name="connsiteY746" fmla="*/ 1888838 h 6858000"/>
              <a:gd name="connsiteX747" fmla="*/ 242575 w 7467600"/>
              <a:gd name="connsiteY747" fmla="*/ 1958841 h 6858000"/>
              <a:gd name="connsiteX748" fmla="*/ 82197 w 7467600"/>
              <a:gd name="connsiteY748" fmla="*/ 1754826 h 6858000"/>
              <a:gd name="connsiteX749" fmla="*/ 0 w 7467600"/>
              <a:gd name="connsiteY749" fmla="*/ 1679650 h 6858000"/>
              <a:gd name="connsiteX750" fmla="*/ 0 w 7467600"/>
              <a:gd name="connsiteY750" fmla="*/ 1602463 h 6858000"/>
              <a:gd name="connsiteX751" fmla="*/ 84689 w 7467600"/>
              <a:gd name="connsiteY751" fmla="*/ 1677442 h 6858000"/>
              <a:gd name="connsiteX752" fmla="*/ 298437 w 7467600"/>
              <a:gd name="connsiteY752" fmla="*/ 1968019 h 6858000"/>
              <a:gd name="connsiteX753" fmla="*/ 227269 w 7467600"/>
              <a:gd name="connsiteY753" fmla="*/ 1114064 h 6858000"/>
              <a:gd name="connsiteX754" fmla="*/ 248003 w 7467600"/>
              <a:gd name="connsiteY754" fmla="*/ 1089613 h 6858000"/>
              <a:gd name="connsiteX755" fmla="*/ 427020 w 7467600"/>
              <a:gd name="connsiteY755" fmla="*/ 1619803 h 6858000"/>
              <a:gd name="connsiteX756" fmla="*/ 340345 w 7467600"/>
              <a:gd name="connsiteY756" fmla="*/ 2027739 h 6858000"/>
              <a:gd name="connsiteX757" fmla="*/ 360865 w 7467600"/>
              <a:gd name="connsiteY757" fmla="*/ 2044827 h 6858000"/>
              <a:gd name="connsiteX758" fmla="*/ 560414 w 7467600"/>
              <a:gd name="connsiteY758" fmla="*/ 2421457 h 6858000"/>
              <a:gd name="connsiteX759" fmla="*/ 1359703 w 7467600"/>
              <a:gd name="connsiteY759" fmla="*/ 2578554 h 6858000"/>
              <a:gd name="connsiteX760" fmla="*/ 1359422 w 7467600"/>
              <a:gd name="connsiteY760" fmla="*/ 2577994 h 6858000"/>
              <a:gd name="connsiteX761" fmla="*/ 828701 w 7467600"/>
              <a:gd name="connsiteY761" fmla="*/ 1839520 h 6858000"/>
              <a:gd name="connsiteX762" fmla="*/ 494427 w 7467600"/>
              <a:gd name="connsiteY762" fmla="*/ 1092333 h 6858000"/>
              <a:gd name="connsiteX763" fmla="*/ 506322 w 7467600"/>
              <a:gd name="connsiteY763" fmla="*/ 1020997 h 6858000"/>
              <a:gd name="connsiteX764" fmla="*/ 4570198 w 7467600"/>
              <a:gd name="connsiteY764" fmla="*/ 978081 h 6858000"/>
              <a:gd name="connsiteX765" fmla="*/ 4523691 w 7467600"/>
              <a:gd name="connsiteY765" fmla="*/ 1127776 h 6858000"/>
              <a:gd name="connsiteX766" fmla="*/ 4509875 w 7467600"/>
              <a:gd name="connsiteY766" fmla="*/ 1167552 h 6858000"/>
              <a:gd name="connsiteX767" fmla="*/ 4478168 w 7467600"/>
              <a:gd name="connsiteY767" fmla="*/ 1260735 h 6858000"/>
              <a:gd name="connsiteX768" fmla="*/ 4409309 w 7467600"/>
              <a:gd name="connsiteY768" fmla="*/ 1666996 h 6858000"/>
              <a:gd name="connsiteX769" fmla="*/ 4370031 w 7467600"/>
              <a:gd name="connsiteY769" fmla="*/ 1955666 h 6858000"/>
              <a:gd name="connsiteX770" fmla="*/ 4570198 w 7467600"/>
              <a:gd name="connsiteY770" fmla="*/ 978081 h 6858000"/>
              <a:gd name="connsiteX771" fmla="*/ 4557898 w 7467600"/>
              <a:gd name="connsiteY771" fmla="*/ 900011 h 6858000"/>
              <a:gd name="connsiteX772" fmla="*/ 4344840 w 7467600"/>
              <a:gd name="connsiteY772" fmla="*/ 1922038 h 6858000"/>
              <a:gd name="connsiteX773" fmla="*/ 4378710 w 7467600"/>
              <a:gd name="connsiteY773" fmla="*/ 1665516 h 6858000"/>
              <a:gd name="connsiteX774" fmla="*/ 4448798 w 7467600"/>
              <a:gd name="connsiteY774" fmla="*/ 1253024 h 6858000"/>
              <a:gd name="connsiteX775" fmla="*/ 4480315 w 7467600"/>
              <a:gd name="connsiteY775" fmla="*/ 1158454 h 6858000"/>
              <a:gd name="connsiteX776" fmla="*/ 4494133 w 7467600"/>
              <a:gd name="connsiteY776" fmla="*/ 1118676 h 6858000"/>
              <a:gd name="connsiteX777" fmla="*/ 4557898 w 7467600"/>
              <a:gd name="connsiteY777" fmla="*/ 900011 h 6858000"/>
              <a:gd name="connsiteX778" fmla="*/ 5870151 w 7467600"/>
              <a:gd name="connsiteY778" fmla="*/ 898890 h 6858000"/>
              <a:gd name="connsiteX779" fmla="*/ 5861335 w 7467600"/>
              <a:gd name="connsiteY779" fmla="*/ 899177 h 6858000"/>
              <a:gd name="connsiteX780" fmla="*/ 5843702 w 7467600"/>
              <a:gd name="connsiteY780" fmla="*/ 899748 h 6858000"/>
              <a:gd name="connsiteX781" fmla="*/ 5651107 w 7467600"/>
              <a:gd name="connsiteY781" fmla="*/ 920306 h 6858000"/>
              <a:gd name="connsiteX782" fmla="*/ 5459407 w 7467600"/>
              <a:gd name="connsiteY782" fmla="*/ 940975 h 6858000"/>
              <a:gd name="connsiteX783" fmla="*/ 5374846 w 7467600"/>
              <a:gd name="connsiteY783" fmla="*/ 941988 h 6858000"/>
              <a:gd name="connsiteX784" fmla="*/ 5256105 w 7467600"/>
              <a:gd name="connsiteY784" fmla="*/ 945632 h 6858000"/>
              <a:gd name="connsiteX785" fmla="*/ 5107071 w 7467600"/>
              <a:gd name="connsiteY785" fmla="*/ 969720 h 6858000"/>
              <a:gd name="connsiteX786" fmla="*/ 4998681 w 7467600"/>
              <a:gd name="connsiteY786" fmla="*/ 988771 h 6858000"/>
              <a:gd name="connsiteX787" fmla="*/ 5870151 w 7467600"/>
              <a:gd name="connsiteY787" fmla="*/ 898890 h 6858000"/>
              <a:gd name="connsiteX788" fmla="*/ 5504425 w 7467600"/>
              <a:gd name="connsiteY788" fmla="*/ 848067 h 6858000"/>
              <a:gd name="connsiteX789" fmla="*/ 4968849 w 7467600"/>
              <a:gd name="connsiteY789" fmla="*/ 962318 h 6858000"/>
              <a:gd name="connsiteX790" fmla="*/ 5104039 w 7467600"/>
              <a:gd name="connsiteY790" fmla="*/ 940634 h 6858000"/>
              <a:gd name="connsiteX791" fmla="*/ 5256311 w 7467600"/>
              <a:gd name="connsiteY791" fmla="*/ 916490 h 6858000"/>
              <a:gd name="connsiteX792" fmla="*/ 5377381 w 7467600"/>
              <a:gd name="connsiteY792" fmla="*/ 912671 h 6858000"/>
              <a:gd name="connsiteX793" fmla="*/ 5460148 w 7467600"/>
              <a:gd name="connsiteY793" fmla="*/ 911442 h 6858000"/>
              <a:gd name="connsiteX794" fmla="*/ 5648971 w 7467600"/>
              <a:gd name="connsiteY794" fmla="*/ 891331 h 6858000"/>
              <a:gd name="connsiteX795" fmla="*/ 5844807 w 7467600"/>
              <a:gd name="connsiteY795" fmla="*/ 870718 h 6858000"/>
              <a:gd name="connsiteX796" fmla="*/ 5862975 w 7467600"/>
              <a:gd name="connsiteY796" fmla="*/ 869756 h 6858000"/>
              <a:gd name="connsiteX797" fmla="*/ 5920887 w 7467600"/>
              <a:gd name="connsiteY797" fmla="*/ 865929 h 6858000"/>
              <a:gd name="connsiteX798" fmla="*/ 5504425 w 7467600"/>
              <a:gd name="connsiteY798" fmla="*/ 848067 h 6858000"/>
              <a:gd name="connsiteX799" fmla="*/ 3607114 w 7467600"/>
              <a:gd name="connsiteY799" fmla="*/ 467441 h 6858000"/>
              <a:gd name="connsiteX800" fmla="*/ 3296242 w 7467600"/>
              <a:gd name="connsiteY800" fmla="*/ 807991 h 6858000"/>
              <a:gd name="connsiteX801" fmla="*/ 3174674 w 7467600"/>
              <a:gd name="connsiteY801" fmla="*/ 919759 h 6858000"/>
              <a:gd name="connsiteX802" fmla="*/ 3042978 w 7467600"/>
              <a:gd name="connsiteY802" fmla="*/ 1054894 h 6858000"/>
              <a:gd name="connsiteX803" fmla="*/ 2968914 w 7467600"/>
              <a:gd name="connsiteY803" fmla="*/ 1133756 h 6858000"/>
              <a:gd name="connsiteX804" fmla="*/ 3103823 w 7467600"/>
              <a:gd name="connsiteY804" fmla="*/ 1026814 h 6858000"/>
              <a:gd name="connsiteX805" fmla="*/ 3607114 w 7467600"/>
              <a:gd name="connsiteY805" fmla="*/ 467441 h 6858000"/>
              <a:gd name="connsiteX806" fmla="*/ 3744487 w 7467600"/>
              <a:gd name="connsiteY806" fmla="*/ 383136 h 6858000"/>
              <a:gd name="connsiteX807" fmla="*/ 3970213 w 7467600"/>
              <a:gd name="connsiteY807" fmla="*/ 995559 h 6858000"/>
              <a:gd name="connsiteX808" fmla="*/ 3744487 w 7467600"/>
              <a:gd name="connsiteY808" fmla="*/ 383136 h 6858000"/>
              <a:gd name="connsiteX809" fmla="*/ 3624562 w 7467600"/>
              <a:gd name="connsiteY809" fmla="*/ 367041 h 6858000"/>
              <a:gd name="connsiteX810" fmla="*/ 3489712 w 7467600"/>
              <a:gd name="connsiteY810" fmla="*/ 485386 h 6858000"/>
              <a:gd name="connsiteX811" fmla="*/ 3182994 w 7467600"/>
              <a:gd name="connsiteY811" fmla="*/ 828265 h 6858000"/>
              <a:gd name="connsiteX812" fmla="*/ 2892114 w 7467600"/>
              <a:gd name="connsiteY812" fmla="*/ 1172635 h 6858000"/>
              <a:gd name="connsiteX813" fmla="*/ 3021459 w 7467600"/>
              <a:gd name="connsiteY813" fmla="*/ 1035385 h 6858000"/>
              <a:gd name="connsiteX814" fmla="*/ 3153873 w 7467600"/>
              <a:gd name="connsiteY814" fmla="*/ 898971 h 6858000"/>
              <a:gd name="connsiteX815" fmla="*/ 3276511 w 7467600"/>
              <a:gd name="connsiteY815" fmla="*/ 786423 h 6858000"/>
              <a:gd name="connsiteX816" fmla="*/ 3584154 w 7467600"/>
              <a:gd name="connsiteY816" fmla="*/ 448218 h 6858000"/>
              <a:gd name="connsiteX817" fmla="*/ 3624562 w 7467600"/>
              <a:gd name="connsiteY817" fmla="*/ 367041 h 6858000"/>
              <a:gd name="connsiteX818" fmla="*/ 3766672 w 7467600"/>
              <a:gd name="connsiteY818" fmla="*/ 359429 h 6858000"/>
              <a:gd name="connsiteX819" fmla="*/ 3996338 w 7467600"/>
              <a:gd name="connsiteY819" fmla="*/ 968237 h 6858000"/>
              <a:gd name="connsiteX820" fmla="*/ 3766672 w 7467600"/>
              <a:gd name="connsiteY820" fmla="*/ 359429 h 6858000"/>
              <a:gd name="connsiteX821" fmla="*/ 5805386 w 7467600"/>
              <a:gd name="connsiteY821" fmla="*/ 239240 h 6858000"/>
              <a:gd name="connsiteX822" fmla="*/ 5736947 w 7467600"/>
              <a:gd name="connsiteY822" fmla="*/ 261367 h 6858000"/>
              <a:gd name="connsiteX823" fmla="*/ 5427012 w 7467600"/>
              <a:gd name="connsiteY823" fmla="*/ 311272 h 6858000"/>
              <a:gd name="connsiteX824" fmla="*/ 5147818 w 7467600"/>
              <a:gd name="connsiteY824" fmla="*/ 322112 h 6858000"/>
              <a:gd name="connsiteX825" fmla="*/ 5060854 w 7467600"/>
              <a:gd name="connsiteY825" fmla="*/ 311882 h 6858000"/>
              <a:gd name="connsiteX826" fmla="*/ 4945989 w 7467600"/>
              <a:gd name="connsiteY826" fmla="*/ 300516 h 6858000"/>
              <a:gd name="connsiteX827" fmla="*/ 5410479 w 7467600"/>
              <a:gd name="connsiteY827" fmla="*/ 348434 h 6858000"/>
              <a:gd name="connsiteX828" fmla="*/ 5805386 w 7467600"/>
              <a:gd name="connsiteY828" fmla="*/ 239240 h 6858000"/>
              <a:gd name="connsiteX829" fmla="*/ 5905192 w 7467600"/>
              <a:gd name="connsiteY829" fmla="*/ 163079 h 6858000"/>
              <a:gd name="connsiteX830" fmla="*/ 5865655 w 7467600"/>
              <a:gd name="connsiteY830" fmla="*/ 171901 h 6858000"/>
              <a:gd name="connsiteX831" fmla="*/ 5259740 w 7467600"/>
              <a:gd name="connsiteY831" fmla="*/ 257013 h 6858000"/>
              <a:gd name="connsiteX832" fmla="*/ 5208466 w 7467600"/>
              <a:gd name="connsiteY832" fmla="*/ 257550 h 6858000"/>
              <a:gd name="connsiteX833" fmla="*/ 4980204 w 7467600"/>
              <a:gd name="connsiteY833" fmla="*/ 271903 h 6858000"/>
              <a:gd name="connsiteX834" fmla="*/ 5068068 w 7467600"/>
              <a:gd name="connsiteY834" fmla="*/ 282244 h 6858000"/>
              <a:gd name="connsiteX835" fmla="*/ 5153231 w 7467600"/>
              <a:gd name="connsiteY835" fmla="*/ 292240 h 6858000"/>
              <a:gd name="connsiteX836" fmla="*/ 5426491 w 7467600"/>
              <a:gd name="connsiteY836" fmla="*/ 281128 h 6858000"/>
              <a:gd name="connsiteX837" fmla="*/ 5731212 w 7467600"/>
              <a:gd name="connsiteY837" fmla="*/ 231951 h 6858000"/>
              <a:gd name="connsiteX838" fmla="*/ 5905192 w 7467600"/>
              <a:gd name="connsiteY838" fmla="*/ 163079 h 6858000"/>
              <a:gd name="connsiteX839" fmla="*/ 5944437 w 7467600"/>
              <a:gd name="connsiteY839" fmla="*/ 113829 h 6858000"/>
              <a:gd name="connsiteX840" fmla="*/ 5825032 w 7467600"/>
              <a:gd name="connsiteY840" fmla="*/ 146405 h 6858000"/>
              <a:gd name="connsiteX841" fmla="*/ 4955599 w 7467600"/>
              <a:gd name="connsiteY841" fmla="*/ 247008 h 6858000"/>
              <a:gd name="connsiteX842" fmla="*/ 5210104 w 7467600"/>
              <a:gd name="connsiteY842" fmla="*/ 228123 h 6858000"/>
              <a:gd name="connsiteX843" fmla="*/ 5261015 w 7467600"/>
              <a:gd name="connsiteY843" fmla="*/ 227087 h 6858000"/>
              <a:gd name="connsiteX844" fmla="*/ 5861181 w 7467600"/>
              <a:gd name="connsiteY844" fmla="*/ 143093 h 6858000"/>
              <a:gd name="connsiteX845" fmla="*/ 5961252 w 7467600"/>
              <a:gd name="connsiteY845" fmla="*/ 114820 h 6858000"/>
              <a:gd name="connsiteX846" fmla="*/ 5944437 w 7467600"/>
              <a:gd name="connsiteY846" fmla="*/ 113829 h 6858000"/>
              <a:gd name="connsiteX847" fmla="*/ 3882765 w 7467600"/>
              <a:gd name="connsiteY847" fmla="*/ 0 h 6858000"/>
              <a:gd name="connsiteX848" fmla="*/ 3995099 w 7467600"/>
              <a:gd name="connsiteY848" fmla="*/ 0 h 6858000"/>
              <a:gd name="connsiteX849" fmla="*/ 4163818 w 7467600"/>
              <a:gd name="connsiteY849" fmla="*/ 234104 h 6858000"/>
              <a:gd name="connsiteX850" fmla="*/ 4172099 w 7467600"/>
              <a:gd name="connsiteY850" fmla="*/ 234207 h 6858000"/>
              <a:gd name="connsiteX851" fmla="*/ 4784282 w 7467600"/>
              <a:gd name="connsiteY851" fmla="*/ 276561 h 6858000"/>
              <a:gd name="connsiteX852" fmla="*/ 4801687 w 7467600"/>
              <a:gd name="connsiteY852" fmla="*/ 267764 h 6858000"/>
              <a:gd name="connsiteX853" fmla="*/ 6082788 w 7467600"/>
              <a:gd name="connsiteY853" fmla="*/ 64119 h 6858000"/>
              <a:gd name="connsiteX854" fmla="*/ 6099442 w 7467600"/>
              <a:gd name="connsiteY854" fmla="*/ 82568 h 6858000"/>
              <a:gd name="connsiteX855" fmla="*/ 4804137 w 7467600"/>
              <a:gd name="connsiteY855" fmla="*/ 320931 h 6858000"/>
              <a:gd name="connsiteX856" fmla="*/ 4227047 w 7467600"/>
              <a:gd name="connsiteY856" fmla="*/ 313415 h 6858000"/>
              <a:gd name="connsiteX857" fmla="*/ 4346041 w 7467600"/>
              <a:gd name="connsiteY857" fmla="*/ 456086 h 6858000"/>
              <a:gd name="connsiteX858" fmla="*/ 4870967 w 7467600"/>
              <a:gd name="connsiteY858" fmla="*/ 963061 h 6858000"/>
              <a:gd name="connsiteX859" fmla="*/ 4889647 w 7467600"/>
              <a:gd name="connsiteY859" fmla="*/ 957147 h 6858000"/>
              <a:gd name="connsiteX860" fmla="*/ 5422504 w 7467600"/>
              <a:gd name="connsiteY860" fmla="*/ 805191 h 6858000"/>
              <a:gd name="connsiteX861" fmla="*/ 6087656 w 7467600"/>
              <a:gd name="connsiteY861" fmla="*/ 826703 h 6858000"/>
              <a:gd name="connsiteX862" fmla="*/ 6058717 w 7467600"/>
              <a:gd name="connsiteY862" fmla="*/ 865992 h 6858000"/>
              <a:gd name="connsiteX863" fmla="*/ 4974153 w 7467600"/>
              <a:gd name="connsiteY863" fmla="*/ 1045456 h 6858000"/>
              <a:gd name="connsiteX864" fmla="*/ 5627835 w 7467600"/>
              <a:gd name="connsiteY864" fmla="*/ 1472077 h 6858000"/>
              <a:gd name="connsiteX865" fmla="*/ 5629817 w 7467600"/>
              <a:gd name="connsiteY865" fmla="*/ 1471412 h 6858000"/>
              <a:gd name="connsiteX866" fmla="*/ 5634124 w 7467600"/>
              <a:gd name="connsiteY866" fmla="*/ 1470572 h 6858000"/>
              <a:gd name="connsiteX867" fmla="*/ 5755832 w 7467600"/>
              <a:gd name="connsiteY867" fmla="*/ 1383886 h 6858000"/>
              <a:gd name="connsiteX868" fmla="*/ 6014186 w 7467600"/>
              <a:gd name="connsiteY868" fmla="*/ 1279799 h 6858000"/>
              <a:gd name="connsiteX869" fmla="*/ 6901619 w 7467600"/>
              <a:gd name="connsiteY869" fmla="*/ 1047874 h 6858000"/>
              <a:gd name="connsiteX870" fmla="*/ 6931566 w 7467600"/>
              <a:gd name="connsiteY870" fmla="*/ 1062034 h 6858000"/>
              <a:gd name="connsiteX871" fmla="*/ 5790982 w 7467600"/>
              <a:gd name="connsiteY871" fmla="*/ 1561380 h 6858000"/>
              <a:gd name="connsiteX872" fmla="*/ 6188971 w 7467600"/>
              <a:gd name="connsiteY872" fmla="*/ 1755168 h 6858000"/>
              <a:gd name="connsiteX873" fmla="*/ 6202446 w 7467600"/>
              <a:gd name="connsiteY873" fmla="*/ 1752268 h 6858000"/>
              <a:gd name="connsiteX874" fmla="*/ 7179560 w 7467600"/>
              <a:gd name="connsiteY874" fmla="*/ 1467551 h 6858000"/>
              <a:gd name="connsiteX875" fmla="*/ 7158730 w 7467600"/>
              <a:gd name="connsiteY875" fmla="*/ 1507835 h 6858000"/>
              <a:gd name="connsiteX876" fmla="*/ 6326959 w 7467600"/>
              <a:gd name="connsiteY876" fmla="*/ 1817686 h 6858000"/>
              <a:gd name="connsiteX877" fmla="*/ 6537433 w 7467600"/>
              <a:gd name="connsiteY877" fmla="*/ 1907790 h 6858000"/>
              <a:gd name="connsiteX878" fmla="*/ 6550221 w 7467600"/>
              <a:gd name="connsiteY878" fmla="*/ 1910729 h 6858000"/>
              <a:gd name="connsiteX879" fmla="*/ 6964438 w 7467600"/>
              <a:gd name="connsiteY879" fmla="*/ 2209505 h 6858000"/>
              <a:gd name="connsiteX880" fmla="*/ 7367862 w 7467600"/>
              <a:gd name="connsiteY880" fmla="*/ 2806833 h 6858000"/>
              <a:gd name="connsiteX881" fmla="*/ 7364329 w 7467600"/>
              <a:gd name="connsiteY881" fmla="*/ 2826907 h 6858000"/>
              <a:gd name="connsiteX882" fmla="*/ 7290545 w 7467600"/>
              <a:gd name="connsiteY882" fmla="*/ 2850663 h 6858000"/>
              <a:gd name="connsiteX883" fmla="*/ 6472036 w 7467600"/>
              <a:gd name="connsiteY883" fmla="*/ 1959003 h 6858000"/>
              <a:gd name="connsiteX884" fmla="*/ 5792897 w 7467600"/>
              <a:gd name="connsiteY884" fmla="*/ 1647747 h 6858000"/>
              <a:gd name="connsiteX885" fmla="*/ 5842751 w 7467600"/>
              <a:gd name="connsiteY885" fmla="*/ 1816112 h 6858000"/>
              <a:gd name="connsiteX886" fmla="*/ 5847424 w 7467600"/>
              <a:gd name="connsiteY886" fmla="*/ 1815776 h 6858000"/>
              <a:gd name="connsiteX887" fmla="*/ 6399821 w 7467600"/>
              <a:gd name="connsiteY887" fmla="*/ 2344799 h 6858000"/>
              <a:gd name="connsiteX888" fmla="*/ 6323232 w 7467600"/>
              <a:gd name="connsiteY888" fmla="*/ 2389634 h 6858000"/>
              <a:gd name="connsiteX889" fmla="*/ 5942958 w 7467600"/>
              <a:gd name="connsiteY889" fmla="*/ 2077708 h 6858000"/>
              <a:gd name="connsiteX890" fmla="*/ 5921559 w 7467600"/>
              <a:gd name="connsiteY890" fmla="*/ 2378596 h 6858000"/>
              <a:gd name="connsiteX891" fmla="*/ 5817651 w 7467600"/>
              <a:gd name="connsiteY891" fmla="*/ 3023919 h 6858000"/>
              <a:gd name="connsiteX892" fmla="*/ 5729634 w 7467600"/>
              <a:gd name="connsiteY892" fmla="*/ 3051849 h 6858000"/>
              <a:gd name="connsiteX893" fmla="*/ 5611018 w 7467600"/>
              <a:gd name="connsiteY893" fmla="*/ 2316769 h 6858000"/>
              <a:gd name="connsiteX894" fmla="*/ 5687608 w 7467600"/>
              <a:gd name="connsiteY894" fmla="*/ 2039972 h 6858000"/>
              <a:gd name="connsiteX895" fmla="*/ 5657554 w 7467600"/>
              <a:gd name="connsiteY895" fmla="*/ 1576445 h 6858000"/>
              <a:gd name="connsiteX896" fmla="*/ 5150475 w 7467600"/>
              <a:gd name="connsiteY896" fmla="*/ 1274012 h 6858000"/>
              <a:gd name="connsiteX897" fmla="*/ 5349142 w 7467600"/>
              <a:gd name="connsiteY897" fmla="*/ 2204405 h 6858000"/>
              <a:gd name="connsiteX898" fmla="*/ 5262214 w 7467600"/>
              <a:gd name="connsiteY898" fmla="*/ 2233836 h 6858000"/>
              <a:gd name="connsiteX899" fmla="*/ 4981539 w 7467600"/>
              <a:gd name="connsiteY899" fmla="*/ 1542201 h 6858000"/>
              <a:gd name="connsiteX900" fmla="*/ 4958461 w 7467600"/>
              <a:gd name="connsiteY900" fmla="*/ 1136957 h 6858000"/>
              <a:gd name="connsiteX901" fmla="*/ 4655015 w 7467600"/>
              <a:gd name="connsiteY901" fmla="*/ 891426 h 6858000"/>
              <a:gd name="connsiteX902" fmla="*/ 4348002 w 7467600"/>
              <a:gd name="connsiteY902" fmla="*/ 2205895 h 6858000"/>
              <a:gd name="connsiteX903" fmla="*/ 4262250 w 7467600"/>
              <a:gd name="connsiteY903" fmla="*/ 2219972 h 6858000"/>
              <a:gd name="connsiteX904" fmla="*/ 4550611 w 7467600"/>
              <a:gd name="connsiteY904" fmla="*/ 817540 h 6858000"/>
              <a:gd name="connsiteX905" fmla="*/ 4564418 w 7467600"/>
              <a:gd name="connsiteY905" fmla="*/ 808293 h 6858000"/>
              <a:gd name="connsiteX906" fmla="*/ 4266388 w 7467600"/>
              <a:gd name="connsiteY906" fmla="*/ 500083 h 6858000"/>
              <a:gd name="connsiteX907" fmla="*/ 4032842 w 7467600"/>
              <a:gd name="connsiteY907" fmla="*/ 211809 h 6858000"/>
              <a:gd name="connsiteX908" fmla="*/ 3882765 w 7467600"/>
              <a:gd name="connsiteY908" fmla="*/ 0 h 6858000"/>
              <a:gd name="connsiteX909" fmla="*/ 3721337 w 7467600"/>
              <a:gd name="connsiteY909" fmla="*/ 0 h 6858000"/>
              <a:gd name="connsiteX910" fmla="*/ 3797544 w 7467600"/>
              <a:gd name="connsiteY910" fmla="*/ 0 h 6858000"/>
              <a:gd name="connsiteX911" fmla="*/ 3775734 w 7467600"/>
              <a:gd name="connsiteY911" fmla="*/ 95131 h 6858000"/>
              <a:gd name="connsiteX912" fmla="*/ 3724807 w 7467600"/>
              <a:gd name="connsiteY912" fmla="*/ 272257 h 6858000"/>
              <a:gd name="connsiteX913" fmla="*/ 3726844 w 7467600"/>
              <a:gd name="connsiteY913" fmla="*/ 282988 h 6858000"/>
              <a:gd name="connsiteX914" fmla="*/ 3742664 w 7467600"/>
              <a:gd name="connsiteY914" fmla="*/ 279918 h 6858000"/>
              <a:gd name="connsiteX915" fmla="*/ 4103910 w 7467600"/>
              <a:gd name="connsiteY915" fmla="*/ 1161917 h 6858000"/>
              <a:gd name="connsiteX916" fmla="*/ 4020269 w 7467600"/>
              <a:gd name="connsiteY916" fmla="*/ 1200406 h 6858000"/>
              <a:gd name="connsiteX917" fmla="*/ 3674882 w 7467600"/>
              <a:gd name="connsiteY917" fmla="*/ 488524 h 6858000"/>
              <a:gd name="connsiteX918" fmla="*/ 3132682 w 7467600"/>
              <a:gd name="connsiteY918" fmla="*/ 1072284 h 6858000"/>
              <a:gd name="connsiteX919" fmla="*/ 2716346 w 7467600"/>
              <a:gd name="connsiteY919" fmla="*/ 1276376 h 6858000"/>
              <a:gd name="connsiteX920" fmla="*/ 2716772 w 7467600"/>
              <a:gd name="connsiteY920" fmla="*/ 1255462 h 6858000"/>
              <a:gd name="connsiteX921" fmla="*/ 3471096 w 7467600"/>
              <a:gd name="connsiteY921" fmla="*/ 437072 h 6858000"/>
              <a:gd name="connsiteX922" fmla="*/ 3639057 w 7467600"/>
              <a:gd name="connsiteY922" fmla="*/ 286334 h 6858000"/>
              <a:gd name="connsiteX923" fmla="*/ 3640309 w 7467600"/>
              <a:gd name="connsiteY923" fmla="*/ 284664 h 6858000"/>
              <a:gd name="connsiteX924" fmla="*/ 3646022 w 7467600"/>
              <a:gd name="connsiteY924" fmla="*/ 276711 h 6858000"/>
              <a:gd name="connsiteX925" fmla="*/ 3707943 w 7467600"/>
              <a:gd name="connsiteY925" fmla="*/ 65958 h 6858000"/>
              <a:gd name="connsiteX926" fmla="*/ 3721337 w 7467600"/>
              <a:gd name="connsiteY926" fmla="*/ 0 h 6858000"/>
              <a:gd name="connsiteX927" fmla="*/ 2867960 w 7467600"/>
              <a:gd name="connsiteY927" fmla="*/ 0 h 6858000"/>
              <a:gd name="connsiteX928" fmla="*/ 2926351 w 7467600"/>
              <a:gd name="connsiteY928" fmla="*/ 0 h 6858000"/>
              <a:gd name="connsiteX929" fmla="*/ 2902823 w 7467600"/>
              <a:gd name="connsiteY929" fmla="*/ 262929 h 6858000"/>
              <a:gd name="connsiteX930" fmla="*/ 2940663 w 7467600"/>
              <a:gd name="connsiteY930" fmla="*/ 140884 h 6858000"/>
              <a:gd name="connsiteX931" fmla="*/ 2947039 w 7467600"/>
              <a:gd name="connsiteY931" fmla="*/ 122524 h 6858000"/>
              <a:gd name="connsiteX932" fmla="*/ 2984316 w 7467600"/>
              <a:gd name="connsiteY932" fmla="*/ 0 h 6858000"/>
              <a:gd name="connsiteX933" fmla="*/ 3016114 w 7467600"/>
              <a:gd name="connsiteY933" fmla="*/ 0 h 6858000"/>
              <a:gd name="connsiteX934" fmla="*/ 2979949 w 7467600"/>
              <a:gd name="connsiteY934" fmla="*/ 119274 h 6858000"/>
              <a:gd name="connsiteX935" fmla="*/ 3023879 w 7467600"/>
              <a:gd name="connsiteY935" fmla="*/ 0 h 6858000"/>
              <a:gd name="connsiteX936" fmla="*/ 3105400 w 7467600"/>
              <a:gd name="connsiteY936" fmla="*/ 0 h 6858000"/>
              <a:gd name="connsiteX937" fmla="*/ 3094669 w 7467600"/>
              <a:gd name="connsiteY937" fmla="*/ 30308 h 6858000"/>
              <a:gd name="connsiteX938" fmla="*/ 2901945 w 7467600"/>
              <a:gd name="connsiteY938" fmla="*/ 466538 h 6858000"/>
              <a:gd name="connsiteX939" fmla="*/ 2815209 w 7467600"/>
              <a:gd name="connsiteY939" fmla="*/ 497361 h 6858000"/>
              <a:gd name="connsiteX940" fmla="*/ 2844845 w 7467600"/>
              <a:gd name="connsiteY940" fmla="*/ 127638 h 6858000"/>
              <a:gd name="connsiteX941" fmla="*/ 2867960 w 7467600"/>
              <a:gd name="connsiteY941" fmla="*/ 0 h 6858000"/>
              <a:gd name="connsiteX942" fmla="*/ 1057230 w 7467600"/>
              <a:gd name="connsiteY942" fmla="*/ 0 h 6858000"/>
              <a:gd name="connsiteX943" fmla="*/ 1111003 w 7467600"/>
              <a:gd name="connsiteY943" fmla="*/ 0 h 6858000"/>
              <a:gd name="connsiteX944" fmla="*/ 1125553 w 7467600"/>
              <a:gd name="connsiteY944" fmla="*/ 52588 h 6858000"/>
              <a:gd name="connsiteX945" fmla="*/ 1304276 w 7467600"/>
              <a:gd name="connsiteY945" fmla="*/ 476275 h 6858000"/>
              <a:gd name="connsiteX946" fmla="*/ 1492066 w 7467600"/>
              <a:gd name="connsiteY946" fmla="*/ 886333 h 6858000"/>
              <a:gd name="connsiteX947" fmla="*/ 1423698 w 7467600"/>
              <a:gd name="connsiteY947" fmla="*/ 710817 h 6858000"/>
              <a:gd name="connsiteX948" fmla="*/ 1357609 w 7467600"/>
              <a:gd name="connsiteY948" fmla="*/ 532892 h 6858000"/>
              <a:gd name="connsiteX949" fmla="*/ 1309550 w 7467600"/>
              <a:gd name="connsiteY949" fmla="*/ 374031 h 6858000"/>
              <a:gd name="connsiteX950" fmla="*/ 1193673 w 7467600"/>
              <a:gd name="connsiteY950" fmla="*/ 49533 h 6858000"/>
              <a:gd name="connsiteX951" fmla="*/ 1164391 w 7467600"/>
              <a:gd name="connsiteY951" fmla="*/ 0 h 6858000"/>
              <a:gd name="connsiteX952" fmla="*/ 1200666 w 7467600"/>
              <a:gd name="connsiteY952" fmla="*/ 0 h 6858000"/>
              <a:gd name="connsiteX953" fmla="*/ 1223408 w 7467600"/>
              <a:gd name="connsiteY953" fmla="*/ 38996 h 6858000"/>
              <a:gd name="connsiteX954" fmla="*/ 1339635 w 7467600"/>
              <a:gd name="connsiteY954" fmla="*/ 365517 h 6858000"/>
              <a:gd name="connsiteX955" fmla="*/ 1387469 w 7467600"/>
              <a:gd name="connsiteY955" fmla="*/ 523079 h 6858000"/>
              <a:gd name="connsiteX956" fmla="*/ 1452685 w 7467600"/>
              <a:gd name="connsiteY956" fmla="*/ 699806 h 6858000"/>
              <a:gd name="connsiteX957" fmla="*/ 1492092 w 7467600"/>
              <a:gd name="connsiteY957" fmla="*/ 800424 h 6858000"/>
              <a:gd name="connsiteX958" fmla="*/ 1455302 w 7467600"/>
              <a:gd name="connsiteY958" fmla="*/ 632913 h 6858000"/>
              <a:gd name="connsiteX959" fmla="*/ 1222336 w 7467600"/>
              <a:gd name="connsiteY959" fmla="*/ 9480 h 6858000"/>
              <a:gd name="connsiteX960" fmla="*/ 1214634 w 7467600"/>
              <a:gd name="connsiteY960" fmla="*/ 0 h 6858000"/>
              <a:gd name="connsiteX961" fmla="*/ 1289827 w 7467600"/>
              <a:gd name="connsiteY961" fmla="*/ 0 h 6858000"/>
              <a:gd name="connsiteX962" fmla="*/ 1321076 w 7467600"/>
              <a:gd name="connsiteY962" fmla="*/ 59722 h 6858000"/>
              <a:gd name="connsiteX963" fmla="*/ 1512579 w 7467600"/>
              <a:gd name="connsiteY963" fmla="*/ 626441 h 6858000"/>
              <a:gd name="connsiteX964" fmla="*/ 1506076 w 7467600"/>
              <a:gd name="connsiteY964" fmla="*/ 1089289 h 6858000"/>
              <a:gd name="connsiteX965" fmla="*/ 1486346 w 7467600"/>
              <a:gd name="connsiteY965" fmla="*/ 1079919 h 6858000"/>
              <a:gd name="connsiteX966" fmla="*/ 1070511 w 7467600"/>
              <a:gd name="connsiteY966" fmla="*/ 48609 h 6858000"/>
              <a:gd name="connsiteX967" fmla="*/ 1057230 w 7467600"/>
              <a:gd name="connsiteY967" fmla="*/ 0 h 6858000"/>
              <a:gd name="connsiteX968" fmla="*/ 43151 w 7467600"/>
              <a:gd name="connsiteY968" fmla="*/ 0 h 6858000"/>
              <a:gd name="connsiteX969" fmla="*/ 95283 w 7467600"/>
              <a:gd name="connsiteY969" fmla="*/ 0 h 6858000"/>
              <a:gd name="connsiteX970" fmla="*/ 300708 w 7467600"/>
              <a:gd name="connsiteY970" fmla="*/ 154571 h 6858000"/>
              <a:gd name="connsiteX971" fmla="*/ 530414 w 7467600"/>
              <a:gd name="connsiteY971" fmla="*/ 354673 h 6858000"/>
              <a:gd name="connsiteX972" fmla="*/ 333785 w 7467600"/>
              <a:gd name="connsiteY972" fmla="*/ 161564 h 6858000"/>
              <a:gd name="connsiteX973" fmla="*/ 147005 w 7467600"/>
              <a:gd name="connsiteY973" fmla="*/ 0 h 6858000"/>
              <a:gd name="connsiteX974" fmla="*/ 272509 w 7467600"/>
              <a:gd name="connsiteY974" fmla="*/ 0 h 6858000"/>
              <a:gd name="connsiteX975" fmla="*/ 326276 w 7467600"/>
              <a:gd name="connsiteY975" fmla="*/ 45847 h 6858000"/>
              <a:gd name="connsiteX976" fmla="*/ 823759 w 7467600"/>
              <a:gd name="connsiteY976" fmla="*/ 574145 h 6858000"/>
              <a:gd name="connsiteX977" fmla="*/ 811254 w 7467600"/>
              <a:gd name="connsiteY977" fmla="*/ 665546 h 6858000"/>
              <a:gd name="connsiteX978" fmla="*/ 154042 w 7467600"/>
              <a:gd name="connsiteY978" fmla="*/ 261522 h 6858000"/>
              <a:gd name="connsiteX979" fmla="*/ 13550 w 7467600"/>
              <a:gd name="connsiteY979" fmla="*/ 158423 h 6858000"/>
              <a:gd name="connsiteX980" fmla="*/ 0 w 7467600"/>
              <a:gd name="connsiteY980" fmla="*/ 146618 h 6858000"/>
              <a:gd name="connsiteX981" fmla="*/ 0 w 7467600"/>
              <a:gd name="connsiteY981" fmla="*/ 59161 h 6858000"/>
              <a:gd name="connsiteX982" fmla="*/ 45427 w 7467600"/>
              <a:gd name="connsiteY982" fmla="*/ 101078 h 6858000"/>
              <a:gd name="connsiteX983" fmla="*/ 630103 w 7467600"/>
              <a:gd name="connsiteY983" fmla="*/ 485885 h 6858000"/>
              <a:gd name="connsiteX984" fmla="*/ 532040 w 7467600"/>
              <a:gd name="connsiteY984" fmla="*/ 399359 h 6858000"/>
              <a:gd name="connsiteX985" fmla="*/ 517618 w 7467600"/>
              <a:gd name="connsiteY985" fmla="*/ 385726 h 6858000"/>
              <a:gd name="connsiteX986" fmla="*/ 285074 w 7467600"/>
              <a:gd name="connsiteY986" fmla="*/ 182755 h 6858000"/>
              <a:gd name="connsiteX987" fmla="*/ 43151 w 7467600"/>
              <a:gd name="connsiteY987"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12201 w 7467600"/>
              <a:gd name="connsiteY127" fmla="*/ 5128278 h 6858000"/>
              <a:gd name="connsiteX128" fmla="*/ 7450656 w 7467600"/>
              <a:gd name="connsiteY128" fmla="*/ 5134750 h 6858000"/>
              <a:gd name="connsiteX129" fmla="*/ 7467600 w 7467600"/>
              <a:gd name="connsiteY129" fmla="*/ 5142496 h 6858000"/>
              <a:gd name="connsiteX130" fmla="*/ 7312201 w 7467600"/>
              <a:gd name="connsiteY130" fmla="*/ 5128278 h 6858000"/>
              <a:gd name="connsiteX131" fmla="*/ 1903353 w 7467600"/>
              <a:gd name="connsiteY131" fmla="*/ 5044827 h 6858000"/>
              <a:gd name="connsiteX132" fmla="*/ 1936931 w 7467600"/>
              <a:gd name="connsiteY132" fmla="*/ 5093954 h 6858000"/>
              <a:gd name="connsiteX133" fmla="*/ 2195868 w 7467600"/>
              <a:gd name="connsiteY133" fmla="*/ 5396574 h 6858000"/>
              <a:gd name="connsiteX134" fmla="*/ 2088852 w 7467600"/>
              <a:gd name="connsiteY134" fmla="*/ 5166123 h 6858000"/>
              <a:gd name="connsiteX135" fmla="*/ 1958241 w 7467600"/>
              <a:gd name="connsiteY135" fmla="*/ 5067955 h 6858000"/>
              <a:gd name="connsiteX136" fmla="*/ 1903353 w 7467600"/>
              <a:gd name="connsiteY136" fmla="*/ 5044827 h 6858000"/>
              <a:gd name="connsiteX137" fmla="*/ 1979378 w 7467600"/>
              <a:gd name="connsiteY137" fmla="*/ 4769504 h 6858000"/>
              <a:gd name="connsiteX138" fmla="*/ 2882120 w 7467600"/>
              <a:gd name="connsiteY138" fmla="*/ 5064547 h 6858000"/>
              <a:gd name="connsiteX139" fmla="*/ 2793103 w 7467600"/>
              <a:gd name="connsiteY139" fmla="*/ 5039699 h 6858000"/>
              <a:gd name="connsiteX140" fmla="*/ 2770041 w 7467600"/>
              <a:gd name="connsiteY140" fmla="*/ 5033634 h 6858000"/>
              <a:gd name="connsiteX141" fmla="*/ 1979378 w 7467600"/>
              <a:gd name="connsiteY141" fmla="*/ 4769504 h 6858000"/>
              <a:gd name="connsiteX142" fmla="*/ 1927410 w 7467600"/>
              <a:gd name="connsiteY142" fmla="*/ 4716164 h 6858000"/>
              <a:gd name="connsiteX143" fmla="*/ 1959587 w 7467600"/>
              <a:gd name="connsiteY143" fmla="*/ 4728849 h 6858000"/>
              <a:gd name="connsiteX144" fmla="*/ 2777707 w 7467600"/>
              <a:gd name="connsiteY144" fmla="*/ 5003991 h 6858000"/>
              <a:gd name="connsiteX145" fmla="*/ 2800768 w 7467600"/>
              <a:gd name="connsiteY145" fmla="*/ 5010056 h 6858000"/>
              <a:gd name="connsiteX146" fmla="*/ 2879408 w 7467600"/>
              <a:gd name="connsiteY146" fmla="*/ 5031590 h 6858000"/>
              <a:gd name="connsiteX147" fmla="*/ 2862295 w 7467600"/>
              <a:gd name="connsiteY147" fmla="*/ 5022958 h 6858000"/>
              <a:gd name="connsiteX148" fmla="*/ 2813343 w 7467600"/>
              <a:gd name="connsiteY148" fmla="*/ 4998369 h 6858000"/>
              <a:gd name="connsiteX149" fmla="*/ 2646245 w 7467600"/>
              <a:gd name="connsiteY149" fmla="*/ 4930999 h 6858000"/>
              <a:gd name="connsiteX150" fmla="*/ 1999243 w 7467600"/>
              <a:gd name="connsiteY150" fmla="*/ 4730524 h 6858000"/>
              <a:gd name="connsiteX151" fmla="*/ 1979527 w 7467600"/>
              <a:gd name="connsiteY151" fmla="*/ 4726651 h 6858000"/>
              <a:gd name="connsiteX152" fmla="*/ 1927410 w 7467600"/>
              <a:gd name="connsiteY152" fmla="*/ 4716164 h 6858000"/>
              <a:gd name="connsiteX153" fmla="*/ 1997014 w 7467600"/>
              <a:gd name="connsiteY153" fmla="*/ 4698007 h 6858000"/>
              <a:gd name="connsiteX154" fmla="*/ 2005458 w 7467600"/>
              <a:gd name="connsiteY154" fmla="*/ 4699540 h 6858000"/>
              <a:gd name="connsiteX155" fmla="*/ 2657186 w 7467600"/>
              <a:gd name="connsiteY155" fmla="*/ 4901687 h 6858000"/>
              <a:gd name="connsiteX156" fmla="*/ 2826662 w 7467600"/>
              <a:gd name="connsiteY156" fmla="*/ 4970362 h 6858000"/>
              <a:gd name="connsiteX157" fmla="*/ 2876100 w 7467600"/>
              <a:gd name="connsiteY157" fmla="*/ 4995397 h 6858000"/>
              <a:gd name="connsiteX158" fmla="*/ 3042600 w 7467600"/>
              <a:gd name="connsiteY158" fmla="*/ 5059532 h 6858000"/>
              <a:gd name="connsiteX159" fmla="*/ 1997014 w 7467600"/>
              <a:gd name="connsiteY159" fmla="*/ 4698007 h 6858000"/>
              <a:gd name="connsiteX160" fmla="*/ 2305292 w 7467600"/>
              <a:gd name="connsiteY160" fmla="*/ 4219492 h 6858000"/>
              <a:gd name="connsiteX161" fmla="*/ 3360922 w 7467600"/>
              <a:gd name="connsiteY161" fmla="*/ 4529373 h 6858000"/>
              <a:gd name="connsiteX162" fmla="*/ 3492420 w 7467600"/>
              <a:gd name="connsiteY162" fmla="*/ 4510145 h 6858000"/>
              <a:gd name="connsiteX163" fmla="*/ 3364086 w 7467600"/>
              <a:gd name="connsiteY163" fmla="*/ 4480340 h 6858000"/>
              <a:gd name="connsiteX164" fmla="*/ 3225818 w 7467600"/>
              <a:gd name="connsiteY164" fmla="*/ 4411822 h 6858000"/>
              <a:gd name="connsiteX165" fmla="*/ 3129696 w 7467600"/>
              <a:gd name="connsiteY165" fmla="*/ 4360704 h 6858000"/>
              <a:gd name="connsiteX166" fmla="*/ 2814545 w 7467600"/>
              <a:gd name="connsiteY166" fmla="*/ 4282955 h 6858000"/>
              <a:gd name="connsiteX167" fmla="*/ 2305292 w 7467600"/>
              <a:gd name="connsiteY167" fmla="*/ 4219492 h 6858000"/>
              <a:gd name="connsiteX168" fmla="*/ 2626982 w 7467600"/>
              <a:gd name="connsiteY168" fmla="*/ 4206450 h 6858000"/>
              <a:gd name="connsiteX169" fmla="*/ 2490617 w 7467600"/>
              <a:gd name="connsiteY169" fmla="*/ 4206951 h 6858000"/>
              <a:gd name="connsiteX170" fmla="*/ 2819869 w 7467600"/>
              <a:gd name="connsiteY170" fmla="*/ 4252936 h 6858000"/>
              <a:gd name="connsiteX171" fmla="*/ 3143018 w 7467600"/>
              <a:gd name="connsiteY171" fmla="*/ 4332698 h 6858000"/>
              <a:gd name="connsiteX172" fmla="*/ 3241520 w 7467600"/>
              <a:gd name="connsiteY172" fmla="*/ 4385112 h 6858000"/>
              <a:gd name="connsiteX173" fmla="*/ 3374575 w 7467600"/>
              <a:gd name="connsiteY173" fmla="*/ 4451517 h 6858000"/>
              <a:gd name="connsiteX174" fmla="*/ 3505221 w 7467600"/>
              <a:gd name="connsiteY174" fmla="*/ 4480757 h 6858000"/>
              <a:gd name="connsiteX175" fmla="*/ 2626982 w 7467600"/>
              <a:gd name="connsiteY175" fmla="*/ 4206450 h 6858000"/>
              <a:gd name="connsiteX176" fmla="*/ 1310106 w 7467600"/>
              <a:gd name="connsiteY176" fmla="*/ 3943217 h 6858000"/>
              <a:gd name="connsiteX177" fmla="*/ 854994 w 7467600"/>
              <a:gd name="connsiteY177" fmla="*/ 4399136 h 6858000"/>
              <a:gd name="connsiteX178" fmla="*/ 742462 w 7467600"/>
              <a:gd name="connsiteY178" fmla="*/ 4594648 h 6858000"/>
              <a:gd name="connsiteX179" fmla="*/ 820602 w 7467600"/>
              <a:gd name="connsiteY179" fmla="*/ 4485915 h 6858000"/>
              <a:gd name="connsiteX180" fmla="*/ 878295 w 7467600"/>
              <a:gd name="connsiteY180" fmla="*/ 4403594 h 6858000"/>
              <a:gd name="connsiteX181" fmla="*/ 1240607 w 7467600"/>
              <a:gd name="connsiteY181" fmla="*/ 4010401 h 6858000"/>
              <a:gd name="connsiteX182" fmla="*/ 1310106 w 7467600"/>
              <a:gd name="connsiteY182" fmla="*/ 3943217 h 6858000"/>
              <a:gd name="connsiteX183" fmla="*/ 1423113 w 7467600"/>
              <a:gd name="connsiteY183" fmla="*/ 3874565 h 6858000"/>
              <a:gd name="connsiteX184" fmla="*/ 1260565 w 7467600"/>
              <a:gd name="connsiteY184" fmla="*/ 4031982 h 6858000"/>
              <a:gd name="connsiteX185" fmla="*/ 901900 w 7467600"/>
              <a:gd name="connsiteY185" fmla="*/ 4421236 h 6858000"/>
              <a:gd name="connsiteX186" fmla="*/ 845044 w 7467600"/>
              <a:gd name="connsiteY186" fmla="*/ 4502436 h 6858000"/>
              <a:gd name="connsiteX187" fmla="*/ 685926 w 7467600"/>
              <a:gd name="connsiteY187" fmla="*/ 4703069 h 6858000"/>
              <a:gd name="connsiteX188" fmla="*/ 684248 w 7467600"/>
              <a:gd name="connsiteY188" fmla="*/ 4706721 h 6858000"/>
              <a:gd name="connsiteX189" fmla="*/ 1423113 w 7467600"/>
              <a:gd name="connsiteY189" fmla="*/ 3874565 h 6858000"/>
              <a:gd name="connsiteX190" fmla="*/ 3316479 w 7467600"/>
              <a:gd name="connsiteY190" fmla="*/ 3872136 h 6858000"/>
              <a:gd name="connsiteX191" fmla="*/ 3546806 w 7467600"/>
              <a:gd name="connsiteY191" fmla="*/ 4356139 h 6858000"/>
              <a:gd name="connsiteX192" fmla="*/ 3364433 w 7467600"/>
              <a:gd name="connsiteY192" fmla="*/ 3953121 h 6858000"/>
              <a:gd name="connsiteX193" fmla="*/ 3316479 w 7467600"/>
              <a:gd name="connsiteY193" fmla="*/ 3872136 h 6858000"/>
              <a:gd name="connsiteX194" fmla="*/ 3291335 w 7467600"/>
              <a:gd name="connsiteY194" fmla="*/ 3767420 h 6858000"/>
              <a:gd name="connsiteX195" fmla="*/ 3390805 w 7467600"/>
              <a:gd name="connsiteY195" fmla="*/ 3937163 h 6858000"/>
              <a:gd name="connsiteX196" fmla="*/ 3579062 w 7467600"/>
              <a:gd name="connsiteY196" fmla="*/ 4359040 h 6858000"/>
              <a:gd name="connsiteX197" fmla="*/ 3467355 w 7467600"/>
              <a:gd name="connsiteY197" fmla="*/ 3988130 h 6858000"/>
              <a:gd name="connsiteX198" fmla="*/ 3310753 w 7467600"/>
              <a:gd name="connsiteY198" fmla="*/ 3787140 h 6858000"/>
              <a:gd name="connsiteX199" fmla="*/ 3291335 w 7467600"/>
              <a:gd name="connsiteY199" fmla="*/ 3767420 h 6858000"/>
              <a:gd name="connsiteX200" fmla="*/ 1635889 w 7467600"/>
              <a:gd name="connsiteY200" fmla="*/ 3709494 h 6858000"/>
              <a:gd name="connsiteX201" fmla="*/ 1634800 w 7467600"/>
              <a:gd name="connsiteY201" fmla="*/ 3731111 h 6858000"/>
              <a:gd name="connsiteX202" fmla="*/ 1635889 w 7467600"/>
              <a:gd name="connsiteY202" fmla="*/ 3709494 h 6858000"/>
              <a:gd name="connsiteX203" fmla="*/ 1510397 w 7467600"/>
              <a:gd name="connsiteY203" fmla="*/ 3684705 h 6858000"/>
              <a:gd name="connsiteX204" fmla="*/ 1146550 w 7467600"/>
              <a:gd name="connsiteY204" fmla="*/ 3802012 h 6858000"/>
              <a:gd name="connsiteX205" fmla="*/ 698834 w 7467600"/>
              <a:gd name="connsiteY205" fmla="*/ 3952272 h 6858000"/>
              <a:gd name="connsiteX206" fmla="*/ 34256 w 7467600"/>
              <a:gd name="connsiteY206" fmla="*/ 4347603 h 6858000"/>
              <a:gd name="connsiteX207" fmla="*/ 527241 w 7467600"/>
              <a:gd name="connsiteY207" fmla="*/ 4065078 h 6858000"/>
              <a:gd name="connsiteX208" fmla="*/ 1510397 w 7467600"/>
              <a:gd name="connsiteY208" fmla="*/ 3684705 h 6858000"/>
              <a:gd name="connsiteX209" fmla="*/ 1313114 w 7467600"/>
              <a:gd name="connsiteY209" fmla="*/ 3655216 h 6858000"/>
              <a:gd name="connsiteX210" fmla="*/ 1109304 w 7467600"/>
              <a:gd name="connsiteY210" fmla="*/ 3669030 h 6858000"/>
              <a:gd name="connsiteX211" fmla="*/ 8129 w 7467600"/>
              <a:gd name="connsiteY211" fmla="*/ 4330519 h 6858000"/>
              <a:gd name="connsiteX212" fmla="*/ 687572 w 7467600"/>
              <a:gd name="connsiteY212" fmla="*/ 3925629 h 6858000"/>
              <a:gd name="connsiteX213" fmla="*/ 1138365 w 7467600"/>
              <a:gd name="connsiteY213" fmla="*/ 3774515 h 6858000"/>
              <a:gd name="connsiteX214" fmla="*/ 1505579 w 7467600"/>
              <a:gd name="connsiteY214" fmla="*/ 3655526 h 6858000"/>
              <a:gd name="connsiteX215" fmla="*/ 1313114 w 7467600"/>
              <a:gd name="connsiteY215" fmla="*/ 3655216 h 6858000"/>
              <a:gd name="connsiteX216" fmla="*/ 3655073 w 7467600"/>
              <a:gd name="connsiteY216" fmla="*/ 3650884 h 6858000"/>
              <a:gd name="connsiteX217" fmla="*/ 3989938 w 7467600"/>
              <a:gd name="connsiteY217" fmla="*/ 3991685 h 6858000"/>
              <a:gd name="connsiteX218" fmla="*/ 4393907 w 7467600"/>
              <a:gd name="connsiteY218" fmla="*/ 4261258 h 6858000"/>
              <a:gd name="connsiteX219" fmla="*/ 4648051 w 7467600"/>
              <a:gd name="connsiteY219" fmla="*/ 4374051 h 6858000"/>
              <a:gd name="connsiteX220" fmla="*/ 4383389 w 7467600"/>
              <a:gd name="connsiteY220" fmla="*/ 4184369 h 6858000"/>
              <a:gd name="connsiteX221" fmla="*/ 4165508 w 7467600"/>
              <a:gd name="connsiteY221" fmla="*/ 4035196 h 6858000"/>
              <a:gd name="connsiteX222" fmla="*/ 4068162 w 7467600"/>
              <a:gd name="connsiteY222" fmla="*/ 3953394 h 6858000"/>
              <a:gd name="connsiteX223" fmla="*/ 3981416 w 7467600"/>
              <a:gd name="connsiteY223" fmla="*/ 3880482 h 6858000"/>
              <a:gd name="connsiteX224" fmla="*/ 3800147 w 7467600"/>
              <a:gd name="connsiteY224" fmla="*/ 3749872 h 6858000"/>
              <a:gd name="connsiteX225" fmla="*/ 3655073 w 7467600"/>
              <a:gd name="connsiteY225" fmla="*/ 3650884 h 6858000"/>
              <a:gd name="connsiteX226" fmla="*/ 3670252 w 7467600"/>
              <a:gd name="connsiteY226" fmla="*/ 3622798 h 6858000"/>
              <a:gd name="connsiteX227" fmla="*/ 3817258 w 7467600"/>
              <a:gd name="connsiteY227" fmla="*/ 3723577 h 6858000"/>
              <a:gd name="connsiteX228" fmla="*/ 4000461 w 7467600"/>
              <a:gd name="connsiteY228" fmla="*/ 3855966 h 6858000"/>
              <a:gd name="connsiteX229" fmla="*/ 4088180 w 7467600"/>
              <a:gd name="connsiteY229" fmla="*/ 3929774 h 6858000"/>
              <a:gd name="connsiteX230" fmla="*/ 4184555 w 7467600"/>
              <a:gd name="connsiteY230" fmla="*/ 4010683 h 6858000"/>
              <a:gd name="connsiteX231" fmla="*/ 4399563 w 7467600"/>
              <a:gd name="connsiteY231" fmla="*/ 4158106 h 6858000"/>
              <a:gd name="connsiteX232" fmla="*/ 4684469 w 7467600"/>
              <a:gd name="connsiteY232" fmla="*/ 4364680 h 6858000"/>
              <a:gd name="connsiteX233" fmla="*/ 4690271 w 7467600"/>
              <a:gd name="connsiteY233" fmla="*/ 4370034 h 6858000"/>
              <a:gd name="connsiteX234" fmla="*/ 4136093 w 7467600"/>
              <a:gd name="connsiteY234" fmla="*/ 3858466 h 6858000"/>
              <a:gd name="connsiteX235" fmla="*/ 3670252 w 7467600"/>
              <a:gd name="connsiteY235" fmla="*/ 3622798 h 6858000"/>
              <a:gd name="connsiteX236" fmla="*/ 4440129 w 7467600"/>
              <a:gd name="connsiteY236" fmla="*/ 3448571 h 6858000"/>
              <a:gd name="connsiteX237" fmla="*/ 4856525 w 7467600"/>
              <a:gd name="connsiteY237" fmla="*/ 3915351 h 6858000"/>
              <a:gd name="connsiteX238" fmla="*/ 5059055 w 7467600"/>
              <a:gd name="connsiteY238" fmla="*/ 4108918 h 6858000"/>
              <a:gd name="connsiteX239" fmla="*/ 5290070 w 7467600"/>
              <a:gd name="connsiteY239" fmla="*/ 4263619 h 6858000"/>
              <a:gd name="connsiteX240" fmla="*/ 4834991 w 7467600"/>
              <a:gd name="connsiteY240" fmla="*/ 3830985 h 6858000"/>
              <a:gd name="connsiteX241" fmla="*/ 4440129 w 7467600"/>
              <a:gd name="connsiteY241" fmla="*/ 3448571 h 6858000"/>
              <a:gd name="connsiteX242" fmla="*/ 4441737 w 7467600"/>
              <a:gd name="connsiteY242" fmla="*/ 3399734 h 6858000"/>
              <a:gd name="connsiteX243" fmla="*/ 4431236 w 7467600"/>
              <a:gd name="connsiteY243" fmla="*/ 3400954 h 6858000"/>
              <a:gd name="connsiteX244" fmla="*/ 4557150 w 7467600"/>
              <a:gd name="connsiteY244" fmla="*/ 3510023 h 6858000"/>
              <a:gd name="connsiteX245" fmla="*/ 4856936 w 7467600"/>
              <a:gd name="connsiteY245" fmla="*/ 3809146 h 6858000"/>
              <a:gd name="connsiteX246" fmla="*/ 5111996 w 7467600"/>
              <a:gd name="connsiteY246" fmla="*/ 4065759 h 6858000"/>
              <a:gd name="connsiteX247" fmla="*/ 5388878 w 7467600"/>
              <a:gd name="connsiteY247" fmla="*/ 4300185 h 6858000"/>
              <a:gd name="connsiteX248" fmla="*/ 5425556 w 7467600"/>
              <a:gd name="connsiteY248" fmla="*/ 4308967 h 6858000"/>
              <a:gd name="connsiteX249" fmla="*/ 4943646 w 7467600"/>
              <a:gd name="connsiteY249" fmla="*/ 3822916 h 6858000"/>
              <a:gd name="connsiteX250" fmla="*/ 4594837 w 7467600"/>
              <a:gd name="connsiteY250" fmla="*/ 3532274 h 6858000"/>
              <a:gd name="connsiteX251" fmla="*/ 4441737 w 7467600"/>
              <a:gd name="connsiteY251" fmla="*/ 3399734 h 6858000"/>
              <a:gd name="connsiteX252" fmla="*/ 5425834 w 7467600"/>
              <a:gd name="connsiteY252" fmla="*/ 3162785 h 6858000"/>
              <a:gd name="connsiteX253" fmla="*/ 5401644 w 7467600"/>
              <a:gd name="connsiteY253" fmla="*/ 3617847 h 6858000"/>
              <a:gd name="connsiteX254" fmla="*/ 5467256 w 7467600"/>
              <a:gd name="connsiteY254" fmla="*/ 4175494 h 6858000"/>
              <a:gd name="connsiteX255" fmla="*/ 5448069 w 7467600"/>
              <a:gd name="connsiteY255" fmla="*/ 3567554 h 6858000"/>
              <a:gd name="connsiteX256" fmla="*/ 5425834 w 7467600"/>
              <a:gd name="connsiteY256" fmla="*/ 3162785 h 6858000"/>
              <a:gd name="connsiteX257" fmla="*/ 1318687 w 7467600"/>
              <a:gd name="connsiteY257" fmla="*/ 3113840 h 6858000"/>
              <a:gd name="connsiteX258" fmla="*/ 1066793 w 7467600"/>
              <a:gd name="connsiteY258" fmla="*/ 3212171 h 6858000"/>
              <a:gd name="connsiteX259" fmla="*/ 993319 w 7467600"/>
              <a:gd name="connsiteY259" fmla="*/ 3247648 h 6858000"/>
              <a:gd name="connsiteX260" fmla="*/ 853081 w 7467600"/>
              <a:gd name="connsiteY260" fmla="*/ 3312410 h 6858000"/>
              <a:gd name="connsiteX261" fmla="*/ 805957 w 7467600"/>
              <a:gd name="connsiteY261" fmla="*/ 3330443 h 6858000"/>
              <a:gd name="connsiteX262" fmla="*/ 1318687 w 7467600"/>
              <a:gd name="connsiteY262" fmla="*/ 3113840 h 6858000"/>
              <a:gd name="connsiteX263" fmla="*/ 5453702 w 7467600"/>
              <a:gd name="connsiteY263" fmla="*/ 3090882 h 6858000"/>
              <a:gd name="connsiteX264" fmla="*/ 5480135 w 7467600"/>
              <a:gd name="connsiteY264" fmla="*/ 3565802 h 6858000"/>
              <a:gd name="connsiteX265" fmla="*/ 5499023 w 7467600"/>
              <a:gd name="connsiteY265" fmla="*/ 4166310 h 6858000"/>
              <a:gd name="connsiteX266" fmla="*/ 5547022 w 7467600"/>
              <a:gd name="connsiteY266" fmla="*/ 3607838 h 6858000"/>
              <a:gd name="connsiteX267" fmla="*/ 5515964 w 7467600"/>
              <a:gd name="connsiteY267" fmla="*/ 3378541 h 6858000"/>
              <a:gd name="connsiteX268" fmla="*/ 5453702 w 7467600"/>
              <a:gd name="connsiteY268" fmla="*/ 3090882 h 6858000"/>
              <a:gd name="connsiteX269" fmla="*/ 1238695 w 7467600"/>
              <a:gd name="connsiteY269" fmla="*/ 3076820 h 6858000"/>
              <a:gd name="connsiteX270" fmla="*/ 716371 w 7467600"/>
              <a:gd name="connsiteY270" fmla="*/ 3293249 h 6858000"/>
              <a:gd name="connsiteX271" fmla="*/ 579522 w 7467600"/>
              <a:gd name="connsiteY271" fmla="*/ 3371759 h 6858000"/>
              <a:gd name="connsiteX272" fmla="*/ 600288 w 7467600"/>
              <a:gd name="connsiteY272" fmla="*/ 3365555 h 6858000"/>
              <a:gd name="connsiteX273" fmla="*/ 840692 w 7467600"/>
              <a:gd name="connsiteY273" fmla="*/ 3284921 h 6858000"/>
              <a:gd name="connsiteX274" fmla="*/ 979248 w 7467600"/>
              <a:gd name="connsiteY274" fmla="*/ 3221003 h 6858000"/>
              <a:gd name="connsiteX275" fmla="*/ 1053282 w 7467600"/>
              <a:gd name="connsiteY275" fmla="*/ 3185247 h 6858000"/>
              <a:gd name="connsiteX276" fmla="*/ 1320603 w 7467600"/>
              <a:gd name="connsiteY276" fmla="*/ 3081281 h 6858000"/>
              <a:gd name="connsiteX277" fmla="*/ 1238695 w 7467600"/>
              <a:gd name="connsiteY277" fmla="*/ 3076820 h 6858000"/>
              <a:gd name="connsiteX278" fmla="*/ 5425627 w 7467600"/>
              <a:gd name="connsiteY278" fmla="*/ 2954192 h 6858000"/>
              <a:gd name="connsiteX279" fmla="*/ 5470770 w 7467600"/>
              <a:gd name="connsiteY279" fmla="*/ 3005435 h 6858000"/>
              <a:gd name="connsiteX280" fmla="*/ 5519779 w 7467600"/>
              <a:gd name="connsiteY280" fmla="*/ 4359223 h 6858000"/>
              <a:gd name="connsiteX281" fmla="*/ 5520293 w 7467600"/>
              <a:gd name="connsiteY281" fmla="*/ 4360602 h 6858000"/>
              <a:gd name="connsiteX282" fmla="*/ 5767221 w 7467600"/>
              <a:gd name="connsiteY282" fmla="*/ 4665564 h 6858000"/>
              <a:gd name="connsiteX283" fmla="*/ 6937169 w 7467600"/>
              <a:gd name="connsiteY283" fmla="*/ 4815941 h 6858000"/>
              <a:gd name="connsiteX284" fmla="*/ 6953922 w 7467600"/>
              <a:gd name="connsiteY284" fmla="*/ 4890068 h 6858000"/>
              <a:gd name="connsiteX285" fmla="*/ 6071359 w 7467600"/>
              <a:gd name="connsiteY285" fmla="*/ 4770770 h 6858000"/>
              <a:gd name="connsiteX286" fmla="*/ 6038839 w 7467600"/>
              <a:gd name="connsiteY286" fmla="*/ 4764474 h 6858000"/>
              <a:gd name="connsiteX287" fmla="*/ 6038706 w 7467600"/>
              <a:gd name="connsiteY287" fmla="*/ 4763847 h 6858000"/>
              <a:gd name="connsiteX288" fmla="*/ 6037784 w 7467600"/>
              <a:gd name="connsiteY288" fmla="*/ 4764270 h 6858000"/>
              <a:gd name="connsiteX289" fmla="*/ 6038839 w 7467600"/>
              <a:gd name="connsiteY289" fmla="*/ 4764474 h 6858000"/>
              <a:gd name="connsiteX290" fmla="*/ 6040338 w 7467600"/>
              <a:gd name="connsiteY290" fmla="*/ 4771418 h 6858000"/>
              <a:gd name="connsiteX291" fmla="*/ 6024488 w 7467600"/>
              <a:gd name="connsiteY291" fmla="*/ 4809903 h 6858000"/>
              <a:gd name="connsiteX292" fmla="*/ 5599771 w 7467600"/>
              <a:gd name="connsiteY292" fmla="*/ 5509652 h 6858000"/>
              <a:gd name="connsiteX293" fmla="*/ 5548843 w 7467600"/>
              <a:gd name="connsiteY293" fmla="*/ 5563845 h 6858000"/>
              <a:gd name="connsiteX294" fmla="*/ 5940952 w 7467600"/>
              <a:gd name="connsiteY294" fmla="*/ 6250028 h 6858000"/>
              <a:gd name="connsiteX295" fmla="*/ 6043441 w 7467600"/>
              <a:gd name="connsiteY295" fmla="*/ 6665847 h 6858000"/>
              <a:gd name="connsiteX296" fmla="*/ 6093432 w 7467600"/>
              <a:gd name="connsiteY296" fmla="*/ 6858000 h 6858000"/>
              <a:gd name="connsiteX297" fmla="*/ 6034344 w 7467600"/>
              <a:gd name="connsiteY297" fmla="*/ 6858000 h 6858000"/>
              <a:gd name="connsiteX298" fmla="*/ 6026679 w 7467600"/>
              <a:gd name="connsiteY298" fmla="*/ 6836959 h 6858000"/>
              <a:gd name="connsiteX299" fmla="*/ 5800441 w 7467600"/>
              <a:gd name="connsiteY299" fmla="*/ 6335286 h 6858000"/>
              <a:gd name="connsiteX300" fmla="*/ 5526562 w 7467600"/>
              <a:gd name="connsiteY300" fmla="*/ 5705388 h 6858000"/>
              <a:gd name="connsiteX301" fmla="*/ 5519640 w 7467600"/>
              <a:gd name="connsiteY301" fmla="*/ 5683774 h 6858000"/>
              <a:gd name="connsiteX302" fmla="*/ 5844559 w 7467600"/>
              <a:gd name="connsiteY302" fmla="*/ 6553349 h 6858000"/>
              <a:gd name="connsiteX303" fmla="*/ 5975994 w 7467600"/>
              <a:gd name="connsiteY303" fmla="*/ 6858000 h 6858000"/>
              <a:gd name="connsiteX304" fmla="*/ 5898547 w 7467600"/>
              <a:gd name="connsiteY304" fmla="*/ 6858000 h 6858000"/>
              <a:gd name="connsiteX305" fmla="*/ 5682041 w 7467600"/>
              <a:gd name="connsiteY305" fmla="*/ 6355860 h 6858000"/>
              <a:gd name="connsiteX306" fmla="*/ 5461758 w 7467600"/>
              <a:gd name="connsiteY306" fmla="*/ 5820220 h 6858000"/>
              <a:gd name="connsiteX307" fmla="*/ 5237282 w 7467600"/>
              <a:gd name="connsiteY307" fmla="*/ 6579086 h 6858000"/>
              <a:gd name="connsiteX308" fmla="*/ 5115009 w 7467600"/>
              <a:gd name="connsiteY308" fmla="*/ 6858000 h 6858000"/>
              <a:gd name="connsiteX309" fmla="*/ 5028074 w 7467600"/>
              <a:gd name="connsiteY309" fmla="*/ 6858000 h 6858000"/>
              <a:gd name="connsiteX310" fmla="*/ 5079508 w 7467600"/>
              <a:gd name="connsiteY310" fmla="*/ 6749074 h 6858000"/>
              <a:gd name="connsiteX311" fmla="*/ 5371846 w 7467600"/>
              <a:gd name="connsiteY311" fmla="*/ 5924413 h 6858000"/>
              <a:gd name="connsiteX312" fmla="*/ 5270512 w 7467600"/>
              <a:gd name="connsiteY312" fmla="*/ 6138975 h 6858000"/>
              <a:gd name="connsiteX313" fmla="*/ 5062409 w 7467600"/>
              <a:gd name="connsiteY313" fmla="*/ 6653544 h 6858000"/>
              <a:gd name="connsiteX314" fmla="*/ 5036628 w 7467600"/>
              <a:gd name="connsiteY314" fmla="*/ 6754247 h 6858000"/>
              <a:gd name="connsiteX315" fmla="*/ 5009112 w 7467600"/>
              <a:gd name="connsiteY315" fmla="*/ 6858000 h 6858000"/>
              <a:gd name="connsiteX316" fmla="*/ 4976679 w 7467600"/>
              <a:gd name="connsiteY316" fmla="*/ 6858000 h 6858000"/>
              <a:gd name="connsiteX317" fmla="*/ 5006537 w 7467600"/>
              <a:gd name="connsiteY317" fmla="*/ 6747068 h 6858000"/>
              <a:gd name="connsiteX318" fmla="*/ 5032723 w 7467600"/>
              <a:gd name="connsiteY318" fmla="*/ 6644957 h 6858000"/>
              <a:gd name="connsiteX319" fmla="*/ 5242949 w 7467600"/>
              <a:gd name="connsiteY319" fmla="*/ 6125175 h 6858000"/>
              <a:gd name="connsiteX320" fmla="*/ 5286321 w 7467600"/>
              <a:gd name="connsiteY320" fmla="*/ 6033555 h 6858000"/>
              <a:gd name="connsiteX321" fmla="*/ 5008210 w 7467600"/>
              <a:gd name="connsiteY321" fmla="*/ 6649194 h 6858000"/>
              <a:gd name="connsiteX322" fmla="*/ 4986321 w 7467600"/>
              <a:gd name="connsiteY322" fmla="*/ 6765687 h 6858000"/>
              <a:gd name="connsiteX323" fmla="*/ 4973474 w 7467600"/>
              <a:gd name="connsiteY323" fmla="*/ 6858000 h 6858000"/>
              <a:gd name="connsiteX324" fmla="*/ 4907178 w 7467600"/>
              <a:gd name="connsiteY324" fmla="*/ 6858000 h 6858000"/>
              <a:gd name="connsiteX325" fmla="*/ 4910810 w 7467600"/>
              <a:gd name="connsiteY325" fmla="*/ 6829660 h 6858000"/>
              <a:gd name="connsiteX326" fmla="*/ 4987461 w 7467600"/>
              <a:gd name="connsiteY326" fmla="*/ 6432994 h 6858000"/>
              <a:gd name="connsiteX327" fmla="*/ 5179262 w 7467600"/>
              <a:gd name="connsiteY327" fmla="*/ 6035044 h 6858000"/>
              <a:gd name="connsiteX328" fmla="*/ 4689678 w 7467600"/>
              <a:gd name="connsiteY328" fmla="*/ 6440241 h 6858000"/>
              <a:gd name="connsiteX329" fmla="*/ 4477543 w 7467600"/>
              <a:gd name="connsiteY329" fmla="*/ 6674836 h 6858000"/>
              <a:gd name="connsiteX330" fmla="*/ 4329957 w 7467600"/>
              <a:gd name="connsiteY330" fmla="*/ 6858000 h 6858000"/>
              <a:gd name="connsiteX331" fmla="*/ 4218595 w 7467600"/>
              <a:gd name="connsiteY331" fmla="*/ 6858000 h 6858000"/>
              <a:gd name="connsiteX332" fmla="*/ 4368888 w 7467600"/>
              <a:gd name="connsiteY332" fmla="*/ 6668412 h 6858000"/>
              <a:gd name="connsiteX333" fmla="*/ 4563091 w 7467600"/>
              <a:gd name="connsiteY333" fmla="*/ 6442508 h 6858000"/>
              <a:gd name="connsiteX334" fmla="*/ 5387324 w 7467600"/>
              <a:gd name="connsiteY334" fmla="*/ 5705830 h 6858000"/>
              <a:gd name="connsiteX335" fmla="*/ 5073620 w 7467600"/>
              <a:gd name="connsiteY335" fmla="*/ 5955437 h 6858000"/>
              <a:gd name="connsiteX336" fmla="*/ 4689789 w 7467600"/>
              <a:gd name="connsiteY336" fmla="*/ 6268382 h 6858000"/>
              <a:gd name="connsiteX337" fmla="*/ 4418722 w 7467600"/>
              <a:gd name="connsiteY337" fmla="*/ 6570886 h 6858000"/>
              <a:gd name="connsiteX338" fmla="*/ 4214944 w 7467600"/>
              <a:gd name="connsiteY338" fmla="*/ 6858000 h 6858000"/>
              <a:gd name="connsiteX339" fmla="*/ 4177898 w 7467600"/>
              <a:gd name="connsiteY339" fmla="*/ 6858000 h 6858000"/>
              <a:gd name="connsiteX340" fmla="*/ 4391597 w 7467600"/>
              <a:gd name="connsiteY340" fmla="*/ 6556370 h 6858000"/>
              <a:gd name="connsiteX341" fmla="*/ 4668889 w 7467600"/>
              <a:gd name="connsiteY341" fmla="*/ 6246399 h 6858000"/>
              <a:gd name="connsiteX342" fmla="*/ 5055427 w 7467600"/>
              <a:gd name="connsiteY342" fmla="*/ 5931476 h 6858000"/>
              <a:gd name="connsiteX343" fmla="*/ 5371814 w 7467600"/>
              <a:gd name="connsiteY343" fmla="*/ 5678975 h 6858000"/>
              <a:gd name="connsiteX344" fmla="*/ 4987918 w 7467600"/>
              <a:gd name="connsiteY344" fmla="*/ 5838701 h 6858000"/>
              <a:gd name="connsiteX345" fmla="*/ 4317146 w 7467600"/>
              <a:gd name="connsiteY345" fmla="*/ 6587716 h 6858000"/>
              <a:gd name="connsiteX346" fmla="*/ 4171627 w 7467600"/>
              <a:gd name="connsiteY346" fmla="*/ 6858000 h 6858000"/>
              <a:gd name="connsiteX347" fmla="*/ 4081585 w 7467600"/>
              <a:gd name="connsiteY347" fmla="*/ 6858000 h 6858000"/>
              <a:gd name="connsiteX348" fmla="*/ 4238603 w 7467600"/>
              <a:gd name="connsiteY348" fmla="*/ 6559341 h 6858000"/>
              <a:gd name="connsiteX349" fmla="*/ 4778333 w 7467600"/>
              <a:gd name="connsiteY349" fmla="*/ 5873626 h 6858000"/>
              <a:gd name="connsiteX350" fmla="*/ 5414185 w 7467600"/>
              <a:gd name="connsiteY350" fmla="*/ 5573882 h 6858000"/>
              <a:gd name="connsiteX351" fmla="*/ 5959648 w 7467600"/>
              <a:gd name="connsiteY351" fmla="*/ 4760797 h 6858000"/>
              <a:gd name="connsiteX352" fmla="*/ 5355019 w 7467600"/>
              <a:gd name="connsiteY352" fmla="*/ 4734672 h 6858000"/>
              <a:gd name="connsiteX353" fmla="*/ 5083565 w 7467600"/>
              <a:gd name="connsiteY353" fmla="*/ 5179121 h 6858000"/>
              <a:gd name="connsiteX354" fmla="*/ 4713577 w 7467600"/>
              <a:gd name="connsiteY354" fmla="*/ 5616803 h 6858000"/>
              <a:gd name="connsiteX355" fmla="*/ 3989559 w 7467600"/>
              <a:gd name="connsiteY355" fmla="*/ 6145945 h 6858000"/>
              <a:gd name="connsiteX356" fmla="*/ 3939824 w 7467600"/>
              <a:gd name="connsiteY356" fmla="*/ 6066900 h 6858000"/>
              <a:gd name="connsiteX357" fmla="*/ 4584537 w 7467600"/>
              <a:gd name="connsiteY357" fmla="*/ 5324826 h 6858000"/>
              <a:gd name="connsiteX358" fmla="*/ 5037105 w 7467600"/>
              <a:gd name="connsiteY358" fmla="*/ 5088765 h 6858000"/>
              <a:gd name="connsiteX359" fmla="*/ 5039930 w 7467600"/>
              <a:gd name="connsiteY359" fmla="*/ 5089585 h 6858000"/>
              <a:gd name="connsiteX360" fmla="*/ 5263764 w 7467600"/>
              <a:gd name="connsiteY360" fmla="*/ 4735525 h 6858000"/>
              <a:gd name="connsiteX361" fmla="*/ 4086300 w 7467600"/>
              <a:gd name="connsiteY361" fmla="*/ 4884599 h 6858000"/>
              <a:gd name="connsiteX362" fmla="*/ 4085485 w 7467600"/>
              <a:gd name="connsiteY362" fmla="*/ 4899070 h 6858000"/>
              <a:gd name="connsiteX363" fmla="*/ 3871915 w 7467600"/>
              <a:gd name="connsiteY363" fmla="*/ 5253645 h 6858000"/>
              <a:gd name="connsiteX364" fmla="*/ 3799374 w 7467600"/>
              <a:gd name="connsiteY364" fmla="*/ 5466127 h 6858000"/>
              <a:gd name="connsiteX365" fmla="*/ 3498850 w 7467600"/>
              <a:gd name="connsiteY365" fmla="*/ 6661888 h 6858000"/>
              <a:gd name="connsiteX366" fmla="*/ 3399216 w 7467600"/>
              <a:gd name="connsiteY366" fmla="*/ 6858000 h 6858000"/>
              <a:gd name="connsiteX367" fmla="*/ 3303688 w 7467600"/>
              <a:gd name="connsiteY367" fmla="*/ 6858000 h 6858000"/>
              <a:gd name="connsiteX368" fmla="*/ 3391774 w 7467600"/>
              <a:gd name="connsiteY368" fmla="*/ 6697181 h 6858000"/>
              <a:gd name="connsiteX369" fmla="*/ 3735540 w 7467600"/>
              <a:gd name="connsiteY369" fmla="*/ 5546923 h 6858000"/>
              <a:gd name="connsiteX370" fmla="*/ 3729438 w 7467600"/>
              <a:gd name="connsiteY370" fmla="*/ 5569058 h 6858000"/>
              <a:gd name="connsiteX371" fmla="*/ 3707782 w 7467600"/>
              <a:gd name="connsiteY371" fmla="*/ 5644908 h 6858000"/>
              <a:gd name="connsiteX372" fmla="*/ 3583827 w 7467600"/>
              <a:gd name="connsiteY372" fmla="*/ 6039215 h 6858000"/>
              <a:gd name="connsiteX373" fmla="*/ 3547861 w 7467600"/>
              <a:gd name="connsiteY373" fmla="*/ 6129609 h 6858000"/>
              <a:gd name="connsiteX374" fmla="*/ 3490905 w 7467600"/>
              <a:gd name="connsiteY374" fmla="*/ 6277660 h 6858000"/>
              <a:gd name="connsiteX375" fmla="*/ 3455859 w 7467600"/>
              <a:gd name="connsiteY375" fmla="*/ 6391301 h 6858000"/>
              <a:gd name="connsiteX376" fmla="*/ 3429112 w 7467600"/>
              <a:gd name="connsiteY376" fmla="*/ 6479469 h 6858000"/>
              <a:gd name="connsiteX377" fmla="*/ 3304862 w 7467600"/>
              <a:gd name="connsiteY377" fmla="*/ 6796476 h 6858000"/>
              <a:gd name="connsiteX378" fmla="*/ 3276071 w 7467600"/>
              <a:gd name="connsiteY378" fmla="*/ 6858000 h 6858000"/>
              <a:gd name="connsiteX379" fmla="*/ 3240805 w 7467600"/>
              <a:gd name="connsiteY379" fmla="*/ 6858000 h 6858000"/>
              <a:gd name="connsiteX380" fmla="*/ 3275917 w 7467600"/>
              <a:gd name="connsiteY380" fmla="*/ 6783192 h 6858000"/>
              <a:gd name="connsiteX381" fmla="*/ 3399358 w 7467600"/>
              <a:gd name="connsiteY381" fmla="*/ 6469011 h 6858000"/>
              <a:gd name="connsiteX382" fmla="*/ 3425650 w 7467600"/>
              <a:gd name="connsiteY382" fmla="*/ 6381333 h 6858000"/>
              <a:gd name="connsiteX383" fmla="*/ 3460661 w 7467600"/>
              <a:gd name="connsiteY383" fmla="*/ 6266763 h 6858000"/>
              <a:gd name="connsiteX384" fmla="*/ 3518021 w 7467600"/>
              <a:gd name="connsiteY384" fmla="*/ 6117298 h 6858000"/>
              <a:gd name="connsiteX385" fmla="*/ 3554035 w 7467600"/>
              <a:gd name="connsiteY385" fmla="*/ 6027832 h 6858000"/>
              <a:gd name="connsiteX386" fmla="*/ 3677174 w 7467600"/>
              <a:gd name="connsiteY386" fmla="*/ 5636351 h 6858000"/>
              <a:gd name="connsiteX387" fmla="*/ 3698819 w 7467600"/>
              <a:gd name="connsiteY387" fmla="*/ 5560503 h 6858000"/>
              <a:gd name="connsiteX388" fmla="*/ 3702094 w 7467600"/>
              <a:gd name="connsiteY388" fmla="*/ 5549194 h 6858000"/>
              <a:gd name="connsiteX389" fmla="*/ 3398355 w 7467600"/>
              <a:gd name="connsiteY389" fmla="*/ 6094603 h 6858000"/>
              <a:gd name="connsiteX390" fmla="*/ 3193941 w 7467600"/>
              <a:gd name="connsiteY390" fmla="*/ 6798775 h 6858000"/>
              <a:gd name="connsiteX391" fmla="*/ 3184140 w 7467600"/>
              <a:gd name="connsiteY391" fmla="*/ 6858000 h 6858000"/>
              <a:gd name="connsiteX392" fmla="*/ 3099978 w 7467600"/>
              <a:gd name="connsiteY392" fmla="*/ 6858000 h 6858000"/>
              <a:gd name="connsiteX393" fmla="*/ 3101556 w 7467600"/>
              <a:gd name="connsiteY393" fmla="*/ 6843337 h 6858000"/>
              <a:gd name="connsiteX394" fmla="*/ 3370162 w 7467600"/>
              <a:gd name="connsiteY394" fmla="*/ 5785550 h 6858000"/>
              <a:gd name="connsiteX395" fmla="*/ 3746477 w 7467600"/>
              <a:gd name="connsiteY395" fmla="*/ 5377889 h 6858000"/>
              <a:gd name="connsiteX396" fmla="*/ 3863399 w 7467600"/>
              <a:gd name="connsiteY396" fmla="*/ 5087257 h 6858000"/>
              <a:gd name="connsiteX397" fmla="*/ 3968712 w 7467600"/>
              <a:gd name="connsiteY397" fmla="*/ 4913989 h 6858000"/>
              <a:gd name="connsiteX398" fmla="*/ 2792390 w 7467600"/>
              <a:gd name="connsiteY398" fmla="*/ 5382974 h 6858000"/>
              <a:gd name="connsiteX399" fmla="*/ 2714982 w 7467600"/>
              <a:gd name="connsiteY399" fmla="*/ 5427051 h 6858000"/>
              <a:gd name="connsiteX400" fmla="*/ 2813361 w 7467600"/>
              <a:gd name="connsiteY400" fmla="*/ 6023912 h 6858000"/>
              <a:gd name="connsiteX401" fmla="*/ 2688430 w 7467600"/>
              <a:gd name="connsiteY401" fmla="*/ 6801564 h 6858000"/>
              <a:gd name="connsiteX402" fmla="*/ 2629626 w 7467600"/>
              <a:gd name="connsiteY402" fmla="*/ 6763394 h 6858000"/>
              <a:gd name="connsiteX403" fmla="*/ 2565328 w 7467600"/>
              <a:gd name="connsiteY403" fmla="*/ 5516399 h 6858000"/>
              <a:gd name="connsiteX404" fmla="*/ 1922999 w 7467600"/>
              <a:gd name="connsiteY404" fmla="*/ 5980343 h 6858000"/>
              <a:gd name="connsiteX405" fmla="*/ 1950261 w 7467600"/>
              <a:gd name="connsiteY405" fmla="*/ 6405858 h 6858000"/>
              <a:gd name="connsiteX406" fmla="*/ 2365554 w 7467600"/>
              <a:gd name="connsiteY406" fmla="*/ 6759107 h 6858000"/>
              <a:gd name="connsiteX407" fmla="*/ 2424142 w 7467600"/>
              <a:gd name="connsiteY407" fmla="*/ 6858000 h 6858000"/>
              <a:gd name="connsiteX408" fmla="*/ 2395994 w 7467600"/>
              <a:gd name="connsiteY408" fmla="*/ 6858000 h 6858000"/>
              <a:gd name="connsiteX409" fmla="*/ 2392863 w 7467600"/>
              <a:gd name="connsiteY409" fmla="*/ 6852964 h 6858000"/>
              <a:gd name="connsiteX410" fmla="*/ 2017589 w 7467600"/>
              <a:gd name="connsiteY410" fmla="*/ 6493982 h 6858000"/>
              <a:gd name="connsiteX411" fmla="*/ 2147336 w 7467600"/>
              <a:gd name="connsiteY411" fmla="*/ 6594052 h 6858000"/>
              <a:gd name="connsiteX412" fmla="*/ 2207047 w 7467600"/>
              <a:gd name="connsiteY412" fmla="*/ 6654540 h 6858000"/>
              <a:gd name="connsiteX413" fmla="*/ 2299106 w 7467600"/>
              <a:gd name="connsiteY413" fmla="*/ 6778931 h 6858000"/>
              <a:gd name="connsiteX414" fmla="*/ 2314430 w 7467600"/>
              <a:gd name="connsiteY414" fmla="*/ 6801144 h 6858000"/>
              <a:gd name="connsiteX415" fmla="*/ 2352406 w 7467600"/>
              <a:gd name="connsiteY415" fmla="*/ 6858000 h 6858000"/>
              <a:gd name="connsiteX416" fmla="*/ 2314492 w 7467600"/>
              <a:gd name="connsiteY416" fmla="*/ 6858000 h 6858000"/>
              <a:gd name="connsiteX417" fmla="*/ 2288095 w 7467600"/>
              <a:gd name="connsiteY417" fmla="*/ 6818030 h 6858000"/>
              <a:gd name="connsiteX418" fmla="*/ 2272768 w 7467600"/>
              <a:gd name="connsiteY418" fmla="*/ 6795822 h 6858000"/>
              <a:gd name="connsiteX419" fmla="*/ 2182715 w 7467600"/>
              <a:gd name="connsiteY419" fmla="*/ 6675071 h 6858000"/>
              <a:gd name="connsiteX420" fmla="*/ 2032061 w 7467600"/>
              <a:gd name="connsiteY420" fmla="*/ 6541380 h 6858000"/>
              <a:gd name="connsiteX421" fmla="*/ 2257220 w 7467600"/>
              <a:gd name="connsiteY421" fmla="*/ 6826257 h 6858000"/>
              <a:gd name="connsiteX422" fmla="*/ 2281324 w 7467600"/>
              <a:gd name="connsiteY422" fmla="*/ 6858000 h 6858000"/>
              <a:gd name="connsiteX423" fmla="*/ 2242860 w 7467600"/>
              <a:gd name="connsiteY423" fmla="*/ 6858000 h 6858000"/>
              <a:gd name="connsiteX424" fmla="*/ 2232818 w 7467600"/>
              <a:gd name="connsiteY424" fmla="*/ 6844926 h 6858000"/>
              <a:gd name="connsiteX425" fmla="*/ 1990172 w 7467600"/>
              <a:gd name="connsiteY425" fmla="*/ 6542121 h 6858000"/>
              <a:gd name="connsiteX426" fmla="*/ 2124090 w 7467600"/>
              <a:gd name="connsiteY426" fmla="*/ 6761017 h 6858000"/>
              <a:gd name="connsiteX427" fmla="*/ 2200380 w 7467600"/>
              <a:gd name="connsiteY427" fmla="*/ 6858000 h 6858000"/>
              <a:gd name="connsiteX428" fmla="*/ 2147507 w 7467600"/>
              <a:gd name="connsiteY428" fmla="*/ 6858000 h 6858000"/>
              <a:gd name="connsiteX429" fmla="*/ 2070668 w 7467600"/>
              <a:gd name="connsiteY429" fmla="*/ 6761520 h 6858000"/>
              <a:gd name="connsiteX430" fmla="*/ 1975142 w 7467600"/>
              <a:gd name="connsiteY430" fmla="*/ 6585570 h 6858000"/>
              <a:gd name="connsiteX431" fmla="*/ 2050035 w 7467600"/>
              <a:gd name="connsiteY431" fmla="*/ 6813345 h 6858000"/>
              <a:gd name="connsiteX432" fmla="*/ 2063025 w 7467600"/>
              <a:gd name="connsiteY432" fmla="*/ 6858000 h 6858000"/>
              <a:gd name="connsiteX433" fmla="*/ 2021675 w 7467600"/>
              <a:gd name="connsiteY433" fmla="*/ 6858000 h 6858000"/>
              <a:gd name="connsiteX434" fmla="*/ 2019308 w 7467600"/>
              <a:gd name="connsiteY434" fmla="*/ 6847118 h 6858000"/>
              <a:gd name="connsiteX435" fmla="*/ 1938835 w 7467600"/>
              <a:gd name="connsiteY435" fmla="*/ 6551160 h 6858000"/>
              <a:gd name="connsiteX436" fmla="*/ 1953230 w 7467600"/>
              <a:gd name="connsiteY436" fmla="*/ 6759699 h 6858000"/>
              <a:gd name="connsiteX437" fmla="*/ 1956763 w 7467600"/>
              <a:gd name="connsiteY437" fmla="*/ 6778191 h 6858000"/>
              <a:gd name="connsiteX438" fmla="*/ 1967925 w 7467600"/>
              <a:gd name="connsiteY438" fmla="*/ 6858000 h 6858000"/>
              <a:gd name="connsiteX439" fmla="*/ 1936622 w 7467600"/>
              <a:gd name="connsiteY439" fmla="*/ 6858000 h 6858000"/>
              <a:gd name="connsiteX440" fmla="*/ 1926261 w 7467600"/>
              <a:gd name="connsiteY440" fmla="*/ 6784064 h 6858000"/>
              <a:gd name="connsiteX441" fmla="*/ 1922724 w 7467600"/>
              <a:gd name="connsiteY441" fmla="*/ 6765577 h 6858000"/>
              <a:gd name="connsiteX442" fmla="*/ 1904650 w 7467600"/>
              <a:gd name="connsiteY442" fmla="*/ 6639616 h 6858000"/>
              <a:gd name="connsiteX443" fmla="*/ 1885273 w 7467600"/>
              <a:gd name="connsiteY443" fmla="*/ 6858000 h 6858000"/>
              <a:gd name="connsiteX444" fmla="*/ 1854363 w 7467600"/>
              <a:gd name="connsiteY444" fmla="*/ 6858000 h 6858000"/>
              <a:gd name="connsiteX445" fmla="*/ 1880391 w 7467600"/>
              <a:gd name="connsiteY445" fmla="*/ 6603796 h 6858000"/>
              <a:gd name="connsiteX446" fmla="*/ 1818273 w 7467600"/>
              <a:gd name="connsiteY446" fmla="*/ 6715729 h 6858000"/>
              <a:gd name="connsiteX447" fmla="*/ 1794691 w 7467600"/>
              <a:gd name="connsiteY447" fmla="*/ 6843239 h 6858000"/>
              <a:gd name="connsiteX448" fmla="*/ 1794914 w 7467600"/>
              <a:gd name="connsiteY448" fmla="*/ 6858000 h 6858000"/>
              <a:gd name="connsiteX449" fmla="*/ 1746128 w 7467600"/>
              <a:gd name="connsiteY449" fmla="*/ 6858000 h 6858000"/>
              <a:gd name="connsiteX450" fmla="*/ 1753934 w 7467600"/>
              <a:gd name="connsiteY450" fmla="*/ 6724796 h 6858000"/>
              <a:gd name="connsiteX451" fmla="*/ 1792053 w 7467600"/>
              <a:gd name="connsiteY451" fmla="*/ 6572396 h 6858000"/>
              <a:gd name="connsiteX452" fmla="*/ 1862248 w 7467600"/>
              <a:gd name="connsiteY452" fmla="*/ 6266397 h 6858000"/>
              <a:gd name="connsiteX453" fmla="*/ 1862250 w 7467600"/>
              <a:gd name="connsiteY453" fmla="*/ 6033531 h 6858000"/>
              <a:gd name="connsiteX454" fmla="*/ 1211999 w 7467600"/>
              <a:gd name="connsiteY454" fmla="*/ 6683610 h 6858000"/>
              <a:gd name="connsiteX455" fmla="*/ 1213266 w 7467600"/>
              <a:gd name="connsiteY455" fmla="*/ 6691947 h 6858000"/>
              <a:gd name="connsiteX456" fmla="*/ 1203370 w 7467600"/>
              <a:gd name="connsiteY456" fmla="*/ 6850676 h 6858000"/>
              <a:gd name="connsiteX457" fmla="*/ 1203671 w 7467600"/>
              <a:gd name="connsiteY457" fmla="*/ 6858000 h 6858000"/>
              <a:gd name="connsiteX458" fmla="*/ 1143180 w 7467600"/>
              <a:gd name="connsiteY458" fmla="*/ 6858000 h 6858000"/>
              <a:gd name="connsiteX459" fmla="*/ 1142176 w 7467600"/>
              <a:gd name="connsiteY459" fmla="*/ 6766045 h 6858000"/>
              <a:gd name="connsiteX460" fmla="*/ 1067484 w 7467600"/>
              <a:gd name="connsiteY460" fmla="*/ 6858000 h 6858000"/>
              <a:gd name="connsiteX461" fmla="*/ 953928 w 7467600"/>
              <a:gd name="connsiteY461" fmla="*/ 6858000 h 6858000"/>
              <a:gd name="connsiteX462" fmla="*/ 959715 w 7467600"/>
              <a:gd name="connsiteY462" fmla="*/ 6850185 h 6858000"/>
              <a:gd name="connsiteX463" fmla="*/ 1483788 w 7467600"/>
              <a:gd name="connsiteY463" fmla="*/ 6259174 h 6858000"/>
              <a:gd name="connsiteX464" fmla="*/ 1100671 w 7467600"/>
              <a:gd name="connsiteY464" fmla="*/ 6252137 h 6858000"/>
              <a:gd name="connsiteX465" fmla="*/ 1090144 w 7467600"/>
              <a:gd name="connsiteY465" fmla="*/ 6256748 h 6858000"/>
              <a:gd name="connsiteX466" fmla="*/ 1095872 w 7467600"/>
              <a:gd name="connsiteY466" fmla="*/ 6271892 h 6858000"/>
              <a:gd name="connsiteX467" fmla="*/ 262785 w 7467600"/>
              <a:gd name="connsiteY467" fmla="*/ 6845450 h 6858000"/>
              <a:gd name="connsiteX468" fmla="*/ 209968 w 7467600"/>
              <a:gd name="connsiteY468" fmla="*/ 6770713 h 6858000"/>
              <a:gd name="connsiteX469" fmla="*/ 873460 w 7467600"/>
              <a:gd name="connsiteY469" fmla="*/ 6253768 h 6858000"/>
              <a:gd name="connsiteX470" fmla="*/ 192686 w 7467600"/>
              <a:gd name="connsiteY470" fmla="*/ 5849257 h 6858000"/>
              <a:gd name="connsiteX471" fmla="*/ 4696 w 7467600"/>
              <a:gd name="connsiteY471" fmla="*/ 5697668 h 6858000"/>
              <a:gd name="connsiteX472" fmla="*/ 0 w 7467600"/>
              <a:gd name="connsiteY472" fmla="*/ 5689984 h 6858000"/>
              <a:gd name="connsiteX473" fmla="*/ 0 w 7467600"/>
              <a:gd name="connsiteY473" fmla="*/ 5513472 h 6858000"/>
              <a:gd name="connsiteX474" fmla="*/ 174101 w 7467600"/>
              <a:gd name="connsiteY474" fmla="*/ 5620277 h 6858000"/>
              <a:gd name="connsiteX475" fmla="*/ 891800 w 7467600"/>
              <a:gd name="connsiteY475" fmla="*/ 6036935 h 6858000"/>
              <a:gd name="connsiteX476" fmla="*/ 1072219 w 7467600"/>
              <a:gd name="connsiteY476" fmla="*/ 6169443 h 6858000"/>
              <a:gd name="connsiteX477" fmla="*/ 1074117 w 7467600"/>
              <a:gd name="connsiteY477" fmla="*/ 6170301 h 6858000"/>
              <a:gd name="connsiteX478" fmla="*/ 1083114 w 7467600"/>
              <a:gd name="connsiteY478" fmla="*/ 6174131 h 6858000"/>
              <a:gd name="connsiteX479" fmla="*/ 1543010 w 7467600"/>
              <a:gd name="connsiteY479" fmla="*/ 6191140 h 6858000"/>
              <a:gd name="connsiteX480" fmla="*/ 1551080 w 7467600"/>
              <a:gd name="connsiteY480" fmla="*/ 6195006 h 6858000"/>
              <a:gd name="connsiteX481" fmla="*/ 2345443 w 7467600"/>
              <a:gd name="connsiteY481" fmla="*/ 5549882 h 6858000"/>
              <a:gd name="connsiteX482" fmla="*/ 1721499 w 7467600"/>
              <a:gd name="connsiteY482" fmla="*/ 5599969 h 6858000"/>
              <a:gd name="connsiteX483" fmla="*/ 767716 w 7467600"/>
              <a:gd name="connsiteY483" fmla="*/ 5472768 h 6858000"/>
              <a:gd name="connsiteX484" fmla="*/ 722147 w 7467600"/>
              <a:gd name="connsiteY484" fmla="*/ 5393091 h 6858000"/>
              <a:gd name="connsiteX485" fmla="*/ 1485552 w 7467600"/>
              <a:gd name="connsiteY485" fmla="*/ 5313202 h 6858000"/>
              <a:gd name="connsiteX486" fmla="*/ 2143004 w 7467600"/>
              <a:gd name="connsiteY486" fmla="*/ 5402420 h 6858000"/>
              <a:gd name="connsiteX487" fmla="*/ 1933391 w 7467600"/>
              <a:gd name="connsiteY487" fmla="*/ 5156971 h 6858000"/>
              <a:gd name="connsiteX488" fmla="*/ 1827118 w 7467600"/>
              <a:gd name="connsiteY488" fmla="*/ 4968410 h 6858000"/>
              <a:gd name="connsiteX489" fmla="*/ 1837349 w 7467600"/>
              <a:gd name="connsiteY489" fmla="*/ 4956357 h 6858000"/>
              <a:gd name="connsiteX490" fmla="*/ 2162835 w 7467600"/>
              <a:gd name="connsiteY490" fmla="*/ 5187853 h 6858000"/>
              <a:gd name="connsiteX491" fmla="*/ 2257167 w 7467600"/>
              <a:gd name="connsiteY491" fmla="*/ 5462123 h 6858000"/>
              <a:gd name="connsiteX492" fmla="*/ 2261598 w 7467600"/>
              <a:gd name="connsiteY492" fmla="*/ 5467998 h 6858000"/>
              <a:gd name="connsiteX493" fmla="*/ 2437177 w 7467600"/>
              <a:gd name="connsiteY493" fmla="*/ 5479608 h 6858000"/>
              <a:gd name="connsiteX494" fmla="*/ 2445247 w 7467600"/>
              <a:gd name="connsiteY494" fmla="*/ 5483476 h 6858000"/>
              <a:gd name="connsiteX495" fmla="*/ 2743626 w 7467600"/>
              <a:gd name="connsiteY495" fmla="*/ 5304819 h 6858000"/>
              <a:gd name="connsiteX496" fmla="*/ 3048102 w 7467600"/>
              <a:gd name="connsiteY496" fmla="*/ 5150595 h 6858000"/>
              <a:gd name="connsiteX497" fmla="*/ 1799414 w 7467600"/>
              <a:gd name="connsiteY497" fmla="*/ 4694732 h 6858000"/>
              <a:gd name="connsiteX498" fmla="*/ 1771735 w 7467600"/>
              <a:gd name="connsiteY498" fmla="*/ 4619929 h 6858000"/>
              <a:gd name="connsiteX499" fmla="*/ 3104273 w 7467600"/>
              <a:gd name="connsiteY499" fmla="*/ 5076159 h 6858000"/>
              <a:gd name="connsiteX500" fmla="*/ 3113245 w 7467600"/>
              <a:gd name="connsiteY500" fmla="*/ 5090705 h 6858000"/>
              <a:gd name="connsiteX501" fmla="*/ 3126294 w 7467600"/>
              <a:gd name="connsiteY501" fmla="*/ 5114400 h 6858000"/>
              <a:gd name="connsiteX502" fmla="*/ 3937433 w 7467600"/>
              <a:gd name="connsiteY502" fmla="*/ 4830473 h 6858000"/>
              <a:gd name="connsiteX503" fmla="*/ 3590475 w 7467600"/>
              <a:gd name="connsiteY503" fmla="*/ 4597974 h 6858000"/>
              <a:gd name="connsiteX504" fmla="*/ 3100264 w 7467600"/>
              <a:gd name="connsiteY504" fmla="*/ 4579845 h 6858000"/>
              <a:gd name="connsiteX505" fmla="*/ 2183576 w 7467600"/>
              <a:gd name="connsiteY505" fmla="*/ 4227150 h 6858000"/>
              <a:gd name="connsiteX506" fmla="*/ 2151029 w 7467600"/>
              <a:gd name="connsiteY506" fmla="*/ 4146947 h 6858000"/>
              <a:gd name="connsiteX507" fmla="*/ 3563434 w 7467600"/>
              <a:gd name="connsiteY507" fmla="*/ 4469115 h 6858000"/>
              <a:gd name="connsiteX508" fmla="*/ 3177952 w 7467600"/>
              <a:gd name="connsiteY508" fmla="*/ 3657386 h 6858000"/>
              <a:gd name="connsiteX509" fmla="*/ 3189263 w 7467600"/>
              <a:gd name="connsiteY509" fmla="*/ 3625726 h 6858000"/>
              <a:gd name="connsiteX510" fmla="*/ 3560912 w 7467600"/>
              <a:gd name="connsiteY510" fmla="*/ 4079863 h 6858000"/>
              <a:gd name="connsiteX511" fmla="*/ 3626636 w 7467600"/>
              <a:gd name="connsiteY511" fmla="*/ 4512230 h 6858000"/>
              <a:gd name="connsiteX512" fmla="*/ 3653088 w 7467600"/>
              <a:gd name="connsiteY512" fmla="*/ 4521417 h 6858000"/>
              <a:gd name="connsiteX513" fmla="*/ 3988128 w 7467600"/>
              <a:gd name="connsiteY513" fmla="*/ 4817267 h 6858000"/>
              <a:gd name="connsiteX514" fmla="*/ 4830582 w 7467600"/>
              <a:gd name="connsiteY514" fmla="*/ 4676000 h 6858000"/>
              <a:gd name="connsiteX515" fmla="*/ 4830100 w 7467600"/>
              <a:gd name="connsiteY515" fmla="*/ 4675554 h 6858000"/>
              <a:gd name="connsiteX516" fmla="*/ 4036318 w 7467600"/>
              <a:gd name="connsiteY516" fmla="*/ 4147013 h 6858000"/>
              <a:gd name="connsiteX517" fmla="*/ 3432098 w 7467600"/>
              <a:gd name="connsiteY517" fmla="*/ 3537312 h 6858000"/>
              <a:gd name="connsiteX518" fmla="*/ 3446761 w 7467600"/>
              <a:gd name="connsiteY518" fmla="*/ 3461278 h 6858000"/>
              <a:gd name="connsiteX519" fmla="*/ 4419733 w 7467600"/>
              <a:gd name="connsiteY519" fmla="*/ 3963555 h 6858000"/>
              <a:gd name="connsiteX520" fmla="*/ 4781371 w 7467600"/>
              <a:gd name="connsiteY520" fmla="*/ 4458604 h 6858000"/>
              <a:gd name="connsiteX521" fmla="*/ 4780440 w 7467600"/>
              <a:gd name="connsiteY521" fmla="*/ 4470290 h 6858000"/>
              <a:gd name="connsiteX522" fmla="*/ 4898954 w 7467600"/>
              <a:gd name="connsiteY522" fmla="*/ 4662092 h 6858000"/>
              <a:gd name="connsiteX523" fmla="*/ 4900699 w 7467600"/>
              <a:gd name="connsiteY523" fmla="*/ 4670867 h 6858000"/>
              <a:gd name="connsiteX524" fmla="*/ 5714511 w 7467600"/>
              <a:gd name="connsiteY524" fmla="*/ 4663483 h 6858000"/>
              <a:gd name="connsiteX525" fmla="*/ 5464793 w 7467600"/>
              <a:gd name="connsiteY525" fmla="*/ 4393556 h 6858000"/>
              <a:gd name="connsiteX526" fmla="*/ 5461897 w 7467600"/>
              <a:gd name="connsiteY526" fmla="*/ 4390879 h 6858000"/>
              <a:gd name="connsiteX527" fmla="*/ 4294126 w 7467600"/>
              <a:gd name="connsiteY527" fmla="*/ 3303048 h 6858000"/>
              <a:gd name="connsiteX528" fmla="*/ 4305321 w 7467600"/>
              <a:gd name="connsiteY528" fmla="*/ 3256953 h 6858000"/>
              <a:gd name="connsiteX529" fmla="*/ 4949299 w 7467600"/>
              <a:gd name="connsiteY529" fmla="*/ 3766336 h 6858000"/>
              <a:gd name="connsiteX530" fmla="*/ 5291452 w 7467600"/>
              <a:gd name="connsiteY530" fmla="*/ 4076801 h 6858000"/>
              <a:gd name="connsiteX531" fmla="*/ 5434998 w 7467600"/>
              <a:gd name="connsiteY531" fmla="*/ 4254100 h 6858000"/>
              <a:gd name="connsiteX532" fmla="*/ 5351015 w 7467600"/>
              <a:gd name="connsiteY532" fmla="*/ 3760989 h 6858000"/>
              <a:gd name="connsiteX533" fmla="*/ 5413780 w 7467600"/>
              <a:gd name="connsiteY533" fmla="*/ 2966265 h 6858000"/>
              <a:gd name="connsiteX534" fmla="*/ 5425627 w 7467600"/>
              <a:gd name="connsiteY534" fmla="*/ 2954192 h 6858000"/>
              <a:gd name="connsiteX535" fmla="*/ 6604735 w 7467600"/>
              <a:gd name="connsiteY535" fmla="*/ 2041381 h 6858000"/>
              <a:gd name="connsiteX536" fmla="*/ 7204487 w 7467600"/>
              <a:gd name="connsiteY536" fmla="*/ 2742112 h 6858000"/>
              <a:gd name="connsiteX537" fmla="*/ 7131592 w 7467600"/>
              <a:gd name="connsiteY537" fmla="*/ 2672096 h 6858000"/>
              <a:gd name="connsiteX538" fmla="*/ 6996344 w 7467600"/>
              <a:gd name="connsiteY538" fmla="*/ 2518310 h 6858000"/>
              <a:gd name="connsiteX539" fmla="*/ 6735495 w 7467600"/>
              <a:gd name="connsiteY539" fmla="*/ 2196890 h 6858000"/>
              <a:gd name="connsiteX540" fmla="*/ 6721901 w 7467600"/>
              <a:gd name="connsiteY540" fmla="*/ 2179274 h 6858000"/>
              <a:gd name="connsiteX541" fmla="*/ 6604735 w 7467600"/>
              <a:gd name="connsiteY541" fmla="*/ 2041381 h 6858000"/>
              <a:gd name="connsiteX542" fmla="*/ 6591670 w 7467600"/>
              <a:gd name="connsiteY542" fmla="*/ 1988277 h 6858000"/>
              <a:gd name="connsiteX543" fmla="*/ 6747349 w 7467600"/>
              <a:gd name="connsiteY543" fmla="*/ 2160069 h 6858000"/>
              <a:gd name="connsiteX544" fmla="*/ 6760943 w 7467600"/>
              <a:gd name="connsiteY544" fmla="*/ 2177686 h 6858000"/>
              <a:gd name="connsiteX545" fmla="*/ 7021065 w 7467600"/>
              <a:gd name="connsiteY545" fmla="*/ 2498102 h 6858000"/>
              <a:gd name="connsiteX546" fmla="*/ 7155223 w 7467600"/>
              <a:gd name="connsiteY546" fmla="*/ 2650386 h 6858000"/>
              <a:gd name="connsiteX547" fmla="*/ 7203167 w 7467600"/>
              <a:gd name="connsiteY547" fmla="*/ 2697288 h 6858000"/>
              <a:gd name="connsiteX548" fmla="*/ 6937703 w 7467600"/>
              <a:gd name="connsiteY548" fmla="*/ 2321981 h 6858000"/>
              <a:gd name="connsiteX549" fmla="*/ 6591670 w 7467600"/>
              <a:gd name="connsiteY549" fmla="*/ 1988277 h 6858000"/>
              <a:gd name="connsiteX550" fmla="*/ 5798671 w 7467600"/>
              <a:gd name="connsiteY550" fmla="*/ 1981601 h 6858000"/>
              <a:gd name="connsiteX551" fmla="*/ 5754709 w 7467600"/>
              <a:gd name="connsiteY551" fmla="*/ 2071454 h 6858000"/>
              <a:gd name="connsiteX552" fmla="*/ 5763044 w 7467600"/>
              <a:gd name="connsiteY552" fmla="*/ 2842206 h 6858000"/>
              <a:gd name="connsiteX553" fmla="*/ 5764974 w 7467600"/>
              <a:gd name="connsiteY553" fmla="*/ 2799609 h 6858000"/>
              <a:gd name="connsiteX554" fmla="*/ 5767665 w 7467600"/>
              <a:gd name="connsiteY554" fmla="*/ 2666409 h 6858000"/>
              <a:gd name="connsiteX555" fmla="*/ 5763055 w 7467600"/>
              <a:gd name="connsiteY555" fmla="*/ 2579705 h 6858000"/>
              <a:gd name="connsiteX556" fmla="*/ 5758079 w 7467600"/>
              <a:gd name="connsiteY556" fmla="*/ 2492508 h 6858000"/>
              <a:gd name="connsiteX557" fmla="*/ 5779325 w 7467600"/>
              <a:gd name="connsiteY557" fmla="*/ 2197069 h 6858000"/>
              <a:gd name="connsiteX558" fmla="*/ 5798671 w 7467600"/>
              <a:gd name="connsiteY558" fmla="*/ 1981601 h 6858000"/>
              <a:gd name="connsiteX559" fmla="*/ 5829202 w 7467600"/>
              <a:gd name="connsiteY559" fmla="*/ 1971679 h 6858000"/>
              <a:gd name="connsiteX560" fmla="*/ 5809558 w 7467600"/>
              <a:gd name="connsiteY560" fmla="*/ 2198043 h 6858000"/>
              <a:gd name="connsiteX561" fmla="*/ 5788653 w 7467600"/>
              <a:gd name="connsiteY561" fmla="*/ 2489430 h 6858000"/>
              <a:gd name="connsiteX562" fmla="*/ 5793439 w 7467600"/>
              <a:gd name="connsiteY562" fmla="*/ 2575235 h 6858000"/>
              <a:gd name="connsiteX563" fmla="*/ 5796837 w 7467600"/>
              <a:gd name="connsiteY563" fmla="*/ 2637633 h 6858000"/>
              <a:gd name="connsiteX564" fmla="*/ 5818614 w 7467600"/>
              <a:gd name="connsiteY564" fmla="*/ 2473055 h 6858000"/>
              <a:gd name="connsiteX565" fmla="*/ 5829202 w 7467600"/>
              <a:gd name="connsiteY565" fmla="*/ 1971679 h 6858000"/>
              <a:gd name="connsiteX566" fmla="*/ 5911389 w 7467600"/>
              <a:gd name="connsiteY566" fmla="*/ 1898371 h 6858000"/>
              <a:gd name="connsiteX567" fmla="*/ 6237627 w 7467600"/>
              <a:gd name="connsiteY567" fmla="*/ 2231921 h 6858000"/>
              <a:gd name="connsiteX568" fmla="*/ 5911389 w 7467600"/>
              <a:gd name="connsiteY568" fmla="*/ 1898371 h 6858000"/>
              <a:gd name="connsiteX569" fmla="*/ 6944437 w 7467600"/>
              <a:gd name="connsiteY569" fmla="*/ 1575402 h 6858000"/>
              <a:gd name="connsiteX570" fmla="*/ 6304730 w 7467600"/>
              <a:gd name="connsiteY570" fmla="*/ 1766654 h 6858000"/>
              <a:gd name="connsiteX571" fmla="*/ 6944437 w 7467600"/>
              <a:gd name="connsiteY571" fmla="*/ 1575402 h 6858000"/>
              <a:gd name="connsiteX572" fmla="*/ 7019523 w 7467600"/>
              <a:gd name="connsiteY572" fmla="*/ 1519450 h 6858000"/>
              <a:gd name="connsiteX573" fmla="*/ 6298091 w 7467600"/>
              <a:gd name="connsiteY573" fmla="*/ 1737122 h 6858000"/>
              <a:gd name="connsiteX574" fmla="*/ 7019523 w 7467600"/>
              <a:gd name="connsiteY574" fmla="*/ 1519450 h 6858000"/>
              <a:gd name="connsiteX575" fmla="*/ 2399523 w 7467600"/>
              <a:gd name="connsiteY575" fmla="*/ 1428234 h 6858000"/>
              <a:gd name="connsiteX576" fmla="*/ 2224982 w 7467600"/>
              <a:gd name="connsiteY576" fmla="*/ 1826201 h 6858000"/>
              <a:gd name="connsiteX577" fmla="*/ 2096099 w 7467600"/>
              <a:gd name="connsiteY577" fmla="*/ 2345900 h 6858000"/>
              <a:gd name="connsiteX578" fmla="*/ 2283317 w 7467600"/>
              <a:gd name="connsiteY578" fmla="*/ 1796925 h 6858000"/>
              <a:gd name="connsiteX579" fmla="*/ 2399523 w 7467600"/>
              <a:gd name="connsiteY579" fmla="*/ 1428234 h 6858000"/>
              <a:gd name="connsiteX580" fmla="*/ 2448558 w 7467600"/>
              <a:gd name="connsiteY580" fmla="*/ 1373435 h 6858000"/>
              <a:gd name="connsiteX581" fmla="*/ 2312521 w 7467600"/>
              <a:gd name="connsiteY581" fmla="*/ 1806140 h 6858000"/>
              <a:gd name="connsiteX582" fmla="*/ 2127533 w 7467600"/>
              <a:gd name="connsiteY582" fmla="*/ 2348380 h 6858000"/>
              <a:gd name="connsiteX583" fmla="*/ 2358080 w 7467600"/>
              <a:gd name="connsiteY583" fmla="*/ 1866134 h 6858000"/>
              <a:gd name="connsiteX584" fmla="*/ 2407436 w 7467600"/>
              <a:gd name="connsiteY584" fmla="*/ 1651070 h 6858000"/>
              <a:gd name="connsiteX585" fmla="*/ 2448558 w 7467600"/>
              <a:gd name="connsiteY585" fmla="*/ 1373435 h 6858000"/>
              <a:gd name="connsiteX586" fmla="*/ 278707 w 7467600"/>
              <a:gd name="connsiteY586" fmla="*/ 1352270 h 6858000"/>
              <a:gd name="connsiteX587" fmla="*/ 321570 w 7467600"/>
              <a:gd name="connsiteY587" fmla="*/ 1861610 h 6858000"/>
              <a:gd name="connsiteX588" fmla="*/ 294281 w 7467600"/>
              <a:gd name="connsiteY588" fmla="*/ 1440658 h 6858000"/>
              <a:gd name="connsiteX589" fmla="*/ 278707 w 7467600"/>
              <a:gd name="connsiteY589" fmla="*/ 1352270 h 6858000"/>
              <a:gd name="connsiteX590" fmla="*/ 1423821 w 7467600"/>
              <a:gd name="connsiteY590" fmla="*/ 1351958 h 6858000"/>
              <a:gd name="connsiteX591" fmla="*/ 1638521 w 7467600"/>
              <a:gd name="connsiteY591" fmla="*/ 1908470 h 6858000"/>
              <a:gd name="connsiteX592" fmla="*/ 1754199 w 7467600"/>
              <a:gd name="connsiteY592" fmla="*/ 2149284 h 6858000"/>
              <a:gd name="connsiteX593" fmla="*/ 1908359 w 7467600"/>
              <a:gd name="connsiteY593" fmla="*/ 2364988 h 6858000"/>
              <a:gd name="connsiteX594" fmla="*/ 1647661 w 7467600"/>
              <a:gd name="connsiteY594" fmla="*/ 1825945 h 6858000"/>
              <a:gd name="connsiteX595" fmla="*/ 1423821 w 7467600"/>
              <a:gd name="connsiteY595" fmla="*/ 1351958 h 6858000"/>
              <a:gd name="connsiteX596" fmla="*/ 1431890 w 7467600"/>
              <a:gd name="connsiteY596" fmla="*/ 1306475 h 6858000"/>
              <a:gd name="connsiteX597" fmla="*/ 1507597 w 7467600"/>
              <a:gd name="connsiteY597" fmla="*/ 1446132 h 6858000"/>
              <a:gd name="connsiteX598" fmla="*/ 1674586 w 7467600"/>
              <a:gd name="connsiteY598" fmla="*/ 1813832 h 6858000"/>
              <a:gd name="connsiteX599" fmla="*/ 1815950 w 7467600"/>
              <a:gd name="connsiteY599" fmla="*/ 2128564 h 6858000"/>
              <a:gd name="connsiteX600" fmla="*/ 1984242 w 7467600"/>
              <a:gd name="connsiteY600" fmla="*/ 2430829 h 6858000"/>
              <a:gd name="connsiteX601" fmla="*/ 2014023 w 7467600"/>
              <a:gd name="connsiteY601" fmla="*/ 2450995 h 6858000"/>
              <a:gd name="connsiteX602" fmla="*/ 1747337 w 7467600"/>
              <a:gd name="connsiteY602" fmla="*/ 1855264 h 6858000"/>
              <a:gd name="connsiteX603" fmla="*/ 1533749 w 7467600"/>
              <a:gd name="connsiteY603" fmla="*/ 1478656 h 6858000"/>
              <a:gd name="connsiteX604" fmla="*/ 1431890 w 7467600"/>
              <a:gd name="connsiteY604" fmla="*/ 1306475 h 6858000"/>
              <a:gd name="connsiteX605" fmla="*/ 5052692 w 7467600"/>
              <a:gd name="connsiteY605" fmla="*/ 1292994 h 6858000"/>
              <a:gd name="connsiteX606" fmla="*/ 5200661 w 7467600"/>
              <a:gd name="connsiteY606" fmla="*/ 1635186 h 6858000"/>
              <a:gd name="connsiteX607" fmla="*/ 5297138 w 7467600"/>
              <a:gd name="connsiteY607" fmla="*/ 1906351 h 6858000"/>
              <a:gd name="connsiteX608" fmla="*/ 5052692 w 7467600"/>
              <a:gd name="connsiteY608" fmla="*/ 1292994 h 6858000"/>
              <a:gd name="connsiteX609" fmla="*/ 5009948 w 7467600"/>
              <a:gd name="connsiteY609" fmla="*/ 1273619 h 6858000"/>
              <a:gd name="connsiteX610" fmla="*/ 5121777 w 7467600"/>
              <a:gd name="connsiteY610" fmla="*/ 1654213 h 6858000"/>
              <a:gd name="connsiteX611" fmla="*/ 5293545 w 7467600"/>
              <a:gd name="connsiteY611" fmla="*/ 2072247 h 6858000"/>
              <a:gd name="connsiteX612" fmla="*/ 5294042 w 7467600"/>
              <a:gd name="connsiteY612" fmla="*/ 2065019 h 6858000"/>
              <a:gd name="connsiteX613" fmla="*/ 5171936 w 7467600"/>
              <a:gd name="connsiteY613" fmla="*/ 1647613 h 6858000"/>
              <a:gd name="connsiteX614" fmla="*/ 5009948 w 7467600"/>
              <a:gd name="connsiteY614" fmla="*/ 1273619 h 6858000"/>
              <a:gd name="connsiteX615" fmla="*/ 655236 w 7467600"/>
              <a:gd name="connsiteY615" fmla="*/ 1268632 h 6858000"/>
              <a:gd name="connsiteX616" fmla="*/ 839521 w 7467600"/>
              <a:gd name="connsiteY616" fmla="*/ 1685315 h 6858000"/>
              <a:gd name="connsiteX617" fmla="*/ 1109416 w 7467600"/>
              <a:gd name="connsiteY617" fmla="*/ 2061663 h 6858000"/>
              <a:gd name="connsiteX618" fmla="*/ 1298300 w 7467600"/>
              <a:gd name="connsiteY618" fmla="*/ 2247742 h 6858000"/>
              <a:gd name="connsiteX619" fmla="*/ 1125871 w 7467600"/>
              <a:gd name="connsiteY619" fmla="*/ 1989513 h 6858000"/>
              <a:gd name="connsiteX620" fmla="*/ 981574 w 7467600"/>
              <a:gd name="connsiteY620" fmla="*/ 1783157 h 6858000"/>
              <a:gd name="connsiteX621" fmla="*/ 922198 w 7467600"/>
              <a:gd name="connsiteY621" fmla="*/ 1677437 h 6858000"/>
              <a:gd name="connsiteX622" fmla="*/ 869293 w 7467600"/>
              <a:gd name="connsiteY622" fmla="*/ 1583214 h 6858000"/>
              <a:gd name="connsiteX623" fmla="*/ 751431 w 7467600"/>
              <a:gd name="connsiteY623" fmla="*/ 1405731 h 6858000"/>
              <a:gd name="connsiteX624" fmla="*/ 655236 w 7467600"/>
              <a:gd name="connsiteY624" fmla="*/ 1268632 h 6858000"/>
              <a:gd name="connsiteX625" fmla="*/ 6516292 w 7467600"/>
              <a:gd name="connsiteY625" fmla="*/ 1263064 h 6858000"/>
              <a:gd name="connsiteX626" fmla="*/ 5736320 w 7467600"/>
              <a:gd name="connsiteY626" fmla="*/ 1501803 h 6858000"/>
              <a:gd name="connsiteX627" fmla="*/ 6516292 w 7467600"/>
              <a:gd name="connsiteY627" fmla="*/ 1263064 h 6858000"/>
              <a:gd name="connsiteX628" fmla="*/ 291466 w 7467600"/>
              <a:gd name="connsiteY628" fmla="*/ 1250369 h 6858000"/>
              <a:gd name="connsiteX629" fmla="*/ 323180 w 7467600"/>
              <a:gd name="connsiteY629" fmla="*/ 1435283 h 6858000"/>
              <a:gd name="connsiteX630" fmla="*/ 349381 w 7467600"/>
              <a:gd name="connsiteY630" fmla="*/ 1875041 h 6858000"/>
              <a:gd name="connsiteX631" fmla="*/ 374363 w 7467600"/>
              <a:gd name="connsiteY631" fmla="*/ 1506494 h 6858000"/>
              <a:gd name="connsiteX632" fmla="*/ 302168 w 7467600"/>
              <a:gd name="connsiteY632" fmla="*/ 1274495 h 6858000"/>
              <a:gd name="connsiteX633" fmla="*/ 291466 w 7467600"/>
              <a:gd name="connsiteY633" fmla="*/ 1250369 h 6858000"/>
              <a:gd name="connsiteX634" fmla="*/ 678222 w 7467600"/>
              <a:gd name="connsiteY634" fmla="*/ 1248670 h 6858000"/>
              <a:gd name="connsiteX635" fmla="*/ 775536 w 7467600"/>
              <a:gd name="connsiteY635" fmla="*/ 1388015 h 6858000"/>
              <a:gd name="connsiteX636" fmla="*/ 894529 w 7467600"/>
              <a:gd name="connsiteY636" fmla="*/ 1567739 h 6858000"/>
              <a:gd name="connsiteX637" fmla="*/ 948000 w 7467600"/>
              <a:gd name="connsiteY637" fmla="*/ 1663088 h 6858000"/>
              <a:gd name="connsiteX638" fmla="*/ 1006812 w 7467600"/>
              <a:gd name="connsiteY638" fmla="*/ 1767683 h 6858000"/>
              <a:gd name="connsiteX639" fmla="*/ 1149133 w 7467600"/>
              <a:gd name="connsiteY639" fmla="*/ 1971513 h 6858000"/>
              <a:gd name="connsiteX640" fmla="*/ 1333952 w 7467600"/>
              <a:gd name="connsiteY640" fmla="*/ 2251620 h 6858000"/>
              <a:gd name="connsiteX641" fmla="*/ 1337329 w 7467600"/>
              <a:gd name="connsiteY641" fmla="*/ 2258350 h 6858000"/>
              <a:gd name="connsiteX642" fmla="*/ 1014726 w 7467600"/>
              <a:gd name="connsiteY642" fmla="*/ 1615556 h 6858000"/>
              <a:gd name="connsiteX643" fmla="*/ 678222 w 7467600"/>
              <a:gd name="connsiteY643" fmla="*/ 1248670 h 6858000"/>
              <a:gd name="connsiteX644" fmla="*/ 6691602 w 7467600"/>
              <a:gd name="connsiteY644" fmla="*/ 1140573 h 6858000"/>
              <a:gd name="connsiteX645" fmla="*/ 6571100 w 7467600"/>
              <a:gd name="connsiteY645" fmla="*/ 1183662 h 6858000"/>
              <a:gd name="connsiteX646" fmla="*/ 6241687 w 7467600"/>
              <a:gd name="connsiteY646" fmla="*/ 1257600 h 6858000"/>
              <a:gd name="connsiteX647" fmla="*/ 5693009 w 7467600"/>
              <a:gd name="connsiteY647" fmla="*/ 1478256 h 6858000"/>
              <a:gd name="connsiteX648" fmla="*/ 6548420 w 7467600"/>
              <a:gd name="connsiteY648" fmla="*/ 1214599 h 6858000"/>
              <a:gd name="connsiteX649" fmla="*/ 6605473 w 7467600"/>
              <a:gd name="connsiteY649" fmla="*/ 1184686 h 6858000"/>
              <a:gd name="connsiteX650" fmla="*/ 6691602 w 7467600"/>
              <a:gd name="connsiteY650" fmla="*/ 1140573 h 6858000"/>
              <a:gd name="connsiteX651" fmla="*/ 4002475 w 7467600"/>
              <a:gd name="connsiteY651" fmla="*/ 1037802 h 6858000"/>
              <a:gd name="connsiteX652" fmla="*/ 4000324 w 7467600"/>
              <a:gd name="connsiteY652" fmla="*/ 1039362 h 6858000"/>
              <a:gd name="connsiteX653" fmla="*/ 4002862 w 7467600"/>
              <a:gd name="connsiteY653" fmla="*/ 1042866 h 6858000"/>
              <a:gd name="connsiteX654" fmla="*/ 4002475 w 7467600"/>
              <a:gd name="connsiteY654" fmla="*/ 1037802 h 6858000"/>
              <a:gd name="connsiteX655" fmla="*/ 506322 w 7467600"/>
              <a:gd name="connsiteY655" fmla="*/ 1020997 h 6858000"/>
              <a:gd name="connsiteX656" fmla="*/ 533068 w 7467600"/>
              <a:gd name="connsiteY656" fmla="*/ 1029409 h 6858000"/>
              <a:gd name="connsiteX657" fmla="*/ 1232525 w 7467600"/>
              <a:gd name="connsiteY657" fmla="*/ 1804675 h 6858000"/>
              <a:gd name="connsiteX658" fmla="*/ 1388858 w 7467600"/>
              <a:gd name="connsiteY658" fmla="*/ 2368011 h 6858000"/>
              <a:gd name="connsiteX659" fmla="*/ 1384098 w 7467600"/>
              <a:gd name="connsiteY659" fmla="*/ 2378125 h 6858000"/>
              <a:gd name="connsiteX660" fmla="*/ 1425393 w 7467600"/>
              <a:gd name="connsiteY660" fmla="*/ 2589124 h 6858000"/>
              <a:gd name="connsiteX661" fmla="*/ 1424001 w 7467600"/>
              <a:gd name="connsiteY661" fmla="*/ 2597541 h 6858000"/>
              <a:gd name="connsiteX662" fmla="*/ 2152729 w 7467600"/>
              <a:gd name="connsiteY662" fmla="*/ 2864487 h 6858000"/>
              <a:gd name="connsiteX663" fmla="*/ 2020609 w 7467600"/>
              <a:gd name="connsiteY663" fmla="*/ 2539671 h 6858000"/>
              <a:gd name="connsiteX664" fmla="*/ 2018920 w 7467600"/>
              <a:gd name="connsiteY664" fmla="*/ 2536309 h 6858000"/>
              <a:gd name="connsiteX665" fmla="*/ 1342441 w 7467600"/>
              <a:gd name="connsiteY665" fmla="*/ 1173017 h 6858000"/>
              <a:gd name="connsiteX666" fmla="*/ 1367925 w 7467600"/>
              <a:gd name="connsiteY666" fmla="*/ 1135648 h 6858000"/>
              <a:gd name="connsiteX667" fmla="*/ 1771401 w 7467600"/>
              <a:gd name="connsiteY667" fmla="*/ 1806673 h 6858000"/>
              <a:gd name="connsiteX668" fmla="*/ 1972385 w 7467600"/>
              <a:gd name="connsiteY668" fmla="*/ 2198735 h 6858000"/>
              <a:gd name="connsiteX669" fmla="*/ 2040892 w 7467600"/>
              <a:gd name="connsiteY669" fmla="*/ 2405205 h 6858000"/>
              <a:gd name="connsiteX670" fmla="*/ 2131689 w 7467600"/>
              <a:gd name="connsiteY670" fmla="*/ 1936926 h 6858000"/>
              <a:gd name="connsiteX671" fmla="*/ 2454820 w 7467600"/>
              <a:gd name="connsiteY671" fmla="*/ 1248808 h 6858000"/>
              <a:gd name="connsiteX672" fmla="*/ 2492512 w 7467600"/>
              <a:gd name="connsiteY672" fmla="*/ 1302920 h 6858000"/>
              <a:gd name="connsiteX673" fmla="*/ 2081216 w 7467600"/>
              <a:gd name="connsiteY673" fmla="*/ 2527513 h 6858000"/>
              <a:gd name="connsiteX674" fmla="*/ 2081211 w 7467600"/>
              <a:gd name="connsiteY674" fmla="*/ 2528916 h 6858000"/>
              <a:gd name="connsiteX675" fmla="*/ 2199067 w 7467600"/>
              <a:gd name="connsiteY675" fmla="*/ 2884061 h 6858000"/>
              <a:gd name="connsiteX676" fmla="*/ 3192586 w 7467600"/>
              <a:gd name="connsiteY676" fmla="*/ 3411496 h 6858000"/>
              <a:gd name="connsiteX677" fmla="*/ 3182620 w 7467600"/>
              <a:gd name="connsiteY677" fmla="*/ 3483279 h 6858000"/>
              <a:gd name="connsiteX678" fmla="*/ 2435119 w 7467600"/>
              <a:gd name="connsiteY678" fmla="*/ 3080173 h 6858000"/>
              <a:gd name="connsiteX679" fmla="*/ 2410152 w 7467600"/>
              <a:gd name="connsiteY679" fmla="*/ 3063751 h 6858000"/>
              <a:gd name="connsiteX680" fmla="*/ 2408099 w 7467600"/>
              <a:gd name="connsiteY680" fmla="*/ 3064403 h 6858000"/>
              <a:gd name="connsiteX681" fmla="*/ 2407218 w 7467600"/>
              <a:gd name="connsiteY681" fmla="*/ 3070324 h 6858000"/>
              <a:gd name="connsiteX682" fmla="*/ 2380138 w 7467600"/>
              <a:gd name="connsiteY682" fmla="*/ 3099341 h 6858000"/>
              <a:gd name="connsiteX683" fmla="*/ 1765923 w 7467600"/>
              <a:gd name="connsiteY683" fmla="*/ 3581043 h 6858000"/>
              <a:gd name="connsiteX684" fmla="*/ 1702258 w 7467600"/>
              <a:gd name="connsiteY684" fmla="*/ 3612286 h 6858000"/>
              <a:gd name="connsiteX685" fmla="*/ 1538370 w 7467600"/>
              <a:gd name="connsiteY685" fmla="*/ 3811804 h 6858000"/>
              <a:gd name="connsiteX686" fmla="*/ 542867 w 7467600"/>
              <a:gd name="connsiteY686" fmla="*/ 4944092 h 6858000"/>
              <a:gd name="connsiteX687" fmla="*/ 515800 w 7467600"/>
              <a:gd name="connsiteY687" fmla="*/ 4862180 h 6858000"/>
              <a:gd name="connsiteX688" fmla="*/ 909145 w 7467600"/>
              <a:gd name="connsiteY688" fmla="*/ 4199225 h 6858000"/>
              <a:gd name="connsiteX689" fmla="*/ 1214067 w 7467600"/>
              <a:gd name="connsiteY689" fmla="*/ 3908561 h 6858000"/>
              <a:gd name="connsiteX690" fmla="*/ 640967 w 7467600"/>
              <a:gd name="connsiteY690" fmla="*/ 4105601 h 6858000"/>
              <a:gd name="connsiteX691" fmla="*/ 112563 w 7467600"/>
              <a:gd name="connsiteY691" fmla="*/ 4396952 h 6858000"/>
              <a:gd name="connsiteX692" fmla="*/ 0 w 7467600"/>
              <a:gd name="connsiteY692" fmla="*/ 4466006 h 6858000"/>
              <a:gd name="connsiteX693" fmla="*/ 0 w 7467600"/>
              <a:gd name="connsiteY693" fmla="*/ 4233763 h 6858000"/>
              <a:gd name="connsiteX694" fmla="*/ 36881 w 7467600"/>
              <a:gd name="connsiteY694" fmla="*/ 4200118 h 6858000"/>
              <a:gd name="connsiteX695" fmla="*/ 910534 w 7467600"/>
              <a:gd name="connsiteY695" fmla="*/ 3629753 h 6858000"/>
              <a:gd name="connsiteX696" fmla="*/ 1578717 w 7467600"/>
              <a:gd name="connsiteY696" fmla="*/ 3575982 h 6858000"/>
              <a:gd name="connsiteX697" fmla="*/ 2338780 w 7467600"/>
              <a:gd name="connsiteY697" fmla="*/ 3033725 h 6858000"/>
              <a:gd name="connsiteX698" fmla="*/ 1807991 w 7467600"/>
              <a:gd name="connsiteY698" fmla="*/ 2807184 h 6858000"/>
              <a:gd name="connsiteX699" fmla="*/ 1416358 w 7467600"/>
              <a:gd name="connsiteY699" fmla="*/ 3112571 h 6858000"/>
              <a:gd name="connsiteX700" fmla="*/ 939066 w 7467600"/>
              <a:gd name="connsiteY700" fmla="*/ 3378798 h 6858000"/>
              <a:gd name="connsiteX701" fmla="*/ 115099 w 7467600"/>
              <a:gd name="connsiteY701" fmla="*/ 3607650 h 6858000"/>
              <a:gd name="connsiteX702" fmla="*/ 97284 w 7467600"/>
              <a:gd name="connsiteY702" fmla="*/ 3520393 h 6858000"/>
              <a:gd name="connsiteX703" fmla="*/ 922050 w 7467600"/>
              <a:gd name="connsiteY703" fmla="*/ 3074867 h 6858000"/>
              <a:gd name="connsiteX704" fmla="*/ 1405265 w 7467600"/>
              <a:gd name="connsiteY704" fmla="*/ 3016319 h 6858000"/>
              <a:gd name="connsiteX705" fmla="*/ 1407512 w 7467600"/>
              <a:gd name="connsiteY705" fmla="*/ 3018001 h 6858000"/>
              <a:gd name="connsiteX706" fmla="*/ 1726266 w 7467600"/>
              <a:gd name="connsiteY706" fmla="*/ 2777274 h 6858000"/>
              <a:gd name="connsiteX707" fmla="*/ 625390 w 7467600"/>
              <a:gd name="connsiteY707" fmla="*/ 2514541 h 6858000"/>
              <a:gd name="connsiteX708" fmla="*/ 619799 w 7467600"/>
              <a:gd name="connsiteY708" fmla="*/ 2527180 h 6858000"/>
              <a:gd name="connsiteX709" fmla="*/ 310030 w 7467600"/>
              <a:gd name="connsiteY709" fmla="*/ 2771818 h 6858000"/>
              <a:gd name="connsiteX710" fmla="*/ 173877 w 7467600"/>
              <a:gd name="connsiteY710" fmla="*/ 2937056 h 6858000"/>
              <a:gd name="connsiteX711" fmla="*/ 77889 w 7467600"/>
              <a:gd name="connsiteY711" fmla="*/ 3138440 h 6858000"/>
              <a:gd name="connsiteX712" fmla="*/ 0 w 7467600"/>
              <a:gd name="connsiteY712" fmla="*/ 3271395 h 6858000"/>
              <a:gd name="connsiteX713" fmla="*/ 0 w 7467600"/>
              <a:gd name="connsiteY713" fmla="*/ 3153002 h 6858000"/>
              <a:gd name="connsiteX714" fmla="*/ 2386 w 7467600"/>
              <a:gd name="connsiteY714" fmla="*/ 3149203 h 6858000"/>
              <a:gd name="connsiteX715" fmla="*/ 89753 w 7467600"/>
              <a:gd name="connsiteY715" fmla="*/ 2987702 h 6858000"/>
              <a:gd name="connsiteX716" fmla="*/ 76869 w 7467600"/>
              <a:gd name="connsiteY716" fmla="*/ 3005404 h 6858000"/>
              <a:gd name="connsiteX717" fmla="*/ 32049 w 7467600"/>
              <a:gd name="connsiteY717" fmla="*/ 3065814 h 6858000"/>
              <a:gd name="connsiteX718" fmla="*/ 0 w 7467600"/>
              <a:gd name="connsiteY718" fmla="*/ 3108744 h 6858000"/>
              <a:gd name="connsiteX719" fmla="*/ 0 w 7467600"/>
              <a:gd name="connsiteY719" fmla="*/ 3058059 h 6858000"/>
              <a:gd name="connsiteX720" fmla="*/ 7610 w 7467600"/>
              <a:gd name="connsiteY720" fmla="*/ 3047889 h 6858000"/>
              <a:gd name="connsiteX721" fmla="*/ 52419 w 7467600"/>
              <a:gd name="connsiteY721" fmla="*/ 2987479 h 6858000"/>
              <a:gd name="connsiteX722" fmla="*/ 59142 w 7467600"/>
              <a:gd name="connsiteY722" fmla="*/ 2978488 h 6858000"/>
              <a:gd name="connsiteX723" fmla="*/ 0 w 7467600"/>
              <a:gd name="connsiteY723" fmla="*/ 3015334 h 6858000"/>
              <a:gd name="connsiteX724" fmla="*/ 0 w 7467600"/>
              <a:gd name="connsiteY724" fmla="*/ 2914286 h 6858000"/>
              <a:gd name="connsiteX725" fmla="*/ 36383 w 7467600"/>
              <a:gd name="connsiteY725" fmla="*/ 2901128 h 6858000"/>
              <a:gd name="connsiteX726" fmla="*/ 156329 w 7467600"/>
              <a:gd name="connsiteY726" fmla="*/ 2840533 h 6858000"/>
              <a:gd name="connsiteX727" fmla="*/ 358355 w 7467600"/>
              <a:gd name="connsiteY727" fmla="*/ 2620471 h 6858000"/>
              <a:gd name="connsiteX728" fmla="*/ 510577 w 7467600"/>
              <a:gd name="connsiteY728" fmla="*/ 2501244 h 6858000"/>
              <a:gd name="connsiteX729" fmla="*/ 211967 w 7467600"/>
              <a:gd name="connsiteY729" fmla="*/ 2479171 h 6858000"/>
              <a:gd name="connsiteX730" fmla="*/ 0 w 7467600"/>
              <a:gd name="connsiteY730" fmla="*/ 2476398 h 6858000"/>
              <a:gd name="connsiteX731" fmla="*/ 0 w 7467600"/>
              <a:gd name="connsiteY731" fmla="*/ 2389189 h 6858000"/>
              <a:gd name="connsiteX732" fmla="*/ 103062 w 7467600"/>
              <a:gd name="connsiteY732" fmla="*/ 2389518 h 6858000"/>
              <a:gd name="connsiteX733" fmla="*/ 510734 w 7467600"/>
              <a:gd name="connsiteY733" fmla="*/ 2416201 h 6858000"/>
              <a:gd name="connsiteX734" fmla="*/ 279257 w 7467600"/>
              <a:gd name="connsiteY734" fmla="*/ 2092102 h 6858000"/>
              <a:gd name="connsiteX735" fmla="*/ 65265 w 7467600"/>
              <a:gd name="connsiteY735" fmla="*/ 2006049 h 6858000"/>
              <a:gd name="connsiteX736" fmla="*/ 0 w 7467600"/>
              <a:gd name="connsiteY736" fmla="*/ 1982532 h 6858000"/>
              <a:gd name="connsiteX737" fmla="*/ 0 w 7467600"/>
              <a:gd name="connsiteY737" fmla="*/ 1912789 h 6858000"/>
              <a:gd name="connsiteX738" fmla="*/ 97460 w 7467600"/>
              <a:gd name="connsiteY738" fmla="*/ 1953725 h 6858000"/>
              <a:gd name="connsiteX739" fmla="*/ 221272 w 7467600"/>
              <a:gd name="connsiteY739" fmla="*/ 1980766 h 6858000"/>
              <a:gd name="connsiteX740" fmla="*/ 116765 w 7467600"/>
              <a:gd name="connsiteY740" fmla="*/ 1911033 h 6858000"/>
              <a:gd name="connsiteX741" fmla="*/ 16405 w 7467600"/>
              <a:gd name="connsiteY741" fmla="*/ 1803412 h 6858000"/>
              <a:gd name="connsiteX742" fmla="*/ 0 w 7467600"/>
              <a:gd name="connsiteY742" fmla="*/ 1784777 h 6858000"/>
              <a:gd name="connsiteX743" fmla="*/ 0 w 7467600"/>
              <a:gd name="connsiteY743" fmla="*/ 1740082 h 6858000"/>
              <a:gd name="connsiteX744" fmla="*/ 39394 w 7467600"/>
              <a:gd name="connsiteY744" fmla="*/ 1784856 h 6858000"/>
              <a:gd name="connsiteX745" fmla="*/ 135813 w 7467600"/>
              <a:gd name="connsiteY745" fmla="*/ 1888838 h 6858000"/>
              <a:gd name="connsiteX746" fmla="*/ 242575 w 7467600"/>
              <a:gd name="connsiteY746" fmla="*/ 1958841 h 6858000"/>
              <a:gd name="connsiteX747" fmla="*/ 82197 w 7467600"/>
              <a:gd name="connsiteY747" fmla="*/ 1754826 h 6858000"/>
              <a:gd name="connsiteX748" fmla="*/ 0 w 7467600"/>
              <a:gd name="connsiteY748" fmla="*/ 1679650 h 6858000"/>
              <a:gd name="connsiteX749" fmla="*/ 0 w 7467600"/>
              <a:gd name="connsiteY749" fmla="*/ 1602463 h 6858000"/>
              <a:gd name="connsiteX750" fmla="*/ 84689 w 7467600"/>
              <a:gd name="connsiteY750" fmla="*/ 1677442 h 6858000"/>
              <a:gd name="connsiteX751" fmla="*/ 298437 w 7467600"/>
              <a:gd name="connsiteY751" fmla="*/ 1968019 h 6858000"/>
              <a:gd name="connsiteX752" fmla="*/ 227269 w 7467600"/>
              <a:gd name="connsiteY752" fmla="*/ 1114064 h 6858000"/>
              <a:gd name="connsiteX753" fmla="*/ 248003 w 7467600"/>
              <a:gd name="connsiteY753" fmla="*/ 1089613 h 6858000"/>
              <a:gd name="connsiteX754" fmla="*/ 427020 w 7467600"/>
              <a:gd name="connsiteY754" fmla="*/ 1619803 h 6858000"/>
              <a:gd name="connsiteX755" fmla="*/ 340345 w 7467600"/>
              <a:gd name="connsiteY755" fmla="*/ 2027739 h 6858000"/>
              <a:gd name="connsiteX756" fmla="*/ 360865 w 7467600"/>
              <a:gd name="connsiteY756" fmla="*/ 2044827 h 6858000"/>
              <a:gd name="connsiteX757" fmla="*/ 560414 w 7467600"/>
              <a:gd name="connsiteY757" fmla="*/ 2421457 h 6858000"/>
              <a:gd name="connsiteX758" fmla="*/ 1359703 w 7467600"/>
              <a:gd name="connsiteY758" fmla="*/ 2578554 h 6858000"/>
              <a:gd name="connsiteX759" fmla="*/ 1359422 w 7467600"/>
              <a:gd name="connsiteY759" fmla="*/ 2577994 h 6858000"/>
              <a:gd name="connsiteX760" fmla="*/ 828701 w 7467600"/>
              <a:gd name="connsiteY760" fmla="*/ 1839520 h 6858000"/>
              <a:gd name="connsiteX761" fmla="*/ 494427 w 7467600"/>
              <a:gd name="connsiteY761" fmla="*/ 1092333 h 6858000"/>
              <a:gd name="connsiteX762" fmla="*/ 506322 w 7467600"/>
              <a:gd name="connsiteY762" fmla="*/ 1020997 h 6858000"/>
              <a:gd name="connsiteX763" fmla="*/ 4570198 w 7467600"/>
              <a:gd name="connsiteY763" fmla="*/ 978081 h 6858000"/>
              <a:gd name="connsiteX764" fmla="*/ 4523691 w 7467600"/>
              <a:gd name="connsiteY764" fmla="*/ 1127776 h 6858000"/>
              <a:gd name="connsiteX765" fmla="*/ 4509875 w 7467600"/>
              <a:gd name="connsiteY765" fmla="*/ 1167552 h 6858000"/>
              <a:gd name="connsiteX766" fmla="*/ 4478168 w 7467600"/>
              <a:gd name="connsiteY766" fmla="*/ 1260735 h 6858000"/>
              <a:gd name="connsiteX767" fmla="*/ 4409309 w 7467600"/>
              <a:gd name="connsiteY767" fmla="*/ 1666996 h 6858000"/>
              <a:gd name="connsiteX768" fmla="*/ 4370031 w 7467600"/>
              <a:gd name="connsiteY768" fmla="*/ 1955666 h 6858000"/>
              <a:gd name="connsiteX769" fmla="*/ 4570198 w 7467600"/>
              <a:gd name="connsiteY769" fmla="*/ 978081 h 6858000"/>
              <a:gd name="connsiteX770" fmla="*/ 4557898 w 7467600"/>
              <a:gd name="connsiteY770" fmla="*/ 900011 h 6858000"/>
              <a:gd name="connsiteX771" fmla="*/ 4344840 w 7467600"/>
              <a:gd name="connsiteY771" fmla="*/ 1922038 h 6858000"/>
              <a:gd name="connsiteX772" fmla="*/ 4378710 w 7467600"/>
              <a:gd name="connsiteY772" fmla="*/ 1665516 h 6858000"/>
              <a:gd name="connsiteX773" fmla="*/ 4448798 w 7467600"/>
              <a:gd name="connsiteY773" fmla="*/ 1253024 h 6858000"/>
              <a:gd name="connsiteX774" fmla="*/ 4480315 w 7467600"/>
              <a:gd name="connsiteY774" fmla="*/ 1158454 h 6858000"/>
              <a:gd name="connsiteX775" fmla="*/ 4494133 w 7467600"/>
              <a:gd name="connsiteY775" fmla="*/ 1118676 h 6858000"/>
              <a:gd name="connsiteX776" fmla="*/ 4557898 w 7467600"/>
              <a:gd name="connsiteY776" fmla="*/ 900011 h 6858000"/>
              <a:gd name="connsiteX777" fmla="*/ 5870151 w 7467600"/>
              <a:gd name="connsiteY777" fmla="*/ 898890 h 6858000"/>
              <a:gd name="connsiteX778" fmla="*/ 5861335 w 7467600"/>
              <a:gd name="connsiteY778" fmla="*/ 899177 h 6858000"/>
              <a:gd name="connsiteX779" fmla="*/ 5843702 w 7467600"/>
              <a:gd name="connsiteY779" fmla="*/ 899748 h 6858000"/>
              <a:gd name="connsiteX780" fmla="*/ 5651107 w 7467600"/>
              <a:gd name="connsiteY780" fmla="*/ 920306 h 6858000"/>
              <a:gd name="connsiteX781" fmla="*/ 5459407 w 7467600"/>
              <a:gd name="connsiteY781" fmla="*/ 940975 h 6858000"/>
              <a:gd name="connsiteX782" fmla="*/ 5374846 w 7467600"/>
              <a:gd name="connsiteY782" fmla="*/ 941988 h 6858000"/>
              <a:gd name="connsiteX783" fmla="*/ 5256105 w 7467600"/>
              <a:gd name="connsiteY783" fmla="*/ 945632 h 6858000"/>
              <a:gd name="connsiteX784" fmla="*/ 5107071 w 7467600"/>
              <a:gd name="connsiteY784" fmla="*/ 969720 h 6858000"/>
              <a:gd name="connsiteX785" fmla="*/ 4998681 w 7467600"/>
              <a:gd name="connsiteY785" fmla="*/ 988771 h 6858000"/>
              <a:gd name="connsiteX786" fmla="*/ 5870151 w 7467600"/>
              <a:gd name="connsiteY786" fmla="*/ 898890 h 6858000"/>
              <a:gd name="connsiteX787" fmla="*/ 5504425 w 7467600"/>
              <a:gd name="connsiteY787" fmla="*/ 848067 h 6858000"/>
              <a:gd name="connsiteX788" fmla="*/ 4968849 w 7467600"/>
              <a:gd name="connsiteY788" fmla="*/ 962318 h 6858000"/>
              <a:gd name="connsiteX789" fmla="*/ 5104039 w 7467600"/>
              <a:gd name="connsiteY789" fmla="*/ 940634 h 6858000"/>
              <a:gd name="connsiteX790" fmla="*/ 5256311 w 7467600"/>
              <a:gd name="connsiteY790" fmla="*/ 916490 h 6858000"/>
              <a:gd name="connsiteX791" fmla="*/ 5377381 w 7467600"/>
              <a:gd name="connsiteY791" fmla="*/ 912671 h 6858000"/>
              <a:gd name="connsiteX792" fmla="*/ 5460148 w 7467600"/>
              <a:gd name="connsiteY792" fmla="*/ 911442 h 6858000"/>
              <a:gd name="connsiteX793" fmla="*/ 5648971 w 7467600"/>
              <a:gd name="connsiteY793" fmla="*/ 891331 h 6858000"/>
              <a:gd name="connsiteX794" fmla="*/ 5844807 w 7467600"/>
              <a:gd name="connsiteY794" fmla="*/ 870718 h 6858000"/>
              <a:gd name="connsiteX795" fmla="*/ 5862975 w 7467600"/>
              <a:gd name="connsiteY795" fmla="*/ 869756 h 6858000"/>
              <a:gd name="connsiteX796" fmla="*/ 5920887 w 7467600"/>
              <a:gd name="connsiteY796" fmla="*/ 865929 h 6858000"/>
              <a:gd name="connsiteX797" fmla="*/ 5504425 w 7467600"/>
              <a:gd name="connsiteY797" fmla="*/ 848067 h 6858000"/>
              <a:gd name="connsiteX798" fmla="*/ 3607114 w 7467600"/>
              <a:gd name="connsiteY798" fmla="*/ 467441 h 6858000"/>
              <a:gd name="connsiteX799" fmla="*/ 3296242 w 7467600"/>
              <a:gd name="connsiteY799" fmla="*/ 807991 h 6858000"/>
              <a:gd name="connsiteX800" fmla="*/ 3174674 w 7467600"/>
              <a:gd name="connsiteY800" fmla="*/ 919759 h 6858000"/>
              <a:gd name="connsiteX801" fmla="*/ 3042978 w 7467600"/>
              <a:gd name="connsiteY801" fmla="*/ 1054894 h 6858000"/>
              <a:gd name="connsiteX802" fmla="*/ 2968914 w 7467600"/>
              <a:gd name="connsiteY802" fmla="*/ 1133756 h 6858000"/>
              <a:gd name="connsiteX803" fmla="*/ 3103823 w 7467600"/>
              <a:gd name="connsiteY803" fmla="*/ 1026814 h 6858000"/>
              <a:gd name="connsiteX804" fmla="*/ 3607114 w 7467600"/>
              <a:gd name="connsiteY804" fmla="*/ 467441 h 6858000"/>
              <a:gd name="connsiteX805" fmla="*/ 3744487 w 7467600"/>
              <a:gd name="connsiteY805" fmla="*/ 383136 h 6858000"/>
              <a:gd name="connsiteX806" fmla="*/ 3970213 w 7467600"/>
              <a:gd name="connsiteY806" fmla="*/ 995559 h 6858000"/>
              <a:gd name="connsiteX807" fmla="*/ 3744487 w 7467600"/>
              <a:gd name="connsiteY807" fmla="*/ 383136 h 6858000"/>
              <a:gd name="connsiteX808" fmla="*/ 3624562 w 7467600"/>
              <a:gd name="connsiteY808" fmla="*/ 367041 h 6858000"/>
              <a:gd name="connsiteX809" fmla="*/ 3489712 w 7467600"/>
              <a:gd name="connsiteY809" fmla="*/ 485386 h 6858000"/>
              <a:gd name="connsiteX810" fmla="*/ 3182994 w 7467600"/>
              <a:gd name="connsiteY810" fmla="*/ 828265 h 6858000"/>
              <a:gd name="connsiteX811" fmla="*/ 2892114 w 7467600"/>
              <a:gd name="connsiteY811" fmla="*/ 1172635 h 6858000"/>
              <a:gd name="connsiteX812" fmla="*/ 3021459 w 7467600"/>
              <a:gd name="connsiteY812" fmla="*/ 1035385 h 6858000"/>
              <a:gd name="connsiteX813" fmla="*/ 3153873 w 7467600"/>
              <a:gd name="connsiteY813" fmla="*/ 898971 h 6858000"/>
              <a:gd name="connsiteX814" fmla="*/ 3276511 w 7467600"/>
              <a:gd name="connsiteY814" fmla="*/ 786423 h 6858000"/>
              <a:gd name="connsiteX815" fmla="*/ 3584154 w 7467600"/>
              <a:gd name="connsiteY815" fmla="*/ 448218 h 6858000"/>
              <a:gd name="connsiteX816" fmla="*/ 3624562 w 7467600"/>
              <a:gd name="connsiteY816" fmla="*/ 367041 h 6858000"/>
              <a:gd name="connsiteX817" fmla="*/ 3766672 w 7467600"/>
              <a:gd name="connsiteY817" fmla="*/ 359429 h 6858000"/>
              <a:gd name="connsiteX818" fmla="*/ 3996338 w 7467600"/>
              <a:gd name="connsiteY818" fmla="*/ 968237 h 6858000"/>
              <a:gd name="connsiteX819" fmla="*/ 3766672 w 7467600"/>
              <a:gd name="connsiteY819" fmla="*/ 359429 h 6858000"/>
              <a:gd name="connsiteX820" fmla="*/ 5805386 w 7467600"/>
              <a:gd name="connsiteY820" fmla="*/ 239240 h 6858000"/>
              <a:gd name="connsiteX821" fmla="*/ 5736947 w 7467600"/>
              <a:gd name="connsiteY821" fmla="*/ 261367 h 6858000"/>
              <a:gd name="connsiteX822" fmla="*/ 5427012 w 7467600"/>
              <a:gd name="connsiteY822" fmla="*/ 311272 h 6858000"/>
              <a:gd name="connsiteX823" fmla="*/ 5147818 w 7467600"/>
              <a:gd name="connsiteY823" fmla="*/ 322112 h 6858000"/>
              <a:gd name="connsiteX824" fmla="*/ 5060854 w 7467600"/>
              <a:gd name="connsiteY824" fmla="*/ 311882 h 6858000"/>
              <a:gd name="connsiteX825" fmla="*/ 4945989 w 7467600"/>
              <a:gd name="connsiteY825" fmla="*/ 300516 h 6858000"/>
              <a:gd name="connsiteX826" fmla="*/ 5410479 w 7467600"/>
              <a:gd name="connsiteY826" fmla="*/ 348434 h 6858000"/>
              <a:gd name="connsiteX827" fmla="*/ 5805386 w 7467600"/>
              <a:gd name="connsiteY827" fmla="*/ 239240 h 6858000"/>
              <a:gd name="connsiteX828" fmla="*/ 5905192 w 7467600"/>
              <a:gd name="connsiteY828" fmla="*/ 163079 h 6858000"/>
              <a:gd name="connsiteX829" fmla="*/ 5865655 w 7467600"/>
              <a:gd name="connsiteY829" fmla="*/ 171901 h 6858000"/>
              <a:gd name="connsiteX830" fmla="*/ 5259740 w 7467600"/>
              <a:gd name="connsiteY830" fmla="*/ 257013 h 6858000"/>
              <a:gd name="connsiteX831" fmla="*/ 5208466 w 7467600"/>
              <a:gd name="connsiteY831" fmla="*/ 257550 h 6858000"/>
              <a:gd name="connsiteX832" fmla="*/ 4980204 w 7467600"/>
              <a:gd name="connsiteY832" fmla="*/ 271903 h 6858000"/>
              <a:gd name="connsiteX833" fmla="*/ 5068068 w 7467600"/>
              <a:gd name="connsiteY833" fmla="*/ 282244 h 6858000"/>
              <a:gd name="connsiteX834" fmla="*/ 5153231 w 7467600"/>
              <a:gd name="connsiteY834" fmla="*/ 292240 h 6858000"/>
              <a:gd name="connsiteX835" fmla="*/ 5426491 w 7467600"/>
              <a:gd name="connsiteY835" fmla="*/ 281128 h 6858000"/>
              <a:gd name="connsiteX836" fmla="*/ 5731212 w 7467600"/>
              <a:gd name="connsiteY836" fmla="*/ 231951 h 6858000"/>
              <a:gd name="connsiteX837" fmla="*/ 5905192 w 7467600"/>
              <a:gd name="connsiteY837" fmla="*/ 163079 h 6858000"/>
              <a:gd name="connsiteX838" fmla="*/ 5944437 w 7467600"/>
              <a:gd name="connsiteY838" fmla="*/ 113829 h 6858000"/>
              <a:gd name="connsiteX839" fmla="*/ 5825032 w 7467600"/>
              <a:gd name="connsiteY839" fmla="*/ 146405 h 6858000"/>
              <a:gd name="connsiteX840" fmla="*/ 4955599 w 7467600"/>
              <a:gd name="connsiteY840" fmla="*/ 247008 h 6858000"/>
              <a:gd name="connsiteX841" fmla="*/ 5210104 w 7467600"/>
              <a:gd name="connsiteY841" fmla="*/ 228123 h 6858000"/>
              <a:gd name="connsiteX842" fmla="*/ 5261015 w 7467600"/>
              <a:gd name="connsiteY842" fmla="*/ 227087 h 6858000"/>
              <a:gd name="connsiteX843" fmla="*/ 5861181 w 7467600"/>
              <a:gd name="connsiteY843" fmla="*/ 143093 h 6858000"/>
              <a:gd name="connsiteX844" fmla="*/ 5961252 w 7467600"/>
              <a:gd name="connsiteY844" fmla="*/ 114820 h 6858000"/>
              <a:gd name="connsiteX845" fmla="*/ 5944437 w 7467600"/>
              <a:gd name="connsiteY845" fmla="*/ 113829 h 6858000"/>
              <a:gd name="connsiteX846" fmla="*/ 3882765 w 7467600"/>
              <a:gd name="connsiteY846" fmla="*/ 0 h 6858000"/>
              <a:gd name="connsiteX847" fmla="*/ 3995099 w 7467600"/>
              <a:gd name="connsiteY847" fmla="*/ 0 h 6858000"/>
              <a:gd name="connsiteX848" fmla="*/ 4163818 w 7467600"/>
              <a:gd name="connsiteY848" fmla="*/ 234104 h 6858000"/>
              <a:gd name="connsiteX849" fmla="*/ 4172099 w 7467600"/>
              <a:gd name="connsiteY849" fmla="*/ 234207 h 6858000"/>
              <a:gd name="connsiteX850" fmla="*/ 4784282 w 7467600"/>
              <a:gd name="connsiteY850" fmla="*/ 276561 h 6858000"/>
              <a:gd name="connsiteX851" fmla="*/ 4801687 w 7467600"/>
              <a:gd name="connsiteY851" fmla="*/ 267764 h 6858000"/>
              <a:gd name="connsiteX852" fmla="*/ 6082788 w 7467600"/>
              <a:gd name="connsiteY852" fmla="*/ 64119 h 6858000"/>
              <a:gd name="connsiteX853" fmla="*/ 6099442 w 7467600"/>
              <a:gd name="connsiteY853" fmla="*/ 82568 h 6858000"/>
              <a:gd name="connsiteX854" fmla="*/ 4804137 w 7467600"/>
              <a:gd name="connsiteY854" fmla="*/ 320931 h 6858000"/>
              <a:gd name="connsiteX855" fmla="*/ 4227047 w 7467600"/>
              <a:gd name="connsiteY855" fmla="*/ 313415 h 6858000"/>
              <a:gd name="connsiteX856" fmla="*/ 4346041 w 7467600"/>
              <a:gd name="connsiteY856" fmla="*/ 456086 h 6858000"/>
              <a:gd name="connsiteX857" fmla="*/ 4870967 w 7467600"/>
              <a:gd name="connsiteY857" fmla="*/ 963061 h 6858000"/>
              <a:gd name="connsiteX858" fmla="*/ 4889647 w 7467600"/>
              <a:gd name="connsiteY858" fmla="*/ 957147 h 6858000"/>
              <a:gd name="connsiteX859" fmla="*/ 5422504 w 7467600"/>
              <a:gd name="connsiteY859" fmla="*/ 805191 h 6858000"/>
              <a:gd name="connsiteX860" fmla="*/ 6087656 w 7467600"/>
              <a:gd name="connsiteY860" fmla="*/ 826703 h 6858000"/>
              <a:gd name="connsiteX861" fmla="*/ 6058717 w 7467600"/>
              <a:gd name="connsiteY861" fmla="*/ 865992 h 6858000"/>
              <a:gd name="connsiteX862" fmla="*/ 4974153 w 7467600"/>
              <a:gd name="connsiteY862" fmla="*/ 1045456 h 6858000"/>
              <a:gd name="connsiteX863" fmla="*/ 5627835 w 7467600"/>
              <a:gd name="connsiteY863" fmla="*/ 1472077 h 6858000"/>
              <a:gd name="connsiteX864" fmla="*/ 5629817 w 7467600"/>
              <a:gd name="connsiteY864" fmla="*/ 1471412 h 6858000"/>
              <a:gd name="connsiteX865" fmla="*/ 5634124 w 7467600"/>
              <a:gd name="connsiteY865" fmla="*/ 1470572 h 6858000"/>
              <a:gd name="connsiteX866" fmla="*/ 5755832 w 7467600"/>
              <a:gd name="connsiteY866" fmla="*/ 1383886 h 6858000"/>
              <a:gd name="connsiteX867" fmla="*/ 6014186 w 7467600"/>
              <a:gd name="connsiteY867" fmla="*/ 1279799 h 6858000"/>
              <a:gd name="connsiteX868" fmla="*/ 6901619 w 7467600"/>
              <a:gd name="connsiteY868" fmla="*/ 1047874 h 6858000"/>
              <a:gd name="connsiteX869" fmla="*/ 6931566 w 7467600"/>
              <a:gd name="connsiteY869" fmla="*/ 1062034 h 6858000"/>
              <a:gd name="connsiteX870" fmla="*/ 5790982 w 7467600"/>
              <a:gd name="connsiteY870" fmla="*/ 1561380 h 6858000"/>
              <a:gd name="connsiteX871" fmla="*/ 6188971 w 7467600"/>
              <a:gd name="connsiteY871" fmla="*/ 1755168 h 6858000"/>
              <a:gd name="connsiteX872" fmla="*/ 6202446 w 7467600"/>
              <a:gd name="connsiteY872" fmla="*/ 1752268 h 6858000"/>
              <a:gd name="connsiteX873" fmla="*/ 7179560 w 7467600"/>
              <a:gd name="connsiteY873" fmla="*/ 1467551 h 6858000"/>
              <a:gd name="connsiteX874" fmla="*/ 7158730 w 7467600"/>
              <a:gd name="connsiteY874" fmla="*/ 1507835 h 6858000"/>
              <a:gd name="connsiteX875" fmla="*/ 6326959 w 7467600"/>
              <a:gd name="connsiteY875" fmla="*/ 1817686 h 6858000"/>
              <a:gd name="connsiteX876" fmla="*/ 6537433 w 7467600"/>
              <a:gd name="connsiteY876" fmla="*/ 1907790 h 6858000"/>
              <a:gd name="connsiteX877" fmla="*/ 6550221 w 7467600"/>
              <a:gd name="connsiteY877" fmla="*/ 1910729 h 6858000"/>
              <a:gd name="connsiteX878" fmla="*/ 6964438 w 7467600"/>
              <a:gd name="connsiteY878" fmla="*/ 2209505 h 6858000"/>
              <a:gd name="connsiteX879" fmla="*/ 7367862 w 7467600"/>
              <a:gd name="connsiteY879" fmla="*/ 2806833 h 6858000"/>
              <a:gd name="connsiteX880" fmla="*/ 7364329 w 7467600"/>
              <a:gd name="connsiteY880" fmla="*/ 2826907 h 6858000"/>
              <a:gd name="connsiteX881" fmla="*/ 7290545 w 7467600"/>
              <a:gd name="connsiteY881" fmla="*/ 2850663 h 6858000"/>
              <a:gd name="connsiteX882" fmla="*/ 6472036 w 7467600"/>
              <a:gd name="connsiteY882" fmla="*/ 1959003 h 6858000"/>
              <a:gd name="connsiteX883" fmla="*/ 5792897 w 7467600"/>
              <a:gd name="connsiteY883" fmla="*/ 1647747 h 6858000"/>
              <a:gd name="connsiteX884" fmla="*/ 5842751 w 7467600"/>
              <a:gd name="connsiteY884" fmla="*/ 1816112 h 6858000"/>
              <a:gd name="connsiteX885" fmla="*/ 5847424 w 7467600"/>
              <a:gd name="connsiteY885" fmla="*/ 1815776 h 6858000"/>
              <a:gd name="connsiteX886" fmla="*/ 6399821 w 7467600"/>
              <a:gd name="connsiteY886" fmla="*/ 2344799 h 6858000"/>
              <a:gd name="connsiteX887" fmla="*/ 6323232 w 7467600"/>
              <a:gd name="connsiteY887" fmla="*/ 2389634 h 6858000"/>
              <a:gd name="connsiteX888" fmla="*/ 5942958 w 7467600"/>
              <a:gd name="connsiteY888" fmla="*/ 2077708 h 6858000"/>
              <a:gd name="connsiteX889" fmla="*/ 5921559 w 7467600"/>
              <a:gd name="connsiteY889" fmla="*/ 2378596 h 6858000"/>
              <a:gd name="connsiteX890" fmla="*/ 5817651 w 7467600"/>
              <a:gd name="connsiteY890" fmla="*/ 3023919 h 6858000"/>
              <a:gd name="connsiteX891" fmla="*/ 5729634 w 7467600"/>
              <a:gd name="connsiteY891" fmla="*/ 3051849 h 6858000"/>
              <a:gd name="connsiteX892" fmla="*/ 5611018 w 7467600"/>
              <a:gd name="connsiteY892" fmla="*/ 2316769 h 6858000"/>
              <a:gd name="connsiteX893" fmla="*/ 5687608 w 7467600"/>
              <a:gd name="connsiteY893" fmla="*/ 2039972 h 6858000"/>
              <a:gd name="connsiteX894" fmla="*/ 5657554 w 7467600"/>
              <a:gd name="connsiteY894" fmla="*/ 1576445 h 6858000"/>
              <a:gd name="connsiteX895" fmla="*/ 5150475 w 7467600"/>
              <a:gd name="connsiteY895" fmla="*/ 1274012 h 6858000"/>
              <a:gd name="connsiteX896" fmla="*/ 5349142 w 7467600"/>
              <a:gd name="connsiteY896" fmla="*/ 2204405 h 6858000"/>
              <a:gd name="connsiteX897" fmla="*/ 5262214 w 7467600"/>
              <a:gd name="connsiteY897" fmla="*/ 2233836 h 6858000"/>
              <a:gd name="connsiteX898" fmla="*/ 4981539 w 7467600"/>
              <a:gd name="connsiteY898" fmla="*/ 1542201 h 6858000"/>
              <a:gd name="connsiteX899" fmla="*/ 4958461 w 7467600"/>
              <a:gd name="connsiteY899" fmla="*/ 1136957 h 6858000"/>
              <a:gd name="connsiteX900" fmla="*/ 4655015 w 7467600"/>
              <a:gd name="connsiteY900" fmla="*/ 891426 h 6858000"/>
              <a:gd name="connsiteX901" fmla="*/ 4348002 w 7467600"/>
              <a:gd name="connsiteY901" fmla="*/ 2205895 h 6858000"/>
              <a:gd name="connsiteX902" fmla="*/ 4262250 w 7467600"/>
              <a:gd name="connsiteY902" fmla="*/ 2219972 h 6858000"/>
              <a:gd name="connsiteX903" fmla="*/ 4550611 w 7467600"/>
              <a:gd name="connsiteY903" fmla="*/ 817540 h 6858000"/>
              <a:gd name="connsiteX904" fmla="*/ 4564418 w 7467600"/>
              <a:gd name="connsiteY904" fmla="*/ 808293 h 6858000"/>
              <a:gd name="connsiteX905" fmla="*/ 4266388 w 7467600"/>
              <a:gd name="connsiteY905" fmla="*/ 500083 h 6858000"/>
              <a:gd name="connsiteX906" fmla="*/ 4032842 w 7467600"/>
              <a:gd name="connsiteY906" fmla="*/ 211809 h 6858000"/>
              <a:gd name="connsiteX907" fmla="*/ 3882765 w 7467600"/>
              <a:gd name="connsiteY907" fmla="*/ 0 h 6858000"/>
              <a:gd name="connsiteX908" fmla="*/ 3721337 w 7467600"/>
              <a:gd name="connsiteY908" fmla="*/ 0 h 6858000"/>
              <a:gd name="connsiteX909" fmla="*/ 3797544 w 7467600"/>
              <a:gd name="connsiteY909" fmla="*/ 0 h 6858000"/>
              <a:gd name="connsiteX910" fmla="*/ 3775734 w 7467600"/>
              <a:gd name="connsiteY910" fmla="*/ 95131 h 6858000"/>
              <a:gd name="connsiteX911" fmla="*/ 3724807 w 7467600"/>
              <a:gd name="connsiteY911" fmla="*/ 272257 h 6858000"/>
              <a:gd name="connsiteX912" fmla="*/ 3726844 w 7467600"/>
              <a:gd name="connsiteY912" fmla="*/ 282988 h 6858000"/>
              <a:gd name="connsiteX913" fmla="*/ 3742664 w 7467600"/>
              <a:gd name="connsiteY913" fmla="*/ 279918 h 6858000"/>
              <a:gd name="connsiteX914" fmla="*/ 4103910 w 7467600"/>
              <a:gd name="connsiteY914" fmla="*/ 1161917 h 6858000"/>
              <a:gd name="connsiteX915" fmla="*/ 4020269 w 7467600"/>
              <a:gd name="connsiteY915" fmla="*/ 1200406 h 6858000"/>
              <a:gd name="connsiteX916" fmla="*/ 3674882 w 7467600"/>
              <a:gd name="connsiteY916" fmla="*/ 488524 h 6858000"/>
              <a:gd name="connsiteX917" fmla="*/ 3132682 w 7467600"/>
              <a:gd name="connsiteY917" fmla="*/ 1072284 h 6858000"/>
              <a:gd name="connsiteX918" fmla="*/ 2716346 w 7467600"/>
              <a:gd name="connsiteY918" fmla="*/ 1276376 h 6858000"/>
              <a:gd name="connsiteX919" fmla="*/ 2716772 w 7467600"/>
              <a:gd name="connsiteY919" fmla="*/ 1255462 h 6858000"/>
              <a:gd name="connsiteX920" fmla="*/ 3471096 w 7467600"/>
              <a:gd name="connsiteY920" fmla="*/ 437072 h 6858000"/>
              <a:gd name="connsiteX921" fmla="*/ 3639057 w 7467600"/>
              <a:gd name="connsiteY921" fmla="*/ 286334 h 6858000"/>
              <a:gd name="connsiteX922" fmla="*/ 3640309 w 7467600"/>
              <a:gd name="connsiteY922" fmla="*/ 284664 h 6858000"/>
              <a:gd name="connsiteX923" fmla="*/ 3646022 w 7467600"/>
              <a:gd name="connsiteY923" fmla="*/ 276711 h 6858000"/>
              <a:gd name="connsiteX924" fmla="*/ 3707943 w 7467600"/>
              <a:gd name="connsiteY924" fmla="*/ 65958 h 6858000"/>
              <a:gd name="connsiteX925" fmla="*/ 3721337 w 7467600"/>
              <a:gd name="connsiteY925" fmla="*/ 0 h 6858000"/>
              <a:gd name="connsiteX926" fmla="*/ 2867960 w 7467600"/>
              <a:gd name="connsiteY926" fmla="*/ 0 h 6858000"/>
              <a:gd name="connsiteX927" fmla="*/ 2926351 w 7467600"/>
              <a:gd name="connsiteY927" fmla="*/ 0 h 6858000"/>
              <a:gd name="connsiteX928" fmla="*/ 2902823 w 7467600"/>
              <a:gd name="connsiteY928" fmla="*/ 262929 h 6858000"/>
              <a:gd name="connsiteX929" fmla="*/ 2940663 w 7467600"/>
              <a:gd name="connsiteY929" fmla="*/ 140884 h 6858000"/>
              <a:gd name="connsiteX930" fmla="*/ 2947039 w 7467600"/>
              <a:gd name="connsiteY930" fmla="*/ 122524 h 6858000"/>
              <a:gd name="connsiteX931" fmla="*/ 2984316 w 7467600"/>
              <a:gd name="connsiteY931" fmla="*/ 0 h 6858000"/>
              <a:gd name="connsiteX932" fmla="*/ 3016114 w 7467600"/>
              <a:gd name="connsiteY932" fmla="*/ 0 h 6858000"/>
              <a:gd name="connsiteX933" fmla="*/ 2979949 w 7467600"/>
              <a:gd name="connsiteY933" fmla="*/ 119274 h 6858000"/>
              <a:gd name="connsiteX934" fmla="*/ 3023879 w 7467600"/>
              <a:gd name="connsiteY934" fmla="*/ 0 h 6858000"/>
              <a:gd name="connsiteX935" fmla="*/ 3105400 w 7467600"/>
              <a:gd name="connsiteY935" fmla="*/ 0 h 6858000"/>
              <a:gd name="connsiteX936" fmla="*/ 3094669 w 7467600"/>
              <a:gd name="connsiteY936" fmla="*/ 30308 h 6858000"/>
              <a:gd name="connsiteX937" fmla="*/ 2901945 w 7467600"/>
              <a:gd name="connsiteY937" fmla="*/ 466538 h 6858000"/>
              <a:gd name="connsiteX938" fmla="*/ 2815209 w 7467600"/>
              <a:gd name="connsiteY938" fmla="*/ 497361 h 6858000"/>
              <a:gd name="connsiteX939" fmla="*/ 2844845 w 7467600"/>
              <a:gd name="connsiteY939" fmla="*/ 127638 h 6858000"/>
              <a:gd name="connsiteX940" fmla="*/ 2867960 w 7467600"/>
              <a:gd name="connsiteY940" fmla="*/ 0 h 6858000"/>
              <a:gd name="connsiteX941" fmla="*/ 1057230 w 7467600"/>
              <a:gd name="connsiteY941" fmla="*/ 0 h 6858000"/>
              <a:gd name="connsiteX942" fmla="*/ 1111003 w 7467600"/>
              <a:gd name="connsiteY942" fmla="*/ 0 h 6858000"/>
              <a:gd name="connsiteX943" fmla="*/ 1125553 w 7467600"/>
              <a:gd name="connsiteY943" fmla="*/ 52588 h 6858000"/>
              <a:gd name="connsiteX944" fmla="*/ 1304276 w 7467600"/>
              <a:gd name="connsiteY944" fmla="*/ 476275 h 6858000"/>
              <a:gd name="connsiteX945" fmla="*/ 1492066 w 7467600"/>
              <a:gd name="connsiteY945" fmla="*/ 886333 h 6858000"/>
              <a:gd name="connsiteX946" fmla="*/ 1423698 w 7467600"/>
              <a:gd name="connsiteY946" fmla="*/ 710817 h 6858000"/>
              <a:gd name="connsiteX947" fmla="*/ 1357609 w 7467600"/>
              <a:gd name="connsiteY947" fmla="*/ 532892 h 6858000"/>
              <a:gd name="connsiteX948" fmla="*/ 1309550 w 7467600"/>
              <a:gd name="connsiteY948" fmla="*/ 374031 h 6858000"/>
              <a:gd name="connsiteX949" fmla="*/ 1193673 w 7467600"/>
              <a:gd name="connsiteY949" fmla="*/ 49533 h 6858000"/>
              <a:gd name="connsiteX950" fmla="*/ 1164391 w 7467600"/>
              <a:gd name="connsiteY950" fmla="*/ 0 h 6858000"/>
              <a:gd name="connsiteX951" fmla="*/ 1200666 w 7467600"/>
              <a:gd name="connsiteY951" fmla="*/ 0 h 6858000"/>
              <a:gd name="connsiteX952" fmla="*/ 1223408 w 7467600"/>
              <a:gd name="connsiteY952" fmla="*/ 38996 h 6858000"/>
              <a:gd name="connsiteX953" fmla="*/ 1339635 w 7467600"/>
              <a:gd name="connsiteY953" fmla="*/ 365517 h 6858000"/>
              <a:gd name="connsiteX954" fmla="*/ 1387469 w 7467600"/>
              <a:gd name="connsiteY954" fmla="*/ 523079 h 6858000"/>
              <a:gd name="connsiteX955" fmla="*/ 1452685 w 7467600"/>
              <a:gd name="connsiteY955" fmla="*/ 699806 h 6858000"/>
              <a:gd name="connsiteX956" fmla="*/ 1492092 w 7467600"/>
              <a:gd name="connsiteY956" fmla="*/ 800424 h 6858000"/>
              <a:gd name="connsiteX957" fmla="*/ 1455302 w 7467600"/>
              <a:gd name="connsiteY957" fmla="*/ 632913 h 6858000"/>
              <a:gd name="connsiteX958" fmla="*/ 1222336 w 7467600"/>
              <a:gd name="connsiteY958" fmla="*/ 9480 h 6858000"/>
              <a:gd name="connsiteX959" fmla="*/ 1214634 w 7467600"/>
              <a:gd name="connsiteY959" fmla="*/ 0 h 6858000"/>
              <a:gd name="connsiteX960" fmla="*/ 1289827 w 7467600"/>
              <a:gd name="connsiteY960" fmla="*/ 0 h 6858000"/>
              <a:gd name="connsiteX961" fmla="*/ 1321076 w 7467600"/>
              <a:gd name="connsiteY961" fmla="*/ 59722 h 6858000"/>
              <a:gd name="connsiteX962" fmla="*/ 1512579 w 7467600"/>
              <a:gd name="connsiteY962" fmla="*/ 626441 h 6858000"/>
              <a:gd name="connsiteX963" fmla="*/ 1506076 w 7467600"/>
              <a:gd name="connsiteY963" fmla="*/ 1089289 h 6858000"/>
              <a:gd name="connsiteX964" fmla="*/ 1486346 w 7467600"/>
              <a:gd name="connsiteY964" fmla="*/ 1079919 h 6858000"/>
              <a:gd name="connsiteX965" fmla="*/ 1070511 w 7467600"/>
              <a:gd name="connsiteY965" fmla="*/ 48609 h 6858000"/>
              <a:gd name="connsiteX966" fmla="*/ 1057230 w 7467600"/>
              <a:gd name="connsiteY966" fmla="*/ 0 h 6858000"/>
              <a:gd name="connsiteX967" fmla="*/ 43151 w 7467600"/>
              <a:gd name="connsiteY967" fmla="*/ 0 h 6858000"/>
              <a:gd name="connsiteX968" fmla="*/ 95283 w 7467600"/>
              <a:gd name="connsiteY968" fmla="*/ 0 h 6858000"/>
              <a:gd name="connsiteX969" fmla="*/ 300708 w 7467600"/>
              <a:gd name="connsiteY969" fmla="*/ 154571 h 6858000"/>
              <a:gd name="connsiteX970" fmla="*/ 530414 w 7467600"/>
              <a:gd name="connsiteY970" fmla="*/ 354673 h 6858000"/>
              <a:gd name="connsiteX971" fmla="*/ 333785 w 7467600"/>
              <a:gd name="connsiteY971" fmla="*/ 161564 h 6858000"/>
              <a:gd name="connsiteX972" fmla="*/ 147005 w 7467600"/>
              <a:gd name="connsiteY972" fmla="*/ 0 h 6858000"/>
              <a:gd name="connsiteX973" fmla="*/ 272509 w 7467600"/>
              <a:gd name="connsiteY973" fmla="*/ 0 h 6858000"/>
              <a:gd name="connsiteX974" fmla="*/ 326276 w 7467600"/>
              <a:gd name="connsiteY974" fmla="*/ 45847 h 6858000"/>
              <a:gd name="connsiteX975" fmla="*/ 823759 w 7467600"/>
              <a:gd name="connsiteY975" fmla="*/ 574145 h 6858000"/>
              <a:gd name="connsiteX976" fmla="*/ 811254 w 7467600"/>
              <a:gd name="connsiteY976" fmla="*/ 665546 h 6858000"/>
              <a:gd name="connsiteX977" fmla="*/ 154042 w 7467600"/>
              <a:gd name="connsiteY977" fmla="*/ 261522 h 6858000"/>
              <a:gd name="connsiteX978" fmla="*/ 13550 w 7467600"/>
              <a:gd name="connsiteY978" fmla="*/ 158423 h 6858000"/>
              <a:gd name="connsiteX979" fmla="*/ 0 w 7467600"/>
              <a:gd name="connsiteY979" fmla="*/ 146618 h 6858000"/>
              <a:gd name="connsiteX980" fmla="*/ 0 w 7467600"/>
              <a:gd name="connsiteY980" fmla="*/ 59161 h 6858000"/>
              <a:gd name="connsiteX981" fmla="*/ 45427 w 7467600"/>
              <a:gd name="connsiteY981" fmla="*/ 101078 h 6858000"/>
              <a:gd name="connsiteX982" fmla="*/ 630103 w 7467600"/>
              <a:gd name="connsiteY982" fmla="*/ 485885 h 6858000"/>
              <a:gd name="connsiteX983" fmla="*/ 532040 w 7467600"/>
              <a:gd name="connsiteY983" fmla="*/ 399359 h 6858000"/>
              <a:gd name="connsiteX984" fmla="*/ 517618 w 7467600"/>
              <a:gd name="connsiteY984" fmla="*/ 385726 h 6858000"/>
              <a:gd name="connsiteX985" fmla="*/ 285074 w 7467600"/>
              <a:gd name="connsiteY985" fmla="*/ 182755 h 6858000"/>
              <a:gd name="connsiteX986" fmla="*/ 43151 w 7467600"/>
              <a:gd name="connsiteY986"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7312201 w 7467600"/>
              <a:gd name="connsiteY127" fmla="*/ 5128278 h 6858000"/>
              <a:gd name="connsiteX128" fmla="*/ 7450656 w 7467600"/>
              <a:gd name="connsiteY128" fmla="*/ 5134750 h 6858000"/>
              <a:gd name="connsiteX129" fmla="*/ 7312201 w 7467600"/>
              <a:gd name="connsiteY129" fmla="*/ 5128278 h 6858000"/>
              <a:gd name="connsiteX130" fmla="*/ 1903353 w 7467600"/>
              <a:gd name="connsiteY130" fmla="*/ 5044827 h 6858000"/>
              <a:gd name="connsiteX131" fmla="*/ 1936931 w 7467600"/>
              <a:gd name="connsiteY131" fmla="*/ 5093954 h 6858000"/>
              <a:gd name="connsiteX132" fmla="*/ 2195868 w 7467600"/>
              <a:gd name="connsiteY132" fmla="*/ 5396574 h 6858000"/>
              <a:gd name="connsiteX133" fmla="*/ 2088852 w 7467600"/>
              <a:gd name="connsiteY133" fmla="*/ 5166123 h 6858000"/>
              <a:gd name="connsiteX134" fmla="*/ 1958241 w 7467600"/>
              <a:gd name="connsiteY134" fmla="*/ 5067955 h 6858000"/>
              <a:gd name="connsiteX135" fmla="*/ 1903353 w 7467600"/>
              <a:gd name="connsiteY135" fmla="*/ 5044827 h 6858000"/>
              <a:gd name="connsiteX136" fmla="*/ 1979378 w 7467600"/>
              <a:gd name="connsiteY136" fmla="*/ 4769504 h 6858000"/>
              <a:gd name="connsiteX137" fmla="*/ 2882120 w 7467600"/>
              <a:gd name="connsiteY137" fmla="*/ 5064547 h 6858000"/>
              <a:gd name="connsiteX138" fmla="*/ 2793103 w 7467600"/>
              <a:gd name="connsiteY138" fmla="*/ 5039699 h 6858000"/>
              <a:gd name="connsiteX139" fmla="*/ 2770041 w 7467600"/>
              <a:gd name="connsiteY139" fmla="*/ 5033634 h 6858000"/>
              <a:gd name="connsiteX140" fmla="*/ 1979378 w 7467600"/>
              <a:gd name="connsiteY140" fmla="*/ 4769504 h 6858000"/>
              <a:gd name="connsiteX141" fmla="*/ 1927410 w 7467600"/>
              <a:gd name="connsiteY141" fmla="*/ 4716164 h 6858000"/>
              <a:gd name="connsiteX142" fmla="*/ 1959587 w 7467600"/>
              <a:gd name="connsiteY142" fmla="*/ 4728849 h 6858000"/>
              <a:gd name="connsiteX143" fmla="*/ 2777707 w 7467600"/>
              <a:gd name="connsiteY143" fmla="*/ 5003991 h 6858000"/>
              <a:gd name="connsiteX144" fmla="*/ 2800768 w 7467600"/>
              <a:gd name="connsiteY144" fmla="*/ 5010056 h 6858000"/>
              <a:gd name="connsiteX145" fmla="*/ 2879408 w 7467600"/>
              <a:gd name="connsiteY145" fmla="*/ 5031590 h 6858000"/>
              <a:gd name="connsiteX146" fmla="*/ 2862295 w 7467600"/>
              <a:gd name="connsiteY146" fmla="*/ 5022958 h 6858000"/>
              <a:gd name="connsiteX147" fmla="*/ 2813343 w 7467600"/>
              <a:gd name="connsiteY147" fmla="*/ 4998369 h 6858000"/>
              <a:gd name="connsiteX148" fmla="*/ 2646245 w 7467600"/>
              <a:gd name="connsiteY148" fmla="*/ 4930999 h 6858000"/>
              <a:gd name="connsiteX149" fmla="*/ 1999243 w 7467600"/>
              <a:gd name="connsiteY149" fmla="*/ 4730524 h 6858000"/>
              <a:gd name="connsiteX150" fmla="*/ 1979527 w 7467600"/>
              <a:gd name="connsiteY150" fmla="*/ 4726651 h 6858000"/>
              <a:gd name="connsiteX151" fmla="*/ 1927410 w 7467600"/>
              <a:gd name="connsiteY151" fmla="*/ 4716164 h 6858000"/>
              <a:gd name="connsiteX152" fmla="*/ 1997014 w 7467600"/>
              <a:gd name="connsiteY152" fmla="*/ 4698007 h 6858000"/>
              <a:gd name="connsiteX153" fmla="*/ 2005458 w 7467600"/>
              <a:gd name="connsiteY153" fmla="*/ 4699540 h 6858000"/>
              <a:gd name="connsiteX154" fmla="*/ 2657186 w 7467600"/>
              <a:gd name="connsiteY154" fmla="*/ 4901687 h 6858000"/>
              <a:gd name="connsiteX155" fmla="*/ 2826662 w 7467600"/>
              <a:gd name="connsiteY155" fmla="*/ 4970362 h 6858000"/>
              <a:gd name="connsiteX156" fmla="*/ 2876100 w 7467600"/>
              <a:gd name="connsiteY156" fmla="*/ 4995397 h 6858000"/>
              <a:gd name="connsiteX157" fmla="*/ 3042600 w 7467600"/>
              <a:gd name="connsiteY157" fmla="*/ 5059532 h 6858000"/>
              <a:gd name="connsiteX158" fmla="*/ 1997014 w 7467600"/>
              <a:gd name="connsiteY158" fmla="*/ 4698007 h 6858000"/>
              <a:gd name="connsiteX159" fmla="*/ 2305292 w 7467600"/>
              <a:gd name="connsiteY159" fmla="*/ 4219492 h 6858000"/>
              <a:gd name="connsiteX160" fmla="*/ 3360922 w 7467600"/>
              <a:gd name="connsiteY160" fmla="*/ 4529373 h 6858000"/>
              <a:gd name="connsiteX161" fmla="*/ 3492420 w 7467600"/>
              <a:gd name="connsiteY161" fmla="*/ 4510145 h 6858000"/>
              <a:gd name="connsiteX162" fmla="*/ 3364086 w 7467600"/>
              <a:gd name="connsiteY162" fmla="*/ 4480340 h 6858000"/>
              <a:gd name="connsiteX163" fmla="*/ 3225818 w 7467600"/>
              <a:gd name="connsiteY163" fmla="*/ 4411822 h 6858000"/>
              <a:gd name="connsiteX164" fmla="*/ 3129696 w 7467600"/>
              <a:gd name="connsiteY164" fmla="*/ 4360704 h 6858000"/>
              <a:gd name="connsiteX165" fmla="*/ 2814545 w 7467600"/>
              <a:gd name="connsiteY165" fmla="*/ 4282955 h 6858000"/>
              <a:gd name="connsiteX166" fmla="*/ 2305292 w 7467600"/>
              <a:gd name="connsiteY166" fmla="*/ 4219492 h 6858000"/>
              <a:gd name="connsiteX167" fmla="*/ 2626982 w 7467600"/>
              <a:gd name="connsiteY167" fmla="*/ 4206450 h 6858000"/>
              <a:gd name="connsiteX168" fmla="*/ 2490617 w 7467600"/>
              <a:gd name="connsiteY168" fmla="*/ 4206951 h 6858000"/>
              <a:gd name="connsiteX169" fmla="*/ 2819869 w 7467600"/>
              <a:gd name="connsiteY169" fmla="*/ 4252936 h 6858000"/>
              <a:gd name="connsiteX170" fmla="*/ 3143018 w 7467600"/>
              <a:gd name="connsiteY170" fmla="*/ 4332698 h 6858000"/>
              <a:gd name="connsiteX171" fmla="*/ 3241520 w 7467600"/>
              <a:gd name="connsiteY171" fmla="*/ 4385112 h 6858000"/>
              <a:gd name="connsiteX172" fmla="*/ 3374575 w 7467600"/>
              <a:gd name="connsiteY172" fmla="*/ 4451517 h 6858000"/>
              <a:gd name="connsiteX173" fmla="*/ 3505221 w 7467600"/>
              <a:gd name="connsiteY173" fmla="*/ 4480757 h 6858000"/>
              <a:gd name="connsiteX174" fmla="*/ 2626982 w 7467600"/>
              <a:gd name="connsiteY174" fmla="*/ 4206450 h 6858000"/>
              <a:gd name="connsiteX175" fmla="*/ 1310106 w 7467600"/>
              <a:gd name="connsiteY175" fmla="*/ 3943217 h 6858000"/>
              <a:gd name="connsiteX176" fmla="*/ 854994 w 7467600"/>
              <a:gd name="connsiteY176" fmla="*/ 4399136 h 6858000"/>
              <a:gd name="connsiteX177" fmla="*/ 742462 w 7467600"/>
              <a:gd name="connsiteY177" fmla="*/ 4594648 h 6858000"/>
              <a:gd name="connsiteX178" fmla="*/ 820602 w 7467600"/>
              <a:gd name="connsiteY178" fmla="*/ 4485915 h 6858000"/>
              <a:gd name="connsiteX179" fmla="*/ 878295 w 7467600"/>
              <a:gd name="connsiteY179" fmla="*/ 4403594 h 6858000"/>
              <a:gd name="connsiteX180" fmla="*/ 1240607 w 7467600"/>
              <a:gd name="connsiteY180" fmla="*/ 4010401 h 6858000"/>
              <a:gd name="connsiteX181" fmla="*/ 1310106 w 7467600"/>
              <a:gd name="connsiteY181" fmla="*/ 3943217 h 6858000"/>
              <a:gd name="connsiteX182" fmla="*/ 1423113 w 7467600"/>
              <a:gd name="connsiteY182" fmla="*/ 3874565 h 6858000"/>
              <a:gd name="connsiteX183" fmla="*/ 1260565 w 7467600"/>
              <a:gd name="connsiteY183" fmla="*/ 4031982 h 6858000"/>
              <a:gd name="connsiteX184" fmla="*/ 901900 w 7467600"/>
              <a:gd name="connsiteY184" fmla="*/ 4421236 h 6858000"/>
              <a:gd name="connsiteX185" fmla="*/ 845044 w 7467600"/>
              <a:gd name="connsiteY185" fmla="*/ 4502436 h 6858000"/>
              <a:gd name="connsiteX186" fmla="*/ 685926 w 7467600"/>
              <a:gd name="connsiteY186" fmla="*/ 4703069 h 6858000"/>
              <a:gd name="connsiteX187" fmla="*/ 684248 w 7467600"/>
              <a:gd name="connsiteY187" fmla="*/ 4706721 h 6858000"/>
              <a:gd name="connsiteX188" fmla="*/ 1423113 w 7467600"/>
              <a:gd name="connsiteY188" fmla="*/ 3874565 h 6858000"/>
              <a:gd name="connsiteX189" fmla="*/ 3316479 w 7467600"/>
              <a:gd name="connsiteY189" fmla="*/ 3872136 h 6858000"/>
              <a:gd name="connsiteX190" fmla="*/ 3546806 w 7467600"/>
              <a:gd name="connsiteY190" fmla="*/ 4356139 h 6858000"/>
              <a:gd name="connsiteX191" fmla="*/ 3364433 w 7467600"/>
              <a:gd name="connsiteY191" fmla="*/ 3953121 h 6858000"/>
              <a:gd name="connsiteX192" fmla="*/ 3316479 w 7467600"/>
              <a:gd name="connsiteY192" fmla="*/ 3872136 h 6858000"/>
              <a:gd name="connsiteX193" fmla="*/ 3291335 w 7467600"/>
              <a:gd name="connsiteY193" fmla="*/ 3767420 h 6858000"/>
              <a:gd name="connsiteX194" fmla="*/ 3390805 w 7467600"/>
              <a:gd name="connsiteY194" fmla="*/ 3937163 h 6858000"/>
              <a:gd name="connsiteX195" fmla="*/ 3579062 w 7467600"/>
              <a:gd name="connsiteY195" fmla="*/ 4359040 h 6858000"/>
              <a:gd name="connsiteX196" fmla="*/ 3467355 w 7467600"/>
              <a:gd name="connsiteY196" fmla="*/ 3988130 h 6858000"/>
              <a:gd name="connsiteX197" fmla="*/ 3310753 w 7467600"/>
              <a:gd name="connsiteY197" fmla="*/ 3787140 h 6858000"/>
              <a:gd name="connsiteX198" fmla="*/ 3291335 w 7467600"/>
              <a:gd name="connsiteY198" fmla="*/ 3767420 h 6858000"/>
              <a:gd name="connsiteX199" fmla="*/ 1635889 w 7467600"/>
              <a:gd name="connsiteY199" fmla="*/ 3709494 h 6858000"/>
              <a:gd name="connsiteX200" fmla="*/ 1634800 w 7467600"/>
              <a:gd name="connsiteY200" fmla="*/ 3731111 h 6858000"/>
              <a:gd name="connsiteX201" fmla="*/ 1635889 w 7467600"/>
              <a:gd name="connsiteY201" fmla="*/ 3709494 h 6858000"/>
              <a:gd name="connsiteX202" fmla="*/ 1510397 w 7467600"/>
              <a:gd name="connsiteY202" fmla="*/ 3684705 h 6858000"/>
              <a:gd name="connsiteX203" fmla="*/ 1146550 w 7467600"/>
              <a:gd name="connsiteY203" fmla="*/ 3802012 h 6858000"/>
              <a:gd name="connsiteX204" fmla="*/ 698834 w 7467600"/>
              <a:gd name="connsiteY204" fmla="*/ 3952272 h 6858000"/>
              <a:gd name="connsiteX205" fmla="*/ 34256 w 7467600"/>
              <a:gd name="connsiteY205" fmla="*/ 4347603 h 6858000"/>
              <a:gd name="connsiteX206" fmla="*/ 527241 w 7467600"/>
              <a:gd name="connsiteY206" fmla="*/ 4065078 h 6858000"/>
              <a:gd name="connsiteX207" fmla="*/ 1510397 w 7467600"/>
              <a:gd name="connsiteY207" fmla="*/ 3684705 h 6858000"/>
              <a:gd name="connsiteX208" fmla="*/ 1313114 w 7467600"/>
              <a:gd name="connsiteY208" fmla="*/ 3655216 h 6858000"/>
              <a:gd name="connsiteX209" fmla="*/ 1109304 w 7467600"/>
              <a:gd name="connsiteY209" fmla="*/ 3669030 h 6858000"/>
              <a:gd name="connsiteX210" fmla="*/ 8129 w 7467600"/>
              <a:gd name="connsiteY210" fmla="*/ 4330519 h 6858000"/>
              <a:gd name="connsiteX211" fmla="*/ 687572 w 7467600"/>
              <a:gd name="connsiteY211" fmla="*/ 3925629 h 6858000"/>
              <a:gd name="connsiteX212" fmla="*/ 1138365 w 7467600"/>
              <a:gd name="connsiteY212" fmla="*/ 3774515 h 6858000"/>
              <a:gd name="connsiteX213" fmla="*/ 1505579 w 7467600"/>
              <a:gd name="connsiteY213" fmla="*/ 3655526 h 6858000"/>
              <a:gd name="connsiteX214" fmla="*/ 1313114 w 7467600"/>
              <a:gd name="connsiteY214" fmla="*/ 3655216 h 6858000"/>
              <a:gd name="connsiteX215" fmla="*/ 3655073 w 7467600"/>
              <a:gd name="connsiteY215" fmla="*/ 3650884 h 6858000"/>
              <a:gd name="connsiteX216" fmla="*/ 3989938 w 7467600"/>
              <a:gd name="connsiteY216" fmla="*/ 3991685 h 6858000"/>
              <a:gd name="connsiteX217" fmla="*/ 4393907 w 7467600"/>
              <a:gd name="connsiteY217" fmla="*/ 4261258 h 6858000"/>
              <a:gd name="connsiteX218" fmla="*/ 4648051 w 7467600"/>
              <a:gd name="connsiteY218" fmla="*/ 4374051 h 6858000"/>
              <a:gd name="connsiteX219" fmla="*/ 4383389 w 7467600"/>
              <a:gd name="connsiteY219" fmla="*/ 4184369 h 6858000"/>
              <a:gd name="connsiteX220" fmla="*/ 4165508 w 7467600"/>
              <a:gd name="connsiteY220" fmla="*/ 4035196 h 6858000"/>
              <a:gd name="connsiteX221" fmla="*/ 4068162 w 7467600"/>
              <a:gd name="connsiteY221" fmla="*/ 3953394 h 6858000"/>
              <a:gd name="connsiteX222" fmla="*/ 3981416 w 7467600"/>
              <a:gd name="connsiteY222" fmla="*/ 3880482 h 6858000"/>
              <a:gd name="connsiteX223" fmla="*/ 3800147 w 7467600"/>
              <a:gd name="connsiteY223" fmla="*/ 3749872 h 6858000"/>
              <a:gd name="connsiteX224" fmla="*/ 3655073 w 7467600"/>
              <a:gd name="connsiteY224" fmla="*/ 3650884 h 6858000"/>
              <a:gd name="connsiteX225" fmla="*/ 3670252 w 7467600"/>
              <a:gd name="connsiteY225" fmla="*/ 3622798 h 6858000"/>
              <a:gd name="connsiteX226" fmla="*/ 3817258 w 7467600"/>
              <a:gd name="connsiteY226" fmla="*/ 3723577 h 6858000"/>
              <a:gd name="connsiteX227" fmla="*/ 4000461 w 7467600"/>
              <a:gd name="connsiteY227" fmla="*/ 3855966 h 6858000"/>
              <a:gd name="connsiteX228" fmla="*/ 4088180 w 7467600"/>
              <a:gd name="connsiteY228" fmla="*/ 3929774 h 6858000"/>
              <a:gd name="connsiteX229" fmla="*/ 4184555 w 7467600"/>
              <a:gd name="connsiteY229" fmla="*/ 4010683 h 6858000"/>
              <a:gd name="connsiteX230" fmla="*/ 4399563 w 7467600"/>
              <a:gd name="connsiteY230" fmla="*/ 4158106 h 6858000"/>
              <a:gd name="connsiteX231" fmla="*/ 4684469 w 7467600"/>
              <a:gd name="connsiteY231" fmla="*/ 4364680 h 6858000"/>
              <a:gd name="connsiteX232" fmla="*/ 4690271 w 7467600"/>
              <a:gd name="connsiteY232" fmla="*/ 4370034 h 6858000"/>
              <a:gd name="connsiteX233" fmla="*/ 4136093 w 7467600"/>
              <a:gd name="connsiteY233" fmla="*/ 3858466 h 6858000"/>
              <a:gd name="connsiteX234" fmla="*/ 3670252 w 7467600"/>
              <a:gd name="connsiteY234" fmla="*/ 3622798 h 6858000"/>
              <a:gd name="connsiteX235" fmla="*/ 4440129 w 7467600"/>
              <a:gd name="connsiteY235" fmla="*/ 3448571 h 6858000"/>
              <a:gd name="connsiteX236" fmla="*/ 4856525 w 7467600"/>
              <a:gd name="connsiteY236" fmla="*/ 3915351 h 6858000"/>
              <a:gd name="connsiteX237" fmla="*/ 5059055 w 7467600"/>
              <a:gd name="connsiteY237" fmla="*/ 4108918 h 6858000"/>
              <a:gd name="connsiteX238" fmla="*/ 5290070 w 7467600"/>
              <a:gd name="connsiteY238" fmla="*/ 4263619 h 6858000"/>
              <a:gd name="connsiteX239" fmla="*/ 4834991 w 7467600"/>
              <a:gd name="connsiteY239" fmla="*/ 3830985 h 6858000"/>
              <a:gd name="connsiteX240" fmla="*/ 4440129 w 7467600"/>
              <a:gd name="connsiteY240" fmla="*/ 3448571 h 6858000"/>
              <a:gd name="connsiteX241" fmla="*/ 4441737 w 7467600"/>
              <a:gd name="connsiteY241" fmla="*/ 3399734 h 6858000"/>
              <a:gd name="connsiteX242" fmla="*/ 4431236 w 7467600"/>
              <a:gd name="connsiteY242" fmla="*/ 3400954 h 6858000"/>
              <a:gd name="connsiteX243" fmla="*/ 4557150 w 7467600"/>
              <a:gd name="connsiteY243" fmla="*/ 3510023 h 6858000"/>
              <a:gd name="connsiteX244" fmla="*/ 4856936 w 7467600"/>
              <a:gd name="connsiteY244" fmla="*/ 3809146 h 6858000"/>
              <a:gd name="connsiteX245" fmla="*/ 5111996 w 7467600"/>
              <a:gd name="connsiteY245" fmla="*/ 4065759 h 6858000"/>
              <a:gd name="connsiteX246" fmla="*/ 5388878 w 7467600"/>
              <a:gd name="connsiteY246" fmla="*/ 4300185 h 6858000"/>
              <a:gd name="connsiteX247" fmla="*/ 5425556 w 7467600"/>
              <a:gd name="connsiteY247" fmla="*/ 4308967 h 6858000"/>
              <a:gd name="connsiteX248" fmla="*/ 4943646 w 7467600"/>
              <a:gd name="connsiteY248" fmla="*/ 3822916 h 6858000"/>
              <a:gd name="connsiteX249" fmla="*/ 4594837 w 7467600"/>
              <a:gd name="connsiteY249" fmla="*/ 3532274 h 6858000"/>
              <a:gd name="connsiteX250" fmla="*/ 4441737 w 7467600"/>
              <a:gd name="connsiteY250" fmla="*/ 3399734 h 6858000"/>
              <a:gd name="connsiteX251" fmla="*/ 5425834 w 7467600"/>
              <a:gd name="connsiteY251" fmla="*/ 3162785 h 6858000"/>
              <a:gd name="connsiteX252" fmla="*/ 5401644 w 7467600"/>
              <a:gd name="connsiteY252" fmla="*/ 3617847 h 6858000"/>
              <a:gd name="connsiteX253" fmla="*/ 5467256 w 7467600"/>
              <a:gd name="connsiteY253" fmla="*/ 4175494 h 6858000"/>
              <a:gd name="connsiteX254" fmla="*/ 5448069 w 7467600"/>
              <a:gd name="connsiteY254" fmla="*/ 3567554 h 6858000"/>
              <a:gd name="connsiteX255" fmla="*/ 5425834 w 7467600"/>
              <a:gd name="connsiteY255" fmla="*/ 3162785 h 6858000"/>
              <a:gd name="connsiteX256" fmla="*/ 1318687 w 7467600"/>
              <a:gd name="connsiteY256" fmla="*/ 3113840 h 6858000"/>
              <a:gd name="connsiteX257" fmla="*/ 1066793 w 7467600"/>
              <a:gd name="connsiteY257" fmla="*/ 3212171 h 6858000"/>
              <a:gd name="connsiteX258" fmla="*/ 993319 w 7467600"/>
              <a:gd name="connsiteY258" fmla="*/ 3247648 h 6858000"/>
              <a:gd name="connsiteX259" fmla="*/ 853081 w 7467600"/>
              <a:gd name="connsiteY259" fmla="*/ 3312410 h 6858000"/>
              <a:gd name="connsiteX260" fmla="*/ 805957 w 7467600"/>
              <a:gd name="connsiteY260" fmla="*/ 3330443 h 6858000"/>
              <a:gd name="connsiteX261" fmla="*/ 1318687 w 7467600"/>
              <a:gd name="connsiteY261" fmla="*/ 3113840 h 6858000"/>
              <a:gd name="connsiteX262" fmla="*/ 5453702 w 7467600"/>
              <a:gd name="connsiteY262" fmla="*/ 3090882 h 6858000"/>
              <a:gd name="connsiteX263" fmla="*/ 5480135 w 7467600"/>
              <a:gd name="connsiteY263" fmla="*/ 3565802 h 6858000"/>
              <a:gd name="connsiteX264" fmla="*/ 5499023 w 7467600"/>
              <a:gd name="connsiteY264" fmla="*/ 4166310 h 6858000"/>
              <a:gd name="connsiteX265" fmla="*/ 5547022 w 7467600"/>
              <a:gd name="connsiteY265" fmla="*/ 3607838 h 6858000"/>
              <a:gd name="connsiteX266" fmla="*/ 5515964 w 7467600"/>
              <a:gd name="connsiteY266" fmla="*/ 3378541 h 6858000"/>
              <a:gd name="connsiteX267" fmla="*/ 5453702 w 7467600"/>
              <a:gd name="connsiteY267" fmla="*/ 3090882 h 6858000"/>
              <a:gd name="connsiteX268" fmla="*/ 1238695 w 7467600"/>
              <a:gd name="connsiteY268" fmla="*/ 3076820 h 6858000"/>
              <a:gd name="connsiteX269" fmla="*/ 716371 w 7467600"/>
              <a:gd name="connsiteY269" fmla="*/ 3293249 h 6858000"/>
              <a:gd name="connsiteX270" fmla="*/ 579522 w 7467600"/>
              <a:gd name="connsiteY270" fmla="*/ 3371759 h 6858000"/>
              <a:gd name="connsiteX271" fmla="*/ 600288 w 7467600"/>
              <a:gd name="connsiteY271" fmla="*/ 3365555 h 6858000"/>
              <a:gd name="connsiteX272" fmla="*/ 840692 w 7467600"/>
              <a:gd name="connsiteY272" fmla="*/ 3284921 h 6858000"/>
              <a:gd name="connsiteX273" fmla="*/ 979248 w 7467600"/>
              <a:gd name="connsiteY273" fmla="*/ 3221003 h 6858000"/>
              <a:gd name="connsiteX274" fmla="*/ 1053282 w 7467600"/>
              <a:gd name="connsiteY274" fmla="*/ 3185247 h 6858000"/>
              <a:gd name="connsiteX275" fmla="*/ 1320603 w 7467600"/>
              <a:gd name="connsiteY275" fmla="*/ 3081281 h 6858000"/>
              <a:gd name="connsiteX276" fmla="*/ 1238695 w 7467600"/>
              <a:gd name="connsiteY276" fmla="*/ 3076820 h 6858000"/>
              <a:gd name="connsiteX277" fmla="*/ 5425627 w 7467600"/>
              <a:gd name="connsiteY277" fmla="*/ 2954192 h 6858000"/>
              <a:gd name="connsiteX278" fmla="*/ 5470770 w 7467600"/>
              <a:gd name="connsiteY278" fmla="*/ 3005435 h 6858000"/>
              <a:gd name="connsiteX279" fmla="*/ 5519779 w 7467600"/>
              <a:gd name="connsiteY279" fmla="*/ 4359223 h 6858000"/>
              <a:gd name="connsiteX280" fmla="*/ 5520293 w 7467600"/>
              <a:gd name="connsiteY280" fmla="*/ 4360602 h 6858000"/>
              <a:gd name="connsiteX281" fmla="*/ 5767221 w 7467600"/>
              <a:gd name="connsiteY281" fmla="*/ 4665564 h 6858000"/>
              <a:gd name="connsiteX282" fmla="*/ 6937169 w 7467600"/>
              <a:gd name="connsiteY282" fmla="*/ 4815941 h 6858000"/>
              <a:gd name="connsiteX283" fmla="*/ 6953922 w 7467600"/>
              <a:gd name="connsiteY283" fmla="*/ 4890068 h 6858000"/>
              <a:gd name="connsiteX284" fmla="*/ 6071359 w 7467600"/>
              <a:gd name="connsiteY284" fmla="*/ 4770770 h 6858000"/>
              <a:gd name="connsiteX285" fmla="*/ 6038839 w 7467600"/>
              <a:gd name="connsiteY285" fmla="*/ 4764474 h 6858000"/>
              <a:gd name="connsiteX286" fmla="*/ 6038706 w 7467600"/>
              <a:gd name="connsiteY286" fmla="*/ 4763847 h 6858000"/>
              <a:gd name="connsiteX287" fmla="*/ 6037784 w 7467600"/>
              <a:gd name="connsiteY287" fmla="*/ 4764270 h 6858000"/>
              <a:gd name="connsiteX288" fmla="*/ 6038839 w 7467600"/>
              <a:gd name="connsiteY288" fmla="*/ 4764474 h 6858000"/>
              <a:gd name="connsiteX289" fmla="*/ 6040338 w 7467600"/>
              <a:gd name="connsiteY289" fmla="*/ 4771418 h 6858000"/>
              <a:gd name="connsiteX290" fmla="*/ 6024488 w 7467600"/>
              <a:gd name="connsiteY290" fmla="*/ 4809903 h 6858000"/>
              <a:gd name="connsiteX291" fmla="*/ 5599771 w 7467600"/>
              <a:gd name="connsiteY291" fmla="*/ 5509652 h 6858000"/>
              <a:gd name="connsiteX292" fmla="*/ 5548843 w 7467600"/>
              <a:gd name="connsiteY292" fmla="*/ 5563845 h 6858000"/>
              <a:gd name="connsiteX293" fmla="*/ 5940952 w 7467600"/>
              <a:gd name="connsiteY293" fmla="*/ 6250028 h 6858000"/>
              <a:gd name="connsiteX294" fmla="*/ 6043441 w 7467600"/>
              <a:gd name="connsiteY294" fmla="*/ 6665847 h 6858000"/>
              <a:gd name="connsiteX295" fmla="*/ 6093432 w 7467600"/>
              <a:gd name="connsiteY295" fmla="*/ 6858000 h 6858000"/>
              <a:gd name="connsiteX296" fmla="*/ 6034344 w 7467600"/>
              <a:gd name="connsiteY296" fmla="*/ 6858000 h 6858000"/>
              <a:gd name="connsiteX297" fmla="*/ 6026679 w 7467600"/>
              <a:gd name="connsiteY297" fmla="*/ 6836959 h 6858000"/>
              <a:gd name="connsiteX298" fmla="*/ 5800441 w 7467600"/>
              <a:gd name="connsiteY298" fmla="*/ 6335286 h 6858000"/>
              <a:gd name="connsiteX299" fmla="*/ 5526562 w 7467600"/>
              <a:gd name="connsiteY299" fmla="*/ 5705388 h 6858000"/>
              <a:gd name="connsiteX300" fmla="*/ 5519640 w 7467600"/>
              <a:gd name="connsiteY300" fmla="*/ 5683774 h 6858000"/>
              <a:gd name="connsiteX301" fmla="*/ 5844559 w 7467600"/>
              <a:gd name="connsiteY301" fmla="*/ 6553349 h 6858000"/>
              <a:gd name="connsiteX302" fmla="*/ 5975994 w 7467600"/>
              <a:gd name="connsiteY302" fmla="*/ 6858000 h 6858000"/>
              <a:gd name="connsiteX303" fmla="*/ 5898547 w 7467600"/>
              <a:gd name="connsiteY303" fmla="*/ 6858000 h 6858000"/>
              <a:gd name="connsiteX304" fmla="*/ 5682041 w 7467600"/>
              <a:gd name="connsiteY304" fmla="*/ 6355860 h 6858000"/>
              <a:gd name="connsiteX305" fmla="*/ 5461758 w 7467600"/>
              <a:gd name="connsiteY305" fmla="*/ 5820220 h 6858000"/>
              <a:gd name="connsiteX306" fmla="*/ 5237282 w 7467600"/>
              <a:gd name="connsiteY306" fmla="*/ 6579086 h 6858000"/>
              <a:gd name="connsiteX307" fmla="*/ 5115009 w 7467600"/>
              <a:gd name="connsiteY307" fmla="*/ 6858000 h 6858000"/>
              <a:gd name="connsiteX308" fmla="*/ 5028074 w 7467600"/>
              <a:gd name="connsiteY308" fmla="*/ 6858000 h 6858000"/>
              <a:gd name="connsiteX309" fmla="*/ 5079508 w 7467600"/>
              <a:gd name="connsiteY309" fmla="*/ 6749074 h 6858000"/>
              <a:gd name="connsiteX310" fmla="*/ 5371846 w 7467600"/>
              <a:gd name="connsiteY310" fmla="*/ 5924413 h 6858000"/>
              <a:gd name="connsiteX311" fmla="*/ 5270512 w 7467600"/>
              <a:gd name="connsiteY311" fmla="*/ 6138975 h 6858000"/>
              <a:gd name="connsiteX312" fmla="*/ 5062409 w 7467600"/>
              <a:gd name="connsiteY312" fmla="*/ 6653544 h 6858000"/>
              <a:gd name="connsiteX313" fmla="*/ 5036628 w 7467600"/>
              <a:gd name="connsiteY313" fmla="*/ 6754247 h 6858000"/>
              <a:gd name="connsiteX314" fmla="*/ 5009112 w 7467600"/>
              <a:gd name="connsiteY314" fmla="*/ 6858000 h 6858000"/>
              <a:gd name="connsiteX315" fmla="*/ 4976679 w 7467600"/>
              <a:gd name="connsiteY315" fmla="*/ 6858000 h 6858000"/>
              <a:gd name="connsiteX316" fmla="*/ 5006537 w 7467600"/>
              <a:gd name="connsiteY316" fmla="*/ 6747068 h 6858000"/>
              <a:gd name="connsiteX317" fmla="*/ 5032723 w 7467600"/>
              <a:gd name="connsiteY317" fmla="*/ 6644957 h 6858000"/>
              <a:gd name="connsiteX318" fmla="*/ 5242949 w 7467600"/>
              <a:gd name="connsiteY318" fmla="*/ 6125175 h 6858000"/>
              <a:gd name="connsiteX319" fmla="*/ 5286321 w 7467600"/>
              <a:gd name="connsiteY319" fmla="*/ 6033555 h 6858000"/>
              <a:gd name="connsiteX320" fmla="*/ 5008210 w 7467600"/>
              <a:gd name="connsiteY320" fmla="*/ 6649194 h 6858000"/>
              <a:gd name="connsiteX321" fmla="*/ 4986321 w 7467600"/>
              <a:gd name="connsiteY321" fmla="*/ 6765687 h 6858000"/>
              <a:gd name="connsiteX322" fmla="*/ 4973474 w 7467600"/>
              <a:gd name="connsiteY322" fmla="*/ 6858000 h 6858000"/>
              <a:gd name="connsiteX323" fmla="*/ 4907178 w 7467600"/>
              <a:gd name="connsiteY323" fmla="*/ 6858000 h 6858000"/>
              <a:gd name="connsiteX324" fmla="*/ 4910810 w 7467600"/>
              <a:gd name="connsiteY324" fmla="*/ 6829660 h 6858000"/>
              <a:gd name="connsiteX325" fmla="*/ 4987461 w 7467600"/>
              <a:gd name="connsiteY325" fmla="*/ 6432994 h 6858000"/>
              <a:gd name="connsiteX326" fmla="*/ 5179262 w 7467600"/>
              <a:gd name="connsiteY326" fmla="*/ 6035044 h 6858000"/>
              <a:gd name="connsiteX327" fmla="*/ 4689678 w 7467600"/>
              <a:gd name="connsiteY327" fmla="*/ 6440241 h 6858000"/>
              <a:gd name="connsiteX328" fmla="*/ 4477543 w 7467600"/>
              <a:gd name="connsiteY328" fmla="*/ 6674836 h 6858000"/>
              <a:gd name="connsiteX329" fmla="*/ 4329957 w 7467600"/>
              <a:gd name="connsiteY329" fmla="*/ 6858000 h 6858000"/>
              <a:gd name="connsiteX330" fmla="*/ 4218595 w 7467600"/>
              <a:gd name="connsiteY330" fmla="*/ 6858000 h 6858000"/>
              <a:gd name="connsiteX331" fmla="*/ 4368888 w 7467600"/>
              <a:gd name="connsiteY331" fmla="*/ 6668412 h 6858000"/>
              <a:gd name="connsiteX332" fmla="*/ 4563091 w 7467600"/>
              <a:gd name="connsiteY332" fmla="*/ 6442508 h 6858000"/>
              <a:gd name="connsiteX333" fmla="*/ 5387324 w 7467600"/>
              <a:gd name="connsiteY333" fmla="*/ 5705830 h 6858000"/>
              <a:gd name="connsiteX334" fmla="*/ 5073620 w 7467600"/>
              <a:gd name="connsiteY334" fmla="*/ 5955437 h 6858000"/>
              <a:gd name="connsiteX335" fmla="*/ 4689789 w 7467600"/>
              <a:gd name="connsiteY335" fmla="*/ 6268382 h 6858000"/>
              <a:gd name="connsiteX336" fmla="*/ 4418722 w 7467600"/>
              <a:gd name="connsiteY336" fmla="*/ 6570886 h 6858000"/>
              <a:gd name="connsiteX337" fmla="*/ 4214944 w 7467600"/>
              <a:gd name="connsiteY337" fmla="*/ 6858000 h 6858000"/>
              <a:gd name="connsiteX338" fmla="*/ 4177898 w 7467600"/>
              <a:gd name="connsiteY338" fmla="*/ 6858000 h 6858000"/>
              <a:gd name="connsiteX339" fmla="*/ 4391597 w 7467600"/>
              <a:gd name="connsiteY339" fmla="*/ 6556370 h 6858000"/>
              <a:gd name="connsiteX340" fmla="*/ 4668889 w 7467600"/>
              <a:gd name="connsiteY340" fmla="*/ 6246399 h 6858000"/>
              <a:gd name="connsiteX341" fmla="*/ 5055427 w 7467600"/>
              <a:gd name="connsiteY341" fmla="*/ 5931476 h 6858000"/>
              <a:gd name="connsiteX342" fmla="*/ 5371814 w 7467600"/>
              <a:gd name="connsiteY342" fmla="*/ 5678975 h 6858000"/>
              <a:gd name="connsiteX343" fmla="*/ 4987918 w 7467600"/>
              <a:gd name="connsiteY343" fmla="*/ 5838701 h 6858000"/>
              <a:gd name="connsiteX344" fmla="*/ 4317146 w 7467600"/>
              <a:gd name="connsiteY344" fmla="*/ 6587716 h 6858000"/>
              <a:gd name="connsiteX345" fmla="*/ 4171627 w 7467600"/>
              <a:gd name="connsiteY345" fmla="*/ 6858000 h 6858000"/>
              <a:gd name="connsiteX346" fmla="*/ 4081585 w 7467600"/>
              <a:gd name="connsiteY346" fmla="*/ 6858000 h 6858000"/>
              <a:gd name="connsiteX347" fmla="*/ 4238603 w 7467600"/>
              <a:gd name="connsiteY347" fmla="*/ 6559341 h 6858000"/>
              <a:gd name="connsiteX348" fmla="*/ 4778333 w 7467600"/>
              <a:gd name="connsiteY348" fmla="*/ 5873626 h 6858000"/>
              <a:gd name="connsiteX349" fmla="*/ 5414185 w 7467600"/>
              <a:gd name="connsiteY349" fmla="*/ 5573882 h 6858000"/>
              <a:gd name="connsiteX350" fmla="*/ 5959648 w 7467600"/>
              <a:gd name="connsiteY350" fmla="*/ 4760797 h 6858000"/>
              <a:gd name="connsiteX351" fmla="*/ 5355019 w 7467600"/>
              <a:gd name="connsiteY351" fmla="*/ 4734672 h 6858000"/>
              <a:gd name="connsiteX352" fmla="*/ 5083565 w 7467600"/>
              <a:gd name="connsiteY352" fmla="*/ 5179121 h 6858000"/>
              <a:gd name="connsiteX353" fmla="*/ 4713577 w 7467600"/>
              <a:gd name="connsiteY353" fmla="*/ 5616803 h 6858000"/>
              <a:gd name="connsiteX354" fmla="*/ 3989559 w 7467600"/>
              <a:gd name="connsiteY354" fmla="*/ 6145945 h 6858000"/>
              <a:gd name="connsiteX355" fmla="*/ 3939824 w 7467600"/>
              <a:gd name="connsiteY355" fmla="*/ 6066900 h 6858000"/>
              <a:gd name="connsiteX356" fmla="*/ 4584537 w 7467600"/>
              <a:gd name="connsiteY356" fmla="*/ 5324826 h 6858000"/>
              <a:gd name="connsiteX357" fmla="*/ 5037105 w 7467600"/>
              <a:gd name="connsiteY357" fmla="*/ 5088765 h 6858000"/>
              <a:gd name="connsiteX358" fmla="*/ 5039930 w 7467600"/>
              <a:gd name="connsiteY358" fmla="*/ 5089585 h 6858000"/>
              <a:gd name="connsiteX359" fmla="*/ 5263764 w 7467600"/>
              <a:gd name="connsiteY359" fmla="*/ 4735525 h 6858000"/>
              <a:gd name="connsiteX360" fmla="*/ 4086300 w 7467600"/>
              <a:gd name="connsiteY360" fmla="*/ 4884599 h 6858000"/>
              <a:gd name="connsiteX361" fmla="*/ 4085485 w 7467600"/>
              <a:gd name="connsiteY361" fmla="*/ 4899070 h 6858000"/>
              <a:gd name="connsiteX362" fmla="*/ 3871915 w 7467600"/>
              <a:gd name="connsiteY362" fmla="*/ 5253645 h 6858000"/>
              <a:gd name="connsiteX363" fmla="*/ 3799374 w 7467600"/>
              <a:gd name="connsiteY363" fmla="*/ 5466127 h 6858000"/>
              <a:gd name="connsiteX364" fmla="*/ 3498850 w 7467600"/>
              <a:gd name="connsiteY364" fmla="*/ 6661888 h 6858000"/>
              <a:gd name="connsiteX365" fmla="*/ 3399216 w 7467600"/>
              <a:gd name="connsiteY365" fmla="*/ 6858000 h 6858000"/>
              <a:gd name="connsiteX366" fmla="*/ 3303688 w 7467600"/>
              <a:gd name="connsiteY366" fmla="*/ 6858000 h 6858000"/>
              <a:gd name="connsiteX367" fmla="*/ 3391774 w 7467600"/>
              <a:gd name="connsiteY367" fmla="*/ 6697181 h 6858000"/>
              <a:gd name="connsiteX368" fmla="*/ 3735540 w 7467600"/>
              <a:gd name="connsiteY368" fmla="*/ 5546923 h 6858000"/>
              <a:gd name="connsiteX369" fmla="*/ 3729438 w 7467600"/>
              <a:gd name="connsiteY369" fmla="*/ 5569058 h 6858000"/>
              <a:gd name="connsiteX370" fmla="*/ 3707782 w 7467600"/>
              <a:gd name="connsiteY370" fmla="*/ 5644908 h 6858000"/>
              <a:gd name="connsiteX371" fmla="*/ 3583827 w 7467600"/>
              <a:gd name="connsiteY371" fmla="*/ 6039215 h 6858000"/>
              <a:gd name="connsiteX372" fmla="*/ 3547861 w 7467600"/>
              <a:gd name="connsiteY372" fmla="*/ 6129609 h 6858000"/>
              <a:gd name="connsiteX373" fmla="*/ 3490905 w 7467600"/>
              <a:gd name="connsiteY373" fmla="*/ 6277660 h 6858000"/>
              <a:gd name="connsiteX374" fmla="*/ 3455859 w 7467600"/>
              <a:gd name="connsiteY374" fmla="*/ 6391301 h 6858000"/>
              <a:gd name="connsiteX375" fmla="*/ 3429112 w 7467600"/>
              <a:gd name="connsiteY375" fmla="*/ 6479469 h 6858000"/>
              <a:gd name="connsiteX376" fmla="*/ 3304862 w 7467600"/>
              <a:gd name="connsiteY376" fmla="*/ 6796476 h 6858000"/>
              <a:gd name="connsiteX377" fmla="*/ 3276071 w 7467600"/>
              <a:gd name="connsiteY377" fmla="*/ 6858000 h 6858000"/>
              <a:gd name="connsiteX378" fmla="*/ 3240805 w 7467600"/>
              <a:gd name="connsiteY378" fmla="*/ 6858000 h 6858000"/>
              <a:gd name="connsiteX379" fmla="*/ 3275917 w 7467600"/>
              <a:gd name="connsiteY379" fmla="*/ 6783192 h 6858000"/>
              <a:gd name="connsiteX380" fmla="*/ 3399358 w 7467600"/>
              <a:gd name="connsiteY380" fmla="*/ 6469011 h 6858000"/>
              <a:gd name="connsiteX381" fmla="*/ 3425650 w 7467600"/>
              <a:gd name="connsiteY381" fmla="*/ 6381333 h 6858000"/>
              <a:gd name="connsiteX382" fmla="*/ 3460661 w 7467600"/>
              <a:gd name="connsiteY382" fmla="*/ 6266763 h 6858000"/>
              <a:gd name="connsiteX383" fmla="*/ 3518021 w 7467600"/>
              <a:gd name="connsiteY383" fmla="*/ 6117298 h 6858000"/>
              <a:gd name="connsiteX384" fmla="*/ 3554035 w 7467600"/>
              <a:gd name="connsiteY384" fmla="*/ 6027832 h 6858000"/>
              <a:gd name="connsiteX385" fmla="*/ 3677174 w 7467600"/>
              <a:gd name="connsiteY385" fmla="*/ 5636351 h 6858000"/>
              <a:gd name="connsiteX386" fmla="*/ 3698819 w 7467600"/>
              <a:gd name="connsiteY386" fmla="*/ 5560503 h 6858000"/>
              <a:gd name="connsiteX387" fmla="*/ 3702094 w 7467600"/>
              <a:gd name="connsiteY387" fmla="*/ 5549194 h 6858000"/>
              <a:gd name="connsiteX388" fmla="*/ 3398355 w 7467600"/>
              <a:gd name="connsiteY388" fmla="*/ 6094603 h 6858000"/>
              <a:gd name="connsiteX389" fmla="*/ 3193941 w 7467600"/>
              <a:gd name="connsiteY389" fmla="*/ 6798775 h 6858000"/>
              <a:gd name="connsiteX390" fmla="*/ 3184140 w 7467600"/>
              <a:gd name="connsiteY390" fmla="*/ 6858000 h 6858000"/>
              <a:gd name="connsiteX391" fmla="*/ 3099978 w 7467600"/>
              <a:gd name="connsiteY391" fmla="*/ 6858000 h 6858000"/>
              <a:gd name="connsiteX392" fmla="*/ 3101556 w 7467600"/>
              <a:gd name="connsiteY392" fmla="*/ 6843337 h 6858000"/>
              <a:gd name="connsiteX393" fmla="*/ 3370162 w 7467600"/>
              <a:gd name="connsiteY393" fmla="*/ 5785550 h 6858000"/>
              <a:gd name="connsiteX394" fmla="*/ 3746477 w 7467600"/>
              <a:gd name="connsiteY394" fmla="*/ 5377889 h 6858000"/>
              <a:gd name="connsiteX395" fmla="*/ 3863399 w 7467600"/>
              <a:gd name="connsiteY395" fmla="*/ 5087257 h 6858000"/>
              <a:gd name="connsiteX396" fmla="*/ 3968712 w 7467600"/>
              <a:gd name="connsiteY396" fmla="*/ 4913989 h 6858000"/>
              <a:gd name="connsiteX397" fmla="*/ 2792390 w 7467600"/>
              <a:gd name="connsiteY397" fmla="*/ 5382974 h 6858000"/>
              <a:gd name="connsiteX398" fmla="*/ 2714982 w 7467600"/>
              <a:gd name="connsiteY398" fmla="*/ 5427051 h 6858000"/>
              <a:gd name="connsiteX399" fmla="*/ 2813361 w 7467600"/>
              <a:gd name="connsiteY399" fmla="*/ 6023912 h 6858000"/>
              <a:gd name="connsiteX400" fmla="*/ 2688430 w 7467600"/>
              <a:gd name="connsiteY400" fmla="*/ 6801564 h 6858000"/>
              <a:gd name="connsiteX401" fmla="*/ 2629626 w 7467600"/>
              <a:gd name="connsiteY401" fmla="*/ 6763394 h 6858000"/>
              <a:gd name="connsiteX402" fmla="*/ 2565328 w 7467600"/>
              <a:gd name="connsiteY402" fmla="*/ 5516399 h 6858000"/>
              <a:gd name="connsiteX403" fmla="*/ 1922999 w 7467600"/>
              <a:gd name="connsiteY403" fmla="*/ 5980343 h 6858000"/>
              <a:gd name="connsiteX404" fmla="*/ 1950261 w 7467600"/>
              <a:gd name="connsiteY404" fmla="*/ 6405858 h 6858000"/>
              <a:gd name="connsiteX405" fmla="*/ 2365554 w 7467600"/>
              <a:gd name="connsiteY405" fmla="*/ 6759107 h 6858000"/>
              <a:gd name="connsiteX406" fmla="*/ 2424142 w 7467600"/>
              <a:gd name="connsiteY406" fmla="*/ 6858000 h 6858000"/>
              <a:gd name="connsiteX407" fmla="*/ 2395994 w 7467600"/>
              <a:gd name="connsiteY407" fmla="*/ 6858000 h 6858000"/>
              <a:gd name="connsiteX408" fmla="*/ 2392863 w 7467600"/>
              <a:gd name="connsiteY408" fmla="*/ 6852964 h 6858000"/>
              <a:gd name="connsiteX409" fmla="*/ 2017589 w 7467600"/>
              <a:gd name="connsiteY409" fmla="*/ 6493982 h 6858000"/>
              <a:gd name="connsiteX410" fmla="*/ 2147336 w 7467600"/>
              <a:gd name="connsiteY410" fmla="*/ 6594052 h 6858000"/>
              <a:gd name="connsiteX411" fmla="*/ 2207047 w 7467600"/>
              <a:gd name="connsiteY411" fmla="*/ 6654540 h 6858000"/>
              <a:gd name="connsiteX412" fmla="*/ 2299106 w 7467600"/>
              <a:gd name="connsiteY412" fmla="*/ 6778931 h 6858000"/>
              <a:gd name="connsiteX413" fmla="*/ 2314430 w 7467600"/>
              <a:gd name="connsiteY413" fmla="*/ 6801144 h 6858000"/>
              <a:gd name="connsiteX414" fmla="*/ 2352406 w 7467600"/>
              <a:gd name="connsiteY414" fmla="*/ 6858000 h 6858000"/>
              <a:gd name="connsiteX415" fmla="*/ 2314492 w 7467600"/>
              <a:gd name="connsiteY415" fmla="*/ 6858000 h 6858000"/>
              <a:gd name="connsiteX416" fmla="*/ 2288095 w 7467600"/>
              <a:gd name="connsiteY416" fmla="*/ 6818030 h 6858000"/>
              <a:gd name="connsiteX417" fmla="*/ 2272768 w 7467600"/>
              <a:gd name="connsiteY417" fmla="*/ 6795822 h 6858000"/>
              <a:gd name="connsiteX418" fmla="*/ 2182715 w 7467600"/>
              <a:gd name="connsiteY418" fmla="*/ 6675071 h 6858000"/>
              <a:gd name="connsiteX419" fmla="*/ 2032061 w 7467600"/>
              <a:gd name="connsiteY419" fmla="*/ 6541380 h 6858000"/>
              <a:gd name="connsiteX420" fmla="*/ 2257220 w 7467600"/>
              <a:gd name="connsiteY420" fmla="*/ 6826257 h 6858000"/>
              <a:gd name="connsiteX421" fmla="*/ 2281324 w 7467600"/>
              <a:gd name="connsiteY421" fmla="*/ 6858000 h 6858000"/>
              <a:gd name="connsiteX422" fmla="*/ 2242860 w 7467600"/>
              <a:gd name="connsiteY422" fmla="*/ 6858000 h 6858000"/>
              <a:gd name="connsiteX423" fmla="*/ 2232818 w 7467600"/>
              <a:gd name="connsiteY423" fmla="*/ 6844926 h 6858000"/>
              <a:gd name="connsiteX424" fmla="*/ 1990172 w 7467600"/>
              <a:gd name="connsiteY424" fmla="*/ 6542121 h 6858000"/>
              <a:gd name="connsiteX425" fmla="*/ 2124090 w 7467600"/>
              <a:gd name="connsiteY425" fmla="*/ 6761017 h 6858000"/>
              <a:gd name="connsiteX426" fmla="*/ 2200380 w 7467600"/>
              <a:gd name="connsiteY426" fmla="*/ 6858000 h 6858000"/>
              <a:gd name="connsiteX427" fmla="*/ 2147507 w 7467600"/>
              <a:gd name="connsiteY427" fmla="*/ 6858000 h 6858000"/>
              <a:gd name="connsiteX428" fmla="*/ 2070668 w 7467600"/>
              <a:gd name="connsiteY428" fmla="*/ 6761520 h 6858000"/>
              <a:gd name="connsiteX429" fmla="*/ 1975142 w 7467600"/>
              <a:gd name="connsiteY429" fmla="*/ 6585570 h 6858000"/>
              <a:gd name="connsiteX430" fmla="*/ 2050035 w 7467600"/>
              <a:gd name="connsiteY430" fmla="*/ 6813345 h 6858000"/>
              <a:gd name="connsiteX431" fmla="*/ 2063025 w 7467600"/>
              <a:gd name="connsiteY431" fmla="*/ 6858000 h 6858000"/>
              <a:gd name="connsiteX432" fmla="*/ 2021675 w 7467600"/>
              <a:gd name="connsiteY432" fmla="*/ 6858000 h 6858000"/>
              <a:gd name="connsiteX433" fmla="*/ 2019308 w 7467600"/>
              <a:gd name="connsiteY433" fmla="*/ 6847118 h 6858000"/>
              <a:gd name="connsiteX434" fmla="*/ 1938835 w 7467600"/>
              <a:gd name="connsiteY434" fmla="*/ 6551160 h 6858000"/>
              <a:gd name="connsiteX435" fmla="*/ 1953230 w 7467600"/>
              <a:gd name="connsiteY435" fmla="*/ 6759699 h 6858000"/>
              <a:gd name="connsiteX436" fmla="*/ 1956763 w 7467600"/>
              <a:gd name="connsiteY436" fmla="*/ 6778191 h 6858000"/>
              <a:gd name="connsiteX437" fmla="*/ 1967925 w 7467600"/>
              <a:gd name="connsiteY437" fmla="*/ 6858000 h 6858000"/>
              <a:gd name="connsiteX438" fmla="*/ 1936622 w 7467600"/>
              <a:gd name="connsiteY438" fmla="*/ 6858000 h 6858000"/>
              <a:gd name="connsiteX439" fmla="*/ 1926261 w 7467600"/>
              <a:gd name="connsiteY439" fmla="*/ 6784064 h 6858000"/>
              <a:gd name="connsiteX440" fmla="*/ 1922724 w 7467600"/>
              <a:gd name="connsiteY440" fmla="*/ 6765577 h 6858000"/>
              <a:gd name="connsiteX441" fmla="*/ 1904650 w 7467600"/>
              <a:gd name="connsiteY441" fmla="*/ 6639616 h 6858000"/>
              <a:gd name="connsiteX442" fmla="*/ 1885273 w 7467600"/>
              <a:gd name="connsiteY442" fmla="*/ 6858000 h 6858000"/>
              <a:gd name="connsiteX443" fmla="*/ 1854363 w 7467600"/>
              <a:gd name="connsiteY443" fmla="*/ 6858000 h 6858000"/>
              <a:gd name="connsiteX444" fmla="*/ 1880391 w 7467600"/>
              <a:gd name="connsiteY444" fmla="*/ 6603796 h 6858000"/>
              <a:gd name="connsiteX445" fmla="*/ 1818273 w 7467600"/>
              <a:gd name="connsiteY445" fmla="*/ 6715729 h 6858000"/>
              <a:gd name="connsiteX446" fmla="*/ 1794691 w 7467600"/>
              <a:gd name="connsiteY446" fmla="*/ 6843239 h 6858000"/>
              <a:gd name="connsiteX447" fmla="*/ 1794914 w 7467600"/>
              <a:gd name="connsiteY447" fmla="*/ 6858000 h 6858000"/>
              <a:gd name="connsiteX448" fmla="*/ 1746128 w 7467600"/>
              <a:gd name="connsiteY448" fmla="*/ 6858000 h 6858000"/>
              <a:gd name="connsiteX449" fmla="*/ 1753934 w 7467600"/>
              <a:gd name="connsiteY449" fmla="*/ 6724796 h 6858000"/>
              <a:gd name="connsiteX450" fmla="*/ 1792053 w 7467600"/>
              <a:gd name="connsiteY450" fmla="*/ 6572396 h 6858000"/>
              <a:gd name="connsiteX451" fmla="*/ 1862248 w 7467600"/>
              <a:gd name="connsiteY451" fmla="*/ 6266397 h 6858000"/>
              <a:gd name="connsiteX452" fmla="*/ 1862250 w 7467600"/>
              <a:gd name="connsiteY452" fmla="*/ 6033531 h 6858000"/>
              <a:gd name="connsiteX453" fmla="*/ 1211999 w 7467600"/>
              <a:gd name="connsiteY453" fmla="*/ 6683610 h 6858000"/>
              <a:gd name="connsiteX454" fmla="*/ 1213266 w 7467600"/>
              <a:gd name="connsiteY454" fmla="*/ 6691947 h 6858000"/>
              <a:gd name="connsiteX455" fmla="*/ 1203370 w 7467600"/>
              <a:gd name="connsiteY455" fmla="*/ 6850676 h 6858000"/>
              <a:gd name="connsiteX456" fmla="*/ 1203671 w 7467600"/>
              <a:gd name="connsiteY456" fmla="*/ 6858000 h 6858000"/>
              <a:gd name="connsiteX457" fmla="*/ 1143180 w 7467600"/>
              <a:gd name="connsiteY457" fmla="*/ 6858000 h 6858000"/>
              <a:gd name="connsiteX458" fmla="*/ 1142176 w 7467600"/>
              <a:gd name="connsiteY458" fmla="*/ 6766045 h 6858000"/>
              <a:gd name="connsiteX459" fmla="*/ 1067484 w 7467600"/>
              <a:gd name="connsiteY459" fmla="*/ 6858000 h 6858000"/>
              <a:gd name="connsiteX460" fmla="*/ 953928 w 7467600"/>
              <a:gd name="connsiteY460" fmla="*/ 6858000 h 6858000"/>
              <a:gd name="connsiteX461" fmla="*/ 959715 w 7467600"/>
              <a:gd name="connsiteY461" fmla="*/ 6850185 h 6858000"/>
              <a:gd name="connsiteX462" fmla="*/ 1483788 w 7467600"/>
              <a:gd name="connsiteY462" fmla="*/ 6259174 h 6858000"/>
              <a:gd name="connsiteX463" fmla="*/ 1100671 w 7467600"/>
              <a:gd name="connsiteY463" fmla="*/ 6252137 h 6858000"/>
              <a:gd name="connsiteX464" fmla="*/ 1090144 w 7467600"/>
              <a:gd name="connsiteY464" fmla="*/ 6256748 h 6858000"/>
              <a:gd name="connsiteX465" fmla="*/ 1095872 w 7467600"/>
              <a:gd name="connsiteY465" fmla="*/ 6271892 h 6858000"/>
              <a:gd name="connsiteX466" fmla="*/ 262785 w 7467600"/>
              <a:gd name="connsiteY466" fmla="*/ 6845450 h 6858000"/>
              <a:gd name="connsiteX467" fmla="*/ 209968 w 7467600"/>
              <a:gd name="connsiteY467" fmla="*/ 6770713 h 6858000"/>
              <a:gd name="connsiteX468" fmla="*/ 873460 w 7467600"/>
              <a:gd name="connsiteY468" fmla="*/ 6253768 h 6858000"/>
              <a:gd name="connsiteX469" fmla="*/ 192686 w 7467600"/>
              <a:gd name="connsiteY469" fmla="*/ 5849257 h 6858000"/>
              <a:gd name="connsiteX470" fmla="*/ 4696 w 7467600"/>
              <a:gd name="connsiteY470" fmla="*/ 5697668 h 6858000"/>
              <a:gd name="connsiteX471" fmla="*/ 0 w 7467600"/>
              <a:gd name="connsiteY471" fmla="*/ 5689984 h 6858000"/>
              <a:gd name="connsiteX472" fmla="*/ 0 w 7467600"/>
              <a:gd name="connsiteY472" fmla="*/ 5513472 h 6858000"/>
              <a:gd name="connsiteX473" fmla="*/ 174101 w 7467600"/>
              <a:gd name="connsiteY473" fmla="*/ 5620277 h 6858000"/>
              <a:gd name="connsiteX474" fmla="*/ 891800 w 7467600"/>
              <a:gd name="connsiteY474" fmla="*/ 6036935 h 6858000"/>
              <a:gd name="connsiteX475" fmla="*/ 1072219 w 7467600"/>
              <a:gd name="connsiteY475" fmla="*/ 6169443 h 6858000"/>
              <a:gd name="connsiteX476" fmla="*/ 1074117 w 7467600"/>
              <a:gd name="connsiteY476" fmla="*/ 6170301 h 6858000"/>
              <a:gd name="connsiteX477" fmla="*/ 1083114 w 7467600"/>
              <a:gd name="connsiteY477" fmla="*/ 6174131 h 6858000"/>
              <a:gd name="connsiteX478" fmla="*/ 1543010 w 7467600"/>
              <a:gd name="connsiteY478" fmla="*/ 6191140 h 6858000"/>
              <a:gd name="connsiteX479" fmla="*/ 1551080 w 7467600"/>
              <a:gd name="connsiteY479" fmla="*/ 6195006 h 6858000"/>
              <a:gd name="connsiteX480" fmla="*/ 2345443 w 7467600"/>
              <a:gd name="connsiteY480" fmla="*/ 5549882 h 6858000"/>
              <a:gd name="connsiteX481" fmla="*/ 1721499 w 7467600"/>
              <a:gd name="connsiteY481" fmla="*/ 5599969 h 6858000"/>
              <a:gd name="connsiteX482" fmla="*/ 767716 w 7467600"/>
              <a:gd name="connsiteY482" fmla="*/ 5472768 h 6858000"/>
              <a:gd name="connsiteX483" fmla="*/ 722147 w 7467600"/>
              <a:gd name="connsiteY483" fmla="*/ 5393091 h 6858000"/>
              <a:gd name="connsiteX484" fmla="*/ 1485552 w 7467600"/>
              <a:gd name="connsiteY484" fmla="*/ 5313202 h 6858000"/>
              <a:gd name="connsiteX485" fmla="*/ 2143004 w 7467600"/>
              <a:gd name="connsiteY485" fmla="*/ 5402420 h 6858000"/>
              <a:gd name="connsiteX486" fmla="*/ 1933391 w 7467600"/>
              <a:gd name="connsiteY486" fmla="*/ 5156971 h 6858000"/>
              <a:gd name="connsiteX487" fmla="*/ 1827118 w 7467600"/>
              <a:gd name="connsiteY487" fmla="*/ 4968410 h 6858000"/>
              <a:gd name="connsiteX488" fmla="*/ 1837349 w 7467600"/>
              <a:gd name="connsiteY488" fmla="*/ 4956357 h 6858000"/>
              <a:gd name="connsiteX489" fmla="*/ 2162835 w 7467600"/>
              <a:gd name="connsiteY489" fmla="*/ 5187853 h 6858000"/>
              <a:gd name="connsiteX490" fmla="*/ 2257167 w 7467600"/>
              <a:gd name="connsiteY490" fmla="*/ 5462123 h 6858000"/>
              <a:gd name="connsiteX491" fmla="*/ 2261598 w 7467600"/>
              <a:gd name="connsiteY491" fmla="*/ 5467998 h 6858000"/>
              <a:gd name="connsiteX492" fmla="*/ 2437177 w 7467600"/>
              <a:gd name="connsiteY492" fmla="*/ 5479608 h 6858000"/>
              <a:gd name="connsiteX493" fmla="*/ 2445247 w 7467600"/>
              <a:gd name="connsiteY493" fmla="*/ 5483476 h 6858000"/>
              <a:gd name="connsiteX494" fmla="*/ 2743626 w 7467600"/>
              <a:gd name="connsiteY494" fmla="*/ 5304819 h 6858000"/>
              <a:gd name="connsiteX495" fmla="*/ 3048102 w 7467600"/>
              <a:gd name="connsiteY495" fmla="*/ 5150595 h 6858000"/>
              <a:gd name="connsiteX496" fmla="*/ 1799414 w 7467600"/>
              <a:gd name="connsiteY496" fmla="*/ 4694732 h 6858000"/>
              <a:gd name="connsiteX497" fmla="*/ 1771735 w 7467600"/>
              <a:gd name="connsiteY497" fmla="*/ 4619929 h 6858000"/>
              <a:gd name="connsiteX498" fmla="*/ 3104273 w 7467600"/>
              <a:gd name="connsiteY498" fmla="*/ 5076159 h 6858000"/>
              <a:gd name="connsiteX499" fmla="*/ 3113245 w 7467600"/>
              <a:gd name="connsiteY499" fmla="*/ 5090705 h 6858000"/>
              <a:gd name="connsiteX500" fmla="*/ 3126294 w 7467600"/>
              <a:gd name="connsiteY500" fmla="*/ 5114400 h 6858000"/>
              <a:gd name="connsiteX501" fmla="*/ 3937433 w 7467600"/>
              <a:gd name="connsiteY501" fmla="*/ 4830473 h 6858000"/>
              <a:gd name="connsiteX502" fmla="*/ 3590475 w 7467600"/>
              <a:gd name="connsiteY502" fmla="*/ 4597974 h 6858000"/>
              <a:gd name="connsiteX503" fmla="*/ 3100264 w 7467600"/>
              <a:gd name="connsiteY503" fmla="*/ 4579845 h 6858000"/>
              <a:gd name="connsiteX504" fmla="*/ 2183576 w 7467600"/>
              <a:gd name="connsiteY504" fmla="*/ 4227150 h 6858000"/>
              <a:gd name="connsiteX505" fmla="*/ 2151029 w 7467600"/>
              <a:gd name="connsiteY505" fmla="*/ 4146947 h 6858000"/>
              <a:gd name="connsiteX506" fmla="*/ 3563434 w 7467600"/>
              <a:gd name="connsiteY506" fmla="*/ 4469115 h 6858000"/>
              <a:gd name="connsiteX507" fmla="*/ 3177952 w 7467600"/>
              <a:gd name="connsiteY507" fmla="*/ 3657386 h 6858000"/>
              <a:gd name="connsiteX508" fmla="*/ 3189263 w 7467600"/>
              <a:gd name="connsiteY508" fmla="*/ 3625726 h 6858000"/>
              <a:gd name="connsiteX509" fmla="*/ 3560912 w 7467600"/>
              <a:gd name="connsiteY509" fmla="*/ 4079863 h 6858000"/>
              <a:gd name="connsiteX510" fmla="*/ 3626636 w 7467600"/>
              <a:gd name="connsiteY510" fmla="*/ 4512230 h 6858000"/>
              <a:gd name="connsiteX511" fmla="*/ 3653088 w 7467600"/>
              <a:gd name="connsiteY511" fmla="*/ 4521417 h 6858000"/>
              <a:gd name="connsiteX512" fmla="*/ 3988128 w 7467600"/>
              <a:gd name="connsiteY512" fmla="*/ 4817267 h 6858000"/>
              <a:gd name="connsiteX513" fmla="*/ 4830582 w 7467600"/>
              <a:gd name="connsiteY513" fmla="*/ 4676000 h 6858000"/>
              <a:gd name="connsiteX514" fmla="*/ 4830100 w 7467600"/>
              <a:gd name="connsiteY514" fmla="*/ 4675554 h 6858000"/>
              <a:gd name="connsiteX515" fmla="*/ 4036318 w 7467600"/>
              <a:gd name="connsiteY515" fmla="*/ 4147013 h 6858000"/>
              <a:gd name="connsiteX516" fmla="*/ 3432098 w 7467600"/>
              <a:gd name="connsiteY516" fmla="*/ 3537312 h 6858000"/>
              <a:gd name="connsiteX517" fmla="*/ 3446761 w 7467600"/>
              <a:gd name="connsiteY517" fmla="*/ 3461278 h 6858000"/>
              <a:gd name="connsiteX518" fmla="*/ 4419733 w 7467600"/>
              <a:gd name="connsiteY518" fmla="*/ 3963555 h 6858000"/>
              <a:gd name="connsiteX519" fmla="*/ 4781371 w 7467600"/>
              <a:gd name="connsiteY519" fmla="*/ 4458604 h 6858000"/>
              <a:gd name="connsiteX520" fmla="*/ 4780440 w 7467600"/>
              <a:gd name="connsiteY520" fmla="*/ 4470290 h 6858000"/>
              <a:gd name="connsiteX521" fmla="*/ 4898954 w 7467600"/>
              <a:gd name="connsiteY521" fmla="*/ 4662092 h 6858000"/>
              <a:gd name="connsiteX522" fmla="*/ 4900699 w 7467600"/>
              <a:gd name="connsiteY522" fmla="*/ 4670867 h 6858000"/>
              <a:gd name="connsiteX523" fmla="*/ 5714511 w 7467600"/>
              <a:gd name="connsiteY523" fmla="*/ 4663483 h 6858000"/>
              <a:gd name="connsiteX524" fmla="*/ 5464793 w 7467600"/>
              <a:gd name="connsiteY524" fmla="*/ 4393556 h 6858000"/>
              <a:gd name="connsiteX525" fmla="*/ 5461897 w 7467600"/>
              <a:gd name="connsiteY525" fmla="*/ 4390879 h 6858000"/>
              <a:gd name="connsiteX526" fmla="*/ 4294126 w 7467600"/>
              <a:gd name="connsiteY526" fmla="*/ 3303048 h 6858000"/>
              <a:gd name="connsiteX527" fmla="*/ 4305321 w 7467600"/>
              <a:gd name="connsiteY527" fmla="*/ 3256953 h 6858000"/>
              <a:gd name="connsiteX528" fmla="*/ 4949299 w 7467600"/>
              <a:gd name="connsiteY528" fmla="*/ 3766336 h 6858000"/>
              <a:gd name="connsiteX529" fmla="*/ 5291452 w 7467600"/>
              <a:gd name="connsiteY529" fmla="*/ 4076801 h 6858000"/>
              <a:gd name="connsiteX530" fmla="*/ 5434998 w 7467600"/>
              <a:gd name="connsiteY530" fmla="*/ 4254100 h 6858000"/>
              <a:gd name="connsiteX531" fmla="*/ 5351015 w 7467600"/>
              <a:gd name="connsiteY531" fmla="*/ 3760989 h 6858000"/>
              <a:gd name="connsiteX532" fmla="*/ 5413780 w 7467600"/>
              <a:gd name="connsiteY532" fmla="*/ 2966265 h 6858000"/>
              <a:gd name="connsiteX533" fmla="*/ 5425627 w 7467600"/>
              <a:gd name="connsiteY533" fmla="*/ 2954192 h 6858000"/>
              <a:gd name="connsiteX534" fmla="*/ 6604735 w 7467600"/>
              <a:gd name="connsiteY534" fmla="*/ 2041381 h 6858000"/>
              <a:gd name="connsiteX535" fmla="*/ 7204487 w 7467600"/>
              <a:gd name="connsiteY535" fmla="*/ 2742112 h 6858000"/>
              <a:gd name="connsiteX536" fmla="*/ 7131592 w 7467600"/>
              <a:gd name="connsiteY536" fmla="*/ 2672096 h 6858000"/>
              <a:gd name="connsiteX537" fmla="*/ 6996344 w 7467600"/>
              <a:gd name="connsiteY537" fmla="*/ 2518310 h 6858000"/>
              <a:gd name="connsiteX538" fmla="*/ 6735495 w 7467600"/>
              <a:gd name="connsiteY538" fmla="*/ 2196890 h 6858000"/>
              <a:gd name="connsiteX539" fmla="*/ 6721901 w 7467600"/>
              <a:gd name="connsiteY539" fmla="*/ 2179274 h 6858000"/>
              <a:gd name="connsiteX540" fmla="*/ 6604735 w 7467600"/>
              <a:gd name="connsiteY540" fmla="*/ 2041381 h 6858000"/>
              <a:gd name="connsiteX541" fmla="*/ 6591670 w 7467600"/>
              <a:gd name="connsiteY541" fmla="*/ 1988277 h 6858000"/>
              <a:gd name="connsiteX542" fmla="*/ 6747349 w 7467600"/>
              <a:gd name="connsiteY542" fmla="*/ 2160069 h 6858000"/>
              <a:gd name="connsiteX543" fmla="*/ 6760943 w 7467600"/>
              <a:gd name="connsiteY543" fmla="*/ 2177686 h 6858000"/>
              <a:gd name="connsiteX544" fmla="*/ 7021065 w 7467600"/>
              <a:gd name="connsiteY544" fmla="*/ 2498102 h 6858000"/>
              <a:gd name="connsiteX545" fmla="*/ 7155223 w 7467600"/>
              <a:gd name="connsiteY545" fmla="*/ 2650386 h 6858000"/>
              <a:gd name="connsiteX546" fmla="*/ 7203167 w 7467600"/>
              <a:gd name="connsiteY546" fmla="*/ 2697288 h 6858000"/>
              <a:gd name="connsiteX547" fmla="*/ 6937703 w 7467600"/>
              <a:gd name="connsiteY547" fmla="*/ 2321981 h 6858000"/>
              <a:gd name="connsiteX548" fmla="*/ 6591670 w 7467600"/>
              <a:gd name="connsiteY548" fmla="*/ 1988277 h 6858000"/>
              <a:gd name="connsiteX549" fmla="*/ 5798671 w 7467600"/>
              <a:gd name="connsiteY549" fmla="*/ 1981601 h 6858000"/>
              <a:gd name="connsiteX550" fmla="*/ 5754709 w 7467600"/>
              <a:gd name="connsiteY550" fmla="*/ 2071454 h 6858000"/>
              <a:gd name="connsiteX551" fmla="*/ 5763044 w 7467600"/>
              <a:gd name="connsiteY551" fmla="*/ 2842206 h 6858000"/>
              <a:gd name="connsiteX552" fmla="*/ 5764974 w 7467600"/>
              <a:gd name="connsiteY552" fmla="*/ 2799609 h 6858000"/>
              <a:gd name="connsiteX553" fmla="*/ 5767665 w 7467600"/>
              <a:gd name="connsiteY553" fmla="*/ 2666409 h 6858000"/>
              <a:gd name="connsiteX554" fmla="*/ 5763055 w 7467600"/>
              <a:gd name="connsiteY554" fmla="*/ 2579705 h 6858000"/>
              <a:gd name="connsiteX555" fmla="*/ 5758079 w 7467600"/>
              <a:gd name="connsiteY555" fmla="*/ 2492508 h 6858000"/>
              <a:gd name="connsiteX556" fmla="*/ 5779325 w 7467600"/>
              <a:gd name="connsiteY556" fmla="*/ 2197069 h 6858000"/>
              <a:gd name="connsiteX557" fmla="*/ 5798671 w 7467600"/>
              <a:gd name="connsiteY557" fmla="*/ 1981601 h 6858000"/>
              <a:gd name="connsiteX558" fmla="*/ 5829202 w 7467600"/>
              <a:gd name="connsiteY558" fmla="*/ 1971679 h 6858000"/>
              <a:gd name="connsiteX559" fmla="*/ 5809558 w 7467600"/>
              <a:gd name="connsiteY559" fmla="*/ 2198043 h 6858000"/>
              <a:gd name="connsiteX560" fmla="*/ 5788653 w 7467600"/>
              <a:gd name="connsiteY560" fmla="*/ 2489430 h 6858000"/>
              <a:gd name="connsiteX561" fmla="*/ 5793439 w 7467600"/>
              <a:gd name="connsiteY561" fmla="*/ 2575235 h 6858000"/>
              <a:gd name="connsiteX562" fmla="*/ 5796837 w 7467600"/>
              <a:gd name="connsiteY562" fmla="*/ 2637633 h 6858000"/>
              <a:gd name="connsiteX563" fmla="*/ 5818614 w 7467600"/>
              <a:gd name="connsiteY563" fmla="*/ 2473055 h 6858000"/>
              <a:gd name="connsiteX564" fmla="*/ 5829202 w 7467600"/>
              <a:gd name="connsiteY564" fmla="*/ 1971679 h 6858000"/>
              <a:gd name="connsiteX565" fmla="*/ 5911389 w 7467600"/>
              <a:gd name="connsiteY565" fmla="*/ 1898371 h 6858000"/>
              <a:gd name="connsiteX566" fmla="*/ 6237627 w 7467600"/>
              <a:gd name="connsiteY566" fmla="*/ 2231921 h 6858000"/>
              <a:gd name="connsiteX567" fmla="*/ 5911389 w 7467600"/>
              <a:gd name="connsiteY567" fmla="*/ 1898371 h 6858000"/>
              <a:gd name="connsiteX568" fmla="*/ 6944437 w 7467600"/>
              <a:gd name="connsiteY568" fmla="*/ 1575402 h 6858000"/>
              <a:gd name="connsiteX569" fmla="*/ 6304730 w 7467600"/>
              <a:gd name="connsiteY569" fmla="*/ 1766654 h 6858000"/>
              <a:gd name="connsiteX570" fmla="*/ 6944437 w 7467600"/>
              <a:gd name="connsiteY570" fmla="*/ 1575402 h 6858000"/>
              <a:gd name="connsiteX571" fmla="*/ 7019523 w 7467600"/>
              <a:gd name="connsiteY571" fmla="*/ 1519450 h 6858000"/>
              <a:gd name="connsiteX572" fmla="*/ 6298091 w 7467600"/>
              <a:gd name="connsiteY572" fmla="*/ 1737122 h 6858000"/>
              <a:gd name="connsiteX573" fmla="*/ 7019523 w 7467600"/>
              <a:gd name="connsiteY573" fmla="*/ 1519450 h 6858000"/>
              <a:gd name="connsiteX574" fmla="*/ 2399523 w 7467600"/>
              <a:gd name="connsiteY574" fmla="*/ 1428234 h 6858000"/>
              <a:gd name="connsiteX575" fmla="*/ 2224982 w 7467600"/>
              <a:gd name="connsiteY575" fmla="*/ 1826201 h 6858000"/>
              <a:gd name="connsiteX576" fmla="*/ 2096099 w 7467600"/>
              <a:gd name="connsiteY576" fmla="*/ 2345900 h 6858000"/>
              <a:gd name="connsiteX577" fmla="*/ 2283317 w 7467600"/>
              <a:gd name="connsiteY577" fmla="*/ 1796925 h 6858000"/>
              <a:gd name="connsiteX578" fmla="*/ 2399523 w 7467600"/>
              <a:gd name="connsiteY578" fmla="*/ 1428234 h 6858000"/>
              <a:gd name="connsiteX579" fmla="*/ 2448558 w 7467600"/>
              <a:gd name="connsiteY579" fmla="*/ 1373435 h 6858000"/>
              <a:gd name="connsiteX580" fmla="*/ 2312521 w 7467600"/>
              <a:gd name="connsiteY580" fmla="*/ 1806140 h 6858000"/>
              <a:gd name="connsiteX581" fmla="*/ 2127533 w 7467600"/>
              <a:gd name="connsiteY581" fmla="*/ 2348380 h 6858000"/>
              <a:gd name="connsiteX582" fmla="*/ 2358080 w 7467600"/>
              <a:gd name="connsiteY582" fmla="*/ 1866134 h 6858000"/>
              <a:gd name="connsiteX583" fmla="*/ 2407436 w 7467600"/>
              <a:gd name="connsiteY583" fmla="*/ 1651070 h 6858000"/>
              <a:gd name="connsiteX584" fmla="*/ 2448558 w 7467600"/>
              <a:gd name="connsiteY584" fmla="*/ 1373435 h 6858000"/>
              <a:gd name="connsiteX585" fmla="*/ 278707 w 7467600"/>
              <a:gd name="connsiteY585" fmla="*/ 1352270 h 6858000"/>
              <a:gd name="connsiteX586" fmla="*/ 321570 w 7467600"/>
              <a:gd name="connsiteY586" fmla="*/ 1861610 h 6858000"/>
              <a:gd name="connsiteX587" fmla="*/ 294281 w 7467600"/>
              <a:gd name="connsiteY587" fmla="*/ 1440658 h 6858000"/>
              <a:gd name="connsiteX588" fmla="*/ 278707 w 7467600"/>
              <a:gd name="connsiteY588" fmla="*/ 1352270 h 6858000"/>
              <a:gd name="connsiteX589" fmla="*/ 1423821 w 7467600"/>
              <a:gd name="connsiteY589" fmla="*/ 1351958 h 6858000"/>
              <a:gd name="connsiteX590" fmla="*/ 1638521 w 7467600"/>
              <a:gd name="connsiteY590" fmla="*/ 1908470 h 6858000"/>
              <a:gd name="connsiteX591" fmla="*/ 1754199 w 7467600"/>
              <a:gd name="connsiteY591" fmla="*/ 2149284 h 6858000"/>
              <a:gd name="connsiteX592" fmla="*/ 1908359 w 7467600"/>
              <a:gd name="connsiteY592" fmla="*/ 2364988 h 6858000"/>
              <a:gd name="connsiteX593" fmla="*/ 1647661 w 7467600"/>
              <a:gd name="connsiteY593" fmla="*/ 1825945 h 6858000"/>
              <a:gd name="connsiteX594" fmla="*/ 1423821 w 7467600"/>
              <a:gd name="connsiteY594" fmla="*/ 1351958 h 6858000"/>
              <a:gd name="connsiteX595" fmla="*/ 1431890 w 7467600"/>
              <a:gd name="connsiteY595" fmla="*/ 1306475 h 6858000"/>
              <a:gd name="connsiteX596" fmla="*/ 1507597 w 7467600"/>
              <a:gd name="connsiteY596" fmla="*/ 1446132 h 6858000"/>
              <a:gd name="connsiteX597" fmla="*/ 1674586 w 7467600"/>
              <a:gd name="connsiteY597" fmla="*/ 1813832 h 6858000"/>
              <a:gd name="connsiteX598" fmla="*/ 1815950 w 7467600"/>
              <a:gd name="connsiteY598" fmla="*/ 2128564 h 6858000"/>
              <a:gd name="connsiteX599" fmla="*/ 1984242 w 7467600"/>
              <a:gd name="connsiteY599" fmla="*/ 2430829 h 6858000"/>
              <a:gd name="connsiteX600" fmla="*/ 2014023 w 7467600"/>
              <a:gd name="connsiteY600" fmla="*/ 2450995 h 6858000"/>
              <a:gd name="connsiteX601" fmla="*/ 1747337 w 7467600"/>
              <a:gd name="connsiteY601" fmla="*/ 1855264 h 6858000"/>
              <a:gd name="connsiteX602" fmla="*/ 1533749 w 7467600"/>
              <a:gd name="connsiteY602" fmla="*/ 1478656 h 6858000"/>
              <a:gd name="connsiteX603" fmla="*/ 1431890 w 7467600"/>
              <a:gd name="connsiteY603" fmla="*/ 1306475 h 6858000"/>
              <a:gd name="connsiteX604" fmla="*/ 5052692 w 7467600"/>
              <a:gd name="connsiteY604" fmla="*/ 1292994 h 6858000"/>
              <a:gd name="connsiteX605" fmla="*/ 5200661 w 7467600"/>
              <a:gd name="connsiteY605" fmla="*/ 1635186 h 6858000"/>
              <a:gd name="connsiteX606" fmla="*/ 5297138 w 7467600"/>
              <a:gd name="connsiteY606" fmla="*/ 1906351 h 6858000"/>
              <a:gd name="connsiteX607" fmla="*/ 5052692 w 7467600"/>
              <a:gd name="connsiteY607" fmla="*/ 1292994 h 6858000"/>
              <a:gd name="connsiteX608" fmla="*/ 5009948 w 7467600"/>
              <a:gd name="connsiteY608" fmla="*/ 1273619 h 6858000"/>
              <a:gd name="connsiteX609" fmla="*/ 5121777 w 7467600"/>
              <a:gd name="connsiteY609" fmla="*/ 1654213 h 6858000"/>
              <a:gd name="connsiteX610" fmla="*/ 5293545 w 7467600"/>
              <a:gd name="connsiteY610" fmla="*/ 2072247 h 6858000"/>
              <a:gd name="connsiteX611" fmla="*/ 5294042 w 7467600"/>
              <a:gd name="connsiteY611" fmla="*/ 2065019 h 6858000"/>
              <a:gd name="connsiteX612" fmla="*/ 5171936 w 7467600"/>
              <a:gd name="connsiteY612" fmla="*/ 1647613 h 6858000"/>
              <a:gd name="connsiteX613" fmla="*/ 5009948 w 7467600"/>
              <a:gd name="connsiteY613" fmla="*/ 1273619 h 6858000"/>
              <a:gd name="connsiteX614" fmla="*/ 655236 w 7467600"/>
              <a:gd name="connsiteY614" fmla="*/ 1268632 h 6858000"/>
              <a:gd name="connsiteX615" fmla="*/ 839521 w 7467600"/>
              <a:gd name="connsiteY615" fmla="*/ 1685315 h 6858000"/>
              <a:gd name="connsiteX616" fmla="*/ 1109416 w 7467600"/>
              <a:gd name="connsiteY616" fmla="*/ 2061663 h 6858000"/>
              <a:gd name="connsiteX617" fmla="*/ 1298300 w 7467600"/>
              <a:gd name="connsiteY617" fmla="*/ 2247742 h 6858000"/>
              <a:gd name="connsiteX618" fmla="*/ 1125871 w 7467600"/>
              <a:gd name="connsiteY618" fmla="*/ 1989513 h 6858000"/>
              <a:gd name="connsiteX619" fmla="*/ 981574 w 7467600"/>
              <a:gd name="connsiteY619" fmla="*/ 1783157 h 6858000"/>
              <a:gd name="connsiteX620" fmla="*/ 922198 w 7467600"/>
              <a:gd name="connsiteY620" fmla="*/ 1677437 h 6858000"/>
              <a:gd name="connsiteX621" fmla="*/ 869293 w 7467600"/>
              <a:gd name="connsiteY621" fmla="*/ 1583214 h 6858000"/>
              <a:gd name="connsiteX622" fmla="*/ 751431 w 7467600"/>
              <a:gd name="connsiteY622" fmla="*/ 1405731 h 6858000"/>
              <a:gd name="connsiteX623" fmla="*/ 655236 w 7467600"/>
              <a:gd name="connsiteY623" fmla="*/ 1268632 h 6858000"/>
              <a:gd name="connsiteX624" fmla="*/ 6516292 w 7467600"/>
              <a:gd name="connsiteY624" fmla="*/ 1263064 h 6858000"/>
              <a:gd name="connsiteX625" fmla="*/ 5736320 w 7467600"/>
              <a:gd name="connsiteY625" fmla="*/ 1501803 h 6858000"/>
              <a:gd name="connsiteX626" fmla="*/ 6516292 w 7467600"/>
              <a:gd name="connsiteY626" fmla="*/ 1263064 h 6858000"/>
              <a:gd name="connsiteX627" fmla="*/ 291466 w 7467600"/>
              <a:gd name="connsiteY627" fmla="*/ 1250369 h 6858000"/>
              <a:gd name="connsiteX628" fmla="*/ 323180 w 7467600"/>
              <a:gd name="connsiteY628" fmla="*/ 1435283 h 6858000"/>
              <a:gd name="connsiteX629" fmla="*/ 349381 w 7467600"/>
              <a:gd name="connsiteY629" fmla="*/ 1875041 h 6858000"/>
              <a:gd name="connsiteX630" fmla="*/ 374363 w 7467600"/>
              <a:gd name="connsiteY630" fmla="*/ 1506494 h 6858000"/>
              <a:gd name="connsiteX631" fmla="*/ 302168 w 7467600"/>
              <a:gd name="connsiteY631" fmla="*/ 1274495 h 6858000"/>
              <a:gd name="connsiteX632" fmla="*/ 291466 w 7467600"/>
              <a:gd name="connsiteY632" fmla="*/ 1250369 h 6858000"/>
              <a:gd name="connsiteX633" fmla="*/ 678222 w 7467600"/>
              <a:gd name="connsiteY633" fmla="*/ 1248670 h 6858000"/>
              <a:gd name="connsiteX634" fmla="*/ 775536 w 7467600"/>
              <a:gd name="connsiteY634" fmla="*/ 1388015 h 6858000"/>
              <a:gd name="connsiteX635" fmla="*/ 894529 w 7467600"/>
              <a:gd name="connsiteY635" fmla="*/ 1567739 h 6858000"/>
              <a:gd name="connsiteX636" fmla="*/ 948000 w 7467600"/>
              <a:gd name="connsiteY636" fmla="*/ 1663088 h 6858000"/>
              <a:gd name="connsiteX637" fmla="*/ 1006812 w 7467600"/>
              <a:gd name="connsiteY637" fmla="*/ 1767683 h 6858000"/>
              <a:gd name="connsiteX638" fmla="*/ 1149133 w 7467600"/>
              <a:gd name="connsiteY638" fmla="*/ 1971513 h 6858000"/>
              <a:gd name="connsiteX639" fmla="*/ 1333952 w 7467600"/>
              <a:gd name="connsiteY639" fmla="*/ 2251620 h 6858000"/>
              <a:gd name="connsiteX640" fmla="*/ 1337329 w 7467600"/>
              <a:gd name="connsiteY640" fmla="*/ 2258350 h 6858000"/>
              <a:gd name="connsiteX641" fmla="*/ 1014726 w 7467600"/>
              <a:gd name="connsiteY641" fmla="*/ 1615556 h 6858000"/>
              <a:gd name="connsiteX642" fmla="*/ 678222 w 7467600"/>
              <a:gd name="connsiteY642" fmla="*/ 1248670 h 6858000"/>
              <a:gd name="connsiteX643" fmla="*/ 6691602 w 7467600"/>
              <a:gd name="connsiteY643" fmla="*/ 1140573 h 6858000"/>
              <a:gd name="connsiteX644" fmla="*/ 6571100 w 7467600"/>
              <a:gd name="connsiteY644" fmla="*/ 1183662 h 6858000"/>
              <a:gd name="connsiteX645" fmla="*/ 6241687 w 7467600"/>
              <a:gd name="connsiteY645" fmla="*/ 1257600 h 6858000"/>
              <a:gd name="connsiteX646" fmla="*/ 5693009 w 7467600"/>
              <a:gd name="connsiteY646" fmla="*/ 1478256 h 6858000"/>
              <a:gd name="connsiteX647" fmla="*/ 6548420 w 7467600"/>
              <a:gd name="connsiteY647" fmla="*/ 1214599 h 6858000"/>
              <a:gd name="connsiteX648" fmla="*/ 6605473 w 7467600"/>
              <a:gd name="connsiteY648" fmla="*/ 1184686 h 6858000"/>
              <a:gd name="connsiteX649" fmla="*/ 6691602 w 7467600"/>
              <a:gd name="connsiteY649" fmla="*/ 1140573 h 6858000"/>
              <a:gd name="connsiteX650" fmla="*/ 4002475 w 7467600"/>
              <a:gd name="connsiteY650" fmla="*/ 1037802 h 6858000"/>
              <a:gd name="connsiteX651" fmla="*/ 4000324 w 7467600"/>
              <a:gd name="connsiteY651" fmla="*/ 1039362 h 6858000"/>
              <a:gd name="connsiteX652" fmla="*/ 4002862 w 7467600"/>
              <a:gd name="connsiteY652" fmla="*/ 1042866 h 6858000"/>
              <a:gd name="connsiteX653" fmla="*/ 4002475 w 7467600"/>
              <a:gd name="connsiteY653" fmla="*/ 1037802 h 6858000"/>
              <a:gd name="connsiteX654" fmla="*/ 506322 w 7467600"/>
              <a:gd name="connsiteY654" fmla="*/ 1020997 h 6858000"/>
              <a:gd name="connsiteX655" fmla="*/ 533068 w 7467600"/>
              <a:gd name="connsiteY655" fmla="*/ 1029409 h 6858000"/>
              <a:gd name="connsiteX656" fmla="*/ 1232525 w 7467600"/>
              <a:gd name="connsiteY656" fmla="*/ 1804675 h 6858000"/>
              <a:gd name="connsiteX657" fmla="*/ 1388858 w 7467600"/>
              <a:gd name="connsiteY657" fmla="*/ 2368011 h 6858000"/>
              <a:gd name="connsiteX658" fmla="*/ 1384098 w 7467600"/>
              <a:gd name="connsiteY658" fmla="*/ 2378125 h 6858000"/>
              <a:gd name="connsiteX659" fmla="*/ 1425393 w 7467600"/>
              <a:gd name="connsiteY659" fmla="*/ 2589124 h 6858000"/>
              <a:gd name="connsiteX660" fmla="*/ 1424001 w 7467600"/>
              <a:gd name="connsiteY660" fmla="*/ 2597541 h 6858000"/>
              <a:gd name="connsiteX661" fmla="*/ 2152729 w 7467600"/>
              <a:gd name="connsiteY661" fmla="*/ 2864487 h 6858000"/>
              <a:gd name="connsiteX662" fmla="*/ 2020609 w 7467600"/>
              <a:gd name="connsiteY662" fmla="*/ 2539671 h 6858000"/>
              <a:gd name="connsiteX663" fmla="*/ 2018920 w 7467600"/>
              <a:gd name="connsiteY663" fmla="*/ 2536309 h 6858000"/>
              <a:gd name="connsiteX664" fmla="*/ 1342441 w 7467600"/>
              <a:gd name="connsiteY664" fmla="*/ 1173017 h 6858000"/>
              <a:gd name="connsiteX665" fmla="*/ 1367925 w 7467600"/>
              <a:gd name="connsiteY665" fmla="*/ 1135648 h 6858000"/>
              <a:gd name="connsiteX666" fmla="*/ 1771401 w 7467600"/>
              <a:gd name="connsiteY666" fmla="*/ 1806673 h 6858000"/>
              <a:gd name="connsiteX667" fmla="*/ 1972385 w 7467600"/>
              <a:gd name="connsiteY667" fmla="*/ 2198735 h 6858000"/>
              <a:gd name="connsiteX668" fmla="*/ 2040892 w 7467600"/>
              <a:gd name="connsiteY668" fmla="*/ 2405205 h 6858000"/>
              <a:gd name="connsiteX669" fmla="*/ 2131689 w 7467600"/>
              <a:gd name="connsiteY669" fmla="*/ 1936926 h 6858000"/>
              <a:gd name="connsiteX670" fmla="*/ 2454820 w 7467600"/>
              <a:gd name="connsiteY670" fmla="*/ 1248808 h 6858000"/>
              <a:gd name="connsiteX671" fmla="*/ 2492512 w 7467600"/>
              <a:gd name="connsiteY671" fmla="*/ 1302920 h 6858000"/>
              <a:gd name="connsiteX672" fmla="*/ 2081216 w 7467600"/>
              <a:gd name="connsiteY672" fmla="*/ 2527513 h 6858000"/>
              <a:gd name="connsiteX673" fmla="*/ 2081211 w 7467600"/>
              <a:gd name="connsiteY673" fmla="*/ 2528916 h 6858000"/>
              <a:gd name="connsiteX674" fmla="*/ 2199067 w 7467600"/>
              <a:gd name="connsiteY674" fmla="*/ 2884061 h 6858000"/>
              <a:gd name="connsiteX675" fmla="*/ 3192586 w 7467600"/>
              <a:gd name="connsiteY675" fmla="*/ 3411496 h 6858000"/>
              <a:gd name="connsiteX676" fmla="*/ 3182620 w 7467600"/>
              <a:gd name="connsiteY676" fmla="*/ 3483279 h 6858000"/>
              <a:gd name="connsiteX677" fmla="*/ 2435119 w 7467600"/>
              <a:gd name="connsiteY677" fmla="*/ 3080173 h 6858000"/>
              <a:gd name="connsiteX678" fmla="*/ 2410152 w 7467600"/>
              <a:gd name="connsiteY678" fmla="*/ 3063751 h 6858000"/>
              <a:gd name="connsiteX679" fmla="*/ 2408099 w 7467600"/>
              <a:gd name="connsiteY679" fmla="*/ 3064403 h 6858000"/>
              <a:gd name="connsiteX680" fmla="*/ 2407218 w 7467600"/>
              <a:gd name="connsiteY680" fmla="*/ 3070324 h 6858000"/>
              <a:gd name="connsiteX681" fmla="*/ 2380138 w 7467600"/>
              <a:gd name="connsiteY681" fmla="*/ 3099341 h 6858000"/>
              <a:gd name="connsiteX682" fmla="*/ 1765923 w 7467600"/>
              <a:gd name="connsiteY682" fmla="*/ 3581043 h 6858000"/>
              <a:gd name="connsiteX683" fmla="*/ 1702258 w 7467600"/>
              <a:gd name="connsiteY683" fmla="*/ 3612286 h 6858000"/>
              <a:gd name="connsiteX684" fmla="*/ 1538370 w 7467600"/>
              <a:gd name="connsiteY684" fmla="*/ 3811804 h 6858000"/>
              <a:gd name="connsiteX685" fmla="*/ 542867 w 7467600"/>
              <a:gd name="connsiteY685" fmla="*/ 4944092 h 6858000"/>
              <a:gd name="connsiteX686" fmla="*/ 515800 w 7467600"/>
              <a:gd name="connsiteY686" fmla="*/ 4862180 h 6858000"/>
              <a:gd name="connsiteX687" fmla="*/ 909145 w 7467600"/>
              <a:gd name="connsiteY687" fmla="*/ 4199225 h 6858000"/>
              <a:gd name="connsiteX688" fmla="*/ 1214067 w 7467600"/>
              <a:gd name="connsiteY688" fmla="*/ 3908561 h 6858000"/>
              <a:gd name="connsiteX689" fmla="*/ 640967 w 7467600"/>
              <a:gd name="connsiteY689" fmla="*/ 4105601 h 6858000"/>
              <a:gd name="connsiteX690" fmla="*/ 112563 w 7467600"/>
              <a:gd name="connsiteY690" fmla="*/ 4396952 h 6858000"/>
              <a:gd name="connsiteX691" fmla="*/ 0 w 7467600"/>
              <a:gd name="connsiteY691" fmla="*/ 4466006 h 6858000"/>
              <a:gd name="connsiteX692" fmla="*/ 0 w 7467600"/>
              <a:gd name="connsiteY692" fmla="*/ 4233763 h 6858000"/>
              <a:gd name="connsiteX693" fmla="*/ 36881 w 7467600"/>
              <a:gd name="connsiteY693" fmla="*/ 4200118 h 6858000"/>
              <a:gd name="connsiteX694" fmla="*/ 910534 w 7467600"/>
              <a:gd name="connsiteY694" fmla="*/ 3629753 h 6858000"/>
              <a:gd name="connsiteX695" fmla="*/ 1578717 w 7467600"/>
              <a:gd name="connsiteY695" fmla="*/ 3575982 h 6858000"/>
              <a:gd name="connsiteX696" fmla="*/ 2338780 w 7467600"/>
              <a:gd name="connsiteY696" fmla="*/ 3033725 h 6858000"/>
              <a:gd name="connsiteX697" fmla="*/ 1807991 w 7467600"/>
              <a:gd name="connsiteY697" fmla="*/ 2807184 h 6858000"/>
              <a:gd name="connsiteX698" fmla="*/ 1416358 w 7467600"/>
              <a:gd name="connsiteY698" fmla="*/ 3112571 h 6858000"/>
              <a:gd name="connsiteX699" fmla="*/ 939066 w 7467600"/>
              <a:gd name="connsiteY699" fmla="*/ 3378798 h 6858000"/>
              <a:gd name="connsiteX700" fmla="*/ 115099 w 7467600"/>
              <a:gd name="connsiteY700" fmla="*/ 3607650 h 6858000"/>
              <a:gd name="connsiteX701" fmla="*/ 97284 w 7467600"/>
              <a:gd name="connsiteY701" fmla="*/ 3520393 h 6858000"/>
              <a:gd name="connsiteX702" fmla="*/ 922050 w 7467600"/>
              <a:gd name="connsiteY702" fmla="*/ 3074867 h 6858000"/>
              <a:gd name="connsiteX703" fmla="*/ 1405265 w 7467600"/>
              <a:gd name="connsiteY703" fmla="*/ 3016319 h 6858000"/>
              <a:gd name="connsiteX704" fmla="*/ 1407512 w 7467600"/>
              <a:gd name="connsiteY704" fmla="*/ 3018001 h 6858000"/>
              <a:gd name="connsiteX705" fmla="*/ 1726266 w 7467600"/>
              <a:gd name="connsiteY705" fmla="*/ 2777274 h 6858000"/>
              <a:gd name="connsiteX706" fmla="*/ 625390 w 7467600"/>
              <a:gd name="connsiteY706" fmla="*/ 2514541 h 6858000"/>
              <a:gd name="connsiteX707" fmla="*/ 619799 w 7467600"/>
              <a:gd name="connsiteY707" fmla="*/ 2527180 h 6858000"/>
              <a:gd name="connsiteX708" fmla="*/ 310030 w 7467600"/>
              <a:gd name="connsiteY708" fmla="*/ 2771818 h 6858000"/>
              <a:gd name="connsiteX709" fmla="*/ 173877 w 7467600"/>
              <a:gd name="connsiteY709" fmla="*/ 2937056 h 6858000"/>
              <a:gd name="connsiteX710" fmla="*/ 77889 w 7467600"/>
              <a:gd name="connsiteY710" fmla="*/ 3138440 h 6858000"/>
              <a:gd name="connsiteX711" fmla="*/ 0 w 7467600"/>
              <a:gd name="connsiteY711" fmla="*/ 3271395 h 6858000"/>
              <a:gd name="connsiteX712" fmla="*/ 0 w 7467600"/>
              <a:gd name="connsiteY712" fmla="*/ 3153002 h 6858000"/>
              <a:gd name="connsiteX713" fmla="*/ 2386 w 7467600"/>
              <a:gd name="connsiteY713" fmla="*/ 3149203 h 6858000"/>
              <a:gd name="connsiteX714" fmla="*/ 89753 w 7467600"/>
              <a:gd name="connsiteY714" fmla="*/ 2987702 h 6858000"/>
              <a:gd name="connsiteX715" fmla="*/ 76869 w 7467600"/>
              <a:gd name="connsiteY715" fmla="*/ 3005404 h 6858000"/>
              <a:gd name="connsiteX716" fmla="*/ 32049 w 7467600"/>
              <a:gd name="connsiteY716" fmla="*/ 3065814 h 6858000"/>
              <a:gd name="connsiteX717" fmla="*/ 0 w 7467600"/>
              <a:gd name="connsiteY717" fmla="*/ 3108744 h 6858000"/>
              <a:gd name="connsiteX718" fmla="*/ 0 w 7467600"/>
              <a:gd name="connsiteY718" fmla="*/ 3058059 h 6858000"/>
              <a:gd name="connsiteX719" fmla="*/ 7610 w 7467600"/>
              <a:gd name="connsiteY719" fmla="*/ 3047889 h 6858000"/>
              <a:gd name="connsiteX720" fmla="*/ 52419 w 7467600"/>
              <a:gd name="connsiteY720" fmla="*/ 2987479 h 6858000"/>
              <a:gd name="connsiteX721" fmla="*/ 59142 w 7467600"/>
              <a:gd name="connsiteY721" fmla="*/ 2978488 h 6858000"/>
              <a:gd name="connsiteX722" fmla="*/ 0 w 7467600"/>
              <a:gd name="connsiteY722" fmla="*/ 3015334 h 6858000"/>
              <a:gd name="connsiteX723" fmla="*/ 0 w 7467600"/>
              <a:gd name="connsiteY723" fmla="*/ 2914286 h 6858000"/>
              <a:gd name="connsiteX724" fmla="*/ 36383 w 7467600"/>
              <a:gd name="connsiteY724" fmla="*/ 2901128 h 6858000"/>
              <a:gd name="connsiteX725" fmla="*/ 156329 w 7467600"/>
              <a:gd name="connsiteY725" fmla="*/ 2840533 h 6858000"/>
              <a:gd name="connsiteX726" fmla="*/ 358355 w 7467600"/>
              <a:gd name="connsiteY726" fmla="*/ 2620471 h 6858000"/>
              <a:gd name="connsiteX727" fmla="*/ 510577 w 7467600"/>
              <a:gd name="connsiteY727" fmla="*/ 2501244 h 6858000"/>
              <a:gd name="connsiteX728" fmla="*/ 211967 w 7467600"/>
              <a:gd name="connsiteY728" fmla="*/ 2479171 h 6858000"/>
              <a:gd name="connsiteX729" fmla="*/ 0 w 7467600"/>
              <a:gd name="connsiteY729" fmla="*/ 2476398 h 6858000"/>
              <a:gd name="connsiteX730" fmla="*/ 0 w 7467600"/>
              <a:gd name="connsiteY730" fmla="*/ 2389189 h 6858000"/>
              <a:gd name="connsiteX731" fmla="*/ 103062 w 7467600"/>
              <a:gd name="connsiteY731" fmla="*/ 2389518 h 6858000"/>
              <a:gd name="connsiteX732" fmla="*/ 510734 w 7467600"/>
              <a:gd name="connsiteY732" fmla="*/ 2416201 h 6858000"/>
              <a:gd name="connsiteX733" fmla="*/ 279257 w 7467600"/>
              <a:gd name="connsiteY733" fmla="*/ 2092102 h 6858000"/>
              <a:gd name="connsiteX734" fmla="*/ 65265 w 7467600"/>
              <a:gd name="connsiteY734" fmla="*/ 2006049 h 6858000"/>
              <a:gd name="connsiteX735" fmla="*/ 0 w 7467600"/>
              <a:gd name="connsiteY735" fmla="*/ 1982532 h 6858000"/>
              <a:gd name="connsiteX736" fmla="*/ 0 w 7467600"/>
              <a:gd name="connsiteY736" fmla="*/ 1912789 h 6858000"/>
              <a:gd name="connsiteX737" fmla="*/ 97460 w 7467600"/>
              <a:gd name="connsiteY737" fmla="*/ 1953725 h 6858000"/>
              <a:gd name="connsiteX738" fmla="*/ 221272 w 7467600"/>
              <a:gd name="connsiteY738" fmla="*/ 1980766 h 6858000"/>
              <a:gd name="connsiteX739" fmla="*/ 116765 w 7467600"/>
              <a:gd name="connsiteY739" fmla="*/ 1911033 h 6858000"/>
              <a:gd name="connsiteX740" fmla="*/ 16405 w 7467600"/>
              <a:gd name="connsiteY740" fmla="*/ 1803412 h 6858000"/>
              <a:gd name="connsiteX741" fmla="*/ 0 w 7467600"/>
              <a:gd name="connsiteY741" fmla="*/ 1784777 h 6858000"/>
              <a:gd name="connsiteX742" fmla="*/ 0 w 7467600"/>
              <a:gd name="connsiteY742" fmla="*/ 1740082 h 6858000"/>
              <a:gd name="connsiteX743" fmla="*/ 39394 w 7467600"/>
              <a:gd name="connsiteY743" fmla="*/ 1784856 h 6858000"/>
              <a:gd name="connsiteX744" fmla="*/ 135813 w 7467600"/>
              <a:gd name="connsiteY744" fmla="*/ 1888838 h 6858000"/>
              <a:gd name="connsiteX745" fmla="*/ 242575 w 7467600"/>
              <a:gd name="connsiteY745" fmla="*/ 1958841 h 6858000"/>
              <a:gd name="connsiteX746" fmla="*/ 82197 w 7467600"/>
              <a:gd name="connsiteY746" fmla="*/ 1754826 h 6858000"/>
              <a:gd name="connsiteX747" fmla="*/ 0 w 7467600"/>
              <a:gd name="connsiteY747" fmla="*/ 1679650 h 6858000"/>
              <a:gd name="connsiteX748" fmla="*/ 0 w 7467600"/>
              <a:gd name="connsiteY748" fmla="*/ 1602463 h 6858000"/>
              <a:gd name="connsiteX749" fmla="*/ 84689 w 7467600"/>
              <a:gd name="connsiteY749" fmla="*/ 1677442 h 6858000"/>
              <a:gd name="connsiteX750" fmla="*/ 298437 w 7467600"/>
              <a:gd name="connsiteY750" fmla="*/ 1968019 h 6858000"/>
              <a:gd name="connsiteX751" fmla="*/ 227269 w 7467600"/>
              <a:gd name="connsiteY751" fmla="*/ 1114064 h 6858000"/>
              <a:gd name="connsiteX752" fmla="*/ 248003 w 7467600"/>
              <a:gd name="connsiteY752" fmla="*/ 1089613 h 6858000"/>
              <a:gd name="connsiteX753" fmla="*/ 427020 w 7467600"/>
              <a:gd name="connsiteY753" fmla="*/ 1619803 h 6858000"/>
              <a:gd name="connsiteX754" fmla="*/ 340345 w 7467600"/>
              <a:gd name="connsiteY754" fmla="*/ 2027739 h 6858000"/>
              <a:gd name="connsiteX755" fmla="*/ 360865 w 7467600"/>
              <a:gd name="connsiteY755" fmla="*/ 2044827 h 6858000"/>
              <a:gd name="connsiteX756" fmla="*/ 560414 w 7467600"/>
              <a:gd name="connsiteY756" fmla="*/ 2421457 h 6858000"/>
              <a:gd name="connsiteX757" fmla="*/ 1359703 w 7467600"/>
              <a:gd name="connsiteY757" fmla="*/ 2578554 h 6858000"/>
              <a:gd name="connsiteX758" fmla="*/ 1359422 w 7467600"/>
              <a:gd name="connsiteY758" fmla="*/ 2577994 h 6858000"/>
              <a:gd name="connsiteX759" fmla="*/ 828701 w 7467600"/>
              <a:gd name="connsiteY759" fmla="*/ 1839520 h 6858000"/>
              <a:gd name="connsiteX760" fmla="*/ 494427 w 7467600"/>
              <a:gd name="connsiteY760" fmla="*/ 1092333 h 6858000"/>
              <a:gd name="connsiteX761" fmla="*/ 506322 w 7467600"/>
              <a:gd name="connsiteY761" fmla="*/ 1020997 h 6858000"/>
              <a:gd name="connsiteX762" fmla="*/ 4570198 w 7467600"/>
              <a:gd name="connsiteY762" fmla="*/ 978081 h 6858000"/>
              <a:gd name="connsiteX763" fmla="*/ 4523691 w 7467600"/>
              <a:gd name="connsiteY763" fmla="*/ 1127776 h 6858000"/>
              <a:gd name="connsiteX764" fmla="*/ 4509875 w 7467600"/>
              <a:gd name="connsiteY764" fmla="*/ 1167552 h 6858000"/>
              <a:gd name="connsiteX765" fmla="*/ 4478168 w 7467600"/>
              <a:gd name="connsiteY765" fmla="*/ 1260735 h 6858000"/>
              <a:gd name="connsiteX766" fmla="*/ 4409309 w 7467600"/>
              <a:gd name="connsiteY766" fmla="*/ 1666996 h 6858000"/>
              <a:gd name="connsiteX767" fmla="*/ 4370031 w 7467600"/>
              <a:gd name="connsiteY767" fmla="*/ 1955666 h 6858000"/>
              <a:gd name="connsiteX768" fmla="*/ 4570198 w 7467600"/>
              <a:gd name="connsiteY768" fmla="*/ 978081 h 6858000"/>
              <a:gd name="connsiteX769" fmla="*/ 4557898 w 7467600"/>
              <a:gd name="connsiteY769" fmla="*/ 900011 h 6858000"/>
              <a:gd name="connsiteX770" fmla="*/ 4344840 w 7467600"/>
              <a:gd name="connsiteY770" fmla="*/ 1922038 h 6858000"/>
              <a:gd name="connsiteX771" fmla="*/ 4378710 w 7467600"/>
              <a:gd name="connsiteY771" fmla="*/ 1665516 h 6858000"/>
              <a:gd name="connsiteX772" fmla="*/ 4448798 w 7467600"/>
              <a:gd name="connsiteY772" fmla="*/ 1253024 h 6858000"/>
              <a:gd name="connsiteX773" fmla="*/ 4480315 w 7467600"/>
              <a:gd name="connsiteY773" fmla="*/ 1158454 h 6858000"/>
              <a:gd name="connsiteX774" fmla="*/ 4494133 w 7467600"/>
              <a:gd name="connsiteY774" fmla="*/ 1118676 h 6858000"/>
              <a:gd name="connsiteX775" fmla="*/ 4557898 w 7467600"/>
              <a:gd name="connsiteY775" fmla="*/ 900011 h 6858000"/>
              <a:gd name="connsiteX776" fmla="*/ 5870151 w 7467600"/>
              <a:gd name="connsiteY776" fmla="*/ 898890 h 6858000"/>
              <a:gd name="connsiteX777" fmla="*/ 5861335 w 7467600"/>
              <a:gd name="connsiteY777" fmla="*/ 899177 h 6858000"/>
              <a:gd name="connsiteX778" fmla="*/ 5843702 w 7467600"/>
              <a:gd name="connsiteY778" fmla="*/ 899748 h 6858000"/>
              <a:gd name="connsiteX779" fmla="*/ 5651107 w 7467600"/>
              <a:gd name="connsiteY779" fmla="*/ 920306 h 6858000"/>
              <a:gd name="connsiteX780" fmla="*/ 5459407 w 7467600"/>
              <a:gd name="connsiteY780" fmla="*/ 940975 h 6858000"/>
              <a:gd name="connsiteX781" fmla="*/ 5374846 w 7467600"/>
              <a:gd name="connsiteY781" fmla="*/ 941988 h 6858000"/>
              <a:gd name="connsiteX782" fmla="*/ 5256105 w 7467600"/>
              <a:gd name="connsiteY782" fmla="*/ 945632 h 6858000"/>
              <a:gd name="connsiteX783" fmla="*/ 5107071 w 7467600"/>
              <a:gd name="connsiteY783" fmla="*/ 969720 h 6858000"/>
              <a:gd name="connsiteX784" fmla="*/ 4998681 w 7467600"/>
              <a:gd name="connsiteY784" fmla="*/ 988771 h 6858000"/>
              <a:gd name="connsiteX785" fmla="*/ 5870151 w 7467600"/>
              <a:gd name="connsiteY785" fmla="*/ 898890 h 6858000"/>
              <a:gd name="connsiteX786" fmla="*/ 5504425 w 7467600"/>
              <a:gd name="connsiteY786" fmla="*/ 848067 h 6858000"/>
              <a:gd name="connsiteX787" fmla="*/ 4968849 w 7467600"/>
              <a:gd name="connsiteY787" fmla="*/ 962318 h 6858000"/>
              <a:gd name="connsiteX788" fmla="*/ 5104039 w 7467600"/>
              <a:gd name="connsiteY788" fmla="*/ 940634 h 6858000"/>
              <a:gd name="connsiteX789" fmla="*/ 5256311 w 7467600"/>
              <a:gd name="connsiteY789" fmla="*/ 916490 h 6858000"/>
              <a:gd name="connsiteX790" fmla="*/ 5377381 w 7467600"/>
              <a:gd name="connsiteY790" fmla="*/ 912671 h 6858000"/>
              <a:gd name="connsiteX791" fmla="*/ 5460148 w 7467600"/>
              <a:gd name="connsiteY791" fmla="*/ 911442 h 6858000"/>
              <a:gd name="connsiteX792" fmla="*/ 5648971 w 7467600"/>
              <a:gd name="connsiteY792" fmla="*/ 891331 h 6858000"/>
              <a:gd name="connsiteX793" fmla="*/ 5844807 w 7467600"/>
              <a:gd name="connsiteY793" fmla="*/ 870718 h 6858000"/>
              <a:gd name="connsiteX794" fmla="*/ 5862975 w 7467600"/>
              <a:gd name="connsiteY794" fmla="*/ 869756 h 6858000"/>
              <a:gd name="connsiteX795" fmla="*/ 5920887 w 7467600"/>
              <a:gd name="connsiteY795" fmla="*/ 865929 h 6858000"/>
              <a:gd name="connsiteX796" fmla="*/ 5504425 w 7467600"/>
              <a:gd name="connsiteY796" fmla="*/ 848067 h 6858000"/>
              <a:gd name="connsiteX797" fmla="*/ 3607114 w 7467600"/>
              <a:gd name="connsiteY797" fmla="*/ 467441 h 6858000"/>
              <a:gd name="connsiteX798" fmla="*/ 3296242 w 7467600"/>
              <a:gd name="connsiteY798" fmla="*/ 807991 h 6858000"/>
              <a:gd name="connsiteX799" fmla="*/ 3174674 w 7467600"/>
              <a:gd name="connsiteY799" fmla="*/ 919759 h 6858000"/>
              <a:gd name="connsiteX800" fmla="*/ 3042978 w 7467600"/>
              <a:gd name="connsiteY800" fmla="*/ 1054894 h 6858000"/>
              <a:gd name="connsiteX801" fmla="*/ 2968914 w 7467600"/>
              <a:gd name="connsiteY801" fmla="*/ 1133756 h 6858000"/>
              <a:gd name="connsiteX802" fmla="*/ 3103823 w 7467600"/>
              <a:gd name="connsiteY802" fmla="*/ 1026814 h 6858000"/>
              <a:gd name="connsiteX803" fmla="*/ 3607114 w 7467600"/>
              <a:gd name="connsiteY803" fmla="*/ 467441 h 6858000"/>
              <a:gd name="connsiteX804" fmla="*/ 3744487 w 7467600"/>
              <a:gd name="connsiteY804" fmla="*/ 383136 h 6858000"/>
              <a:gd name="connsiteX805" fmla="*/ 3970213 w 7467600"/>
              <a:gd name="connsiteY805" fmla="*/ 995559 h 6858000"/>
              <a:gd name="connsiteX806" fmla="*/ 3744487 w 7467600"/>
              <a:gd name="connsiteY806" fmla="*/ 383136 h 6858000"/>
              <a:gd name="connsiteX807" fmla="*/ 3624562 w 7467600"/>
              <a:gd name="connsiteY807" fmla="*/ 367041 h 6858000"/>
              <a:gd name="connsiteX808" fmla="*/ 3489712 w 7467600"/>
              <a:gd name="connsiteY808" fmla="*/ 485386 h 6858000"/>
              <a:gd name="connsiteX809" fmla="*/ 3182994 w 7467600"/>
              <a:gd name="connsiteY809" fmla="*/ 828265 h 6858000"/>
              <a:gd name="connsiteX810" fmla="*/ 2892114 w 7467600"/>
              <a:gd name="connsiteY810" fmla="*/ 1172635 h 6858000"/>
              <a:gd name="connsiteX811" fmla="*/ 3021459 w 7467600"/>
              <a:gd name="connsiteY811" fmla="*/ 1035385 h 6858000"/>
              <a:gd name="connsiteX812" fmla="*/ 3153873 w 7467600"/>
              <a:gd name="connsiteY812" fmla="*/ 898971 h 6858000"/>
              <a:gd name="connsiteX813" fmla="*/ 3276511 w 7467600"/>
              <a:gd name="connsiteY813" fmla="*/ 786423 h 6858000"/>
              <a:gd name="connsiteX814" fmla="*/ 3584154 w 7467600"/>
              <a:gd name="connsiteY814" fmla="*/ 448218 h 6858000"/>
              <a:gd name="connsiteX815" fmla="*/ 3624562 w 7467600"/>
              <a:gd name="connsiteY815" fmla="*/ 367041 h 6858000"/>
              <a:gd name="connsiteX816" fmla="*/ 3766672 w 7467600"/>
              <a:gd name="connsiteY816" fmla="*/ 359429 h 6858000"/>
              <a:gd name="connsiteX817" fmla="*/ 3996338 w 7467600"/>
              <a:gd name="connsiteY817" fmla="*/ 968237 h 6858000"/>
              <a:gd name="connsiteX818" fmla="*/ 3766672 w 7467600"/>
              <a:gd name="connsiteY818" fmla="*/ 359429 h 6858000"/>
              <a:gd name="connsiteX819" fmla="*/ 5805386 w 7467600"/>
              <a:gd name="connsiteY819" fmla="*/ 239240 h 6858000"/>
              <a:gd name="connsiteX820" fmla="*/ 5736947 w 7467600"/>
              <a:gd name="connsiteY820" fmla="*/ 261367 h 6858000"/>
              <a:gd name="connsiteX821" fmla="*/ 5427012 w 7467600"/>
              <a:gd name="connsiteY821" fmla="*/ 311272 h 6858000"/>
              <a:gd name="connsiteX822" fmla="*/ 5147818 w 7467600"/>
              <a:gd name="connsiteY822" fmla="*/ 322112 h 6858000"/>
              <a:gd name="connsiteX823" fmla="*/ 5060854 w 7467600"/>
              <a:gd name="connsiteY823" fmla="*/ 311882 h 6858000"/>
              <a:gd name="connsiteX824" fmla="*/ 4945989 w 7467600"/>
              <a:gd name="connsiteY824" fmla="*/ 300516 h 6858000"/>
              <a:gd name="connsiteX825" fmla="*/ 5410479 w 7467600"/>
              <a:gd name="connsiteY825" fmla="*/ 348434 h 6858000"/>
              <a:gd name="connsiteX826" fmla="*/ 5805386 w 7467600"/>
              <a:gd name="connsiteY826" fmla="*/ 239240 h 6858000"/>
              <a:gd name="connsiteX827" fmla="*/ 5905192 w 7467600"/>
              <a:gd name="connsiteY827" fmla="*/ 163079 h 6858000"/>
              <a:gd name="connsiteX828" fmla="*/ 5865655 w 7467600"/>
              <a:gd name="connsiteY828" fmla="*/ 171901 h 6858000"/>
              <a:gd name="connsiteX829" fmla="*/ 5259740 w 7467600"/>
              <a:gd name="connsiteY829" fmla="*/ 257013 h 6858000"/>
              <a:gd name="connsiteX830" fmla="*/ 5208466 w 7467600"/>
              <a:gd name="connsiteY830" fmla="*/ 257550 h 6858000"/>
              <a:gd name="connsiteX831" fmla="*/ 4980204 w 7467600"/>
              <a:gd name="connsiteY831" fmla="*/ 271903 h 6858000"/>
              <a:gd name="connsiteX832" fmla="*/ 5068068 w 7467600"/>
              <a:gd name="connsiteY832" fmla="*/ 282244 h 6858000"/>
              <a:gd name="connsiteX833" fmla="*/ 5153231 w 7467600"/>
              <a:gd name="connsiteY833" fmla="*/ 292240 h 6858000"/>
              <a:gd name="connsiteX834" fmla="*/ 5426491 w 7467600"/>
              <a:gd name="connsiteY834" fmla="*/ 281128 h 6858000"/>
              <a:gd name="connsiteX835" fmla="*/ 5731212 w 7467600"/>
              <a:gd name="connsiteY835" fmla="*/ 231951 h 6858000"/>
              <a:gd name="connsiteX836" fmla="*/ 5905192 w 7467600"/>
              <a:gd name="connsiteY836" fmla="*/ 163079 h 6858000"/>
              <a:gd name="connsiteX837" fmla="*/ 5944437 w 7467600"/>
              <a:gd name="connsiteY837" fmla="*/ 113829 h 6858000"/>
              <a:gd name="connsiteX838" fmla="*/ 5825032 w 7467600"/>
              <a:gd name="connsiteY838" fmla="*/ 146405 h 6858000"/>
              <a:gd name="connsiteX839" fmla="*/ 4955599 w 7467600"/>
              <a:gd name="connsiteY839" fmla="*/ 247008 h 6858000"/>
              <a:gd name="connsiteX840" fmla="*/ 5210104 w 7467600"/>
              <a:gd name="connsiteY840" fmla="*/ 228123 h 6858000"/>
              <a:gd name="connsiteX841" fmla="*/ 5261015 w 7467600"/>
              <a:gd name="connsiteY841" fmla="*/ 227087 h 6858000"/>
              <a:gd name="connsiteX842" fmla="*/ 5861181 w 7467600"/>
              <a:gd name="connsiteY842" fmla="*/ 143093 h 6858000"/>
              <a:gd name="connsiteX843" fmla="*/ 5961252 w 7467600"/>
              <a:gd name="connsiteY843" fmla="*/ 114820 h 6858000"/>
              <a:gd name="connsiteX844" fmla="*/ 5944437 w 7467600"/>
              <a:gd name="connsiteY844" fmla="*/ 113829 h 6858000"/>
              <a:gd name="connsiteX845" fmla="*/ 3882765 w 7467600"/>
              <a:gd name="connsiteY845" fmla="*/ 0 h 6858000"/>
              <a:gd name="connsiteX846" fmla="*/ 3995099 w 7467600"/>
              <a:gd name="connsiteY846" fmla="*/ 0 h 6858000"/>
              <a:gd name="connsiteX847" fmla="*/ 4163818 w 7467600"/>
              <a:gd name="connsiteY847" fmla="*/ 234104 h 6858000"/>
              <a:gd name="connsiteX848" fmla="*/ 4172099 w 7467600"/>
              <a:gd name="connsiteY848" fmla="*/ 234207 h 6858000"/>
              <a:gd name="connsiteX849" fmla="*/ 4784282 w 7467600"/>
              <a:gd name="connsiteY849" fmla="*/ 276561 h 6858000"/>
              <a:gd name="connsiteX850" fmla="*/ 4801687 w 7467600"/>
              <a:gd name="connsiteY850" fmla="*/ 267764 h 6858000"/>
              <a:gd name="connsiteX851" fmla="*/ 6082788 w 7467600"/>
              <a:gd name="connsiteY851" fmla="*/ 64119 h 6858000"/>
              <a:gd name="connsiteX852" fmla="*/ 6099442 w 7467600"/>
              <a:gd name="connsiteY852" fmla="*/ 82568 h 6858000"/>
              <a:gd name="connsiteX853" fmla="*/ 4804137 w 7467600"/>
              <a:gd name="connsiteY853" fmla="*/ 320931 h 6858000"/>
              <a:gd name="connsiteX854" fmla="*/ 4227047 w 7467600"/>
              <a:gd name="connsiteY854" fmla="*/ 313415 h 6858000"/>
              <a:gd name="connsiteX855" fmla="*/ 4346041 w 7467600"/>
              <a:gd name="connsiteY855" fmla="*/ 456086 h 6858000"/>
              <a:gd name="connsiteX856" fmla="*/ 4870967 w 7467600"/>
              <a:gd name="connsiteY856" fmla="*/ 963061 h 6858000"/>
              <a:gd name="connsiteX857" fmla="*/ 4889647 w 7467600"/>
              <a:gd name="connsiteY857" fmla="*/ 957147 h 6858000"/>
              <a:gd name="connsiteX858" fmla="*/ 5422504 w 7467600"/>
              <a:gd name="connsiteY858" fmla="*/ 805191 h 6858000"/>
              <a:gd name="connsiteX859" fmla="*/ 6087656 w 7467600"/>
              <a:gd name="connsiteY859" fmla="*/ 826703 h 6858000"/>
              <a:gd name="connsiteX860" fmla="*/ 6058717 w 7467600"/>
              <a:gd name="connsiteY860" fmla="*/ 865992 h 6858000"/>
              <a:gd name="connsiteX861" fmla="*/ 4974153 w 7467600"/>
              <a:gd name="connsiteY861" fmla="*/ 1045456 h 6858000"/>
              <a:gd name="connsiteX862" fmla="*/ 5627835 w 7467600"/>
              <a:gd name="connsiteY862" fmla="*/ 1472077 h 6858000"/>
              <a:gd name="connsiteX863" fmla="*/ 5629817 w 7467600"/>
              <a:gd name="connsiteY863" fmla="*/ 1471412 h 6858000"/>
              <a:gd name="connsiteX864" fmla="*/ 5634124 w 7467600"/>
              <a:gd name="connsiteY864" fmla="*/ 1470572 h 6858000"/>
              <a:gd name="connsiteX865" fmla="*/ 5755832 w 7467600"/>
              <a:gd name="connsiteY865" fmla="*/ 1383886 h 6858000"/>
              <a:gd name="connsiteX866" fmla="*/ 6014186 w 7467600"/>
              <a:gd name="connsiteY866" fmla="*/ 1279799 h 6858000"/>
              <a:gd name="connsiteX867" fmla="*/ 6901619 w 7467600"/>
              <a:gd name="connsiteY867" fmla="*/ 1047874 h 6858000"/>
              <a:gd name="connsiteX868" fmla="*/ 6931566 w 7467600"/>
              <a:gd name="connsiteY868" fmla="*/ 1062034 h 6858000"/>
              <a:gd name="connsiteX869" fmla="*/ 5790982 w 7467600"/>
              <a:gd name="connsiteY869" fmla="*/ 1561380 h 6858000"/>
              <a:gd name="connsiteX870" fmla="*/ 6188971 w 7467600"/>
              <a:gd name="connsiteY870" fmla="*/ 1755168 h 6858000"/>
              <a:gd name="connsiteX871" fmla="*/ 6202446 w 7467600"/>
              <a:gd name="connsiteY871" fmla="*/ 1752268 h 6858000"/>
              <a:gd name="connsiteX872" fmla="*/ 7179560 w 7467600"/>
              <a:gd name="connsiteY872" fmla="*/ 1467551 h 6858000"/>
              <a:gd name="connsiteX873" fmla="*/ 7158730 w 7467600"/>
              <a:gd name="connsiteY873" fmla="*/ 1507835 h 6858000"/>
              <a:gd name="connsiteX874" fmla="*/ 6326959 w 7467600"/>
              <a:gd name="connsiteY874" fmla="*/ 1817686 h 6858000"/>
              <a:gd name="connsiteX875" fmla="*/ 6537433 w 7467600"/>
              <a:gd name="connsiteY875" fmla="*/ 1907790 h 6858000"/>
              <a:gd name="connsiteX876" fmla="*/ 6550221 w 7467600"/>
              <a:gd name="connsiteY876" fmla="*/ 1910729 h 6858000"/>
              <a:gd name="connsiteX877" fmla="*/ 6964438 w 7467600"/>
              <a:gd name="connsiteY877" fmla="*/ 2209505 h 6858000"/>
              <a:gd name="connsiteX878" fmla="*/ 7367862 w 7467600"/>
              <a:gd name="connsiteY878" fmla="*/ 2806833 h 6858000"/>
              <a:gd name="connsiteX879" fmla="*/ 7364329 w 7467600"/>
              <a:gd name="connsiteY879" fmla="*/ 2826907 h 6858000"/>
              <a:gd name="connsiteX880" fmla="*/ 7290545 w 7467600"/>
              <a:gd name="connsiteY880" fmla="*/ 2850663 h 6858000"/>
              <a:gd name="connsiteX881" fmla="*/ 6472036 w 7467600"/>
              <a:gd name="connsiteY881" fmla="*/ 1959003 h 6858000"/>
              <a:gd name="connsiteX882" fmla="*/ 5792897 w 7467600"/>
              <a:gd name="connsiteY882" fmla="*/ 1647747 h 6858000"/>
              <a:gd name="connsiteX883" fmla="*/ 5842751 w 7467600"/>
              <a:gd name="connsiteY883" fmla="*/ 1816112 h 6858000"/>
              <a:gd name="connsiteX884" fmla="*/ 5847424 w 7467600"/>
              <a:gd name="connsiteY884" fmla="*/ 1815776 h 6858000"/>
              <a:gd name="connsiteX885" fmla="*/ 6399821 w 7467600"/>
              <a:gd name="connsiteY885" fmla="*/ 2344799 h 6858000"/>
              <a:gd name="connsiteX886" fmla="*/ 6323232 w 7467600"/>
              <a:gd name="connsiteY886" fmla="*/ 2389634 h 6858000"/>
              <a:gd name="connsiteX887" fmla="*/ 5942958 w 7467600"/>
              <a:gd name="connsiteY887" fmla="*/ 2077708 h 6858000"/>
              <a:gd name="connsiteX888" fmla="*/ 5921559 w 7467600"/>
              <a:gd name="connsiteY888" fmla="*/ 2378596 h 6858000"/>
              <a:gd name="connsiteX889" fmla="*/ 5817651 w 7467600"/>
              <a:gd name="connsiteY889" fmla="*/ 3023919 h 6858000"/>
              <a:gd name="connsiteX890" fmla="*/ 5729634 w 7467600"/>
              <a:gd name="connsiteY890" fmla="*/ 3051849 h 6858000"/>
              <a:gd name="connsiteX891" fmla="*/ 5611018 w 7467600"/>
              <a:gd name="connsiteY891" fmla="*/ 2316769 h 6858000"/>
              <a:gd name="connsiteX892" fmla="*/ 5687608 w 7467600"/>
              <a:gd name="connsiteY892" fmla="*/ 2039972 h 6858000"/>
              <a:gd name="connsiteX893" fmla="*/ 5657554 w 7467600"/>
              <a:gd name="connsiteY893" fmla="*/ 1576445 h 6858000"/>
              <a:gd name="connsiteX894" fmla="*/ 5150475 w 7467600"/>
              <a:gd name="connsiteY894" fmla="*/ 1274012 h 6858000"/>
              <a:gd name="connsiteX895" fmla="*/ 5349142 w 7467600"/>
              <a:gd name="connsiteY895" fmla="*/ 2204405 h 6858000"/>
              <a:gd name="connsiteX896" fmla="*/ 5262214 w 7467600"/>
              <a:gd name="connsiteY896" fmla="*/ 2233836 h 6858000"/>
              <a:gd name="connsiteX897" fmla="*/ 4981539 w 7467600"/>
              <a:gd name="connsiteY897" fmla="*/ 1542201 h 6858000"/>
              <a:gd name="connsiteX898" fmla="*/ 4958461 w 7467600"/>
              <a:gd name="connsiteY898" fmla="*/ 1136957 h 6858000"/>
              <a:gd name="connsiteX899" fmla="*/ 4655015 w 7467600"/>
              <a:gd name="connsiteY899" fmla="*/ 891426 h 6858000"/>
              <a:gd name="connsiteX900" fmla="*/ 4348002 w 7467600"/>
              <a:gd name="connsiteY900" fmla="*/ 2205895 h 6858000"/>
              <a:gd name="connsiteX901" fmla="*/ 4262250 w 7467600"/>
              <a:gd name="connsiteY901" fmla="*/ 2219972 h 6858000"/>
              <a:gd name="connsiteX902" fmla="*/ 4550611 w 7467600"/>
              <a:gd name="connsiteY902" fmla="*/ 817540 h 6858000"/>
              <a:gd name="connsiteX903" fmla="*/ 4564418 w 7467600"/>
              <a:gd name="connsiteY903" fmla="*/ 808293 h 6858000"/>
              <a:gd name="connsiteX904" fmla="*/ 4266388 w 7467600"/>
              <a:gd name="connsiteY904" fmla="*/ 500083 h 6858000"/>
              <a:gd name="connsiteX905" fmla="*/ 4032842 w 7467600"/>
              <a:gd name="connsiteY905" fmla="*/ 211809 h 6858000"/>
              <a:gd name="connsiteX906" fmla="*/ 3882765 w 7467600"/>
              <a:gd name="connsiteY906" fmla="*/ 0 h 6858000"/>
              <a:gd name="connsiteX907" fmla="*/ 3721337 w 7467600"/>
              <a:gd name="connsiteY907" fmla="*/ 0 h 6858000"/>
              <a:gd name="connsiteX908" fmla="*/ 3797544 w 7467600"/>
              <a:gd name="connsiteY908" fmla="*/ 0 h 6858000"/>
              <a:gd name="connsiteX909" fmla="*/ 3775734 w 7467600"/>
              <a:gd name="connsiteY909" fmla="*/ 95131 h 6858000"/>
              <a:gd name="connsiteX910" fmla="*/ 3724807 w 7467600"/>
              <a:gd name="connsiteY910" fmla="*/ 272257 h 6858000"/>
              <a:gd name="connsiteX911" fmla="*/ 3726844 w 7467600"/>
              <a:gd name="connsiteY911" fmla="*/ 282988 h 6858000"/>
              <a:gd name="connsiteX912" fmla="*/ 3742664 w 7467600"/>
              <a:gd name="connsiteY912" fmla="*/ 279918 h 6858000"/>
              <a:gd name="connsiteX913" fmla="*/ 4103910 w 7467600"/>
              <a:gd name="connsiteY913" fmla="*/ 1161917 h 6858000"/>
              <a:gd name="connsiteX914" fmla="*/ 4020269 w 7467600"/>
              <a:gd name="connsiteY914" fmla="*/ 1200406 h 6858000"/>
              <a:gd name="connsiteX915" fmla="*/ 3674882 w 7467600"/>
              <a:gd name="connsiteY915" fmla="*/ 488524 h 6858000"/>
              <a:gd name="connsiteX916" fmla="*/ 3132682 w 7467600"/>
              <a:gd name="connsiteY916" fmla="*/ 1072284 h 6858000"/>
              <a:gd name="connsiteX917" fmla="*/ 2716346 w 7467600"/>
              <a:gd name="connsiteY917" fmla="*/ 1276376 h 6858000"/>
              <a:gd name="connsiteX918" fmla="*/ 2716772 w 7467600"/>
              <a:gd name="connsiteY918" fmla="*/ 1255462 h 6858000"/>
              <a:gd name="connsiteX919" fmla="*/ 3471096 w 7467600"/>
              <a:gd name="connsiteY919" fmla="*/ 437072 h 6858000"/>
              <a:gd name="connsiteX920" fmla="*/ 3639057 w 7467600"/>
              <a:gd name="connsiteY920" fmla="*/ 286334 h 6858000"/>
              <a:gd name="connsiteX921" fmla="*/ 3640309 w 7467600"/>
              <a:gd name="connsiteY921" fmla="*/ 284664 h 6858000"/>
              <a:gd name="connsiteX922" fmla="*/ 3646022 w 7467600"/>
              <a:gd name="connsiteY922" fmla="*/ 276711 h 6858000"/>
              <a:gd name="connsiteX923" fmla="*/ 3707943 w 7467600"/>
              <a:gd name="connsiteY923" fmla="*/ 65958 h 6858000"/>
              <a:gd name="connsiteX924" fmla="*/ 3721337 w 7467600"/>
              <a:gd name="connsiteY924" fmla="*/ 0 h 6858000"/>
              <a:gd name="connsiteX925" fmla="*/ 2867960 w 7467600"/>
              <a:gd name="connsiteY925" fmla="*/ 0 h 6858000"/>
              <a:gd name="connsiteX926" fmla="*/ 2926351 w 7467600"/>
              <a:gd name="connsiteY926" fmla="*/ 0 h 6858000"/>
              <a:gd name="connsiteX927" fmla="*/ 2902823 w 7467600"/>
              <a:gd name="connsiteY927" fmla="*/ 262929 h 6858000"/>
              <a:gd name="connsiteX928" fmla="*/ 2940663 w 7467600"/>
              <a:gd name="connsiteY928" fmla="*/ 140884 h 6858000"/>
              <a:gd name="connsiteX929" fmla="*/ 2947039 w 7467600"/>
              <a:gd name="connsiteY929" fmla="*/ 122524 h 6858000"/>
              <a:gd name="connsiteX930" fmla="*/ 2984316 w 7467600"/>
              <a:gd name="connsiteY930" fmla="*/ 0 h 6858000"/>
              <a:gd name="connsiteX931" fmla="*/ 3016114 w 7467600"/>
              <a:gd name="connsiteY931" fmla="*/ 0 h 6858000"/>
              <a:gd name="connsiteX932" fmla="*/ 2979949 w 7467600"/>
              <a:gd name="connsiteY932" fmla="*/ 119274 h 6858000"/>
              <a:gd name="connsiteX933" fmla="*/ 3023879 w 7467600"/>
              <a:gd name="connsiteY933" fmla="*/ 0 h 6858000"/>
              <a:gd name="connsiteX934" fmla="*/ 3105400 w 7467600"/>
              <a:gd name="connsiteY934" fmla="*/ 0 h 6858000"/>
              <a:gd name="connsiteX935" fmla="*/ 3094669 w 7467600"/>
              <a:gd name="connsiteY935" fmla="*/ 30308 h 6858000"/>
              <a:gd name="connsiteX936" fmla="*/ 2901945 w 7467600"/>
              <a:gd name="connsiteY936" fmla="*/ 466538 h 6858000"/>
              <a:gd name="connsiteX937" fmla="*/ 2815209 w 7467600"/>
              <a:gd name="connsiteY937" fmla="*/ 497361 h 6858000"/>
              <a:gd name="connsiteX938" fmla="*/ 2844845 w 7467600"/>
              <a:gd name="connsiteY938" fmla="*/ 127638 h 6858000"/>
              <a:gd name="connsiteX939" fmla="*/ 2867960 w 7467600"/>
              <a:gd name="connsiteY939" fmla="*/ 0 h 6858000"/>
              <a:gd name="connsiteX940" fmla="*/ 1057230 w 7467600"/>
              <a:gd name="connsiteY940" fmla="*/ 0 h 6858000"/>
              <a:gd name="connsiteX941" fmla="*/ 1111003 w 7467600"/>
              <a:gd name="connsiteY941" fmla="*/ 0 h 6858000"/>
              <a:gd name="connsiteX942" fmla="*/ 1125553 w 7467600"/>
              <a:gd name="connsiteY942" fmla="*/ 52588 h 6858000"/>
              <a:gd name="connsiteX943" fmla="*/ 1304276 w 7467600"/>
              <a:gd name="connsiteY943" fmla="*/ 476275 h 6858000"/>
              <a:gd name="connsiteX944" fmla="*/ 1492066 w 7467600"/>
              <a:gd name="connsiteY944" fmla="*/ 886333 h 6858000"/>
              <a:gd name="connsiteX945" fmla="*/ 1423698 w 7467600"/>
              <a:gd name="connsiteY945" fmla="*/ 710817 h 6858000"/>
              <a:gd name="connsiteX946" fmla="*/ 1357609 w 7467600"/>
              <a:gd name="connsiteY946" fmla="*/ 532892 h 6858000"/>
              <a:gd name="connsiteX947" fmla="*/ 1309550 w 7467600"/>
              <a:gd name="connsiteY947" fmla="*/ 374031 h 6858000"/>
              <a:gd name="connsiteX948" fmla="*/ 1193673 w 7467600"/>
              <a:gd name="connsiteY948" fmla="*/ 49533 h 6858000"/>
              <a:gd name="connsiteX949" fmla="*/ 1164391 w 7467600"/>
              <a:gd name="connsiteY949" fmla="*/ 0 h 6858000"/>
              <a:gd name="connsiteX950" fmla="*/ 1200666 w 7467600"/>
              <a:gd name="connsiteY950" fmla="*/ 0 h 6858000"/>
              <a:gd name="connsiteX951" fmla="*/ 1223408 w 7467600"/>
              <a:gd name="connsiteY951" fmla="*/ 38996 h 6858000"/>
              <a:gd name="connsiteX952" fmla="*/ 1339635 w 7467600"/>
              <a:gd name="connsiteY952" fmla="*/ 365517 h 6858000"/>
              <a:gd name="connsiteX953" fmla="*/ 1387469 w 7467600"/>
              <a:gd name="connsiteY953" fmla="*/ 523079 h 6858000"/>
              <a:gd name="connsiteX954" fmla="*/ 1452685 w 7467600"/>
              <a:gd name="connsiteY954" fmla="*/ 699806 h 6858000"/>
              <a:gd name="connsiteX955" fmla="*/ 1492092 w 7467600"/>
              <a:gd name="connsiteY955" fmla="*/ 800424 h 6858000"/>
              <a:gd name="connsiteX956" fmla="*/ 1455302 w 7467600"/>
              <a:gd name="connsiteY956" fmla="*/ 632913 h 6858000"/>
              <a:gd name="connsiteX957" fmla="*/ 1222336 w 7467600"/>
              <a:gd name="connsiteY957" fmla="*/ 9480 h 6858000"/>
              <a:gd name="connsiteX958" fmla="*/ 1214634 w 7467600"/>
              <a:gd name="connsiteY958" fmla="*/ 0 h 6858000"/>
              <a:gd name="connsiteX959" fmla="*/ 1289827 w 7467600"/>
              <a:gd name="connsiteY959" fmla="*/ 0 h 6858000"/>
              <a:gd name="connsiteX960" fmla="*/ 1321076 w 7467600"/>
              <a:gd name="connsiteY960" fmla="*/ 59722 h 6858000"/>
              <a:gd name="connsiteX961" fmla="*/ 1512579 w 7467600"/>
              <a:gd name="connsiteY961" fmla="*/ 626441 h 6858000"/>
              <a:gd name="connsiteX962" fmla="*/ 1506076 w 7467600"/>
              <a:gd name="connsiteY962" fmla="*/ 1089289 h 6858000"/>
              <a:gd name="connsiteX963" fmla="*/ 1486346 w 7467600"/>
              <a:gd name="connsiteY963" fmla="*/ 1079919 h 6858000"/>
              <a:gd name="connsiteX964" fmla="*/ 1070511 w 7467600"/>
              <a:gd name="connsiteY964" fmla="*/ 48609 h 6858000"/>
              <a:gd name="connsiteX965" fmla="*/ 1057230 w 7467600"/>
              <a:gd name="connsiteY965" fmla="*/ 0 h 6858000"/>
              <a:gd name="connsiteX966" fmla="*/ 43151 w 7467600"/>
              <a:gd name="connsiteY966" fmla="*/ 0 h 6858000"/>
              <a:gd name="connsiteX967" fmla="*/ 95283 w 7467600"/>
              <a:gd name="connsiteY967" fmla="*/ 0 h 6858000"/>
              <a:gd name="connsiteX968" fmla="*/ 300708 w 7467600"/>
              <a:gd name="connsiteY968" fmla="*/ 154571 h 6858000"/>
              <a:gd name="connsiteX969" fmla="*/ 530414 w 7467600"/>
              <a:gd name="connsiteY969" fmla="*/ 354673 h 6858000"/>
              <a:gd name="connsiteX970" fmla="*/ 333785 w 7467600"/>
              <a:gd name="connsiteY970" fmla="*/ 161564 h 6858000"/>
              <a:gd name="connsiteX971" fmla="*/ 147005 w 7467600"/>
              <a:gd name="connsiteY971" fmla="*/ 0 h 6858000"/>
              <a:gd name="connsiteX972" fmla="*/ 272509 w 7467600"/>
              <a:gd name="connsiteY972" fmla="*/ 0 h 6858000"/>
              <a:gd name="connsiteX973" fmla="*/ 326276 w 7467600"/>
              <a:gd name="connsiteY973" fmla="*/ 45847 h 6858000"/>
              <a:gd name="connsiteX974" fmla="*/ 823759 w 7467600"/>
              <a:gd name="connsiteY974" fmla="*/ 574145 h 6858000"/>
              <a:gd name="connsiteX975" fmla="*/ 811254 w 7467600"/>
              <a:gd name="connsiteY975" fmla="*/ 665546 h 6858000"/>
              <a:gd name="connsiteX976" fmla="*/ 154042 w 7467600"/>
              <a:gd name="connsiteY976" fmla="*/ 261522 h 6858000"/>
              <a:gd name="connsiteX977" fmla="*/ 13550 w 7467600"/>
              <a:gd name="connsiteY977" fmla="*/ 158423 h 6858000"/>
              <a:gd name="connsiteX978" fmla="*/ 0 w 7467600"/>
              <a:gd name="connsiteY978" fmla="*/ 146618 h 6858000"/>
              <a:gd name="connsiteX979" fmla="*/ 0 w 7467600"/>
              <a:gd name="connsiteY979" fmla="*/ 59161 h 6858000"/>
              <a:gd name="connsiteX980" fmla="*/ 45427 w 7467600"/>
              <a:gd name="connsiteY980" fmla="*/ 101078 h 6858000"/>
              <a:gd name="connsiteX981" fmla="*/ 630103 w 7467600"/>
              <a:gd name="connsiteY981" fmla="*/ 485885 h 6858000"/>
              <a:gd name="connsiteX982" fmla="*/ 532040 w 7467600"/>
              <a:gd name="connsiteY982" fmla="*/ 399359 h 6858000"/>
              <a:gd name="connsiteX983" fmla="*/ 517618 w 7467600"/>
              <a:gd name="connsiteY983" fmla="*/ 385726 h 6858000"/>
              <a:gd name="connsiteX984" fmla="*/ 285074 w 7467600"/>
              <a:gd name="connsiteY984" fmla="*/ 182755 h 6858000"/>
              <a:gd name="connsiteX985" fmla="*/ 43151 w 7467600"/>
              <a:gd name="connsiteY985"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61797 w 7467600"/>
              <a:gd name="connsiteY76" fmla="*/ 5419899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6861797 w 7467600"/>
              <a:gd name="connsiteY103" fmla="*/ 5419899 h 6858000"/>
              <a:gd name="connsiteX104" fmla="*/ 1456157 w 7467600"/>
              <a:gd name="connsiteY104" fmla="*/ 5371404 h 6858000"/>
              <a:gd name="connsiteX105" fmla="*/ 1244432 w 7467600"/>
              <a:gd name="connsiteY105" fmla="*/ 5385601 h 6858000"/>
              <a:gd name="connsiteX106" fmla="*/ 973990 w 7467600"/>
              <a:gd name="connsiteY106" fmla="*/ 5424940 h 6858000"/>
              <a:gd name="connsiteX107" fmla="*/ 1103809 w 7467600"/>
              <a:gd name="connsiteY107" fmla="*/ 5433720 h 6858000"/>
              <a:gd name="connsiteX108" fmla="*/ 1123454 w 7467600"/>
              <a:gd name="connsiteY108" fmla="*/ 5435727 h 6858000"/>
              <a:gd name="connsiteX109" fmla="*/ 1737017 w 7467600"/>
              <a:gd name="connsiteY109" fmla="*/ 5452183 h 6858000"/>
              <a:gd name="connsiteX110" fmla="*/ 1824397 w 7467600"/>
              <a:gd name="connsiteY110" fmla="*/ 5447757 h 6858000"/>
              <a:gd name="connsiteX111" fmla="*/ 2070059 w 7467600"/>
              <a:gd name="connsiteY111" fmla="*/ 5441660 h 6858000"/>
              <a:gd name="connsiteX112" fmla="*/ 1456157 w 7467600"/>
              <a:gd name="connsiteY112" fmla="*/ 5371404 h 6858000"/>
              <a:gd name="connsiteX113" fmla="*/ 4988186 w 7467600"/>
              <a:gd name="connsiteY113" fmla="*/ 5216467 h 6858000"/>
              <a:gd name="connsiteX114" fmla="*/ 4777334 w 7467600"/>
              <a:gd name="connsiteY114" fmla="*/ 5406072 h 6858000"/>
              <a:gd name="connsiteX115" fmla="*/ 4718341 w 7467600"/>
              <a:gd name="connsiteY115" fmla="*/ 5468043 h 6858000"/>
              <a:gd name="connsiteX116" fmla="*/ 4604655 w 7467600"/>
              <a:gd name="connsiteY116" fmla="*/ 5583434 h 6858000"/>
              <a:gd name="connsiteX117" fmla="*/ 4565074 w 7467600"/>
              <a:gd name="connsiteY117" fmla="*/ 5618550 h 6858000"/>
              <a:gd name="connsiteX118" fmla="*/ 4988186 w 7467600"/>
              <a:gd name="connsiteY118" fmla="*/ 5216467 h 6858000"/>
              <a:gd name="connsiteX119" fmla="*/ 4978032 w 7467600"/>
              <a:gd name="connsiteY119" fmla="*/ 5183809 h 6858000"/>
              <a:gd name="connsiteX120" fmla="*/ 4463413 w 7467600"/>
              <a:gd name="connsiteY120" fmla="*/ 5615162 h 6858000"/>
              <a:gd name="connsiteX121" fmla="*/ 4358134 w 7467600"/>
              <a:gd name="connsiteY121" fmla="*/ 5742791 h 6858000"/>
              <a:gd name="connsiteX122" fmla="*/ 4376219 w 7467600"/>
              <a:gd name="connsiteY122" fmla="*/ 5729027 h 6858000"/>
              <a:gd name="connsiteX123" fmla="*/ 4582340 w 7467600"/>
              <a:gd name="connsiteY123" fmla="*/ 5561037 h 6858000"/>
              <a:gd name="connsiteX124" fmla="*/ 4694684 w 7467600"/>
              <a:gd name="connsiteY124" fmla="*/ 5447098 h 6858000"/>
              <a:gd name="connsiteX125" fmla="*/ 4754123 w 7467600"/>
              <a:gd name="connsiteY125" fmla="*/ 5384643 h 6858000"/>
              <a:gd name="connsiteX126" fmla="*/ 4978032 w 7467600"/>
              <a:gd name="connsiteY126" fmla="*/ 5183809 h 6858000"/>
              <a:gd name="connsiteX127" fmla="*/ 1903353 w 7467600"/>
              <a:gd name="connsiteY127" fmla="*/ 5044827 h 6858000"/>
              <a:gd name="connsiteX128" fmla="*/ 1936931 w 7467600"/>
              <a:gd name="connsiteY128" fmla="*/ 5093954 h 6858000"/>
              <a:gd name="connsiteX129" fmla="*/ 2195868 w 7467600"/>
              <a:gd name="connsiteY129" fmla="*/ 5396574 h 6858000"/>
              <a:gd name="connsiteX130" fmla="*/ 2088852 w 7467600"/>
              <a:gd name="connsiteY130" fmla="*/ 5166123 h 6858000"/>
              <a:gd name="connsiteX131" fmla="*/ 1958241 w 7467600"/>
              <a:gd name="connsiteY131" fmla="*/ 5067955 h 6858000"/>
              <a:gd name="connsiteX132" fmla="*/ 1903353 w 7467600"/>
              <a:gd name="connsiteY132" fmla="*/ 5044827 h 6858000"/>
              <a:gd name="connsiteX133" fmla="*/ 1979378 w 7467600"/>
              <a:gd name="connsiteY133" fmla="*/ 4769504 h 6858000"/>
              <a:gd name="connsiteX134" fmla="*/ 2882120 w 7467600"/>
              <a:gd name="connsiteY134" fmla="*/ 5064547 h 6858000"/>
              <a:gd name="connsiteX135" fmla="*/ 2793103 w 7467600"/>
              <a:gd name="connsiteY135" fmla="*/ 5039699 h 6858000"/>
              <a:gd name="connsiteX136" fmla="*/ 2770041 w 7467600"/>
              <a:gd name="connsiteY136" fmla="*/ 5033634 h 6858000"/>
              <a:gd name="connsiteX137" fmla="*/ 1979378 w 7467600"/>
              <a:gd name="connsiteY137" fmla="*/ 4769504 h 6858000"/>
              <a:gd name="connsiteX138" fmla="*/ 1927410 w 7467600"/>
              <a:gd name="connsiteY138" fmla="*/ 4716164 h 6858000"/>
              <a:gd name="connsiteX139" fmla="*/ 1959587 w 7467600"/>
              <a:gd name="connsiteY139" fmla="*/ 4728849 h 6858000"/>
              <a:gd name="connsiteX140" fmla="*/ 2777707 w 7467600"/>
              <a:gd name="connsiteY140" fmla="*/ 5003991 h 6858000"/>
              <a:gd name="connsiteX141" fmla="*/ 2800768 w 7467600"/>
              <a:gd name="connsiteY141" fmla="*/ 5010056 h 6858000"/>
              <a:gd name="connsiteX142" fmla="*/ 2879408 w 7467600"/>
              <a:gd name="connsiteY142" fmla="*/ 5031590 h 6858000"/>
              <a:gd name="connsiteX143" fmla="*/ 2862295 w 7467600"/>
              <a:gd name="connsiteY143" fmla="*/ 5022958 h 6858000"/>
              <a:gd name="connsiteX144" fmla="*/ 2813343 w 7467600"/>
              <a:gd name="connsiteY144" fmla="*/ 4998369 h 6858000"/>
              <a:gd name="connsiteX145" fmla="*/ 2646245 w 7467600"/>
              <a:gd name="connsiteY145" fmla="*/ 4930999 h 6858000"/>
              <a:gd name="connsiteX146" fmla="*/ 1999243 w 7467600"/>
              <a:gd name="connsiteY146" fmla="*/ 4730524 h 6858000"/>
              <a:gd name="connsiteX147" fmla="*/ 1979527 w 7467600"/>
              <a:gd name="connsiteY147" fmla="*/ 4726651 h 6858000"/>
              <a:gd name="connsiteX148" fmla="*/ 1927410 w 7467600"/>
              <a:gd name="connsiteY148" fmla="*/ 4716164 h 6858000"/>
              <a:gd name="connsiteX149" fmla="*/ 1997014 w 7467600"/>
              <a:gd name="connsiteY149" fmla="*/ 4698007 h 6858000"/>
              <a:gd name="connsiteX150" fmla="*/ 2005458 w 7467600"/>
              <a:gd name="connsiteY150" fmla="*/ 4699540 h 6858000"/>
              <a:gd name="connsiteX151" fmla="*/ 2657186 w 7467600"/>
              <a:gd name="connsiteY151" fmla="*/ 4901687 h 6858000"/>
              <a:gd name="connsiteX152" fmla="*/ 2826662 w 7467600"/>
              <a:gd name="connsiteY152" fmla="*/ 4970362 h 6858000"/>
              <a:gd name="connsiteX153" fmla="*/ 2876100 w 7467600"/>
              <a:gd name="connsiteY153" fmla="*/ 4995397 h 6858000"/>
              <a:gd name="connsiteX154" fmla="*/ 3042600 w 7467600"/>
              <a:gd name="connsiteY154" fmla="*/ 5059532 h 6858000"/>
              <a:gd name="connsiteX155" fmla="*/ 1997014 w 7467600"/>
              <a:gd name="connsiteY155" fmla="*/ 4698007 h 6858000"/>
              <a:gd name="connsiteX156" fmla="*/ 2305292 w 7467600"/>
              <a:gd name="connsiteY156" fmla="*/ 4219492 h 6858000"/>
              <a:gd name="connsiteX157" fmla="*/ 3360922 w 7467600"/>
              <a:gd name="connsiteY157" fmla="*/ 4529373 h 6858000"/>
              <a:gd name="connsiteX158" fmla="*/ 3492420 w 7467600"/>
              <a:gd name="connsiteY158" fmla="*/ 4510145 h 6858000"/>
              <a:gd name="connsiteX159" fmla="*/ 3364086 w 7467600"/>
              <a:gd name="connsiteY159" fmla="*/ 4480340 h 6858000"/>
              <a:gd name="connsiteX160" fmla="*/ 3225818 w 7467600"/>
              <a:gd name="connsiteY160" fmla="*/ 4411822 h 6858000"/>
              <a:gd name="connsiteX161" fmla="*/ 3129696 w 7467600"/>
              <a:gd name="connsiteY161" fmla="*/ 4360704 h 6858000"/>
              <a:gd name="connsiteX162" fmla="*/ 2814545 w 7467600"/>
              <a:gd name="connsiteY162" fmla="*/ 4282955 h 6858000"/>
              <a:gd name="connsiteX163" fmla="*/ 2305292 w 7467600"/>
              <a:gd name="connsiteY163" fmla="*/ 4219492 h 6858000"/>
              <a:gd name="connsiteX164" fmla="*/ 2626982 w 7467600"/>
              <a:gd name="connsiteY164" fmla="*/ 4206450 h 6858000"/>
              <a:gd name="connsiteX165" fmla="*/ 2490617 w 7467600"/>
              <a:gd name="connsiteY165" fmla="*/ 4206951 h 6858000"/>
              <a:gd name="connsiteX166" fmla="*/ 2819869 w 7467600"/>
              <a:gd name="connsiteY166" fmla="*/ 4252936 h 6858000"/>
              <a:gd name="connsiteX167" fmla="*/ 3143018 w 7467600"/>
              <a:gd name="connsiteY167" fmla="*/ 4332698 h 6858000"/>
              <a:gd name="connsiteX168" fmla="*/ 3241520 w 7467600"/>
              <a:gd name="connsiteY168" fmla="*/ 4385112 h 6858000"/>
              <a:gd name="connsiteX169" fmla="*/ 3374575 w 7467600"/>
              <a:gd name="connsiteY169" fmla="*/ 4451517 h 6858000"/>
              <a:gd name="connsiteX170" fmla="*/ 3505221 w 7467600"/>
              <a:gd name="connsiteY170" fmla="*/ 4480757 h 6858000"/>
              <a:gd name="connsiteX171" fmla="*/ 2626982 w 7467600"/>
              <a:gd name="connsiteY171" fmla="*/ 4206450 h 6858000"/>
              <a:gd name="connsiteX172" fmla="*/ 1310106 w 7467600"/>
              <a:gd name="connsiteY172" fmla="*/ 3943217 h 6858000"/>
              <a:gd name="connsiteX173" fmla="*/ 854994 w 7467600"/>
              <a:gd name="connsiteY173" fmla="*/ 4399136 h 6858000"/>
              <a:gd name="connsiteX174" fmla="*/ 742462 w 7467600"/>
              <a:gd name="connsiteY174" fmla="*/ 4594648 h 6858000"/>
              <a:gd name="connsiteX175" fmla="*/ 820602 w 7467600"/>
              <a:gd name="connsiteY175" fmla="*/ 4485915 h 6858000"/>
              <a:gd name="connsiteX176" fmla="*/ 878295 w 7467600"/>
              <a:gd name="connsiteY176" fmla="*/ 4403594 h 6858000"/>
              <a:gd name="connsiteX177" fmla="*/ 1240607 w 7467600"/>
              <a:gd name="connsiteY177" fmla="*/ 4010401 h 6858000"/>
              <a:gd name="connsiteX178" fmla="*/ 1310106 w 7467600"/>
              <a:gd name="connsiteY178" fmla="*/ 3943217 h 6858000"/>
              <a:gd name="connsiteX179" fmla="*/ 1423113 w 7467600"/>
              <a:gd name="connsiteY179" fmla="*/ 3874565 h 6858000"/>
              <a:gd name="connsiteX180" fmla="*/ 1260565 w 7467600"/>
              <a:gd name="connsiteY180" fmla="*/ 4031982 h 6858000"/>
              <a:gd name="connsiteX181" fmla="*/ 901900 w 7467600"/>
              <a:gd name="connsiteY181" fmla="*/ 4421236 h 6858000"/>
              <a:gd name="connsiteX182" fmla="*/ 845044 w 7467600"/>
              <a:gd name="connsiteY182" fmla="*/ 4502436 h 6858000"/>
              <a:gd name="connsiteX183" fmla="*/ 685926 w 7467600"/>
              <a:gd name="connsiteY183" fmla="*/ 4703069 h 6858000"/>
              <a:gd name="connsiteX184" fmla="*/ 684248 w 7467600"/>
              <a:gd name="connsiteY184" fmla="*/ 4706721 h 6858000"/>
              <a:gd name="connsiteX185" fmla="*/ 1423113 w 7467600"/>
              <a:gd name="connsiteY185" fmla="*/ 3874565 h 6858000"/>
              <a:gd name="connsiteX186" fmla="*/ 3316479 w 7467600"/>
              <a:gd name="connsiteY186" fmla="*/ 3872136 h 6858000"/>
              <a:gd name="connsiteX187" fmla="*/ 3546806 w 7467600"/>
              <a:gd name="connsiteY187" fmla="*/ 4356139 h 6858000"/>
              <a:gd name="connsiteX188" fmla="*/ 3364433 w 7467600"/>
              <a:gd name="connsiteY188" fmla="*/ 3953121 h 6858000"/>
              <a:gd name="connsiteX189" fmla="*/ 3316479 w 7467600"/>
              <a:gd name="connsiteY189" fmla="*/ 3872136 h 6858000"/>
              <a:gd name="connsiteX190" fmla="*/ 3291335 w 7467600"/>
              <a:gd name="connsiteY190" fmla="*/ 3767420 h 6858000"/>
              <a:gd name="connsiteX191" fmla="*/ 3390805 w 7467600"/>
              <a:gd name="connsiteY191" fmla="*/ 3937163 h 6858000"/>
              <a:gd name="connsiteX192" fmla="*/ 3579062 w 7467600"/>
              <a:gd name="connsiteY192" fmla="*/ 4359040 h 6858000"/>
              <a:gd name="connsiteX193" fmla="*/ 3467355 w 7467600"/>
              <a:gd name="connsiteY193" fmla="*/ 3988130 h 6858000"/>
              <a:gd name="connsiteX194" fmla="*/ 3310753 w 7467600"/>
              <a:gd name="connsiteY194" fmla="*/ 3787140 h 6858000"/>
              <a:gd name="connsiteX195" fmla="*/ 3291335 w 7467600"/>
              <a:gd name="connsiteY195" fmla="*/ 3767420 h 6858000"/>
              <a:gd name="connsiteX196" fmla="*/ 1635889 w 7467600"/>
              <a:gd name="connsiteY196" fmla="*/ 3709494 h 6858000"/>
              <a:gd name="connsiteX197" fmla="*/ 1634800 w 7467600"/>
              <a:gd name="connsiteY197" fmla="*/ 3731111 h 6858000"/>
              <a:gd name="connsiteX198" fmla="*/ 1635889 w 7467600"/>
              <a:gd name="connsiteY198" fmla="*/ 3709494 h 6858000"/>
              <a:gd name="connsiteX199" fmla="*/ 1510397 w 7467600"/>
              <a:gd name="connsiteY199" fmla="*/ 3684705 h 6858000"/>
              <a:gd name="connsiteX200" fmla="*/ 1146550 w 7467600"/>
              <a:gd name="connsiteY200" fmla="*/ 3802012 h 6858000"/>
              <a:gd name="connsiteX201" fmla="*/ 698834 w 7467600"/>
              <a:gd name="connsiteY201" fmla="*/ 3952272 h 6858000"/>
              <a:gd name="connsiteX202" fmla="*/ 34256 w 7467600"/>
              <a:gd name="connsiteY202" fmla="*/ 4347603 h 6858000"/>
              <a:gd name="connsiteX203" fmla="*/ 527241 w 7467600"/>
              <a:gd name="connsiteY203" fmla="*/ 4065078 h 6858000"/>
              <a:gd name="connsiteX204" fmla="*/ 1510397 w 7467600"/>
              <a:gd name="connsiteY204" fmla="*/ 3684705 h 6858000"/>
              <a:gd name="connsiteX205" fmla="*/ 1313114 w 7467600"/>
              <a:gd name="connsiteY205" fmla="*/ 3655216 h 6858000"/>
              <a:gd name="connsiteX206" fmla="*/ 1109304 w 7467600"/>
              <a:gd name="connsiteY206" fmla="*/ 3669030 h 6858000"/>
              <a:gd name="connsiteX207" fmla="*/ 8129 w 7467600"/>
              <a:gd name="connsiteY207" fmla="*/ 4330519 h 6858000"/>
              <a:gd name="connsiteX208" fmla="*/ 687572 w 7467600"/>
              <a:gd name="connsiteY208" fmla="*/ 3925629 h 6858000"/>
              <a:gd name="connsiteX209" fmla="*/ 1138365 w 7467600"/>
              <a:gd name="connsiteY209" fmla="*/ 3774515 h 6858000"/>
              <a:gd name="connsiteX210" fmla="*/ 1505579 w 7467600"/>
              <a:gd name="connsiteY210" fmla="*/ 3655526 h 6858000"/>
              <a:gd name="connsiteX211" fmla="*/ 1313114 w 7467600"/>
              <a:gd name="connsiteY211" fmla="*/ 3655216 h 6858000"/>
              <a:gd name="connsiteX212" fmla="*/ 3655073 w 7467600"/>
              <a:gd name="connsiteY212" fmla="*/ 3650884 h 6858000"/>
              <a:gd name="connsiteX213" fmla="*/ 3989938 w 7467600"/>
              <a:gd name="connsiteY213" fmla="*/ 3991685 h 6858000"/>
              <a:gd name="connsiteX214" fmla="*/ 4393907 w 7467600"/>
              <a:gd name="connsiteY214" fmla="*/ 4261258 h 6858000"/>
              <a:gd name="connsiteX215" fmla="*/ 4648051 w 7467600"/>
              <a:gd name="connsiteY215" fmla="*/ 4374051 h 6858000"/>
              <a:gd name="connsiteX216" fmla="*/ 4383389 w 7467600"/>
              <a:gd name="connsiteY216" fmla="*/ 4184369 h 6858000"/>
              <a:gd name="connsiteX217" fmla="*/ 4165508 w 7467600"/>
              <a:gd name="connsiteY217" fmla="*/ 4035196 h 6858000"/>
              <a:gd name="connsiteX218" fmla="*/ 4068162 w 7467600"/>
              <a:gd name="connsiteY218" fmla="*/ 3953394 h 6858000"/>
              <a:gd name="connsiteX219" fmla="*/ 3981416 w 7467600"/>
              <a:gd name="connsiteY219" fmla="*/ 3880482 h 6858000"/>
              <a:gd name="connsiteX220" fmla="*/ 3800147 w 7467600"/>
              <a:gd name="connsiteY220" fmla="*/ 3749872 h 6858000"/>
              <a:gd name="connsiteX221" fmla="*/ 3655073 w 7467600"/>
              <a:gd name="connsiteY221" fmla="*/ 3650884 h 6858000"/>
              <a:gd name="connsiteX222" fmla="*/ 3670252 w 7467600"/>
              <a:gd name="connsiteY222" fmla="*/ 3622798 h 6858000"/>
              <a:gd name="connsiteX223" fmla="*/ 3817258 w 7467600"/>
              <a:gd name="connsiteY223" fmla="*/ 3723577 h 6858000"/>
              <a:gd name="connsiteX224" fmla="*/ 4000461 w 7467600"/>
              <a:gd name="connsiteY224" fmla="*/ 3855966 h 6858000"/>
              <a:gd name="connsiteX225" fmla="*/ 4088180 w 7467600"/>
              <a:gd name="connsiteY225" fmla="*/ 3929774 h 6858000"/>
              <a:gd name="connsiteX226" fmla="*/ 4184555 w 7467600"/>
              <a:gd name="connsiteY226" fmla="*/ 4010683 h 6858000"/>
              <a:gd name="connsiteX227" fmla="*/ 4399563 w 7467600"/>
              <a:gd name="connsiteY227" fmla="*/ 4158106 h 6858000"/>
              <a:gd name="connsiteX228" fmla="*/ 4684469 w 7467600"/>
              <a:gd name="connsiteY228" fmla="*/ 4364680 h 6858000"/>
              <a:gd name="connsiteX229" fmla="*/ 4690271 w 7467600"/>
              <a:gd name="connsiteY229" fmla="*/ 4370034 h 6858000"/>
              <a:gd name="connsiteX230" fmla="*/ 4136093 w 7467600"/>
              <a:gd name="connsiteY230" fmla="*/ 3858466 h 6858000"/>
              <a:gd name="connsiteX231" fmla="*/ 3670252 w 7467600"/>
              <a:gd name="connsiteY231" fmla="*/ 3622798 h 6858000"/>
              <a:gd name="connsiteX232" fmla="*/ 4440129 w 7467600"/>
              <a:gd name="connsiteY232" fmla="*/ 3448571 h 6858000"/>
              <a:gd name="connsiteX233" fmla="*/ 4856525 w 7467600"/>
              <a:gd name="connsiteY233" fmla="*/ 3915351 h 6858000"/>
              <a:gd name="connsiteX234" fmla="*/ 5059055 w 7467600"/>
              <a:gd name="connsiteY234" fmla="*/ 4108918 h 6858000"/>
              <a:gd name="connsiteX235" fmla="*/ 5290070 w 7467600"/>
              <a:gd name="connsiteY235" fmla="*/ 4263619 h 6858000"/>
              <a:gd name="connsiteX236" fmla="*/ 4834991 w 7467600"/>
              <a:gd name="connsiteY236" fmla="*/ 3830985 h 6858000"/>
              <a:gd name="connsiteX237" fmla="*/ 4440129 w 7467600"/>
              <a:gd name="connsiteY237" fmla="*/ 3448571 h 6858000"/>
              <a:gd name="connsiteX238" fmla="*/ 4441737 w 7467600"/>
              <a:gd name="connsiteY238" fmla="*/ 3399734 h 6858000"/>
              <a:gd name="connsiteX239" fmla="*/ 4431236 w 7467600"/>
              <a:gd name="connsiteY239" fmla="*/ 3400954 h 6858000"/>
              <a:gd name="connsiteX240" fmla="*/ 4557150 w 7467600"/>
              <a:gd name="connsiteY240" fmla="*/ 3510023 h 6858000"/>
              <a:gd name="connsiteX241" fmla="*/ 4856936 w 7467600"/>
              <a:gd name="connsiteY241" fmla="*/ 3809146 h 6858000"/>
              <a:gd name="connsiteX242" fmla="*/ 5111996 w 7467600"/>
              <a:gd name="connsiteY242" fmla="*/ 4065759 h 6858000"/>
              <a:gd name="connsiteX243" fmla="*/ 5388878 w 7467600"/>
              <a:gd name="connsiteY243" fmla="*/ 4300185 h 6858000"/>
              <a:gd name="connsiteX244" fmla="*/ 5425556 w 7467600"/>
              <a:gd name="connsiteY244" fmla="*/ 4308967 h 6858000"/>
              <a:gd name="connsiteX245" fmla="*/ 4943646 w 7467600"/>
              <a:gd name="connsiteY245" fmla="*/ 3822916 h 6858000"/>
              <a:gd name="connsiteX246" fmla="*/ 4594837 w 7467600"/>
              <a:gd name="connsiteY246" fmla="*/ 3532274 h 6858000"/>
              <a:gd name="connsiteX247" fmla="*/ 4441737 w 7467600"/>
              <a:gd name="connsiteY247" fmla="*/ 3399734 h 6858000"/>
              <a:gd name="connsiteX248" fmla="*/ 5425834 w 7467600"/>
              <a:gd name="connsiteY248" fmla="*/ 3162785 h 6858000"/>
              <a:gd name="connsiteX249" fmla="*/ 5401644 w 7467600"/>
              <a:gd name="connsiteY249" fmla="*/ 3617847 h 6858000"/>
              <a:gd name="connsiteX250" fmla="*/ 5467256 w 7467600"/>
              <a:gd name="connsiteY250" fmla="*/ 4175494 h 6858000"/>
              <a:gd name="connsiteX251" fmla="*/ 5448069 w 7467600"/>
              <a:gd name="connsiteY251" fmla="*/ 3567554 h 6858000"/>
              <a:gd name="connsiteX252" fmla="*/ 5425834 w 7467600"/>
              <a:gd name="connsiteY252" fmla="*/ 3162785 h 6858000"/>
              <a:gd name="connsiteX253" fmla="*/ 1318687 w 7467600"/>
              <a:gd name="connsiteY253" fmla="*/ 3113840 h 6858000"/>
              <a:gd name="connsiteX254" fmla="*/ 1066793 w 7467600"/>
              <a:gd name="connsiteY254" fmla="*/ 3212171 h 6858000"/>
              <a:gd name="connsiteX255" fmla="*/ 993319 w 7467600"/>
              <a:gd name="connsiteY255" fmla="*/ 3247648 h 6858000"/>
              <a:gd name="connsiteX256" fmla="*/ 853081 w 7467600"/>
              <a:gd name="connsiteY256" fmla="*/ 3312410 h 6858000"/>
              <a:gd name="connsiteX257" fmla="*/ 805957 w 7467600"/>
              <a:gd name="connsiteY257" fmla="*/ 3330443 h 6858000"/>
              <a:gd name="connsiteX258" fmla="*/ 1318687 w 7467600"/>
              <a:gd name="connsiteY258" fmla="*/ 3113840 h 6858000"/>
              <a:gd name="connsiteX259" fmla="*/ 5453702 w 7467600"/>
              <a:gd name="connsiteY259" fmla="*/ 3090882 h 6858000"/>
              <a:gd name="connsiteX260" fmla="*/ 5480135 w 7467600"/>
              <a:gd name="connsiteY260" fmla="*/ 3565802 h 6858000"/>
              <a:gd name="connsiteX261" fmla="*/ 5499023 w 7467600"/>
              <a:gd name="connsiteY261" fmla="*/ 4166310 h 6858000"/>
              <a:gd name="connsiteX262" fmla="*/ 5547022 w 7467600"/>
              <a:gd name="connsiteY262" fmla="*/ 3607838 h 6858000"/>
              <a:gd name="connsiteX263" fmla="*/ 5515964 w 7467600"/>
              <a:gd name="connsiteY263" fmla="*/ 3378541 h 6858000"/>
              <a:gd name="connsiteX264" fmla="*/ 5453702 w 7467600"/>
              <a:gd name="connsiteY264" fmla="*/ 3090882 h 6858000"/>
              <a:gd name="connsiteX265" fmla="*/ 1238695 w 7467600"/>
              <a:gd name="connsiteY265" fmla="*/ 3076820 h 6858000"/>
              <a:gd name="connsiteX266" fmla="*/ 716371 w 7467600"/>
              <a:gd name="connsiteY266" fmla="*/ 3293249 h 6858000"/>
              <a:gd name="connsiteX267" fmla="*/ 579522 w 7467600"/>
              <a:gd name="connsiteY267" fmla="*/ 3371759 h 6858000"/>
              <a:gd name="connsiteX268" fmla="*/ 600288 w 7467600"/>
              <a:gd name="connsiteY268" fmla="*/ 3365555 h 6858000"/>
              <a:gd name="connsiteX269" fmla="*/ 840692 w 7467600"/>
              <a:gd name="connsiteY269" fmla="*/ 3284921 h 6858000"/>
              <a:gd name="connsiteX270" fmla="*/ 979248 w 7467600"/>
              <a:gd name="connsiteY270" fmla="*/ 3221003 h 6858000"/>
              <a:gd name="connsiteX271" fmla="*/ 1053282 w 7467600"/>
              <a:gd name="connsiteY271" fmla="*/ 3185247 h 6858000"/>
              <a:gd name="connsiteX272" fmla="*/ 1320603 w 7467600"/>
              <a:gd name="connsiteY272" fmla="*/ 3081281 h 6858000"/>
              <a:gd name="connsiteX273" fmla="*/ 1238695 w 7467600"/>
              <a:gd name="connsiteY273" fmla="*/ 3076820 h 6858000"/>
              <a:gd name="connsiteX274" fmla="*/ 5425627 w 7467600"/>
              <a:gd name="connsiteY274" fmla="*/ 2954192 h 6858000"/>
              <a:gd name="connsiteX275" fmla="*/ 5470770 w 7467600"/>
              <a:gd name="connsiteY275" fmla="*/ 3005435 h 6858000"/>
              <a:gd name="connsiteX276" fmla="*/ 5519779 w 7467600"/>
              <a:gd name="connsiteY276" fmla="*/ 4359223 h 6858000"/>
              <a:gd name="connsiteX277" fmla="*/ 5520293 w 7467600"/>
              <a:gd name="connsiteY277" fmla="*/ 4360602 h 6858000"/>
              <a:gd name="connsiteX278" fmla="*/ 5767221 w 7467600"/>
              <a:gd name="connsiteY278" fmla="*/ 4665564 h 6858000"/>
              <a:gd name="connsiteX279" fmla="*/ 6937169 w 7467600"/>
              <a:gd name="connsiteY279" fmla="*/ 4815941 h 6858000"/>
              <a:gd name="connsiteX280" fmla="*/ 6953922 w 7467600"/>
              <a:gd name="connsiteY280" fmla="*/ 4890068 h 6858000"/>
              <a:gd name="connsiteX281" fmla="*/ 6071359 w 7467600"/>
              <a:gd name="connsiteY281" fmla="*/ 4770770 h 6858000"/>
              <a:gd name="connsiteX282" fmla="*/ 6038839 w 7467600"/>
              <a:gd name="connsiteY282" fmla="*/ 4764474 h 6858000"/>
              <a:gd name="connsiteX283" fmla="*/ 6038706 w 7467600"/>
              <a:gd name="connsiteY283" fmla="*/ 4763847 h 6858000"/>
              <a:gd name="connsiteX284" fmla="*/ 6037784 w 7467600"/>
              <a:gd name="connsiteY284" fmla="*/ 4764270 h 6858000"/>
              <a:gd name="connsiteX285" fmla="*/ 6038839 w 7467600"/>
              <a:gd name="connsiteY285" fmla="*/ 4764474 h 6858000"/>
              <a:gd name="connsiteX286" fmla="*/ 6040338 w 7467600"/>
              <a:gd name="connsiteY286" fmla="*/ 4771418 h 6858000"/>
              <a:gd name="connsiteX287" fmla="*/ 6024488 w 7467600"/>
              <a:gd name="connsiteY287" fmla="*/ 4809903 h 6858000"/>
              <a:gd name="connsiteX288" fmla="*/ 5599771 w 7467600"/>
              <a:gd name="connsiteY288" fmla="*/ 5509652 h 6858000"/>
              <a:gd name="connsiteX289" fmla="*/ 5548843 w 7467600"/>
              <a:gd name="connsiteY289" fmla="*/ 5563845 h 6858000"/>
              <a:gd name="connsiteX290" fmla="*/ 5940952 w 7467600"/>
              <a:gd name="connsiteY290" fmla="*/ 6250028 h 6858000"/>
              <a:gd name="connsiteX291" fmla="*/ 6043441 w 7467600"/>
              <a:gd name="connsiteY291" fmla="*/ 6665847 h 6858000"/>
              <a:gd name="connsiteX292" fmla="*/ 6093432 w 7467600"/>
              <a:gd name="connsiteY292" fmla="*/ 6858000 h 6858000"/>
              <a:gd name="connsiteX293" fmla="*/ 6034344 w 7467600"/>
              <a:gd name="connsiteY293" fmla="*/ 6858000 h 6858000"/>
              <a:gd name="connsiteX294" fmla="*/ 6026679 w 7467600"/>
              <a:gd name="connsiteY294" fmla="*/ 6836959 h 6858000"/>
              <a:gd name="connsiteX295" fmla="*/ 5800441 w 7467600"/>
              <a:gd name="connsiteY295" fmla="*/ 6335286 h 6858000"/>
              <a:gd name="connsiteX296" fmla="*/ 5526562 w 7467600"/>
              <a:gd name="connsiteY296" fmla="*/ 5705388 h 6858000"/>
              <a:gd name="connsiteX297" fmla="*/ 5519640 w 7467600"/>
              <a:gd name="connsiteY297" fmla="*/ 5683774 h 6858000"/>
              <a:gd name="connsiteX298" fmla="*/ 5844559 w 7467600"/>
              <a:gd name="connsiteY298" fmla="*/ 6553349 h 6858000"/>
              <a:gd name="connsiteX299" fmla="*/ 5975994 w 7467600"/>
              <a:gd name="connsiteY299" fmla="*/ 6858000 h 6858000"/>
              <a:gd name="connsiteX300" fmla="*/ 5898547 w 7467600"/>
              <a:gd name="connsiteY300" fmla="*/ 6858000 h 6858000"/>
              <a:gd name="connsiteX301" fmla="*/ 5682041 w 7467600"/>
              <a:gd name="connsiteY301" fmla="*/ 6355860 h 6858000"/>
              <a:gd name="connsiteX302" fmla="*/ 5461758 w 7467600"/>
              <a:gd name="connsiteY302" fmla="*/ 5820220 h 6858000"/>
              <a:gd name="connsiteX303" fmla="*/ 5237282 w 7467600"/>
              <a:gd name="connsiteY303" fmla="*/ 6579086 h 6858000"/>
              <a:gd name="connsiteX304" fmla="*/ 5115009 w 7467600"/>
              <a:gd name="connsiteY304" fmla="*/ 6858000 h 6858000"/>
              <a:gd name="connsiteX305" fmla="*/ 5028074 w 7467600"/>
              <a:gd name="connsiteY305" fmla="*/ 6858000 h 6858000"/>
              <a:gd name="connsiteX306" fmla="*/ 5079508 w 7467600"/>
              <a:gd name="connsiteY306" fmla="*/ 6749074 h 6858000"/>
              <a:gd name="connsiteX307" fmla="*/ 5371846 w 7467600"/>
              <a:gd name="connsiteY307" fmla="*/ 5924413 h 6858000"/>
              <a:gd name="connsiteX308" fmla="*/ 5270512 w 7467600"/>
              <a:gd name="connsiteY308" fmla="*/ 6138975 h 6858000"/>
              <a:gd name="connsiteX309" fmla="*/ 5062409 w 7467600"/>
              <a:gd name="connsiteY309" fmla="*/ 6653544 h 6858000"/>
              <a:gd name="connsiteX310" fmla="*/ 5036628 w 7467600"/>
              <a:gd name="connsiteY310" fmla="*/ 6754247 h 6858000"/>
              <a:gd name="connsiteX311" fmla="*/ 5009112 w 7467600"/>
              <a:gd name="connsiteY311" fmla="*/ 6858000 h 6858000"/>
              <a:gd name="connsiteX312" fmla="*/ 4976679 w 7467600"/>
              <a:gd name="connsiteY312" fmla="*/ 6858000 h 6858000"/>
              <a:gd name="connsiteX313" fmla="*/ 5006537 w 7467600"/>
              <a:gd name="connsiteY313" fmla="*/ 6747068 h 6858000"/>
              <a:gd name="connsiteX314" fmla="*/ 5032723 w 7467600"/>
              <a:gd name="connsiteY314" fmla="*/ 6644957 h 6858000"/>
              <a:gd name="connsiteX315" fmla="*/ 5242949 w 7467600"/>
              <a:gd name="connsiteY315" fmla="*/ 6125175 h 6858000"/>
              <a:gd name="connsiteX316" fmla="*/ 5286321 w 7467600"/>
              <a:gd name="connsiteY316" fmla="*/ 6033555 h 6858000"/>
              <a:gd name="connsiteX317" fmla="*/ 5008210 w 7467600"/>
              <a:gd name="connsiteY317" fmla="*/ 6649194 h 6858000"/>
              <a:gd name="connsiteX318" fmla="*/ 4986321 w 7467600"/>
              <a:gd name="connsiteY318" fmla="*/ 6765687 h 6858000"/>
              <a:gd name="connsiteX319" fmla="*/ 4973474 w 7467600"/>
              <a:gd name="connsiteY319" fmla="*/ 6858000 h 6858000"/>
              <a:gd name="connsiteX320" fmla="*/ 4907178 w 7467600"/>
              <a:gd name="connsiteY320" fmla="*/ 6858000 h 6858000"/>
              <a:gd name="connsiteX321" fmla="*/ 4910810 w 7467600"/>
              <a:gd name="connsiteY321" fmla="*/ 6829660 h 6858000"/>
              <a:gd name="connsiteX322" fmla="*/ 4987461 w 7467600"/>
              <a:gd name="connsiteY322" fmla="*/ 6432994 h 6858000"/>
              <a:gd name="connsiteX323" fmla="*/ 5179262 w 7467600"/>
              <a:gd name="connsiteY323" fmla="*/ 6035044 h 6858000"/>
              <a:gd name="connsiteX324" fmla="*/ 4689678 w 7467600"/>
              <a:gd name="connsiteY324" fmla="*/ 6440241 h 6858000"/>
              <a:gd name="connsiteX325" fmla="*/ 4477543 w 7467600"/>
              <a:gd name="connsiteY325" fmla="*/ 6674836 h 6858000"/>
              <a:gd name="connsiteX326" fmla="*/ 4329957 w 7467600"/>
              <a:gd name="connsiteY326" fmla="*/ 6858000 h 6858000"/>
              <a:gd name="connsiteX327" fmla="*/ 4218595 w 7467600"/>
              <a:gd name="connsiteY327" fmla="*/ 6858000 h 6858000"/>
              <a:gd name="connsiteX328" fmla="*/ 4368888 w 7467600"/>
              <a:gd name="connsiteY328" fmla="*/ 6668412 h 6858000"/>
              <a:gd name="connsiteX329" fmla="*/ 4563091 w 7467600"/>
              <a:gd name="connsiteY329" fmla="*/ 6442508 h 6858000"/>
              <a:gd name="connsiteX330" fmla="*/ 5387324 w 7467600"/>
              <a:gd name="connsiteY330" fmla="*/ 5705830 h 6858000"/>
              <a:gd name="connsiteX331" fmla="*/ 5073620 w 7467600"/>
              <a:gd name="connsiteY331" fmla="*/ 5955437 h 6858000"/>
              <a:gd name="connsiteX332" fmla="*/ 4689789 w 7467600"/>
              <a:gd name="connsiteY332" fmla="*/ 6268382 h 6858000"/>
              <a:gd name="connsiteX333" fmla="*/ 4418722 w 7467600"/>
              <a:gd name="connsiteY333" fmla="*/ 6570886 h 6858000"/>
              <a:gd name="connsiteX334" fmla="*/ 4214944 w 7467600"/>
              <a:gd name="connsiteY334" fmla="*/ 6858000 h 6858000"/>
              <a:gd name="connsiteX335" fmla="*/ 4177898 w 7467600"/>
              <a:gd name="connsiteY335" fmla="*/ 6858000 h 6858000"/>
              <a:gd name="connsiteX336" fmla="*/ 4391597 w 7467600"/>
              <a:gd name="connsiteY336" fmla="*/ 6556370 h 6858000"/>
              <a:gd name="connsiteX337" fmla="*/ 4668889 w 7467600"/>
              <a:gd name="connsiteY337" fmla="*/ 6246399 h 6858000"/>
              <a:gd name="connsiteX338" fmla="*/ 5055427 w 7467600"/>
              <a:gd name="connsiteY338" fmla="*/ 5931476 h 6858000"/>
              <a:gd name="connsiteX339" fmla="*/ 5371814 w 7467600"/>
              <a:gd name="connsiteY339" fmla="*/ 5678975 h 6858000"/>
              <a:gd name="connsiteX340" fmla="*/ 4987918 w 7467600"/>
              <a:gd name="connsiteY340" fmla="*/ 5838701 h 6858000"/>
              <a:gd name="connsiteX341" fmla="*/ 4317146 w 7467600"/>
              <a:gd name="connsiteY341" fmla="*/ 6587716 h 6858000"/>
              <a:gd name="connsiteX342" fmla="*/ 4171627 w 7467600"/>
              <a:gd name="connsiteY342" fmla="*/ 6858000 h 6858000"/>
              <a:gd name="connsiteX343" fmla="*/ 4081585 w 7467600"/>
              <a:gd name="connsiteY343" fmla="*/ 6858000 h 6858000"/>
              <a:gd name="connsiteX344" fmla="*/ 4238603 w 7467600"/>
              <a:gd name="connsiteY344" fmla="*/ 6559341 h 6858000"/>
              <a:gd name="connsiteX345" fmla="*/ 4778333 w 7467600"/>
              <a:gd name="connsiteY345" fmla="*/ 5873626 h 6858000"/>
              <a:gd name="connsiteX346" fmla="*/ 5414185 w 7467600"/>
              <a:gd name="connsiteY346" fmla="*/ 5573882 h 6858000"/>
              <a:gd name="connsiteX347" fmla="*/ 5959648 w 7467600"/>
              <a:gd name="connsiteY347" fmla="*/ 4760797 h 6858000"/>
              <a:gd name="connsiteX348" fmla="*/ 5355019 w 7467600"/>
              <a:gd name="connsiteY348" fmla="*/ 4734672 h 6858000"/>
              <a:gd name="connsiteX349" fmla="*/ 5083565 w 7467600"/>
              <a:gd name="connsiteY349" fmla="*/ 5179121 h 6858000"/>
              <a:gd name="connsiteX350" fmla="*/ 4713577 w 7467600"/>
              <a:gd name="connsiteY350" fmla="*/ 5616803 h 6858000"/>
              <a:gd name="connsiteX351" fmla="*/ 3989559 w 7467600"/>
              <a:gd name="connsiteY351" fmla="*/ 6145945 h 6858000"/>
              <a:gd name="connsiteX352" fmla="*/ 3939824 w 7467600"/>
              <a:gd name="connsiteY352" fmla="*/ 6066900 h 6858000"/>
              <a:gd name="connsiteX353" fmla="*/ 4584537 w 7467600"/>
              <a:gd name="connsiteY353" fmla="*/ 5324826 h 6858000"/>
              <a:gd name="connsiteX354" fmla="*/ 5037105 w 7467600"/>
              <a:gd name="connsiteY354" fmla="*/ 5088765 h 6858000"/>
              <a:gd name="connsiteX355" fmla="*/ 5039930 w 7467600"/>
              <a:gd name="connsiteY355" fmla="*/ 5089585 h 6858000"/>
              <a:gd name="connsiteX356" fmla="*/ 5263764 w 7467600"/>
              <a:gd name="connsiteY356" fmla="*/ 4735525 h 6858000"/>
              <a:gd name="connsiteX357" fmla="*/ 4086300 w 7467600"/>
              <a:gd name="connsiteY357" fmla="*/ 4884599 h 6858000"/>
              <a:gd name="connsiteX358" fmla="*/ 4085485 w 7467600"/>
              <a:gd name="connsiteY358" fmla="*/ 4899070 h 6858000"/>
              <a:gd name="connsiteX359" fmla="*/ 3871915 w 7467600"/>
              <a:gd name="connsiteY359" fmla="*/ 5253645 h 6858000"/>
              <a:gd name="connsiteX360" fmla="*/ 3799374 w 7467600"/>
              <a:gd name="connsiteY360" fmla="*/ 5466127 h 6858000"/>
              <a:gd name="connsiteX361" fmla="*/ 3498850 w 7467600"/>
              <a:gd name="connsiteY361" fmla="*/ 6661888 h 6858000"/>
              <a:gd name="connsiteX362" fmla="*/ 3399216 w 7467600"/>
              <a:gd name="connsiteY362" fmla="*/ 6858000 h 6858000"/>
              <a:gd name="connsiteX363" fmla="*/ 3303688 w 7467600"/>
              <a:gd name="connsiteY363" fmla="*/ 6858000 h 6858000"/>
              <a:gd name="connsiteX364" fmla="*/ 3391774 w 7467600"/>
              <a:gd name="connsiteY364" fmla="*/ 6697181 h 6858000"/>
              <a:gd name="connsiteX365" fmla="*/ 3735540 w 7467600"/>
              <a:gd name="connsiteY365" fmla="*/ 5546923 h 6858000"/>
              <a:gd name="connsiteX366" fmla="*/ 3729438 w 7467600"/>
              <a:gd name="connsiteY366" fmla="*/ 5569058 h 6858000"/>
              <a:gd name="connsiteX367" fmla="*/ 3707782 w 7467600"/>
              <a:gd name="connsiteY367" fmla="*/ 5644908 h 6858000"/>
              <a:gd name="connsiteX368" fmla="*/ 3583827 w 7467600"/>
              <a:gd name="connsiteY368" fmla="*/ 6039215 h 6858000"/>
              <a:gd name="connsiteX369" fmla="*/ 3547861 w 7467600"/>
              <a:gd name="connsiteY369" fmla="*/ 6129609 h 6858000"/>
              <a:gd name="connsiteX370" fmla="*/ 3490905 w 7467600"/>
              <a:gd name="connsiteY370" fmla="*/ 6277660 h 6858000"/>
              <a:gd name="connsiteX371" fmla="*/ 3455859 w 7467600"/>
              <a:gd name="connsiteY371" fmla="*/ 6391301 h 6858000"/>
              <a:gd name="connsiteX372" fmla="*/ 3429112 w 7467600"/>
              <a:gd name="connsiteY372" fmla="*/ 6479469 h 6858000"/>
              <a:gd name="connsiteX373" fmla="*/ 3304862 w 7467600"/>
              <a:gd name="connsiteY373" fmla="*/ 6796476 h 6858000"/>
              <a:gd name="connsiteX374" fmla="*/ 3276071 w 7467600"/>
              <a:gd name="connsiteY374" fmla="*/ 6858000 h 6858000"/>
              <a:gd name="connsiteX375" fmla="*/ 3240805 w 7467600"/>
              <a:gd name="connsiteY375" fmla="*/ 6858000 h 6858000"/>
              <a:gd name="connsiteX376" fmla="*/ 3275917 w 7467600"/>
              <a:gd name="connsiteY376" fmla="*/ 6783192 h 6858000"/>
              <a:gd name="connsiteX377" fmla="*/ 3399358 w 7467600"/>
              <a:gd name="connsiteY377" fmla="*/ 6469011 h 6858000"/>
              <a:gd name="connsiteX378" fmla="*/ 3425650 w 7467600"/>
              <a:gd name="connsiteY378" fmla="*/ 6381333 h 6858000"/>
              <a:gd name="connsiteX379" fmla="*/ 3460661 w 7467600"/>
              <a:gd name="connsiteY379" fmla="*/ 6266763 h 6858000"/>
              <a:gd name="connsiteX380" fmla="*/ 3518021 w 7467600"/>
              <a:gd name="connsiteY380" fmla="*/ 6117298 h 6858000"/>
              <a:gd name="connsiteX381" fmla="*/ 3554035 w 7467600"/>
              <a:gd name="connsiteY381" fmla="*/ 6027832 h 6858000"/>
              <a:gd name="connsiteX382" fmla="*/ 3677174 w 7467600"/>
              <a:gd name="connsiteY382" fmla="*/ 5636351 h 6858000"/>
              <a:gd name="connsiteX383" fmla="*/ 3698819 w 7467600"/>
              <a:gd name="connsiteY383" fmla="*/ 5560503 h 6858000"/>
              <a:gd name="connsiteX384" fmla="*/ 3702094 w 7467600"/>
              <a:gd name="connsiteY384" fmla="*/ 5549194 h 6858000"/>
              <a:gd name="connsiteX385" fmla="*/ 3398355 w 7467600"/>
              <a:gd name="connsiteY385" fmla="*/ 6094603 h 6858000"/>
              <a:gd name="connsiteX386" fmla="*/ 3193941 w 7467600"/>
              <a:gd name="connsiteY386" fmla="*/ 6798775 h 6858000"/>
              <a:gd name="connsiteX387" fmla="*/ 3184140 w 7467600"/>
              <a:gd name="connsiteY387" fmla="*/ 6858000 h 6858000"/>
              <a:gd name="connsiteX388" fmla="*/ 3099978 w 7467600"/>
              <a:gd name="connsiteY388" fmla="*/ 6858000 h 6858000"/>
              <a:gd name="connsiteX389" fmla="*/ 3101556 w 7467600"/>
              <a:gd name="connsiteY389" fmla="*/ 6843337 h 6858000"/>
              <a:gd name="connsiteX390" fmla="*/ 3370162 w 7467600"/>
              <a:gd name="connsiteY390" fmla="*/ 5785550 h 6858000"/>
              <a:gd name="connsiteX391" fmla="*/ 3746477 w 7467600"/>
              <a:gd name="connsiteY391" fmla="*/ 5377889 h 6858000"/>
              <a:gd name="connsiteX392" fmla="*/ 3863399 w 7467600"/>
              <a:gd name="connsiteY392" fmla="*/ 5087257 h 6858000"/>
              <a:gd name="connsiteX393" fmla="*/ 3968712 w 7467600"/>
              <a:gd name="connsiteY393" fmla="*/ 4913989 h 6858000"/>
              <a:gd name="connsiteX394" fmla="*/ 2792390 w 7467600"/>
              <a:gd name="connsiteY394" fmla="*/ 5382974 h 6858000"/>
              <a:gd name="connsiteX395" fmla="*/ 2714982 w 7467600"/>
              <a:gd name="connsiteY395" fmla="*/ 5427051 h 6858000"/>
              <a:gd name="connsiteX396" fmla="*/ 2813361 w 7467600"/>
              <a:gd name="connsiteY396" fmla="*/ 6023912 h 6858000"/>
              <a:gd name="connsiteX397" fmla="*/ 2688430 w 7467600"/>
              <a:gd name="connsiteY397" fmla="*/ 6801564 h 6858000"/>
              <a:gd name="connsiteX398" fmla="*/ 2629626 w 7467600"/>
              <a:gd name="connsiteY398" fmla="*/ 6763394 h 6858000"/>
              <a:gd name="connsiteX399" fmla="*/ 2565328 w 7467600"/>
              <a:gd name="connsiteY399" fmla="*/ 5516399 h 6858000"/>
              <a:gd name="connsiteX400" fmla="*/ 1922999 w 7467600"/>
              <a:gd name="connsiteY400" fmla="*/ 5980343 h 6858000"/>
              <a:gd name="connsiteX401" fmla="*/ 1950261 w 7467600"/>
              <a:gd name="connsiteY401" fmla="*/ 6405858 h 6858000"/>
              <a:gd name="connsiteX402" fmla="*/ 2365554 w 7467600"/>
              <a:gd name="connsiteY402" fmla="*/ 6759107 h 6858000"/>
              <a:gd name="connsiteX403" fmla="*/ 2424142 w 7467600"/>
              <a:gd name="connsiteY403" fmla="*/ 6858000 h 6858000"/>
              <a:gd name="connsiteX404" fmla="*/ 2395994 w 7467600"/>
              <a:gd name="connsiteY404" fmla="*/ 6858000 h 6858000"/>
              <a:gd name="connsiteX405" fmla="*/ 2392863 w 7467600"/>
              <a:gd name="connsiteY405" fmla="*/ 6852964 h 6858000"/>
              <a:gd name="connsiteX406" fmla="*/ 2017589 w 7467600"/>
              <a:gd name="connsiteY406" fmla="*/ 6493982 h 6858000"/>
              <a:gd name="connsiteX407" fmla="*/ 2147336 w 7467600"/>
              <a:gd name="connsiteY407" fmla="*/ 6594052 h 6858000"/>
              <a:gd name="connsiteX408" fmla="*/ 2207047 w 7467600"/>
              <a:gd name="connsiteY408" fmla="*/ 6654540 h 6858000"/>
              <a:gd name="connsiteX409" fmla="*/ 2299106 w 7467600"/>
              <a:gd name="connsiteY409" fmla="*/ 6778931 h 6858000"/>
              <a:gd name="connsiteX410" fmla="*/ 2314430 w 7467600"/>
              <a:gd name="connsiteY410" fmla="*/ 6801144 h 6858000"/>
              <a:gd name="connsiteX411" fmla="*/ 2352406 w 7467600"/>
              <a:gd name="connsiteY411" fmla="*/ 6858000 h 6858000"/>
              <a:gd name="connsiteX412" fmla="*/ 2314492 w 7467600"/>
              <a:gd name="connsiteY412" fmla="*/ 6858000 h 6858000"/>
              <a:gd name="connsiteX413" fmla="*/ 2288095 w 7467600"/>
              <a:gd name="connsiteY413" fmla="*/ 6818030 h 6858000"/>
              <a:gd name="connsiteX414" fmla="*/ 2272768 w 7467600"/>
              <a:gd name="connsiteY414" fmla="*/ 6795822 h 6858000"/>
              <a:gd name="connsiteX415" fmla="*/ 2182715 w 7467600"/>
              <a:gd name="connsiteY415" fmla="*/ 6675071 h 6858000"/>
              <a:gd name="connsiteX416" fmla="*/ 2032061 w 7467600"/>
              <a:gd name="connsiteY416" fmla="*/ 6541380 h 6858000"/>
              <a:gd name="connsiteX417" fmla="*/ 2257220 w 7467600"/>
              <a:gd name="connsiteY417" fmla="*/ 6826257 h 6858000"/>
              <a:gd name="connsiteX418" fmla="*/ 2281324 w 7467600"/>
              <a:gd name="connsiteY418" fmla="*/ 6858000 h 6858000"/>
              <a:gd name="connsiteX419" fmla="*/ 2242860 w 7467600"/>
              <a:gd name="connsiteY419" fmla="*/ 6858000 h 6858000"/>
              <a:gd name="connsiteX420" fmla="*/ 2232818 w 7467600"/>
              <a:gd name="connsiteY420" fmla="*/ 6844926 h 6858000"/>
              <a:gd name="connsiteX421" fmla="*/ 1990172 w 7467600"/>
              <a:gd name="connsiteY421" fmla="*/ 6542121 h 6858000"/>
              <a:gd name="connsiteX422" fmla="*/ 2124090 w 7467600"/>
              <a:gd name="connsiteY422" fmla="*/ 6761017 h 6858000"/>
              <a:gd name="connsiteX423" fmla="*/ 2200380 w 7467600"/>
              <a:gd name="connsiteY423" fmla="*/ 6858000 h 6858000"/>
              <a:gd name="connsiteX424" fmla="*/ 2147507 w 7467600"/>
              <a:gd name="connsiteY424" fmla="*/ 6858000 h 6858000"/>
              <a:gd name="connsiteX425" fmla="*/ 2070668 w 7467600"/>
              <a:gd name="connsiteY425" fmla="*/ 6761520 h 6858000"/>
              <a:gd name="connsiteX426" fmla="*/ 1975142 w 7467600"/>
              <a:gd name="connsiteY426" fmla="*/ 6585570 h 6858000"/>
              <a:gd name="connsiteX427" fmla="*/ 2050035 w 7467600"/>
              <a:gd name="connsiteY427" fmla="*/ 6813345 h 6858000"/>
              <a:gd name="connsiteX428" fmla="*/ 2063025 w 7467600"/>
              <a:gd name="connsiteY428" fmla="*/ 6858000 h 6858000"/>
              <a:gd name="connsiteX429" fmla="*/ 2021675 w 7467600"/>
              <a:gd name="connsiteY429" fmla="*/ 6858000 h 6858000"/>
              <a:gd name="connsiteX430" fmla="*/ 2019308 w 7467600"/>
              <a:gd name="connsiteY430" fmla="*/ 6847118 h 6858000"/>
              <a:gd name="connsiteX431" fmla="*/ 1938835 w 7467600"/>
              <a:gd name="connsiteY431" fmla="*/ 6551160 h 6858000"/>
              <a:gd name="connsiteX432" fmla="*/ 1953230 w 7467600"/>
              <a:gd name="connsiteY432" fmla="*/ 6759699 h 6858000"/>
              <a:gd name="connsiteX433" fmla="*/ 1956763 w 7467600"/>
              <a:gd name="connsiteY433" fmla="*/ 6778191 h 6858000"/>
              <a:gd name="connsiteX434" fmla="*/ 1967925 w 7467600"/>
              <a:gd name="connsiteY434" fmla="*/ 6858000 h 6858000"/>
              <a:gd name="connsiteX435" fmla="*/ 1936622 w 7467600"/>
              <a:gd name="connsiteY435" fmla="*/ 6858000 h 6858000"/>
              <a:gd name="connsiteX436" fmla="*/ 1926261 w 7467600"/>
              <a:gd name="connsiteY436" fmla="*/ 6784064 h 6858000"/>
              <a:gd name="connsiteX437" fmla="*/ 1922724 w 7467600"/>
              <a:gd name="connsiteY437" fmla="*/ 6765577 h 6858000"/>
              <a:gd name="connsiteX438" fmla="*/ 1904650 w 7467600"/>
              <a:gd name="connsiteY438" fmla="*/ 6639616 h 6858000"/>
              <a:gd name="connsiteX439" fmla="*/ 1885273 w 7467600"/>
              <a:gd name="connsiteY439" fmla="*/ 6858000 h 6858000"/>
              <a:gd name="connsiteX440" fmla="*/ 1854363 w 7467600"/>
              <a:gd name="connsiteY440" fmla="*/ 6858000 h 6858000"/>
              <a:gd name="connsiteX441" fmla="*/ 1880391 w 7467600"/>
              <a:gd name="connsiteY441" fmla="*/ 6603796 h 6858000"/>
              <a:gd name="connsiteX442" fmla="*/ 1818273 w 7467600"/>
              <a:gd name="connsiteY442" fmla="*/ 6715729 h 6858000"/>
              <a:gd name="connsiteX443" fmla="*/ 1794691 w 7467600"/>
              <a:gd name="connsiteY443" fmla="*/ 6843239 h 6858000"/>
              <a:gd name="connsiteX444" fmla="*/ 1794914 w 7467600"/>
              <a:gd name="connsiteY444" fmla="*/ 6858000 h 6858000"/>
              <a:gd name="connsiteX445" fmla="*/ 1746128 w 7467600"/>
              <a:gd name="connsiteY445" fmla="*/ 6858000 h 6858000"/>
              <a:gd name="connsiteX446" fmla="*/ 1753934 w 7467600"/>
              <a:gd name="connsiteY446" fmla="*/ 6724796 h 6858000"/>
              <a:gd name="connsiteX447" fmla="*/ 1792053 w 7467600"/>
              <a:gd name="connsiteY447" fmla="*/ 6572396 h 6858000"/>
              <a:gd name="connsiteX448" fmla="*/ 1862248 w 7467600"/>
              <a:gd name="connsiteY448" fmla="*/ 6266397 h 6858000"/>
              <a:gd name="connsiteX449" fmla="*/ 1862250 w 7467600"/>
              <a:gd name="connsiteY449" fmla="*/ 6033531 h 6858000"/>
              <a:gd name="connsiteX450" fmla="*/ 1211999 w 7467600"/>
              <a:gd name="connsiteY450" fmla="*/ 6683610 h 6858000"/>
              <a:gd name="connsiteX451" fmla="*/ 1213266 w 7467600"/>
              <a:gd name="connsiteY451" fmla="*/ 6691947 h 6858000"/>
              <a:gd name="connsiteX452" fmla="*/ 1203370 w 7467600"/>
              <a:gd name="connsiteY452" fmla="*/ 6850676 h 6858000"/>
              <a:gd name="connsiteX453" fmla="*/ 1203671 w 7467600"/>
              <a:gd name="connsiteY453" fmla="*/ 6858000 h 6858000"/>
              <a:gd name="connsiteX454" fmla="*/ 1143180 w 7467600"/>
              <a:gd name="connsiteY454" fmla="*/ 6858000 h 6858000"/>
              <a:gd name="connsiteX455" fmla="*/ 1142176 w 7467600"/>
              <a:gd name="connsiteY455" fmla="*/ 6766045 h 6858000"/>
              <a:gd name="connsiteX456" fmla="*/ 1067484 w 7467600"/>
              <a:gd name="connsiteY456" fmla="*/ 6858000 h 6858000"/>
              <a:gd name="connsiteX457" fmla="*/ 953928 w 7467600"/>
              <a:gd name="connsiteY457" fmla="*/ 6858000 h 6858000"/>
              <a:gd name="connsiteX458" fmla="*/ 959715 w 7467600"/>
              <a:gd name="connsiteY458" fmla="*/ 6850185 h 6858000"/>
              <a:gd name="connsiteX459" fmla="*/ 1483788 w 7467600"/>
              <a:gd name="connsiteY459" fmla="*/ 6259174 h 6858000"/>
              <a:gd name="connsiteX460" fmla="*/ 1100671 w 7467600"/>
              <a:gd name="connsiteY460" fmla="*/ 6252137 h 6858000"/>
              <a:gd name="connsiteX461" fmla="*/ 1090144 w 7467600"/>
              <a:gd name="connsiteY461" fmla="*/ 6256748 h 6858000"/>
              <a:gd name="connsiteX462" fmla="*/ 1095872 w 7467600"/>
              <a:gd name="connsiteY462" fmla="*/ 6271892 h 6858000"/>
              <a:gd name="connsiteX463" fmla="*/ 262785 w 7467600"/>
              <a:gd name="connsiteY463" fmla="*/ 6845450 h 6858000"/>
              <a:gd name="connsiteX464" fmla="*/ 209968 w 7467600"/>
              <a:gd name="connsiteY464" fmla="*/ 6770713 h 6858000"/>
              <a:gd name="connsiteX465" fmla="*/ 873460 w 7467600"/>
              <a:gd name="connsiteY465" fmla="*/ 6253768 h 6858000"/>
              <a:gd name="connsiteX466" fmla="*/ 192686 w 7467600"/>
              <a:gd name="connsiteY466" fmla="*/ 5849257 h 6858000"/>
              <a:gd name="connsiteX467" fmla="*/ 4696 w 7467600"/>
              <a:gd name="connsiteY467" fmla="*/ 5697668 h 6858000"/>
              <a:gd name="connsiteX468" fmla="*/ 0 w 7467600"/>
              <a:gd name="connsiteY468" fmla="*/ 5689984 h 6858000"/>
              <a:gd name="connsiteX469" fmla="*/ 0 w 7467600"/>
              <a:gd name="connsiteY469" fmla="*/ 5513472 h 6858000"/>
              <a:gd name="connsiteX470" fmla="*/ 174101 w 7467600"/>
              <a:gd name="connsiteY470" fmla="*/ 5620277 h 6858000"/>
              <a:gd name="connsiteX471" fmla="*/ 891800 w 7467600"/>
              <a:gd name="connsiteY471" fmla="*/ 6036935 h 6858000"/>
              <a:gd name="connsiteX472" fmla="*/ 1072219 w 7467600"/>
              <a:gd name="connsiteY472" fmla="*/ 6169443 h 6858000"/>
              <a:gd name="connsiteX473" fmla="*/ 1074117 w 7467600"/>
              <a:gd name="connsiteY473" fmla="*/ 6170301 h 6858000"/>
              <a:gd name="connsiteX474" fmla="*/ 1083114 w 7467600"/>
              <a:gd name="connsiteY474" fmla="*/ 6174131 h 6858000"/>
              <a:gd name="connsiteX475" fmla="*/ 1543010 w 7467600"/>
              <a:gd name="connsiteY475" fmla="*/ 6191140 h 6858000"/>
              <a:gd name="connsiteX476" fmla="*/ 1551080 w 7467600"/>
              <a:gd name="connsiteY476" fmla="*/ 6195006 h 6858000"/>
              <a:gd name="connsiteX477" fmla="*/ 2345443 w 7467600"/>
              <a:gd name="connsiteY477" fmla="*/ 5549882 h 6858000"/>
              <a:gd name="connsiteX478" fmla="*/ 1721499 w 7467600"/>
              <a:gd name="connsiteY478" fmla="*/ 5599969 h 6858000"/>
              <a:gd name="connsiteX479" fmla="*/ 767716 w 7467600"/>
              <a:gd name="connsiteY479" fmla="*/ 5472768 h 6858000"/>
              <a:gd name="connsiteX480" fmla="*/ 722147 w 7467600"/>
              <a:gd name="connsiteY480" fmla="*/ 5393091 h 6858000"/>
              <a:gd name="connsiteX481" fmla="*/ 1485552 w 7467600"/>
              <a:gd name="connsiteY481" fmla="*/ 5313202 h 6858000"/>
              <a:gd name="connsiteX482" fmla="*/ 2143004 w 7467600"/>
              <a:gd name="connsiteY482" fmla="*/ 5402420 h 6858000"/>
              <a:gd name="connsiteX483" fmla="*/ 1933391 w 7467600"/>
              <a:gd name="connsiteY483" fmla="*/ 5156971 h 6858000"/>
              <a:gd name="connsiteX484" fmla="*/ 1827118 w 7467600"/>
              <a:gd name="connsiteY484" fmla="*/ 4968410 h 6858000"/>
              <a:gd name="connsiteX485" fmla="*/ 1837349 w 7467600"/>
              <a:gd name="connsiteY485" fmla="*/ 4956357 h 6858000"/>
              <a:gd name="connsiteX486" fmla="*/ 2162835 w 7467600"/>
              <a:gd name="connsiteY486" fmla="*/ 5187853 h 6858000"/>
              <a:gd name="connsiteX487" fmla="*/ 2257167 w 7467600"/>
              <a:gd name="connsiteY487" fmla="*/ 5462123 h 6858000"/>
              <a:gd name="connsiteX488" fmla="*/ 2261598 w 7467600"/>
              <a:gd name="connsiteY488" fmla="*/ 5467998 h 6858000"/>
              <a:gd name="connsiteX489" fmla="*/ 2437177 w 7467600"/>
              <a:gd name="connsiteY489" fmla="*/ 5479608 h 6858000"/>
              <a:gd name="connsiteX490" fmla="*/ 2445247 w 7467600"/>
              <a:gd name="connsiteY490" fmla="*/ 5483476 h 6858000"/>
              <a:gd name="connsiteX491" fmla="*/ 2743626 w 7467600"/>
              <a:gd name="connsiteY491" fmla="*/ 5304819 h 6858000"/>
              <a:gd name="connsiteX492" fmla="*/ 3048102 w 7467600"/>
              <a:gd name="connsiteY492" fmla="*/ 5150595 h 6858000"/>
              <a:gd name="connsiteX493" fmla="*/ 1799414 w 7467600"/>
              <a:gd name="connsiteY493" fmla="*/ 4694732 h 6858000"/>
              <a:gd name="connsiteX494" fmla="*/ 1771735 w 7467600"/>
              <a:gd name="connsiteY494" fmla="*/ 4619929 h 6858000"/>
              <a:gd name="connsiteX495" fmla="*/ 3104273 w 7467600"/>
              <a:gd name="connsiteY495" fmla="*/ 5076159 h 6858000"/>
              <a:gd name="connsiteX496" fmla="*/ 3113245 w 7467600"/>
              <a:gd name="connsiteY496" fmla="*/ 5090705 h 6858000"/>
              <a:gd name="connsiteX497" fmla="*/ 3126294 w 7467600"/>
              <a:gd name="connsiteY497" fmla="*/ 5114400 h 6858000"/>
              <a:gd name="connsiteX498" fmla="*/ 3937433 w 7467600"/>
              <a:gd name="connsiteY498" fmla="*/ 4830473 h 6858000"/>
              <a:gd name="connsiteX499" fmla="*/ 3590475 w 7467600"/>
              <a:gd name="connsiteY499" fmla="*/ 4597974 h 6858000"/>
              <a:gd name="connsiteX500" fmla="*/ 3100264 w 7467600"/>
              <a:gd name="connsiteY500" fmla="*/ 4579845 h 6858000"/>
              <a:gd name="connsiteX501" fmla="*/ 2183576 w 7467600"/>
              <a:gd name="connsiteY501" fmla="*/ 4227150 h 6858000"/>
              <a:gd name="connsiteX502" fmla="*/ 2151029 w 7467600"/>
              <a:gd name="connsiteY502" fmla="*/ 4146947 h 6858000"/>
              <a:gd name="connsiteX503" fmla="*/ 3563434 w 7467600"/>
              <a:gd name="connsiteY503" fmla="*/ 4469115 h 6858000"/>
              <a:gd name="connsiteX504" fmla="*/ 3177952 w 7467600"/>
              <a:gd name="connsiteY504" fmla="*/ 3657386 h 6858000"/>
              <a:gd name="connsiteX505" fmla="*/ 3189263 w 7467600"/>
              <a:gd name="connsiteY505" fmla="*/ 3625726 h 6858000"/>
              <a:gd name="connsiteX506" fmla="*/ 3560912 w 7467600"/>
              <a:gd name="connsiteY506" fmla="*/ 4079863 h 6858000"/>
              <a:gd name="connsiteX507" fmla="*/ 3626636 w 7467600"/>
              <a:gd name="connsiteY507" fmla="*/ 4512230 h 6858000"/>
              <a:gd name="connsiteX508" fmla="*/ 3653088 w 7467600"/>
              <a:gd name="connsiteY508" fmla="*/ 4521417 h 6858000"/>
              <a:gd name="connsiteX509" fmla="*/ 3988128 w 7467600"/>
              <a:gd name="connsiteY509" fmla="*/ 4817267 h 6858000"/>
              <a:gd name="connsiteX510" fmla="*/ 4830582 w 7467600"/>
              <a:gd name="connsiteY510" fmla="*/ 4676000 h 6858000"/>
              <a:gd name="connsiteX511" fmla="*/ 4830100 w 7467600"/>
              <a:gd name="connsiteY511" fmla="*/ 4675554 h 6858000"/>
              <a:gd name="connsiteX512" fmla="*/ 4036318 w 7467600"/>
              <a:gd name="connsiteY512" fmla="*/ 4147013 h 6858000"/>
              <a:gd name="connsiteX513" fmla="*/ 3432098 w 7467600"/>
              <a:gd name="connsiteY513" fmla="*/ 3537312 h 6858000"/>
              <a:gd name="connsiteX514" fmla="*/ 3446761 w 7467600"/>
              <a:gd name="connsiteY514" fmla="*/ 3461278 h 6858000"/>
              <a:gd name="connsiteX515" fmla="*/ 4419733 w 7467600"/>
              <a:gd name="connsiteY515" fmla="*/ 3963555 h 6858000"/>
              <a:gd name="connsiteX516" fmla="*/ 4781371 w 7467600"/>
              <a:gd name="connsiteY516" fmla="*/ 4458604 h 6858000"/>
              <a:gd name="connsiteX517" fmla="*/ 4780440 w 7467600"/>
              <a:gd name="connsiteY517" fmla="*/ 4470290 h 6858000"/>
              <a:gd name="connsiteX518" fmla="*/ 4898954 w 7467600"/>
              <a:gd name="connsiteY518" fmla="*/ 4662092 h 6858000"/>
              <a:gd name="connsiteX519" fmla="*/ 4900699 w 7467600"/>
              <a:gd name="connsiteY519" fmla="*/ 4670867 h 6858000"/>
              <a:gd name="connsiteX520" fmla="*/ 5714511 w 7467600"/>
              <a:gd name="connsiteY520" fmla="*/ 4663483 h 6858000"/>
              <a:gd name="connsiteX521" fmla="*/ 5464793 w 7467600"/>
              <a:gd name="connsiteY521" fmla="*/ 4393556 h 6858000"/>
              <a:gd name="connsiteX522" fmla="*/ 5461897 w 7467600"/>
              <a:gd name="connsiteY522" fmla="*/ 4390879 h 6858000"/>
              <a:gd name="connsiteX523" fmla="*/ 4294126 w 7467600"/>
              <a:gd name="connsiteY523" fmla="*/ 3303048 h 6858000"/>
              <a:gd name="connsiteX524" fmla="*/ 4305321 w 7467600"/>
              <a:gd name="connsiteY524" fmla="*/ 3256953 h 6858000"/>
              <a:gd name="connsiteX525" fmla="*/ 4949299 w 7467600"/>
              <a:gd name="connsiteY525" fmla="*/ 3766336 h 6858000"/>
              <a:gd name="connsiteX526" fmla="*/ 5291452 w 7467600"/>
              <a:gd name="connsiteY526" fmla="*/ 4076801 h 6858000"/>
              <a:gd name="connsiteX527" fmla="*/ 5434998 w 7467600"/>
              <a:gd name="connsiteY527" fmla="*/ 4254100 h 6858000"/>
              <a:gd name="connsiteX528" fmla="*/ 5351015 w 7467600"/>
              <a:gd name="connsiteY528" fmla="*/ 3760989 h 6858000"/>
              <a:gd name="connsiteX529" fmla="*/ 5413780 w 7467600"/>
              <a:gd name="connsiteY529" fmla="*/ 2966265 h 6858000"/>
              <a:gd name="connsiteX530" fmla="*/ 5425627 w 7467600"/>
              <a:gd name="connsiteY530" fmla="*/ 2954192 h 6858000"/>
              <a:gd name="connsiteX531" fmla="*/ 6604735 w 7467600"/>
              <a:gd name="connsiteY531" fmla="*/ 2041381 h 6858000"/>
              <a:gd name="connsiteX532" fmla="*/ 7204487 w 7467600"/>
              <a:gd name="connsiteY532" fmla="*/ 2742112 h 6858000"/>
              <a:gd name="connsiteX533" fmla="*/ 7131592 w 7467600"/>
              <a:gd name="connsiteY533" fmla="*/ 2672096 h 6858000"/>
              <a:gd name="connsiteX534" fmla="*/ 6996344 w 7467600"/>
              <a:gd name="connsiteY534" fmla="*/ 2518310 h 6858000"/>
              <a:gd name="connsiteX535" fmla="*/ 6735495 w 7467600"/>
              <a:gd name="connsiteY535" fmla="*/ 2196890 h 6858000"/>
              <a:gd name="connsiteX536" fmla="*/ 6721901 w 7467600"/>
              <a:gd name="connsiteY536" fmla="*/ 2179274 h 6858000"/>
              <a:gd name="connsiteX537" fmla="*/ 6604735 w 7467600"/>
              <a:gd name="connsiteY537" fmla="*/ 2041381 h 6858000"/>
              <a:gd name="connsiteX538" fmla="*/ 6591670 w 7467600"/>
              <a:gd name="connsiteY538" fmla="*/ 1988277 h 6858000"/>
              <a:gd name="connsiteX539" fmla="*/ 6747349 w 7467600"/>
              <a:gd name="connsiteY539" fmla="*/ 2160069 h 6858000"/>
              <a:gd name="connsiteX540" fmla="*/ 6760943 w 7467600"/>
              <a:gd name="connsiteY540" fmla="*/ 2177686 h 6858000"/>
              <a:gd name="connsiteX541" fmla="*/ 7021065 w 7467600"/>
              <a:gd name="connsiteY541" fmla="*/ 2498102 h 6858000"/>
              <a:gd name="connsiteX542" fmla="*/ 7155223 w 7467600"/>
              <a:gd name="connsiteY542" fmla="*/ 2650386 h 6858000"/>
              <a:gd name="connsiteX543" fmla="*/ 7203167 w 7467600"/>
              <a:gd name="connsiteY543" fmla="*/ 2697288 h 6858000"/>
              <a:gd name="connsiteX544" fmla="*/ 6937703 w 7467600"/>
              <a:gd name="connsiteY544" fmla="*/ 2321981 h 6858000"/>
              <a:gd name="connsiteX545" fmla="*/ 6591670 w 7467600"/>
              <a:gd name="connsiteY545" fmla="*/ 1988277 h 6858000"/>
              <a:gd name="connsiteX546" fmla="*/ 5798671 w 7467600"/>
              <a:gd name="connsiteY546" fmla="*/ 1981601 h 6858000"/>
              <a:gd name="connsiteX547" fmla="*/ 5754709 w 7467600"/>
              <a:gd name="connsiteY547" fmla="*/ 2071454 h 6858000"/>
              <a:gd name="connsiteX548" fmla="*/ 5763044 w 7467600"/>
              <a:gd name="connsiteY548" fmla="*/ 2842206 h 6858000"/>
              <a:gd name="connsiteX549" fmla="*/ 5764974 w 7467600"/>
              <a:gd name="connsiteY549" fmla="*/ 2799609 h 6858000"/>
              <a:gd name="connsiteX550" fmla="*/ 5767665 w 7467600"/>
              <a:gd name="connsiteY550" fmla="*/ 2666409 h 6858000"/>
              <a:gd name="connsiteX551" fmla="*/ 5763055 w 7467600"/>
              <a:gd name="connsiteY551" fmla="*/ 2579705 h 6858000"/>
              <a:gd name="connsiteX552" fmla="*/ 5758079 w 7467600"/>
              <a:gd name="connsiteY552" fmla="*/ 2492508 h 6858000"/>
              <a:gd name="connsiteX553" fmla="*/ 5779325 w 7467600"/>
              <a:gd name="connsiteY553" fmla="*/ 2197069 h 6858000"/>
              <a:gd name="connsiteX554" fmla="*/ 5798671 w 7467600"/>
              <a:gd name="connsiteY554" fmla="*/ 1981601 h 6858000"/>
              <a:gd name="connsiteX555" fmla="*/ 5829202 w 7467600"/>
              <a:gd name="connsiteY555" fmla="*/ 1971679 h 6858000"/>
              <a:gd name="connsiteX556" fmla="*/ 5809558 w 7467600"/>
              <a:gd name="connsiteY556" fmla="*/ 2198043 h 6858000"/>
              <a:gd name="connsiteX557" fmla="*/ 5788653 w 7467600"/>
              <a:gd name="connsiteY557" fmla="*/ 2489430 h 6858000"/>
              <a:gd name="connsiteX558" fmla="*/ 5793439 w 7467600"/>
              <a:gd name="connsiteY558" fmla="*/ 2575235 h 6858000"/>
              <a:gd name="connsiteX559" fmla="*/ 5796837 w 7467600"/>
              <a:gd name="connsiteY559" fmla="*/ 2637633 h 6858000"/>
              <a:gd name="connsiteX560" fmla="*/ 5818614 w 7467600"/>
              <a:gd name="connsiteY560" fmla="*/ 2473055 h 6858000"/>
              <a:gd name="connsiteX561" fmla="*/ 5829202 w 7467600"/>
              <a:gd name="connsiteY561" fmla="*/ 1971679 h 6858000"/>
              <a:gd name="connsiteX562" fmla="*/ 5911389 w 7467600"/>
              <a:gd name="connsiteY562" fmla="*/ 1898371 h 6858000"/>
              <a:gd name="connsiteX563" fmla="*/ 6237627 w 7467600"/>
              <a:gd name="connsiteY563" fmla="*/ 2231921 h 6858000"/>
              <a:gd name="connsiteX564" fmla="*/ 5911389 w 7467600"/>
              <a:gd name="connsiteY564" fmla="*/ 1898371 h 6858000"/>
              <a:gd name="connsiteX565" fmla="*/ 6944437 w 7467600"/>
              <a:gd name="connsiteY565" fmla="*/ 1575402 h 6858000"/>
              <a:gd name="connsiteX566" fmla="*/ 6304730 w 7467600"/>
              <a:gd name="connsiteY566" fmla="*/ 1766654 h 6858000"/>
              <a:gd name="connsiteX567" fmla="*/ 6944437 w 7467600"/>
              <a:gd name="connsiteY567" fmla="*/ 1575402 h 6858000"/>
              <a:gd name="connsiteX568" fmla="*/ 7019523 w 7467600"/>
              <a:gd name="connsiteY568" fmla="*/ 1519450 h 6858000"/>
              <a:gd name="connsiteX569" fmla="*/ 6298091 w 7467600"/>
              <a:gd name="connsiteY569" fmla="*/ 1737122 h 6858000"/>
              <a:gd name="connsiteX570" fmla="*/ 7019523 w 7467600"/>
              <a:gd name="connsiteY570" fmla="*/ 1519450 h 6858000"/>
              <a:gd name="connsiteX571" fmla="*/ 2399523 w 7467600"/>
              <a:gd name="connsiteY571" fmla="*/ 1428234 h 6858000"/>
              <a:gd name="connsiteX572" fmla="*/ 2224982 w 7467600"/>
              <a:gd name="connsiteY572" fmla="*/ 1826201 h 6858000"/>
              <a:gd name="connsiteX573" fmla="*/ 2096099 w 7467600"/>
              <a:gd name="connsiteY573" fmla="*/ 2345900 h 6858000"/>
              <a:gd name="connsiteX574" fmla="*/ 2283317 w 7467600"/>
              <a:gd name="connsiteY574" fmla="*/ 1796925 h 6858000"/>
              <a:gd name="connsiteX575" fmla="*/ 2399523 w 7467600"/>
              <a:gd name="connsiteY575" fmla="*/ 1428234 h 6858000"/>
              <a:gd name="connsiteX576" fmla="*/ 2448558 w 7467600"/>
              <a:gd name="connsiteY576" fmla="*/ 1373435 h 6858000"/>
              <a:gd name="connsiteX577" fmla="*/ 2312521 w 7467600"/>
              <a:gd name="connsiteY577" fmla="*/ 1806140 h 6858000"/>
              <a:gd name="connsiteX578" fmla="*/ 2127533 w 7467600"/>
              <a:gd name="connsiteY578" fmla="*/ 2348380 h 6858000"/>
              <a:gd name="connsiteX579" fmla="*/ 2358080 w 7467600"/>
              <a:gd name="connsiteY579" fmla="*/ 1866134 h 6858000"/>
              <a:gd name="connsiteX580" fmla="*/ 2407436 w 7467600"/>
              <a:gd name="connsiteY580" fmla="*/ 1651070 h 6858000"/>
              <a:gd name="connsiteX581" fmla="*/ 2448558 w 7467600"/>
              <a:gd name="connsiteY581" fmla="*/ 1373435 h 6858000"/>
              <a:gd name="connsiteX582" fmla="*/ 278707 w 7467600"/>
              <a:gd name="connsiteY582" fmla="*/ 1352270 h 6858000"/>
              <a:gd name="connsiteX583" fmla="*/ 321570 w 7467600"/>
              <a:gd name="connsiteY583" fmla="*/ 1861610 h 6858000"/>
              <a:gd name="connsiteX584" fmla="*/ 294281 w 7467600"/>
              <a:gd name="connsiteY584" fmla="*/ 1440658 h 6858000"/>
              <a:gd name="connsiteX585" fmla="*/ 278707 w 7467600"/>
              <a:gd name="connsiteY585" fmla="*/ 1352270 h 6858000"/>
              <a:gd name="connsiteX586" fmla="*/ 1423821 w 7467600"/>
              <a:gd name="connsiteY586" fmla="*/ 1351958 h 6858000"/>
              <a:gd name="connsiteX587" fmla="*/ 1638521 w 7467600"/>
              <a:gd name="connsiteY587" fmla="*/ 1908470 h 6858000"/>
              <a:gd name="connsiteX588" fmla="*/ 1754199 w 7467600"/>
              <a:gd name="connsiteY588" fmla="*/ 2149284 h 6858000"/>
              <a:gd name="connsiteX589" fmla="*/ 1908359 w 7467600"/>
              <a:gd name="connsiteY589" fmla="*/ 2364988 h 6858000"/>
              <a:gd name="connsiteX590" fmla="*/ 1647661 w 7467600"/>
              <a:gd name="connsiteY590" fmla="*/ 1825945 h 6858000"/>
              <a:gd name="connsiteX591" fmla="*/ 1423821 w 7467600"/>
              <a:gd name="connsiteY591" fmla="*/ 1351958 h 6858000"/>
              <a:gd name="connsiteX592" fmla="*/ 1431890 w 7467600"/>
              <a:gd name="connsiteY592" fmla="*/ 1306475 h 6858000"/>
              <a:gd name="connsiteX593" fmla="*/ 1507597 w 7467600"/>
              <a:gd name="connsiteY593" fmla="*/ 1446132 h 6858000"/>
              <a:gd name="connsiteX594" fmla="*/ 1674586 w 7467600"/>
              <a:gd name="connsiteY594" fmla="*/ 1813832 h 6858000"/>
              <a:gd name="connsiteX595" fmla="*/ 1815950 w 7467600"/>
              <a:gd name="connsiteY595" fmla="*/ 2128564 h 6858000"/>
              <a:gd name="connsiteX596" fmla="*/ 1984242 w 7467600"/>
              <a:gd name="connsiteY596" fmla="*/ 2430829 h 6858000"/>
              <a:gd name="connsiteX597" fmla="*/ 2014023 w 7467600"/>
              <a:gd name="connsiteY597" fmla="*/ 2450995 h 6858000"/>
              <a:gd name="connsiteX598" fmla="*/ 1747337 w 7467600"/>
              <a:gd name="connsiteY598" fmla="*/ 1855264 h 6858000"/>
              <a:gd name="connsiteX599" fmla="*/ 1533749 w 7467600"/>
              <a:gd name="connsiteY599" fmla="*/ 1478656 h 6858000"/>
              <a:gd name="connsiteX600" fmla="*/ 1431890 w 7467600"/>
              <a:gd name="connsiteY600" fmla="*/ 1306475 h 6858000"/>
              <a:gd name="connsiteX601" fmla="*/ 5052692 w 7467600"/>
              <a:gd name="connsiteY601" fmla="*/ 1292994 h 6858000"/>
              <a:gd name="connsiteX602" fmla="*/ 5200661 w 7467600"/>
              <a:gd name="connsiteY602" fmla="*/ 1635186 h 6858000"/>
              <a:gd name="connsiteX603" fmla="*/ 5297138 w 7467600"/>
              <a:gd name="connsiteY603" fmla="*/ 1906351 h 6858000"/>
              <a:gd name="connsiteX604" fmla="*/ 5052692 w 7467600"/>
              <a:gd name="connsiteY604" fmla="*/ 1292994 h 6858000"/>
              <a:gd name="connsiteX605" fmla="*/ 5009948 w 7467600"/>
              <a:gd name="connsiteY605" fmla="*/ 1273619 h 6858000"/>
              <a:gd name="connsiteX606" fmla="*/ 5121777 w 7467600"/>
              <a:gd name="connsiteY606" fmla="*/ 1654213 h 6858000"/>
              <a:gd name="connsiteX607" fmla="*/ 5293545 w 7467600"/>
              <a:gd name="connsiteY607" fmla="*/ 2072247 h 6858000"/>
              <a:gd name="connsiteX608" fmla="*/ 5294042 w 7467600"/>
              <a:gd name="connsiteY608" fmla="*/ 2065019 h 6858000"/>
              <a:gd name="connsiteX609" fmla="*/ 5171936 w 7467600"/>
              <a:gd name="connsiteY609" fmla="*/ 1647613 h 6858000"/>
              <a:gd name="connsiteX610" fmla="*/ 5009948 w 7467600"/>
              <a:gd name="connsiteY610" fmla="*/ 1273619 h 6858000"/>
              <a:gd name="connsiteX611" fmla="*/ 655236 w 7467600"/>
              <a:gd name="connsiteY611" fmla="*/ 1268632 h 6858000"/>
              <a:gd name="connsiteX612" fmla="*/ 839521 w 7467600"/>
              <a:gd name="connsiteY612" fmla="*/ 1685315 h 6858000"/>
              <a:gd name="connsiteX613" fmla="*/ 1109416 w 7467600"/>
              <a:gd name="connsiteY613" fmla="*/ 2061663 h 6858000"/>
              <a:gd name="connsiteX614" fmla="*/ 1298300 w 7467600"/>
              <a:gd name="connsiteY614" fmla="*/ 2247742 h 6858000"/>
              <a:gd name="connsiteX615" fmla="*/ 1125871 w 7467600"/>
              <a:gd name="connsiteY615" fmla="*/ 1989513 h 6858000"/>
              <a:gd name="connsiteX616" fmla="*/ 981574 w 7467600"/>
              <a:gd name="connsiteY616" fmla="*/ 1783157 h 6858000"/>
              <a:gd name="connsiteX617" fmla="*/ 922198 w 7467600"/>
              <a:gd name="connsiteY617" fmla="*/ 1677437 h 6858000"/>
              <a:gd name="connsiteX618" fmla="*/ 869293 w 7467600"/>
              <a:gd name="connsiteY618" fmla="*/ 1583214 h 6858000"/>
              <a:gd name="connsiteX619" fmla="*/ 751431 w 7467600"/>
              <a:gd name="connsiteY619" fmla="*/ 1405731 h 6858000"/>
              <a:gd name="connsiteX620" fmla="*/ 655236 w 7467600"/>
              <a:gd name="connsiteY620" fmla="*/ 1268632 h 6858000"/>
              <a:gd name="connsiteX621" fmla="*/ 6516292 w 7467600"/>
              <a:gd name="connsiteY621" fmla="*/ 1263064 h 6858000"/>
              <a:gd name="connsiteX622" fmla="*/ 5736320 w 7467600"/>
              <a:gd name="connsiteY622" fmla="*/ 1501803 h 6858000"/>
              <a:gd name="connsiteX623" fmla="*/ 6516292 w 7467600"/>
              <a:gd name="connsiteY623" fmla="*/ 1263064 h 6858000"/>
              <a:gd name="connsiteX624" fmla="*/ 291466 w 7467600"/>
              <a:gd name="connsiteY624" fmla="*/ 1250369 h 6858000"/>
              <a:gd name="connsiteX625" fmla="*/ 323180 w 7467600"/>
              <a:gd name="connsiteY625" fmla="*/ 1435283 h 6858000"/>
              <a:gd name="connsiteX626" fmla="*/ 349381 w 7467600"/>
              <a:gd name="connsiteY626" fmla="*/ 1875041 h 6858000"/>
              <a:gd name="connsiteX627" fmla="*/ 374363 w 7467600"/>
              <a:gd name="connsiteY627" fmla="*/ 1506494 h 6858000"/>
              <a:gd name="connsiteX628" fmla="*/ 302168 w 7467600"/>
              <a:gd name="connsiteY628" fmla="*/ 1274495 h 6858000"/>
              <a:gd name="connsiteX629" fmla="*/ 291466 w 7467600"/>
              <a:gd name="connsiteY629" fmla="*/ 1250369 h 6858000"/>
              <a:gd name="connsiteX630" fmla="*/ 678222 w 7467600"/>
              <a:gd name="connsiteY630" fmla="*/ 1248670 h 6858000"/>
              <a:gd name="connsiteX631" fmla="*/ 775536 w 7467600"/>
              <a:gd name="connsiteY631" fmla="*/ 1388015 h 6858000"/>
              <a:gd name="connsiteX632" fmla="*/ 894529 w 7467600"/>
              <a:gd name="connsiteY632" fmla="*/ 1567739 h 6858000"/>
              <a:gd name="connsiteX633" fmla="*/ 948000 w 7467600"/>
              <a:gd name="connsiteY633" fmla="*/ 1663088 h 6858000"/>
              <a:gd name="connsiteX634" fmla="*/ 1006812 w 7467600"/>
              <a:gd name="connsiteY634" fmla="*/ 1767683 h 6858000"/>
              <a:gd name="connsiteX635" fmla="*/ 1149133 w 7467600"/>
              <a:gd name="connsiteY635" fmla="*/ 1971513 h 6858000"/>
              <a:gd name="connsiteX636" fmla="*/ 1333952 w 7467600"/>
              <a:gd name="connsiteY636" fmla="*/ 2251620 h 6858000"/>
              <a:gd name="connsiteX637" fmla="*/ 1337329 w 7467600"/>
              <a:gd name="connsiteY637" fmla="*/ 2258350 h 6858000"/>
              <a:gd name="connsiteX638" fmla="*/ 1014726 w 7467600"/>
              <a:gd name="connsiteY638" fmla="*/ 1615556 h 6858000"/>
              <a:gd name="connsiteX639" fmla="*/ 678222 w 7467600"/>
              <a:gd name="connsiteY639" fmla="*/ 1248670 h 6858000"/>
              <a:gd name="connsiteX640" fmla="*/ 6691602 w 7467600"/>
              <a:gd name="connsiteY640" fmla="*/ 1140573 h 6858000"/>
              <a:gd name="connsiteX641" fmla="*/ 6571100 w 7467600"/>
              <a:gd name="connsiteY641" fmla="*/ 1183662 h 6858000"/>
              <a:gd name="connsiteX642" fmla="*/ 6241687 w 7467600"/>
              <a:gd name="connsiteY642" fmla="*/ 1257600 h 6858000"/>
              <a:gd name="connsiteX643" fmla="*/ 5693009 w 7467600"/>
              <a:gd name="connsiteY643" fmla="*/ 1478256 h 6858000"/>
              <a:gd name="connsiteX644" fmla="*/ 6548420 w 7467600"/>
              <a:gd name="connsiteY644" fmla="*/ 1214599 h 6858000"/>
              <a:gd name="connsiteX645" fmla="*/ 6605473 w 7467600"/>
              <a:gd name="connsiteY645" fmla="*/ 1184686 h 6858000"/>
              <a:gd name="connsiteX646" fmla="*/ 6691602 w 7467600"/>
              <a:gd name="connsiteY646" fmla="*/ 1140573 h 6858000"/>
              <a:gd name="connsiteX647" fmla="*/ 4002475 w 7467600"/>
              <a:gd name="connsiteY647" fmla="*/ 1037802 h 6858000"/>
              <a:gd name="connsiteX648" fmla="*/ 4000324 w 7467600"/>
              <a:gd name="connsiteY648" fmla="*/ 1039362 h 6858000"/>
              <a:gd name="connsiteX649" fmla="*/ 4002862 w 7467600"/>
              <a:gd name="connsiteY649" fmla="*/ 1042866 h 6858000"/>
              <a:gd name="connsiteX650" fmla="*/ 4002475 w 7467600"/>
              <a:gd name="connsiteY650" fmla="*/ 1037802 h 6858000"/>
              <a:gd name="connsiteX651" fmla="*/ 506322 w 7467600"/>
              <a:gd name="connsiteY651" fmla="*/ 1020997 h 6858000"/>
              <a:gd name="connsiteX652" fmla="*/ 533068 w 7467600"/>
              <a:gd name="connsiteY652" fmla="*/ 1029409 h 6858000"/>
              <a:gd name="connsiteX653" fmla="*/ 1232525 w 7467600"/>
              <a:gd name="connsiteY653" fmla="*/ 1804675 h 6858000"/>
              <a:gd name="connsiteX654" fmla="*/ 1388858 w 7467600"/>
              <a:gd name="connsiteY654" fmla="*/ 2368011 h 6858000"/>
              <a:gd name="connsiteX655" fmla="*/ 1384098 w 7467600"/>
              <a:gd name="connsiteY655" fmla="*/ 2378125 h 6858000"/>
              <a:gd name="connsiteX656" fmla="*/ 1425393 w 7467600"/>
              <a:gd name="connsiteY656" fmla="*/ 2589124 h 6858000"/>
              <a:gd name="connsiteX657" fmla="*/ 1424001 w 7467600"/>
              <a:gd name="connsiteY657" fmla="*/ 2597541 h 6858000"/>
              <a:gd name="connsiteX658" fmla="*/ 2152729 w 7467600"/>
              <a:gd name="connsiteY658" fmla="*/ 2864487 h 6858000"/>
              <a:gd name="connsiteX659" fmla="*/ 2020609 w 7467600"/>
              <a:gd name="connsiteY659" fmla="*/ 2539671 h 6858000"/>
              <a:gd name="connsiteX660" fmla="*/ 2018920 w 7467600"/>
              <a:gd name="connsiteY660" fmla="*/ 2536309 h 6858000"/>
              <a:gd name="connsiteX661" fmla="*/ 1342441 w 7467600"/>
              <a:gd name="connsiteY661" fmla="*/ 1173017 h 6858000"/>
              <a:gd name="connsiteX662" fmla="*/ 1367925 w 7467600"/>
              <a:gd name="connsiteY662" fmla="*/ 1135648 h 6858000"/>
              <a:gd name="connsiteX663" fmla="*/ 1771401 w 7467600"/>
              <a:gd name="connsiteY663" fmla="*/ 1806673 h 6858000"/>
              <a:gd name="connsiteX664" fmla="*/ 1972385 w 7467600"/>
              <a:gd name="connsiteY664" fmla="*/ 2198735 h 6858000"/>
              <a:gd name="connsiteX665" fmla="*/ 2040892 w 7467600"/>
              <a:gd name="connsiteY665" fmla="*/ 2405205 h 6858000"/>
              <a:gd name="connsiteX666" fmla="*/ 2131689 w 7467600"/>
              <a:gd name="connsiteY666" fmla="*/ 1936926 h 6858000"/>
              <a:gd name="connsiteX667" fmla="*/ 2454820 w 7467600"/>
              <a:gd name="connsiteY667" fmla="*/ 1248808 h 6858000"/>
              <a:gd name="connsiteX668" fmla="*/ 2492512 w 7467600"/>
              <a:gd name="connsiteY668" fmla="*/ 1302920 h 6858000"/>
              <a:gd name="connsiteX669" fmla="*/ 2081216 w 7467600"/>
              <a:gd name="connsiteY669" fmla="*/ 2527513 h 6858000"/>
              <a:gd name="connsiteX670" fmla="*/ 2081211 w 7467600"/>
              <a:gd name="connsiteY670" fmla="*/ 2528916 h 6858000"/>
              <a:gd name="connsiteX671" fmla="*/ 2199067 w 7467600"/>
              <a:gd name="connsiteY671" fmla="*/ 2884061 h 6858000"/>
              <a:gd name="connsiteX672" fmla="*/ 3192586 w 7467600"/>
              <a:gd name="connsiteY672" fmla="*/ 3411496 h 6858000"/>
              <a:gd name="connsiteX673" fmla="*/ 3182620 w 7467600"/>
              <a:gd name="connsiteY673" fmla="*/ 3483279 h 6858000"/>
              <a:gd name="connsiteX674" fmla="*/ 2435119 w 7467600"/>
              <a:gd name="connsiteY674" fmla="*/ 3080173 h 6858000"/>
              <a:gd name="connsiteX675" fmla="*/ 2410152 w 7467600"/>
              <a:gd name="connsiteY675" fmla="*/ 3063751 h 6858000"/>
              <a:gd name="connsiteX676" fmla="*/ 2408099 w 7467600"/>
              <a:gd name="connsiteY676" fmla="*/ 3064403 h 6858000"/>
              <a:gd name="connsiteX677" fmla="*/ 2407218 w 7467600"/>
              <a:gd name="connsiteY677" fmla="*/ 3070324 h 6858000"/>
              <a:gd name="connsiteX678" fmla="*/ 2380138 w 7467600"/>
              <a:gd name="connsiteY678" fmla="*/ 3099341 h 6858000"/>
              <a:gd name="connsiteX679" fmla="*/ 1765923 w 7467600"/>
              <a:gd name="connsiteY679" fmla="*/ 3581043 h 6858000"/>
              <a:gd name="connsiteX680" fmla="*/ 1702258 w 7467600"/>
              <a:gd name="connsiteY680" fmla="*/ 3612286 h 6858000"/>
              <a:gd name="connsiteX681" fmla="*/ 1538370 w 7467600"/>
              <a:gd name="connsiteY681" fmla="*/ 3811804 h 6858000"/>
              <a:gd name="connsiteX682" fmla="*/ 542867 w 7467600"/>
              <a:gd name="connsiteY682" fmla="*/ 4944092 h 6858000"/>
              <a:gd name="connsiteX683" fmla="*/ 515800 w 7467600"/>
              <a:gd name="connsiteY683" fmla="*/ 4862180 h 6858000"/>
              <a:gd name="connsiteX684" fmla="*/ 909145 w 7467600"/>
              <a:gd name="connsiteY684" fmla="*/ 4199225 h 6858000"/>
              <a:gd name="connsiteX685" fmla="*/ 1214067 w 7467600"/>
              <a:gd name="connsiteY685" fmla="*/ 3908561 h 6858000"/>
              <a:gd name="connsiteX686" fmla="*/ 640967 w 7467600"/>
              <a:gd name="connsiteY686" fmla="*/ 4105601 h 6858000"/>
              <a:gd name="connsiteX687" fmla="*/ 112563 w 7467600"/>
              <a:gd name="connsiteY687" fmla="*/ 4396952 h 6858000"/>
              <a:gd name="connsiteX688" fmla="*/ 0 w 7467600"/>
              <a:gd name="connsiteY688" fmla="*/ 4466006 h 6858000"/>
              <a:gd name="connsiteX689" fmla="*/ 0 w 7467600"/>
              <a:gd name="connsiteY689" fmla="*/ 4233763 h 6858000"/>
              <a:gd name="connsiteX690" fmla="*/ 36881 w 7467600"/>
              <a:gd name="connsiteY690" fmla="*/ 4200118 h 6858000"/>
              <a:gd name="connsiteX691" fmla="*/ 910534 w 7467600"/>
              <a:gd name="connsiteY691" fmla="*/ 3629753 h 6858000"/>
              <a:gd name="connsiteX692" fmla="*/ 1578717 w 7467600"/>
              <a:gd name="connsiteY692" fmla="*/ 3575982 h 6858000"/>
              <a:gd name="connsiteX693" fmla="*/ 2338780 w 7467600"/>
              <a:gd name="connsiteY693" fmla="*/ 3033725 h 6858000"/>
              <a:gd name="connsiteX694" fmla="*/ 1807991 w 7467600"/>
              <a:gd name="connsiteY694" fmla="*/ 2807184 h 6858000"/>
              <a:gd name="connsiteX695" fmla="*/ 1416358 w 7467600"/>
              <a:gd name="connsiteY695" fmla="*/ 3112571 h 6858000"/>
              <a:gd name="connsiteX696" fmla="*/ 939066 w 7467600"/>
              <a:gd name="connsiteY696" fmla="*/ 3378798 h 6858000"/>
              <a:gd name="connsiteX697" fmla="*/ 115099 w 7467600"/>
              <a:gd name="connsiteY697" fmla="*/ 3607650 h 6858000"/>
              <a:gd name="connsiteX698" fmla="*/ 97284 w 7467600"/>
              <a:gd name="connsiteY698" fmla="*/ 3520393 h 6858000"/>
              <a:gd name="connsiteX699" fmla="*/ 922050 w 7467600"/>
              <a:gd name="connsiteY699" fmla="*/ 3074867 h 6858000"/>
              <a:gd name="connsiteX700" fmla="*/ 1405265 w 7467600"/>
              <a:gd name="connsiteY700" fmla="*/ 3016319 h 6858000"/>
              <a:gd name="connsiteX701" fmla="*/ 1407512 w 7467600"/>
              <a:gd name="connsiteY701" fmla="*/ 3018001 h 6858000"/>
              <a:gd name="connsiteX702" fmla="*/ 1726266 w 7467600"/>
              <a:gd name="connsiteY702" fmla="*/ 2777274 h 6858000"/>
              <a:gd name="connsiteX703" fmla="*/ 625390 w 7467600"/>
              <a:gd name="connsiteY703" fmla="*/ 2514541 h 6858000"/>
              <a:gd name="connsiteX704" fmla="*/ 619799 w 7467600"/>
              <a:gd name="connsiteY704" fmla="*/ 2527180 h 6858000"/>
              <a:gd name="connsiteX705" fmla="*/ 310030 w 7467600"/>
              <a:gd name="connsiteY705" fmla="*/ 2771818 h 6858000"/>
              <a:gd name="connsiteX706" fmla="*/ 173877 w 7467600"/>
              <a:gd name="connsiteY706" fmla="*/ 2937056 h 6858000"/>
              <a:gd name="connsiteX707" fmla="*/ 77889 w 7467600"/>
              <a:gd name="connsiteY707" fmla="*/ 3138440 h 6858000"/>
              <a:gd name="connsiteX708" fmla="*/ 0 w 7467600"/>
              <a:gd name="connsiteY708" fmla="*/ 3271395 h 6858000"/>
              <a:gd name="connsiteX709" fmla="*/ 0 w 7467600"/>
              <a:gd name="connsiteY709" fmla="*/ 3153002 h 6858000"/>
              <a:gd name="connsiteX710" fmla="*/ 2386 w 7467600"/>
              <a:gd name="connsiteY710" fmla="*/ 3149203 h 6858000"/>
              <a:gd name="connsiteX711" fmla="*/ 89753 w 7467600"/>
              <a:gd name="connsiteY711" fmla="*/ 2987702 h 6858000"/>
              <a:gd name="connsiteX712" fmla="*/ 76869 w 7467600"/>
              <a:gd name="connsiteY712" fmla="*/ 3005404 h 6858000"/>
              <a:gd name="connsiteX713" fmla="*/ 32049 w 7467600"/>
              <a:gd name="connsiteY713" fmla="*/ 3065814 h 6858000"/>
              <a:gd name="connsiteX714" fmla="*/ 0 w 7467600"/>
              <a:gd name="connsiteY714" fmla="*/ 3108744 h 6858000"/>
              <a:gd name="connsiteX715" fmla="*/ 0 w 7467600"/>
              <a:gd name="connsiteY715" fmla="*/ 3058059 h 6858000"/>
              <a:gd name="connsiteX716" fmla="*/ 7610 w 7467600"/>
              <a:gd name="connsiteY716" fmla="*/ 3047889 h 6858000"/>
              <a:gd name="connsiteX717" fmla="*/ 52419 w 7467600"/>
              <a:gd name="connsiteY717" fmla="*/ 2987479 h 6858000"/>
              <a:gd name="connsiteX718" fmla="*/ 59142 w 7467600"/>
              <a:gd name="connsiteY718" fmla="*/ 2978488 h 6858000"/>
              <a:gd name="connsiteX719" fmla="*/ 0 w 7467600"/>
              <a:gd name="connsiteY719" fmla="*/ 3015334 h 6858000"/>
              <a:gd name="connsiteX720" fmla="*/ 0 w 7467600"/>
              <a:gd name="connsiteY720" fmla="*/ 2914286 h 6858000"/>
              <a:gd name="connsiteX721" fmla="*/ 36383 w 7467600"/>
              <a:gd name="connsiteY721" fmla="*/ 2901128 h 6858000"/>
              <a:gd name="connsiteX722" fmla="*/ 156329 w 7467600"/>
              <a:gd name="connsiteY722" fmla="*/ 2840533 h 6858000"/>
              <a:gd name="connsiteX723" fmla="*/ 358355 w 7467600"/>
              <a:gd name="connsiteY723" fmla="*/ 2620471 h 6858000"/>
              <a:gd name="connsiteX724" fmla="*/ 510577 w 7467600"/>
              <a:gd name="connsiteY724" fmla="*/ 2501244 h 6858000"/>
              <a:gd name="connsiteX725" fmla="*/ 211967 w 7467600"/>
              <a:gd name="connsiteY725" fmla="*/ 2479171 h 6858000"/>
              <a:gd name="connsiteX726" fmla="*/ 0 w 7467600"/>
              <a:gd name="connsiteY726" fmla="*/ 2476398 h 6858000"/>
              <a:gd name="connsiteX727" fmla="*/ 0 w 7467600"/>
              <a:gd name="connsiteY727" fmla="*/ 2389189 h 6858000"/>
              <a:gd name="connsiteX728" fmla="*/ 103062 w 7467600"/>
              <a:gd name="connsiteY728" fmla="*/ 2389518 h 6858000"/>
              <a:gd name="connsiteX729" fmla="*/ 510734 w 7467600"/>
              <a:gd name="connsiteY729" fmla="*/ 2416201 h 6858000"/>
              <a:gd name="connsiteX730" fmla="*/ 279257 w 7467600"/>
              <a:gd name="connsiteY730" fmla="*/ 2092102 h 6858000"/>
              <a:gd name="connsiteX731" fmla="*/ 65265 w 7467600"/>
              <a:gd name="connsiteY731" fmla="*/ 2006049 h 6858000"/>
              <a:gd name="connsiteX732" fmla="*/ 0 w 7467600"/>
              <a:gd name="connsiteY732" fmla="*/ 1982532 h 6858000"/>
              <a:gd name="connsiteX733" fmla="*/ 0 w 7467600"/>
              <a:gd name="connsiteY733" fmla="*/ 1912789 h 6858000"/>
              <a:gd name="connsiteX734" fmla="*/ 97460 w 7467600"/>
              <a:gd name="connsiteY734" fmla="*/ 1953725 h 6858000"/>
              <a:gd name="connsiteX735" fmla="*/ 221272 w 7467600"/>
              <a:gd name="connsiteY735" fmla="*/ 1980766 h 6858000"/>
              <a:gd name="connsiteX736" fmla="*/ 116765 w 7467600"/>
              <a:gd name="connsiteY736" fmla="*/ 1911033 h 6858000"/>
              <a:gd name="connsiteX737" fmla="*/ 16405 w 7467600"/>
              <a:gd name="connsiteY737" fmla="*/ 1803412 h 6858000"/>
              <a:gd name="connsiteX738" fmla="*/ 0 w 7467600"/>
              <a:gd name="connsiteY738" fmla="*/ 1784777 h 6858000"/>
              <a:gd name="connsiteX739" fmla="*/ 0 w 7467600"/>
              <a:gd name="connsiteY739" fmla="*/ 1740082 h 6858000"/>
              <a:gd name="connsiteX740" fmla="*/ 39394 w 7467600"/>
              <a:gd name="connsiteY740" fmla="*/ 1784856 h 6858000"/>
              <a:gd name="connsiteX741" fmla="*/ 135813 w 7467600"/>
              <a:gd name="connsiteY741" fmla="*/ 1888838 h 6858000"/>
              <a:gd name="connsiteX742" fmla="*/ 242575 w 7467600"/>
              <a:gd name="connsiteY742" fmla="*/ 1958841 h 6858000"/>
              <a:gd name="connsiteX743" fmla="*/ 82197 w 7467600"/>
              <a:gd name="connsiteY743" fmla="*/ 1754826 h 6858000"/>
              <a:gd name="connsiteX744" fmla="*/ 0 w 7467600"/>
              <a:gd name="connsiteY744" fmla="*/ 1679650 h 6858000"/>
              <a:gd name="connsiteX745" fmla="*/ 0 w 7467600"/>
              <a:gd name="connsiteY745" fmla="*/ 1602463 h 6858000"/>
              <a:gd name="connsiteX746" fmla="*/ 84689 w 7467600"/>
              <a:gd name="connsiteY746" fmla="*/ 1677442 h 6858000"/>
              <a:gd name="connsiteX747" fmla="*/ 298437 w 7467600"/>
              <a:gd name="connsiteY747" fmla="*/ 1968019 h 6858000"/>
              <a:gd name="connsiteX748" fmla="*/ 227269 w 7467600"/>
              <a:gd name="connsiteY748" fmla="*/ 1114064 h 6858000"/>
              <a:gd name="connsiteX749" fmla="*/ 248003 w 7467600"/>
              <a:gd name="connsiteY749" fmla="*/ 1089613 h 6858000"/>
              <a:gd name="connsiteX750" fmla="*/ 427020 w 7467600"/>
              <a:gd name="connsiteY750" fmla="*/ 1619803 h 6858000"/>
              <a:gd name="connsiteX751" fmla="*/ 340345 w 7467600"/>
              <a:gd name="connsiteY751" fmla="*/ 2027739 h 6858000"/>
              <a:gd name="connsiteX752" fmla="*/ 360865 w 7467600"/>
              <a:gd name="connsiteY752" fmla="*/ 2044827 h 6858000"/>
              <a:gd name="connsiteX753" fmla="*/ 560414 w 7467600"/>
              <a:gd name="connsiteY753" fmla="*/ 2421457 h 6858000"/>
              <a:gd name="connsiteX754" fmla="*/ 1359703 w 7467600"/>
              <a:gd name="connsiteY754" fmla="*/ 2578554 h 6858000"/>
              <a:gd name="connsiteX755" fmla="*/ 1359422 w 7467600"/>
              <a:gd name="connsiteY755" fmla="*/ 2577994 h 6858000"/>
              <a:gd name="connsiteX756" fmla="*/ 828701 w 7467600"/>
              <a:gd name="connsiteY756" fmla="*/ 1839520 h 6858000"/>
              <a:gd name="connsiteX757" fmla="*/ 494427 w 7467600"/>
              <a:gd name="connsiteY757" fmla="*/ 1092333 h 6858000"/>
              <a:gd name="connsiteX758" fmla="*/ 506322 w 7467600"/>
              <a:gd name="connsiteY758" fmla="*/ 1020997 h 6858000"/>
              <a:gd name="connsiteX759" fmla="*/ 4570198 w 7467600"/>
              <a:gd name="connsiteY759" fmla="*/ 978081 h 6858000"/>
              <a:gd name="connsiteX760" fmla="*/ 4523691 w 7467600"/>
              <a:gd name="connsiteY760" fmla="*/ 1127776 h 6858000"/>
              <a:gd name="connsiteX761" fmla="*/ 4509875 w 7467600"/>
              <a:gd name="connsiteY761" fmla="*/ 1167552 h 6858000"/>
              <a:gd name="connsiteX762" fmla="*/ 4478168 w 7467600"/>
              <a:gd name="connsiteY762" fmla="*/ 1260735 h 6858000"/>
              <a:gd name="connsiteX763" fmla="*/ 4409309 w 7467600"/>
              <a:gd name="connsiteY763" fmla="*/ 1666996 h 6858000"/>
              <a:gd name="connsiteX764" fmla="*/ 4370031 w 7467600"/>
              <a:gd name="connsiteY764" fmla="*/ 1955666 h 6858000"/>
              <a:gd name="connsiteX765" fmla="*/ 4570198 w 7467600"/>
              <a:gd name="connsiteY765" fmla="*/ 978081 h 6858000"/>
              <a:gd name="connsiteX766" fmla="*/ 4557898 w 7467600"/>
              <a:gd name="connsiteY766" fmla="*/ 900011 h 6858000"/>
              <a:gd name="connsiteX767" fmla="*/ 4344840 w 7467600"/>
              <a:gd name="connsiteY767" fmla="*/ 1922038 h 6858000"/>
              <a:gd name="connsiteX768" fmla="*/ 4378710 w 7467600"/>
              <a:gd name="connsiteY768" fmla="*/ 1665516 h 6858000"/>
              <a:gd name="connsiteX769" fmla="*/ 4448798 w 7467600"/>
              <a:gd name="connsiteY769" fmla="*/ 1253024 h 6858000"/>
              <a:gd name="connsiteX770" fmla="*/ 4480315 w 7467600"/>
              <a:gd name="connsiteY770" fmla="*/ 1158454 h 6858000"/>
              <a:gd name="connsiteX771" fmla="*/ 4494133 w 7467600"/>
              <a:gd name="connsiteY771" fmla="*/ 1118676 h 6858000"/>
              <a:gd name="connsiteX772" fmla="*/ 4557898 w 7467600"/>
              <a:gd name="connsiteY772" fmla="*/ 900011 h 6858000"/>
              <a:gd name="connsiteX773" fmla="*/ 5870151 w 7467600"/>
              <a:gd name="connsiteY773" fmla="*/ 898890 h 6858000"/>
              <a:gd name="connsiteX774" fmla="*/ 5861335 w 7467600"/>
              <a:gd name="connsiteY774" fmla="*/ 899177 h 6858000"/>
              <a:gd name="connsiteX775" fmla="*/ 5843702 w 7467600"/>
              <a:gd name="connsiteY775" fmla="*/ 899748 h 6858000"/>
              <a:gd name="connsiteX776" fmla="*/ 5651107 w 7467600"/>
              <a:gd name="connsiteY776" fmla="*/ 920306 h 6858000"/>
              <a:gd name="connsiteX777" fmla="*/ 5459407 w 7467600"/>
              <a:gd name="connsiteY777" fmla="*/ 940975 h 6858000"/>
              <a:gd name="connsiteX778" fmla="*/ 5374846 w 7467600"/>
              <a:gd name="connsiteY778" fmla="*/ 941988 h 6858000"/>
              <a:gd name="connsiteX779" fmla="*/ 5256105 w 7467600"/>
              <a:gd name="connsiteY779" fmla="*/ 945632 h 6858000"/>
              <a:gd name="connsiteX780" fmla="*/ 5107071 w 7467600"/>
              <a:gd name="connsiteY780" fmla="*/ 969720 h 6858000"/>
              <a:gd name="connsiteX781" fmla="*/ 4998681 w 7467600"/>
              <a:gd name="connsiteY781" fmla="*/ 988771 h 6858000"/>
              <a:gd name="connsiteX782" fmla="*/ 5870151 w 7467600"/>
              <a:gd name="connsiteY782" fmla="*/ 898890 h 6858000"/>
              <a:gd name="connsiteX783" fmla="*/ 5504425 w 7467600"/>
              <a:gd name="connsiteY783" fmla="*/ 848067 h 6858000"/>
              <a:gd name="connsiteX784" fmla="*/ 4968849 w 7467600"/>
              <a:gd name="connsiteY784" fmla="*/ 962318 h 6858000"/>
              <a:gd name="connsiteX785" fmla="*/ 5104039 w 7467600"/>
              <a:gd name="connsiteY785" fmla="*/ 940634 h 6858000"/>
              <a:gd name="connsiteX786" fmla="*/ 5256311 w 7467600"/>
              <a:gd name="connsiteY786" fmla="*/ 916490 h 6858000"/>
              <a:gd name="connsiteX787" fmla="*/ 5377381 w 7467600"/>
              <a:gd name="connsiteY787" fmla="*/ 912671 h 6858000"/>
              <a:gd name="connsiteX788" fmla="*/ 5460148 w 7467600"/>
              <a:gd name="connsiteY788" fmla="*/ 911442 h 6858000"/>
              <a:gd name="connsiteX789" fmla="*/ 5648971 w 7467600"/>
              <a:gd name="connsiteY789" fmla="*/ 891331 h 6858000"/>
              <a:gd name="connsiteX790" fmla="*/ 5844807 w 7467600"/>
              <a:gd name="connsiteY790" fmla="*/ 870718 h 6858000"/>
              <a:gd name="connsiteX791" fmla="*/ 5862975 w 7467600"/>
              <a:gd name="connsiteY791" fmla="*/ 869756 h 6858000"/>
              <a:gd name="connsiteX792" fmla="*/ 5920887 w 7467600"/>
              <a:gd name="connsiteY792" fmla="*/ 865929 h 6858000"/>
              <a:gd name="connsiteX793" fmla="*/ 5504425 w 7467600"/>
              <a:gd name="connsiteY793" fmla="*/ 848067 h 6858000"/>
              <a:gd name="connsiteX794" fmla="*/ 3607114 w 7467600"/>
              <a:gd name="connsiteY794" fmla="*/ 467441 h 6858000"/>
              <a:gd name="connsiteX795" fmla="*/ 3296242 w 7467600"/>
              <a:gd name="connsiteY795" fmla="*/ 807991 h 6858000"/>
              <a:gd name="connsiteX796" fmla="*/ 3174674 w 7467600"/>
              <a:gd name="connsiteY796" fmla="*/ 919759 h 6858000"/>
              <a:gd name="connsiteX797" fmla="*/ 3042978 w 7467600"/>
              <a:gd name="connsiteY797" fmla="*/ 1054894 h 6858000"/>
              <a:gd name="connsiteX798" fmla="*/ 2968914 w 7467600"/>
              <a:gd name="connsiteY798" fmla="*/ 1133756 h 6858000"/>
              <a:gd name="connsiteX799" fmla="*/ 3103823 w 7467600"/>
              <a:gd name="connsiteY799" fmla="*/ 1026814 h 6858000"/>
              <a:gd name="connsiteX800" fmla="*/ 3607114 w 7467600"/>
              <a:gd name="connsiteY800" fmla="*/ 467441 h 6858000"/>
              <a:gd name="connsiteX801" fmla="*/ 3744487 w 7467600"/>
              <a:gd name="connsiteY801" fmla="*/ 383136 h 6858000"/>
              <a:gd name="connsiteX802" fmla="*/ 3970213 w 7467600"/>
              <a:gd name="connsiteY802" fmla="*/ 995559 h 6858000"/>
              <a:gd name="connsiteX803" fmla="*/ 3744487 w 7467600"/>
              <a:gd name="connsiteY803" fmla="*/ 383136 h 6858000"/>
              <a:gd name="connsiteX804" fmla="*/ 3624562 w 7467600"/>
              <a:gd name="connsiteY804" fmla="*/ 367041 h 6858000"/>
              <a:gd name="connsiteX805" fmla="*/ 3489712 w 7467600"/>
              <a:gd name="connsiteY805" fmla="*/ 485386 h 6858000"/>
              <a:gd name="connsiteX806" fmla="*/ 3182994 w 7467600"/>
              <a:gd name="connsiteY806" fmla="*/ 828265 h 6858000"/>
              <a:gd name="connsiteX807" fmla="*/ 2892114 w 7467600"/>
              <a:gd name="connsiteY807" fmla="*/ 1172635 h 6858000"/>
              <a:gd name="connsiteX808" fmla="*/ 3021459 w 7467600"/>
              <a:gd name="connsiteY808" fmla="*/ 1035385 h 6858000"/>
              <a:gd name="connsiteX809" fmla="*/ 3153873 w 7467600"/>
              <a:gd name="connsiteY809" fmla="*/ 898971 h 6858000"/>
              <a:gd name="connsiteX810" fmla="*/ 3276511 w 7467600"/>
              <a:gd name="connsiteY810" fmla="*/ 786423 h 6858000"/>
              <a:gd name="connsiteX811" fmla="*/ 3584154 w 7467600"/>
              <a:gd name="connsiteY811" fmla="*/ 448218 h 6858000"/>
              <a:gd name="connsiteX812" fmla="*/ 3624562 w 7467600"/>
              <a:gd name="connsiteY812" fmla="*/ 367041 h 6858000"/>
              <a:gd name="connsiteX813" fmla="*/ 3766672 w 7467600"/>
              <a:gd name="connsiteY813" fmla="*/ 359429 h 6858000"/>
              <a:gd name="connsiteX814" fmla="*/ 3996338 w 7467600"/>
              <a:gd name="connsiteY814" fmla="*/ 968237 h 6858000"/>
              <a:gd name="connsiteX815" fmla="*/ 3766672 w 7467600"/>
              <a:gd name="connsiteY815" fmla="*/ 359429 h 6858000"/>
              <a:gd name="connsiteX816" fmla="*/ 5805386 w 7467600"/>
              <a:gd name="connsiteY816" fmla="*/ 239240 h 6858000"/>
              <a:gd name="connsiteX817" fmla="*/ 5736947 w 7467600"/>
              <a:gd name="connsiteY817" fmla="*/ 261367 h 6858000"/>
              <a:gd name="connsiteX818" fmla="*/ 5427012 w 7467600"/>
              <a:gd name="connsiteY818" fmla="*/ 311272 h 6858000"/>
              <a:gd name="connsiteX819" fmla="*/ 5147818 w 7467600"/>
              <a:gd name="connsiteY819" fmla="*/ 322112 h 6858000"/>
              <a:gd name="connsiteX820" fmla="*/ 5060854 w 7467600"/>
              <a:gd name="connsiteY820" fmla="*/ 311882 h 6858000"/>
              <a:gd name="connsiteX821" fmla="*/ 4945989 w 7467600"/>
              <a:gd name="connsiteY821" fmla="*/ 300516 h 6858000"/>
              <a:gd name="connsiteX822" fmla="*/ 5410479 w 7467600"/>
              <a:gd name="connsiteY822" fmla="*/ 348434 h 6858000"/>
              <a:gd name="connsiteX823" fmla="*/ 5805386 w 7467600"/>
              <a:gd name="connsiteY823" fmla="*/ 239240 h 6858000"/>
              <a:gd name="connsiteX824" fmla="*/ 5905192 w 7467600"/>
              <a:gd name="connsiteY824" fmla="*/ 163079 h 6858000"/>
              <a:gd name="connsiteX825" fmla="*/ 5865655 w 7467600"/>
              <a:gd name="connsiteY825" fmla="*/ 171901 h 6858000"/>
              <a:gd name="connsiteX826" fmla="*/ 5259740 w 7467600"/>
              <a:gd name="connsiteY826" fmla="*/ 257013 h 6858000"/>
              <a:gd name="connsiteX827" fmla="*/ 5208466 w 7467600"/>
              <a:gd name="connsiteY827" fmla="*/ 257550 h 6858000"/>
              <a:gd name="connsiteX828" fmla="*/ 4980204 w 7467600"/>
              <a:gd name="connsiteY828" fmla="*/ 271903 h 6858000"/>
              <a:gd name="connsiteX829" fmla="*/ 5068068 w 7467600"/>
              <a:gd name="connsiteY829" fmla="*/ 282244 h 6858000"/>
              <a:gd name="connsiteX830" fmla="*/ 5153231 w 7467600"/>
              <a:gd name="connsiteY830" fmla="*/ 292240 h 6858000"/>
              <a:gd name="connsiteX831" fmla="*/ 5426491 w 7467600"/>
              <a:gd name="connsiteY831" fmla="*/ 281128 h 6858000"/>
              <a:gd name="connsiteX832" fmla="*/ 5731212 w 7467600"/>
              <a:gd name="connsiteY832" fmla="*/ 231951 h 6858000"/>
              <a:gd name="connsiteX833" fmla="*/ 5905192 w 7467600"/>
              <a:gd name="connsiteY833" fmla="*/ 163079 h 6858000"/>
              <a:gd name="connsiteX834" fmla="*/ 5944437 w 7467600"/>
              <a:gd name="connsiteY834" fmla="*/ 113829 h 6858000"/>
              <a:gd name="connsiteX835" fmla="*/ 5825032 w 7467600"/>
              <a:gd name="connsiteY835" fmla="*/ 146405 h 6858000"/>
              <a:gd name="connsiteX836" fmla="*/ 4955599 w 7467600"/>
              <a:gd name="connsiteY836" fmla="*/ 247008 h 6858000"/>
              <a:gd name="connsiteX837" fmla="*/ 5210104 w 7467600"/>
              <a:gd name="connsiteY837" fmla="*/ 228123 h 6858000"/>
              <a:gd name="connsiteX838" fmla="*/ 5261015 w 7467600"/>
              <a:gd name="connsiteY838" fmla="*/ 227087 h 6858000"/>
              <a:gd name="connsiteX839" fmla="*/ 5861181 w 7467600"/>
              <a:gd name="connsiteY839" fmla="*/ 143093 h 6858000"/>
              <a:gd name="connsiteX840" fmla="*/ 5961252 w 7467600"/>
              <a:gd name="connsiteY840" fmla="*/ 114820 h 6858000"/>
              <a:gd name="connsiteX841" fmla="*/ 5944437 w 7467600"/>
              <a:gd name="connsiteY841" fmla="*/ 113829 h 6858000"/>
              <a:gd name="connsiteX842" fmla="*/ 3882765 w 7467600"/>
              <a:gd name="connsiteY842" fmla="*/ 0 h 6858000"/>
              <a:gd name="connsiteX843" fmla="*/ 3995099 w 7467600"/>
              <a:gd name="connsiteY843" fmla="*/ 0 h 6858000"/>
              <a:gd name="connsiteX844" fmla="*/ 4163818 w 7467600"/>
              <a:gd name="connsiteY844" fmla="*/ 234104 h 6858000"/>
              <a:gd name="connsiteX845" fmla="*/ 4172099 w 7467600"/>
              <a:gd name="connsiteY845" fmla="*/ 234207 h 6858000"/>
              <a:gd name="connsiteX846" fmla="*/ 4784282 w 7467600"/>
              <a:gd name="connsiteY846" fmla="*/ 276561 h 6858000"/>
              <a:gd name="connsiteX847" fmla="*/ 4801687 w 7467600"/>
              <a:gd name="connsiteY847" fmla="*/ 267764 h 6858000"/>
              <a:gd name="connsiteX848" fmla="*/ 6082788 w 7467600"/>
              <a:gd name="connsiteY848" fmla="*/ 64119 h 6858000"/>
              <a:gd name="connsiteX849" fmla="*/ 6099442 w 7467600"/>
              <a:gd name="connsiteY849" fmla="*/ 82568 h 6858000"/>
              <a:gd name="connsiteX850" fmla="*/ 4804137 w 7467600"/>
              <a:gd name="connsiteY850" fmla="*/ 320931 h 6858000"/>
              <a:gd name="connsiteX851" fmla="*/ 4227047 w 7467600"/>
              <a:gd name="connsiteY851" fmla="*/ 313415 h 6858000"/>
              <a:gd name="connsiteX852" fmla="*/ 4346041 w 7467600"/>
              <a:gd name="connsiteY852" fmla="*/ 456086 h 6858000"/>
              <a:gd name="connsiteX853" fmla="*/ 4870967 w 7467600"/>
              <a:gd name="connsiteY853" fmla="*/ 963061 h 6858000"/>
              <a:gd name="connsiteX854" fmla="*/ 4889647 w 7467600"/>
              <a:gd name="connsiteY854" fmla="*/ 957147 h 6858000"/>
              <a:gd name="connsiteX855" fmla="*/ 5422504 w 7467600"/>
              <a:gd name="connsiteY855" fmla="*/ 805191 h 6858000"/>
              <a:gd name="connsiteX856" fmla="*/ 6087656 w 7467600"/>
              <a:gd name="connsiteY856" fmla="*/ 826703 h 6858000"/>
              <a:gd name="connsiteX857" fmla="*/ 6058717 w 7467600"/>
              <a:gd name="connsiteY857" fmla="*/ 865992 h 6858000"/>
              <a:gd name="connsiteX858" fmla="*/ 4974153 w 7467600"/>
              <a:gd name="connsiteY858" fmla="*/ 1045456 h 6858000"/>
              <a:gd name="connsiteX859" fmla="*/ 5627835 w 7467600"/>
              <a:gd name="connsiteY859" fmla="*/ 1472077 h 6858000"/>
              <a:gd name="connsiteX860" fmla="*/ 5629817 w 7467600"/>
              <a:gd name="connsiteY860" fmla="*/ 1471412 h 6858000"/>
              <a:gd name="connsiteX861" fmla="*/ 5634124 w 7467600"/>
              <a:gd name="connsiteY861" fmla="*/ 1470572 h 6858000"/>
              <a:gd name="connsiteX862" fmla="*/ 5755832 w 7467600"/>
              <a:gd name="connsiteY862" fmla="*/ 1383886 h 6858000"/>
              <a:gd name="connsiteX863" fmla="*/ 6014186 w 7467600"/>
              <a:gd name="connsiteY863" fmla="*/ 1279799 h 6858000"/>
              <a:gd name="connsiteX864" fmla="*/ 6901619 w 7467600"/>
              <a:gd name="connsiteY864" fmla="*/ 1047874 h 6858000"/>
              <a:gd name="connsiteX865" fmla="*/ 6931566 w 7467600"/>
              <a:gd name="connsiteY865" fmla="*/ 1062034 h 6858000"/>
              <a:gd name="connsiteX866" fmla="*/ 5790982 w 7467600"/>
              <a:gd name="connsiteY866" fmla="*/ 1561380 h 6858000"/>
              <a:gd name="connsiteX867" fmla="*/ 6188971 w 7467600"/>
              <a:gd name="connsiteY867" fmla="*/ 1755168 h 6858000"/>
              <a:gd name="connsiteX868" fmla="*/ 6202446 w 7467600"/>
              <a:gd name="connsiteY868" fmla="*/ 1752268 h 6858000"/>
              <a:gd name="connsiteX869" fmla="*/ 7179560 w 7467600"/>
              <a:gd name="connsiteY869" fmla="*/ 1467551 h 6858000"/>
              <a:gd name="connsiteX870" fmla="*/ 7158730 w 7467600"/>
              <a:gd name="connsiteY870" fmla="*/ 1507835 h 6858000"/>
              <a:gd name="connsiteX871" fmla="*/ 6326959 w 7467600"/>
              <a:gd name="connsiteY871" fmla="*/ 1817686 h 6858000"/>
              <a:gd name="connsiteX872" fmla="*/ 6537433 w 7467600"/>
              <a:gd name="connsiteY872" fmla="*/ 1907790 h 6858000"/>
              <a:gd name="connsiteX873" fmla="*/ 6550221 w 7467600"/>
              <a:gd name="connsiteY873" fmla="*/ 1910729 h 6858000"/>
              <a:gd name="connsiteX874" fmla="*/ 6964438 w 7467600"/>
              <a:gd name="connsiteY874" fmla="*/ 2209505 h 6858000"/>
              <a:gd name="connsiteX875" fmla="*/ 7367862 w 7467600"/>
              <a:gd name="connsiteY875" fmla="*/ 2806833 h 6858000"/>
              <a:gd name="connsiteX876" fmla="*/ 7364329 w 7467600"/>
              <a:gd name="connsiteY876" fmla="*/ 2826907 h 6858000"/>
              <a:gd name="connsiteX877" fmla="*/ 7290545 w 7467600"/>
              <a:gd name="connsiteY877" fmla="*/ 2850663 h 6858000"/>
              <a:gd name="connsiteX878" fmla="*/ 6472036 w 7467600"/>
              <a:gd name="connsiteY878" fmla="*/ 1959003 h 6858000"/>
              <a:gd name="connsiteX879" fmla="*/ 5792897 w 7467600"/>
              <a:gd name="connsiteY879" fmla="*/ 1647747 h 6858000"/>
              <a:gd name="connsiteX880" fmla="*/ 5842751 w 7467600"/>
              <a:gd name="connsiteY880" fmla="*/ 1816112 h 6858000"/>
              <a:gd name="connsiteX881" fmla="*/ 5847424 w 7467600"/>
              <a:gd name="connsiteY881" fmla="*/ 1815776 h 6858000"/>
              <a:gd name="connsiteX882" fmla="*/ 6399821 w 7467600"/>
              <a:gd name="connsiteY882" fmla="*/ 2344799 h 6858000"/>
              <a:gd name="connsiteX883" fmla="*/ 6323232 w 7467600"/>
              <a:gd name="connsiteY883" fmla="*/ 2389634 h 6858000"/>
              <a:gd name="connsiteX884" fmla="*/ 5942958 w 7467600"/>
              <a:gd name="connsiteY884" fmla="*/ 2077708 h 6858000"/>
              <a:gd name="connsiteX885" fmla="*/ 5921559 w 7467600"/>
              <a:gd name="connsiteY885" fmla="*/ 2378596 h 6858000"/>
              <a:gd name="connsiteX886" fmla="*/ 5817651 w 7467600"/>
              <a:gd name="connsiteY886" fmla="*/ 3023919 h 6858000"/>
              <a:gd name="connsiteX887" fmla="*/ 5729634 w 7467600"/>
              <a:gd name="connsiteY887" fmla="*/ 3051849 h 6858000"/>
              <a:gd name="connsiteX888" fmla="*/ 5611018 w 7467600"/>
              <a:gd name="connsiteY888" fmla="*/ 2316769 h 6858000"/>
              <a:gd name="connsiteX889" fmla="*/ 5687608 w 7467600"/>
              <a:gd name="connsiteY889" fmla="*/ 2039972 h 6858000"/>
              <a:gd name="connsiteX890" fmla="*/ 5657554 w 7467600"/>
              <a:gd name="connsiteY890" fmla="*/ 1576445 h 6858000"/>
              <a:gd name="connsiteX891" fmla="*/ 5150475 w 7467600"/>
              <a:gd name="connsiteY891" fmla="*/ 1274012 h 6858000"/>
              <a:gd name="connsiteX892" fmla="*/ 5349142 w 7467600"/>
              <a:gd name="connsiteY892" fmla="*/ 2204405 h 6858000"/>
              <a:gd name="connsiteX893" fmla="*/ 5262214 w 7467600"/>
              <a:gd name="connsiteY893" fmla="*/ 2233836 h 6858000"/>
              <a:gd name="connsiteX894" fmla="*/ 4981539 w 7467600"/>
              <a:gd name="connsiteY894" fmla="*/ 1542201 h 6858000"/>
              <a:gd name="connsiteX895" fmla="*/ 4958461 w 7467600"/>
              <a:gd name="connsiteY895" fmla="*/ 1136957 h 6858000"/>
              <a:gd name="connsiteX896" fmla="*/ 4655015 w 7467600"/>
              <a:gd name="connsiteY896" fmla="*/ 891426 h 6858000"/>
              <a:gd name="connsiteX897" fmla="*/ 4348002 w 7467600"/>
              <a:gd name="connsiteY897" fmla="*/ 2205895 h 6858000"/>
              <a:gd name="connsiteX898" fmla="*/ 4262250 w 7467600"/>
              <a:gd name="connsiteY898" fmla="*/ 2219972 h 6858000"/>
              <a:gd name="connsiteX899" fmla="*/ 4550611 w 7467600"/>
              <a:gd name="connsiteY899" fmla="*/ 817540 h 6858000"/>
              <a:gd name="connsiteX900" fmla="*/ 4564418 w 7467600"/>
              <a:gd name="connsiteY900" fmla="*/ 808293 h 6858000"/>
              <a:gd name="connsiteX901" fmla="*/ 4266388 w 7467600"/>
              <a:gd name="connsiteY901" fmla="*/ 500083 h 6858000"/>
              <a:gd name="connsiteX902" fmla="*/ 4032842 w 7467600"/>
              <a:gd name="connsiteY902" fmla="*/ 211809 h 6858000"/>
              <a:gd name="connsiteX903" fmla="*/ 3882765 w 7467600"/>
              <a:gd name="connsiteY903" fmla="*/ 0 h 6858000"/>
              <a:gd name="connsiteX904" fmla="*/ 3721337 w 7467600"/>
              <a:gd name="connsiteY904" fmla="*/ 0 h 6858000"/>
              <a:gd name="connsiteX905" fmla="*/ 3797544 w 7467600"/>
              <a:gd name="connsiteY905" fmla="*/ 0 h 6858000"/>
              <a:gd name="connsiteX906" fmla="*/ 3775734 w 7467600"/>
              <a:gd name="connsiteY906" fmla="*/ 95131 h 6858000"/>
              <a:gd name="connsiteX907" fmla="*/ 3724807 w 7467600"/>
              <a:gd name="connsiteY907" fmla="*/ 272257 h 6858000"/>
              <a:gd name="connsiteX908" fmla="*/ 3726844 w 7467600"/>
              <a:gd name="connsiteY908" fmla="*/ 282988 h 6858000"/>
              <a:gd name="connsiteX909" fmla="*/ 3742664 w 7467600"/>
              <a:gd name="connsiteY909" fmla="*/ 279918 h 6858000"/>
              <a:gd name="connsiteX910" fmla="*/ 4103910 w 7467600"/>
              <a:gd name="connsiteY910" fmla="*/ 1161917 h 6858000"/>
              <a:gd name="connsiteX911" fmla="*/ 4020269 w 7467600"/>
              <a:gd name="connsiteY911" fmla="*/ 1200406 h 6858000"/>
              <a:gd name="connsiteX912" fmla="*/ 3674882 w 7467600"/>
              <a:gd name="connsiteY912" fmla="*/ 488524 h 6858000"/>
              <a:gd name="connsiteX913" fmla="*/ 3132682 w 7467600"/>
              <a:gd name="connsiteY913" fmla="*/ 1072284 h 6858000"/>
              <a:gd name="connsiteX914" fmla="*/ 2716346 w 7467600"/>
              <a:gd name="connsiteY914" fmla="*/ 1276376 h 6858000"/>
              <a:gd name="connsiteX915" fmla="*/ 2716772 w 7467600"/>
              <a:gd name="connsiteY915" fmla="*/ 1255462 h 6858000"/>
              <a:gd name="connsiteX916" fmla="*/ 3471096 w 7467600"/>
              <a:gd name="connsiteY916" fmla="*/ 437072 h 6858000"/>
              <a:gd name="connsiteX917" fmla="*/ 3639057 w 7467600"/>
              <a:gd name="connsiteY917" fmla="*/ 286334 h 6858000"/>
              <a:gd name="connsiteX918" fmla="*/ 3640309 w 7467600"/>
              <a:gd name="connsiteY918" fmla="*/ 284664 h 6858000"/>
              <a:gd name="connsiteX919" fmla="*/ 3646022 w 7467600"/>
              <a:gd name="connsiteY919" fmla="*/ 276711 h 6858000"/>
              <a:gd name="connsiteX920" fmla="*/ 3707943 w 7467600"/>
              <a:gd name="connsiteY920" fmla="*/ 65958 h 6858000"/>
              <a:gd name="connsiteX921" fmla="*/ 3721337 w 7467600"/>
              <a:gd name="connsiteY921" fmla="*/ 0 h 6858000"/>
              <a:gd name="connsiteX922" fmla="*/ 2867960 w 7467600"/>
              <a:gd name="connsiteY922" fmla="*/ 0 h 6858000"/>
              <a:gd name="connsiteX923" fmla="*/ 2926351 w 7467600"/>
              <a:gd name="connsiteY923" fmla="*/ 0 h 6858000"/>
              <a:gd name="connsiteX924" fmla="*/ 2902823 w 7467600"/>
              <a:gd name="connsiteY924" fmla="*/ 262929 h 6858000"/>
              <a:gd name="connsiteX925" fmla="*/ 2940663 w 7467600"/>
              <a:gd name="connsiteY925" fmla="*/ 140884 h 6858000"/>
              <a:gd name="connsiteX926" fmla="*/ 2947039 w 7467600"/>
              <a:gd name="connsiteY926" fmla="*/ 122524 h 6858000"/>
              <a:gd name="connsiteX927" fmla="*/ 2984316 w 7467600"/>
              <a:gd name="connsiteY927" fmla="*/ 0 h 6858000"/>
              <a:gd name="connsiteX928" fmla="*/ 3016114 w 7467600"/>
              <a:gd name="connsiteY928" fmla="*/ 0 h 6858000"/>
              <a:gd name="connsiteX929" fmla="*/ 2979949 w 7467600"/>
              <a:gd name="connsiteY929" fmla="*/ 119274 h 6858000"/>
              <a:gd name="connsiteX930" fmla="*/ 3023879 w 7467600"/>
              <a:gd name="connsiteY930" fmla="*/ 0 h 6858000"/>
              <a:gd name="connsiteX931" fmla="*/ 3105400 w 7467600"/>
              <a:gd name="connsiteY931" fmla="*/ 0 h 6858000"/>
              <a:gd name="connsiteX932" fmla="*/ 3094669 w 7467600"/>
              <a:gd name="connsiteY932" fmla="*/ 30308 h 6858000"/>
              <a:gd name="connsiteX933" fmla="*/ 2901945 w 7467600"/>
              <a:gd name="connsiteY933" fmla="*/ 466538 h 6858000"/>
              <a:gd name="connsiteX934" fmla="*/ 2815209 w 7467600"/>
              <a:gd name="connsiteY934" fmla="*/ 497361 h 6858000"/>
              <a:gd name="connsiteX935" fmla="*/ 2844845 w 7467600"/>
              <a:gd name="connsiteY935" fmla="*/ 127638 h 6858000"/>
              <a:gd name="connsiteX936" fmla="*/ 2867960 w 7467600"/>
              <a:gd name="connsiteY936" fmla="*/ 0 h 6858000"/>
              <a:gd name="connsiteX937" fmla="*/ 1057230 w 7467600"/>
              <a:gd name="connsiteY937" fmla="*/ 0 h 6858000"/>
              <a:gd name="connsiteX938" fmla="*/ 1111003 w 7467600"/>
              <a:gd name="connsiteY938" fmla="*/ 0 h 6858000"/>
              <a:gd name="connsiteX939" fmla="*/ 1125553 w 7467600"/>
              <a:gd name="connsiteY939" fmla="*/ 52588 h 6858000"/>
              <a:gd name="connsiteX940" fmla="*/ 1304276 w 7467600"/>
              <a:gd name="connsiteY940" fmla="*/ 476275 h 6858000"/>
              <a:gd name="connsiteX941" fmla="*/ 1492066 w 7467600"/>
              <a:gd name="connsiteY941" fmla="*/ 886333 h 6858000"/>
              <a:gd name="connsiteX942" fmla="*/ 1423698 w 7467600"/>
              <a:gd name="connsiteY942" fmla="*/ 710817 h 6858000"/>
              <a:gd name="connsiteX943" fmla="*/ 1357609 w 7467600"/>
              <a:gd name="connsiteY943" fmla="*/ 532892 h 6858000"/>
              <a:gd name="connsiteX944" fmla="*/ 1309550 w 7467600"/>
              <a:gd name="connsiteY944" fmla="*/ 374031 h 6858000"/>
              <a:gd name="connsiteX945" fmla="*/ 1193673 w 7467600"/>
              <a:gd name="connsiteY945" fmla="*/ 49533 h 6858000"/>
              <a:gd name="connsiteX946" fmla="*/ 1164391 w 7467600"/>
              <a:gd name="connsiteY946" fmla="*/ 0 h 6858000"/>
              <a:gd name="connsiteX947" fmla="*/ 1200666 w 7467600"/>
              <a:gd name="connsiteY947" fmla="*/ 0 h 6858000"/>
              <a:gd name="connsiteX948" fmla="*/ 1223408 w 7467600"/>
              <a:gd name="connsiteY948" fmla="*/ 38996 h 6858000"/>
              <a:gd name="connsiteX949" fmla="*/ 1339635 w 7467600"/>
              <a:gd name="connsiteY949" fmla="*/ 365517 h 6858000"/>
              <a:gd name="connsiteX950" fmla="*/ 1387469 w 7467600"/>
              <a:gd name="connsiteY950" fmla="*/ 523079 h 6858000"/>
              <a:gd name="connsiteX951" fmla="*/ 1452685 w 7467600"/>
              <a:gd name="connsiteY951" fmla="*/ 699806 h 6858000"/>
              <a:gd name="connsiteX952" fmla="*/ 1492092 w 7467600"/>
              <a:gd name="connsiteY952" fmla="*/ 800424 h 6858000"/>
              <a:gd name="connsiteX953" fmla="*/ 1455302 w 7467600"/>
              <a:gd name="connsiteY953" fmla="*/ 632913 h 6858000"/>
              <a:gd name="connsiteX954" fmla="*/ 1222336 w 7467600"/>
              <a:gd name="connsiteY954" fmla="*/ 9480 h 6858000"/>
              <a:gd name="connsiteX955" fmla="*/ 1214634 w 7467600"/>
              <a:gd name="connsiteY955" fmla="*/ 0 h 6858000"/>
              <a:gd name="connsiteX956" fmla="*/ 1289827 w 7467600"/>
              <a:gd name="connsiteY956" fmla="*/ 0 h 6858000"/>
              <a:gd name="connsiteX957" fmla="*/ 1321076 w 7467600"/>
              <a:gd name="connsiteY957" fmla="*/ 59722 h 6858000"/>
              <a:gd name="connsiteX958" fmla="*/ 1512579 w 7467600"/>
              <a:gd name="connsiteY958" fmla="*/ 626441 h 6858000"/>
              <a:gd name="connsiteX959" fmla="*/ 1506076 w 7467600"/>
              <a:gd name="connsiteY959" fmla="*/ 1089289 h 6858000"/>
              <a:gd name="connsiteX960" fmla="*/ 1486346 w 7467600"/>
              <a:gd name="connsiteY960" fmla="*/ 1079919 h 6858000"/>
              <a:gd name="connsiteX961" fmla="*/ 1070511 w 7467600"/>
              <a:gd name="connsiteY961" fmla="*/ 48609 h 6858000"/>
              <a:gd name="connsiteX962" fmla="*/ 1057230 w 7467600"/>
              <a:gd name="connsiteY962" fmla="*/ 0 h 6858000"/>
              <a:gd name="connsiteX963" fmla="*/ 43151 w 7467600"/>
              <a:gd name="connsiteY963" fmla="*/ 0 h 6858000"/>
              <a:gd name="connsiteX964" fmla="*/ 95283 w 7467600"/>
              <a:gd name="connsiteY964" fmla="*/ 0 h 6858000"/>
              <a:gd name="connsiteX965" fmla="*/ 300708 w 7467600"/>
              <a:gd name="connsiteY965" fmla="*/ 154571 h 6858000"/>
              <a:gd name="connsiteX966" fmla="*/ 530414 w 7467600"/>
              <a:gd name="connsiteY966" fmla="*/ 354673 h 6858000"/>
              <a:gd name="connsiteX967" fmla="*/ 333785 w 7467600"/>
              <a:gd name="connsiteY967" fmla="*/ 161564 h 6858000"/>
              <a:gd name="connsiteX968" fmla="*/ 147005 w 7467600"/>
              <a:gd name="connsiteY968" fmla="*/ 0 h 6858000"/>
              <a:gd name="connsiteX969" fmla="*/ 272509 w 7467600"/>
              <a:gd name="connsiteY969" fmla="*/ 0 h 6858000"/>
              <a:gd name="connsiteX970" fmla="*/ 326276 w 7467600"/>
              <a:gd name="connsiteY970" fmla="*/ 45847 h 6858000"/>
              <a:gd name="connsiteX971" fmla="*/ 823759 w 7467600"/>
              <a:gd name="connsiteY971" fmla="*/ 574145 h 6858000"/>
              <a:gd name="connsiteX972" fmla="*/ 811254 w 7467600"/>
              <a:gd name="connsiteY972" fmla="*/ 665546 h 6858000"/>
              <a:gd name="connsiteX973" fmla="*/ 154042 w 7467600"/>
              <a:gd name="connsiteY973" fmla="*/ 261522 h 6858000"/>
              <a:gd name="connsiteX974" fmla="*/ 13550 w 7467600"/>
              <a:gd name="connsiteY974" fmla="*/ 158423 h 6858000"/>
              <a:gd name="connsiteX975" fmla="*/ 0 w 7467600"/>
              <a:gd name="connsiteY975" fmla="*/ 146618 h 6858000"/>
              <a:gd name="connsiteX976" fmla="*/ 0 w 7467600"/>
              <a:gd name="connsiteY976" fmla="*/ 59161 h 6858000"/>
              <a:gd name="connsiteX977" fmla="*/ 45427 w 7467600"/>
              <a:gd name="connsiteY977" fmla="*/ 101078 h 6858000"/>
              <a:gd name="connsiteX978" fmla="*/ 630103 w 7467600"/>
              <a:gd name="connsiteY978" fmla="*/ 485885 h 6858000"/>
              <a:gd name="connsiteX979" fmla="*/ 532040 w 7467600"/>
              <a:gd name="connsiteY979" fmla="*/ 399359 h 6858000"/>
              <a:gd name="connsiteX980" fmla="*/ 517618 w 7467600"/>
              <a:gd name="connsiteY980" fmla="*/ 385726 h 6858000"/>
              <a:gd name="connsiteX981" fmla="*/ 285074 w 7467600"/>
              <a:gd name="connsiteY981" fmla="*/ 182755 h 6858000"/>
              <a:gd name="connsiteX982" fmla="*/ 43151 w 7467600"/>
              <a:gd name="connsiteY982"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44835 w 7467600"/>
              <a:gd name="connsiteY76" fmla="*/ 5424988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126431 w 7467600"/>
              <a:gd name="connsiteY90" fmla="*/ 5737872 h 6858000"/>
              <a:gd name="connsiteX91" fmla="*/ 7356878 w 7467600"/>
              <a:gd name="connsiteY91" fmla="*/ 5981332 h 6858000"/>
              <a:gd name="connsiteX92" fmla="*/ 7467600 w 7467600"/>
              <a:gd name="connsiteY92" fmla="*/ 6117703 h 6858000"/>
              <a:gd name="connsiteX93" fmla="*/ 7467600 w 7467600"/>
              <a:gd name="connsiteY93" fmla="*/ 6163634 h 6858000"/>
              <a:gd name="connsiteX94" fmla="*/ 7403637 w 7467600"/>
              <a:gd name="connsiteY94" fmla="*/ 6083957 h 6858000"/>
              <a:gd name="connsiteX95" fmla="*/ 7254615 w 7467600"/>
              <a:gd name="connsiteY95" fmla="*/ 5911918 h 6858000"/>
              <a:gd name="connsiteX96" fmla="*/ 7312589 w 7467600"/>
              <a:gd name="connsiteY96" fmla="*/ 5982309 h 6858000"/>
              <a:gd name="connsiteX97" fmla="*/ 7448321 w 7467600"/>
              <a:gd name="connsiteY97" fmla="*/ 6190991 h 6858000"/>
              <a:gd name="connsiteX98" fmla="*/ 7467600 w 7467600"/>
              <a:gd name="connsiteY98" fmla="*/ 6221686 h 6858000"/>
              <a:gd name="connsiteX99" fmla="*/ 7467600 w 7467600"/>
              <a:gd name="connsiteY99" fmla="*/ 6334256 h 6858000"/>
              <a:gd name="connsiteX100" fmla="*/ 7454976 w 7467600"/>
              <a:gd name="connsiteY100" fmla="*/ 6318297 h 6858000"/>
              <a:gd name="connsiteX101" fmla="*/ 7042773 w 7467600"/>
              <a:gd name="connsiteY101" fmla="*/ 5734011 h 6858000"/>
              <a:gd name="connsiteX102" fmla="*/ 6844835 w 7467600"/>
              <a:gd name="connsiteY102" fmla="*/ 5424988 h 6858000"/>
              <a:gd name="connsiteX103" fmla="*/ 1456157 w 7467600"/>
              <a:gd name="connsiteY103" fmla="*/ 5371404 h 6858000"/>
              <a:gd name="connsiteX104" fmla="*/ 1244432 w 7467600"/>
              <a:gd name="connsiteY104" fmla="*/ 5385601 h 6858000"/>
              <a:gd name="connsiteX105" fmla="*/ 973990 w 7467600"/>
              <a:gd name="connsiteY105" fmla="*/ 5424940 h 6858000"/>
              <a:gd name="connsiteX106" fmla="*/ 1103809 w 7467600"/>
              <a:gd name="connsiteY106" fmla="*/ 5433720 h 6858000"/>
              <a:gd name="connsiteX107" fmla="*/ 1123454 w 7467600"/>
              <a:gd name="connsiteY107" fmla="*/ 5435727 h 6858000"/>
              <a:gd name="connsiteX108" fmla="*/ 1737017 w 7467600"/>
              <a:gd name="connsiteY108" fmla="*/ 5452183 h 6858000"/>
              <a:gd name="connsiteX109" fmla="*/ 1824397 w 7467600"/>
              <a:gd name="connsiteY109" fmla="*/ 5447757 h 6858000"/>
              <a:gd name="connsiteX110" fmla="*/ 2070059 w 7467600"/>
              <a:gd name="connsiteY110" fmla="*/ 5441660 h 6858000"/>
              <a:gd name="connsiteX111" fmla="*/ 1456157 w 7467600"/>
              <a:gd name="connsiteY111" fmla="*/ 5371404 h 6858000"/>
              <a:gd name="connsiteX112" fmla="*/ 4988186 w 7467600"/>
              <a:gd name="connsiteY112" fmla="*/ 5216467 h 6858000"/>
              <a:gd name="connsiteX113" fmla="*/ 4777334 w 7467600"/>
              <a:gd name="connsiteY113" fmla="*/ 5406072 h 6858000"/>
              <a:gd name="connsiteX114" fmla="*/ 4718341 w 7467600"/>
              <a:gd name="connsiteY114" fmla="*/ 5468043 h 6858000"/>
              <a:gd name="connsiteX115" fmla="*/ 4604655 w 7467600"/>
              <a:gd name="connsiteY115" fmla="*/ 5583434 h 6858000"/>
              <a:gd name="connsiteX116" fmla="*/ 4565074 w 7467600"/>
              <a:gd name="connsiteY116" fmla="*/ 5618550 h 6858000"/>
              <a:gd name="connsiteX117" fmla="*/ 4988186 w 7467600"/>
              <a:gd name="connsiteY117" fmla="*/ 5216467 h 6858000"/>
              <a:gd name="connsiteX118" fmla="*/ 4978032 w 7467600"/>
              <a:gd name="connsiteY118" fmla="*/ 5183809 h 6858000"/>
              <a:gd name="connsiteX119" fmla="*/ 4463413 w 7467600"/>
              <a:gd name="connsiteY119" fmla="*/ 5615162 h 6858000"/>
              <a:gd name="connsiteX120" fmla="*/ 4358134 w 7467600"/>
              <a:gd name="connsiteY120" fmla="*/ 5742791 h 6858000"/>
              <a:gd name="connsiteX121" fmla="*/ 4376219 w 7467600"/>
              <a:gd name="connsiteY121" fmla="*/ 5729027 h 6858000"/>
              <a:gd name="connsiteX122" fmla="*/ 4582340 w 7467600"/>
              <a:gd name="connsiteY122" fmla="*/ 5561037 h 6858000"/>
              <a:gd name="connsiteX123" fmla="*/ 4694684 w 7467600"/>
              <a:gd name="connsiteY123" fmla="*/ 5447098 h 6858000"/>
              <a:gd name="connsiteX124" fmla="*/ 4754123 w 7467600"/>
              <a:gd name="connsiteY124" fmla="*/ 5384643 h 6858000"/>
              <a:gd name="connsiteX125" fmla="*/ 4978032 w 7467600"/>
              <a:gd name="connsiteY125" fmla="*/ 5183809 h 6858000"/>
              <a:gd name="connsiteX126" fmla="*/ 1903353 w 7467600"/>
              <a:gd name="connsiteY126" fmla="*/ 5044827 h 6858000"/>
              <a:gd name="connsiteX127" fmla="*/ 1936931 w 7467600"/>
              <a:gd name="connsiteY127" fmla="*/ 5093954 h 6858000"/>
              <a:gd name="connsiteX128" fmla="*/ 2195868 w 7467600"/>
              <a:gd name="connsiteY128" fmla="*/ 5396574 h 6858000"/>
              <a:gd name="connsiteX129" fmla="*/ 2088852 w 7467600"/>
              <a:gd name="connsiteY129" fmla="*/ 5166123 h 6858000"/>
              <a:gd name="connsiteX130" fmla="*/ 1958241 w 7467600"/>
              <a:gd name="connsiteY130" fmla="*/ 5067955 h 6858000"/>
              <a:gd name="connsiteX131" fmla="*/ 1903353 w 7467600"/>
              <a:gd name="connsiteY131" fmla="*/ 5044827 h 6858000"/>
              <a:gd name="connsiteX132" fmla="*/ 1979378 w 7467600"/>
              <a:gd name="connsiteY132" fmla="*/ 4769504 h 6858000"/>
              <a:gd name="connsiteX133" fmla="*/ 2882120 w 7467600"/>
              <a:gd name="connsiteY133" fmla="*/ 5064547 h 6858000"/>
              <a:gd name="connsiteX134" fmla="*/ 2793103 w 7467600"/>
              <a:gd name="connsiteY134" fmla="*/ 5039699 h 6858000"/>
              <a:gd name="connsiteX135" fmla="*/ 2770041 w 7467600"/>
              <a:gd name="connsiteY135" fmla="*/ 5033634 h 6858000"/>
              <a:gd name="connsiteX136" fmla="*/ 1979378 w 7467600"/>
              <a:gd name="connsiteY136" fmla="*/ 4769504 h 6858000"/>
              <a:gd name="connsiteX137" fmla="*/ 1927410 w 7467600"/>
              <a:gd name="connsiteY137" fmla="*/ 4716164 h 6858000"/>
              <a:gd name="connsiteX138" fmla="*/ 1959587 w 7467600"/>
              <a:gd name="connsiteY138" fmla="*/ 4728849 h 6858000"/>
              <a:gd name="connsiteX139" fmla="*/ 2777707 w 7467600"/>
              <a:gd name="connsiteY139" fmla="*/ 5003991 h 6858000"/>
              <a:gd name="connsiteX140" fmla="*/ 2800768 w 7467600"/>
              <a:gd name="connsiteY140" fmla="*/ 5010056 h 6858000"/>
              <a:gd name="connsiteX141" fmla="*/ 2879408 w 7467600"/>
              <a:gd name="connsiteY141" fmla="*/ 5031590 h 6858000"/>
              <a:gd name="connsiteX142" fmla="*/ 2862295 w 7467600"/>
              <a:gd name="connsiteY142" fmla="*/ 5022958 h 6858000"/>
              <a:gd name="connsiteX143" fmla="*/ 2813343 w 7467600"/>
              <a:gd name="connsiteY143" fmla="*/ 4998369 h 6858000"/>
              <a:gd name="connsiteX144" fmla="*/ 2646245 w 7467600"/>
              <a:gd name="connsiteY144" fmla="*/ 4930999 h 6858000"/>
              <a:gd name="connsiteX145" fmla="*/ 1999243 w 7467600"/>
              <a:gd name="connsiteY145" fmla="*/ 4730524 h 6858000"/>
              <a:gd name="connsiteX146" fmla="*/ 1979527 w 7467600"/>
              <a:gd name="connsiteY146" fmla="*/ 4726651 h 6858000"/>
              <a:gd name="connsiteX147" fmla="*/ 1927410 w 7467600"/>
              <a:gd name="connsiteY147" fmla="*/ 4716164 h 6858000"/>
              <a:gd name="connsiteX148" fmla="*/ 1997014 w 7467600"/>
              <a:gd name="connsiteY148" fmla="*/ 4698007 h 6858000"/>
              <a:gd name="connsiteX149" fmla="*/ 2005458 w 7467600"/>
              <a:gd name="connsiteY149" fmla="*/ 4699540 h 6858000"/>
              <a:gd name="connsiteX150" fmla="*/ 2657186 w 7467600"/>
              <a:gd name="connsiteY150" fmla="*/ 4901687 h 6858000"/>
              <a:gd name="connsiteX151" fmla="*/ 2826662 w 7467600"/>
              <a:gd name="connsiteY151" fmla="*/ 4970362 h 6858000"/>
              <a:gd name="connsiteX152" fmla="*/ 2876100 w 7467600"/>
              <a:gd name="connsiteY152" fmla="*/ 4995397 h 6858000"/>
              <a:gd name="connsiteX153" fmla="*/ 3042600 w 7467600"/>
              <a:gd name="connsiteY153" fmla="*/ 5059532 h 6858000"/>
              <a:gd name="connsiteX154" fmla="*/ 1997014 w 7467600"/>
              <a:gd name="connsiteY154" fmla="*/ 4698007 h 6858000"/>
              <a:gd name="connsiteX155" fmla="*/ 2305292 w 7467600"/>
              <a:gd name="connsiteY155" fmla="*/ 4219492 h 6858000"/>
              <a:gd name="connsiteX156" fmla="*/ 3360922 w 7467600"/>
              <a:gd name="connsiteY156" fmla="*/ 4529373 h 6858000"/>
              <a:gd name="connsiteX157" fmla="*/ 3492420 w 7467600"/>
              <a:gd name="connsiteY157" fmla="*/ 4510145 h 6858000"/>
              <a:gd name="connsiteX158" fmla="*/ 3364086 w 7467600"/>
              <a:gd name="connsiteY158" fmla="*/ 4480340 h 6858000"/>
              <a:gd name="connsiteX159" fmla="*/ 3225818 w 7467600"/>
              <a:gd name="connsiteY159" fmla="*/ 4411822 h 6858000"/>
              <a:gd name="connsiteX160" fmla="*/ 3129696 w 7467600"/>
              <a:gd name="connsiteY160" fmla="*/ 4360704 h 6858000"/>
              <a:gd name="connsiteX161" fmla="*/ 2814545 w 7467600"/>
              <a:gd name="connsiteY161" fmla="*/ 4282955 h 6858000"/>
              <a:gd name="connsiteX162" fmla="*/ 2305292 w 7467600"/>
              <a:gd name="connsiteY162" fmla="*/ 4219492 h 6858000"/>
              <a:gd name="connsiteX163" fmla="*/ 2626982 w 7467600"/>
              <a:gd name="connsiteY163" fmla="*/ 4206450 h 6858000"/>
              <a:gd name="connsiteX164" fmla="*/ 2490617 w 7467600"/>
              <a:gd name="connsiteY164" fmla="*/ 4206951 h 6858000"/>
              <a:gd name="connsiteX165" fmla="*/ 2819869 w 7467600"/>
              <a:gd name="connsiteY165" fmla="*/ 4252936 h 6858000"/>
              <a:gd name="connsiteX166" fmla="*/ 3143018 w 7467600"/>
              <a:gd name="connsiteY166" fmla="*/ 4332698 h 6858000"/>
              <a:gd name="connsiteX167" fmla="*/ 3241520 w 7467600"/>
              <a:gd name="connsiteY167" fmla="*/ 4385112 h 6858000"/>
              <a:gd name="connsiteX168" fmla="*/ 3374575 w 7467600"/>
              <a:gd name="connsiteY168" fmla="*/ 4451517 h 6858000"/>
              <a:gd name="connsiteX169" fmla="*/ 3505221 w 7467600"/>
              <a:gd name="connsiteY169" fmla="*/ 4480757 h 6858000"/>
              <a:gd name="connsiteX170" fmla="*/ 2626982 w 7467600"/>
              <a:gd name="connsiteY170" fmla="*/ 4206450 h 6858000"/>
              <a:gd name="connsiteX171" fmla="*/ 1310106 w 7467600"/>
              <a:gd name="connsiteY171" fmla="*/ 3943217 h 6858000"/>
              <a:gd name="connsiteX172" fmla="*/ 854994 w 7467600"/>
              <a:gd name="connsiteY172" fmla="*/ 4399136 h 6858000"/>
              <a:gd name="connsiteX173" fmla="*/ 742462 w 7467600"/>
              <a:gd name="connsiteY173" fmla="*/ 4594648 h 6858000"/>
              <a:gd name="connsiteX174" fmla="*/ 820602 w 7467600"/>
              <a:gd name="connsiteY174" fmla="*/ 4485915 h 6858000"/>
              <a:gd name="connsiteX175" fmla="*/ 878295 w 7467600"/>
              <a:gd name="connsiteY175" fmla="*/ 4403594 h 6858000"/>
              <a:gd name="connsiteX176" fmla="*/ 1240607 w 7467600"/>
              <a:gd name="connsiteY176" fmla="*/ 4010401 h 6858000"/>
              <a:gd name="connsiteX177" fmla="*/ 1310106 w 7467600"/>
              <a:gd name="connsiteY177" fmla="*/ 3943217 h 6858000"/>
              <a:gd name="connsiteX178" fmla="*/ 1423113 w 7467600"/>
              <a:gd name="connsiteY178" fmla="*/ 3874565 h 6858000"/>
              <a:gd name="connsiteX179" fmla="*/ 1260565 w 7467600"/>
              <a:gd name="connsiteY179" fmla="*/ 4031982 h 6858000"/>
              <a:gd name="connsiteX180" fmla="*/ 901900 w 7467600"/>
              <a:gd name="connsiteY180" fmla="*/ 4421236 h 6858000"/>
              <a:gd name="connsiteX181" fmla="*/ 845044 w 7467600"/>
              <a:gd name="connsiteY181" fmla="*/ 4502436 h 6858000"/>
              <a:gd name="connsiteX182" fmla="*/ 685926 w 7467600"/>
              <a:gd name="connsiteY182" fmla="*/ 4703069 h 6858000"/>
              <a:gd name="connsiteX183" fmla="*/ 684248 w 7467600"/>
              <a:gd name="connsiteY183" fmla="*/ 4706721 h 6858000"/>
              <a:gd name="connsiteX184" fmla="*/ 1423113 w 7467600"/>
              <a:gd name="connsiteY184" fmla="*/ 3874565 h 6858000"/>
              <a:gd name="connsiteX185" fmla="*/ 3316479 w 7467600"/>
              <a:gd name="connsiteY185" fmla="*/ 3872136 h 6858000"/>
              <a:gd name="connsiteX186" fmla="*/ 3546806 w 7467600"/>
              <a:gd name="connsiteY186" fmla="*/ 4356139 h 6858000"/>
              <a:gd name="connsiteX187" fmla="*/ 3364433 w 7467600"/>
              <a:gd name="connsiteY187" fmla="*/ 3953121 h 6858000"/>
              <a:gd name="connsiteX188" fmla="*/ 3316479 w 7467600"/>
              <a:gd name="connsiteY188" fmla="*/ 3872136 h 6858000"/>
              <a:gd name="connsiteX189" fmla="*/ 3291335 w 7467600"/>
              <a:gd name="connsiteY189" fmla="*/ 3767420 h 6858000"/>
              <a:gd name="connsiteX190" fmla="*/ 3390805 w 7467600"/>
              <a:gd name="connsiteY190" fmla="*/ 3937163 h 6858000"/>
              <a:gd name="connsiteX191" fmla="*/ 3579062 w 7467600"/>
              <a:gd name="connsiteY191" fmla="*/ 4359040 h 6858000"/>
              <a:gd name="connsiteX192" fmla="*/ 3467355 w 7467600"/>
              <a:gd name="connsiteY192" fmla="*/ 3988130 h 6858000"/>
              <a:gd name="connsiteX193" fmla="*/ 3310753 w 7467600"/>
              <a:gd name="connsiteY193" fmla="*/ 3787140 h 6858000"/>
              <a:gd name="connsiteX194" fmla="*/ 3291335 w 7467600"/>
              <a:gd name="connsiteY194" fmla="*/ 3767420 h 6858000"/>
              <a:gd name="connsiteX195" fmla="*/ 1635889 w 7467600"/>
              <a:gd name="connsiteY195" fmla="*/ 3709494 h 6858000"/>
              <a:gd name="connsiteX196" fmla="*/ 1634800 w 7467600"/>
              <a:gd name="connsiteY196" fmla="*/ 3731111 h 6858000"/>
              <a:gd name="connsiteX197" fmla="*/ 1635889 w 7467600"/>
              <a:gd name="connsiteY197" fmla="*/ 3709494 h 6858000"/>
              <a:gd name="connsiteX198" fmla="*/ 1510397 w 7467600"/>
              <a:gd name="connsiteY198" fmla="*/ 3684705 h 6858000"/>
              <a:gd name="connsiteX199" fmla="*/ 1146550 w 7467600"/>
              <a:gd name="connsiteY199" fmla="*/ 3802012 h 6858000"/>
              <a:gd name="connsiteX200" fmla="*/ 698834 w 7467600"/>
              <a:gd name="connsiteY200" fmla="*/ 3952272 h 6858000"/>
              <a:gd name="connsiteX201" fmla="*/ 34256 w 7467600"/>
              <a:gd name="connsiteY201" fmla="*/ 4347603 h 6858000"/>
              <a:gd name="connsiteX202" fmla="*/ 527241 w 7467600"/>
              <a:gd name="connsiteY202" fmla="*/ 4065078 h 6858000"/>
              <a:gd name="connsiteX203" fmla="*/ 1510397 w 7467600"/>
              <a:gd name="connsiteY203" fmla="*/ 3684705 h 6858000"/>
              <a:gd name="connsiteX204" fmla="*/ 1313114 w 7467600"/>
              <a:gd name="connsiteY204" fmla="*/ 3655216 h 6858000"/>
              <a:gd name="connsiteX205" fmla="*/ 1109304 w 7467600"/>
              <a:gd name="connsiteY205" fmla="*/ 3669030 h 6858000"/>
              <a:gd name="connsiteX206" fmla="*/ 8129 w 7467600"/>
              <a:gd name="connsiteY206" fmla="*/ 4330519 h 6858000"/>
              <a:gd name="connsiteX207" fmla="*/ 687572 w 7467600"/>
              <a:gd name="connsiteY207" fmla="*/ 3925629 h 6858000"/>
              <a:gd name="connsiteX208" fmla="*/ 1138365 w 7467600"/>
              <a:gd name="connsiteY208" fmla="*/ 3774515 h 6858000"/>
              <a:gd name="connsiteX209" fmla="*/ 1505579 w 7467600"/>
              <a:gd name="connsiteY209" fmla="*/ 3655526 h 6858000"/>
              <a:gd name="connsiteX210" fmla="*/ 1313114 w 7467600"/>
              <a:gd name="connsiteY210" fmla="*/ 3655216 h 6858000"/>
              <a:gd name="connsiteX211" fmla="*/ 3655073 w 7467600"/>
              <a:gd name="connsiteY211" fmla="*/ 3650884 h 6858000"/>
              <a:gd name="connsiteX212" fmla="*/ 3989938 w 7467600"/>
              <a:gd name="connsiteY212" fmla="*/ 3991685 h 6858000"/>
              <a:gd name="connsiteX213" fmla="*/ 4393907 w 7467600"/>
              <a:gd name="connsiteY213" fmla="*/ 4261258 h 6858000"/>
              <a:gd name="connsiteX214" fmla="*/ 4648051 w 7467600"/>
              <a:gd name="connsiteY214" fmla="*/ 4374051 h 6858000"/>
              <a:gd name="connsiteX215" fmla="*/ 4383389 w 7467600"/>
              <a:gd name="connsiteY215" fmla="*/ 4184369 h 6858000"/>
              <a:gd name="connsiteX216" fmla="*/ 4165508 w 7467600"/>
              <a:gd name="connsiteY216" fmla="*/ 4035196 h 6858000"/>
              <a:gd name="connsiteX217" fmla="*/ 4068162 w 7467600"/>
              <a:gd name="connsiteY217" fmla="*/ 3953394 h 6858000"/>
              <a:gd name="connsiteX218" fmla="*/ 3981416 w 7467600"/>
              <a:gd name="connsiteY218" fmla="*/ 3880482 h 6858000"/>
              <a:gd name="connsiteX219" fmla="*/ 3800147 w 7467600"/>
              <a:gd name="connsiteY219" fmla="*/ 3749872 h 6858000"/>
              <a:gd name="connsiteX220" fmla="*/ 3655073 w 7467600"/>
              <a:gd name="connsiteY220" fmla="*/ 3650884 h 6858000"/>
              <a:gd name="connsiteX221" fmla="*/ 3670252 w 7467600"/>
              <a:gd name="connsiteY221" fmla="*/ 3622798 h 6858000"/>
              <a:gd name="connsiteX222" fmla="*/ 3817258 w 7467600"/>
              <a:gd name="connsiteY222" fmla="*/ 3723577 h 6858000"/>
              <a:gd name="connsiteX223" fmla="*/ 4000461 w 7467600"/>
              <a:gd name="connsiteY223" fmla="*/ 3855966 h 6858000"/>
              <a:gd name="connsiteX224" fmla="*/ 4088180 w 7467600"/>
              <a:gd name="connsiteY224" fmla="*/ 3929774 h 6858000"/>
              <a:gd name="connsiteX225" fmla="*/ 4184555 w 7467600"/>
              <a:gd name="connsiteY225" fmla="*/ 4010683 h 6858000"/>
              <a:gd name="connsiteX226" fmla="*/ 4399563 w 7467600"/>
              <a:gd name="connsiteY226" fmla="*/ 4158106 h 6858000"/>
              <a:gd name="connsiteX227" fmla="*/ 4684469 w 7467600"/>
              <a:gd name="connsiteY227" fmla="*/ 4364680 h 6858000"/>
              <a:gd name="connsiteX228" fmla="*/ 4690271 w 7467600"/>
              <a:gd name="connsiteY228" fmla="*/ 4370034 h 6858000"/>
              <a:gd name="connsiteX229" fmla="*/ 4136093 w 7467600"/>
              <a:gd name="connsiteY229" fmla="*/ 3858466 h 6858000"/>
              <a:gd name="connsiteX230" fmla="*/ 3670252 w 7467600"/>
              <a:gd name="connsiteY230" fmla="*/ 3622798 h 6858000"/>
              <a:gd name="connsiteX231" fmla="*/ 4440129 w 7467600"/>
              <a:gd name="connsiteY231" fmla="*/ 3448571 h 6858000"/>
              <a:gd name="connsiteX232" fmla="*/ 4856525 w 7467600"/>
              <a:gd name="connsiteY232" fmla="*/ 3915351 h 6858000"/>
              <a:gd name="connsiteX233" fmla="*/ 5059055 w 7467600"/>
              <a:gd name="connsiteY233" fmla="*/ 4108918 h 6858000"/>
              <a:gd name="connsiteX234" fmla="*/ 5290070 w 7467600"/>
              <a:gd name="connsiteY234" fmla="*/ 4263619 h 6858000"/>
              <a:gd name="connsiteX235" fmla="*/ 4834991 w 7467600"/>
              <a:gd name="connsiteY235" fmla="*/ 3830985 h 6858000"/>
              <a:gd name="connsiteX236" fmla="*/ 4440129 w 7467600"/>
              <a:gd name="connsiteY236" fmla="*/ 3448571 h 6858000"/>
              <a:gd name="connsiteX237" fmla="*/ 4441737 w 7467600"/>
              <a:gd name="connsiteY237" fmla="*/ 3399734 h 6858000"/>
              <a:gd name="connsiteX238" fmla="*/ 4431236 w 7467600"/>
              <a:gd name="connsiteY238" fmla="*/ 3400954 h 6858000"/>
              <a:gd name="connsiteX239" fmla="*/ 4557150 w 7467600"/>
              <a:gd name="connsiteY239" fmla="*/ 3510023 h 6858000"/>
              <a:gd name="connsiteX240" fmla="*/ 4856936 w 7467600"/>
              <a:gd name="connsiteY240" fmla="*/ 3809146 h 6858000"/>
              <a:gd name="connsiteX241" fmla="*/ 5111996 w 7467600"/>
              <a:gd name="connsiteY241" fmla="*/ 4065759 h 6858000"/>
              <a:gd name="connsiteX242" fmla="*/ 5388878 w 7467600"/>
              <a:gd name="connsiteY242" fmla="*/ 4300185 h 6858000"/>
              <a:gd name="connsiteX243" fmla="*/ 5425556 w 7467600"/>
              <a:gd name="connsiteY243" fmla="*/ 4308967 h 6858000"/>
              <a:gd name="connsiteX244" fmla="*/ 4943646 w 7467600"/>
              <a:gd name="connsiteY244" fmla="*/ 3822916 h 6858000"/>
              <a:gd name="connsiteX245" fmla="*/ 4594837 w 7467600"/>
              <a:gd name="connsiteY245" fmla="*/ 3532274 h 6858000"/>
              <a:gd name="connsiteX246" fmla="*/ 4441737 w 7467600"/>
              <a:gd name="connsiteY246" fmla="*/ 3399734 h 6858000"/>
              <a:gd name="connsiteX247" fmla="*/ 5425834 w 7467600"/>
              <a:gd name="connsiteY247" fmla="*/ 3162785 h 6858000"/>
              <a:gd name="connsiteX248" fmla="*/ 5401644 w 7467600"/>
              <a:gd name="connsiteY248" fmla="*/ 3617847 h 6858000"/>
              <a:gd name="connsiteX249" fmla="*/ 5467256 w 7467600"/>
              <a:gd name="connsiteY249" fmla="*/ 4175494 h 6858000"/>
              <a:gd name="connsiteX250" fmla="*/ 5448069 w 7467600"/>
              <a:gd name="connsiteY250" fmla="*/ 3567554 h 6858000"/>
              <a:gd name="connsiteX251" fmla="*/ 5425834 w 7467600"/>
              <a:gd name="connsiteY251" fmla="*/ 3162785 h 6858000"/>
              <a:gd name="connsiteX252" fmla="*/ 1318687 w 7467600"/>
              <a:gd name="connsiteY252" fmla="*/ 3113840 h 6858000"/>
              <a:gd name="connsiteX253" fmla="*/ 1066793 w 7467600"/>
              <a:gd name="connsiteY253" fmla="*/ 3212171 h 6858000"/>
              <a:gd name="connsiteX254" fmla="*/ 993319 w 7467600"/>
              <a:gd name="connsiteY254" fmla="*/ 3247648 h 6858000"/>
              <a:gd name="connsiteX255" fmla="*/ 853081 w 7467600"/>
              <a:gd name="connsiteY255" fmla="*/ 3312410 h 6858000"/>
              <a:gd name="connsiteX256" fmla="*/ 805957 w 7467600"/>
              <a:gd name="connsiteY256" fmla="*/ 3330443 h 6858000"/>
              <a:gd name="connsiteX257" fmla="*/ 1318687 w 7467600"/>
              <a:gd name="connsiteY257" fmla="*/ 3113840 h 6858000"/>
              <a:gd name="connsiteX258" fmla="*/ 5453702 w 7467600"/>
              <a:gd name="connsiteY258" fmla="*/ 3090882 h 6858000"/>
              <a:gd name="connsiteX259" fmla="*/ 5480135 w 7467600"/>
              <a:gd name="connsiteY259" fmla="*/ 3565802 h 6858000"/>
              <a:gd name="connsiteX260" fmla="*/ 5499023 w 7467600"/>
              <a:gd name="connsiteY260" fmla="*/ 4166310 h 6858000"/>
              <a:gd name="connsiteX261" fmla="*/ 5547022 w 7467600"/>
              <a:gd name="connsiteY261" fmla="*/ 3607838 h 6858000"/>
              <a:gd name="connsiteX262" fmla="*/ 5515964 w 7467600"/>
              <a:gd name="connsiteY262" fmla="*/ 3378541 h 6858000"/>
              <a:gd name="connsiteX263" fmla="*/ 5453702 w 7467600"/>
              <a:gd name="connsiteY263" fmla="*/ 3090882 h 6858000"/>
              <a:gd name="connsiteX264" fmla="*/ 1238695 w 7467600"/>
              <a:gd name="connsiteY264" fmla="*/ 3076820 h 6858000"/>
              <a:gd name="connsiteX265" fmla="*/ 716371 w 7467600"/>
              <a:gd name="connsiteY265" fmla="*/ 3293249 h 6858000"/>
              <a:gd name="connsiteX266" fmla="*/ 579522 w 7467600"/>
              <a:gd name="connsiteY266" fmla="*/ 3371759 h 6858000"/>
              <a:gd name="connsiteX267" fmla="*/ 600288 w 7467600"/>
              <a:gd name="connsiteY267" fmla="*/ 3365555 h 6858000"/>
              <a:gd name="connsiteX268" fmla="*/ 840692 w 7467600"/>
              <a:gd name="connsiteY268" fmla="*/ 3284921 h 6858000"/>
              <a:gd name="connsiteX269" fmla="*/ 979248 w 7467600"/>
              <a:gd name="connsiteY269" fmla="*/ 3221003 h 6858000"/>
              <a:gd name="connsiteX270" fmla="*/ 1053282 w 7467600"/>
              <a:gd name="connsiteY270" fmla="*/ 3185247 h 6858000"/>
              <a:gd name="connsiteX271" fmla="*/ 1320603 w 7467600"/>
              <a:gd name="connsiteY271" fmla="*/ 3081281 h 6858000"/>
              <a:gd name="connsiteX272" fmla="*/ 1238695 w 7467600"/>
              <a:gd name="connsiteY272" fmla="*/ 3076820 h 6858000"/>
              <a:gd name="connsiteX273" fmla="*/ 5425627 w 7467600"/>
              <a:gd name="connsiteY273" fmla="*/ 2954192 h 6858000"/>
              <a:gd name="connsiteX274" fmla="*/ 5470770 w 7467600"/>
              <a:gd name="connsiteY274" fmla="*/ 3005435 h 6858000"/>
              <a:gd name="connsiteX275" fmla="*/ 5519779 w 7467600"/>
              <a:gd name="connsiteY275" fmla="*/ 4359223 h 6858000"/>
              <a:gd name="connsiteX276" fmla="*/ 5520293 w 7467600"/>
              <a:gd name="connsiteY276" fmla="*/ 4360602 h 6858000"/>
              <a:gd name="connsiteX277" fmla="*/ 5767221 w 7467600"/>
              <a:gd name="connsiteY277" fmla="*/ 4665564 h 6858000"/>
              <a:gd name="connsiteX278" fmla="*/ 6937169 w 7467600"/>
              <a:gd name="connsiteY278" fmla="*/ 4815941 h 6858000"/>
              <a:gd name="connsiteX279" fmla="*/ 6953922 w 7467600"/>
              <a:gd name="connsiteY279" fmla="*/ 4890068 h 6858000"/>
              <a:gd name="connsiteX280" fmla="*/ 6071359 w 7467600"/>
              <a:gd name="connsiteY280" fmla="*/ 4770770 h 6858000"/>
              <a:gd name="connsiteX281" fmla="*/ 6038839 w 7467600"/>
              <a:gd name="connsiteY281" fmla="*/ 4764474 h 6858000"/>
              <a:gd name="connsiteX282" fmla="*/ 6038706 w 7467600"/>
              <a:gd name="connsiteY282" fmla="*/ 4763847 h 6858000"/>
              <a:gd name="connsiteX283" fmla="*/ 6037784 w 7467600"/>
              <a:gd name="connsiteY283" fmla="*/ 4764270 h 6858000"/>
              <a:gd name="connsiteX284" fmla="*/ 6038839 w 7467600"/>
              <a:gd name="connsiteY284" fmla="*/ 4764474 h 6858000"/>
              <a:gd name="connsiteX285" fmla="*/ 6040338 w 7467600"/>
              <a:gd name="connsiteY285" fmla="*/ 4771418 h 6858000"/>
              <a:gd name="connsiteX286" fmla="*/ 6024488 w 7467600"/>
              <a:gd name="connsiteY286" fmla="*/ 4809903 h 6858000"/>
              <a:gd name="connsiteX287" fmla="*/ 5599771 w 7467600"/>
              <a:gd name="connsiteY287" fmla="*/ 5509652 h 6858000"/>
              <a:gd name="connsiteX288" fmla="*/ 5548843 w 7467600"/>
              <a:gd name="connsiteY288" fmla="*/ 5563845 h 6858000"/>
              <a:gd name="connsiteX289" fmla="*/ 5940952 w 7467600"/>
              <a:gd name="connsiteY289" fmla="*/ 6250028 h 6858000"/>
              <a:gd name="connsiteX290" fmla="*/ 6043441 w 7467600"/>
              <a:gd name="connsiteY290" fmla="*/ 6665847 h 6858000"/>
              <a:gd name="connsiteX291" fmla="*/ 6093432 w 7467600"/>
              <a:gd name="connsiteY291" fmla="*/ 6858000 h 6858000"/>
              <a:gd name="connsiteX292" fmla="*/ 6034344 w 7467600"/>
              <a:gd name="connsiteY292" fmla="*/ 6858000 h 6858000"/>
              <a:gd name="connsiteX293" fmla="*/ 6026679 w 7467600"/>
              <a:gd name="connsiteY293" fmla="*/ 6836959 h 6858000"/>
              <a:gd name="connsiteX294" fmla="*/ 5800441 w 7467600"/>
              <a:gd name="connsiteY294" fmla="*/ 6335286 h 6858000"/>
              <a:gd name="connsiteX295" fmla="*/ 5526562 w 7467600"/>
              <a:gd name="connsiteY295" fmla="*/ 5705388 h 6858000"/>
              <a:gd name="connsiteX296" fmla="*/ 5519640 w 7467600"/>
              <a:gd name="connsiteY296" fmla="*/ 5683774 h 6858000"/>
              <a:gd name="connsiteX297" fmla="*/ 5844559 w 7467600"/>
              <a:gd name="connsiteY297" fmla="*/ 6553349 h 6858000"/>
              <a:gd name="connsiteX298" fmla="*/ 5975994 w 7467600"/>
              <a:gd name="connsiteY298" fmla="*/ 6858000 h 6858000"/>
              <a:gd name="connsiteX299" fmla="*/ 5898547 w 7467600"/>
              <a:gd name="connsiteY299" fmla="*/ 6858000 h 6858000"/>
              <a:gd name="connsiteX300" fmla="*/ 5682041 w 7467600"/>
              <a:gd name="connsiteY300" fmla="*/ 6355860 h 6858000"/>
              <a:gd name="connsiteX301" fmla="*/ 5461758 w 7467600"/>
              <a:gd name="connsiteY301" fmla="*/ 5820220 h 6858000"/>
              <a:gd name="connsiteX302" fmla="*/ 5237282 w 7467600"/>
              <a:gd name="connsiteY302" fmla="*/ 6579086 h 6858000"/>
              <a:gd name="connsiteX303" fmla="*/ 5115009 w 7467600"/>
              <a:gd name="connsiteY303" fmla="*/ 6858000 h 6858000"/>
              <a:gd name="connsiteX304" fmla="*/ 5028074 w 7467600"/>
              <a:gd name="connsiteY304" fmla="*/ 6858000 h 6858000"/>
              <a:gd name="connsiteX305" fmla="*/ 5079508 w 7467600"/>
              <a:gd name="connsiteY305" fmla="*/ 6749074 h 6858000"/>
              <a:gd name="connsiteX306" fmla="*/ 5371846 w 7467600"/>
              <a:gd name="connsiteY306" fmla="*/ 5924413 h 6858000"/>
              <a:gd name="connsiteX307" fmla="*/ 5270512 w 7467600"/>
              <a:gd name="connsiteY307" fmla="*/ 6138975 h 6858000"/>
              <a:gd name="connsiteX308" fmla="*/ 5062409 w 7467600"/>
              <a:gd name="connsiteY308" fmla="*/ 6653544 h 6858000"/>
              <a:gd name="connsiteX309" fmla="*/ 5036628 w 7467600"/>
              <a:gd name="connsiteY309" fmla="*/ 6754247 h 6858000"/>
              <a:gd name="connsiteX310" fmla="*/ 5009112 w 7467600"/>
              <a:gd name="connsiteY310" fmla="*/ 6858000 h 6858000"/>
              <a:gd name="connsiteX311" fmla="*/ 4976679 w 7467600"/>
              <a:gd name="connsiteY311" fmla="*/ 6858000 h 6858000"/>
              <a:gd name="connsiteX312" fmla="*/ 5006537 w 7467600"/>
              <a:gd name="connsiteY312" fmla="*/ 6747068 h 6858000"/>
              <a:gd name="connsiteX313" fmla="*/ 5032723 w 7467600"/>
              <a:gd name="connsiteY313" fmla="*/ 6644957 h 6858000"/>
              <a:gd name="connsiteX314" fmla="*/ 5242949 w 7467600"/>
              <a:gd name="connsiteY314" fmla="*/ 6125175 h 6858000"/>
              <a:gd name="connsiteX315" fmla="*/ 5286321 w 7467600"/>
              <a:gd name="connsiteY315" fmla="*/ 6033555 h 6858000"/>
              <a:gd name="connsiteX316" fmla="*/ 5008210 w 7467600"/>
              <a:gd name="connsiteY316" fmla="*/ 6649194 h 6858000"/>
              <a:gd name="connsiteX317" fmla="*/ 4986321 w 7467600"/>
              <a:gd name="connsiteY317" fmla="*/ 6765687 h 6858000"/>
              <a:gd name="connsiteX318" fmla="*/ 4973474 w 7467600"/>
              <a:gd name="connsiteY318" fmla="*/ 6858000 h 6858000"/>
              <a:gd name="connsiteX319" fmla="*/ 4907178 w 7467600"/>
              <a:gd name="connsiteY319" fmla="*/ 6858000 h 6858000"/>
              <a:gd name="connsiteX320" fmla="*/ 4910810 w 7467600"/>
              <a:gd name="connsiteY320" fmla="*/ 6829660 h 6858000"/>
              <a:gd name="connsiteX321" fmla="*/ 4987461 w 7467600"/>
              <a:gd name="connsiteY321" fmla="*/ 6432994 h 6858000"/>
              <a:gd name="connsiteX322" fmla="*/ 5179262 w 7467600"/>
              <a:gd name="connsiteY322" fmla="*/ 6035044 h 6858000"/>
              <a:gd name="connsiteX323" fmla="*/ 4689678 w 7467600"/>
              <a:gd name="connsiteY323" fmla="*/ 6440241 h 6858000"/>
              <a:gd name="connsiteX324" fmla="*/ 4477543 w 7467600"/>
              <a:gd name="connsiteY324" fmla="*/ 6674836 h 6858000"/>
              <a:gd name="connsiteX325" fmla="*/ 4329957 w 7467600"/>
              <a:gd name="connsiteY325" fmla="*/ 6858000 h 6858000"/>
              <a:gd name="connsiteX326" fmla="*/ 4218595 w 7467600"/>
              <a:gd name="connsiteY326" fmla="*/ 6858000 h 6858000"/>
              <a:gd name="connsiteX327" fmla="*/ 4368888 w 7467600"/>
              <a:gd name="connsiteY327" fmla="*/ 6668412 h 6858000"/>
              <a:gd name="connsiteX328" fmla="*/ 4563091 w 7467600"/>
              <a:gd name="connsiteY328" fmla="*/ 6442508 h 6858000"/>
              <a:gd name="connsiteX329" fmla="*/ 5387324 w 7467600"/>
              <a:gd name="connsiteY329" fmla="*/ 5705830 h 6858000"/>
              <a:gd name="connsiteX330" fmla="*/ 5073620 w 7467600"/>
              <a:gd name="connsiteY330" fmla="*/ 5955437 h 6858000"/>
              <a:gd name="connsiteX331" fmla="*/ 4689789 w 7467600"/>
              <a:gd name="connsiteY331" fmla="*/ 6268382 h 6858000"/>
              <a:gd name="connsiteX332" fmla="*/ 4418722 w 7467600"/>
              <a:gd name="connsiteY332" fmla="*/ 6570886 h 6858000"/>
              <a:gd name="connsiteX333" fmla="*/ 4214944 w 7467600"/>
              <a:gd name="connsiteY333" fmla="*/ 6858000 h 6858000"/>
              <a:gd name="connsiteX334" fmla="*/ 4177898 w 7467600"/>
              <a:gd name="connsiteY334" fmla="*/ 6858000 h 6858000"/>
              <a:gd name="connsiteX335" fmla="*/ 4391597 w 7467600"/>
              <a:gd name="connsiteY335" fmla="*/ 6556370 h 6858000"/>
              <a:gd name="connsiteX336" fmla="*/ 4668889 w 7467600"/>
              <a:gd name="connsiteY336" fmla="*/ 6246399 h 6858000"/>
              <a:gd name="connsiteX337" fmla="*/ 5055427 w 7467600"/>
              <a:gd name="connsiteY337" fmla="*/ 5931476 h 6858000"/>
              <a:gd name="connsiteX338" fmla="*/ 5371814 w 7467600"/>
              <a:gd name="connsiteY338" fmla="*/ 5678975 h 6858000"/>
              <a:gd name="connsiteX339" fmla="*/ 4987918 w 7467600"/>
              <a:gd name="connsiteY339" fmla="*/ 5838701 h 6858000"/>
              <a:gd name="connsiteX340" fmla="*/ 4317146 w 7467600"/>
              <a:gd name="connsiteY340" fmla="*/ 6587716 h 6858000"/>
              <a:gd name="connsiteX341" fmla="*/ 4171627 w 7467600"/>
              <a:gd name="connsiteY341" fmla="*/ 6858000 h 6858000"/>
              <a:gd name="connsiteX342" fmla="*/ 4081585 w 7467600"/>
              <a:gd name="connsiteY342" fmla="*/ 6858000 h 6858000"/>
              <a:gd name="connsiteX343" fmla="*/ 4238603 w 7467600"/>
              <a:gd name="connsiteY343" fmla="*/ 6559341 h 6858000"/>
              <a:gd name="connsiteX344" fmla="*/ 4778333 w 7467600"/>
              <a:gd name="connsiteY344" fmla="*/ 5873626 h 6858000"/>
              <a:gd name="connsiteX345" fmla="*/ 5414185 w 7467600"/>
              <a:gd name="connsiteY345" fmla="*/ 5573882 h 6858000"/>
              <a:gd name="connsiteX346" fmla="*/ 5959648 w 7467600"/>
              <a:gd name="connsiteY346" fmla="*/ 4760797 h 6858000"/>
              <a:gd name="connsiteX347" fmla="*/ 5355019 w 7467600"/>
              <a:gd name="connsiteY347" fmla="*/ 4734672 h 6858000"/>
              <a:gd name="connsiteX348" fmla="*/ 5083565 w 7467600"/>
              <a:gd name="connsiteY348" fmla="*/ 5179121 h 6858000"/>
              <a:gd name="connsiteX349" fmla="*/ 4713577 w 7467600"/>
              <a:gd name="connsiteY349" fmla="*/ 5616803 h 6858000"/>
              <a:gd name="connsiteX350" fmla="*/ 3989559 w 7467600"/>
              <a:gd name="connsiteY350" fmla="*/ 6145945 h 6858000"/>
              <a:gd name="connsiteX351" fmla="*/ 3939824 w 7467600"/>
              <a:gd name="connsiteY351" fmla="*/ 6066900 h 6858000"/>
              <a:gd name="connsiteX352" fmla="*/ 4584537 w 7467600"/>
              <a:gd name="connsiteY352" fmla="*/ 5324826 h 6858000"/>
              <a:gd name="connsiteX353" fmla="*/ 5037105 w 7467600"/>
              <a:gd name="connsiteY353" fmla="*/ 5088765 h 6858000"/>
              <a:gd name="connsiteX354" fmla="*/ 5039930 w 7467600"/>
              <a:gd name="connsiteY354" fmla="*/ 5089585 h 6858000"/>
              <a:gd name="connsiteX355" fmla="*/ 5263764 w 7467600"/>
              <a:gd name="connsiteY355" fmla="*/ 4735525 h 6858000"/>
              <a:gd name="connsiteX356" fmla="*/ 4086300 w 7467600"/>
              <a:gd name="connsiteY356" fmla="*/ 4884599 h 6858000"/>
              <a:gd name="connsiteX357" fmla="*/ 4085485 w 7467600"/>
              <a:gd name="connsiteY357" fmla="*/ 4899070 h 6858000"/>
              <a:gd name="connsiteX358" fmla="*/ 3871915 w 7467600"/>
              <a:gd name="connsiteY358" fmla="*/ 5253645 h 6858000"/>
              <a:gd name="connsiteX359" fmla="*/ 3799374 w 7467600"/>
              <a:gd name="connsiteY359" fmla="*/ 5466127 h 6858000"/>
              <a:gd name="connsiteX360" fmla="*/ 3498850 w 7467600"/>
              <a:gd name="connsiteY360" fmla="*/ 6661888 h 6858000"/>
              <a:gd name="connsiteX361" fmla="*/ 3399216 w 7467600"/>
              <a:gd name="connsiteY361" fmla="*/ 6858000 h 6858000"/>
              <a:gd name="connsiteX362" fmla="*/ 3303688 w 7467600"/>
              <a:gd name="connsiteY362" fmla="*/ 6858000 h 6858000"/>
              <a:gd name="connsiteX363" fmla="*/ 3391774 w 7467600"/>
              <a:gd name="connsiteY363" fmla="*/ 6697181 h 6858000"/>
              <a:gd name="connsiteX364" fmla="*/ 3735540 w 7467600"/>
              <a:gd name="connsiteY364" fmla="*/ 5546923 h 6858000"/>
              <a:gd name="connsiteX365" fmla="*/ 3729438 w 7467600"/>
              <a:gd name="connsiteY365" fmla="*/ 5569058 h 6858000"/>
              <a:gd name="connsiteX366" fmla="*/ 3707782 w 7467600"/>
              <a:gd name="connsiteY366" fmla="*/ 5644908 h 6858000"/>
              <a:gd name="connsiteX367" fmla="*/ 3583827 w 7467600"/>
              <a:gd name="connsiteY367" fmla="*/ 6039215 h 6858000"/>
              <a:gd name="connsiteX368" fmla="*/ 3547861 w 7467600"/>
              <a:gd name="connsiteY368" fmla="*/ 6129609 h 6858000"/>
              <a:gd name="connsiteX369" fmla="*/ 3490905 w 7467600"/>
              <a:gd name="connsiteY369" fmla="*/ 6277660 h 6858000"/>
              <a:gd name="connsiteX370" fmla="*/ 3455859 w 7467600"/>
              <a:gd name="connsiteY370" fmla="*/ 6391301 h 6858000"/>
              <a:gd name="connsiteX371" fmla="*/ 3429112 w 7467600"/>
              <a:gd name="connsiteY371" fmla="*/ 6479469 h 6858000"/>
              <a:gd name="connsiteX372" fmla="*/ 3304862 w 7467600"/>
              <a:gd name="connsiteY372" fmla="*/ 6796476 h 6858000"/>
              <a:gd name="connsiteX373" fmla="*/ 3276071 w 7467600"/>
              <a:gd name="connsiteY373" fmla="*/ 6858000 h 6858000"/>
              <a:gd name="connsiteX374" fmla="*/ 3240805 w 7467600"/>
              <a:gd name="connsiteY374" fmla="*/ 6858000 h 6858000"/>
              <a:gd name="connsiteX375" fmla="*/ 3275917 w 7467600"/>
              <a:gd name="connsiteY375" fmla="*/ 6783192 h 6858000"/>
              <a:gd name="connsiteX376" fmla="*/ 3399358 w 7467600"/>
              <a:gd name="connsiteY376" fmla="*/ 6469011 h 6858000"/>
              <a:gd name="connsiteX377" fmla="*/ 3425650 w 7467600"/>
              <a:gd name="connsiteY377" fmla="*/ 6381333 h 6858000"/>
              <a:gd name="connsiteX378" fmla="*/ 3460661 w 7467600"/>
              <a:gd name="connsiteY378" fmla="*/ 6266763 h 6858000"/>
              <a:gd name="connsiteX379" fmla="*/ 3518021 w 7467600"/>
              <a:gd name="connsiteY379" fmla="*/ 6117298 h 6858000"/>
              <a:gd name="connsiteX380" fmla="*/ 3554035 w 7467600"/>
              <a:gd name="connsiteY380" fmla="*/ 6027832 h 6858000"/>
              <a:gd name="connsiteX381" fmla="*/ 3677174 w 7467600"/>
              <a:gd name="connsiteY381" fmla="*/ 5636351 h 6858000"/>
              <a:gd name="connsiteX382" fmla="*/ 3698819 w 7467600"/>
              <a:gd name="connsiteY382" fmla="*/ 5560503 h 6858000"/>
              <a:gd name="connsiteX383" fmla="*/ 3702094 w 7467600"/>
              <a:gd name="connsiteY383" fmla="*/ 5549194 h 6858000"/>
              <a:gd name="connsiteX384" fmla="*/ 3398355 w 7467600"/>
              <a:gd name="connsiteY384" fmla="*/ 6094603 h 6858000"/>
              <a:gd name="connsiteX385" fmla="*/ 3193941 w 7467600"/>
              <a:gd name="connsiteY385" fmla="*/ 6798775 h 6858000"/>
              <a:gd name="connsiteX386" fmla="*/ 3184140 w 7467600"/>
              <a:gd name="connsiteY386" fmla="*/ 6858000 h 6858000"/>
              <a:gd name="connsiteX387" fmla="*/ 3099978 w 7467600"/>
              <a:gd name="connsiteY387" fmla="*/ 6858000 h 6858000"/>
              <a:gd name="connsiteX388" fmla="*/ 3101556 w 7467600"/>
              <a:gd name="connsiteY388" fmla="*/ 6843337 h 6858000"/>
              <a:gd name="connsiteX389" fmla="*/ 3370162 w 7467600"/>
              <a:gd name="connsiteY389" fmla="*/ 5785550 h 6858000"/>
              <a:gd name="connsiteX390" fmla="*/ 3746477 w 7467600"/>
              <a:gd name="connsiteY390" fmla="*/ 5377889 h 6858000"/>
              <a:gd name="connsiteX391" fmla="*/ 3863399 w 7467600"/>
              <a:gd name="connsiteY391" fmla="*/ 5087257 h 6858000"/>
              <a:gd name="connsiteX392" fmla="*/ 3968712 w 7467600"/>
              <a:gd name="connsiteY392" fmla="*/ 4913989 h 6858000"/>
              <a:gd name="connsiteX393" fmla="*/ 2792390 w 7467600"/>
              <a:gd name="connsiteY393" fmla="*/ 5382974 h 6858000"/>
              <a:gd name="connsiteX394" fmla="*/ 2714982 w 7467600"/>
              <a:gd name="connsiteY394" fmla="*/ 5427051 h 6858000"/>
              <a:gd name="connsiteX395" fmla="*/ 2813361 w 7467600"/>
              <a:gd name="connsiteY395" fmla="*/ 6023912 h 6858000"/>
              <a:gd name="connsiteX396" fmla="*/ 2688430 w 7467600"/>
              <a:gd name="connsiteY396" fmla="*/ 6801564 h 6858000"/>
              <a:gd name="connsiteX397" fmla="*/ 2629626 w 7467600"/>
              <a:gd name="connsiteY397" fmla="*/ 6763394 h 6858000"/>
              <a:gd name="connsiteX398" fmla="*/ 2565328 w 7467600"/>
              <a:gd name="connsiteY398" fmla="*/ 5516399 h 6858000"/>
              <a:gd name="connsiteX399" fmla="*/ 1922999 w 7467600"/>
              <a:gd name="connsiteY399" fmla="*/ 5980343 h 6858000"/>
              <a:gd name="connsiteX400" fmla="*/ 1950261 w 7467600"/>
              <a:gd name="connsiteY400" fmla="*/ 6405858 h 6858000"/>
              <a:gd name="connsiteX401" fmla="*/ 2365554 w 7467600"/>
              <a:gd name="connsiteY401" fmla="*/ 6759107 h 6858000"/>
              <a:gd name="connsiteX402" fmla="*/ 2424142 w 7467600"/>
              <a:gd name="connsiteY402" fmla="*/ 6858000 h 6858000"/>
              <a:gd name="connsiteX403" fmla="*/ 2395994 w 7467600"/>
              <a:gd name="connsiteY403" fmla="*/ 6858000 h 6858000"/>
              <a:gd name="connsiteX404" fmla="*/ 2392863 w 7467600"/>
              <a:gd name="connsiteY404" fmla="*/ 6852964 h 6858000"/>
              <a:gd name="connsiteX405" fmla="*/ 2017589 w 7467600"/>
              <a:gd name="connsiteY405" fmla="*/ 6493982 h 6858000"/>
              <a:gd name="connsiteX406" fmla="*/ 2147336 w 7467600"/>
              <a:gd name="connsiteY406" fmla="*/ 6594052 h 6858000"/>
              <a:gd name="connsiteX407" fmla="*/ 2207047 w 7467600"/>
              <a:gd name="connsiteY407" fmla="*/ 6654540 h 6858000"/>
              <a:gd name="connsiteX408" fmla="*/ 2299106 w 7467600"/>
              <a:gd name="connsiteY408" fmla="*/ 6778931 h 6858000"/>
              <a:gd name="connsiteX409" fmla="*/ 2314430 w 7467600"/>
              <a:gd name="connsiteY409" fmla="*/ 6801144 h 6858000"/>
              <a:gd name="connsiteX410" fmla="*/ 2352406 w 7467600"/>
              <a:gd name="connsiteY410" fmla="*/ 6858000 h 6858000"/>
              <a:gd name="connsiteX411" fmla="*/ 2314492 w 7467600"/>
              <a:gd name="connsiteY411" fmla="*/ 6858000 h 6858000"/>
              <a:gd name="connsiteX412" fmla="*/ 2288095 w 7467600"/>
              <a:gd name="connsiteY412" fmla="*/ 6818030 h 6858000"/>
              <a:gd name="connsiteX413" fmla="*/ 2272768 w 7467600"/>
              <a:gd name="connsiteY413" fmla="*/ 6795822 h 6858000"/>
              <a:gd name="connsiteX414" fmla="*/ 2182715 w 7467600"/>
              <a:gd name="connsiteY414" fmla="*/ 6675071 h 6858000"/>
              <a:gd name="connsiteX415" fmla="*/ 2032061 w 7467600"/>
              <a:gd name="connsiteY415" fmla="*/ 6541380 h 6858000"/>
              <a:gd name="connsiteX416" fmla="*/ 2257220 w 7467600"/>
              <a:gd name="connsiteY416" fmla="*/ 6826257 h 6858000"/>
              <a:gd name="connsiteX417" fmla="*/ 2281324 w 7467600"/>
              <a:gd name="connsiteY417" fmla="*/ 6858000 h 6858000"/>
              <a:gd name="connsiteX418" fmla="*/ 2242860 w 7467600"/>
              <a:gd name="connsiteY418" fmla="*/ 6858000 h 6858000"/>
              <a:gd name="connsiteX419" fmla="*/ 2232818 w 7467600"/>
              <a:gd name="connsiteY419" fmla="*/ 6844926 h 6858000"/>
              <a:gd name="connsiteX420" fmla="*/ 1990172 w 7467600"/>
              <a:gd name="connsiteY420" fmla="*/ 6542121 h 6858000"/>
              <a:gd name="connsiteX421" fmla="*/ 2124090 w 7467600"/>
              <a:gd name="connsiteY421" fmla="*/ 6761017 h 6858000"/>
              <a:gd name="connsiteX422" fmla="*/ 2200380 w 7467600"/>
              <a:gd name="connsiteY422" fmla="*/ 6858000 h 6858000"/>
              <a:gd name="connsiteX423" fmla="*/ 2147507 w 7467600"/>
              <a:gd name="connsiteY423" fmla="*/ 6858000 h 6858000"/>
              <a:gd name="connsiteX424" fmla="*/ 2070668 w 7467600"/>
              <a:gd name="connsiteY424" fmla="*/ 6761520 h 6858000"/>
              <a:gd name="connsiteX425" fmla="*/ 1975142 w 7467600"/>
              <a:gd name="connsiteY425" fmla="*/ 6585570 h 6858000"/>
              <a:gd name="connsiteX426" fmla="*/ 2050035 w 7467600"/>
              <a:gd name="connsiteY426" fmla="*/ 6813345 h 6858000"/>
              <a:gd name="connsiteX427" fmla="*/ 2063025 w 7467600"/>
              <a:gd name="connsiteY427" fmla="*/ 6858000 h 6858000"/>
              <a:gd name="connsiteX428" fmla="*/ 2021675 w 7467600"/>
              <a:gd name="connsiteY428" fmla="*/ 6858000 h 6858000"/>
              <a:gd name="connsiteX429" fmla="*/ 2019308 w 7467600"/>
              <a:gd name="connsiteY429" fmla="*/ 6847118 h 6858000"/>
              <a:gd name="connsiteX430" fmla="*/ 1938835 w 7467600"/>
              <a:gd name="connsiteY430" fmla="*/ 6551160 h 6858000"/>
              <a:gd name="connsiteX431" fmla="*/ 1953230 w 7467600"/>
              <a:gd name="connsiteY431" fmla="*/ 6759699 h 6858000"/>
              <a:gd name="connsiteX432" fmla="*/ 1956763 w 7467600"/>
              <a:gd name="connsiteY432" fmla="*/ 6778191 h 6858000"/>
              <a:gd name="connsiteX433" fmla="*/ 1967925 w 7467600"/>
              <a:gd name="connsiteY433" fmla="*/ 6858000 h 6858000"/>
              <a:gd name="connsiteX434" fmla="*/ 1936622 w 7467600"/>
              <a:gd name="connsiteY434" fmla="*/ 6858000 h 6858000"/>
              <a:gd name="connsiteX435" fmla="*/ 1926261 w 7467600"/>
              <a:gd name="connsiteY435" fmla="*/ 6784064 h 6858000"/>
              <a:gd name="connsiteX436" fmla="*/ 1922724 w 7467600"/>
              <a:gd name="connsiteY436" fmla="*/ 6765577 h 6858000"/>
              <a:gd name="connsiteX437" fmla="*/ 1904650 w 7467600"/>
              <a:gd name="connsiteY437" fmla="*/ 6639616 h 6858000"/>
              <a:gd name="connsiteX438" fmla="*/ 1885273 w 7467600"/>
              <a:gd name="connsiteY438" fmla="*/ 6858000 h 6858000"/>
              <a:gd name="connsiteX439" fmla="*/ 1854363 w 7467600"/>
              <a:gd name="connsiteY439" fmla="*/ 6858000 h 6858000"/>
              <a:gd name="connsiteX440" fmla="*/ 1880391 w 7467600"/>
              <a:gd name="connsiteY440" fmla="*/ 6603796 h 6858000"/>
              <a:gd name="connsiteX441" fmla="*/ 1818273 w 7467600"/>
              <a:gd name="connsiteY441" fmla="*/ 6715729 h 6858000"/>
              <a:gd name="connsiteX442" fmla="*/ 1794691 w 7467600"/>
              <a:gd name="connsiteY442" fmla="*/ 6843239 h 6858000"/>
              <a:gd name="connsiteX443" fmla="*/ 1794914 w 7467600"/>
              <a:gd name="connsiteY443" fmla="*/ 6858000 h 6858000"/>
              <a:gd name="connsiteX444" fmla="*/ 1746128 w 7467600"/>
              <a:gd name="connsiteY444" fmla="*/ 6858000 h 6858000"/>
              <a:gd name="connsiteX445" fmla="*/ 1753934 w 7467600"/>
              <a:gd name="connsiteY445" fmla="*/ 6724796 h 6858000"/>
              <a:gd name="connsiteX446" fmla="*/ 1792053 w 7467600"/>
              <a:gd name="connsiteY446" fmla="*/ 6572396 h 6858000"/>
              <a:gd name="connsiteX447" fmla="*/ 1862248 w 7467600"/>
              <a:gd name="connsiteY447" fmla="*/ 6266397 h 6858000"/>
              <a:gd name="connsiteX448" fmla="*/ 1862250 w 7467600"/>
              <a:gd name="connsiteY448" fmla="*/ 6033531 h 6858000"/>
              <a:gd name="connsiteX449" fmla="*/ 1211999 w 7467600"/>
              <a:gd name="connsiteY449" fmla="*/ 6683610 h 6858000"/>
              <a:gd name="connsiteX450" fmla="*/ 1213266 w 7467600"/>
              <a:gd name="connsiteY450" fmla="*/ 6691947 h 6858000"/>
              <a:gd name="connsiteX451" fmla="*/ 1203370 w 7467600"/>
              <a:gd name="connsiteY451" fmla="*/ 6850676 h 6858000"/>
              <a:gd name="connsiteX452" fmla="*/ 1203671 w 7467600"/>
              <a:gd name="connsiteY452" fmla="*/ 6858000 h 6858000"/>
              <a:gd name="connsiteX453" fmla="*/ 1143180 w 7467600"/>
              <a:gd name="connsiteY453" fmla="*/ 6858000 h 6858000"/>
              <a:gd name="connsiteX454" fmla="*/ 1142176 w 7467600"/>
              <a:gd name="connsiteY454" fmla="*/ 6766045 h 6858000"/>
              <a:gd name="connsiteX455" fmla="*/ 1067484 w 7467600"/>
              <a:gd name="connsiteY455" fmla="*/ 6858000 h 6858000"/>
              <a:gd name="connsiteX456" fmla="*/ 953928 w 7467600"/>
              <a:gd name="connsiteY456" fmla="*/ 6858000 h 6858000"/>
              <a:gd name="connsiteX457" fmla="*/ 959715 w 7467600"/>
              <a:gd name="connsiteY457" fmla="*/ 6850185 h 6858000"/>
              <a:gd name="connsiteX458" fmla="*/ 1483788 w 7467600"/>
              <a:gd name="connsiteY458" fmla="*/ 6259174 h 6858000"/>
              <a:gd name="connsiteX459" fmla="*/ 1100671 w 7467600"/>
              <a:gd name="connsiteY459" fmla="*/ 6252137 h 6858000"/>
              <a:gd name="connsiteX460" fmla="*/ 1090144 w 7467600"/>
              <a:gd name="connsiteY460" fmla="*/ 6256748 h 6858000"/>
              <a:gd name="connsiteX461" fmla="*/ 1095872 w 7467600"/>
              <a:gd name="connsiteY461" fmla="*/ 6271892 h 6858000"/>
              <a:gd name="connsiteX462" fmla="*/ 262785 w 7467600"/>
              <a:gd name="connsiteY462" fmla="*/ 6845450 h 6858000"/>
              <a:gd name="connsiteX463" fmla="*/ 209968 w 7467600"/>
              <a:gd name="connsiteY463" fmla="*/ 6770713 h 6858000"/>
              <a:gd name="connsiteX464" fmla="*/ 873460 w 7467600"/>
              <a:gd name="connsiteY464" fmla="*/ 6253768 h 6858000"/>
              <a:gd name="connsiteX465" fmla="*/ 192686 w 7467600"/>
              <a:gd name="connsiteY465" fmla="*/ 5849257 h 6858000"/>
              <a:gd name="connsiteX466" fmla="*/ 4696 w 7467600"/>
              <a:gd name="connsiteY466" fmla="*/ 5697668 h 6858000"/>
              <a:gd name="connsiteX467" fmla="*/ 0 w 7467600"/>
              <a:gd name="connsiteY467" fmla="*/ 5689984 h 6858000"/>
              <a:gd name="connsiteX468" fmla="*/ 0 w 7467600"/>
              <a:gd name="connsiteY468" fmla="*/ 5513472 h 6858000"/>
              <a:gd name="connsiteX469" fmla="*/ 174101 w 7467600"/>
              <a:gd name="connsiteY469" fmla="*/ 5620277 h 6858000"/>
              <a:gd name="connsiteX470" fmla="*/ 891800 w 7467600"/>
              <a:gd name="connsiteY470" fmla="*/ 6036935 h 6858000"/>
              <a:gd name="connsiteX471" fmla="*/ 1072219 w 7467600"/>
              <a:gd name="connsiteY471" fmla="*/ 6169443 h 6858000"/>
              <a:gd name="connsiteX472" fmla="*/ 1074117 w 7467600"/>
              <a:gd name="connsiteY472" fmla="*/ 6170301 h 6858000"/>
              <a:gd name="connsiteX473" fmla="*/ 1083114 w 7467600"/>
              <a:gd name="connsiteY473" fmla="*/ 6174131 h 6858000"/>
              <a:gd name="connsiteX474" fmla="*/ 1543010 w 7467600"/>
              <a:gd name="connsiteY474" fmla="*/ 6191140 h 6858000"/>
              <a:gd name="connsiteX475" fmla="*/ 1551080 w 7467600"/>
              <a:gd name="connsiteY475" fmla="*/ 6195006 h 6858000"/>
              <a:gd name="connsiteX476" fmla="*/ 2345443 w 7467600"/>
              <a:gd name="connsiteY476" fmla="*/ 5549882 h 6858000"/>
              <a:gd name="connsiteX477" fmla="*/ 1721499 w 7467600"/>
              <a:gd name="connsiteY477" fmla="*/ 5599969 h 6858000"/>
              <a:gd name="connsiteX478" fmla="*/ 767716 w 7467600"/>
              <a:gd name="connsiteY478" fmla="*/ 5472768 h 6858000"/>
              <a:gd name="connsiteX479" fmla="*/ 722147 w 7467600"/>
              <a:gd name="connsiteY479" fmla="*/ 5393091 h 6858000"/>
              <a:gd name="connsiteX480" fmla="*/ 1485552 w 7467600"/>
              <a:gd name="connsiteY480" fmla="*/ 5313202 h 6858000"/>
              <a:gd name="connsiteX481" fmla="*/ 2143004 w 7467600"/>
              <a:gd name="connsiteY481" fmla="*/ 5402420 h 6858000"/>
              <a:gd name="connsiteX482" fmla="*/ 1933391 w 7467600"/>
              <a:gd name="connsiteY482" fmla="*/ 5156971 h 6858000"/>
              <a:gd name="connsiteX483" fmla="*/ 1827118 w 7467600"/>
              <a:gd name="connsiteY483" fmla="*/ 4968410 h 6858000"/>
              <a:gd name="connsiteX484" fmla="*/ 1837349 w 7467600"/>
              <a:gd name="connsiteY484" fmla="*/ 4956357 h 6858000"/>
              <a:gd name="connsiteX485" fmla="*/ 2162835 w 7467600"/>
              <a:gd name="connsiteY485" fmla="*/ 5187853 h 6858000"/>
              <a:gd name="connsiteX486" fmla="*/ 2257167 w 7467600"/>
              <a:gd name="connsiteY486" fmla="*/ 5462123 h 6858000"/>
              <a:gd name="connsiteX487" fmla="*/ 2261598 w 7467600"/>
              <a:gd name="connsiteY487" fmla="*/ 5467998 h 6858000"/>
              <a:gd name="connsiteX488" fmla="*/ 2437177 w 7467600"/>
              <a:gd name="connsiteY488" fmla="*/ 5479608 h 6858000"/>
              <a:gd name="connsiteX489" fmla="*/ 2445247 w 7467600"/>
              <a:gd name="connsiteY489" fmla="*/ 5483476 h 6858000"/>
              <a:gd name="connsiteX490" fmla="*/ 2743626 w 7467600"/>
              <a:gd name="connsiteY490" fmla="*/ 5304819 h 6858000"/>
              <a:gd name="connsiteX491" fmla="*/ 3048102 w 7467600"/>
              <a:gd name="connsiteY491" fmla="*/ 5150595 h 6858000"/>
              <a:gd name="connsiteX492" fmla="*/ 1799414 w 7467600"/>
              <a:gd name="connsiteY492" fmla="*/ 4694732 h 6858000"/>
              <a:gd name="connsiteX493" fmla="*/ 1771735 w 7467600"/>
              <a:gd name="connsiteY493" fmla="*/ 4619929 h 6858000"/>
              <a:gd name="connsiteX494" fmla="*/ 3104273 w 7467600"/>
              <a:gd name="connsiteY494" fmla="*/ 5076159 h 6858000"/>
              <a:gd name="connsiteX495" fmla="*/ 3113245 w 7467600"/>
              <a:gd name="connsiteY495" fmla="*/ 5090705 h 6858000"/>
              <a:gd name="connsiteX496" fmla="*/ 3126294 w 7467600"/>
              <a:gd name="connsiteY496" fmla="*/ 5114400 h 6858000"/>
              <a:gd name="connsiteX497" fmla="*/ 3937433 w 7467600"/>
              <a:gd name="connsiteY497" fmla="*/ 4830473 h 6858000"/>
              <a:gd name="connsiteX498" fmla="*/ 3590475 w 7467600"/>
              <a:gd name="connsiteY498" fmla="*/ 4597974 h 6858000"/>
              <a:gd name="connsiteX499" fmla="*/ 3100264 w 7467600"/>
              <a:gd name="connsiteY499" fmla="*/ 4579845 h 6858000"/>
              <a:gd name="connsiteX500" fmla="*/ 2183576 w 7467600"/>
              <a:gd name="connsiteY500" fmla="*/ 4227150 h 6858000"/>
              <a:gd name="connsiteX501" fmla="*/ 2151029 w 7467600"/>
              <a:gd name="connsiteY501" fmla="*/ 4146947 h 6858000"/>
              <a:gd name="connsiteX502" fmla="*/ 3563434 w 7467600"/>
              <a:gd name="connsiteY502" fmla="*/ 4469115 h 6858000"/>
              <a:gd name="connsiteX503" fmla="*/ 3177952 w 7467600"/>
              <a:gd name="connsiteY503" fmla="*/ 3657386 h 6858000"/>
              <a:gd name="connsiteX504" fmla="*/ 3189263 w 7467600"/>
              <a:gd name="connsiteY504" fmla="*/ 3625726 h 6858000"/>
              <a:gd name="connsiteX505" fmla="*/ 3560912 w 7467600"/>
              <a:gd name="connsiteY505" fmla="*/ 4079863 h 6858000"/>
              <a:gd name="connsiteX506" fmla="*/ 3626636 w 7467600"/>
              <a:gd name="connsiteY506" fmla="*/ 4512230 h 6858000"/>
              <a:gd name="connsiteX507" fmla="*/ 3653088 w 7467600"/>
              <a:gd name="connsiteY507" fmla="*/ 4521417 h 6858000"/>
              <a:gd name="connsiteX508" fmla="*/ 3988128 w 7467600"/>
              <a:gd name="connsiteY508" fmla="*/ 4817267 h 6858000"/>
              <a:gd name="connsiteX509" fmla="*/ 4830582 w 7467600"/>
              <a:gd name="connsiteY509" fmla="*/ 4676000 h 6858000"/>
              <a:gd name="connsiteX510" fmla="*/ 4830100 w 7467600"/>
              <a:gd name="connsiteY510" fmla="*/ 4675554 h 6858000"/>
              <a:gd name="connsiteX511" fmla="*/ 4036318 w 7467600"/>
              <a:gd name="connsiteY511" fmla="*/ 4147013 h 6858000"/>
              <a:gd name="connsiteX512" fmla="*/ 3432098 w 7467600"/>
              <a:gd name="connsiteY512" fmla="*/ 3537312 h 6858000"/>
              <a:gd name="connsiteX513" fmla="*/ 3446761 w 7467600"/>
              <a:gd name="connsiteY513" fmla="*/ 3461278 h 6858000"/>
              <a:gd name="connsiteX514" fmla="*/ 4419733 w 7467600"/>
              <a:gd name="connsiteY514" fmla="*/ 3963555 h 6858000"/>
              <a:gd name="connsiteX515" fmla="*/ 4781371 w 7467600"/>
              <a:gd name="connsiteY515" fmla="*/ 4458604 h 6858000"/>
              <a:gd name="connsiteX516" fmla="*/ 4780440 w 7467600"/>
              <a:gd name="connsiteY516" fmla="*/ 4470290 h 6858000"/>
              <a:gd name="connsiteX517" fmla="*/ 4898954 w 7467600"/>
              <a:gd name="connsiteY517" fmla="*/ 4662092 h 6858000"/>
              <a:gd name="connsiteX518" fmla="*/ 4900699 w 7467600"/>
              <a:gd name="connsiteY518" fmla="*/ 4670867 h 6858000"/>
              <a:gd name="connsiteX519" fmla="*/ 5714511 w 7467600"/>
              <a:gd name="connsiteY519" fmla="*/ 4663483 h 6858000"/>
              <a:gd name="connsiteX520" fmla="*/ 5464793 w 7467600"/>
              <a:gd name="connsiteY520" fmla="*/ 4393556 h 6858000"/>
              <a:gd name="connsiteX521" fmla="*/ 5461897 w 7467600"/>
              <a:gd name="connsiteY521" fmla="*/ 4390879 h 6858000"/>
              <a:gd name="connsiteX522" fmla="*/ 4294126 w 7467600"/>
              <a:gd name="connsiteY522" fmla="*/ 3303048 h 6858000"/>
              <a:gd name="connsiteX523" fmla="*/ 4305321 w 7467600"/>
              <a:gd name="connsiteY523" fmla="*/ 3256953 h 6858000"/>
              <a:gd name="connsiteX524" fmla="*/ 4949299 w 7467600"/>
              <a:gd name="connsiteY524" fmla="*/ 3766336 h 6858000"/>
              <a:gd name="connsiteX525" fmla="*/ 5291452 w 7467600"/>
              <a:gd name="connsiteY525" fmla="*/ 4076801 h 6858000"/>
              <a:gd name="connsiteX526" fmla="*/ 5434998 w 7467600"/>
              <a:gd name="connsiteY526" fmla="*/ 4254100 h 6858000"/>
              <a:gd name="connsiteX527" fmla="*/ 5351015 w 7467600"/>
              <a:gd name="connsiteY527" fmla="*/ 3760989 h 6858000"/>
              <a:gd name="connsiteX528" fmla="*/ 5413780 w 7467600"/>
              <a:gd name="connsiteY528" fmla="*/ 2966265 h 6858000"/>
              <a:gd name="connsiteX529" fmla="*/ 5425627 w 7467600"/>
              <a:gd name="connsiteY529" fmla="*/ 2954192 h 6858000"/>
              <a:gd name="connsiteX530" fmla="*/ 6604735 w 7467600"/>
              <a:gd name="connsiteY530" fmla="*/ 2041381 h 6858000"/>
              <a:gd name="connsiteX531" fmla="*/ 7204487 w 7467600"/>
              <a:gd name="connsiteY531" fmla="*/ 2742112 h 6858000"/>
              <a:gd name="connsiteX532" fmla="*/ 7131592 w 7467600"/>
              <a:gd name="connsiteY532" fmla="*/ 2672096 h 6858000"/>
              <a:gd name="connsiteX533" fmla="*/ 6996344 w 7467600"/>
              <a:gd name="connsiteY533" fmla="*/ 2518310 h 6858000"/>
              <a:gd name="connsiteX534" fmla="*/ 6735495 w 7467600"/>
              <a:gd name="connsiteY534" fmla="*/ 2196890 h 6858000"/>
              <a:gd name="connsiteX535" fmla="*/ 6721901 w 7467600"/>
              <a:gd name="connsiteY535" fmla="*/ 2179274 h 6858000"/>
              <a:gd name="connsiteX536" fmla="*/ 6604735 w 7467600"/>
              <a:gd name="connsiteY536" fmla="*/ 2041381 h 6858000"/>
              <a:gd name="connsiteX537" fmla="*/ 6591670 w 7467600"/>
              <a:gd name="connsiteY537" fmla="*/ 1988277 h 6858000"/>
              <a:gd name="connsiteX538" fmla="*/ 6747349 w 7467600"/>
              <a:gd name="connsiteY538" fmla="*/ 2160069 h 6858000"/>
              <a:gd name="connsiteX539" fmla="*/ 6760943 w 7467600"/>
              <a:gd name="connsiteY539" fmla="*/ 2177686 h 6858000"/>
              <a:gd name="connsiteX540" fmla="*/ 7021065 w 7467600"/>
              <a:gd name="connsiteY540" fmla="*/ 2498102 h 6858000"/>
              <a:gd name="connsiteX541" fmla="*/ 7155223 w 7467600"/>
              <a:gd name="connsiteY541" fmla="*/ 2650386 h 6858000"/>
              <a:gd name="connsiteX542" fmla="*/ 7203167 w 7467600"/>
              <a:gd name="connsiteY542" fmla="*/ 2697288 h 6858000"/>
              <a:gd name="connsiteX543" fmla="*/ 6937703 w 7467600"/>
              <a:gd name="connsiteY543" fmla="*/ 2321981 h 6858000"/>
              <a:gd name="connsiteX544" fmla="*/ 6591670 w 7467600"/>
              <a:gd name="connsiteY544" fmla="*/ 1988277 h 6858000"/>
              <a:gd name="connsiteX545" fmla="*/ 5798671 w 7467600"/>
              <a:gd name="connsiteY545" fmla="*/ 1981601 h 6858000"/>
              <a:gd name="connsiteX546" fmla="*/ 5754709 w 7467600"/>
              <a:gd name="connsiteY546" fmla="*/ 2071454 h 6858000"/>
              <a:gd name="connsiteX547" fmla="*/ 5763044 w 7467600"/>
              <a:gd name="connsiteY547" fmla="*/ 2842206 h 6858000"/>
              <a:gd name="connsiteX548" fmla="*/ 5764974 w 7467600"/>
              <a:gd name="connsiteY548" fmla="*/ 2799609 h 6858000"/>
              <a:gd name="connsiteX549" fmla="*/ 5767665 w 7467600"/>
              <a:gd name="connsiteY549" fmla="*/ 2666409 h 6858000"/>
              <a:gd name="connsiteX550" fmla="*/ 5763055 w 7467600"/>
              <a:gd name="connsiteY550" fmla="*/ 2579705 h 6858000"/>
              <a:gd name="connsiteX551" fmla="*/ 5758079 w 7467600"/>
              <a:gd name="connsiteY551" fmla="*/ 2492508 h 6858000"/>
              <a:gd name="connsiteX552" fmla="*/ 5779325 w 7467600"/>
              <a:gd name="connsiteY552" fmla="*/ 2197069 h 6858000"/>
              <a:gd name="connsiteX553" fmla="*/ 5798671 w 7467600"/>
              <a:gd name="connsiteY553" fmla="*/ 1981601 h 6858000"/>
              <a:gd name="connsiteX554" fmla="*/ 5829202 w 7467600"/>
              <a:gd name="connsiteY554" fmla="*/ 1971679 h 6858000"/>
              <a:gd name="connsiteX555" fmla="*/ 5809558 w 7467600"/>
              <a:gd name="connsiteY555" fmla="*/ 2198043 h 6858000"/>
              <a:gd name="connsiteX556" fmla="*/ 5788653 w 7467600"/>
              <a:gd name="connsiteY556" fmla="*/ 2489430 h 6858000"/>
              <a:gd name="connsiteX557" fmla="*/ 5793439 w 7467600"/>
              <a:gd name="connsiteY557" fmla="*/ 2575235 h 6858000"/>
              <a:gd name="connsiteX558" fmla="*/ 5796837 w 7467600"/>
              <a:gd name="connsiteY558" fmla="*/ 2637633 h 6858000"/>
              <a:gd name="connsiteX559" fmla="*/ 5818614 w 7467600"/>
              <a:gd name="connsiteY559" fmla="*/ 2473055 h 6858000"/>
              <a:gd name="connsiteX560" fmla="*/ 5829202 w 7467600"/>
              <a:gd name="connsiteY560" fmla="*/ 1971679 h 6858000"/>
              <a:gd name="connsiteX561" fmla="*/ 5911389 w 7467600"/>
              <a:gd name="connsiteY561" fmla="*/ 1898371 h 6858000"/>
              <a:gd name="connsiteX562" fmla="*/ 6237627 w 7467600"/>
              <a:gd name="connsiteY562" fmla="*/ 2231921 h 6858000"/>
              <a:gd name="connsiteX563" fmla="*/ 5911389 w 7467600"/>
              <a:gd name="connsiteY563" fmla="*/ 1898371 h 6858000"/>
              <a:gd name="connsiteX564" fmla="*/ 6944437 w 7467600"/>
              <a:gd name="connsiteY564" fmla="*/ 1575402 h 6858000"/>
              <a:gd name="connsiteX565" fmla="*/ 6304730 w 7467600"/>
              <a:gd name="connsiteY565" fmla="*/ 1766654 h 6858000"/>
              <a:gd name="connsiteX566" fmla="*/ 6944437 w 7467600"/>
              <a:gd name="connsiteY566" fmla="*/ 1575402 h 6858000"/>
              <a:gd name="connsiteX567" fmla="*/ 7019523 w 7467600"/>
              <a:gd name="connsiteY567" fmla="*/ 1519450 h 6858000"/>
              <a:gd name="connsiteX568" fmla="*/ 6298091 w 7467600"/>
              <a:gd name="connsiteY568" fmla="*/ 1737122 h 6858000"/>
              <a:gd name="connsiteX569" fmla="*/ 7019523 w 7467600"/>
              <a:gd name="connsiteY569" fmla="*/ 1519450 h 6858000"/>
              <a:gd name="connsiteX570" fmla="*/ 2399523 w 7467600"/>
              <a:gd name="connsiteY570" fmla="*/ 1428234 h 6858000"/>
              <a:gd name="connsiteX571" fmla="*/ 2224982 w 7467600"/>
              <a:gd name="connsiteY571" fmla="*/ 1826201 h 6858000"/>
              <a:gd name="connsiteX572" fmla="*/ 2096099 w 7467600"/>
              <a:gd name="connsiteY572" fmla="*/ 2345900 h 6858000"/>
              <a:gd name="connsiteX573" fmla="*/ 2283317 w 7467600"/>
              <a:gd name="connsiteY573" fmla="*/ 1796925 h 6858000"/>
              <a:gd name="connsiteX574" fmla="*/ 2399523 w 7467600"/>
              <a:gd name="connsiteY574" fmla="*/ 1428234 h 6858000"/>
              <a:gd name="connsiteX575" fmla="*/ 2448558 w 7467600"/>
              <a:gd name="connsiteY575" fmla="*/ 1373435 h 6858000"/>
              <a:gd name="connsiteX576" fmla="*/ 2312521 w 7467600"/>
              <a:gd name="connsiteY576" fmla="*/ 1806140 h 6858000"/>
              <a:gd name="connsiteX577" fmla="*/ 2127533 w 7467600"/>
              <a:gd name="connsiteY577" fmla="*/ 2348380 h 6858000"/>
              <a:gd name="connsiteX578" fmla="*/ 2358080 w 7467600"/>
              <a:gd name="connsiteY578" fmla="*/ 1866134 h 6858000"/>
              <a:gd name="connsiteX579" fmla="*/ 2407436 w 7467600"/>
              <a:gd name="connsiteY579" fmla="*/ 1651070 h 6858000"/>
              <a:gd name="connsiteX580" fmla="*/ 2448558 w 7467600"/>
              <a:gd name="connsiteY580" fmla="*/ 1373435 h 6858000"/>
              <a:gd name="connsiteX581" fmla="*/ 278707 w 7467600"/>
              <a:gd name="connsiteY581" fmla="*/ 1352270 h 6858000"/>
              <a:gd name="connsiteX582" fmla="*/ 321570 w 7467600"/>
              <a:gd name="connsiteY582" fmla="*/ 1861610 h 6858000"/>
              <a:gd name="connsiteX583" fmla="*/ 294281 w 7467600"/>
              <a:gd name="connsiteY583" fmla="*/ 1440658 h 6858000"/>
              <a:gd name="connsiteX584" fmla="*/ 278707 w 7467600"/>
              <a:gd name="connsiteY584" fmla="*/ 1352270 h 6858000"/>
              <a:gd name="connsiteX585" fmla="*/ 1423821 w 7467600"/>
              <a:gd name="connsiteY585" fmla="*/ 1351958 h 6858000"/>
              <a:gd name="connsiteX586" fmla="*/ 1638521 w 7467600"/>
              <a:gd name="connsiteY586" fmla="*/ 1908470 h 6858000"/>
              <a:gd name="connsiteX587" fmla="*/ 1754199 w 7467600"/>
              <a:gd name="connsiteY587" fmla="*/ 2149284 h 6858000"/>
              <a:gd name="connsiteX588" fmla="*/ 1908359 w 7467600"/>
              <a:gd name="connsiteY588" fmla="*/ 2364988 h 6858000"/>
              <a:gd name="connsiteX589" fmla="*/ 1647661 w 7467600"/>
              <a:gd name="connsiteY589" fmla="*/ 1825945 h 6858000"/>
              <a:gd name="connsiteX590" fmla="*/ 1423821 w 7467600"/>
              <a:gd name="connsiteY590" fmla="*/ 1351958 h 6858000"/>
              <a:gd name="connsiteX591" fmla="*/ 1431890 w 7467600"/>
              <a:gd name="connsiteY591" fmla="*/ 1306475 h 6858000"/>
              <a:gd name="connsiteX592" fmla="*/ 1507597 w 7467600"/>
              <a:gd name="connsiteY592" fmla="*/ 1446132 h 6858000"/>
              <a:gd name="connsiteX593" fmla="*/ 1674586 w 7467600"/>
              <a:gd name="connsiteY593" fmla="*/ 1813832 h 6858000"/>
              <a:gd name="connsiteX594" fmla="*/ 1815950 w 7467600"/>
              <a:gd name="connsiteY594" fmla="*/ 2128564 h 6858000"/>
              <a:gd name="connsiteX595" fmla="*/ 1984242 w 7467600"/>
              <a:gd name="connsiteY595" fmla="*/ 2430829 h 6858000"/>
              <a:gd name="connsiteX596" fmla="*/ 2014023 w 7467600"/>
              <a:gd name="connsiteY596" fmla="*/ 2450995 h 6858000"/>
              <a:gd name="connsiteX597" fmla="*/ 1747337 w 7467600"/>
              <a:gd name="connsiteY597" fmla="*/ 1855264 h 6858000"/>
              <a:gd name="connsiteX598" fmla="*/ 1533749 w 7467600"/>
              <a:gd name="connsiteY598" fmla="*/ 1478656 h 6858000"/>
              <a:gd name="connsiteX599" fmla="*/ 1431890 w 7467600"/>
              <a:gd name="connsiteY599" fmla="*/ 1306475 h 6858000"/>
              <a:gd name="connsiteX600" fmla="*/ 5052692 w 7467600"/>
              <a:gd name="connsiteY600" fmla="*/ 1292994 h 6858000"/>
              <a:gd name="connsiteX601" fmla="*/ 5200661 w 7467600"/>
              <a:gd name="connsiteY601" fmla="*/ 1635186 h 6858000"/>
              <a:gd name="connsiteX602" fmla="*/ 5297138 w 7467600"/>
              <a:gd name="connsiteY602" fmla="*/ 1906351 h 6858000"/>
              <a:gd name="connsiteX603" fmla="*/ 5052692 w 7467600"/>
              <a:gd name="connsiteY603" fmla="*/ 1292994 h 6858000"/>
              <a:gd name="connsiteX604" fmla="*/ 5009948 w 7467600"/>
              <a:gd name="connsiteY604" fmla="*/ 1273619 h 6858000"/>
              <a:gd name="connsiteX605" fmla="*/ 5121777 w 7467600"/>
              <a:gd name="connsiteY605" fmla="*/ 1654213 h 6858000"/>
              <a:gd name="connsiteX606" fmla="*/ 5293545 w 7467600"/>
              <a:gd name="connsiteY606" fmla="*/ 2072247 h 6858000"/>
              <a:gd name="connsiteX607" fmla="*/ 5294042 w 7467600"/>
              <a:gd name="connsiteY607" fmla="*/ 2065019 h 6858000"/>
              <a:gd name="connsiteX608" fmla="*/ 5171936 w 7467600"/>
              <a:gd name="connsiteY608" fmla="*/ 1647613 h 6858000"/>
              <a:gd name="connsiteX609" fmla="*/ 5009948 w 7467600"/>
              <a:gd name="connsiteY609" fmla="*/ 1273619 h 6858000"/>
              <a:gd name="connsiteX610" fmla="*/ 655236 w 7467600"/>
              <a:gd name="connsiteY610" fmla="*/ 1268632 h 6858000"/>
              <a:gd name="connsiteX611" fmla="*/ 839521 w 7467600"/>
              <a:gd name="connsiteY611" fmla="*/ 1685315 h 6858000"/>
              <a:gd name="connsiteX612" fmla="*/ 1109416 w 7467600"/>
              <a:gd name="connsiteY612" fmla="*/ 2061663 h 6858000"/>
              <a:gd name="connsiteX613" fmla="*/ 1298300 w 7467600"/>
              <a:gd name="connsiteY613" fmla="*/ 2247742 h 6858000"/>
              <a:gd name="connsiteX614" fmla="*/ 1125871 w 7467600"/>
              <a:gd name="connsiteY614" fmla="*/ 1989513 h 6858000"/>
              <a:gd name="connsiteX615" fmla="*/ 981574 w 7467600"/>
              <a:gd name="connsiteY615" fmla="*/ 1783157 h 6858000"/>
              <a:gd name="connsiteX616" fmla="*/ 922198 w 7467600"/>
              <a:gd name="connsiteY616" fmla="*/ 1677437 h 6858000"/>
              <a:gd name="connsiteX617" fmla="*/ 869293 w 7467600"/>
              <a:gd name="connsiteY617" fmla="*/ 1583214 h 6858000"/>
              <a:gd name="connsiteX618" fmla="*/ 751431 w 7467600"/>
              <a:gd name="connsiteY618" fmla="*/ 1405731 h 6858000"/>
              <a:gd name="connsiteX619" fmla="*/ 655236 w 7467600"/>
              <a:gd name="connsiteY619" fmla="*/ 1268632 h 6858000"/>
              <a:gd name="connsiteX620" fmla="*/ 6516292 w 7467600"/>
              <a:gd name="connsiteY620" fmla="*/ 1263064 h 6858000"/>
              <a:gd name="connsiteX621" fmla="*/ 5736320 w 7467600"/>
              <a:gd name="connsiteY621" fmla="*/ 1501803 h 6858000"/>
              <a:gd name="connsiteX622" fmla="*/ 6516292 w 7467600"/>
              <a:gd name="connsiteY622" fmla="*/ 1263064 h 6858000"/>
              <a:gd name="connsiteX623" fmla="*/ 291466 w 7467600"/>
              <a:gd name="connsiteY623" fmla="*/ 1250369 h 6858000"/>
              <a:gd name="connsiteX624" fmla="*/ 323180 w 7467600"/>
              <a:gd name="connsiteY624" fmla="*/ 1435283 h 6858000"/>
              <a:gd name="connsiteX625" fmla="*/ 349381 w 7467600"/>
              <a:gd name="connsiteY625" fmla="*/ 1875041 h 6858000"/>
              <a:gd name="connsiteX626" fmla="*/ 374363 w 7467600"/>
              <a:gd name="connsiteY626" fmla="*/ 1506494 h 6858000"/>
              <a:gd name="connsiteX627" fmla="*/ 302168 w 7467600"/>
              <a:gd name="connsiteY627" fmla="*/ 1274495 h 6858000"/>
              <a:gd name="connsiteX628" fmla="*/ 291466 w 7467600"/>
              <a:gd name="connsiteY628" fmla="*/ 1250369 h 6858000"/>
              <a:gd name="connsiteX629" fmla="*/ 678222 w 7467600"/>
              <a:gd name="connsiteY629" fmla="*/ 1248670 h 6858000"/>
              <a:gd name="connsiteX630" fmla="*/ 775536 w 7467600"/>
              <a:gd name="connsiteY630" fmla="*/ 1388015 h 6858000"/>
              <a:gd name="connsiteX631" fmla="*/ 894529 w 7467600"/>
              <a:gd name="connsiteY631" fmla="*/ 1567739 h 6858000"/>
              <a:gd name="connsiteX632" fmla="*/ 948000 w 7467600"/>
              <a:gd name="connsiteY632" fmla="*/ 1663088 h 6858000"/>
              <a:gd name="connsiteX633" fmla="*/ 1006812 w 7467600"/>
              <a:gd name="connsiteY633" fmla="*/ 1767683 h 6858000"/>
              <a:gd name="connsiteX634" fmla="*/ 1149133 w 7467600"/>
              <a:gd name="connsiteY634" fmla="*/ 1971513 h 6858000"/>
              <a:gd name="connsiteX635" fmla="*/ 1333952 w 7467600"/>
              <a:gd name="connsiteY635" fmla="*/ 2251620 h 6858000"/>
              <a:gd name="connsiteX636" fmla="*/ 1337329 w 7467600"/>
              <a:gd name="connsiteY636" fmla="*/ 2258350 h 6858000"/>
              <a:gd name="connsiteX637" fmla="*/ 1014726 w 7467600"/>
              <a:gd name="connsiteY637" fmla="*/ 1615556 h 6858000"/>
              <a:gd name="connsiteX638" fmla="*/ 678222 w 7467600"/>
              <a:gd name="connsiteY638" fmla="*/ 1248670 h 6858000"/>
              <a:gd name="connsiteX639" fmla="*/ 6691602 w 7467600"/>
              <a:gd name="connsiteY639" fmla="*/ 1140573 h 6858000"/>
              <a:gd name="connsiteX640" fmla="*/ 6571100 w 7467600"/>
              <a:gd name="connsiteY640" fmla="*/ 1183662 h 6858000"/>
              <a:gd name="connsiteX641" fmla="*/ 6241687 w 7467600"/>
              <a:gd name="connsiteY641" fmla="*/ 1257600 h 6858000"/>
              <a:gd name="connsiteX642" fmla="*/ 5693009 w 7467600"/>
              <a:gd name="connsiteY642" fmla="*/ 1478256 h 6858000"/>
              <a:gd name="connsiteX643" fmla="*/ 6548420 w 7467600"/>
              <a:gd name="connsiteY643" fmla="*/ 1214599 h 6858000"/>
              <a:gd name="connsiteX644" fmla="*/ 6605473 w 7467600"/>
              <a:gd name="connsiteY644" fmla="*/ 1184686 h 6858000"/>
              <a:gd name="connsiteX645" fmla="*/ 6691602 w 7467600"/>
              <a:gd name="connsiteY645" fmla="*/ 1140573 h 6858000"/>
              <a:gd name="connsiteX646" fmla="*/ 4002475 w 7467600"/>
              <a:gd name="connsiteY646" fmla="*/ 1037802 h 6858000"/>
              <a:gd name="connsiteX647" fmla="*/ 4000324 w 7467600"/>
              <a:gd name="connsiteY647" fmla="*/ 1039362 h 6858000"/>
              <a:gd name="connsiteX648" fmla="*/ 4002862 w 7467600"/>
              <a:gd name="connsiteY648" fmla="*/ 1042866 h 6858000"/>
              <a:gd name="connsiteX649" fmla="*/ 4002475 w 7467600"/>
              <a:gd name="connsiteY649" fmla="*/ 1037802 h 6858000"/>
              <a:gd name="connsiteX650" fmla="*/ 506322 w 7467600"/>
              <a:gd name="connsiteY650" fmla="*/ 1020997 h 6858000"/>
              <a:gd name="connsiteX651" fmla="*/ 533068 w 7467600"/>
              <a:gd name="connsiteY651" fmla="*/ 1029409 h 6858000"/>
              <a:gd name="connsiteX652" fmla="*/ 1232525 w 7467600"/>
              <a:gd name="connsiteY652" fmla="*/ 1804675 h 6858000"/>
              <a:gd name="connsiteX653" fmla="*/ 1388858 w 7467600"/>
              <a:gd name="connsiteY653" fmla="*/ 2368011 h 6858000"/>
              <a:gd name="connsiteX654" fmla="*/ 1384098 w 7467600"/>
              <a:gd name="connsiteY654" fmla="*/ 2378125 h 6858000"/>
              <a:gd name="connsiteX655" fmla="*/ 1425393 w 7467600"/>
              <a:gd name="connsiteY655" fmla="*/ 2589124 h 6858000"/>
              <a:gd name="connsiteX656" fmla="*/ 1424001 w 7467600"/>
              <a:gd name="connsiteY656" fmla="*/ 2597541 h 6858000"/>
              <a:gd name="connsiteX657" fmla="*/ 2152729 w 7467600"/>
              <a:gd name="connsiteY657" fmla="*/ 2864487 h 6858000"/>
              <a:gd name="connsiteX658" fmla="*/ 2020609 w 7467600"/>
              <a:gd name="connsiteY658" fmla="*/ 2539671 h 6858000"/>
              <a:gd name="connsiteX659" fmla="*/ 2018920 w 7467600"/>
              <a:gd name="connsiteY659" fmla="*/ 2536309 h 6858000"/>
              <a:gd name="connsiteX660" fmla="*/ 1342441 w 7467600"/>
              <a:gd name="connsiteY660" fmla="*/ 1173017 h 6858000"/>
              <a:gd name="connsiteX661" fmla="*/ 1367925 w 7467600"/>
              <a:gd name="connsiteY661" fmla="*/ 1135648 h 6858000"/>
              <a:gd name="connsiteX662" fmla="*/ 1771401 w 7467600"/>
              <a:gd name="connsiteY662" fmla="*/ 1806673 h 6858000"/>
              <a:gd name="connsiteX663" fmla="*/ 1972385 w 7467600"/>
              <a:gd name="connsiteY663" fmla="*/ 2198735 h 6858000"/>
              <a:gd name="connsiteX664" fmla="*/ 2040892 w 7467600"/>
              <a:gd name="connsiteY664" fmla="*/ 2405205 h 6858000"/>
              <a:gd name="connsiteX665" fmla="*/ 2131689 w 7467600"/>
              <a:gd name="connsiteY665" fmla="*/ 1936926 h 6858000"/>
              <a:gd name="connsiteX666" fmla="*/ 2454820 w 7467600"/>
              <a:gd name="connsiteY666" fmla="*/ 1248808 h 6858000"/>
              <a:gd name="connsiteX667" fmla="*/ 2492512 w 7467600"/>
              <a:gd name="connsiteY667" fmla="*/ 1302920 h 6858000"/>
              <a:gd name="connsiteX668" fmla="*/ 2081216 w 7467600"/>
              <a:gd name="connsiteY668" fmla="*/ 2527513 h 6858000"/>
              <a:gd name="connsiteX669" fmla="*/ 2081211 w 7467600"/>
              <a:gd name="connsiteY669" fmla="*/ 2528916 h 6858000"/>
              <a:gd name="connsiteX670" fmla="*/ 2199067 w 7467600"/>
              <a:gd name="connsiteY670" fmla="*/ 2884061 h 6858000"/>
              <a:gd name="connsiteX671" fmla="*/ 3192586 w 7467600"/>
              <a:gd name="connsiteY671" fmla="*/ 3411496 h 6858000"/>
              <a:gd name="connsiteX672" fmla="*/ 3182620 w 7467600"/>
              <a:gd name="connsiteY672" fmla="*/ 3483279 h 6858000"/>
              <a:gd name="connsiteX673" fmla="*/ 2435119 w 7467600"/>
              <a:gd name="connsiteY673" fmla="*/ 3080173 h 6858000"/>
              <a:gd name="connsiteX674" fmla="*/ 2410152 w 7467600"/>
              <a:gd name="connsiteY674" fmla="*/ 3063751 h 6858000"/>
              <a:gd name="connsiteX675" fmla="*/ 2408099 w 7467600"/>
              <a:gd name="connsiteY675" fmla="*/ 3064403 h 6858000"/>
              <a:gd name="connsiteX676" fmla="*/ 2407218 w 7467600"/>
              <a:gd name="connsiteY676" fmla="*/ 3070324 h 6858000"/>
              <a:gd name="connsiteX677" fmla="*/ 2380138 w 7467600"/>
              <a:gd name="connsiteY677" fmla="*/ 3099341 h 6858000"/>
              <a:gd name="connsiteX678" fmla="*/ 1765923 w 7467600"/>
              <a:gd name="connsiteY678" fmla="*/ 3581043 h 6858000"/>
              <a:gd name="connsiteX679" fmla="*/ 1702258 w 7467600"/>
              <a:gd name="connsiteY679" fmla="*/ 3612286 h 6858000"/>
              <a:gd name="connsiteX680" fmla="*/ 1538370 w 7467600"/>
              <a:gd name="connsiteY680" fmla="*/ 3811804 h 6858000"/>
              <a:gd name="connsiteX681" fmla="*/ 542867 w 7467600"/>
              <a:gd name="connsiteY681" fmla="*/ 4944092 h 6858000"/>
              <a:gd name="connsiteX682" fmla="*/ 515800 w 7467600"/>
              <a:gd name="connsiteY682" fmla="*/ 4862180 h 6858000"/>
              <a:gd name="connsiteX683" fmla="*/ 909145 w 7467600"/>
              <a:gd name="connsiteY683" fmla="*/ 4199225 h 6858000"/>
              <a:gd name="connsiteX684" fmla="*/ 1214067 w 7467600"/>
              <a:gd name="connsiteY684" fmla="*/ 3908561 h 6858000"/>
              <a:gd name="connsiteX685" fmla="*/ 640967 w 7467600"/>
              <a:gd name="connsiteY685" fmla="*/ 4105601 h 6858000"/>
              <a:gd name="connsiteX686" fmla="*/ 112563 w 7467600"/>
              <a:gd name="connsiteY686" fmla="*/ 4396952 h 6858000"/>
              <a:gd name="connsiteX687" fmla="*/ 0 w 7467600"/>
              <a:gd name="connsiteY687" fmla="*/ 4466006 h 6858000"/>
              <a:gd name="connsiteX688" fmla="*/ 0 w 7467600"/>
              <a:gd name="connsiteY688" fmla="*/ 4233763 h 6858000"/>
              <a:gd name="connsiteX689" fmla="*/ 36881 w 7467600"/>
              <a:gd name="connsiteY689" fmla="*/ 4200118 h 6858000"/>
              <a:gd name="connsiteX690" fmla="*/ 910534 w 7467600"/>
              <a:gd name="connsiteY690" fmla="*/ 3629753 h 6858000"/>
              <a:gd name="connsiteX691" fmla="*/ 1578717 w 7467600"/>
              <a:gd name="connsiteY691" fmla="*/ 3575982 h 6858000"/>
              <a:gd name="connsiteX692" fmla="*/ 2338780 w 7467600"/>
              <a:gd name="connsiteY692" fmla="*/ 3033725 h 6858000"/>
              <a:gd name="connsiteX693" fmla="*/ 1807991 w 7467600"/>
              <a:gd name="connsiteY693" fmla="*/ 2807184 h 6858000"/>
              <a:gd name="connsiteX694" fmla="*/ 1416358 w 7467600"/>
              <a:gd name="connsiteY694" fmla="*/ 3112571 h 6858000"/>
              <a:gd name="connsiteX695" fmla="*/ 939066 w 7467600"/>
              <a:gd name="connsiteY695" fmla="*/ 3378798 h 6858000"/>
              <a:gd name="connsiteX696" fmla="*/ 115099 w 7467600"/>
              <a:gd name="connsiteY696" fmla="*/ 3607650 h 6858000"/>
              <a:gd name="connsiteX697" fmla="*/ 97284 w 7467600"/>
              <a:gd name="connsiteY697" fmla="*/ 3520393 h 6858000"/>
              <a:gd name="connsiteX698" fmla="*/ 922050 w 7467600"/>
              <a:gd name="connsiteY698" fmla="*/ 3074867 h 6858000"/>
              <a:gd name="connsiteX699" fmla="*/ 1405265 w 7467600"/>
              <a:gd name="connsiteY699" fmla="*/ 3016319 h 6858000"/>
              <a:gd name="connsiteX700" fmla="*/ 1407512 w 7467600"/>
              <a:gd name="connsiteY700" fmla="*/ 3018001 h 6858000"/>
              <a:gd name="connsiteX701" fmla="*/ 1726266 w 7467600"/>
              <a:gd name="connsiteY701" fmla="*/ 2777274 h 6858000"/>
              <a:gd name="connsiteX702" fmla="*/ 625390 w 7467600"/>
              <a:gd name="connsiteY702" fmla="*/ 2514541 h 6858000"/>
              <a:gd name="connsiteX703" fmla="*/ 619799 w 7467600"/>
              <a:gd name="connsiteY703" fmla="*/ 2527180 h 6858000"/>
              <a:gd name="connsiteX704" fmla="*/ 310030 w 7467600"/>
              <a:gd name="connsiteY704" fmla="*/ 2771818 h 6858000"/>
              <a:gd name="connsiteX705" fmla="*/ 173877 w 7467600"/>
              <a:gd name="connsiteY705" fmla="*/ 2937056 h 6858000"/>
              <a:gd name="connsiteX706" fmla="*/ 77889 w 7467600"/>
              <a:gd name="connsiteY706" fmla="*/ 3138440 h 6858000"/>
              <a:gd name="connsiteX707" fmla="*/ 0 w 7467600"/>
              <a:gd name="connsiteY707" fmla="*/ 3271395 h 6858000"/>
              <a:gd name="connsiteX708" fmla="*/ 0 w 7467600"/>
              <a:gd name="connsiteY708" fmla="*/ 3153002 h 6858000"/>
              <a:gd name="connsiteX709" fmla="*/ 2386 w 7467600"/>
              <a:gd name="connsiteY709" fmla="*/ 3149203 h 6858000"/>
              <a:gd name="connsiteX710" fmla="*/ 89753 w 7467600"/>
              <a:gd name="connsiteY710" fmla="*/ 2987702 h 6858000"/>
              <a:gd name="connsiteX711" fmla="*/ 76869 w 7467600"/>
              <a:gd name="connsiteY711" fmla="*/ 3005404 h 6858000"/>
              <a:gd name="connsiteX712" fmla="*/ 32049 w 7467600"/>
              <a:gd name="connsiteY712" fmla="*/ 3065814 h 6858000"/>
              <a:gd name="connsiteX713" fmla="*/ 0 w 7467600"/>
              <a:gd name="connsiteY713" fmla="*/ 3108744 h 6858000"/>
              <a:gd name="connsiteX714" fmla="*/ 0 w 7467600"/>
              <a:gd name="connsiteY714" fmla="*/ 3058059 h 6858000"/>
              <a:gd name="connsiteX715" fmla="*/ 7610 w 7467600"/>
              <a:gd name="connsiteY715" fmla="*/ 3047889 h 6858000"/>
              <a:gd name="connsiteX716" fmla="*/ 52419 w 7467600"/>
              <a:gd name="connsiteY716" fmla="*/ 2987479 h 6858000"/>
              <a:gd name="connsiteX717" fmla="*/ 59142 w 7467600"/>
              <a:gd name="connsiteY717" fmla="*/ 2978488 h 6858000"/>
              <a:gd name="connsiteX718" fmla="*/ 0 w 7467600"/>
              <a:gd name="connsiteY718" fmla="*/ 3015334 h 6858000"/>
              <a:gd name="connsiteX719" fmla="*/ 0 w 7467600"/>
              <a:gd name="connsiteY719" fmla="*/ 2914286 h 6858000"/>
              <a:gd name="connsiteX720" fmla="*/ 36383 w 7467600"/>
              <a:gd name="connsiteY720" fmla="*/ 2901128 h 6858000"/>
              <a:gd name="connsiteX721" fmla="*/ 156329 w 7467600"/>
              <a:gd name="connsiteY721" fmla="*/ 2840533 h 6858000"/>
              <a:gd name="connsiteX722" fmla="*/ 358355 w 7467600"/>
              <a:gd name="connsiteY722" fmla="*/ 2620471 h 6858000"/>
              <a:gd name="connsiteX723" fmla="*/ 510577 w 7467600"/>
              <a:gd name="connsiteY723" fmla="*/ 2501244 h 6858000"/>
              <a:gd name="connsiteX724" fmla="*/ 211967 w 7467600"/>
              <a:gd name="connsiteY724" fmla="*/ 2479171 h 6858000"/>
              <a:gd name="connsiteX725" fmla="*/ 0 w 7467600"/>
              <a:gd name="connsiteY725" fmla="*/ 2476398 h 6858000"/>
              <a:gd name="connsiteX726" fmla="*/ 0 w 7467600"/>
              <a:gd name="connsiteY726" fmla="*/ 2389189 h 6858000"/>
              <a:gd name="connsiteX727" fmla="*/ 103062 w 7467600"/>
              <a:gd name="connsiteY727" fmla="*/ 2389518 h 6858000"/>
              <a:gd name="connsiteX728" fmla="*/ 510734 w 7467600"/>
              <a:gd name="connsiteY728" fmla="*/ 2416201 h 6858000"/>
              <a:gd name="connsiteX729" fmla="*/ 279257 w 7467600"/>
              <a:gd name="connsiteY729" fmla="*/ 2092102 h 6858000"/>
              <a:gd name="connsiteX730" fmla="*/ 65265 w 7467600"/>
              <a:gd name="connsiteY730" fmla="*/ 2006049 h 6858000"/>
              <a:gd name="connsiteX731" fmla="*/ 0 w 7467600"/>
              <a:gd name="connsiteY731" fmla="*/ 1982532 h 6858000"/>
              <a:gd name="connsiteX732" fmla="*/ 0 w 7467600"/>
              <a:gd name="connsiteY732" fmla="*/ 1912789 h 6858000"/>
              <a:gd name="connsiteX733" fmla="*/ 97460 w 7467600"/>
              <a:gd name="connsiteY733" fmla="*/ 1953725 h 6858000"/>
              <a:gd name="connsiteX734" fmla="*/ 221272 w 7467600"/>
              <a:gd name="connsiteY734" fmla="*/ 1980766 h 6858000"/>
              <a:gd name="connsiteX735" fmla="*/ 116765 w 7467600"/>
              <a:gd name="connsiteY735" fmla="*/ 1911033 h 6858000"/>
              <a:gd name="connsiteX736" fmla="*/ 16405 w 7467600"/>
              <a:gd name="connsiteY736" fmla="*/ 1803412 h 6858000"/>
              <a:gd name="connsiteX737" fmla="*/ 0 w 7467600"/>
              <a:gd name="connsiteY737" fmla="*/ 1784777 h 6858000"/>
              <a:gd name="connsiteX738" fmla="*/ 0 w 7467600"/>
              <a:gd name="connsiteY738" fmla="*/ 1740082 h 6858000"/>
              <a:gd name="connsiteX739" fmla="*/ 39394 w 7467600"/>
              <a:gd name="connsiteY739" fmla="*/ 1784856 h 6858000"/>
              <a:gd name="connsiteX740" fmla="*/ 135813 w 7467600"/>
              <a:gd name="connsiteY740" fmla="*/ 1888838 h 6858000"/>
              <a:gd name="connsiteX741" fmla="*/ 242575 w 7467600"/>
              <a:gd name="connsiteY741" fmla="*/ 1958841 h 6858000"/>
              <a:gd name="connsiteX742" fmla="*/ 82197 w 7467600"/>
              <a:gd name="connsiteY742" fmla="*/ 1754826 h 6858000"/>
              <a:gd name="connsiteX743" fmla="*/ 0 w 7467600"/>
              <a:gd name="connsiteY743" fmla="*/ 1679650 h 6858000"/>
              <a:gd name="connsiteX744" fmla="*/ 0 w 7467600"/>
              <a:gd name="connsiteY744" fmla="*/ 1602463 h 6858000"/>
              <a:gd name="connsiteX745" fmla="*/ 84689 w 7467600"/>
              <a:gd name="connsiteY745" fmla="*/ 1677442 h 6858000"/>
              <a:gd name="connsiteX746" fmla="*/ 298437 w 7467600"/>
              <a:gd name="connsiteY746" fmla="*/ 1968019 h 6858000"/>
              <a:gd name="connsiteX747" fmla="*/ 227269 w 7467600"/>
              <a:gd name="connsiteY747" fmla="*/ 1114064 h 6858000"/>
              <a:gd name="connsiteX748" fmla="*/ 248003 w 7467600"/>
              <a:gd name="connsiteY748" fmla="*/ 1089613 h 6858000"/>
              <a:gd name="connsiteX749" fmla="*/ 427020 w 7467600"/>
              <a:gd name="connsiteY749" fmla="*/ 1619803 h 6858000"/>
              <a:gd name="connsiteX750" fmla="*/ 340345 w 7467600"/>
              <a:gd name="connsiteY750" fmla="*/ 2027739 h 6858000"/>
              <a:gd name="connsiteX751" fmla="*/ 360865 w 7467600"/>
              <a:gd name="connsiteY751" fmla="*/ 2044827 h 6858000"/>
              <a:gd name="connsiteX752" fmla="*/ 560414 w 7467600"/>
              <a:gd name="connsiteY752" fmla="*/ 2421457 h 6858000"/>
              <a:gd name="connsiteX753" fmla="*/ 1359703 w 7467600"/>
              <a:gd name="connsiteY753" fmla="*/ 2578554 h 6858000"/>
              <a:gd name="connsiteX754" fmla="*/ 1359422 w 7467600"/>
              <a:gd name="connsiteY754" fmla="*/ 2577994 h 6858000"/>
              <a:gd name="connsiteX755" fmla="*/ 828701 w 7467600"/>
              <a:gd name="connsiteY755" fmla="*/ 1839520 h 6858000"/>
              <a:gd name="connsiteX756" fmla="*/ 494427 w 7467600"/>
              <a:gd name="connsiteY756" fmla="*/ 1092333 h 6858000"/>
              <a:gd name="connsiteX757" fmla="*/ 506322 w 7467600"/>
              <a:gd name="connsiteY757" fmla="*/ 1020997 h 6858000"/>
              <a:gd name="connsiteX758" fmla="*/ 4570198 w 7467600"/>
              <a:gd name="connsiteY758" fmla="*/ 978081 h 6858000"/>
              <a:gd name="connsiteX759" fmla="*/ 4523691 w 7467600"/>
              <a:gd name="connsiteY759" fmla="*/ 1127776 h 6858000"/>
              <a:gd name="connsiteX760" fmla="*/ 4509875 w 7467600"/>
              <a:gd name="connsiteY760" fmla="*/ 1167552 h 6858000"/>
              <a:gd name="connsiteX761" fmla="*/ 4478168 w 7467600"/>
              <a:gd name="connsiteY761" fmla="*/ 1260735 h 6858000"/>
              <a:gd name="connsiteX762" fmla="*/ 4409309 w 7467600"/>
              <a:gd name="connsiteY762" fmla="*/ 1666996 h 6858000"/>
              <a:gd name="connsiteX763" fmla="*/ 4370031 w 7467600"/>
              <a:gd name="connsiteY763" fmla="*/ 1955666 h 6858000"/>
              <a:gd name="connsiteX764" fmla="*/ 4570198 w 7467600"/>
              <a:gd name="connsiteY764" fmla="*/ 978081 h 6858000"/>
              <a:gd name="connsiteX765" fmla="*/ 4557898 w 7467600"/>
              <a:gd name="connsiteY765" fmla="*/ 900011 h 6858000"/>
              <a:gd name="connsiteX766" fmla="*/ 4344840 w 7467600"/>
              <a:gd name="connsiteY766" fmla="*/ 1922038 h 6858000"/>
              <a:gd name="connsiteX767" fmla="*/ 4378710 w 7467600"/>
              <a:gd name="connsiteY767" fmla="*/ 1665516 h 6858000"/>
              <a:gd name="connsiteX768" fmla="*/ 4448798 w 7467600"/>
              <a:gd name="connsiteY768" fmla="*/ 1253024 h 6858000"/>
              <a:gd name="connsiteX769" fmla="*/ 4480315 w 7467600"/>
              <a:gd name="connsiteY769" fmla="*/ 1158454 h 6858000"/>
              <a:gd name="connsiteX770" fmla="*/ 4494133 w 7467600"/>
              <a:gd name="connsiteY770" fmla="*/ 1118676 h 6858000"/>
              <a:gd name="connsiteX771" fmla="*/ 4557898 w 7467600"/>
              <a:gd name="connsiteY771" fmla="*/ 900011 h 6858000"/>
              <a:gd name="connsiteX772" fmla="*/ 5870151 w 7467600"/>
              <a:gd name="connsiteY772" fmla="*/ 898890 h 6858000"/>
              <a:gd name="connsiteX773" fmla="*/ 5861335 w 7467600"/>
              <a:gd name="connsiteY773" fmla="*/ 899177 h 6858000"/>
              <a:gd name="connsiteX774" fmla="*/ 5843702 w 7467600"/>
              <a:gd name="connsiteY774" fmla="*/ 899748 h 6858000"/>
              <a:gd name="connsiteX775" fmla="*/ 5651107 w 7467600"/>
              <a:gd name="connsiteY775" fmla="*/ 920306 h 6858000"/>
              <a:gd name="connsiteX776" fmla="*/ 5459407 w 7467600"/>
              <a:gd name="connsiteY776" fmla="*/ 940975 h 6858000"/>
              <a:gd name="connsiteX777" fmla="*/ 5374846 w 7467600"/>
              <a:gd name="connsiteY777" fmla="*/ 941988 h 6858000"/>
              <a:gd name="connsiteX778" fmla="*/ 5256105 w 7467600"/>
              <a:gd name="connsiteY778" fmla="*/ 945632 h 6858000"/>
              <a:gd name="connsiteX779" fmla="*/ 5107071 w 7467600"/>
              <a:gd name="connsiteY779" fmla="*/ 969720 h 6858000"/>
              <a:gd name="connsiteX780" fmla="*/ 4998681 w 7467600"/>
              <a:gd name="connsiteY780" fmla="*/ 988771 h 6858000"/>
              <a:gd name="connsiteX781" fmla="*/ 5870151 w 7467600"/>
              <a:gd name="connsiteY781" fmla="*/ 898890 h 6858000"/>
              <a:gd name="connsiteX782" fmla="*/ 5504425 w 7467600"/>
              <a:gd name="connsiteY782" fmla="*/ 848067 h 6858000"/>
              <a:gd name="connsiteX783" fmla="*/ 4968849 w 7467600"/>
              <a:gd name="connsiteY783" fmla="*/ 962318 h 6858000"/>
              <a:gd name="connsiteX784" fmla="*/ 5104039 w 7467600"/>
              <a:gd name="connsiteY784" fmla="*/ 940634 h 6858000"/>
              <a:gd name="connsiteX785" fmla="*/ 5256311 w 7467600"/>
              <a:gd name="connsiteY785" fmla="*/ 916490 h 6858000"/>
              <a:gd name="connsiteX786" fmla="*/ 5377381 w 7467600"/>
              <a:gd name="connsiteY786" fmla="*/ 912671 h 6858000"/>
              <a:gd name="connsiteX787" fmla="*/ 5460148 w 7467600"/>
              <a:gd name="connsiteY787" fmla="*/ 911442 h 6858000"/>
              <a:gd name="connsiteX788" fmla="*/ 5648971 w 7467600"/>
              <a:gd name="connsiteY788" fmla="*/ 891331 h 6858000"/>
              <a:gd name="connsiteX789" fmla="*/ 5844807 w 7467600"/>
              <a:gd name="connsiteY789" fmla="*/ 870718 h 6858000"/>
              <a:gd name="connsiteX790" fmla="*/ 5862975 w 7467600"/>
              <a:gd name="connsiteY790" fmla="*/ 869756 h 6858000"/>
              <a:gd name="connsiteX791" fmla="*/ 5920887 w 7467600"/>
              <a:gd name="connsiteY791" fmla="*/ 865929 h 6858000"/>
              <a:gd name="connsiteX792" fmla="*/ 5504425 w 7467600"/>
              <a:gd name="connsiteY792" fmla="*/ 848067 h 6858000"/>
              <a:gd name="connsiteX793" fmla="*/ 3607114 w 7467600"/>
              <a:gd name="connsiteY793" fmla="*/ 467441 h 6858000"/>
              <a:gd name="connsiteX794" fmla="*/ 3296242 w 7467600"/>
              <a:gd name="connsiteY794" fmla="*/ 807991 h 6858000"/>
              <a:gd name="connsiteX795" fmla="*/ 3174674 w 7467600"/>
              <a:gd name="connsiteY795" fmla="*/ 919759 h 6858000"/>
              <a:gd name="connsiteX796" fmla="*/ 3042978 w 7467600"/>
              <a:gd name="connsiteY796" fmla="*/ 1054894 h 6858000"/>
              <a:gd name="connsiteX797" fmla="*/ 2968914 w 7467600"/>
              <a:gd name="connsiteY797" fmla="*/ 1133756 h 6858000"/>
              <a:gd name="connsiteX798" fmla="*/ 3103823 w 7467600"/>
              <a:gd name="connsiteY798" fmla="*/ 1026814 h 6858000"/>
              <a:gd name="connsiteX799" fmla="*/ 3607114 w 7467600"/>
              <a:gd name="connsiteY799" fmla="*/ 467441 h 6858000"/>
              <a:gd name="connsiteX800" fmla="*/ 3744487 w 7467600"/>
              <a:gd name="connsiteY800" fmla="*/ 383136 h 6858000"/>
              <a:gd name="connsiteX801" fmla="*/ 3970213 w 7467600"/>
              <a:gd name="connsiteY801" fmla="*/ 995559 h 6858000"/>
              <a:gd name="connsiteX802" fmla="*/ 3744487 w 7467600"/>
              <a:gd name="connsiteY802" fmla="*/ 383136 h 6858000"/>
              <a:gd name="connsiteX803" fmla="*/ 3624562 w 7467600"/>
              <a:gd name="connsiteY803" fmla="*/ 367041 h 6858000"/>
              <a:gd name="connsiteX804" fmla="*/ 3489712 w 7467600"/>
              <a:gd name="connsiteY804" fmla="*/ 485386 h 6858000"/>
              <a:gd name="connsiteX805" fmla="*/ 3182994 w 7467600"/>
              <a:gd name="connsiteY805" fmla="*/ 828265 h 6858000"/>
              <a:gd name="connsiteX806" fmla="*/ 2892114 w 7467600"/>
              <a:gd name="connsiteY806" fmla="*/ 1172635 h 6858000"/>
              <a:gd name="connsiteX807" fmla="*/ 3021459 w 7467600"/>
              <a:gd name="connsiteY807" fmla="*/ 1035385 h 6858000"/>
              <a:gd name="connsiteX808" fmla="*/ 3153873 w 7467600"/>
              <a:gd name="connsiteY808" fmla="*/ 898971 h 6858000"/>
              <a:gd name="connsiteX809" fmla="*/ 3276511 w 7467600"/>
              <a:gd name="connsiteY809" fmla="*/ 786423 h 6858000"/>
              <a:gd name="connsiteX810" fmla="*/ 3584154 w 7467600"/>
              <a:gd name="connsiteY810" fmla="*/ 448218 h 6858000"/>
              <a:gd name="connsiteX811" fmla="*/ 3624562 w 7467600"/>
              <a:gd name="connsiteY811" fmla="*/ 367041 h 6858000"/>
              <a:gd name="connsiteX812" fmla="*/ 3766672 w 7467600"/>
              <a:gd name="connsiteY812" fmla="*/ 359429 h 6858000"/>
              <a:gd name="connsiteX813" fmla="*/ 3996338 w 7467600"/>
              <a:gd name="connsiteY813" fmla="*/ 968237 h 6858000"/>
              <a:gd name="connsiteX814" fmla="*/ 3766672 w 7467600"/>
              <a:gd name="connsiteY814" fmla="*/ 359429 h 6858000"/>
              <a:gd name="connsiteX815" fmla="*/ 5805386 w 7467600"/>
              <a:gd name="connsiteY815" fmla="*/ 239240 h 6858000"/>
              <a:gd name="connsiteX816" fmla="*/ 5736947 w 7467600"/>
              <a:gd name="connsiteY816" fmla="*/ 261367 h 6858000"/>
              <a:gd name="connsiteX817" fmla="*/ 5427012 w 7467600"/>
              <a:gd name="connsiteY817" fmla="*/ 311272 h 6858000"/>
              <a:gd name="connsiteX818" fmla="*/ 5147818 w 7467600"/>
              <a:gd name="connsiteY818" fmla="*/ 322112 h 6858000"/>
              <a:gd name="connsiteX819" fmla="*/ 5060854 w 7467600"/>
              <a:gd name="connsiteY819" fmla="*/ 311882 h 6858000"/>
              <a:gd name="connsiteX820" fmla="*/ 4945989 w 7467600"/>
              <a:gd name="connsiteY820" fmla="*/ 300516 h 6858000"/>
              <a:gd name="connsiteX821" fmla="*/ 5410479 w 7467600"/>
              <a:gd name="connsiteY821" fmla="*/ 348434 h 6858000"/>
              <a:gd name="connsiteX822" fmla="*/ 5805386 w 7467600"/>
              <a:gd name="connsiteY822" fmla="*/ 239240 h 6858000"/>
              <a:gd name="connsiteX823" fmla="*/ 5905192 w 7467600"/>
              <a:gd name="connsiteY823" fmla="*/ 163079 h 6858000"/>
              <a:gd name="connsiteX824" fmla="*/ 5865655 w 7467600"/>
              <a:gd name="connsiteY824" fmla="*/ 171901 h 6858000"/>
              <a:gd name="connsiteX825" fmla="*/ 5259740 w 7467600"/>
              <a:gd name="connsiteY825" fmla="*/ 257013 h 6858000"/>
              <a:gd name="connsiteX826" fmla="*/ 5208466 w 7467600"/>
              <a:gd name="connsiteY826" fmla="*/ 257550 h 6858000"/>
              <a:gd name="connsiteX827" fmla="*/ 4980204 w 7467600"/>
              <a:gd name="connsiteY827" fmla="*/ 271903 h 6858000"/>
              <a:gd name="connsiteX828" fmla="*/ 5068068 w 7467600"/>
              <a:gd name="connsiteY828" fmla="*/ 282244 h 6858000"/>
              <a:gd name="connsiteX829" fmla="*/ 5153231 w 7467600"/>
              <a:gd name="connsiteY829" fmla="*/ 292240 h 6858000"/>
              <a:gd name="connsiteX830" fmla="*/ 5426491 w 7467600"/>
              <a:gd name="connsiteY830" fmla="*/ 281128 h 6858000"/>
              <a:gd name="connsiteX831" fmla="*/ 5731212 w 7467600"/>
              <a:gd name="connsiteY831" fmla="*/ 231951 h 6858000"/>
              <a:gd name="connsiteX832" fmla="*/ 5905192 w 7467600"/>
              <a:gd name="connsiteY832" fmla="*/ 163079 h 6858000"/>
              <a:gd name="connsiteX833" fmla="*/ 5944437 w 7467600"/>
              <a:gd name="connsiteY833" fmla="*/ 113829 h 6858000"/>
              <a:gd name="connsiteX834" fmla="*/ 5825032 w 7467600"/>
              <a:gd name="connsiteY834" fmla="*/ 146405 h 6858000"/>
              <a:gd name="connsiteX835" fmla="*/ 4955599 w 7467600"/>
              <a:gd name="connsiteY835" fmla="*/ 247008 h 6858000"/>
              <a:gd name="connsiteX836" fmla="*/ 5210104 w 7467600"/>
              <a:gd name="connsiteY836" fmla="*/ 228123 h 6858000"/>
              <a:gd name="connsiteX837" fmla="*/ 5261015 w 7467600"/>
              <a:gd name="connsiteY837" fmla="*/ 227087 h 6858000"/>
              <a:gd name="connsiteX838" fmla="*/ 5861181 w 7467600"/>
              <a:gd name="connsiteY838" fmla="*/ 143093 h 6858000"/>
              <a:gd name="connsiteX839" fmla="*/ 5961252 w 7467600"/>
              <a:gd name="connsiteY839" fmla="*/ 114820 h 6858000"/>
              <a:gd name="connsiteX840" fmla="*/ 5944437 w 7467600"/>
              <a:gd name="connsiteY840" fmla="*/ 113829 h 6858000"/>
              <a:gd name="connsiteX841" fmla="*/ 3882765 w 7467600"/>
              <a:gd name="connsiteY841" fmla="*/ 0 h 6858000"/>
              <a:gd name="connsiteX842" fmla="*/ 3995099 w 7467600"/>
              <a:gd name="connsiteY842" fmla="*/ 0 h 6858000"/>
              <a:gd name="connsiteX843" fmla="*/ 4163818 w 7467600"/>
              <a:gd name="connsiteY843" fmla="*/ 234104 h 6858000"/>
              <a:gd name="connsiteX844" fmla="*/ 4172099 w 7467600"/>
              <a:gd name="connsiteY844" fmla="*/ 234207 h 6858000"/>
              <a:gd name="connsiteX845" fmla="*/ 4784282 w 7467600"/>
              <a:gd name="connsiteY845" fmla="*/ 276561 h 6858000"/>
              <a:gd name="connsiteX846" fmla="*/ 4801687 w 7467600"/>
              <a:gd name="connsiteY846" fmla="*/ 267764 h 6858000"/>
              <a:gd name="connsiteX847" fmla="*/ 6082788 w 7467600"/>
              <a:gd name="connsiteY847" fmla="*/ 64119 h 6858000"/>
              <a:gd name="connsiteX848" fmla="*/ 6099442 w 7467600"/>
              <a:gd name="connsiteY848" fmla="*/ 82568 h 6858000"/>
              <a:gd name="connsiteX849" fmla="*/ 4804137 w 7467600"/>
              <a:gd name="connsiteY849" fmla="*/ 320931 h 6858000"/>
              <a:gd name="connsiteX850" fmla="*/ 4227047 w 7467600"/>
              <a:gd name="connsiteY850" fmla="*/ 313415 h 6858000"/>
              <a:gd name="connsiteX851" fmla="*/ 4346041 w 7467600"/>
              <a:gd name="connsiteY851" fmla="*/ 456086 h 6858000"/>
              <a:gd name="connsiteX852" fmla="*/ 4870967 w 7467600"/>
              <a:gd name="connsiteY852" fmla="*/ 963061 h 6858000"/>
              <a:gd name="connsiteX853" fmla="*/ 4889647 w 7467600"/>
              <a:gd name="connsiteY853" fmla="*/ 957147 h 6858000"/>
              <a:gd name="connsiteX854" fmla="*/ 5422504 w 7467600"/>
              <a:gd name="connsiteY854" fmla="*/ 805191 h 6858000"/>
              <a:gd name="connsiteX855" fmla="*/ 6087656 w 7467600"/>
              <a:gd name="connsiteY855" fmla="*/ 826703 h 6858000"/>
              <a:gd name="connsiteX856" fmla="*/ 6058717 w 7467600"/>
              <a:gd name="connsiteY856" fmla="*/ 865992 h 6858000"/>
              <a:gd name="connsiteX857" fmla="*/ 4974153 w 7467600"/>
              <a:gd name="connsiteY857" fmla="*/ 1045456 h 6858000"/>
              <a:gd name="connsiteX858" fmla="*/ 5627835 w 7467600"/>
              <a:gd name="connsiteY858" fmla="*/ 1472077 h 6858000"/>
              <a:gd name="connsiteX859" fmla="*/ 5629817 w 7467600"/>
              <a:gd name="connsiteY859" fmla="*/ 1471412 h 6858000"/>
              <a:gd name="connsiteX860" fmla="*/ 5634124 w 7467600"/>
              <a:gd name="connsiteY860" fmla="*/ 1470572 h 6858000"/>
              <a:gd name="connsiteX861" fmla="*/ 5755832 w 7467600"/>
              <a:gd name="connsiteY861" fmla="*/ 1383886 h 6858000"/>
              <a:gd name="connsiteX862" fmla="*/ 6014186 w 7467600"/>
              <a:gd name="connsiteY862" fmla="*/ 1279799 h 6858000"/>
              <a:gd name="connsiteX863" fmla="*/ 6901619 w 7467600"/>
              <a:gd name="connsiteY863" fmla="*/ 1047874 h 6858000"/>
              <a:gd name="connsiteX864" fmla="*/ 6931566 w 7467600"/>
              <a:gd name="connsiteY864" fmla="*/ 1062034 h 6858000"/>
              <a:gd name="connsiteX865" fmla="*/ 5790982 w 7467600"/>
              <a:gd name="connsiteY865" fmla="*/ 1561380 h 6858000"/>
              <a:gd name="connsiteX866" fmla="*/ 6188971 w 7467600"/>
              <a:gd name="connsiteY866" fmla="*/ 1755168 h 6858000"/>
              <a:gd name="connsiteX867" fmla="*/ 6202446 w 7467600"/>
              <a:gd name="connsiteY867" fmla="*/ 1752268 h 6858000"/>
              <a:gd name="connsiteX868" fmla="*/ 7179560 w 7467600"/>
              <a:gd name="connsiteY868" fmla="*/ 1467551 h 6858000"/>
              <a:gd name="connsiteX869" fmla="*/ 7158730 w 7467600"/>
              <a:gd name="connsiteY869" fmla="*/ 1507835 h 6858000"/>
              <a:gd name="connsiteX870" fmla="*/ 6326959 w 7467600"/>
              <a:gd name="connsiteY870" fmla="*/ 1817686 h 6858000"/>
              <a:gd name="connsiteX871" fmla="*/ 6537433 w 7467600"/>
              <a:gd name="connsiteY871" fmla="*/ 1907790 h 6858000"/>
              <a:gd name="connsiteX872" fmla="*/ 6550221 w 7467600"/>
              <a:gd name="connsiteY872" fmla="*/ 1910729 h 6858000"/>
              <a:gd name="connsiteX873" fmla="*/ 6964438 w 7467600"/>
              <a:gd name="connsiteY873" fmla="*/ 2209505 h 6858000"/>
              <a:gd name="connsiteX874" fmla="*/ 7367862 w 7467600"/>
              <a:gd name="connsiteY874" fmla="*/ 2806833 h 6858000"/>
              <a:gd name="connsiteX875" fmla="*/ 7364329 w 7467600"/>
              <a:gd name="connsiteY875" fmla="*/ 2826907 h 6858000"/>
              <a:gd name="connsiteX876" fmla="*/ 7290545 w 7467600"/>
              <a:gd name="connsiteY876" fmla="*/ 2850663 h 6858000"/>
              <a:gd name="connsiteX877" fmla="*/ 6472036 w 7467600"/>
              <a:gd name="connsiteY877" fmla="*/ 1959003 h 6858000"/>
              <a:gd name="connsiteX878" fmla="*/ 5792897 w 7467600"/>
              <a:gd name="connsiteY878" fmla="*/ 1647747 h 6858000"/>
              <a:gd name="connsiteX879" fmla="*/ 5842751 w 7467600"/>
              <a:gd name="connsiteY879" fmla="*/ 1816112 h 6858000"/>
              <a:gd name="connsiteX880" fmla="*/ 5847424 w 7467600"/>
              <a:gd name="connsiteY880" fmla="*/ 1815776 h 6858000"/>
              <a:gd name="connsiteX881" fmla="*/ 6399821 w 7467600"/>
              <a:gd name="connsiteY881" fmla="*/ 2344799 h 6858000"/>
              <a:gd name="connsiteX882" fmla="*/ 6323232 w 7467600"/>
              <a:gd name="connsiteY882" fmla="*/ 2389634 h 6858000"/>
              <a:gd name="connsiteX883" fmla="*/ 5942958 w 7467600"/>
              <a:gd name="connsiteY883" fmla="*/ 2077708 h 6858000"/>
              <a:gd name="connsiteX884" fmla="*/ 5921559 w 7467600"/>
              <a:gd name="connsiteY884" fmla="*/ 2378596 h 6858000"/>
              <a:gd name="connsiteX885" fmla="*/ 5817651 w 7467600"/>
              <a:gd name="connsiteY885" fmla="*/ 3023919 h 6858000"/>
              <a:gd name="connsiteX886" fmla="*/ 5729634 w 7467600"/>
              <a:gd name="connsiteY886" fmla="*/ 3051849 h 6858000"/>
              <a:gd name="connsiteX887" fmla="*/ 5611018 w 7467600"/>
              <a:gd name="connsiteY887" fmla="*/ 2316769 h 6858000"/>
              <a:gd name="connsiteX888" fmla="*/ 5687608 w 7467600"/>
              <a:gd name="connsiteY888" fmla="*/ 2039972 h 6858000"/>
              <a:gd name="connsiteX889" fmla="*/ 5657554 w 7467600"/>
              <a:gd name="connsiteY889" fmla="*/ 1576445 h 6858000"/>
              <a:gd name="connsiteX890" fmla="*/ 5150475 w 7467600"/>
              <a:gd name="connsiteY890" fmla="*/ 1274012 h 6858000"/>
              <a:gd name="connsiteX891" fmla="*/ 5349142 w 7467600"/>
              <a:gd name="connsiteY891" fmla="*/ 2204405 h 6858000"/>
              <a:gd name="connsiteX892" fmla="*/ 5262214 w 7467600"/>
              <a:gd name="connsiteY892" fmla="*/ 2233836 h 6858000"/>
              <a:gd name="connsiteX893" fmla="*/ 4981539 w 7467600"/>
              <a:gd name="connsiteY893" fmla="*/ 1542201 h 6858000"/>
              <a:gd name="connsiteX894" fmla="*/ 4958461 w 7467600"/>
              <a:gd name="connsiteY894" fmla="*/ 1136957 h 6858000"/>
              <a:gd name="connsiteX895" fmla="*/ 4655015 w 7467600"/>
              <a:gd name="connsiteY895" fmla="*/ 891426 h 6858000"/>
              <a:gd name="connsiteX896" fmla="*/ 4348002 w 7467600"/>
              <a:gd name="connsiteY896" fmla="*/ 2205895 h 6858000"/>
              <a:gd name="connsiteX897" fmla="*/ 4262250 w 7467600"/>
              <a:gd name="connsiteY897" fmla="*/ 2219972 h 6858000"/>
              <a:gd name="connsiteX898" fmla="*/ 4550611 w 7467600"/>
              <a:gd name="connsiteY898" fmla="*/ 817540 h 6858000"/>
              <a:gd name="connsiteX899" fmla="*/ 4564418 w 7467600"/>
              <a:gd name="connsiteY899" fmla="*/ 808293 h 6858000"/>
              <a:gd name="connsiteX900" fmla="*/ 4266388 w 7467600"/>
              <a:gd name="connsiteY900" fmla="*/ 500083 h 6858000"/>
              <a:gd name="connsiteX901" fmla="*/ 4032842 w 7467600"/>
              <a:gd name="connsiteY901" fmla="*/ 211809 h 6858000"/>
              <a:gd name="connsiteX902" fmla="*/ 3882765 w 7467600"/>
              <a:gd name="connsiteY902" fmla="*/ 0 h 6858000"/>
              <a:gd name="connsiteX903" fmla="*/ 3721337 w 7467600"/>
              <a:gd name="connsiteY903" fmla="*/ 0 h 6858000"/>
              <a:gd name="connsiteX904" fmla="*/ 3797544 w 7467600"/>
              <a:gd name="connsiteY904" fmla="*/ 0 h 6858000"/>
              <a:gd name="connsiteX905" fmla="*/ 3775734 w 7467600"/>
              <a:gd name="connsiteY905" fmla="*/ 95131 h 6858000"/>
              <a:gd name="connsiteX906" fmla="*/ 3724807 w 7467600"/>
              <a:gd name="connsiteY906" fmla="*/ 272257 h 6858000"/>
              <a:gd name="connsiteX907" fmla="*/ 3726844 w 7467600"/>
              <a:gd name="connsiteY907" fmla="*/ 282988 h 6858000"/>
              <a:gd name="connsiteX908" fmla="*/ 3742664 w 7467600"/>
              <a:gd name="connsiteY908" fmla="*/ 279918 h 6858000"/>
              <a:gd name="connsiteX909" fmla="*/ 4103910 w 7467600"/>
              <a:gd name="connsiteY909" fmla="*/ 1161917 h 6858000"/>
              <a:gd name="connsiteX910" fmla="*/ 4020269 w 7467600"/>
              <a:gd name="connsiteY910" fmla="*/ 1200406 h 6858000"/>
              <a:gd name="connsiteX911" fmla="*/ 3674882 w 7467600"/>
              <a:gd name="connsiteY911" fmla="*/ 488524 h 6858000"/>
              <a:gd name="connsiteX912" fmla="*/ 3132682 w 7467600"/>
              <a:gd name="connsiteY912" fmla="*/ 1072284 h 6858000"/>
              <a:gd name="connsiteX913" fmla="*/ 2716346 w 7467600"/>
              <a:gd name="connsiteY913" fmla="*/ 1276376 h 6858000"/>
              <a:gd name="connsiteX914" fmla="*/ 2716772 w 7467600"/>
              <a:gd name="connsiteY914" fmla="*/ 1255462 h 6858000"/>
              <a:gd name="connsiteX915" fmla="*/ 3471096 w 7467600"/>
              <a:gd name="connsiteY915" fmla="*/ 437072 h 6858000"/>
              <a:gd name="connsiteX916" fmla="*/ 3639057 w 7467600"/>
              <a:gd name="connsiteY916" fmla="*/ 286334 h 6858000"/>
              <a:gd name="connsiteX917" fmla="*/ 3640309 w 7467600"/>
              <a:gd name="connsiteY917" fmla="*/ 284664 h 6858000"/>
              <a:gd name="connsiteX918" fmla="*/ 3646022 w 7467600"/>
              <a:gd name="connsiteY918" fmla="*/ 276711 h 6858000"/>
              <a:gd name="connsiteX919" fmla="*/ 3707943 w 7467600"/>
              <a:gd name="connsiteY919" fmla="*/ 65958 h 6858000"/>
              <a:gd name="connsiteX920" fmla="*/ 3721337 w 7467600"/>
              <a:gd name="connsiteY920" fmla="*/ 0 h 6858000"/>
              <a:gd name="connsiteX921" fmla="*/ 2867960 w 7467600"/>
              <a:gd name="connsiteY921" fmla="*/ 0 h 6858000"/>
              <a:gd name="connsiteX922" fmla="*/ 2926351 w 7467600"/>
              <a:gd name="connsiteY922" fmla="*/ 0 h 6858000"/>
              <a:gd name="connsiteX923" fmla="*/ 2902823 w 7467600"/>
              <a:gd name="connsiteY923" fmla="*/ 262929 h 6858000"/>
              <a:gd name="connsiteX924" fmla="*/ 2940663 w 7467600"/>
              <a:gd name="connsiteY924" fmla="*/ 140884 h 6858000"/>
              <a:gd name="connsiteX925" fmla="*/ 2947039 w 7467600"/>
              <a:gd name="connsiteY925" fmla="*/ 122524 h 6858000"/>
              <a:gd name="connsiteX926" fmla="*/ 2984316 w 7467600"/>
              <a:gd name="connsiteY926" fmla="*/ 0 h 6858000"/>
              <a:gd name="connsiteX927" fmla="*/ 3016114 w 7467600"/>
              <a:gd name="connsiteY927" fmla="*/ 0 h 6858000"/>
              <a:gd name="connsiteX928" fmla="*/ 2979949 w 7467600"/>
              <a:gd name="connsiteY928" fmla="*/ 119274 h 6858000"/>
              <a:gd name="connsiteX929" fmla="*/ 3023879 w 7467600"/>
              <a:gd name="connsiteY929" fmla="*/ 0 h 6858000"/>
              <a:gd name="connsiteX930" fmla="*/ 3105400 w 7467600"/>
              <a:gd name="connsiteY930" fmla="*/ 0 h 6858000"/>
              <a:gd name="connsiteX931" fmla="*/ 3094669 w 7467600"/>
              <a:gd name="connsiteY931" fmla="*/ 30308 h 6858000"/>
              <a:gd name="connsiteX932" fmla="*/ 2901945 w 7467600"/>
              <a:gd name="connsiteY932" fmla="*/ 466538 h 6858000"/>
              <a:gd name="connsiteX933" fmla="*/ 2815209 w 7467600"/>
              <a:gd name="connsiteY933" fmla="*/ 497361 h 6858000"/>
              <a:gd name="connsiteX934" fmla="*/ 2844845 w 7467600"/>
              <a:gd name="connsiteY934" fmla="*/ 127638 h 6858000"/>
              <a:gd name="connsiteX935" fmla="*/ 2867960 w 7467600"/>
              <a:gd name="connsiteY935" fmla="*/ 0 h 6858000"/>
              <a:gd name="connsiteX936" fmla="*/ 1057230 w 7467600"/>
              <a:gd name="connsiteY936" fmla="*/ 0 h 6858000"/>
              <a:gd name="connsiteX937" fmla="*/ 1111003 w 7467600"/>
              <a:gd name="connsiteY937" fmla="*/ 0 h 6858000"/>
              <a:gd name="connsiteX938" fmla="*/ 1125553 w 7467600"/>
              <a:gd name="connsiteY938" fmla="*/ 52588 h 6858000"/>
              <a:gd name="connsiteX939" fmla="*/ 1304276 w 7467600"/>
              <a:gd name="connsiteY939" fmla="*/ 476275 h 6858000"/>
              <a:gd name="connsiteX940" fmla="*/ 1492066 w 7467600"/>
              <a:gd name="connsiteY940" fmla="*/ 886333 h 6858000"/>
              <a:gd name="connsiteX941" fmla="*/ 1423698 w 7467600"/>
              <a:gd name="connsiteY941" fmla="*/ 710817 h 6858000"/>
              <a:gd name="connsiteX942" fmla="*/ 1357609 w 7467600"/>
              <a:gd name="connsiteY942" fmla="*/ 532892 h 6858000"/>
              <a:gd name="connsiteX943" fmla="*/ 1309550 w 7467600"/>
              <a:gd name="connsiteY943" fmla="*/ 374031 h 6858000"/>
              <a:gd name="connsiteX944" fmla="*/ 1193673 w 7467600"/>
              <a:gd name="connsiteY944" fmla="*/ 49533 h 6858000"/>
              <a:gd name="connsiteX945" fmla="*/ 1164391 w 7467600"/>
              <a:gd name="connsiteY945" fmla="*/ 0 h 6858000"/>
              <a:gd name="connsiteX946" fmla="*/ 1200666 w 7467600"/>
              <a:gd name="connsiteY946" fmla="*/ 0 h 6858000"/>
              <a:gd name="connsiteX947" fmla="*/ 1223408 w 7467600"/>
              <a:gd name="connsiteY947" fmla="*/ 38996 h 6858000"/>
              <a:gd name="connsiteX948" fmla="*/ 1339635 w 7467600"/>
              <a:gd name="connsiteY948" fmla="*/ 365517 h 6858000"/>
              <a:gd name="connsiteX949" fmla="*/ 1387469 w 7467600"/>
              <a:gd name="connsiteY949" fmla="*/ 523079 h 6858000"/>
              <a:gd name="connsiteX950" fmla="*/ 1452685 w 7467600"/>
              <a:gd name="connsiteY950" fmla="*/ 699806 h 6858000"/>
              <a:gd name="connsiteX951" fmla="*/ 1492092 w 7467600"/>
              <a:gd name="connsiteY951" fmla="*/ 800424 h 6858000"/>
              <a:gd name="connsiteX952" fmla="*/ 1455302 w 7467600"/>
              <a:gd name="connsiteY952" fmla="*/ 632913 h 6858000"/>
              <a:gd name="connsiteX953" fmla="*/ 1222336 w 7467600"/>
              <a:gd name="connsiteY953" fmla="*/ 9480 h 6858000"/>
              <a:gd name="connsiteX954" fmla="*/ 1214634 w 7467600"/>
              <a:gd name="connsiteY954" fmla="*/ 0 h 6858000"/>
              <a:gd name="connsiteX955" fmla="*/ 1289827 w 7467600"/>
              <a:gd name="connsiteY955" fmla="*/ 0 h 6858000"/>
              <a:gd name="connsiteX956" fmla="*/ 1321076 w 7467600"/>
              <a:gd name="connsiteY956" fmla="*/ 59722 h 6858000"/>
              <a:gd name="connsiteX957" fmla="*/ 1512579 w 7467600"/>
              <a:gd name="connsiteY957" fmla="*/ 626441 h 6858000"/>
              <a:gd name="connsiteX958" fmla="*/ 1506076 w 7467600"/>
              <a:gd name="connsiteY958" fmla="*/ 1089289 h 6858000"/>
              <a:gd name="connsiteX959" fmla="*/ 1486346 w 7467600"/>
              <a:gd name="connsiteY959" fmla="*/ 1079919 h 6858000"/>
              <a:gd name="connsiteX960" fmla="*/ 1070511 w 7467600"/>
              <a:gd name="connsiteY960" fmla="*/ 48609 h 6858000"/>
              <a:gd name="connsiteX961" fmla="*/ 1057230 w 7467600"/>
              <a:gd name="connsiteY961" fmla="*/ 0 h 6858000"/>
              <a:gd name="connsiteX962" fmla="*/ 43151 w 7467600"/>
              <a:gd name="connsiteY962" fmla="*/ 0 h 6858000"/>
              <a:gd name="connsiteX963" fmla="*/ 95283 w 7467600"/>
              <a:gd name="connsiteY963" fmla="*/ 0 h 6858000"/>
              <a:gd name="connsiteX964" fmla="*/ 300708 w 7467600"/>
              <a:gd name="connsiteY964" fmla="*/ 154571 h 6858000"/>
              <a:gd name="connsiteX965" fmla="*/ 530414 w 7467600"/>
              <a:gd name="connsiteY965" fmla="*/ 354673 h 6858000"/>
              <a:gd name="connsiteX966" fmla="*/ 333785 w 7467600"/>
              <a:gd name="connsiteY966" fmla="*/ 161564 h 6858000"/>
              <a:gd name="connsiteX967" fmla="*/ 147005 w 7467600"/>
              <a:gd name="connsiteY967" fmla="*/ 0 h 6858000"/>
              <a:gd name="connsiteX968" fmla="*/ 272509 w 7467600"/>
              <a:gd name="connsiteY968" fmla="*/ 0 h 6858000"/>
              <a:gd name="connsiteX969" fmla="*/ 326276 w 7467600"/>
              <a:gd name="connsiteY969" fmla="*/ 45847 h 6858000"/>
              <a:gd name="connsiteX970" fmla="*/ 823759 w 7467600"/>
              <a:gd name="connsiteY970" fmla="*/ 574145 h 6858000"/>
              <a:gd name="connsiteX971" fmla="*/ 811254 w 7467600"/>
              <a:gd name="connsiteY971" fmla="*/ 665546 h 6858000"/>
              <a:gd name="connsiteX972" fmla="*/ 154042 w 7467600"/>
              <a:gd name="connsiteY972" fmla="*/ 261522 h 6858000"/>
              <a:gd name="connsiteX973" fmla="*/ 13550 w 7467600"/>
              <a:gd name="connsiteY973" fmla="*/ 158423 h 6858000"/>
              <a:gd name="connsiteX974" fmla="*/ 0 w 7467600"/>
              <a:gd name="connsiteY974" fmla="*/ 146618 h 6858000"/>
              <a:gd name="connsiteX975" fmla="*/ 0 w 7467600"/>
              <a:gd name="connsiteY975" fmla="*/ 59161 h 6858000"/>
              <a:gd name="connsiteX976" fmla="*/ 45427 w 7467600"/>
              <a:gd name="connsiteY976" fmla="*/ 101078 h 6858000"/>
              <a:gd name="connsiteX977" fmla="*/ 630103 w 7467600"/>
              <a:gd name="connsiteY977" fmla="*/ 485885 h 6858000"/>
              <a:gd name="connsiteX978" fmla="*/ 532040 w 7467600"/>
              <a:gd name="connsiteY978" fmla="*/ 399359 h 6858000"/>
              <a:gd name="connsiteX979" fmla="*/ 517618 w 7467600"/>
              <a:gd name="connsiteY979" fmla="*/ 385726 h 6858000"/>
              <a:gd name="connsiteX980" fmla="*/ 285074 w 7467600"/>
              <a:gd name="connsiteY980" fmla="*/ 182755 h 6858000"/>
              <a:gd name="connsiteX981" fmla="*/ 43151 w 7467600"/>
              <a:gd name="connsiteY981"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90188 w 7467600"/>
              <a:gd name="connsiteY4" fmla="*/ 658436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7090188 w 7467600"/>
              <a:gd name="connsiteY22" fmla="*/ 6584365 h 6858000"/>
              <a:gd name="connsiteX23" fmla="*/ 1019354 w 7467600"/>
              <a:gd name="connsiteY23" fmla="*/ 6315006 h 6858000"/>
              <a:gd name="connsiteX24" fmla="*/ 441046 w 7467600"/>
              <a:gd name="connsiteY24" fmla="*/ 6691153 h 6858000"/>
              <a:gd name="connsiteX25" fmla="*/ 1019354 w 7467600"/>
              <a:gd name="connsiteY25" fmla="*/ 6315006 h 6858000"/>
              <a:gd name="connsiteX26" fmla="*/ 991680 w 7467600"/>
              <a:gd name="connsiteY26" fmla="*/ 6298413 h 6858000"/>
              <a:gd name="connsiteX27" fmla="*/ 409060 w 7467600"/>
              <a:gd name="connsiteY27" fmla="*/ 6671470 h 6858000"/>
              <a:gd name="connsiteX28" fmla="*/ 991680 w 7467600"/>
              <a:gd name="connsiteY28" fmla="*/ 6298413 h 6858000"/>
              <a:gd name="connsiteX29" fmla="*/ 103333 w 7467600"/>
              <a:gd name="connsiteY29" fmla="*/ 5699602 h 6858000"/>
              <a:gd name="connsiteX30" fmla="*/ 233938 w 7467600"/>
              <a:gd name="connsiteY30" fmla="*/ 5809416 h 6858000"/>
              <a:gd name="connsiteX31" fmla="*/ 883580 w 7467600"/>
              <a:gd name="connsiteY31" fmla="*/ 6180710 h 6858000"/>
              <a:gd name="connsiteX32" fmla="*/ 487337 w 7467600"/>
              <a:gd name="connsiteY32" fmla="*/ 5950182 h 6858000"/>
              <a:gd name="connsiteX33" fmla="*/ 354051 w 7467600"/>
              <a:gd name="connsiteY33" fmla="*/ 5854912 h 6858000"/>
              <a:gd name="connsiteX34" fmla="*/ 195436 w 7467600"/>
              <a:gd name="connsiteY34" fmla="*/ 5755068 h 6858000"/>
              <a:gd name="connsiteX35" fmla="*/ 103333 w 7467600"/>
              <a:gd name="connsiteY35" fmla="*/ 5699602 h 6858000"/>
              <a:gd name="connsiteX36" fmla="*/ 5539432 w 7467600"/>
              <a:gd name="connsiteY36" fmla="*/ 5642928 h 6858000"/>
              <a:gd name="connsiteX37" fmla="*/ 5555462 w 7467600"/>
              <a:gd name="connsiteY37" fmla="*/ 5694454 h 6858000"/>
              <a:gd name="connsiteX38" fmla="*/ 5828270 w 7467600"/>
              <a:gd name="connsiteY38" fmla="*/ 6320663 h 6858000"/>
              <a:gd name="connsiteX39" fmla="*/ 5947416 w 7467600"/>
              <a:gd name="connsiteY39" fmla="*/ 6574846 h 6858000"/>
              <a:gd name="connsiteX40" fmla="*/ 5539432 w 7467600"/>
              <a:gd name="connsiteY40" fmla="*/ 5642928 h 6858000"/>
              <a:gd name="connsiteX41" fmla="*/ 51253 w 7467600"/>
              <a:gd name="connsiteY41" fmla="*/ 5631825 h 6858000"/>
              <a:gd name="connsiteX42" fmla="*/ 211622 w 7467600"/>
              <a:gd name="connsiteY42" fmla="*/ 5728803 h 6858000"/>
              <a:gd name="connsiteX43" fmla="*/ 371652 w 7467600"/>
              <a:gd name="connsiteY43" fmla="*/ 5829062 h 6858000"/>
              <a:gd name="connsiteX44" fmla="*/ 505903 w 7467600"/>
              <a:gd name="connsiteY44" fmla="*/ 5925221 h 6858000"/>
              <a:gd name="connsiteX45" fmla="*/ 899240 w 7467600"/>
              <a:gd name="connsiteY45" fmla="*/ 6153068 h 6858000"/>
              <a:gd name="connsiteX46" fmla="*/ 988114 w 7467600"/>
              <a:gd name="connsiteY46" fmla="*/ 6174204 h 6858000"/>
              <a:gd name="connsiteX47" fmla="*/ 845971 w 7467600"/>
              <a:gd name="connsiteY47" fmla="*/ 6067177 h 6858000"/>
              <a:gd name="connsiteX48" fmla="*/ 448057 w 7467600"/>
              <a:gd name="connsiteY48" fmla="*/ 5841376 h 6858000"/>
              <a:gd name="connsiteX49" fmla="*/ 51253 w 7467600"/>
              <a:gd name="connsiteY49" fmla="*/ 5631825 h 6858000"/>
              <a:gd name="connsiteX50" fmla="*/ 2606687 w 7467600"/>
              <a:gd name="connsiteY50" fmla="*/ 5630718 h 6858000"/>
              <a:gd name="connsiteX51" fmla="*/ 2645658 w 7467600"/>
              <a:gd name="connsiteY51" fmla="*/ 6640259 h 6858000"/>
              <a:gd name="connsiteX52" fmla="*/ 2606687 w 7467600"/>
              <a:gd name="connsiteY52" fmla="*/ 5630718 h 6858000"/>
              <a:gd name="connsiteX53" fmla="*/ 3642057 w 7467600"/>
              <a:gd name="connsiteY53" fmla="*/ 5573487 h 6858000"/>
              <a:gd name="connsiteX54" fmla="*/ 3632981 w 7467600"/>
              <a:gd name="connsiteY54" fmla="*/ 5579437 h 6858000"/>
              <a:gd name="connsiteX55" fmla="*/ 3382436 w 7467600"/>
              <a:gd name="connsiteY55" fmla="*/ 5952726 h 6858000"/>
              <a:gd name="connsiteX56" fmla="*/ 3191929 w 7467600"/>
              <a:gd name="connsiteY56" fmla="*/ 6662669 h 6858000"/>
              <a:gd name="connsiteX57" fmla="*/ 3369898 w 7467600"/>
              <a:gd name="connsiteY57" fmla="*/ 6081771 h 6858000"/>
              <a:gd name="connsiteX58" fmla="*/ 3642057 w 7467600"/>
              <a:gd name="connsiteY58" fmla="*/ 5573487 h 6858000"/>
              <a:gd name="connsiteX59" fmla="*/ 2650666 w 7467600"/>
              <a:gd name="connsiteY59" fmla="*/ 5530686 h 6858000"/>
              <a:gd name="connsiteX60" fmla="*/ 2650249 w 7467600"/>
              <a:gd name="connsiteY60" fmla="*/ 5532101 h 6858000"/>
              <a:gd name="connsiteX61" fmla="*/ 2663808 w 7467600"/>
              <a:gd name="connsiteY61" fmla="*/ 6535215 h 6858000"/>
              <a:gd name="connsiteX62" fmla="*/ 2665418 w 7467600"/>
              <a:gd name="connsiteY62" fmla="*/ 6132756 h 6858000"/>
              <a:gd name="connsiteX63" fmla="*/ 2650666 w 7467600"/>
              <a:gd name="connsiteY63" fmla="*/ 5530686 h 6858000"/>
              <a:gd name="connsiteX64" fmla="*/ 2680277 w 7467600"/>
              <a:gd name="connsiteY64" fmla="*/ 5479204 h 6858000"/>
              <a:gd name="connsiteX65" fmla="*/ 2678972 w 7467600"/>
              <a:gd name="connsiteY65" fmla="*/ 5481582 h 6858000"/>
              <a:gd name="connsiteX66" fmla="*/ 2696666 w 7467600"/>
              <a:gd name="connsiteY66" fmla="*/ 6133836 h 6858000"/>
              <a:gd name="connsiteX67" fmla="*/ 2695769 w 7467600"/>
              <a:gd name="connsiteY67" fmla="*/ 6390955 h 6858000"/>
              <a:gd name="connsiteX68" fmla="*/ 2739893 w 7467600"/>
              <a:gd name="connsiteY68" fmla="*/ 6108357 h 6858000"/>
              <a:gd name="connsiteX69" fmla="*/ 2680277 w 7467600"/>
              <a:gd name="connsiteY69" fmla="*/ 5479204 h 6858000"/>
              <a:gd name="connsiteX70" fmla="*/ 1132195 w 7467600"/>
              <a:gd name="connsiteY70" fmla="*/ 5467980 h 6858000"/>
              <a:gd name="connsiteX71" fmla="*/ 1679056 w 7467600"/>
              <a:gd name="connsiteY71" fmla="*/ 5516907 h 6858000"/>
              <a:gd name="connsiteX72" fmla="*/ 2128648 w 7467600"/>
              <a:gd name="connsiteY72" fmla="*/ 5474249 h 6858000"/>
              <a:gd name="connsiteX73" fmla="*/ 1825619 w 7467600"/>
              <a:gd name="connsiteY73" fmla="*/ 5478447 h 6858000"/>
              <a:gd name="connsiteX74" fmla="*/ 1737798 w 7467600"/>
              <a:gd name="connsiteY74" fmla="*/ 5483353 h 6858000"/>
              <a:gd name="connsiteX75" fmla="*/ 1132195 w 7467600"/>
              <a:gd name="connsiteY75" fmla="*/ 5467980 h 6858000"/>
              <a:gd name="connsiteX76" fmla="*/ 6844835 w 7467600"/>
              <a:gd name="connsiteY76" fmla="*/ 5424988 h 6858000"/>
              <a:gd name="connsiteX77" fmla="*/ 6879594 w 7467600"/>
              <a:gd name="connsiteY77" fmla="*/ 5424547 h 6858000"/>
              <a:gd name="connsiteX78" fmla="*/ 7379510 w 7467600"/>
              <a:gd name="connsiteY78" fmla="*/ 5755454 h 6858000"/>
              <a:gd name="connsiteX79" fmla="*/ 7467600 w 7467600"/>
              <a:gd name="connsiteY79" fmla="*/ 5845526 h 6858000"/>
              <a:gd name="connsiteX80" fmla="*/ 7467600 w 7467600"/>
              <a:gd name="connsiteY80" fmla="*/ 5925131 h 6858000"/>
              <a:gd name="connsiteX81" fmla="*/ 7271900 w 7467600"/>
              <a:gd name="connsiteY81" fmla="*/ 5734551 h 6858000"/>
              <a:gd name="connsiteX82" fmla="*/ 7015907 w 7467600"/>
              <a:gd name="connsiteY82" fmla="*/ 5541548 h 6858000"/>
              <a:gd name="connsiteX83" fmla="*/ 7259646 w 7467600"/>
              <a:gd name="connsiteY83" fmla="*/ 5765985 h 6858000"/>
              <a:gd name="connsiteX84" fmla="*/ 7467600 w 7467600"/>
              <a:gd name="connsiteY84" fmla="*/ 5971257 h 6858000"/>
              <a:gd name="connsiteX85" fmla="*/ 7467600 w 7467600"/>
              <a:gd name="connsiteY85" fmla="*/ 6012219 h 6858000"/>
              <a:gd name="connsiteX86" fmla="*/ 7240170 w 7467600"/>
              <a:gd name="connsiteY86" fmla="*/ 5787985 h 6858000"/>
              <a:gd name="connsiteX87" fmla="*/ 6946849 w 7467600"/>
              <a:gd name="connsiteY87" fmla="*/ 5523271 h 6858000"/>
              <a:gd name="connsiteX88" fmla="*/ 6946972 w 7467600"/>
              <a:gd name="connsiteY88" fmla="*/ 5526491 h 6858000"/>
              <a:gd name="connsiteX89" fmla="*/ 7105827 w 7467600"/>
              <a:gd name="connsiteY89" fmla="*/ 5718700 h 6858000"/>
              <a:gd name="connsiteX90" fmla="*/ 7356878 w 7467600"/>
              <a:gd name="connsiteY90" fmla="*/ 5981332 h 6858000"/>
              <a:gd name="connsiteX91" fmla="*/ 7467600 w 7467600"/>
              <a:gd name="connsiteY91" fmla="*/ 6117703 h 6858000"/>
              <a:gd name="connsiteX92" fmla="*/ 7467600 w 7467600"/>
              <a:gd name="connsiteY92" fmla="*/ 6163634 h 6858000"/>
              <a:gd name="connsiteX93" fmla="*/ 7403637 w 7467600"/>
              <a:gd name="connsiteY93" fmla="*/ 6083957 h 6858000"/>
              <a:gd name="connsiteX94" fmla="*/ 7254615 w 7467600"/>
              <a:gd name="connsiteY94" fmla="*/ 5911918 h 6858000"/>
              <a:gd name="connsiteX95" fmla="*/ 7312589 w 7467600"/>
              <a:gd name="connsiteY95" fmla="*/ 5982309 h 6858000"/>
              <a:gd name="connsiteX96" fmla="*/ 7448321 w 7467600"/>
              <a:gd name="connsiteY96" fmla="*/ 6190991 h 6858000"/>
              <a:gd name="connsiteX97" fmla="*/ 7467600 w 7467600"/>
              <a:gd name="connsiteY97" fmla="*/ 6221686 h 6858000"/>
              <a:gd name="connsiteX98" fmla="*/ 7467600 w 7467600"/>
              <a:gd name="connsiteY98" fmla="*/ 6334256 h 6858000"/>
              <a:gd name="connsiteX99" fmla="*/ 7454976 w 7467600"/>
              <a:gd name="connsiteY99" fmla="*/ 6318297 h 6858000"/>
              <a:gd name="connsiteX100" fmla="*/ 7042773 w 7467600"/>
              <a:gd name="connsiteY100" fmla="*/ 5734011 h 6858000"/>
              <a:gd name="connsiteX101" fmla="*/ 6844835 w 7467600"/>
              <a:gd name="connsiteY101" fmla="*/ 5424988 h 6858000"/>
              <a:gd name="connsiteX102" fmla="*/ 1456157 w 7467600"/>
              <a:gd name="connsiteY102" fmla="*/ 5371404 h 6858000"/>
              <a:gd name="connsiteX103" fmla="*/ 1244432 w 7467600"/>
              <a:gd name="connsiteY103" fmla="*/ 5385601 h 6858000"/>
              <a:gd name="connsiteX104" fmla="*/ 973990 w 7467600"/>
              <a:gd name="connsiteY104" fmla="*/ 5424940 h 6858000"/>
              <a:gd name="connsiteX105" fmla="*/ 1103809 w 7467600"/>
              <a:gd name="connsiteY105" fmla="*/ 5433720 h 6858000"/>
              <a:gd name="connsiteX106" fmla="*/ 1123454 w 7467600"/>
              <a:gd name="connsiteY106" fmla="*/ 5435727 h 6858000"/>
              <a:gd name="connsiteX107" fmla="*/ 1737017 w 7467600"/>
              <a:gd name="connsiteY107" fmla="*/ 5452183 h 6858000"/>
              <a:gd name="connsiteX108" fmla="*/ 1824397 w 7467600"/>
              <a:gd name="connsiteY108" fmla="*/ 5447757 h 6858000"/>
              <a:gd name="connsiteX109" fmla="*/ 2070059 w 7467600"/>
              <a:gd name="connsiteY109" fmla="*/ 5441660 h 6858000"/>
              <a:gd name="connsiteX110" fmla="*/ 1456157 w 7467600"/>
              <a:gd name="connsiteY110" fmla="*/ 5371404 h 6858000"/>
              <a:gd name="connsiteX111" fmla="*/ 4988186 w 7467600"/>
              <a:gd name="connsiteY111" fmla="*/ 5216467 h 6858000"/>
              <a:gd name="connsiteX112" fmla="*/ 4777334 w 7467600"/>
              <a:gd name="connsiteY112" fmla="*/ 5406072 h 6858000"/>
              <a:gd name="connsiteX113" fmla="*/ 4718341 w 7467600"/>
              <a:gd name="connsiteY113" fmla="*/ 5468043 h 6858000"/>
              <a:gd name="connsiteX114" fmla="*/ 4604655 w 7467600"/>
              <a:gd name="connsiteY114" fmla="*/ 5583434 h 6858000"/>
              <a:gd name="connsiteX115" fmla="*/ 4565074 w 7467600"/>
              <a:gd name="connsiteY115" fmla="*/ 5618550 h 6858000"/>
              <a:gd name="connsiteX116" fmla="*/ 4988186 w 7467600"/>
              <a:gd name="connsiteY116" fmla="*/ 5216467 h 6858000"/>
              <a:gd name="connsiteX117" fmla="*/ 4978032 w 7467600"/>
              <a:gd name="connsiteY117" fmla="*/ 5183809 h 6858000"/>
              <a:gd name="connsiteX118" fmla="*/ 4463413 w 7467600"/>
              <a:gd name="connsiteY118" fmla="*/ 5615162 h 6858000"/>
              <a:gd name="connsiteX119" fmla="*/ 4358134 w 7467600"/>
              <a:gd name="connsiteY119" fmla="*/ 5742791 h 6858000"/>
              <a:gd name="connsiteX120" fmla="*/ 4376219 w 7467600"/>
              <a:gd name="connsiteY120" fmla="*/ 5729027 h 6858000"/>
              <a:gd name="connsiteX121" fmla="*/ 4582340 w 7467600"/>
              <a:gd name="connsiteY121" fmla="*/ 5561037 h 6858000"/>
              <a:gd name="connsiteX122" fmla="*/ 4694684 w 7467600"/>
              <a:gd name="connsiteY122" fmla="*/ 5447098 h 6858000"/>
              <a:gd name="connsiteX123" fmla="*/ 4754123 w 7467600"/>
              <a:gd name="connsiteY123" fmla="*/ 5384643 h 6858000"/>
              <a:gd name="connsiteX124" fmla="*/ 4978032 w 7467600"/>
              <a:gd name="connsiteY124" fmla="*/ 5183809 h 6858000"/>
              <a:gd name="connsiteX125" fmla="*/ 1903353 w 7467600"/>
              <a:gd name="connsiteY125" fmla="*/ 5044827 h 6858000"/>
              <a:gd name="connsiteX126" fmla="*/ 1936931 w 7467600"/>
              <a:gd name="connsiteY126" fmla="*/ 5093954 h 6858000"/>
              <a:gd name="connsiteX127" fmla="*/ 2195868 w 7467600"/>
              <a:gd name="connsiteY127" fmla="*/ 5396574 h 6858000"/>
              <a:gd name="connsiteX128" fmla="*/ 2088852 w 7467600"/>
              <a:gd name="connsiteY128" fmla="*/ 5166123 h 6858000"/>
              <a:gd name="connsiteX129" fmla="*/ 1958241 w 7467600"/>
              <a:gd name="connsiteY129" fmla="*/ 5067955 h 6858000"/>
              <a:gd name="connsiteX130" fmla="*/ 1903353 w 7467600"/>
              <a:gd name="connsiteY130" fmla="*/ 5044827 h 6858000"/>
              <a:gd name="connsiteX131" fmla="*/ 1979378 w 7467600"/>
              <a:gd name="connsiteY131" fmla="*/ 4769504 h 6858000"/>
              <a:gd name="connsiteX132" fmla="*/ 2882120 w 7467600"/>
              <a:gd name="connsiteY132" fmla="*/ 5064547 h 6858000"/>
              <a:gd name="connsiteX133" fmla="*/ 2793103 w 7467600"/>
              <a:gd name="connsiteY133" fmla="*/ 5039699 h 6858000"/>
              <a:gd name="connsiteX134" fmla="*/ 2770041 w 7467600"/>
              <a:gd name="connsiteY134" fmla="*/ 5033634 h 6858000"/>
              <a:gd name="connsiteX135" fmla="*/ 1979378 w 7467600"/>
              <a:gd name="connsiteY135" fmla="*/ 4769504 h 6858000"/>
              <a:gd name="connsiteX136" fmla="*/ 1927410 w 7467600"/>
              <a:gd name="connsiteY136" fmla="*/ 4716164 h 6858000"/>
              <a:gd name="connsiteX137" fmla="*/ 1959587 w 7467600"/>
              <a:gd name="connsiteY137" fmla="*/ 4728849 h 6858000"/>
              <a:gd name="connsiteX138" fmla="*/ 2777707 w 7467600"/>
              <a:gd name="connsiteY138" fmla="*/ 5003991 h 6858000"/>
              <a:gd name="connsiteX139" fmla="*/ 2800768 w 7467600"/>
              <a:gd name="connsiteY139" fmla="*/ 5010056 h 6858000"/>
              <a:gd name="connsiteX140" fmla="*/ 2879408 w 7467600"/>
              <a:gd name="connsiteY140" fmla="*/ 5031590 h 6858000"/>
              <a:gd name="connsiteX141" fmla="*/ 2862295 w 7467600"/>
              <a:gd name="connsiteY141" fmla="*/ 5022958 h 6858000"/>
              <a:gd name="connsiteX142" fmla="*/ 2813343 w 7467600"/>
              <a:gd name="connsiteY142" fmla="*/ 4998369 h 6858000"/>
              <a:gd name="connsiteX143" fmla="*/ 2646245 w 7467600"/>
              <a:gd name="connsiteY143" fmla="*/ 4930999 h 6858000"/>
              <a:gd name="connsiteX144" fmla="*/ 1999243 w 7467600"/>
              <a:gd name="connsiteY144" fmla="*/ 4730524 h 6858000"/>
              <a:gd name="connsiteX145" fmla="*/ 1979527 w 7467600"/>
              <a:gd name="connsiteY145" fmla="*/ 4726651 h 6858000"/>
              <a:gd name="connsiteX146" fmla="*/ 1927410 w 7467600"/>
              <a:gd name="connsiteY146" fmla="*/ 4716164 h 6858000"/>
              <a:gd name="connsiteX147" fmla="*/ 1997014 w 7467600"/>
              <a:gd name="connsiteY147" fmla="*/ 4698007 h 6858000"/>
              <a:gd name="connsiteX148" fmla="*/ 2005458 w 7467600"/>
              <a:gd name="connsiteY148" fmla="*/ 4699540 h 6858000"/>
              <a:gd name="connsiteX149" fmla="*/ 2657186 w 7467600"/>
              <a:gd name="connsiteY149" fmla="*/ 4901687 h 6858000"/>
              <a:gd name="connsiteX150" fmla="*/ 2826662 w 7467600"/>
              <a:gd name="connsiteY150" fmla="*/ 4970362 h 6858000"/>
              <a:gd name="connsiteX151" fmla="*/ 2876100 w 7467600"/>
              <a:gd name="connsiteY151" fmla="*/ 4995397 h 6858000"/>
              <a:gd name="connsiteX152" fmla="*/ 3042600 w 7467600"/>
              <a:gd name="connsiteY152" fmla="*/ 5059532 h 6858000"/>
              <a:gd name="connsiteX153" fmla="*/ 1997014 w 7467600"/>
              <a:gd name="connsiteY153" fmla="*/ 4698007 h 6858000"/>
              <a:gd name="connsiteX154" fmla="*/ 2305292 w 7467600"/>
              <a:gd name="connsiteY154" fmla="*/ 4219492 h 6858000"/>
              <a:gd name="connsiteX155" fmla="*/ 3360922 w 7467600"/>
              <a:gd name="connsiteY155" fmla="*/ 4529373 h 6858000"/>
              <a:gd name="connsiteX156" fmla="*/ 3492420 w 7467600"/>
              <a:gd name="connsiteY156" fmla="*/ 4510145 h 6858000"/>
              <a:gd name="connsiteX157" fmla="*/ 3364086 w 7467600"/>
              <a:gd name="connsiteY157" fmla="*/ 4480340 h 6858000"/>
              <a:gd name="connsiteX158" fmla="*/ 3225818 w 7467600"/>
              <a:gd name="connsiteY158" fmla="*/ 4411822 h 6858000"/>
              <a:gd name="connsiteX159" fmla="*/ 3129696 w 7467600"/>
              <a:gd name="connsiteY159" fmla="*/ 4360704 h 6858000"/>
              <a:gd name="connsiteX160" fmla="*/ 2814545 w 7467600"/>
              <a:gd name="connsiteY160" fmla="*/ 4282955 h 6858000"/>
              <a:gd name="connsiteX161" fmla="*/ 2305292 w 7467600"/>
              <a:gd name="connsiteY161" fmla="*/ 4219492 h 6858000"/>
              <a:gd name="connsiteX162" fmla="*/ 2626982 w 7467600"/>
              <a:gd name="connsiteY162" fmla="*/ 4206450 h 6858000"/>
              <a:gd name="connsiteX163" fmla="*/ 2490617 w 7467600"/>
              <a:gd name="connsiteY163" fmla="*/ 4206951 h 6858000"/>
              <a:gd name="connsiteX164" fmla="*/ 2819869 w 7467600"/>
              <a:gd name="connsiteY164" fmla="*/ 4252936 h 6858000"/>
              <a:gd name="connsiteX165" fmla="*/ 3143018 w 7467600"/>
              <a:gd name="connsiteY165" fmla="*/ 4332698 h 6858000"/>
              <a:gd name="connsiteX166" fmla="*/ 3241520 w 7467600"/>
              <a:gd name="connsiteY166" fmla="*/ 4385112 h 6858000"/>
              <a:gd name="connsiteX167" fmla="*/ 3374575 w 7467600"/>
              <a:gd name="connsiteY167" fmla="*/ 4451517 h 6858000"/>
              <a:gd name="connsiteX168" fmla="*/ 3505221 w 7467600"/>
              <a:gd name="connsiteY168" fmla="*/ 4480757 h 6858000"/>
              <a:gd name="connsiteX169" fmla="*/ 2626982 w 7467600"/>
              <a:gd name="connsiteY169" fmla="*/ 4206450 h 6858000"/>
              <a:gd name="connsiteX170" fmla="*/ 1310106 w 7467600"/>
              <a:gd name="connsiteY170" fmla="*/ 3943217 h 6858000"/>
              <a:gd name="connsiteX171" fmla="*/ 854994 w 7467600"/>
              <a:gd name="connsiteY171" fmla="*/ 4399136 h 6858000"/>
              <a:gd name="connsiteX172" fmla="*/ 742462 w 7467600"/>
              <a:gd name="connsiteY172" fmla="*/ 4594648 h 6858000"/>
              <a:gd name="connsiteX173" fmla="*/ 820602 w 7467600"/>
              <a:gd name="connsiteY173" fmla="*/ 4485915 h 6858000"/>
              <a:gd name="connsiteX174" fmla="*/ 878295 w 7467600"/>
              <a:gd name="connsiteY174" fmla="*/ 4403594 h 6858000"/>
              <a:gd name="connsiteX175" fmla="*/ 1240607 w 7467600"/>
              <a:gd name="connsiteY175" fmla="*/ 4010401 h 6858000"/>
              <a:gd name="connsiteX176" fmla="*/ 1310106 w 7467600"/>
              <a:gd name="connsiteY176" fmla="*/ 3943217 h 6858000"/>
              <a:gd name="connsiteX177" fmla="*/ 1423113 w 7467600"/>
              <a:gd name="connsiteY177" fmla="*/ 3874565 h 6858000"/>
              <a:gd name="connsiteX178" fmla="*/ 1260565 w 7467600"/>
              <a:gd name="connsiteY178" fmla="*/ 4031982 h 6858000"/>
              <a:gd name="connsiteX179" fmla="*/ 901900 w 7467600"/>
              <a:gd name="connsiteY179" fmla="*/ 4421236 h 6858000"/>
              <a:gd name="connsiteX180" fmla="*/ 845044 w 7467600"/>
              <a:gd name="connsiteY180" fmla="*/ 4502436 h 6858000"/>
              <a:gd name="connsiteX181" fmla="*/ 685926 w 7467600"/>
              <a:gd name="connsiteY181" fmla="*/ 4703069 h 6858000"/>
              <a:gd name="connsiteX182" fmla="*/ 684248 w 7467600"/>
              <a:gd name="connsiteY182" fmla="*/ 4706721 h 6858000"/>
              <a:gd name="connsiteX183" fmla="*/ 1423113 w 7467600"/>
              <a:gd name="connsiteY183" fmla="*/ 3874565 h 6858000"/>
              <a:gd name="connsiteX184" fmla="*/ 3316479 w 7467600"/>
              <a:gd name="connsiteY184" fmla="*/ 3872136 h 6858000"/>
              <a:gd name="connsiteX185" fmla="*/ 3546806 w 7467600"/>
              <a:gd name="connsiteY185" fmla="*/ 4356139 h 6858000"/>
              <a:gd name="connsiteX186" fmla="*/ 3364433 w 7467600"/>
              <a:gd name="connsiteY186" fmla="*/ 3953121 h 6858000"/>
              <a:gd name="connsiteX187" fmla="*/ 3316479 w 7467600"/>
              <a:gd name="connsiteY187" fmla="*/ 3872136 h 6858000"/>
              <a:gd name="connsiteX188" fmla="*/ 3291335 w 7467600"/>
              <a:gd name="connsiteY188" fmla="*/ 3767420 h 6858000"/>
              <a:gd name="connsiteX189" fmla="*/ 3390805 w 7467600"/>
              <a:gd name="connsiteY189" fmla="*/ 3937163 h 6858000"/>
              <a:gd name="connsiteX190" fmla="*/ 3579062 w 7467600"/>
              <a:gd name="connsiteY190" fmla="*/ 4359040 h 6858000"/>
              <a:gd name="connsiteX191" fmla="*/ 3467355 w 7467600"/>
              <a:gd name="connsiteY191" fmla="*/ 3988130 h 6858000"/>
              <a:gd name="connsiteX192" fmla="*/ 3310753 w 7467600"/>
              <a:gd name="connsiteY192" fmla="*/ 3787140 h 6858000"/>
              <a:gd name="connsiteX193" fmla="*/ 3291335 w 7467600"/>
              <a:gd name="connsiteY193" fmla="*/ 3767420 h 6858000"/>
              <a:gd name="connsiteX194" fmla="*/ 1635889 w 7467600"/>
              <a:gd name="connsiteY194" fmla="*/ 3709494 h 6858000"/>
              <a:gd name="connsiteX195" fmla="*/ 1634800 w 7467600"/>
              <a:gd name="connsiteY195" fmla="*/ 3731111 h 6858000"/>
              <a:gd name="connsiteX196" fmla="*/ 1635889 w 7467600"/>
              <a:gd name="connsiteY196" fmla="*/ 3709494 h 6858000"/>
              <a:gd name="connsiteX197" fmla="*/ 1510397 w 7467600"/>
              <a:gd name="connsiteY197" fmla="*/ 3684705 h 6858000"/>
              <a:gd name="connsiteX198" fmla="*/ 1146550 w 7467600"/>
              <a:gd name="connsiteY198" fmla="*/ 3802012 h 6858000"/>
              <a:gd name="connsiteX199" fmla="*/ 698834 w 7467600"/>
              <a:gd name="connsiteY199" fmla="*/ 3952272 h 6858000"/>
              <a:gd name="connsiteX200" fmla="*/ 34256 w 7467600"/>
              <a:gd name="connsiteY200" fmla="*/ 4347603 h 6858000"/>
              <a:gd name="connsiteX201" fmla="*/ 527241 w 7467600"/>
              <a:gd name="connsiteY201" fmla="*/ 4065078 h 6858000"/>
              <a:gd name="connsiteX202" fmla="*/ 1510397 w 7467600"/>
              <a:gd name="connsiteY202" fmla="*/ 3684705 h 6858000"/>
              <a:gd name="connsiteX203" fmla="*/ 1313114 w 7467600"/>
              <a:gd name="connsiteY203" fmla="*/ 3655216 h 6858000"/>
              <a:gd name="connsiteX204" fmla="*/ 1109304 w 7467600"/>
              <a:gd name="connsiteY204" fmla="*/ 3669030 h 6858000"/>
              <a:gd name="connsiteX205" fmla="*/ 8129 w 7467600"/>
              <a:gd name="connsiteY205" fmla="*/ 4330519 h 6858000"/>
              <a:gd name="connsiteX206" fmla="*/ 687572 w 7467600"/>
              <a:gd name="connsiteY206" fmla="*/ 3925629 h 6858000"/>
              <a:gd name="connsiteX207" fmla="*/ 1138365 w 7467600"/>
              <a:gd name="connsiteY207" fmla="*/ 3774515 h 6858000"/>
              <a:gd name="connsiteX208" fmla="*/ 1505579 w 7467600"/>
              <a:gd name="connsiteY208" fmla="*/ 3655526 h 6858000"/>
              <a:gd name="connsiteX209" fmla="*/ 1313114 w 7467600"/>
              <a:gd name="connsiteY209" fmla="*/ 3655216 h 6858000"/>
              <a:gd name="connsiteX210" fmla="*/ 3655073 w 7467600"/>
              <a:gd name="connsiteY210" fmla="*/ 3650884 h 6858000"/>
              <a:gd name="connsiteX211" fmla="*/ 3989938 w 7467600"/>
              <a:gd name="connsiteY211" fmla="*/ 3991685 h 6858000"/>
              <a:gd name="connsiteX212" fmla="*/ 4393907 w 7467600"/>
              <a:gd name="connsiteY212" fmla="*/ 4261258 h 6858000"/>
              <a:gd name="connsiteX213" fmla="*/ 4648051 w 7467600"/>
              <a:gd name="connsiteY213" fmla="*/ 4374051 h 6858000"/>
              <a:gd name="connsiteX214" fmla="*/ 4383389 w 7467600"/>
              <a:gd name="connsiteY214" fmla="*/ 4184369 h 6858000"/>
              <a:gd name="connsiteX215" fmla="*/ 4165508 w 7467600"/>
              <a:gd name="connsiteY215" fmla="*/ 4035196 h 6858000"/>
              <a:gd name="connsiteX216" fmla="*/ 4068162 w 7467600"/>
              <a:gd name="connsiteY216" fmla="*/ 3953394 h 6858000"/>
              <a:gd name="connsiteX217" fmla="*/ 3981416 w 7467600"/>
              <a:gd name="connsiteY217" fmla="*/ 3880482 h 6858000"/>
              <a:gd name="connsiteX218" fmla="*/ 3800147 w 7467600"/>
              <a:gd name="connsiteY218" fmla="*/ 3749872 h 6858000"/>
              <a:gd name="connsiteX219" fmla="*/ 3655073 w 7467600"/>
              <a:gd name="connsiteY219" fmla="*/ 3650884 h 6858000"/>
              <a:gd name="connsiteX220" fmla="*/ 3670252 w 7467600"/>
              <a:gd name="connsiteY220" fmla="*/ 3622798 h 6858000"/>
              <a:gd name="connsiteX221" fmla="*/ 3817258 w 7467600"/>
              <a:gd name="connsiteY221" fmla="*/ 3723577 h 6858000"/>
              <a:gd name="connsiteX222" fmla="*/ 4000461 w 7467600"/>
              <a:gd name="connsiteY222" fmla="*/ 3855966 h 6858000"/>
              <a:gd name="connsiteX223" fmla="*/ 4088180 w 7467600"/>
              <a:gd name="connsiteY223" fmla="*/ 3929774 h 6858000"/>
              <a:gd name="connsiteX224" fmla="*/ 4184555 w 7467600"/>
              <a:gd name="connsiteY224" fmla="*/ 4010683 h 6858000"/>
              <a:gd name="connsiteX225" fmla="*/ 4399563 w 7467600"/>
              <a:gd name="connsiteY225" fmla="*/ 4158106 h 6858000"/>
              <a:gd name="connsiteX226" fmla="*/ 4684469 w 7467600"/>
              <a:gd name="connsiteY226" fmla="*/ 4364680 h 6858000"/>
              <a:gd name="connsiteX227" fmla="*/ 4690271 w 7467600"/>
              <a:gd name="connsiteY227" fmla="*/ 4370034 h 6858000"/>
              <a:gd name="connsiteX228" fmla="*/ 4136093 w 7467600"/>
              <a:gd name="connsiteY228" fmla="*/ 3858466 h 6858000"/>
              <a:gd name="connsiteX229" fmla="*/ 3670252 w 7467600"/>
              <a:gd name="connsiteY229" fmla="*/ 3622798 h 6858000"/>
              <a:gd name="connsiteX230" fmla="*/ 4440129 w 7467600"/>
              <a:gd name="connsiteY230" fmla="*/ 3448571 h 6858000"/>
              <a:gd name="connsiteX231" fmla="*/ 4856525 w 7467600"/>
              <a:gd name="connsiteY231" fmla="*/ 3915351 h 6858000"/>
              <a:gd name="connsiteX232" fmla="*/ 5059055 w 7467600"/>
              <a:gd name="connsiteY232" fmla="*/ 4108918 h 6858000"/>
              <a:gd name="connsiteX233" fmla="*/ 5290070 w 7467600"/>
              <a:gd name="connsiteY233" fmla="*/ 4263619 h 6858000"/>
              <a:gd name="connsiteX234" fmla="*/ 4834991 w 7467600"/>
              <a:gd name="connsiteY234" fmla="*/ 3830985 h 6858000"/>
              <a:gd name="connsiteX235" fmla="*/ 4440129 w 7467600"/>
              <a:gd name="connsiteY235" fmla="*/ 3448571 h 6858000"/>
              <a:gd name="connsiteX236" fmla="*/ 4441737 w 7467600"/>
              <a:gd name="connsiteY236" fmla="*/ 3399734 h 6858000"/>
              <a:gd name="connsiteX237" fmla="*/ 4431236 w 7467600"/>
              <a:gd name="connsiteY237" fmla="*/ 3400954 h 6858000"/>
              <a:gd name="connsiteX238" fmla="*/ 4557150 w 7467600"/>
              <a:gd name="connsiteY238" fmla="*/ 3510023 h 6858000"/>
              <a:gd name="connsiteX239" fmla="*/ 4856936 w 7467600"/>
              <a:gd name="connsiteY239" fmla="*/ 3809146 h 6858000"/>
              <a:gd name="connsiteX240" fmla="*/ 5111996 w 7467600"/>
              <a:gd name="connsiteY240" fmla="*/ 4065759 h 6858000"/>
              <a:gd name="connsiteX241" fmla="*/ 5388878 w 7467600"/>
              <a:gd name="connsiteY241" fmla="*/ 4300185 h 6858000"/>
              <a:gd name="connsiteX242" fmla="*/ 5425556 w 7467600"/>
              <a:gd name="connsiteY242" fmla="*/ 4308967 h 6858000"/>
              <a:gd name="connsiteX243" fmla="*/ 4943646 w 7467600"/>
              <a:gd name="connsiteY243" fmla="*/ 3822916 h 6858000"/>
              <a:gd name="connsiteX244" fmla="*/ 4594837 w 7467600"/>
              <a:gd name="connsiteY244" fmla="*/ 3532274 h 6858000"/>
              <a:gd name="connsiteX245" fmla="*/ 4441737 w 7467600"/>
              <a:gd name="connsiteY245" fmla="*/ 3399734 h 6858000"/>
              <a:gd name="connsiteX246" fmla="*/ 5425834 w 7467600"/>
              <a:gd name="connsiteY246" fmla="*/ 3162785 h 6858000"/>
              <a:gd name="connsiteX247" fmla="*/ 5401644 w 7467600"/>
              <a:gd name="connsiteY247" fmla="*/ 3617847 h 6858000"/>
              <a:gd name="connsiteX248" fmla="*/ 5467256 w 7467600"/>
              <a:gd name="connsiteY248" fmla="*/ 4175494 h 6858000"/>
              <a:gd name="connsiteX249" fmla="*/ 5448069 w 7467600"/>
              <a:gd name="connsiteY249" fmla="*/ 3567554 h 6858000"/>
              <a:gd name="connsiteX250" fmla="*/ 5425834 w 7467600"/>
              <a:gd name="connsiteY250" fmla="*/ 3162785 h 6858000"/>
              <a:gd name="connsiteX251" fmla="*/ 1318687 w 7467600"/>
              <a:gd name="connsiteY251" fmla="*/ 3113840 h 6858000"/>
              <a:gd name="connsiteX252" fmla="*/ 1066793 w 7467600"/>
              <a:gd name="connsiteY252" fmla="*/ 3212171 h 6858000"/>
              <a:gd name="connsiteX253" fmla="*/ 993319 w 7467600"/>
              <a:gd name="connsiteY253" fmla="*/ 3247648 h 6858000"/>
              <a:gd name="connsiteX254" fmla="*/ 853081 w 7467600"/>
              <a:gd name="connsiteY254" fmla="*/ 3312410 h 6858000"/>
              <a:gd name="connsiteX255" fmla="*/ 805957 w 7467600"/>
              <a:gd name="connsiteY255" fmla="*/ 3330443 h 6858000"/>
              <a:gd name="connsiteX256" fmla="*/ 1318687 w 7467600"/>
              <a:gd name="connsiteY256" fmla="*/ 3113840 h 6858000"/>
              <a:gd name="connsiteX257" fmla="*/ 5453702 w 7467600"/>
              <a:gd name="connsiteY257" fmla="*/ 3090882 h 6858000"/>
              <a:gd name="connsiteX258" fmla="*/ 5480135 w 7467600"/>
              <a:gd name="connsiteY258" fmla="*/ 3565802 h 6858000"/>
              <a:gd name="connsiteX259" fmla="*/ 5499023 w 7467600"/>
              <a:gd name="connsiteY259" fmla="*/ 4166310 h 6858000"/>
              <a:gd name="connsiteX260" fmla="*/ 5547022 w 7467600"/>
              <a:gd name="connsiteY260" fmla="*/ 3607838 h 6858000"/>
              <a:gd name="connsiteX261" fmla="*/ 5515964 w 7467600"/>
              <a:gd name="connsiteY261" fmla="*/ 3378541 h 6858000"/>
              <a:gd name="connsiteX262" fmla="*/ 5453702 w 7467600"/>
              <a:gd name="connsiteY262" fmla="*/ 3090882 h 6858000"/>
              <a:gd name="connsiteX263" fmla="*/ 1238695 w 7467600"/>
              <a:gd name="connsiteY263" fmla="*/ 3076820 h 6858000"/>
              <a:gd name="connsiteX264" fmla="*/ 716371 w 7467600"/>
              <a:gd name="connsiteY264" fmla="*/ 3293249 h 6858000"/>
              <a:gd name="connsiteX265" fmla="*/ 579522 w 7467600"/>
              <a:gd name="connsiteY265" fmla="*/ 3371759 h 6858000"/>
              <a:gd name="connsiteX266" fmla="*/ 600288 w 7467600"/>
              <a:gd name="connsiteY266" fmla="*/ 3365555 h 6858000"/>
              <a:gd name="connsiteX267" fmla="*/ 840692 w 7467600"/>
              <a:gd name="connsiteY267" fmla="*/ 3284921 h 6858000"/>
              <a:gd name="connsiteX268" fmla="*/ 979248 w 7467600"/>
              <a:gd name="connsiteY268" fmla="*/ 3221003 h 6858000"/>
              <a:gd name="connsiteX269" fmla="*/ 1053282 w 7467600"/>
              <a:gd name="connsiteY269" fmla="*/ 3185247 h 6858000"/>
              <a:gd name="connsiteX270" fmla="*/ 1320603 w 7467600"/>
              <a:gd name="connsiteY270" fmla="*/ 3081281 h 6858000"/>
              <a:gd name="connsiteX271" fmla="*/ 1238695 w 7467600"/>
              <a:gd name="connsiteY271" fmla="*/ 3076820 h 6858000"/>
              <a:gd name="connsiteX272" fmla="*/ 5425627 w 7467600"/>
              <a:gd name="connsiteY272" fmla="*/ 2954192 h 6858000"/>
              <a:gd name="connsiteX273" fmla="*/ 5470770 w 7467600"/>
              <a:gd name="connsiteY273" fmla="*/ 3005435 h 6858000"/>
              <a:gd name="connsiteX274" fmla="*/ 5519779 w 7467600"/>
              <a:gd name="connsiteY274" fmla="*/ 4359223 h 6858000"/>
              <a:gd name="connsiteX275" fmla="*/ 5520293 w 7467600"/>
              <a:gd name="connsiteY275" fmla="*/ 4360602 h 6858000"/>
              <a:gd name="connsiteX276" fmla="*/ 5767221 w 7467600"/>
              <a:gd name="connsiteY276" fmla="*/ 4665564 h 6858000"/>
              <a:gd name="connsiteX277" fmla="*/ 6937169 w 7467600"/>
              <a:gd name="connsiteY277" fmla="*/ 4815941 h 6858000"/>
              <a:gd name="connsiteX278" fmla="*/ 6953922 w 7467600"/>
              <a:gd name="connsiteY278" fmla="*/ 4890068 h 6858000"/>
              <a:gd name="connsiteX279" fmla="*/ 6071359 w 7467600"/>
              <a:gd name="connsiteY279" fmla="*/ 4770770 h 6858000"/>
              <a:gd name="connsiteX280" fmla="*/ 6038839 w 7467600"/>
              <a:gd name="connsiteY280" fmla="*/ 4764474 h 6858000"/>
              <a:gd name="connsiteX281" fmla="*/ 6038706 w 7467600"/>
              <a:gd name="connsiteY281" fmla="*/ 4763847 h 6858000"/>
              <a:gd name="connsiteX282" fmla="*/ 6037784 w 7467600"/>
              <a:gd name="connsiteY282" fmla="*/ 4764270 h 6858000"/>
              <a:gd name="connsiteX283" fmla="*/ 6038839 w 7467600"/>
              <a:gd name="connsiteY283" fmla="*/ 4764474 h 6858000"/>
              <a:gd name="connsiteX284" fmla="*/ 6040338 w 7467600"/>
              <a:gd name="connsiteY284" fmla="*/ 4771418 h 6858000"/>
              <a:gd name="connsiteX285" fmla="*/ 6024488 w 7467600"/>
              <a:gd name="connsiteY285" fmla="*/ 4809903 h 6858000"/>
              <a:gd name="connsiteX286" fmla="*/ 5599771 w 7467600"/>
              <a:gd name="connsiteY286" fmla="*/ 5509652 h 6858000"/>
              <a:gd name="connsiteX287" fmla="*/ 5548843 w 7467600"/>
              <a:gd name="connsiteY287" fmla="*/ 5563845 h 6858000"/>
              <a:gd name="connsiteX288" fmla="*/ 5940952 w 7467600"/>
              <a:gd name="connsiteY288" fmla="*/ 6250028 h 6858000"/>
              <a:gd name="connsiteX289" fmla="*/ 6043441 w 7467600"/>
              <a:gd name="connsiteY289" fmla="*/ 6665847 h 6858000"/>
              <a:gd name="connsiteX290" fmla="*/ 6093432 w 7467600"/>
              <a:gd name="connsiteY290" fmla="*/ 6858000 h 6858000"/>
              <a:gd name="connsiteX291" fmla="*/ 6034344 w 7467600"/>
              <a:gd name="connsiteY291" fmla="*/ 6858000 h 6858000"/>
              <a:gd name="connsiteX292" fmla="*/ 6026679 w 7467600"/>
              <a:gd name="connsiteY292" fmla="*/ 6836959 h 6858000"/>
              <a:gd name="connsiteX293" fmla="*/ 5800441 w 7467600"/>
              <a:gd name="connsiteY293" fmla="*/ 6335286 h 6858000"/>
              <a:gd name="connsiteX294" fmla="*/ 5526562 w 7467600"/>
              <a:gd name="connsiteY294" fmla="*/ 5705388 h 6858000"/>
              <a:gd name="connsiteX295" fmla="*/ 5519640 w 7467600"/>
              <a:gd name="connsiteY295" fmla="*/ 5683774 h 6858000"/>
              <a:gd name="connsiteX296" fmla="*/ 5844559 w 7467600"/>
              <a:gd name="connsiteY296" fmla="*/ 6553349 h 6858000"/>
              <a:gd name="connsiteX297" fmla="*/ 5975994 w 7467600"/>
              <a:gd name="connsiteY297" fmla="*/ 6858000 h 6858000"/>
              <a:gd name="connsiteX298" fmla="*/ 5898547 w 7467600"/>
              <a:gd name="connsiteY298" fmla="*/ 6858000 h 6858000"/>
              <a:gd name="connsiteX299" fmla="*/ 5682041 w 7467600"/>
              <a:gd name="connsiteY299" fmla="*/ 6355860 h 6858000"/>
              <a:gd name="connsiteX300" fmla="*/ 5461758 w 7467600"/>
              <a:gd name="connsiteY300" fmla="*/ 5820220 h 6858000"/>
              <a:gd name="connsiteX301" fmla="*/ 5237282 w 7467600"/>
              <a:gd name="connsiteY301" fmla="*/ 6579086 h 6858000"/>
              <a:gd name="connsiteX302" fmla="*/ 5115009 w 7467600"/>
              <a:gd name="connsiteY302" fmla="*/ 6858000 h 6858000"/>
              <a:gd name="connsiteX303" fmla="*/ 5028074 w 7467600"/>
              <a:gd name="connsiteY303" fmla="*/ 6858000 h 6858000"/>
              <a:gd name="connsiteX304" fmla="*/ 5079508 w 7467600"/>
              <a:gd name="connsiteY304" fmla="*/ 6749074 h 6858000"/>
              <a:gd name="connsiteX305" fmla="*/ 5371846 w 7467600"/>
              <a:gd name="connsiteY305" fmla="*/ 5924413 h 6858000"/>
              <a:gd name="connsiteX306" fmla="*/ 5270512 w 7467600"/>
              <a:gd name="connsiteY306" fmla="*/ 6138975 h 6858000"/>
              <a:gd name="connsiteX307" fmla="*/ 5062409 w 7467600"/>
              <a:gd name="connsiteY307" fmla="*/ 6653544 h 6858000"/>
              <a:gd name="connsiteX308" fmla="*/ 5036628 w 7467600"/>
              <a:gd name="connsiteY308" fmla="*/ 6754247 h 6858000"/>
              <a:gd name="connsiteX309" fmla="*/ 5009112 w 7467600"/>
              <a:gd name="connsiteY309" fmla="*/ 6858000 h 6858000"/>
              <a:gd name="connsiteX310" fmla="*/ 4976679 w 7467600"/>
              <a:gd name="connsiteY310" fmla="*/ 6858000 h 6858000"/>
              <a:gd name="connsiteX311" fmla="*/ 5006537 w 7467600"/>
              <a:gd name="connsiteY311" fmla="*/ 6747068 h 6858000"/>
              <a:gd name="connsiteX312" fmla="*/ 5032723 w 7467600"/>
              <a:gd name="connsiteY312" fmla="*/ 6644957 h 6858000"/>
              <a:gd name="connsiteX313" fmla="*/ 5242949 w 7467600"/>
              <a:gd name="connsiteY313" fmla="*/ 6125175 h 6858000"/>
              <a:gd name="connsiteX314" fmla="*/ 5286321 w 7467600"/>
              <a:gd name="connsiteY314" fmla="*/ 6033555 h 6858000"/>
              <a:gd name="connsiteX315" fmla="*/ 5008210 w 7467600"/>
              <a:gd name="connsiteY315" fmla="*/ 6649194 h 6858000"/>
              <a:gd name="connsiteX316" fmla="*/ 4986321 w 7467600"/>
              <a:gd name="connsiteY316" fmla="*/ 6765687 h 6858000"/>
              <a:gd name="connsiteX317" fmla="*/ 4973474 w 7467600"/>
              <a:gd name="connsiteY317" fmla="*/ 6858000 h 6858000"/>
              <a:gd name="connsiteX318" fmla="*/ 4907178 w 7467600"/>
              <a:gd name="connsiteY318" fmla="*/ 6858000 h 6858000"/>
              <a:gd name="connsiteX319" fmla="*/ 4910810 w 7467600"/>
              <a:gd name="connsiteY319" fmla="*/ 6829660 h 6858000"/>
              <a:gd name="connsiteX320" fmla="*/ 4987461 w 7467600"/>
              <a:gd name="connsiteY320" fmla="*/ 6432994 h 6858000"/>
              <a:gd name="connsiteX321" fmla="*/ 5179262 w 7467600"/>
              <a:gd name="connsiteY321" fmla="*/ 6035044 h 6858000"/>
              <a:gd name="connsiteX322" fmla="*/ 4689678 w 7467600"/>
              <a:gd name="connsiteY322" fmla="*/ 6440241 h 6858000"/>
              <a:gd name="connsiteX323" fmla="*/ 4477543 w 7467600"/>
              <a:gd name="connsiteY323" fmla="*/ 6674836 h 6858000"/>
              <a:gd name="connsiteX324" fmla="*/ 4329957 w 7467600"/>
              <a:gd name="connsiteY324" fmla="*/ 6858000 h 6858000"/>
              <a:gd name="connsiteX325" fmla="*/ 4218595 w 7467600"/>
              <a:gd name="connsiteY325" fmla="*/ 6858000 h 6858000"/>
              <a:gd name="connsiteX326" fmla="*/ 4368888 w 7467600"/>
              <a:gd name="connsiteY326" fmla="*/ 6668412 h 6858000"/>
              <a:gd name="connsiteX327" fmla="*/ 4563091 w 7467600"/>
              <a:gd name="connsiteY327" fmla="*/ 6442508 h 6858000"/>
              <a:gd name="connsiteX328" fmla="*/ 5387324 w 7467600"/>
              <a:gd name="connsiteY328" fmla="*/ 5705830 h 6858000"/>
              <a:gd name="connsiteX329" fmla="*/ 5073620 w 7467600"/>
              <a:gd name="connsiteY329" fmla="*/ 5955437 h 6858000"/>
              <a:gd name="connsiteX330" fmla="*/ 4689789 w 7467600"/>
              <a:gd name="connsiteY330" fmla="*/ 6268382 h 6858000"/>
              <a:gd name="connsiteX331" fmla="*/ 4418722 w 7467600"/>
              <a:gd name="connsiteY331" fmla="*/ 6570886 h 6858000"/>
              <a:gd name="connsiteX332" fmla="*/ 4214944 w 7467600"/>
              <a:gd name="connsiteY332" fmla="*/ 6858000 h 6858000"/>
              <a:gd name="connsiteX333" fmla="*/ 4177898 w 7467600"/>
              <a:gd name="connsiteY333" fmla="*/ 6858000 h 6858000"/>
              <a:gd name="connsiteX334" fmla="*/ 4391597 w 7467600"/>
              <a:gd name="connsiteY334" fmla="*/ 6556370 h 6858000"/>
              <a:gd name="connsiteX335" fmla="*/ 4668889 w 7467600"/>
              <a:gd name="connsiteY335" fmla="*/ 6246399 h 6858000"/>
              <a:gd name="connsiteX336" fmla="*/ 5055427 w 7467600"/>
              <a:gd name="connsiteY336" fmla="*/ 5931476 h 6858000"/>
              <a:gd name="connsiteX337" fmla="*/ 5371814 w 7467600"/>
              <a:gd name="connsiteY337" fmla="*/ 5678975 h 6858000"/>
              <a:gd name="connsiteX338" fmla="*/ 4987918 w 7467600"/>
              <a:gd name="connsiteY338" fmla="*/ 5838701 h 6858000"/>
              <a:gd name="connsiteX339" fmla="*/ 4317146 w 7467600"/>
              <a:gd name="connsiteY339" fmla="*/ 6587716 h 6858000"/>
              <a:gd name="connsiteX340" fmla="*/ 4171627 w 7467600"/>
              <a:gd name="connsiteY340" fmla="*/ 6858000 h 6858000"/>
              <a:gd name="connsiteX341" fmla="*/ 4081585 w 7467600"/>
              <a:gd name="connsiteY341" fmla="*/ 6858000 h 6858000"/>
              <a:gd name="connsiteX342" fmla="*/ 4238603 w 7467600"/>
              <a:gd name="connsiteY342" fmla="*/ 6559341 h 6858000"/>
              <a:gd name="connsiteX343" fmla="*/ 4778333 w 7467600"/>
              <a:gd name="connsiteY343" fmla="*/ 5873626 h 6858000"/>
              <a:gd name="connsiteX344" fmla="*/ 5414185 w 7467600"/>
              <a:gd name="connsiteY344" fmla="*/ 5573882 h 6858000"/>
              <a:gd name="connsiteX345" fmla="*/ 5959648 w 7467600"/>
              <a:gd name="connsiteY345" fmla="*/ 4760797 h 6858000"/>
              <a:gd name="connsiteX346" fmla="*/ 5355019 w 7467600"/>
              <a:gd name="connsiteY346" fmla="*/ 4734672 h 6858000"/>
              <a:gd name="connsiteX347" fmla="*/ 5083565 w 7467600"/>
              <a:gd name="connsiteY347" fmla="*/ 5179121 h 6858000"/>
              <a:gd name="connsiteX348" fmla="*/ 4713577 w 7467600"/>
              <a:gd name="connsiteY348" fmla="*/ 5616803 h 6858000"/>
              <a:gd name="connsiteX349" fmla="*/ 3989559 w 7467600"/>
              <a:gd name="connsiteY349" fmla="*/ 6145945 h 6858000"/>
              <a:gd name="connsiteX350" fmla="*/ 3939824 w 7467600"/>
              <a:gd name="connsiteY350" fmla="*/ 6066900 h 6858000"/>
              <a:gd name="connsiteX351" fmla="*/ 4584537 w 7467600"/>
              <a:gd name="connsiteY351" fmla="*/ 5324826 h 6858000"/>
              <a:gd name="connsiteX352" fmla="*/ 5037105 w 7467600"/>
              <a:gd name="connsiteY352" fmla="*/ 5088765 h 6858000"/>
              <a:gd name="connsiteX353" fmla="*/ 5039930 w 7467600"/>
              <a:gd name="connsiteY353" fmla="*/ 5089585 h 6858000"/>
              <a:gd name="connsiteX354" fmla="*/ 5263764 w 7467600"/>
              <a:gd name="connsiteY354" fmla="*/ 4735525 h 6858000"/>
              <a:gd name="connsiteX355" fmla="*/ 4086300 w 7467600"/>
              <a:gd name="connsiteY355" fmla="*/ 4884599 h 6858000"/>
              <a:gd name="connsiteX356" fmla="*/ 4085485 w 7467600"/>
              <a:gd name="connsiteY356" fmla="*/ 4899070 h 6858000"/>
              <a:gd name="connsiteX357" fmla="*/ 3871915 w 7467600"/>
              <a:gd name="connsiteY357" fmla="*/ 5253645 h 6858000"/>
              <a:gd name="connsiteX358" fmla="*/ 3799374 w 7467600"/>
              <a:gd name="connsiteY358" fmla="*/ 5466127 h 6858000"/>
              <a:gd name="connsiteX359" fmla="*/ 3498850 w 7467600"/>
              <a:gd name="connsiteY359" fmla="*/ 6661888 h 6858000"/>
              <a:gd name="connsiteX360" fmla="*/ 3399216 w 7467600"/>
              <a:gd name="connsiteY360" fmla="*/ 6858000 h 6858000"/>
              <a:gd name="connsiteX361" fmla="*/ 3303688 w 7467600"/>
              <a:gd name="connsiteY361" fmla="*/ 6858000 h 6858000"/>
              <a:gd name="connsiteX362" fmla="*/ 3391774 w 7467600"/>
              <a:gd name="connsiteY362" fmla="*/ 6697181 h 6858000"/>
              <a:gd name="connsiteX363" fmla="*/ 3735540 w 7467600"/>
              <a:gd name="connsiteY363" fmla="*/ 5546923 h 6858000"/>
              <a:gd name="connsiteX364" fmla="*/ 3729438 w 7467600"/>
              <a:gd name="connsiteY364" fmla="*/ 5569058 h 6858000"/>
              <a:gd name="connsiteX365" fmla="*/ 3707782 w 7467600"/>
              <a:gd name="connsiteY365" fmla="*/ 5644908 h 6858000"/>
              <a:gd name="connsiteX366" fmla="*/ 3583827 w 7467600"/>
              <a:gd name="connsiteY366" fmla="*/ 6039215 h 6858000"/>
              <a:gd name="connsiteX367" fmla="*/ 3547861 w 7467600"/>
              <a:gd name="connsiteY367" fmla="*/ 6129609 h 6858000"/>
              <a:gd name="connsiteX368" fmla="*/ 3490905 w 7467600"/>
              <a:gd name="connsiteY368" fmla="*/ 6277660 h 6858000"/>
              <a:gd name="connsiteX369" fmla="*/ 3455859 w 7467600"/>
              <a:gd name="connsiteY369" fmla="*/ 6391301 h 6858000"/>
              <a:gd name="connsiteX370" fmla="*/ 3429112 w 7467600"/>
              <a:gd name="connsiteY370" fmla="*/ 6479469 h 6858000"/>
              <a:gd name="connsiteX371" fmla="*/ 3304862 w 7467600"/>
              <a:gd name="connsiteY371" fmla="*/ 6796476 h 6858000"/>
              <a:gd name="connsiteX372" fmla="*/ 3276071 w 7467600"/>
              <a:gd name="connsiteY372" fmla="*/ 6858000 h 6858000"/>
              <a:gd name="connsiteX373" fmla="*/ 3240805 w 7467600"/>
              <a:gd name="connsiteY373" fmla="*/ 6858000 h 6858000"/>
              <a:gd name="connsiteX374" fmla="*/ 3275917 w 7467600"/>
              <a:gd name="connsiteY374" fmla="*/ 6783192 h 6858000"/>
              <a:gd name="connsiteX375" fmla="*/ 3399358 w 7467600"/>
              <a:gd name="connsiteY375" fmla="*/ 6469011 h 6858000"/>
              <a:gd name="connsiteX376" fmla="*/ 3425650 w 7467600"/>
              <a:gd name="connsiteY376" fmla="*/ 6381333 h 6858000"/>
              <a:gd name="connsiteX377" fmla="*/ 3460661 w 7467600"/>
              <a:gd name="connsiteY377" fmla="*/ 6266763 h 6858000"/>
              <a:gd name="connsiteX378" fmla="*/ 3518021 w 7467600"/>
              <a:gd name="connsiteY378" fmla="*/ 6117298 h 6858000"/>
              <a:gd name="connsiteX379" fmla="*/ 3554035 w 7467600"/>
              <a:gd name="connsiteY379" fmla="*/ 6027832 h 6858000"/>
              <a:gd name="connsiteX380" fmla="*/ 3677174 w 7467600"/>
              <a:gd name="connsiteY380" fmla="*/ 5636351 h 6858000"/>
              <a:gd name="connsiteX381" fmla="*/ 3698819 w 7467600"/>
              <a:gd name="connsiteY381" fmla="*/ 5560503 h 6858000"/>
              <a:gd name="connsiteX382" fmla="*/ 3702094 w 7467600"/>
              <a:gd name="connsiteY382" fmla="*/ 5549194 h 6858000"/>
              <a:gd name="connsiteX383" fmla="*/ 3398355 w 7467600"/>
              <a:gd name="connsiteY383" fmla="*/ 6094603 h 6858000"/>
              <a:gd name="connsiteX384" fmla="*/ 3193941 w 7467600"/>
              <a:gd name="connsiteY384" fmla="*/ 6798775 h 6858000"/>
              <a:gd name="connsiteX385" fmla="*/ 3184140 w 7467600"/>
              <a:gd name="connsiteY385" fmla="*/ 6858000 h 6858000"/>
              <a:gd name="connsiteX386" fmla="*/ 3099978 w 7467600"/>
              <a:gd name="connsiteY386" fmla="*/ 6858000 h 6858000"/>
              <a:gd name="connsiteX387" fmla="*/ 3101556 w 7467600"/>
              <a:gd name="connsiteY387" fmla="*/ 6843337 h 6858000"/>
              <a:gd name="connsiteX388" fmla="*/ 3370162 w 7467600"/>
              <a:gd name="connsiteY388" fmla="*/ 5785550 h 6858000"/>
              <a:gd name="connsiteX389" fmla="*/ 3746477 w 7467600"/>
              <a:gd name="connsiteY389" fmla="*/ 5377889 h 6858000"/>
              <a:gd name="connsiteX390" fmla="*/ 3863399 w 7467600"/>
              <a:gd name="connsiteY390" fmla="*/ 5087257 h 6858000"/>
              <a:gd name="connsiteX391" fmla="*/ 3968712 w 7467600"/>
              <a:gd name="connsiteY391" fmla="*/ 4913989 h 6858000"/>
              <a:gd name="connsiteX392" fmla="*/ 2792390 w 7467600"/>
              <a:gd name="connsiteY392" fmla="*/ 5382974 h 6858000"/>
              <a:gd name="connsiteX393" fmla="*/ 2714982 w 7467600"/>
              <a:gd name="connsiteY393" fmla="*/ 5427051 h 6858000"/>
              <a:gd name="connsiteX394" fmla="*/ 2813361 w 7467600"/>
              <a:gd name="connsiteY394" fmla="*/ 6023912 h 6858000"/>
              <a:gd name="connsiteX395" fmla="*/ 2688430 w 7467600"/>
              <a:gd name="connsiteY395" fmla="*/ 6801564 h 6858000"/>
              <a:gd name="connsiteX396" fmla="*/ 2629626 w 7467600"/>
              <a:gd name="connsiteY396" fmla="*/ 6763394 h 6858000"/>
              <a:gd name="connsiteX397" fmla="*/ 2565328 w 7467600"/>
              <a:gd name="connsiteY397" fmla="*/ 5516399 h 6858000"/>
              <a:gd name="connsiteX398" fmla="*/ 1922999 w 7467600"/>
              <a:gd name="connsiteY398" fmla="*/ 5980343 h 6858000"/>
              <a:gd name="connsiteX399" fmla="*/ 1950261 w 7467600"/>
              <a:gd name="connsiteY399" fmla="*/ 6405858 h 6858000"/>
              <a:gd name="connsiteX400" fmla="*/ 2365554 w 7467600"/>
              <a:gd name="connsiteY400" fmla="*/ 6759107 h 6858000"/>
              <a:gd name="connsiteX401" fmla="*/ 2424142 w 7467600"/>
              <a:gd name="connsiteY401" fmla="*/ 6858000 h 6858000"/>
              <a:gd name="connsiteX402" fmla="*/ 2395994 w 7467600"/>
              <a:gd name="connsiteY402" fmla="*/ 6858000 h 6858000"/>
              <a:gd name="connsiteX403" fmla="*/ 2392863 w 7467600"/>
              <a:gd name="connsiteY403" fmla="*/ 6852964 h 6858000"/>
              <a:gd name="connsiteX404" fmla="*/ 2017589 w 7467600"/>
              <a:gd name="connsiteY404" fmla="*/ 6493982 h 6858000"/>
              <a:gd name="connsiteX405" fmla="*/ 2147336 w 7467600"/>
              <a:gd name="connsiteY405" fmla="*/ 6594052 h 6858000"/>
              <a:gd name="connsiteX406" fmla="*/ 2207047 w 7467600"/>
              <a:gd name="connsiteY406" fmla="*/ 6654540 h 6858000"/>
              <a:gd name="connsiteX407" fmla="*/ 2299106 w 7467600"/>
              <a:gd name="connsiteY407" fmla="*/ 6778931 h 6858000"/>
              <a:gd name="connsiteX408" fmla="*/ 2314430 w 7467600"/>
              <a:gd name="connsiteY408" fmla="*/ 6801144 h 6858000"/>
              <a:gd name="connsiteX409" fmla="*/ 2352406 w 7467600"/>
              <a:gd name="connsiteY409" fmla="*/ 6858000 h 6858000"/>
              <a:gd name="connsiteX410" fmla="*/ 2314492 w 7467600"/>
              <a:gd name="connsiteY410" fmla="*/ 6858000 h 6858000"/>
              <a:gd name="connsiteX411" fmla="*/ 2288095 w 7467600"/>
              <a:gd name="connsiteY411" fmla="*/ 6818030 h 6858000"/>
              <a:gd name="connsiteX412" fmla="*/ 2272768 w 7467600"/>
              <a:gd name="connsiteY412" fmla="*/ 6795822 h 6858000"/>
              <a:gd name="connsiteX413" fmla="*/ 2182715 w 7467600"/>
              <a:gd name="connsiteY413" fmla="*/ 6675071 h 6858000"/>
              <a:gd name="connsiteX414" fmla="*/ 2032061 w 7467600"/>
              <a:gd name="connsiteY414" fmla="*/ 6541380 h 6858000"/>
              <a:gd name="connsiteX415" fmla="*/ 2257220 w 7467600"/>
              <a:gd name="connsiteY415" fmla="*/ 6826257 h 6858000"/>
              <a:gd name="connsiteX416" fmla="*/ 2281324 w 7467600"/>
              <a:gd name="connsiteY416" fmla="*/ 6858000 h 6858000"/>
              <a:gd name="connsiteX417" fmla="*/ 2242860 w 7467600"/>
              <a:gd name="connsiteY417" fmla="*/ 6858000 h 6858000"/>
              <a:gd name="connsiteX418" fmla="*/ 2232818 w 7467600"/>
              <a:gd name="connsiteY418" fmla="*/ 6844926 h 6858000"/>
              <a:gd name="connsiteX419" fmla="*/ 1990172 w 7467600"/>
              <a:gd name="connsiteY419" fmla="*/ 6542121 h 6858000"/>
              <a:gd name="connsiteX420" fmla="*/ 2124090 w 7467600"/>
              <a:gd name="connsiteY420" fmla="*/ 6761017 h 6858000"/>
              <a:gd name="connsiteX421" fmla="*/ 2200380 w 7467600"/>
              <a:gd name="connsiteY421" fmla="*/ 6858000 h 6858000"/>
              <a:gd name="connsiteX422" fmla="*/ 2147507 w 7467600"/>
              <a:gd name="connsiteY422" fmla="*/ 6858000 h 6858000"/>
              <a:gd name="connsiteX423" fmla="*/ 2070668 w 7467600"/>
              <a:gd name="connsiteY423" fmla="*/ 6761520 h 6858000"/>
              <a:gd name="connsiteX424" fmla="*/ 1975142 w 7467600"/>
              <a:gd name="connsiteY424" fmla="*/ 6585570 h 6858000"/>
              <a:gd name="connsiteX425" fmla="*/ 2050035 w 7467600"/>
              <a:gd name="connsiteY425" fmla="*/ 6813345 h 6858000"/>
              <a:gd name="connsiteX426" fmla="*/ 2063025 w 7467600"/>
              <a:gd name="connsiteY426" fmla="*/ 6858000 h 6858000"/>
              <a:gd name="connsiteX427" fmla="*/ 2021675 w 7467600"/>
              <a:gd name="connsiteY427" fmla="*/ 6858000 h 6858000"/>
              <a:gd name="connsiteX428" fmla="*/ 2019308 w 7467600"/>
              <a:gd name="connsiteY428" fmla="*/ 6847118 h 6858000"/>
              <a:gd name="connsiteX429" fmla="*/ 1938835 w 7467600"/>
              <a:gd name="connsiteY429" fmla="*/ 6551160 h 6858000"/>
              <a:gd name="connsiteX430" fmla="*/ 1953230 w 7467600"/>
              <a:gd name="connsiteY430" fmla="*/ 6759699 h 6858000"/>
              <a:gd name="connsiteX431" fmla="*/ 1956763 w 7467600"/>
              <a:gd name="connsiteY431" fmla="*/ 6778191 h 6858000"/>
              <a:gd name="connsiteX432" fmla="*/ 1967925 w 7467600"/>
              <a:gd name="connsiteY432" fmla="*/ 6858000 h 6858000"/>
              <a:gd name="connsiteX433" fmla="*/ 1936622 w 7467600"/>
              <a:gd name="connsiteY433" fmla="*/ 6858000 h 6858000"/>
              <a:gd name="connsiteX434" fmla="*/ 1926261 w 7467600"/>
              <a:gd name="connsiteY434" fmla="*/ 6784064 h 6858000"/>
              <a:gd name="connsiteX435" fmla="*/ 1922724 w 7467600"/>
              <a:gd name="connsiteY435" fmla="*/ 6765577 h 6858000"/>
              <a:gd name="connsiteX436" fmla="*/ 1904650 w 7467600"/>
              <a:gd name="connsiteY436" fmla="*/ 6639616 h 6858000"/>
              <a:gd name="connsiteX437" fmla="*/ 1885273 w 7467600"/>
              <a:gd name="connsiteY437" fmla="*/ 6858000 h 6858000"/>
              <a:gd name="connsiteX438" fmla="*/ 1854363 w 7467600"/>
              <a:gd name="connsiteY438" fmla="*/ 6858000 h 6858000"/>
              <a:gd name="connsiteX439" fmla="*/ 1880391 w 7467600"/>
              <a:gd name="connsiteY439" fmla="*/ 6603796 h 6858000"/>
              <a:gd name="connsiteX440" fmla="*/ 1818273 w 7467600"/>
              <a:gd name="connsiteY440" fmla="*/ 6715729 h 6858000"/>
              <a:gd name="connsiteX441" fmla="*/ 1794691 w 7467600"/>
              <a:gd name="connsiteY441" fmla="*/ 6843239 h 6858000"/>
              <a:gd name="connsiteX442" fmla="*/ 1794914 w 7467600"/>
              <a:gd name="connsiteY442" fmla="*/ 6858000 h 6858000"/>
              <a:gd name="connsiteX443" fmla="*/ 1746128 w 7467600"/>
              <a:gd name="connsiteY443" fmla="*/ 6858000 h 6858000"/>
              <a:gd name="connsiteX444" fmla="*/ 1753934 w 7467600"/>
              <a:gd name="connsiteY444" fmla="*/ 6724796 h 6858000"/>
              <a:gd name="connsiteX445" fmla="*/ 1792053 w 7467600"/>
              <a:gd name="connsiteY445" fmla="*/ 6572396 h 6858000"/>
              <a:gd name="connsiteX446" fmla="*/ 1862248 w 7467600"/>
              <a:gd name="connsiteY446" fmla="*/ 6266397 h 6858000"/>
              <a:gd name="connsiteX447" fmla="*/ 1862250 w 7467600"/>
              <a:gd name="connsiteY447" fmla="*/ 6033531 h 6858000"/>
              <a:gd name="connsiteX448" fmla="*/ 1211999 w 7467600"/>
              <a:gd name="connsiteY448" fmla="*/ 6683610 h 6858000"/>
              <a:gd name="connsiteX449" fmla="*/ 1213266 w 7467600"/>
              <a:gd name="connsiteY449" fmla="*/ 6691947 h 6858000"/>
              <a:gd name="connsiteX450" fmla="*/ 1203370 w 7467600"/>
              <a:gd name="connsiteY450" fmla="*/ 6850676 h 6858000"/>
              <a:gd name="connsiteX451" fmla="*/ 1203671 w 7467600"/>
              <a:gd name="connsiteY451" fmla="*/ 6858000 h 6858000"/>
              <a:gd name="connsiteX452" fmla="*/ 1143180 w 7467600"/>
              <a:gd name="connsiteY452" fmla="*/ 6858000 h 6858000"/>
              <a:gd name="connsiteX453" fmla="*/ 1142176 w 7467600"/>
              <a:gd name="connsiteY453" fmla="*/ 6766045 h 6858000"/>
              <a:gd name="connsiteX454" fmla="*/ 1067484 w 7467600"/>
              <a:gd name="connsiteY454" fmla="*/ 6858000 h 6858000"/>
              <a:gd name="connsiteX455" fmla="*/ 953928 w 7467600"/>
              <a:gd name="connsiteY455" fmla="*/ 6858000 h 6858000"/>
              <a:gd name="connsiteX456" fmla="*/ 959715 w 7467600"/>
              <a:gd name="connsiteY456" fmla="*/ 6850185 h 6858000"/>
              <a:gd name="connsiteX457" fmla="*/ 1483788 w 7467600"/>
              <a:gd name="connsiteY457" fmla="*/ 6259174 h 6858000"/>
              <a:gd name="connsiteX458" fmla="*/ 1100671 w 7467600"/>
              <a:gd name="connsiteY458" fmla="*/ 6252137 h 6858000"/>
              <a:gd name="connsiteX459" fmla="*/ 1090144 w 7467600"/>
              <a:gd name="connsiteY459" fmla="*/ 6256748 h 6858000"/>
              <a:gd name="connsiteX460" fmla="*/ 1095872 w 7467600"/>
              <a:gd name="connsiteY460" fmla="*/ 6271892 h 6858000"/>
              <a:gd name="connsiteX461" fmla="*/ 262785 w 7467600"/>
              <a:gd name="connsiteY461" fmla="*/ 6845450 h 6858000"/>
              <a:gd name="connsiteX462" fmla="*/ 209968 w 7467600"/>
              <a:gd name="connsiteY462" fmla="*/ 6770713 h 6858000"/>
              <a:gd name="connsiteX463" fmla="*/ 873460 w 7467600"/>
              <a:gd name="connsiteY463" fmla="*/ 6253768 h 6858000"/>
              <a:gd name="connsiteX464" fmla="*/ 192686 w 7467600"/>
              <a:gd name="connsiteY464" fmla="*/ 5849257 h 6858000"/>
              <a:gd name="connsiteX465" fmla="*/ 4696 w 7467600"/>
              <a:gd name="connsiteY465" fmla="*/ 5697668 h 6858000"/>
              <a:gd name="connsiteX466" fmla="*/ 0 w 7467600"/>
              <a:gd name="connsiteY466" fmla="*/ 5689984 h 6858000"/>
              <a:gd name="connsiteX467" fmla="*/ 0 w 7467600"/>
              <a:gd name="connsiteY467" fmla="*/ 5513472 h 6858000"/>
              <a:gd name="connsiteX468" fmla="*/ 174101 w 7467600"/>
              <a:gd name="connsiteY468" fmla="*/ 5620277 h 6858000"/>
              <a:gd name="connsiteX469" fmla="*/ 891800 w 7467600"/>
              <a:gd name="connsiteY469" fmla="*/ 6036935 h 6858000"/>
              <a:gd name="connsiteX470" fmla="*/ 1072219 w 7467600"/>
              <a:gd name="connsiteY470" fmla="*/ 6169443 h 6858000"/>
              <a:gd name="connsiteX471" fmla="*/ 1074117 w 7467600"/>
              <a:gd name="connsiteY471" fmla="*/ 6170301 h 6858000"/>
              <a:gd name="connsiteX472" fmla="*/ 1083114 w 7467600"/>
              <a:gd name="connsiteY472" fmla="*/ 6174131 h 6858000"/>
              <a:gd name="connsiteX473" fmla="*/ 1543010 w 7467600"/>
              <a:gd name="connsiteY473" fmla="*/ 6191140 h 6858000"/>
              <a:gd name="connsiteX474" fmla="*/ 1551080 w 7467600"/>
              <a:gd name="connsiteY474" fmla="*/ 6195006 h 6858000"/>
              <a:gd name="connsiteX475" fmla="*/ 2345443 w 7467600"/>
              <a:gd name="connsiteY475" fmla="*/ 5549882 h 6858000"/>
              <a:gd name="connsiteX476" fmla="*/ 1721499 w 7467600"/>
              <a:gd name="connsiteY476" fmla="*/ 5599969 h 6858000"/>
              <a:gd name="connsiteX477" fmla="*/ 767716 w 7467600"/>
              <a:gd name="connsiteY477" fmla="*/ 5472768 h 6858000"/>
              <a:gd name="connsiteX478" fmla="*/ 722147 w 7467600"/>
              <a:gd name="connsiteY478" fmla="*/ 5393091 h 6858000"/>
              <a:gd name="connsiteX479" fmla="*/ 1485552 w 7467600"/>
              <a:gd name="connsiteY479" fmla="*/ 5313202 h 6858000"/>
              <a:gd name="connsiteX480" fmla="*/ 2143004 w 7467600"/>
              <a:gd name="connsiteY480" fmla="*/ 5402420 h 6858000"/>
              <a:gd name="connsiteX481" fmla="*/ 1933391 w 7467600"/>
              <a:gd name="connsiteY481" fmla="*/ 5156971 h 6858000"/>
              <a:gd name="connsiteX482" fmla="*/ 1827118 w 7467600"/>
              <a:gd name="connsiteY482" fmla="*/ 4968410 h 6858000"/>
              <a:gd name="connsiteX483" fmla="*/ 1837349 w 7467600"/>
              <a:gd name="connsiteY483" fmla="*/ 4956357 h 6858000"/>
              <a:gd name="connsiteX484" fmla="*/ 2162835 w 7467600"/>
              <a:gd name="connsiteY484" fmla="*/ 5187853 h 6858000"/>
              <a:gd name="connsiteX485" fmla="*/ 2257167 w 7467600"/>
              <a:gd name="connsiteY485" fmla="*/ 5462123 h 6858000"/>
              <a:gd name="connsiteX486" fmla="*/ 2261598 w 7467600"/>
              <a:gd name="connsiteY486" fmla="*/ 5467998 h 6858000"/>
              <a:gd name="connsiteX487" fmla="*/ 2437177 w 7467600"/>
              <a:gd name="connsiteY487" fmla="*/ 5479608 h 6858000"/>
              <a:gd name="connsiteX488" fmla="*/ 2445247 w 7467600"/>
              <a:gd name="connsiteY488" fmla="*/ 5483476 h 6858000"/>
              <a:gd name="connsiteX489" fmla="*/ 2743626 w 7467600"/>
              <a:gd name="connsiteY489" fmla="*/ 5304819 h 6858000"/>
              <a:gd name="connsiteX490" fmla="*/ 3048102 w 7467600"/>
              <a:gd name="connsiteY490" fmla="*/ 5150595 h 6858000"/>
              <a:gd name="connsiteX491" fmla="*/ 1799414 w 7467600"/>
              <a:gd name="connsiteY491" fmla="*/ 4694732 h 6858000"/>
              <a:gd name="connsiteX492" fmla="*/ 1771735 w 7467600"/>
              <a:gd name="connsiteY492" fmla="*/ 4619929 h 6858000"/>
              <a:gd name="connsiteX493" fmla="*/ 3104273 w 7467600"/>
              <a:gd name="connsiteY493" fmla="*/ 5076159 h 6858000"/>
              <a:gd name="connsiteX494" fmla="*/ 3113245 w 7467600"/>
              <a:gd name="connsiteY494" fmla="*/ 5090705 h 6858000"/>
              <a:gd name="connsiteX495" fmla="*/ 3126294 w 7467600"/>
              <a:gd name="connsiteY495" fmla="*/ 5114400 h 6858000"/>
              <a:gd name="connsiteX496" fmla="*/ 3937433 w 7467600"/>
              <a:gd name="connsiteY496" fmla="*/ 4830473 h 6858000"/>
              <a:gd name="connsiteX497" fmla="*/ 3590475 w 7467600"/>
              <a:gd name="connsiteY497" fmla="*/ 4597974 h 6858000"/>
              <a:gd name="connsiteX498" fmla="*/ 3100264 w 7467600"/>
              <a:gd name="connsiteY498" fmla="*/ 4579845 h 6858000"/>
              <a:gd name="connsiteX499" fmla="*/ 2183576 w 7467600"/>
              <a:gd name="connsiteY499" fmla="*/ 4227150 h 6858000"/>
              <a:gd name="connsiteX500" fmla="*/ 2151029 w 7467600"/>
              <a:gd name="connsiteY500" fmla="*/ 4146947 h 6858000"/>
              <a:gd name="connsiteX501" fmla="*/ 3563434 w 7467600"/>
              <a:gd name="connsiteY501" fmla="*/ 4469115 h 6858000"/>
              <a:gd name="connsiteX502" fmla="*/ 3177952 w 7467600"/>
              <a:gd name="connsiteY502" fmla="*/ 3657386 h 6858000"/>
              <a:gd name="connsiteX503" fmla="*/ 3189263 w 7467600"/>
              <a:gd name="connsiteY503" fmla="*/ 3625726 h 6858000"/>
              <a:gd name="connsiteX504" fmla="*/ 3560912 w 7467600"/>
              <a:gd name="connsiteY504" fmla="*/ 4079863 h 6858000"/>
              <a:gd name="connsiteX505" fmla="*/ 3626636 w 7467600"/>
              <a:gd name="connsiteY505" fmla="*/ 4512230 h 6858000"/>
              <a:gd name="connsiteX506" fmla="*/ 3653088 w 7467600"/>
              <a:gd name="connsiteY506" fmla="*/ 4521417 h 6858000"/>
              <a:gd name="connsiteX507" fmla="*/ 3988128 w 7467600"/>
              <a:gd name="connsiteY507" fmla="*/ 4817267 h 6858000"/>
              <a:gd name="connsiteX508" fmla="*/ 4830582 w 7467600"/>
              <a:gd name="connsiteY508" fmla="*/ 4676000 h 6858000"/>
              <a:gd name="connsiteX509" fmla="*/ 4830100 w 7467600"/>
              <a:gd name="connsiteY509" fmla="*/ 4675554 h 6858000"/>
              <a:gd name="connsiteX510" fmla="*/ 4036318 w 7467600"/>
              <a:gd name="connsiteY510" fmla="*/ 4147013 h 6858000"/>
              <a:gd name="connsiteX511" fmla="*/ 3432098 w 7467600"/>
              <a:gd name="connsiteY511" fmla="*/ 3537312 h 6858000"/>
              <a:gd name="connsiteX512" fmla="*/ 3446761 w 7467600"/>
              <a:gd name="connsiteY512" fmla="*/ 3461278 h 6858000"/>
              <a:gd name="connsiteX513" fmla="*/ 4419733 w 7467600"/>
              <a:gd name="connsiteY513" fmla="*/ 3963555 h 6858000"/>
              <a:gd name="connsiteX514" fmla="*/ 4781371 w 7467600"/>
              <a:gd name="connsiteY514" fmla="*/ 4458604 h 6858000"/>
              <a:gd name="connsiteX515" fmla="*/ 4780440 w 7467600"/>
              <a:gd name="connsiteY515" fmla="*/ 4470290 h 6858000"/>
              <a:gd name="connsiteX516" fmla="*/ 4898954 w 7467600"/>
              <a:gd name="connsiteY516" fmla="*/ 4662092 h 6858000"/>
              <a:gd name="connsiteX517" fmla="*/ 4900699 w 7467600"/>
              <a:gd name="connsiteY517" fmla="*/ 4670867 h 6858000"/>
              <a:gd name="connsiteX518" fmla="*/ 5714511 w 7467600"/>
              <a:gd name="connsiteY518" fmla="*/ 4663483 h 6858000"/>
              <a:gd name="connsiteX519" fmla="*/ 5464793 w 7467600"/>
              <a:gd name="connsiteY519" fmla="*/ 4393556 h 6858000"/>
              <a:gd name="connsiteX520" fmla="*/ 5461897 w 7467600"/>
              <a:gd name="connsiteY520" fmla="*/ 4390879 h 6858000"/>
              <a:gd name="connsiteX521" fmla="*/ 4294126 w 7467600"/>
              <a:gd name="connsiteY521" fmla="*/ 3303048 h 6858000"/>
              <a:gd name="connsiteX522" fmla="*/ 4305321 w 7467600"/>
              <a:gd name="connsiteY522" fmla="*/ 3256953 h 6858000"/>
              <a:gd name="connsiteX523" fmla="*/ 4949299 w 7467600"/>
              <a:gd name="connsiteY523" fmla="*/ 3766336 h 6858000"/>
              <a:gd name="connsiteX524" fmla="*/ 5291452 w 7467600"/>
              <a:gd name="connsiteY524" fmla="*/ 4076801 h 6858000"/>
              <a:gd name="connsiteX525" fmla="*/ 5434998 w 7467600"/>
              <a:gd name="connsiteY525" fmla="*/ 4254100 h 6858000"/>
              <a:gd name="connsiteX526" fmla="*/ 5351015 w 7467600"/>
              <a:gd name="connsiteY526" fmla="*/ 3760989 h 6858000"/>
              <a:gd name="connsiteX527" fmla="*/ 5413780 w 7467600"/>
              <a:gd name="connsiteY527" fmla="*/ 2966265 h 6858000"/>
              <a:gd name="connsiteX528" fmla="*/ 5425627 w 7467600"/>
              <a:gd name="connsiteY528" fmla="*/ 2954192 h 6858000"/>
              <a:gd name="connsiteX529" fmla="*/ 6604735 w 7467600"/>
              <a:gd name="connsiteY529" fmla="*/ 2041381 h 6858000"/>
              <a:gd name="connsiteX530" fmla="*/ 7204487 w 7467600"/>
              <a:gd name="connsiteY530" fmla="*/ 2742112 h 6858000"/>
              <a:gd name="connsiteX531" fmla="*/ 7131592 w 7467600"/>
              <a:gd name="connsiteY531" fmla="*/ 2672096 h 6858000"/>
              <a:gd name="connsiteX532" fmla="*/ 6996344 w 7467600"/>
              <a:gd name="connsiteY532" fmla="*/ 2518310 h 6858000"/>
              <a:gd name="connsiteX533" fmla="*/ 6735495 w 7467600"/>
              <a:gd name="connsiteY533" fmla="*/ 2196890 h 6858000"/>
              <a:gd name="connsiteX534" fmla="*/ 6721901 w 7467600"/>
              <a:gd name="connsiteY534" fmla="*/ 2179274 h 6858000"/>
              <a:gd name="connsiteX535" fmla="*/ 6604735 w 7467600"/>
              <a:gd name="connsiteY535" fmla="*/ 2041381 h 6858000"/>
              <a:gd name="connsiteX536" fmla="*/ 6591670 w 7467600"/>
              <a:gd name="connsiteY536" fmla="*/ 1988277 h 6858000"/>
              <a:gd name="connsiteX537" fmla="*/ 6747349 w 7467600"/>
              <a:gd name="connsiteY537" fmla="*/ 2160069 h 6858000"/>
              <a:gd name="connsiteX538" fmla="*/ 6760943 w 7467600"/>
              <a:gd name="connsiteY538" fmla="*/ 2177686 h 6858000"/>
              <a:gd name="connsiteX539" fmla="*/ 7021065 w 7467600"/>
              <a:gd name="connsiteY539" fmla="*/ 2498102 h 6858000"/>
              <a:gd name="connsiteX540" fmla="*/ 7155223 w 7467600"/>
              <a:gd name="connsiteY540" fmla="*/ 2650386 h 6858000"/>
              <a:gd name="connsiteX541" fmla="*/ 7203167 w 7467600"/>
              <a:gd name="connsiteY541" fmla="*/ 2697288 h 6858000"/>
              <a:gd name="connsiteX542" fmla="*/ 6937703 w 7467600"/>
              <a:gd name="connsiteY542" fmla="*/ 2321981 h 6858000"/>
              <a:gd name="connsiteX543" fmla="*/ 6591670 w 7467600"/>
              <a:gd name="connsiteY543" fmla="*/ 1988277 h 6858000"/>
              <a:gd name="connsiteX544" fmla="*/ 5798671 w 7467600"/>
              <a:gd name="connsiteY544" fmla="*/ 1981601 h 6858000"/>
              <a:gd name="connsiteX545" fmla="*/ 5754709 w 7467600"/>
              <a:gd name="connsiteY545" fmla="*/ 2071454 h 6858000"/>
              <a:gd name="connsiteX546" fmla="*/ 5763044 w 7467600"/>
              <a:gd name="connsiteY546" fmla="*/ 2842206 h 6858000"/>
              <a:gd name="connsiteX547" fmla="*/ 5764974 w 7467600"/>
              <a:gd name="connsiteY547" fmla="*/ 2799609 h 6858000"/>
              <a:gd name="connsiteX548" fmla="*/ 5767665 w 7467600"/>
              <a:gd name="connsiteY548" fmla="*/ 2666409 h 6858000"/>
              <a:gd name="connsiteX549" fmla="*/ 5763055 w 7467600"/>
              <a:gd name="connsiteY549" fmla="*/ 2579705 h 6858000"/>
              <a:gd name="connsiteX550" fmla="*/ 5758079 w 7467600"/>
              <a:gd name="connsiteY550" fmla="*/ 2492508 h 6858000"/>
              <a:gd name="connsiteX551" fmla="*/ 5779325 w 7467600"/>
              <a:gd name="connsiteY551" fmla="*/ 2197069 h 6858000"/>
              <a:gd name="connsiteX552" fmla="*/ 5798671 w 7467600"/>
              <a:gd name="connsiteY552" fmla="*/ 1981601 h 6858000"/>
              <a:gd name="connsiteX553" fmla="*/ 5829202 w 7467600"/>
              <a:gd name="connsiteY553" fmla="*/ 1971679 h 6858000"/>
              <a:gd name="connsiteX554" fmla="*/ 5809558 w 7467600"/>
              <a:gd name="connsiteY554" fmla="*/ 2198043 h 6858000"/>
              <a:gd name="connsiteX555" fmla="*/ 5788653 w 7467600"/>
              <a:gd name="connsiteY555" fmla="*/ 2489430 h 6858000"/>
              <a:gd name="connsiteX556" fmla="*/ 5793439 w 7467600"/>
              <a:gd name="connsiteY556" fmla="*/ 2575235 h 6858000"/>
              <a:gd name="connsiteX557" fmla="*/ 5796837 w 7467600"/>
              <a:gd name="connsiteY557" fmla="*/ 2637633 h 6858000"/>
              <a:gd name="connsiteX558" fmla="*/ 5818614 w 7467600"/>
              <a:gd name="connsiteY558" fmla="*/ 2473055 h 6858000"/>
              <a:gd name="connsiteX559" fmla="*/ 5829202 w 7467600"/>
              <a:gd name="connsiteY559" fmla="*/ 1971679 h 6858000"/>
              <a:gd name="connsiteX560" fmla="*/ 5911389 w 7467600"/>
              <a:gd name="connsiteY560" fmla="*/ 1898371 h 6858000"/>
              <a:gd name="connsiteX561" fmla="*/ 6237627 w 7467600"/>
              <a:gd name="connsiteY561" fmla="*/ 2231921 h 6858000"/>
              <a:gd name="connsiteX562" fmla="*/ 5911389 w 7467600"/>
              <a:gd name="connsiteY562" fmla="*/ 1898371 h 6858000"/>
              <a:gd name="connsiteX563" fmla="*/ 6944437 w 7467600"/>
              <a:gd name="connsiteY563" fmla="*/ 1575402 h 6858000"/>
              <a:gd name="connsiteX564" fmla="*/ 6304730 w 7467600"/>
              <a:gd name="connsiteY564" fmla="*/ 1766654 h 6858000"/>
              <a:gd name="connsiteX565" fmla="*/ 6944437 w 7467600"/>
              <a:gd name="connsiteY565" fmla="*/ 1575402 h 6858000"/>
              <a:gd name="connsiteX566" fmla="*/ 7019523 w 7467600"/>
              <a:gd name="connsiteY566" fmla="*/ 1519450 h 6858000"/>
              <a:gd name="connsiteX567" fmla="*/ 6298091 w 7467600"/>
              <a:gd name="connsiteY567" fmla="*/ 1737122 h 6858000"/>
              <a:gd name="connsiteX568" fmla="*/ 7019523 w 7467600"/>
              <a:gd name="connsiteY568" fmla="*/ 1519450 h 6858000"/>
              <a:gd name="connsiteX569" fmla="*/ 2399523 w 7467600"/>
              <a:gd name="connsiteY569" fmla="*/ 1428234 h 6858000"/>
              <a:gd name="connsiteX570" fmla="*/ 2224982 w 7467600"/>
              <a:gd name="connsiteY570" fmla="*/ 1826201 h 6858000"/>
              <a:gd name="connsiteX571" fmla="*/ 2096099 w 7467600"/>
              <a:gd name="connsiteY571" fmla="*/ 2345900 h 6858000"/>
              <a:gd name="connsiteX572" fmla="*/ 2283317 w 7467600"/>
              <a:gd name="connsiteY572" fmla="*/ 1796925 h 6858000"/>
              <a:gd name="connsiteX573" fmla="*/ 2399523 w 7467600"/>
              <a:gd name="connsiteY573" fmla="*/ 1428234 h 6858000"/>
              <a:gd name="connsiteX574" fmla="*/ 2448558 w 7467600"/>
              <a:gd name="connsiteY574" fmla="*/ 1373435 h 6858000"/>
              <a:gd name="connsiteX575" fmla="*/ 2312521 w 7467600"/>
              <a:gd name="connsiteY575" fmla="*/ 1806140 h 6858000"/>
              <a:gd name="connsiteX576" fmla="*/ 2127533 w 7467600"/>
              <a:gd name="connsiteY576" fmla="*/ 2348380 h 6858000"/>
              <a:gd name="connsiteX577" fmla="*/ 2358080 w 7467600"/>
              <a:gd name="connsiteY577" fmla="*/ 1866134 h 6858000"/>
              <a:gd name="connsiteX578" fmla="*/ 2407436 w 7467600"/>
              <a:gd name="connsiteY578" fmla="*/ 1651070 h 6858000"/>
              <a:gd name="connsiteX579" fmla="*/ 2448558 w 7467600"/>
              <a:gd name="connsiteY579" fmla="*/ 1373435 h 6858000"/>
              <a:gd name="connsiteX580" fmla="*/ 278707 w 7467600"/>
              <a:gd name="connsiteY580" fmla="*/ 1352270 h 6858000"/>
              <a:gd name="connsiteX581" fmla="*/ 321570 w 7467600"/>
              <a:gd name="connsiteY581" fmla="*/ 1861610 h 6858000"/>
              <a:gd name="connsiteX582" fmla="*/ 294281 w 7467600"/>
              <a:gd name="connsiteY582" fmla="*/ 1440658 h 6858000"/>
              <a:gd name="connsiteX583" fmla="*/ 278707 w 7467600"/>
              <a:gd name="connsiteY583" fmla="*/ 1352270 h 6858000"/>
              <a:gd name="connsiteX584" fmla="*/ 1423821 w 7467600"/>
              <a:gd name="connsiteY584" fmla="*/ 1351958 h 6858000"/>
              <a:gd name="connsiteX585" fmla="*/ 1638521 w 7467600"/>
              <a:gd name="connsiteY585" fmla="*/ 1908470 h 6858000"/>
              <a:gd name="connsiteX586" fmla="*/ 1754199 w 7467600"/>
              <a:gd name="connsiteY586" fmla="*/ 2149284 h 6858000"/>
              <a:gd name="connsiteX587" fmla="*/ 1908359 w 7467600"/>
              <a:gd name="connsiteY587" fmla="*/ 2364988 h 6858000"/>
              <a:gd name="connsiteX588" fmla="*/ 1647661 w 7467600"/>
              <a:gd name="connsiteY588" fmla="*/ 1825945 h 6858000"/>
              <a:gd name="connsiteX589" fmla="*/ 1423821 w 7467600"/>
              <a:gd name="connsiteY589" fmla="*/ 1351958 h 6858000"/>
              <a:gd name="connsiteX590" fmla="*/ 1431890 w 7467600"/>
              <a:gd name="connsiteY590" fmla="*/ 1306475 h 6858000"/>
              <a:gd name="connsiteX591" fmla="*/ 1507597 w 7467600"/>
              <a:gd name="connsiteY591" fmla="*/ 1446132 h 6858000"/>
              <a:gd name="connsiteX592" fmla="*/ 1674586 w 7467600"/>
              <a:gd name="connsiteY592" fmla="*/ 1813832 h 6858000"/>
              <a:gd name="connsiteX593" fmla="*/ 1815950 w 7467600"/>
              <a:gd name="connsiteY593" fmla="*/ 2128564 h 6858000"/>
              <a:gd name="connsiteX594" fmla="*/ 1984242 w 7467600"/>
              <a:gd name="connsiteY594" fmla="*/ 2430829 h 6858000"/>
              <a:gd name="connsiteX595" fmla="*/ 2014023 w 7467600"/>
              <a:gd name="connsiteY595" fmla="*/ 2450995 h 6858000"/>
              <a:gd name="connsiteX596" fmla="*/ 1747337 w 7467600"/>
              <a:gd name="connsiteY596" fmla="*/ 1855264 h 6858000"/>
              <a:gd name="connsiteX597" fmla="*/ 1533749 w 7467600"/>
              <a:gd name="connsiteY597" fmla="*/ 1478656 h 6858000"/>
              <a:gd name="connsiteX598" fmla="*/ 1431890 w 7467600"/>
              <a:gd name="connsiteY598" fmla="*/ 1306475 h 6858000"/>
              <a:gd name="connsiteX599" fmla="*/ 5052692 w 7467600"/>
              <a:gd name="connsiteY599" fmla="*/ 1292994 h 6858000"/>
              <a:gd name="connsiteX600" fmla="*/ 5200661 w 7467600"/>
              <a:gd name="connsiteY600" fmla="*/ 1635186 h 6858000"/>
              <a:gd name="connsiteX601" fmla="*/ 5297138 w 7467600"/>
              <a:gd name="connsiteY601" fmla="*/ 1906351 h 6858000"/>
              <a:gd name="connsiteX602" fmla="*/ 5052692 w 7467600"/>
              <a:gd name="connsiteY602" fmla="*/ 1292994 h 6858000"/>
              <a:gd name="connsiteX603" fmla="*/ 5009948 w 7467600"/>
              <a:gd name="connsiteY603" fmla="*/ 1273619 h 6858000"/>
              <a:gd name="connsiteX604" fmla="*/ 5121777 w 7467600"/>
              <a:gd name="connsiteY604" fmla="*/ 1654213 h 6858000"/>
              <a:gd name="connsiteX605" fmla="*/ 5293545 w 7467600"/>
              <a:gd name="connsiteY605" fmla="*/ 2072247 h 6858000"/>
              <a:gd name="connsiteX606" fmla="*/ 5294042 w 7467600"/>
              <a:gd name="connsiteY606" fmla="*/ 2065019 h 6858000"/>
              <a:gd name="connsiteX607" fmla="*/ 5171936 w 7467600"/>
              <a:gd name="connsiteY607" fmla="*/ 1647613 h 6858000"/>
              <a:gd name="connsiteX608" fmla="*/ 5009948 w 7467600"/>
              <a:gd name="connsiteY608" fmla="*/ 1273619 h 6858000"/>
              <a:gd name="connsiteX609" fmla="*/ 655236 w 7467600"/>
              <a:gd name="connsiteY609" fmla="*/ 1268632 h 6858000"/>
              <a:gd name="connsiteX610" fmla="*/ 839521 w 7467600"/>
              <a:gd name="connsiteY610" fmla="*/ 1685315 h 6858000"/>
              <a:gd name="connsiteX611" fmla="*/ 1109416 w 7467600"/>
              <a:gd name="connsiteY611" fmla="*/ 2061663 h 6858000"/>
              <a:gd name="connsiteX612" fmla="*/ 1298300 w 7467600"/>
              <a:gd name="connsiteY612" fmla="*/ 2247742 h 6858000"/>
              <a:gd name="connsiteX613" fmla="*/ 1125871 w 7467600"/>
              <a:gd name="connsiteY613" fmla="*/ 1989513 h 6858000"/>
              <a:gd name="connsiteX614" fmla="*/ 981574 w 7467600"/>
              <a:gd name="connsiteY614" fmla="*/ 1783157 h 6858000"/>
              <a:gd name="connsiteX615" fmla="*/ 922198 w 7467600"/>
              <a:gd name="connsiteY615" fmla="*/ 1677437 h 6858000"/>
              <a:gd name="connsiteX616" fmla="*/ 869293 w 7467600"/>
              <a:gd name="connsiteY616" fmla="*/ 1583214 h 6858000"/>
              <a:gd name="connsiteX617" fmla="*/ 751431 w 7467600"/>
              <a:gd name="connsiteY617" fmla="*/ 1405731 h 6858000"/>
              <a:gd name="connsiteX618" fmla="*/ 655236 w 7467600"/>
              <a:gd name="connsiteY618" fmla="*/ 1268632 h 6858000"/>
              <a:gd name="connsiteX619" fmla="*/ 6516292 w 7467600"/>
              <a:gd name="connsiteY619" fmla="*/ 1263064 h 6858000"/>
              <a:gd name="connsiteX620" fmla="*/ 5736320 w 7467600"/>
              <a:gd name="connsiteY620" fmla="*/ 1501803 h 6858000"/>
              <a:gd name="connsiteX621" fmla="*/ 6516292 w 7467600"/>
              <a:gd name="connsiteY621" fmla="*/ 1263064 h 6858000"/>
              <a:gd name="connsiteX622" fmla="*/ 291466 w 7467600"/>
              <a:gd name="connsiteY622" fmla="*/ 1250369 h 6858000"/>
              <a:gd name="connsiteX623" fmla="*/ 323180 w 7467600"/>
              <a:gd name="connsiteY623" fmla="*/ 1435283 h 6858000"/>
              <a:gd name="connsiteX624" fmla="*/ 349381 w 7467600"/>
              <a:gd name="connsiteY624" fmla="*/ 1875041 h 6858000"/>
              <a:gd name="connsiteX625" fmla="*/ 374363 w 7467600"/>
              <a:gd name="connsiteY625" fmla="*/ 1506494 h 6858000"/>
              <a:gd name="connsiteX626" fmla="*/ 302168 w 7467600"/>
              <a:gd name="connsiteY626" fmla="*/ 1274495 h 6858000"/>
              <a:gd name="connsiteX627" fmla="*/ 291466 w 7467600"/>
              <a:gd name="connsiteY627" fmla="*/ 1250369 h 6858000"/>
              <a:gd name="connsiteX628" fmla="*/ 678222 w 7467600"/>
              <a:gd name="connsiteY628" fmla="*/ 1248670 h 6858000"/>
              <a:gd name="connsiteX629" fmla="*/ 775536 w 7467600"/>
              <a:gd name="connsiteY629" fmla="*/ 1388015 h 6858000"/>
              <a:gd name="connsiteX630" fmla="*/ 894529 w 7467600"/>
              <a:gd name="connsiteY630" fmla="*/ 1567739 h 6858000"/>
              <a:gd name="connsiteX631" fmla="*/ 948000 w 7467600"/>
              <a:gd name="connsiteY631" fmla="*/ 1663088 h 6858000"/>
              <a:gd name="connsiteX632" fmla="*/ 1006812 w 7467600"/>
              <a:gd name="connsiteY632" fmla="*/ 1767683 h 6858000"/>
              <a:gd name="connsiteX633" fmla="*/ 1149133 w 7467600"/>
              <a:gd name="connsiteY633" fmla="*/ 1971513 h 6858000"/>
              <a:gd name="connsiteX634" fmla="*/ 1333952 w 7467600"/>
              <a:gd name="connsiteY634" fmla="*/ 2251620 h 6858000"/>
              <a:gd name="connsiteX635" fmla="*/ 1337329 w 7467600"/>
              <a:gd name="connsiteY635" fmla="*/ 2258350 h 6858000"/>
              <a:gd name="connsiteX636" fmla="*/ 1014726 w 7467600"/>
              <a:gd name="connsiteY636" fmla="*/ 1615556 h 6858000"/>
              <a:gd name="connsiteX637" fmla="*/ 678222 w 7467600"/>
              <a:gd name="connsiteY637" fmla="*/ 1248670 h 6858000"/>
              <a:gd name="connsiteX638" fmla="*/ 6691602 w 7467600"/>
              <a:gd name="connsiteY638" fmla="*/ 1140573 h 6858000"/>
              <a:gd name="connsiteX639" fmla="*/ 6571100 w 7467600"/>
              <a:gd name="connsiteY639" fmla="*/ 1183662 h 6858000"/>
              <a:gd name="connsiteX640" fmla="*/ 6241687 w 7467600"/>
              <a:gd name="connsiteY640" fmla="*/ 1257600 h 6858000"/>
              <a:gd name="connsiteX641" fmla="*/ 5693009 w 7467600"/>
              <a:gd name="connsiteY641" fmla="*/ 1478256 h 6858000"/>
              <a:gd name="connsiteX642" fmla="*/ 6548420 w 7467600"/>
              <a:gd name="connsiteY642" fmla="*/ 1214599 h 6858000"/>
              <a:gd name="connsiteX643" fmla="*/ 6605473 w 7467600"/>
              <a:gd name="connsiteY643" fmla="*/ 1184686 h 6858000"/>
              <a:gd name="connsiteX644" fmla="*/ 6691602 w 7467600"/>
              <a:gd name="connsiteY644" fmla="*/ 1140573 h 6858000"/>
              <a:gd name="connsiteX645" fmla="*/ 4002475 w 7467600"/>
              <a:gd name="connsiteY645" fmla="*/ 1037802 h 6858000"/>
              <a:gd name="connsiteX646" fmla="*/ 4000324 w 7467600"/>
              <a:gd name="connsiteY646" fmla="*/ 1039362 h 6858000"/>
              <a:gd name="connsiteX647" fmla="*/ 4002862 w 7467600"/>
              <a:gd name="connsiteY647" fmla="*/ 1042866 h 6858000"/>
              <a:gd name="connsiteX648" fmla="*/ 4002475 w 7467600"/>
              <a:gd name="connsiteY648" fmla="*/ 1037802 h 6858000"/>
              <a:gd name="connsiteX649" fmla="*/ 506322 w 7467600"/>
              <a:gd name="connsiteY649" fmla="*/ 1020997 h 6858000"/>
              <a:gd name="connsiteX650" fmla="*/ 533068 w 7467600"/>
              <a:gd name="connsiteY650" fmla="*/ 1029409 h 6858000"/>
              <a:gd name="connsiteX651" fmla="*/ 1232525 w 7467600"/>
              <a:gd name="connsiteY651" fmla="*/ 1804675 h 6858000"/>
              <a:gd name="connsiteX652" fmla="*/ 1388858 w 7467600"/>
              <a:gd name="connsiteY652" fmla="*/ 2368011 h 6858000"/>
              <a:gd name="connsiteX653" fmla="*/ 1384098 w 7467600"/>
              <a:gd name="connsiteY653" fmla="*/ 2378125 h 6858000"/>
              <a:gd name="connsiteX654" fmla="*/ 1425393 w 7467600"/>
              <a:gd name="connsiteY654" fmla="*/ 2589124 h 6858000"/>
              <a:gd name="connsiteX655" fmla="*/ 1424001 w 7467600"/>
              <a:gd name="connsiteY655" fmla="*/ 2597541 h 6858000"/>
              <a:gd name="connsiteX656" fmla="*/ 2152729 w 7467600"/>
              <a:gd name="connsiteY656" fmla="*/ 2864487 h 6858000"/>
              <a:gd name="connsiteX657" fmla="*/ 2020609 w 7467600"/>
              <a:gd name="connsiteY657" fmla="*/ 2539671 h 6858000"/>
              <a:gd name="connsiteX658" fmla="*/ 2018920 w 7467600"/>
              <a:gd name="connsiteY658" fmla="*/ 2536309 h 6858000"/>
              <a:gd name="connsiteX659" fmla="*/ 1342441 w 7467600"/>
              <a:gd name="connsiteY659" fmla="*/ 1173017 h 6858000"/>
              <a:gd name="connsiteX660" fmla="*/ 1367925 w 7467600"/>
              <a:gd name="connsiteY660" fmla="*/ 1135648 h 6858000"/>
              <a:gd name="connsiteX661" fmla="*/ 1771401 w 7467600"/>
              <a:gd name="connsiteY661" fmla="*/ 1806673 h 6858000"/>
              <a:gd name="connsiteX662" fmla="*/ 1972385 w 7467600"/>
              <a:gd name="connsiteY662" fmla="*/ 2198735 h 6858000"/>
              <a:gd name="connsiteX663" fmla="*/ 2040892 w 7467600"/>
              <a:gd name="connsiteY663" fmla="*/ 2405205 h 6858000"/>
              <a:gd name="connsiteX664" fmla="*/ 2131689 w 7467600"/>
              <a:gd name="connsiteY664" fmla="*/ 1936926 h 6858000"/>
              <a:gd name="connsiteX665" fmla="*/ 2454820 w 7467600"/>
              <a:gd name="connsiteY665" fmla="*/ 1248808 h 6858000"/>
              <a:gd name="connsiteX666" fmla="*/ 2492512 w 7467600"/>
              <a:gd name="connsiteY666" fmla="*/ 1302920 h 6858000"/>
              <a:gd name="connsiteX667" fmla="*/ 2081216 w 7467600"/>
              <a:gd name="connsiteY667" fmla="*/ 2527513 h 6858000"/>
              <a:gd name="connsiteX668" fmla="*/ 2081211 w 7467600"/>
              <a:gd name="connsiteY668" fmla="*/ 2528916 h 6858000"/>
              <a:gd name="connsiteX669" fmla="*/ 2199067 w 7467600"/>
              <a:gd name="connsiteY669" fmla="*/ 2884061 h 6858000"/>
              <a:gd name="connsiteX670" fmla="*/ 3192586 w 7467600"/>
              <a:gd name="connsiteY670" fmla="*/ 3411496 h 6858000"/>
              <a:gd name="connsiteX671" fmla="*/ 3182620 w 7467600"/>
              <a:gd name="connsiteY671" fmla="*/ 3483279 h 6858000"/>
              <a:gd name="connsiteX672" fmla="*/ 2435119 w 7467600"/>
              <a:gd name="connsiteY672" fmla="*/ 3080173 h 6858000"/>
              <a:gd name="connsiteX673" fmla="*/ 2410152 w 7467600"/>
              <a:gd name="connsiteY673" fmla="*/ 3063751 h 6858000"/>
              <a:gd name="connsiteX674" fmla="*/ 2408099 w 7467600"/>
              <a:gd name="connsiteY674" fmla="*/ 3064403 h 6858000"/>
              <a:gd name="connsiteX675" fmla="*/ 2407218 w 7467600"/>
              <a:gd name="connsiteY675" fmla="*/ 3070324 h 6858000"/>
              <a:gd name="connsiteX676" fmla="*/ 2380138 w 7467600"/>
              <a:gd name="connsiteY676" fmla="*/ 3099341 h 6858000"/>
              <a:gd name="connsiteX677" fmla="*/ 1765923 w 7467600"/>
              <a:gd name="connsiteY677" fmla="*/ 3581043 h 6858000"/>
              <a:gd name="connsiteX678" fmla="*/ 1702258 w 7467600"/>
              <a:gd name="connsiteY678" fmla="*/ 3612286 h 6858000"/>
              <a:gd name="connsiteX679" fmla="*/ 1538370 w 7467600"/>
              <a:gd name="connsiteY679" fmla="*/ 3811804 h 6858000"/>
              <a:gd name="connsiteX680" fmla="*/ 542867 w 7467600"/>
              <a:gd name="connsiteY680" fmla="*/ 4944092 h 6858000"/>
              <a:gd name="connsiteX681" fmla="*/ 515800 w 7467600"/>
              <a:gd name="connsiteY681" fmla="*/ 4862180 h 6858000"/>
              <a:gd name="connsiteX682" fmla="*/ 909145 w 7467600"/>
              <a:gd name="connsiteY682" fmla="*/ 4199225 h 6858000"/>
              <a:gd name="connsiteX683" fmla="*/ 1214067 w 7467600"/>
              <a:gd name="connsiteY683" fmla="*/ 3908561 h 6858000"/>
              <a:gd name="connsiteX684" fmla="*/ 640967 w 7467600"/>
              <a:gd name="connsiteY684" fmla="*/ 4105601 h 6858000"/>
              <a:gd name="connsiteX685" fmla="*/ 112563 w 7467600"/>
              <a:gd name="connsiteY685" fmla="*/ 4396952 h 6858000"/>
              <a:gd name="connsiteX686" fmla="*/ 0 w 7467600"/>
              <a:gd name="connsiteY686" fmla="*/ 4466006 h 6858000"/>
              <a:gd name="connsiteX687" fmla="*/ 0 w 7467600"/>
              <a:gd name="connsiteY687" fmla="*/ 4233763 h 6858000"/>
              <a:gd name="connsiteX688" fmla="*/ 36881 w 7467600"/>
              <a:gd name="connsiteY688" fmla="*/ 4200118 h 6858000"/>
              <a:gd name="connsiteX689" fmla="*/ 910534 w 7467600"/>
              <a:gd name="connsiteY689" fmla="*/ 3629753 h 6858000"/>
              <a:gd name="connsiteX690" fmla="*/ 1578717 w 7467600"/>
              <a:gd name="connsiteY690" fmla="*/ 3575982 h 6858000"/>
              <a:gd name="connsiteX691" fmla="*/ 2338780 w 7467600"/>
              <a:gd name="connsiteY691" fmla="*/ 3033725 h 6858000"/>
              <a:gd name="connsiteX692" fmla="*/ 1807991 w 7467600"/>
              <a:gd name="connsiteY692" fmla="*/ 2807184 h 6858000"/>
              <a:gd name="connsiteX693" fmla="*/ 1416358 w 7467600"/>
              <a:gd name="connsiteY693" fmla="*/ 3112571 h 6858000"/>
              <a:gd name="connsiteX694" fmla="*/ 939066 w 7467600"/>
              <a:gd name="connsiteY694" fmla="*/ 3378798 h 6858000"/>
              <a:gd name="connsiteX695" fmla="*/ 115099 w 7467600"/>
              <a:gd name="connsiteY695" fmla="*/ 3607650 h 6858000"/>
              <a:gd name="connsiteX696" fmla="*/ 97284 w 7467600"/>
              <a:gd name="connsiteY696" fmla="*/ 3520393 h 6858000"/>
              <a:gd name="connsiteX697" fmla="*/ 922050 w 7467600"/>
              <a:gd name="connsiteY697" fmla="*/ 3074867 h 6858000"/>
              <a:gd name="connsiteX698" fmla="*/ 1405265 w 7467600"/>
              <a:gd name="connsiteY698" fmla="*/ 3016319 h 6858000"/>
              <a:gd name="connsiteX699" fmla="*/ 1407512 w 7467600"/>
              <a:gd name="connsiteY699" fmla="*/ 3018001 h 6858000"/>
              <a:gd name="connsiteX700" fmla="*/ 1726266 w 7467600"/>
              <a:gd name="connsiteY700" fmla="*/ 2777274 h 6858000"/>
              <a:gd name="connsiteX701" fmla="*/ 625390 w 7467600"/>
              <a:gd name="connsiteY701" fmla="*/ 2514541 h 6858000"/>
              <a:gd name="connsiteX702" fmla="*/ 619799 w 7467600"/>
              <a:gd name="connsiteY702" fmla="*/ 2527180 h 6858000"/>
              <a:gd name="connsiteX703" fmla="*/ 310030 w 7467600"/>
              <a:gd name="connsiteY703" fmla="*/ 2771818 h 6858000"/>
              <a:gd name="connsiteX704" fmla="*/ 173877 w 7467600"/>
              <a:gd name="connsiteY704" fmla="*/ 2937056 h 6858000"/>
              <a:gd name="connsiteX705" fmla="*/ 77889 w 7467600"/>
              <a:gd name="connsiteY705" fmla="*/ 3138440 h 6858000"/>
              <a:gd name="connsiteX706" fmla="*/ 0 w 7467600"/>
              <a:gd name="connsiteY706" fmla="*/ 3271395 h 6858000"/>
              <a:gd name="connsiteX707" fmla="*/ 0 w 7467600"/>
              <a:gd name="connsiteY707" fmla="*/ 3153002 h 6858000"/>
              <a:gd name="connsiteX708" fmla="*/ 2386 w 7467600"/>
              <a:gd name="connsiteY708" fmla="*/ 3149203 h 6858000"/>
              <a:gd name="connsiteX709" fmla="*/ 89753 w 7467600"/>
              <a:gd name="connsiteY709" fmla="*/ 2987702 h 6858000"/>
              <a:gd name="connsiteX710" fmla="*/ 76869 w 7467600"/>
              <a:gd name="connsiteY710" fmla="*/ 3005404 h 6858000"/>
              <a:gd name="connsiteX711" fmla="*/ 32049 w 7467600"/>
              <a:gd name="connsiteY711" fmla="*/ 3065814 h 6858000"/>
              <a:gd name="connsiteX712" fmla="*/ 0 w 7467600"/>
              <a:gd name="connsiteY712" fmla="*/ 3108744 h 6858000"/>
              <a:gd name="connsiteX713" fmla="*/ 0 w 7467600"/>
              <a:gd name="connsiteY713" fmla="*/ 3058059 h 6858000"/>
              <a:gd name="connsiteX714" fmla="*/ 7610 w 7467600"/>
              <a:gd name="connsiteY714" fmla="*/ 3047889 h 6858000"/>
              <a:gd name="connsiteX715" fmla="*/ 52419 w 7467600"/>
              <a:gd name="connsiteY715" fmla="*/ 2987479 h 6858000"/>
              <a:gd name="connsiteX716" fmla="*/ 59142 w 7467600"/>
              <a:gd name="connsiteY716" fmla="*/ 2978488 h 6858000"/>
              <a:gd name="connsiteX717" fmla="*/ 0 w 7467600"/>
              <a:gd name="connsiteY717" fmla="*/ 3015334 h 6858000"/>
              <a:gd name="connsiteX718" fmla="*/ 0 w 7467600"/>
              <a:gd name="connsiteY718" fmla="*/ 2914286 h 6858000"/>
              <a:gd name="connsiteX719" fmla="*/ 36383 w 7467600"/>
              <a:gd name="connsiteY719" fmla="*/ 2901128 h 6858000"/>
              <a:gd name="connsiteX720" fmla="*/ 156329 w 7467600"/>
              <a:gd name="connsiteY720" fmla="*/ 2840533 h 6858000"/>
              <a:gd name="connsiteX721" fmla="*/ 358355 w 7467600"/>
              <a:gd name="connsiteY721" fmla="*/ 2620471 h 6858000"/>
              <a:gd name="connsiteX722" fmla="*/ 510577 w 7467600"/>
              <a:gd name="connsiteY722" fmla="*/ 2501244 h 6858000"/>
              <a:gd name="connsiteX723" fmla="*/ 211967 w 7467600"/>
              <a:gd name="connsiteY723" fmla="*/ 2479171 h 6858000"/>
              <a:gd name="connsiteX724" fmla="*/ 0 w 7467600"/>
              <a:gd name="connsiteY724" fmla="*/ 2476398 h 6858000"/>
              <a:gd name="connsiteX725" fmla="*/ 0 w 7467600"/>
              <a:gd name="connsiteY725" fmla="*/ 2389189 h 6858000"/>
              <a:gd name="connsiteX726" fmla="*/ 103062 w 7467600"/>
              <a:gd name="connsiteY726" fmla="*/ 2389518 h 6858000"/>
              <a:gd name="connsiteX727" fmla="*/ 510734 w 7467600"/>
              <a:gd name="connsiteY727" fmla="*/ 2416201 h 6858000"/>
              <a:gd name="connsiteX728" fmla="*/ 279257 w 7467600"/>
              <a:gd name="connsiteY728" fmla="*/ 2092102 h 6858000"/>
              <a:gd name="connsiteX729" fmla="*/ 65265 w 7467600"/>
              <a:gd name="connsiteY729" fmla="*/ 2006049 h 6858000"/>
              <a:gd name="connsiteX730" fmla="*/ 0 w 7467600"/>
              <a:gd name="connsiteY730" fmla="*/ 1982532 h 6858000"/>
              <a:gd name="connsiteX731" fmla="*/ 0 w 7467600"/>
              <a:gd name="connsiteY731" fmla="*/ 1912789 h 6858000"/>
              <a:gd name="connsiteX732" fmla="*/ 97460 w 7467600"/>
              <a:gd name="connsiteY732" fmla="*/ 1953725 h 6858000"/>
              <a:gd name="connsiteX733" fmla="*/ 221272 w 7467600"/>
              <a:gd name="connsiteY733" fmla="*/ 1980766 h 6858000"/>
              <a:gd name="connsiteX734" fmla="*/ 116765 w 7467600"/>
              <a:gd name="connsiteY734" fmla="*/ 1911033 h 6858000"/>
              <a:gd name="connsiteX735" fmla="*/ 16405 w 7467600"/>
              <a:gd name="connsiteY735" fmla="*/ 1803412 h 6858000"/>
              <a:gd name="connsiteX736" fmla="*/ 0 w 7467600"/>
              <a:gd name="connsiteY736" fmla="*/ 1784777 h 6858000"/>
              <a:gd name="connsiteX737" fmla="*/ 0 w 7467600"/>
              <a:gd name="connsiteY737" fmla="*/ 1740082 h 6858000"/>
              <a:gd name="connsiteX738" fmla="*/ 39394 w 7467600"/>
              <a:gd name="connsiteY738" fmla="*/ 1784856 h 6858000"/>
              <a:gd name="connsiteX739" fmla="*/ 135813 w 7467600"/>
              <a:gd name="connsiteY739" fmla="*/ 1888838 h 6858000"/>
              <a:gd name="connsiteX740" fmla="*/ 242575 w 7467600"/>
              <a:gd name="connsiteY740" fmla="*/ 1958841 h 6858000"/>
              <a:gd name="connsiteX741" fmla="*/ 82197 w 7467600"/>
              <a:gd name="connsiteY741" fmla="*/ 1754826 h 6858000"/>
              <a:gd name="connsiteX742" fmla="*/ 0 w 7467600"/>
              <a:gd name="connsiteY742" fmla="*/ 1679650 h 6858000"/>
              <a:gd name="connsiteX743" fmla="*/ 0 w 7467600"/>
              <a:gd name="connsiteY743" fmla="*/ 1602463 h 6858000"/>
              <a:gd name="connsiteX744" fmla="*/ 84689 w 7467600"/>
              <a:gd name="connsiteY744" fmla="*/ 1677442 h 6858000"/>
              <a:gd name="connsiteX745" fmla="*/ 298437 w 7467600"/>
              <a:gd name="connsiteY745" fmla="*/ 1968019 h 6858000"/>
              <a:gd name="connsiteX746" fmla="*/ 227269 w 7467600"/>
              <a:gd name="connsiteY746" fmla="*/ 1114064 h 6858000"/>
              <a:gd name="connsiteX747" fmla="*/ 248003 w 7467600"/>
              <a:gd name="connsiteY747" fmla="*/ 1089613 h 6858000"/>
              <a:gd name="connsiteX748" fmla="*/ 427020 w 7467600"/>
              <a:gd name="connsiteY748" fmla="*/ 1619803 h 6858000"/>
              <a:gd name="connsiteX749" fmla="*/ 340345 w 7467600"/>
              <a:gd name="connsiteY749" fmla="*/ 2027739 h 6858000"/>
              <a:gd name="connsiteX750" fmla="*/ 360865 w 7467600"/>
              <a:gd name="connsiteY750" fmla="*/ 2044827 h 6858000"/>
              <a:gd name="connsiteX751" fmla="*/ 560414 w 7467600"/>
              <a:gd name="connsiteY751" fmla="*/ 2421457 h 6858000"/>
              <a:gd name="connsiteX752" fmla="*/ 1359703 w 7467600"/>
              <a:gd name="connsiteY752" fmla="*/ 2578554 h 6858000"/>
              <a:gd name="connsiteX753" fmla="*/ 1359422 w 7467600"/>
              <a:gd name="connsiteY753" fmla="*/ 2577994 h 6858000"/>
              <a:gd name="connsiteX754" fmla="*/ 828701 w 7467600"/>
              <a:gd name="connsiteY754" fmla="*/ 1839520 h 6858000"/>
              <a:gd name="connsiteX755" fmla="*/ 494427 w 7467600"/>
              <a:gd name="connsiteY755" fmla="*/ 1092333 h 6858000"/>
              <a:gd name="connsiteX756" fmla="*/ 506322 w 7467600"/>
              <a:gd name="connsiteY756" fmla="*/ 1020997 h 6858000"/>
              <a:gd name="connsiteX757" fmla="*/ 4570198 w 7467600"/>
              <a:gd name="connsiteY757" fmla="*/ 978081 h 6858000"/>
              <a:gd name="connsiteX758" fmla="*/ 4523691 w 7467600"/>
              <a:gd name="connsiteY758" fmla="*/ 1127776 h 6858000"/>
              <a:gd name="connsiteX759" fmla="*/ 4509875 w 7467600"/>
              <a:gd name="connsiteY759" fmla="*/ 1167552 h 6858000"/>
              <a:gd name="connsiteX760" fmla="*/ 4478168 w 7467600"/>
              <a:gd name="connsiteY760" fmla="*/ 1260735 h 6858000"/>
              <a:gd name="connsiteX761" fmla="*/ 4409309 w 7467600"/>
              <a:gd name="connsiteY761" fmla="*/ 1666996 h 6858000"/>
              <a:gd name="connsiteX762" fmla="*/ 4370031 w 7467600"/>
              <a:gd name="connsiteY762" fmla="*/ 1955666 h 6858000"/>
              <a:gd name="connsiteX763" fmla="*/ 4570198 w 7467600"/>
              <a:gd name="connsiteY763" fmla="*/ 978081 h 6858000"/>
              <a:gd name="connsiteX764" fmla="*/ 4557898 w 7467600"/>
              <a:gd name="connsiteY764" fmla="*/ 900011 h 6858000"/>
              <a:gd name="connsiteX765" fmla="*/ 4344840 w 7467600"/>
              <a:gd name="connsiteY765" fmla="*/ 1922038 h 6858000"/>
              <a:gd name="connsiteX766" fmla="*/ 4378710 w 7467600"/>
              <a:gd name="connsiteY766" fmla="*/ 1665516 h 6858000"/>
              <a:gd name="connsiteX767" fmla="*/ 4448798 w 7467600"/>
              <a:gd name="connsiteY767" fmla="*/ 1253024 h 6858000"/>
              <a:gd name="connsiteX768" fmla="*/ 4480315 w 7467600"/>
              <a:gd name="connsiteY768" fmla="*/ 1158454 h 6858000"/>
              <a:gd name="connsiteX769" fmla="*/ 4494133 w 7467600"/>
              <a:gd name="connsiteY769" fmla="*/ 1118676 h 6858000"/>
              <a:gd name="connsiteX770" fmla="*/ 4557898 w 7467600"/>
              <a:gd name="connsiteY770" fmla="*/ 900011 h 6858000"/>
              <a:gd name="connsiteX771" fmla="*/ 5870151 w 7467600"/>
              <a:gd name="connsiteY771" fmla="*/ 898890 h 6858000"/>
              <a:gd name="connsiteX772" fmla="*/ 5861335 w 7467600"/>
              <a:gd name="connsiteY772" fmla="*/ 899177 h 6858000"/>
              <a:gd name="connsiteX773" fmla="*/ 5843702 w 7467600"/>
              <a:gd name="connsiteY773" fmla="*/ 899748 h 6858000"/>
              <a:gd name="connsiteX774" fmla="*/ 5651107 w 7467600"/>
              <a:gd name="connsiteY774" fmla="*/ 920306 h 6858000"/>
              <a:gd name="connsiteX775" fmla="*/ 5459407 w 7467600"/>
              <a:gd name="connsiteY775" fmla="*/ 940975 h 6858000"/>
              <a:gd name="connsiteX776" fmla="*/ 5374846 w 7467600"/>
              <a:gd name="connsiteY776" fmla="*/ 941988 h 6858000"/>
              <a:gd name="connsiteX777" fmla="*/ 5256105 w 7467600"/>
              <a:gd name="connsiteY777" fmla="*/ 945632 h 6858000"/>
              <a:gd name="connsiteX778" fmla="*/ 5107071 w 7467600"/>
              <a:gd name="connsiteY778" fmla="*/ 969720 h 6858000"/>
              <a:gd name="connsiteX779" fmla="*/ 4998681 w 7467600"/>
              <a:gd name="connsiteY779" fmla="*/ 988771 h 6858000"/>
              <a:gd name="connsiteX780" fmla="*/ 5870151 w 7467600"/>
              <a:gd name="connsiteY780" fmla="*/ 898890 h 6858000"/>
              <a:gd name="connsiteX781" fmla="*/ 5504425 w 7467600"/>
              <a:gd name="connsiteY781" fmla="*/ 848067 h 6858000"/>
              <a:gd name="connsiteX782" fmla="*/ 4968849 w 7467600"/>
              <a:gd name="connsiteY782" fmla="*/ 962318 h 6858000"/>
              <a:gd name="connsiteX783" fmla="*/ 5104039 w 7467600"/>
              <a:gd name="connsiteY783" fmla="*/ 940634 h 6858000"/>
              <a:gd name="connsiteX784" fmla="*/ 5256311 w 7467600"/>
              <a:gd name="connsiteY784" fmla="*/ 916490 h 6858000"/>
              <a:gd name="connsiteX785" fmla="*/ 5377381 w 7467600"/>
              <a:gd name="connsiteY785" fmla="*/ 912671 h 6858000"/>
              <a:gd name="connsiteX786" fmla="*/ 5460148 w 7467600"/>
              <a:gd name="connsiteY786" fmla="*/ 911442 h 6858000"/>
              <a:gd name="connsiteX787" fmla="*/ 5648971 w 7467600"/>
              <a:gd name="connsiteY787" fmla="*/ 891331 h 6858000"/>
              <a:gd name="connsiteX788" fmla="*/ 5844807 w 7467600"/>
              <a:gd name="connsiteY788" fmla="*/ 870718 h 6858000"/>
              <a:gd name="connsiteX789" fmla="*/ 5862975 w 7467600"/>
              <a:gd name="connsiteY789" fmla="*/ 869756 h 6858000"/>
              <a:gd name="connsiteX790" fmla="*/ 5920887 w 7467600"/>
              <a:gd name="connsiteY790" fmla="*/ 865929 h 6858000"/>
              <a:gd name="connsiteX791" fmla="*/ 5504425 w 7467600"/>
              <a:gd name="connsiteY791" fmla="*/ 848067 h 6858000"/>
              <a:gd name="connsiteX792" fmla="*/ 3607114 w 7467600"/>
              <a:gd name="connsiteY792" fmla="*/ 467441 h 6858000"/>
              <a:gd name="connsiteX793" fmla="*/ 3296242 w 7467600"/>
              <a:gd name="connsiteY793" fmla="*/ 807991 h 6858000"/>
              <a:gd name="connsiteX794" fmla="*/ 3174674 w 7467600"/>
              <a:gd name="connsiteY794" fmla="*/ 919759 h 6858000"/>
              <a:gd name="connsiteX795" fmla="*/ 3042978 w 7467600"/>
              <a:gd name="connsiteY795" fmla="*/ 1054894 h 6858000"/>
              <a:gd name="connsiteX796" fmla="*/ 2968914 w 7467600"/>
              <a:gd name="connsiteY796" fmla="*/ 1133756 h 6858000"/>
              <a:gd name="connsiteX797" fmla="*/ 3103823 w 7467600"/>
              <a:gd name="connsiteY797" fmla="*/ 1026814 h 6858000"/>
              <a:gd name="connsiteX798" fmla="*/ 3607114 w 7467600"/>
              <a:gd name="connsiteY798" fmla="*/ 467441 h 6858000"/>
              <a:gd name="connsiteX799" fmla="*/ 3744487 w 7467600"/>
              <a:gd name="connsiteY799" fmla="*/ 383136 h 6858000"/>
              <a:gd name="connsiteX800" fmla="*/ 3970213 w 7467600"/>
              <a:gd name="connsiteY800" fmla="*/ 995559 h 6858000"/>
              <a:gd name="connsiteX801" fmla="*/ 3744487 w 7467600"/>
              <a:gd name="connsiteY801" fmla="*/ 383136 h 6858000"/>
              <a:gd name="connsiteX802" fmla="*/ 3624562 w 7467600"/>
              <a:gd name="connsiteY802" fmla="*/ 367041 h 6858000"/>
              <a:gd name="connsiteX803" fmla="*/ 3489712 w 7467600"/>
              <a:gd name="connsiteY803" fmla="*/ 485386 h 6858000"/>
              <a:gd name="connsiteX804" fmla="*/ 3182994 w 7467600"/>
              <a:gd name="connsiteY804" fmla="*/ 828265 h 6858000"/>
              <a:gd name="connsiteX805" fmla="*/ 2892114 w 7467600"/>
              <a:gd name="connsiteY805" fmla="*/ 1172635 h 6858000"/>
              <a:gd name="connsiteX806" fmla="*/ 3021459 w 7467600"/>
              <a:gd name="connsiteY806" fmla="*/ 1035385 h 6858000"/>
              <a:gd name="connsiteX807" fmla="*/ 3153873 w 7467600"/>
              <a:gd name="connsiteY807" fmla="*/ 898971 h 6858000"/>
              <a:gd name="connsiteX808" fmla="*/ 3276511 w 7467600"/>
              <a:gd name="connsiteY808" fmla="*/ 786423 h 6858000"/>
              <a:gd name="connsiteX809" fmla="*/ 3584154 w 7467600"/>
              <a:gd name="connsiteY809" fmla="*/ 448218 h 6858000"/>
              <a:gd name="connsiteX810" fmla="*/ 3624562 w 7467600"/>
              <a:gd name="connsiteY810" fmla="*/ 367041 h 6858000"/>
              <a:gd name="connsiteX811" fmla="*/ 3766672 w 7467600"/>
              <a:gd name="connsiteY811" fmla="*/ 359429 h 6858000"/>
              <a:gd name="connsiteX812" fmla="*/ 3996338 w 7467600"/>
              <a:gd name="connsiteY812" fmla="*/ 968237 h 6858000"/>
              <a:gd name="connsiteX813" fmla="*/ 3766672 w 7467600"/>
              <a:gd name="connsiteY813" fmla="*/ 359429 h 6858000"/>
              <a:gd name="connsiteX814" fmla="*/ 5805386 w 7467600"/>
              <a:gd name="connsiteY814" fmla="*/ 239240 h 6858000"/>
              <a:gd name="connsiteX815" fmla="*/ 5736947 w 7467600"/>
              <a:gd name="connsiteY815" fmla="*/ 261367 h 6858000"/>
              <a:gd name="connsiteX816" fmla="*/ 5427012 w 7467600"/>
              <a:gd name="connsiteY816" fmla="*/ 311272 h 6858000"/>
              <a:gd name="connsiteX817" fmla="*/ 5147818 w 7467600"/>
              <a:gd name="connsiteY817" fmla="*/ 322112 h 6858000"/>
              <a:gd name="connsiteX818" fmla="*/ 5060854 w 7467600"/>
              <a:gd name="connsiteY818" fmla="*/ 311882 h 6858000"/>
              <a:gd name="connsiteX819" fmla="*/ 4945989 w 7467600"/>
              <a:gd name="connsiteY819" fmla="*/ 300516 h 6858000"/>
              <a:gd name="connsiteX820" fmla="*/ 5410479 w 7467600"/>
              <a:gd name="connsiteY820" fmla="*/ 348434 h 6858000"/>
              <a:gd name="connsiteX821" fmla="*/ 5805386 w 7467600"/>
              <a:gd name="connsiteY821" fmla="*/ 239240 h 6858000"/>
              <a:gd name="connsiteX822" fmla="*/ 5905192 w 7467600"/>
              <a:gd name="connsiteY822" fmla="*/ 163079 h 6858000"/>
              <a:gd name="connsiteX823" fmla="*/ 5865655 w 7467600"/>
              <a:gd name="connsiteY823" fmla="*/ 171901 h 6858000"/>
              <a:gd name="connsiteX824" fmla="*/ 5259740 w 7467600"/>
              <a:gd name="connsiteY824" fmla="*/ 257013 h 6858000"/>
              <a:gd name="connsiteX825" fmla="*/ 5208466 w 7467600"/>
              <a:gd name="connsiteY825" fmla="*/ 257550 h 6858000"/>
              <a:gd name="connsiteX826" fmla="*/ 4980204 w 7467600"/>
              <a:gd name="connsiteY826" fmla="*/ 271903 h 6858000"/>
              <a:gd name="connsiteX827" fmla="*/ 5068068 w 7467600"/>
              <a:gd name="connsiteY827" fmla="*/ 282244 h 6858000"/>
              <a:gd name="connsiteX828" fmla="*/ 5153231 w 7467600"/>
              <a:gd name="connsiteY828" fmla="*/ 292240 h 6858000"/>
              <a:gd name="connsiteX829" fmla="*/ 5426491 w 7467600"/>
              <a:gd name="connsiteY829" fmla="*/ 281128 h 6858000"/>
              <a:gd name="connsiteX830" fmla="*/ 5731212 w 7467600"/>
              <a:gd name="connsiteY830" fmla="*/ 231951 h 6858000"/>
              <a:gd name="connsiteX831" fmla="*/ 5905192 w 7467600"/>
              <a:gd name="connsiteY831" fmla="*/ 163079 h 6858000"/>
              <a:gd name="connsiteX832" fmla="*/ 5944437 w 7467600"/>
              <a:gd name="connsiteY832" fmla="*/ 113829 h 6858000"/>
              <a:gd name="connsiteX833" fmla="*/ 5825032 w 7467600"/>
              <a:gd name="connsiteY833" fmla="*/ 146405 h 6858000"/>
              <a:gd name="connsiteX834" fmla="*/ 4955599 w 7467600"/>
              <a:gd name="connsiteY834" fmla="*/ 247008 h 6858000"/>
              <a:gd name="connsiteX835" fmla="*/ 5210104 w 7467600"/>
              <a:gd name="connsiteY835" fmla="*/ 228123 h 6858000"/>
              <a:gd name="connsiteX836" fmla="*/ 5261015 w 7467600"/>
              <a:gd name="connsiteY836" fmla="*/ 227087 h 6858000"/>
              <a:gd name="connsiteX837" fmla="*/ 5861181 w 7467600"/>
              <a:gd name="connsiteY837" fmla="*/ 143093 h 6858000"/>
              <a:gd name="connsiteX838" fmla="*/ 5961252 w 7467600"/>
              <a:gd name="connsiteY838" fmla="*/ 114820 h 6858000"/>
              <a:gd name="connsiteX839" fmla="*/ 5944437 w 7467600"/>
              <a:gd name="connsiteY839" fmla="*/ 113829 h 6858000"/>
              <a:gd name="connsiteX840" fmla="*/ 3882765 w 7467600"/>
              <a:gd name="connsiteY840" fmla="*/ 0 h 6858000"/>
              <a:gd name="connsiteX841" fmla="*/ 3995099 w 7467600"/>
              <a:gd name="connsiteY841" fmla="*/ 0 h 6858000"/>
              <a:gd name="connsiteX842" fmla="*/ 4163818 w 7467600"/>
              <a:gd name="connsiteY842" fmla="*/ 234104 h 6858000"/>
              <a:gd name="connsiteX843" fmla="*/ 4172099 w 7467600"/>
              <a:gd name="connsiteY843" fmla="*/ 234207 h 6858000"/>
              <a:gd name="connsiteX844" fmla="*/ 4784282 w 7467600"/>
              <a:gd name="connsiteY844" fmla="*/ 276561 h 6858000"/>
              <a:gd name="connsiteX845" fmla="*/ 4801687 w 7467600"/>
              <a:gd name="connsiteY845" fmla="*/ 267764 h 6858000"/>
              <a:gd name="connsiteX846" fmla="*/ 6082788 w 7467600"/>
              <a:gd name="connsiteY846" fmla="*/ 64119 h 6858000"/>
              <a:gd name="connsiteX847" fmla="*/ 6099442 w 7467600"/>
              <a:gd name="connsiteY847" fmla="*/ 82568 h 6858000"/>
              <a:gd name="connsiteX848" fmla="*/ 4804137 w 7467600"/>
              <a:gd name="connsiteY848" fmla="*/ 320931 h 6858000"/>
              <a:gd name="connsiteX849" fmla="*/ 4227047 w 7467600"/>
              <a:gd name="connsiteY849" fmla="*/ 313415 h 6858000"/>
              <a:gd name="connsiteX850" fmla="*/ 4346041 w 7467600"/>
              <a:gd name="connsiteY850" fmla="*/ 456086 h 6858000"/>
              <a:gd name="connsiteX851" fmla="*/ 4870967 w 7467600"/>
              <a:gd name="connsiteY851" fmla="*/ 963061 h 6858000"/>
              <a:gd name="connsiteX852" fmla="*/ 4889647 w 7467600"/>
              <a:gd name="connsiteY852" fmla="*/ 957147 h 6858000"/>
              <a:gd name="connsiteX853" fmla="*/ 5422504 w 7467600"/>
              <a:gd name="connsiteY853" fmla="*/ 805191 h 6858000"/>
              <a:gd name="connsiteX854" fmla="*/ 6087656 w 7467600"/>
              <a:gd name="connsiteY854" fmla="*/ 826703 h 6858000"/>
              <a:gd name="connsiteX855" fmla="*/ 6058717 w 7467600"/>
              <a:gd name="connsiteY855" fmla="*/ 865992 h 6858000"/>
              <a:gd name="connsiteX856" fmla="*/ 4974153 w 7467600"/>
              <a:gd name="connsiteY856" fmla="*/ 1045456 h 6858000"/>
              <a:gd name="connsiteX857" fmla="*/ 5627835 w 7467600"/>
              <a:gd name="connsiteY857" fmla="*/ 1472077 h 6858000"/>
              <a:gd name="connsiteX858" fmla="*/ 5629817 w 7467600"/>
              <a:gd name="connsiteY858" fmla="*/ 1471412 h 6858000"/>
              <a:gd name="connsiteX859" fmla="*/ 5634124 w 7467600"/>
              <a:gd name="connsiteY859" fmla="*/ 1470572 h 6858000"/>
              <a:gd name="connsiteX860" fmla="*/ 5755832 w 7467600"/>
              <a:gd name="connsiteY860" fmla="*/ 1383886 h 6858000"/>
              <a:gd name="connsiteX861" fmla="*/ 6014186 w 7467600"/>
              <a:gd name="connsiteY861" fmla="*/ 1279799 h 6858000"/>
              <a:gd name="connsiteX862" fmla="*/ 6901619 w 7467600"/>
              <a:gd name="connsiteY862" fmla="*/ 1047874 h 6858000"/>
              <a:gd name="connsiteX863" fmla="*/ 6931566 w 7467600"/>
              <a:gd name="connsiteY863" fmla="*/ 1062034 h 6858000"/>
              <a:gd name="connsiteX864" fmla="*/ 5790982 w 7467600"/>
              <a:gd name="connsiteY864" fmla="*/ 1561380 h 6858000"/>
              <a:gd name="connsiteX865" fmla="*/ 6188971 w 7467600"/>
              <a:gd name="connsiteY865" fmla="*/ 1755168 h 6858000"/>
              <a:gd name="connsiteX866" fmla="*/ 6202446 w 7467600"/>
              <a:gd name="connsiteY866" fmla="*/ 1752268 h 6858000"/>
              <a:gd name="connsiteX867" fmla="*/ 7179560 w 7467600"/>
              <a:gd name="connsiteY867" fmla="*/ 1467551 h 6858000"/>
              <a:gd name="connsiteX868" fmla="*/ 7158730 w 7467600"/>
              <a:gd name="connsiteY868" fmla="*/ 1507835 h 6858000"/>
              <a:gd name="connsiteX869" fmla="*/ 6326959 w 7467600"/>
              <a:gd name="connsiteY869" fmla="*/ 1817686 h 6858000"/>
              <a:gd name="connsiteX870" fmla="*/ 6537433 w 7467600"/>
              <a:gd name="connsiteY870" fmla="*/ 1907790 h 6858000"/>
              <a:gd name="connsiteX871" fmla="*/ 6550221 w 7467600"/>
              <a:gd name="connsiteY871" fmla="*/ 1910729 h 6858000"/>
              <a:gd name="connsiteX872" fmla="*/ 6964438 w 7467600"/>
              <a:gd name="connsiteY872" fmla="*/ 2209505 h 6858000"/>
              <a:gd name="connsiteX873" fmla="*/ 7367862 w 7467600"/>
              <a:gd name="connsiteY873" fmla="*/ 2806833 h 6858000"/>
              <a:gd name="connsiteX874" fmla="*/ 7364329 w 7467600"/>
              <a:gd name="connsiteY874" fmla="*/ 2826907 h 6858000"/>
              <a:gd name="connsiteX875" fmla="*/ 7290545 w 7467600"/>
              <a:gd name="connsiteY875" fmla="*/ 2850663 h 6858000"/>
              <a:gd name="connsiteX876" fmla="*/ 6472036 w 7467600"/>
              <a:gd name="connsiteY876" fmla="*/ 1959003 h 6858000"/>
              <a:gd name="connsiteX877" fmla="*/ 5792897 w 7467600"/>
              <a:gd name="connsiteY877" fmla="*/ 1647747 h 6858000"/>
              <a:gd name="connsiteX878" fmla="*/ 5842751 w 7467600"/>
              <a:gd name="connsiteY878" fmla="*/ 1816112 h 6858000"/>
              <a:gd name="connsiteX879" fmla="*/ 5847424 w 7467600"/>
              <a:gd name="connsiteY879" fmla="*/ 1815776 h 6858000"/>
              <a:gd name="connsiteX880" fmla="*/ 6399821 w 7467600"/>
              <a:gd name="connsiteY880" fmla="*/ 2344799 h 6858000"/>
              <a:gd name="connsiteX881" fmla="*/ 6323232 w 7467600"/>
              <a:gd name="connsiteY881" fmla="*/ 2389634 h 6858000"/>
              <a:gd name="connsiteX882" fmla="*/ 5942958 w 7467600"/>
              <a:gd name="connsiteY882" fmla="*/ 2077708 h 6858000"/>
              <a:gd name="connsiteX883" fmla="*/ 5921559 w 7467600"/>
              <a:gd name="connsiteY883" fmla="*/ 2378596 h 6858000"/>
              <a:gd name="connsiteX884" fmla="*/ 5817651 w 7467600"/>
              <a:gd name="connsiteY884" fmla="*/ 3023919 h 6858000"/>
              <a:gd name="connsiteX885" fmla="*/ 5729634 w 7467600"/>
              <a:gd name="connsiteY885" fmla="*/ 3051849 h 6858000"/>
              <a:gd name="connsiteX886" fmla="*/ 5611018 w 7467600"/>
              <a:gd name="connsiteY886" fmla="*/ 2316769 h 6858000"/>
              <a:gd name="connsiteX887" fmla="*/ 5687608 w 7467600"/>
              <a:gd name="connsiteY887" fmla="*/ 2039972 h 6858000"/>
              <a:gd name="connsiteX888" fmla="*/ 5657554 w 7467600"/>
              <a:gd name="connsiteY888" fmla="*/ 1576445 h 6858000"/>
              <a:gd name="connsiteX889" fmla="*/ 5150475 w 7467600"/>
              <a:gd name="connsiteY889" fmla="*/ 1274012 h 6858000"/>
              <a:gd name="connsiteX890" fmla="*/ 5349142 w 7467600"/>
              <a:gd name="connsiteY890" fmla="*/ 2204405 h 6858000"/>
              <a:gd name="connsiteX891" fmla="*/ 5262214 w 7467600"/>
              <a:gd name="connsiteY891" fmla="*/ 2233836 h 6858000"/>
              <a:gd name="connsiteX892" fmla="*/ 4981539 w 7467600"/>
              <a:gd name="connsiteY892" fmla="*/ 1542201 h 6858000"/>
              <a:gd name="connsiteX893" fmla="*/ 4958461 w 7467600"/>
              <a:gd name="connsiteY893" fmla="*/ 1136957 h 6858000"/>
              <a:gd name="connsiteX894" fmla="*/ 4655015 w 7467600"/>
              <a:gd name="connsiteY894" fmla="*/ 891426 h 6858000"/>
              <a:gd name="connsiteX895" fmla="*/ 4348002 w 7467600"/>
              <a:gd name="connsiteY895" fmla="*/ 2205895 h 6858000"/>
              <a:gd name="connsiteX896" fmla="*/ 4262250 w 7467600"/>
              <a:gd name="connsiteY896" fmla="*/ 2219972 h 6858000"/>
              <a:gd name="connsiteX897" fmla="*/ 4550611 w 7467600"/>
              <a:gd name="connsiteY897" fmla="*/ 817540 h 6858000"/>
              <a:gd name="connsiteX898" fmla="*/ 4564418 w 7467600"/>
              <a:gd name="connsiteY898" fmla="*/ 808293 h 6858000"/>
              <a:gd name="connsiteX899" fmla="*/ 4266388 w 7467600"/>
              <a:gd name="connsiteY899" fmla="*/ 500083 h 6858000"/>
              <a:gd name="connsiteX900" fmla="*/ 4032842 w 7467600"/>
              <a:gd name="connsiteY900" fmla="*/ 211809 h 6858000"/>
              <a:gd name="connsiteX901" fmla="*/ 3882765 w 7467600"/>
              <a:gd name="connsiteY901" fmla="*/ 0 h 6858000"/>
              <a:gd name="connsiteX902" fmla="*/ 3721337 w 7467600"/>
              <a:gd name="connsiteY902" fmla="*/ 0 h 6858000"/>
              <a:gd name="connsiteX903" fmla="*/ 3797544 w 7467600"/>
              <a:gd name="connsiteY903" fmla="*/ 0 h 6858000"/>
              <a:gd name="connsiteX904" fmla="*/ 3775734 w 7467600"/>
              <a:gd name="connsiteY904" fmla="*/ 95131 h 6858000"/>
              <a:gd name="connsiteX905" fmla="*/ 3724807 w 7467600"/>
              <a:gd name="connsiteY905" fmla="*/ 272257 h 6858000"/>
              <a:gd name="connsiteX906" fmla="*/ 3726844 w 7467600"/>
              <a:gd name="connsiteY906" fmla="*/ 282988 h 6858000"/>
              <a:gd name="connsiteX907" fmla="*/ 3742664 w 7467600"/>
              <a:gd name="connsiteY907" fmla="*/ 279918 h 6858000"/>
              <a:gd name="connsiteX908" fmla="*/ 4103910 w 7467600"/>
              <a:gd name="connsiteY908" fmla="*/ 1161917 h 6858000"/>
              <a:gd name="connsiteX909" fmla="*/ 4020269 w 7467600"/>
              <a:gd name="connsiteY909" fmla="*/ 1200406 h 6858000"/>
              <a:gd name="connsiteX910" fmla="*/ 3674882 w 7467600"/>
              <a:gd name="connsiteY910" fmla="*/ 488524 h 6858000"/>
              <a:gd name="connsiteX911" fmla="*/ 3132682 w 7467600"/>
              <a:gd name="connsiteY911" fmla="*/ 1072284 h 6858000"/>
              <a:gd name="connsiteX912" fmla="*/ 2716346 w 7467600"/>
              <a:gd name="connsiteY912" fmla="*/ 1276376 h 6858000"/>
              <a:gd name="connsiteX913" fmla="*/ 2716772 w 7467600"/>
              <a:gd name="connsiteY913" fmla="*/ 1255462 h 6858000"/>
              <a:gd name="connsiteX914" fmla="*/ 3471096 w 7467600"/>
              <a:gd name="connsiteY914" fmla="*/ 437072 h 6858000"/>
              <a:gd name="connsiteX915" fmla="*/ 3639057 w 7467600"/>
              <a:gd name="connsiteY915" fmla="*/ 286334 h 6858000"/>
              <a:gd name="connsiteX916" fmla="*/ 3640309 w 7467600"/>
              <a:gd name="connsiteY916" fmla="*/ 284664 h 6858000"/>
              <a:gd name="connsiteX917" fmla="*/ 3646022 w 7467600"/>
              <a:gd name="connsiteY917" fmla="*/ 276711 h 6858000"/>
              <a:gd name="connsiteX918" fmla="*/ 3707943 w 7467600"/>
              <a:gd name="connsiteY918" fmla="*/ 65958 h 6858000"/>
              <a:gd name="connsiteX919" fmla="*/ 3721337 w 7467600"/>
              <a:gd name="connsiteY919" fmla="*/ 0 h 6858000"/>
              <a:gd name="connsiteX920" fmla="*/ 2867960 w 7467600"/>
              <a:gd name="connsiteY920" fmla="*/ 0 h 6858000"/>
              <a:gd name="connsiteX921" fmla="*/ 2926351 w 7467600"/>
              <a:gd name="connsiteY921" fmla="*/ 0 h 6858000"/>
              <a:gd name="connsiteX922" fmla="*/ 2902823 w 7467600"/>
              <a:gd name="connsiteY922" fmla="*/ 262929 h 6858000"/>
              <a:gd name="connsiteX923" fmla="*/ 2940663 w 7467600"/>
              <a:gd name="connsiteY923" fmla="*/ 140884 h 6858000"/>
              <a:gd name="connsiteX924" fmla="*/ 2947039 w 7467600"/>
              <a:gd name="connsiteY924" fmla="*/ 122524 h 6858000"/>
              <a:gd name="connsiteX925" fmla="*/ 2984316 w 7467600"/>
              <a:gd name="connsiteY925" fmla="*/ 0 h 6858000"/>
              <a:gd name="connsiteX926" fmla="*/ 3016114 w 7467600"/>
              <a:gd name="connsiteY926" fmla="*/ 0 h 6858000"/>
              <a:gd name="connsiteX927" fmla="*/ 2979949 w 7467600"/>
              <a:gd name="connsiteY927" fmla="*/ 119274 h 6858000"/>
              <a:gd name="connsiteX928" fmla="*/ 3023879 w 7467600"/>
              <a:gd name="connsiteY928" fmla="*/ 0 h 6858000"/>
              <a:gd name="connsiteX929" fmla="*/ 3105400 w 7467600"/>
              <a:gd name="connsiteY929" fmla="*/ 0 h 6858000"/>
              <a:gd name="connsiteX930" fmla="*/ 3094669 w 7467600"/>
              <a:gd name="connsiteY930" fmla="*/ 30308 h 6858000"/>
              <a:gd name="connsiteX931" fmla="*/ 2901945 w 7467600"/>
              <a:gd name="connsiteY931" fmla="*/ 466538 h 6858000"/>
              <a:gd name="connsiteX932" fmla="*/ 2815209 w 7467600"/>
              <a:gd name="connsiteY932" fmla="*/ 497361 h 6858000"/>
              <a:gd name="connsiteX933" fmla="*/ 2844845 w 7467600"/>
              <a:gd name="connsiteY933" fmla="*/ 127638 h 6858000"/>
              <a:gd name="connsiteX934" fmla="*/ 2867960 w 7467600"/>
              <a:gd name="connsiteY934" fmla="*/ 0 h 6858000"/>
              <a:gd name="connsiteX935" fmla="*/ 1057230 w 7467600"/>
              <a:gd name="connsiteY935" fmla="*/ 0 h 6858000"/>
              <a:gd name="connsiteX936" fmla="*/ 1111003 w 7467600"/>
              <a:gd name="connsiteY936" fmla="*/ 0 h 6858000"/>
              <a:gd name="connsiteX937" fmla="*/ 1125553 w 7467600"/>
              <a:gd name="connsiteY937" fmla="*/ 52588 h 6858000"/>
              <a:gd name="connsiteX938" fmla="*/ 1304276 w 7467600"/>
              <a:gd name="connsiteY938" fmla="*/ 476275 h 6858000"/>
              <a:gd name="connsiteX939" fmla="*/ 1492066 w 7467600"/>
              <a:gd name="connsiteY939" fmla="*/ 886333 h 6858000"/>
              <a:gd name="connsiteX940" fmla="*/ 1423698 w 7467600"/>
              <a:gd name="connsiteY940" fmla="*/ 710817 h 6858000"/>
              <a:gd name="connsiteX941" fmla="*/ 1357609 w 7467600"/>
              <a:gd name="connsiteY941" fmla="*/ 532892 h 6858000"/>
              <a:gd name="connsiteX942" fmla="*/ 1309550 w 7467600"/>
              <a:gd name="connsiteY942" fmla="*/ 374031 h 6858000"/>
              <a:gd name="connsiteX943" fmla="*/ 1193673 w 7467600"/>
              <a:gd name="connsiteY943" fmla="*/ 49533 h 6858000"/>
              <a:gd name="connsiteX944" fmla="*/ 1164391 w 7467600"/>
              <a:gd name="connsiteY944" fmla="*/ 0 h 6858000"/>
              <a:gd name="connsiteX945" fmla="*/ 1200666 w 7467600"/>
              <a:gd name="connsiteY945" fmla="*/ 0 h 6858000"/>
              <a:gd name="connsiteX946" fmla="*/ 1223408 w 7467600"/>
              <a:gd name="connsiteY946" fmla="*/ 38996 h 6858000"/>
              <a:gd name="connsiteX947" fmla="*/ 1339635 w 7467600"/>
              <a:gd name="connsiteY947" fmla="*/ 365517 h 6858000"/>
              <a:gd name="connsiteX948" fmla="*/ 1387469 w 7467600"/>
              <a:gd name="connsiteY948" fmla="*/ 523079 h 6858000"/>
              <a:gd name="connsiteX949" fmla="*/ 1452685 w 7467600"/>
              <a:gd name="connsiteY949" fmla="*/ 699806 h 6858000"/>
              <a:gd name="connsiteX950" fmla="*/ 1492092 w 7467600"/>
              <a:gd name="connsiteY950" fmla="*/ 800424 h 6858000"/>
              <a:gd name="connsiteX951" fmla="*/ 1455302 w 7467600"/>
              <a:gd name="connsiteY951" fmla="*/ 632913 h 6858000"/>
              <a:gd name="connsiteX952" fmla="*/ 1222336 w 7467600"/>
              <a:gd name="connsiteY952" fmla="*/ 9480 h 6858000"/>
              <a:gd name="connsiteX953" fmla="*/ 1214634 w 7467600"/>
              <a:gd name="connsiteY953" fmla="*/ 0 h 6858000"/>
              <a:gd name="connsiteX954" fmla="*/ 1289827 w 7467600"/>
              <a:gd name="connsiteY954" fmla="*/ 0 h 6858000"/>
              <a:gd name="connsiteX955" fmla="*/ 1321076 w 7467600"/>
              <a:gd name="connsiteY955" fmla="*/ 59722 h 6858000"/>
              <a:gd name="connsiteX956" fmla="*/ 1512579 w 7467600"/>
              <a:gd name="connsiteY956" fmla="*/ 626441 h 6858000"/>
              <a:gd name="connsiteX957" fmla="*/ 1506076 w 7467600"/>
              <a:gd name="connsiteY957" fmla="*/ 1089289 h 6858000"/>
              <a:gd name="connsiteX958" fmla="*/ 1486346 w 7467600"/>
              <a:gd name="connsiteY958" fmla="*/ 1079919 h 6858000"/>
              <a:gd name="connsiteX959" fmla="*/ 1070511 w 7467600"/>
              <a:gd name="connsiteY959" fmla="*/ 48609 h 6858000"/>
              <a:gd name="connsiteX960" fmla="*/ 1057230 w 7467600"/>
              <a:gd name="connsiteY960" fmla="*/ 0 h 6858000"/>
              <a:gd name="connsiteX961" fmla="*/ 43151 w 7467600"/>
              <a:gd name="connsiteY961" fmla="*/ 0 h 6858000"/>
              <a:gd name="connsiteX962" fmla="*/ 95283 w 7467600"/>
              <a:gd name="connsiteY962" fmla="*/ 0 h 6858000"/>
              <a:gd name="connsiteX963" fmla="*/ 300708 w 7467600"/>
              <a:gd name="connsiteY963" fmla="*/ 154571 h 6858000"/>
              <a:gd name="connsiteX964" fmla="*/ 530414 w 7467600"/>
              <a:gd name="connsiteY964" fmla="*/ 354673 h 6858000"/>
              <a:gd name="connsiteX965" fmla="*/ 333785 w 7467600"/>
              <a:gd name="connsiteY965" fmla="*/ 161564 h 6858000"/>
              <a:gd name="connsiteX966" fmla="*/ 147005 w 7467600"/>
              <a:gd name="connsiteY966" fmla="*/ 0 h 6858000"/>
              <a:gd name="connsiteX967" fmla="*/ 272509 w 7467600"/>
              <a:gd name="connsiteY967" fmla="*/ 0 h 6858000"/>
              <a:gd name="connsiteX968" fmla="*/ 326276 w 7467600"/>
              <a:gd name="connsiteY968" fmla="*/ 45847 h 6858000"/>
              <a:gd name="connsiteX969" fmla="*/ 823759 w 7467600"/>
              <a:gd name="connsiteY969" fmla="*/ 574145 h 6858000"/>
              <a:gd name="connsiteX970" fmla="*/ 811254 w 7467600"/>
              <a:gd name="connsiteY970" fmla="*/ 665546 h 6858000"/>
              <a:gd name="connsiteX971" fmla="*/ 154042 w 7467600"/>
              <a:gd name="connsiteY971" fmla="*/ 261522 h 6858000"/>
              <a:gd name="connsiteX972" fmla="*/ 13550 w 7467600"/>
              <a:gd name="connsiteY972" fmla="*/ 158423 h 6858000"/>
              <a:gd name="connsiteX973" fmla="*/ 0 w 7467600"/>
              <a:gd name="connsiteY973" fmla="*/ 146618 h 6858000"/>
              <a:gd name="connsiteX974" fmla="*/ 0 w 7467600"/>
              <a:gd name="connsiteY974" fmla="*/ 59161 h 6858000"/>
              <a:gd name="connsiteX975" fmla="*/ 45427 w 7467600"/>
              <a:gd name="connsiteY975" fmla="*/ 101078 h 6858000"/>
              <a:gd name="connsiteX976" fmla="*/ 630103 w 7467600"/>
              <a:gd name="connsiteY976" fmla="*/ 485885 h 6858000"/>
              <a:gd name="connsiteX977" fmla="*/ 532040 w 7467600"/>
              <a:gd name="connsiteY977" fmla="*/ 399359 h 6858000"/>
              <a:gd name="connsiteX978" fmla="*/ 517618 w 7467600"/>
              <a:gd name="connsiteY978" fmla="*/ 385726 h 6858000"/>
              <a:gd name="connsiteX979" fmla="*/ 285074 w 7467600"/>
              <a:gd name="connsiteY979" fmla="*/ 182755 h 6858000"/>
              <a:gd name="connsiteX980" fmla="*/ 43151 w 7467600"/>
              <a:gd name="connsiteY980"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271814 w 7467600"/>
              <a:gd name="connsiteY16" fmla="*/ 6684601 h 6858000"/>
              <a:gd name="connsiteX17" fmla="*/ 7392158 w 7467600"/>
              <a:gd name="connsiteY17" fmla="*/ 6771365 h 6858000"/>
              <a:gd name="connsiteX18" fmla="*/ 7467600 w 7467600"/>
              <a:gd name="connsiteY18" fmla="*/ 6805948 h 6858000"/>
              <a:gd name="connsiteX19" fmla="*/ 7467600 w 7467600"/>
              <a:gd name="connsiteY19" fmla="*/ 6831490 h 6858000"/>
              <a:gd name="connsiteX20" fmla="*/ 7410696 w 7467600"/>
              <a:gd name="connsiteY20" fmla="*/ 6803861 h 6858000"/>
              <a:gd name="connsiteX21" fmla="*/ 7088673 w 7467600"/>
              <a:gd name="connsiteY21" fmla="*/ 6610396 h 6858000"/>
              <a:gd name="connsiteX22" fmla="*/ 1019354 w 7467600"/>
              <a:gd name="connsiteY22" fmla="*/ 6315006 h 6858000"/>
              <a:gd name="connsiteX23" fmla="*/ 441046 w 7467600"/>
              <a:gd name="connsiteY23" fmla="*/ 6691153 h 6858000"/>
              <a:gd name="connsiteX24" fmla="*/ 1019354 w 7467600"/>
              <a:gd name="connsiteY24" fmla="*/ 6315006 h 6858000"/>
              <a:gd name="connsiteX25" fmla="*/ 991680 w 7467600"/>
              <a:gd name="connsiteY25" fmla="*/ 6298413 h 6858000"/>
              <a:gd name="connsiteX26" fmla="*/ 409060 w 7467600"/>
              <a:gd name="connsiteY26" fmla="*/ 6671470 h 6858000"/>
              <a:gd name="connsiteX27" fmla="*/ 991680 w 7467600"/>
              <a:gd name="connsiteY27" fmla="*/ 6298413 h 6858000"/>
              <a:gd name="connsiteX28" fmla="*/ 103333 w 7467600"/>
              <a:gd name="connsiteY28" fmla="*/ 5699602 h 6858000"/>
              <a:gd name="connsiteX29" fmla="*/ 233938 w 7467600"/>
              <a:gd name="connsiteY29" fmla="*/ 5809416 h 6858000"/>
              <a:gd name="connsiteX30" fmla="*/ 883580 w 7467600"/>
              <a:gd name="connsiteY30" fmla="*/ 6180710 h 6858000"/>
              <a:gd name="connsiteX31" fmla="*/ 487337 w 7467600"/>
              <a:gd name="connsiteY31" fmla="*/ 5950182 h 6858000"/>
              <a:gd name="connsiteX32" fmla="*/ 354051 w 7467600"/>
              <a:gd name="connsiteY32" fmla="*/ 5854912 h 6858000"/>
              <a:gd name="connsiteX33" fmla="*/ 195436 w 7467600"/>
              <a:gd name="connsiteY33" fmla="*/ 5755068 h 6858000"/>
              <a:gd name="connsiteX34" fmla="*/ 103333 w 7467600"/>
              <a:gd name="connsiteY34" fmla="*/ 5699602 h 6858000"/>
              <a:gd name="connsiteX35" fmla="*/ 5539432 w 7467600"/>
              <a:gd name="connsiteY35" fmla="*/ 5642928 h 6858000"/>
              <a:gd name="connsiteX36" fmla="*/ 5555462 w 7467600"/>
              <a:gd name="connsiteY36" fmla="*/ 5694454 h 6858000"/>
              <a:gd name="connsiteX37" fmla="*/ 5828270 w 7467600"/>
              <a:gd name="connsiteY37" fmla="*/ 6320663 h 6858000"/>
              <a:gd name="connsiteX38" fmla="*/ 5947416 w 7467600"/>
              <a:gd name="connsiteY38" fmla="*/ 6574846 h 6858000"/>
              <a:gd name="connsiteX39" fmla="*/ 5539432 w 7467600"/>
              <a:gd name="connsiteY39" fmla="*/ 5642928 h 6858000"/>
              <a:gd name="connsiteX40" fmla="*/ 51253 w 7467600"/>
              <a:gd name="connsiteY40" fmla="*/ 5631825 h 6858000"/>
              <a:gd name="connsiteX41" fmla="*/ 211622 w 7467600"/>
              <a:gd name="connsiteY41" fmla="*/ 5728803 h 6858000"/>
              <a:gd name="connsiteX42" fmla="*/ 371652 w 7467600"/>
              <a:gd name="connsiteY42" fmla="*/ 5829062 h 6858000"/>
              <a:gd name="connsiteX43" fmla="*/ 505903 w 7467600"/>
              <a:gd name="connsiteY43" fmla="*/ 5925221 h 6858000"/>
              <a:gd name="connsiteX44" fmla="*/ 899240 w 7467600"/>
              <a:gd name="connsiteY44" fmla="*/ 6153068 h 6858000"/>
              <a:gd name="connsiteX45" fmla="*/ 988114 w 7467600"/>
              <a:gd name="connsiteY45" fmla="*/ 6174204 h 6858000"/>
              <a:gd name="connsiteX46" fmla="*/ 845971 w 7467600"/>
              <a:gd name="connsiteY46" fmla="*/ 6067177 h 6858000"/>
              <a:gd name="connsiteX47" fmla="*/ 448057 w 7467600"/>
              <a:gd name="connsiteY47" fmla="*/ 5841376 h 6858000"/>
              <a:gd name="connsiteX48" fmla="*/ 51253 w 7467600"/>
              <a:gd name="connsiteY48" fmla="*/ 5631825 h 6858000"/>
              <a:gd name="connsiteX49" fmla="*/ 2606687 w 7467600"/>
              <a:gd name="connsiteY49" fmla="*/ 5630718 h 6858000"/>
              <a:gd name="connsiteX50" fmla="*/ 2645658 w 7467600"/>
              <a:gd name="connsiteY50" fmla="*/ 6640259 h 6858000"/>
              <a:gd name="connsiteX51" fmla="*/ 2606687 w 7467600"/>
              <a:gd name="connsiteY51" fmla="*/ 5630718 h 6858000"/>
              <a:gd name="connsiteX52" fmla="*/ 3642057 w 7467600"/>
              <a:gd name="connsiteY52" fmla="*/ 5573487 h 6858000"/>
              <a:gd name="connsiteX53" fmla="*/ 3632981 w 7467600"/>
              <a:gd name="connsiteY53" fmla="*/ 5579437 h 6858000"/>
              <a:gd name="connsiteX54" fmla="*/ 3382436 w 7467600"/>
              <a:gd name="connsiteY54" fmla="*/ 5952726 h 6858000"/>
              <a:gd name="connsiteX55" fmla="*/ 3191929 w 7467600"/>
              <a:gd name="connsiteY55" fmla="*/ 6662669 h 6858000"/>
              <a:gd name="connsiteX56" fmla="*/ 3369898 w 7467600"/>
              <a:gd name="connsiteY56" fmla="*/ 6081771 h 6858000"/>
              <a:gd name="connsiteX57" fmla="*/ 3642057 w 7467600"/>
              <a:gd name="connsiteY57" fmla="*/ 5573487 h 6858000"/>
              <a:gd name="connsiteX58" fmla="*/ 2650666 w 7467600"/>
              <a:gd name="connsiteY58" fmla="*/ 5530686 h 6858000"/>
              <a:gd name="connsiteX59" fmla="*/ 2650249 w 7467600"/>
              <a:gd name="connsiteY59" fmla="*/ 5532101 h 6858000"/>
              <a:gd name="connsiteX60" fmla="*/ 2663808 w 7467600"/>
              <a:gd name="connsiteY60" fmla="*/ 6535215 h 6858000"/>
              <a:gd name="connsiteX61" fmla="*/ 2665418 w 7467600"/>
              <a:gd name="connsiteY61" fmla="*/ 6132756 h 6858000"/>
              <a:gd name="connsiteX62" fmla="*/ 2650666 w 7467600"/>
              <a:gd name="connsiteY62" fmla="*/ 5530686 h 6858000"/>
              <a:gd name="connsiteX63" fmla="*/ 2680277 w 7467600"/>
              <a:gd name="connsiteY63" fmla="*/ 5479204 h 6858000"/>
              <a:gd name="connsiteX64" fmla="*/ 2678972 w 7467600"/>
              <a:gd name="connsiteY64" fmla="*/ 5481582 h 6858000"/>
              <a:gd name="connsiteX65" fmla="*/ 2696666 w 7467600"/>
              <a:gd name="connsiteY65" fmla="*/ 6133836 h 6858000"/>
              <a:gd name="connsiteX66" fmla="*/ 2695769 w 7467600"/>
              <a:gd name="connsiteY66" fmla="*/ 6390955 h 6858000"/>
              <a:gd name="connsiteX67" fmla="*/ 2739893 w 7467600"/>
              <a:gd name="connsiteY67" fmla="*/ 6108357 h 6858000"/>
              <a:gd name="connsiteX68" fmla="*/ 2680277 w 7467600"/>
              <a:gd name="connsiteY68" fmla="*/ 5479204 h 6858000"/>
              <a:gd name="connsiteX69" fmla="*/ 1132195 w 7467600"/>
              <a:gd name="connsiteY69" fmla="*/ 5467980 h 6858000"/>
              <a:gd name="connsiteX70" fmla="*/ 1679056 w 7467600"/>
              <a:gd name="connsiteY70" fmla="*/ 5516907 h 6858000"/>
              <a:gd name="connsiteX71" fmla="*/ 2128648 w 7467600"/>
              <a:gd name="connsiteY71" fmla="*/ 5474249 h 6858000"/>
              <a:gd name="connsiteX72" fmla="*/ 1825619 w 7467600"/>
              <a:gd name="connsiteY72" fmla="*/ 5478447 h 6858000"/>
              <a:gd name="connsiteX73" fmla="*/ 1737798 w 7467600"/>
              <a:gd name="connsiteY73" fmla="*/ 5483353 h 6858000"/>
              <a:gd name="connsiteX74" fmla="*/ 1132195 w 7467600"/>
              <a:gd name="connsiteY74" fmla="*/ 5467980 h 6858000"/>
              <a:gd name="connsiteX75" fmla="*/ 6844835 w 7467600"/>
              <a:gd name="connsiteY75" fmla="*/ 5424988 h 6858000"/>
              <a:gd name="connsiteX76" fmla="*/ 6879594 w 7467600"/>
              <a:gd name="connsiteY76" fmla="*/ 5424547 h 6858000"/>
              <a:gd name="connsiteX77" fmla="*/ 7379510 w 7467600"/>
              <a:gd name="connsiteY77" fmla="*/ 5755454 h 6858000"/>
              <a:gd name="connsiteX78" fmla="*/ 7467600 w 7467600"/>
              <a:gd name="connsiteY78" fmla="*/ 5845526 h 6858000"/>
              <a:gd name="connsiteX79" fmla="*/ 7467600 w 7467600"/>
              <a:gd name="connsiteY79" fmla="*/ 5925131 h 6858000"/>
              <a:gd name="connsiteX80" fmla="*/ 7271900 w 7467600"/>
              <a:gd name="connsiteY80" fmla="*/ 5734551 h 6858000"/>
              <a:gd name="connsiteX81" fmla="*/ 7015907 w 7467600"/>
              <a:gd name="connsiteY81" fmla="*/ 5541548 h 6858000"/>
              <a:gd name="connsiteX82" fmla="*/ 7259646 w 7467600"/>
              <a:gd name="connsiteY82" fmla="*/ 5765985 h 6858000"/>
              <a:gd name="connsiteX83" fmla="*/ 7467600 w 7467600"/>
              <a:gd name="connsiteY83" fmla="*/ 5971257 h 6858000"/>
              <a:gd name="connsiteX84" fmla="*/ 7467600 w 7467600"/>
              <a:gd name="connsiteY84" fmla="*/ 6012219 h 6858000"/>
              <a:gd name="connsiteX85" fmla="*/ 7240170 w 7467600"/>
              <a:gd name="connsiteY85" fmla="*/ 5787985 h 6858000"/>
              <a:gd name="connsiteX86" fmla="*/ 6946849 w 7467600"/>
              <a:gd name="connsiteY86" fmla="*/ 5523271 h 6858000"/>
              <a:gd name="connsiteX87" fmla="*/ 6946972 w 7467600"/>
              <a:gd name="connsiteY87" fmla="*/ 5526491 h 6858000"/>
              <a:gd name="connsiteX88" fmla="*/ 7105827 w 7467600"/>
              <a:gd name="connsiteY88" fmla="*/ 5718700 h 6858000"/>
              <a:gd name="connsiteX89" fmla="*/ 7356878 w 7467600"/>
              <a:gd name="connsiteY89" fmla="*/ 5981332 h 6858000"/>
              <a:gd name="connsiteX90" fmla="*/ 7467600 w 7467600"/>
              <a:gd name="connsiteY90" fmla="*/ 6117703 h 6858000"/>
              <a:gd name="connsiteX91" fmla="*/ 7467600 w 7467600"/>
              <a:gd name="connsiteY91" fmla="*/ 6163634 h 6858000"/>
              <a:gd name="connsiteX92" fmla="*/ 7403637 w 7467600"/>
              <a:gd name="connsiteY92" fmla="*/ 6083957 h 6858000"/>
              <a:gd name="connsiteX93" fmla="*/ 7254615 w 7467600"/>
              <a:gd name="connsiteY93" fmla="*/ 5911918 h 6858000"/>
              <a:gd name="connsiteX94" fmla="*/ 7312589 w 7467600"/>
              <a:gd name="connsiteY94" fmla="*/ 5982309 h 6858000"/>
              <a:gd name="connsiteX95" fmla="*/ 7448321 w 7467600"/>
              <a:gd name="connsiteY95" fmla="*/ 6190991 h 6858000"/>
              <a:gd name="connsiteX96" fmla="*/ 7467600 w 7467600"/>
              <a:gd name="connsiteY96" fmla="*/ 6221686 h 6858000"/>
              <a:gd name="connsiteX97" fmla="*/ 7467600 w 7467600"/>
              <a:gd name="connsiteY97" fmla="*/ 6334256 h 6858000"/>
              <a:gd name="connsiteX98" fmla="*/ 7454976 w 7467600"/>
              <a:gd name="connsiteY98" fmla="*/ 6318297 h 6858000"/>
              <a:gd name="connsiteX99" fmla="*/ 7042773 w 7467600"/>
              <a:gd name="connsiteY99" fmla="*/ 5734011 h 6858000"/>
              <a:gd name="connsiteX100" fmla="*/ 6844835 w 7467600"/>
              <a:gd name="connsiteY100" fmla="*/ 5424988 h 6858000"/>
              <a:gd name="connsiteX101" fmla="*/ 1456157 w 7467600"/>
              <a:gd name="connsiteY101" fmla="*/ 5371404 h 6858000"/>
              <a:gd name="connsiteX102" fmla="*/ 1244432 w 7467600"/>
              <a:gd name="connsiteY102" fmla="*/ 5385601 h 6858000"/>
              <a:gd name="connsiteX103" fmla="*/ 973990 w 7467600"/>
              <a:gd name="connsiteY103" fmla="*/ 5424940 h 6858000"/>
              <a:gd name="connsiteX104" fmla="*/ 1103809 w 7467600"/>
              <a:gd name="connsiteY104" fmla="*/ 5433720 h 6858000"/>
              <a:gd name="connsiteX105" fmla="*/ 1123454 w 7467600"/>
              <a:gd name="connsiteY105" fmla="*/ 5435727 h 6858000"/>
              <a:gd name="connsiteX106" fmla="*/ 1737017 w 7467600"/>
              <a:gd name="connsiteY106" fmla="*/ 5452183 h 6858000"/>
              <a:gd name="connsiteX107" fmla="*/ 1824397 w 7467600"/>
              <a:gd name="connsiteY107" fmla="*/ 5447757 h 6858000"/>
              <a:gd name="connsiteX108" fmla="*/ 2070059 w 7467600"/>
              <a:gd name="connsiteY108" fmla="*/ 5441660 h 6858000"/>
              <a:gd name="connsiteX109" fmla="*/ 1456157 w 7467600"/>
              <a:gd name="connsiteY109" fmla="*/ 5371404 h 6858000"/>
              <a:gd name="connsiteX110" fmla="*/ 4988186 w 7467600"/>
              <a:gd name="connsiteY110" fmla="*/ 5216467 h 6858000"/>
              <a:gd name="connsiteX111" fmla="*/ 4777334 w 7467600"/>
              <a:gd name="connsiteY111" fmla="*/ 5406072 h 6858000"/>
              <a:gd name="connsiteX112" fmla="*/ 4718341 w 7467600"/>
              <a:gd name="connsiteY112" fmla="*/ 5468043 h 6858000"/>
              <a:gd name="connsiteX113" fmla="*/ 4604655 w 7467600"/>
              <a:gd name="connsiteY113" fmla="*/ 5583434 h 6858000"/>
              <a:gd name="connsiteX114" fmla="*/ 4565074 w 7467600"/>
              <a:gd name="connsiteY114" fmla="*/ 5618550 h 6858000"/>
              <a:gd name="connsiteX115" fmla="*/ 4988186 w 7467600"/>
              <a:gd name="connsiteY115" fmla="*/ 5216467 h 6858000"/>
              <a:gd name="connsiteX116" fmla="*/ 4978032 w 7467600"/>
              <a:gd name="connsiteY116" fmla="*/ 5183809 h 6858000"/>
              <a:gd name="connsiteX117" fmla="*/ 4463413 w 7467600"/>
              <a:gd name="connsiteY117" fmla="*/ 5615162 h 6858000"/>
              <a:gd name="connsiteX118" fmla="*/ 4358134 w 7467600"/>
              <a:gd name="connsiteY118" fmla="*/ 5742791 h 6858000"/>
              <a:gd name="connsiteX119" fmla="*/ 4376219 w 7467600"/>
              <a:gd name="connsiteY119" fmla="*/ 5729027 h 6858000"/>
              <a:gd name="connsiteX120" fmla="*/ 4582340 w 7467600"/>
              <a:gd name="connsiteY120" fmla="*/ 5561037 h 6858000"/>
              <a:gd name="connsiteX121" fmla="*/ 4694684 w 7467600"/>
              <a:gd name="connsiteY121" fmla="*/ 5447098 h 6858000"/>
              <a:gd name="connsiteX122" fmla="*/ 4754123 w 7467600"/>
              <a:gd name="connsiteY122" fmla="*/ 5384643 h 6858000"/>
              <a:gd name="connsiteX123" fmla="*/ 4978032 w 7467600"/>
              <a:gd name="connsiteY123" fmla="*/ 5183809 h 6858000"/>
              <a:gd name="connsiteX124" fmla="*/ 1903353 w 7467600"/>
              <a:gd name="connsiteY124" fmla="*/ 5044827 h 6858000"/>
              <a:gd name="connsiteX125" fmla="*/ 1936931 w 7467600"/>
              <a:gd name="connsiteY125" fmla="*/ 5093954 h 6858000"/>
              <a:gd name="connsiteX126" fmla="*/ 2195868 w 7467600"/>
              <a:gd name="connsiteY126" fmla="*/ 5396574 h 6858000"/>
              <a:gd name="connsiteX127" fmla="*/ 2088852 w 7467600"/>
              <a:gd name="connsiteY127" fmla="*/ 5166123 h 6858000"/>
              <a:gd name="connsiteX128" fmla="*/ 1958241 w 7467600"/>
              <a:gd name="connsiteY128" fmla="*/ 5067955 h 6858000"/>
              <a:gd name="connsiteX129" fmla="*/ 1903353 w 7467600"/>
              <a:gd name="connsiteY129" fmla="*/ 5044827 h 6858000"/>
              <a:gd name="connsiteX130" fmla="*/ 1979378 w 7467600"/>
              <a:gd name="connsiteY130" fmla="*/ 4769504 h 6858000"/>
              <a:gd name="connsiteX131" fmla="*/ 2882120 w 7467600"/>
              <a:gd name="connsiteY131" fmla="*/ 5064547 h 6858000"/>
              <a:gd name="connsiteX132" fmla="*/ 2793103 w 7467600"/>
              <a:gd name="connsiteY132" fmla="*/ 5039699 h 6858000"/>
              <a:gd name="connsiteX133" fmla="*/ 2770041 w 7467600"/>
              <a:gd name="connsiteY133" fmla="*/ 5033634 h 6858000"/>
              <a:gd name="connsiteX134" fmla="*/ 1979378 w 7467600"/>
              <a:gd name="connsiteY134" fmla="*/ 4769504 h 6858000"/>
              <a:gd name="connsiteX135" fmla="*/ 1927410 w 7467600"/>
              <a:gd name="connsiteY135" fmla="*/ 4716164 h 6858000"/>
              <a:gd name="connsiteX136" fmla="*/ 1959587 w 7467600"/>
              <a:gd name="connsiteY136" fmla="*/ 4728849 h 6858000"/>
              <a:gd name="connsiteX137" fmla="*/ 2777707 w 7467600"/>
              <a:gd name="connsiteY137" fmla="*/ 5003991 h 6858000"/>
              <a:gd name="connsiteX138" fmla="*/ 2800768 w 7467600"/>
              <a:gd name="connsiteY138" fmla="*/ 5010056 h 6858000"/>
              <a:gd name="connsiteX139" fmla="*/ 2879408 w 7467600"/>
              <a:gd name="connsiteY139" fmla="*/ 5031590 h 6858000"/>
              <a:gd name="connsiteX140" fmla="*/ 2862295 w 7467600"/>
              <a:gd name="connsiteY140" fmla="*/ 5022958 h 6858000"/>
              <a:gd name="connsiteX141" fmla="*/ 2813343 w 7467600"/>
              <a:gd name="connsiteY141" fmla="*/ 4998369 h 6858000"/>
              <a:gd name="connsiteX142" fmla="*/ 2646245 w 7467600"/>
              <a:gd name="connsiteY142" fmla="*/ 4930999 h 6858000"/>
              <a:gd name="connsiteX143" fmla="*/ 1999243 w 7467600"/>
              <a:gd name="connsiteY143" fmla="*/ 4730524 h 6858000"/>
              <a:gd name="connsiteX144" fmla="*/ 1979527 w 7467600"/>
              <a:gd name="connsiteY144" fmla="*/ 4726651 h 6858000"/>
              <a:gd name="connsiteX145" fmla="*/ 1927410 w 7467600"/>
              <a:gd name="connsiteY145" fmla="*/ 4716164 h 6858000"/>
              <a:gd name="connsiteX146" fmla="*/ 1997014 w 7467600"/>
              <a:gd name="connsiteY146" fmla="*/ 4698007 h 6858000"/>
              <a:gd name="connsiteX147" fmla="*/ 2005458 w 7467600"/>
              <a:gd name="connsiteY147" fmla="*/ 4699540 h 6858000"/>
              <a:gd name="connsiteX148" fmla="*/ 2657186 w 7467600"/>
              <a:gd name="connsiteY148" fmla="*/ 4901687 h 6858000"/>
              <a:gd name="connsiteX149" fmla="*/ 2826662 w 7467600"/>
              <a:gd name="connsiteY149" fmla="*/ 4970362 h 6858000"/>
              <a:gd name="connsiteX150" fmla="*/ 2876100 w 7467600"/>
              <a:gd name="connsiteY150" fmla="*/ 4995397 h 6858000"/>
              <a:gd name="connsiteX151" fmla="*/ 3042600 w 7467600"/>
              <a:gd name="connsiteY151" fmla="*/ 5059532 h 6858000"/>
              <a:gd name="connsiteX152" fmla="*/ 1997014 w 7467600"/>
              <a:gd name="connsiteY152" fmla="*/ 4698007 h 6858000"/>
              <a:gd name="connsiteX153" fmla="*/ 2305292 w 7467600"/>
              <a:gd name="connsiteY153" fmla="*/ 4219492 h 6858000"/>
              <a:gd name="connsiteX154" fmla="*/ 3360922 w 7467600"/>
              <a:gd name="connsiteY154" fmla="*/ 4529373 h 6858000"/>
              <a:gd name="connsiteX155" fmla="*/ 3492420 w 7467600"/>
              <a:gd name="connsiteY155" fmla="*/ 4510145 h 6858000"/>
              <a:gd name="connsiteX156" fmla="*/ 3364086 w 7467600"/>
              <a:gd name="connsiteY156" fmla="*/ 4480340 h 6858000"/>
              <a:gd name="connsiteX157" fmla="*/ 3225818 w 7467600"/>
              <a:gd name="connsiteY157" fmla="*/ 4411822 h 6858000"/>
              <a:gd name="connsiteX158" fmla="*/ 3129696 w 7467600"/>
              <a:gd name="connsiteY158" fmla="*/ 4360704 h 6858000"/>
              <a:gd name="connsiteX159" fmla="*/ 2814545 w 7467600"/>
              <a:gd name="connsiteY159" fmla="*/ 4282955 h 6858000"/>
              <a:gd name="connsiteX160" fmla="*/ 2305292 w 7467600"/>
              <a:gd name="connsiteY160" fmla="*/ 4219492 h 6858000"/>
              <a:gd name="connsiteX161" fmla="*/ 2626982 w 7467600"/>
              <a:gd name="connsiteY161" fmla="*/ 4206450 h 6858000"/>
              <a:gd name="connsiteX162" fmla="*/ 2490617 w 7467600"/>
              <a:gd name="connsiteY162" fmla="*/ 4206951 h 6858000"/>
              <a:gd name="connsiteX163" fmla="*/ 2819869 w 7467600"/>
              <a:gd name="connsiteY163" fmla="*/ 4252936 h 6858000"/>
              <a:gd name="connsiteX164" fmla="*/ 3143018 w 7467600"/>
              <a:gd name="connsiteY164" fmla="*/ 4332698 h 6858000"/>
              <a:gd name="connsiteX165" fmla="*/ 3241520 w 7467600"/>
              <a:gd name="connsiteY165" fmla="*/ 4385112 h 6858000"/>
              <a:gd name="connsiteX166" fmla="*/ 3374575 w 7467600"/>
              <a:gd name="connsiteY166" fmla="*/ 4451517 h 6858000"/>
              <a:gd name="connsiteX167" fmla="*/ 3505221 w 7467600"/>
              <a:gd name="connsiteY167" fmla="*/ 4480757 h 6858000"/>
              <a:gd name="connsiteX168" fmla="*/ 2626982 w 7467600"/>
              <a:gd name="connsiteY168" fmla="*/ 4206450 h 6858000"/>
              <a:gd name="connsiteX169" fmla="*/ 1310106 w 7467600"/>
              <a:gd name="connsiteY169" fmla="*/ 3943217 h 6858000"/>
              <a:gd name="connsiteX170" fmla="*/ 854994 w 7467600"/>
              <a:gd name="connsiteY170" fmla="*/ 4399136 h 6858000"/>
              <a:gd name="connsiteX171" fmla="*/ 742462 w 7467600"/>
              <a:gd name="connsiteY171" fmla="*/ 4594648 h 6858000"/>
              <a:gd name="connsiteX172" fmla="*/ 820602 w 7467600"/>
              <a:gd name="connsiteY172" fmla="*/ 4485915 h 6858000"/>
              <a:gd name="connsiteX173" fmla="*/ 878295 w 7467600"/>
              <a:gd name="connsiteY173" fmla="*/ 4403594 h 6858000"/>
              <a:gd name="connsiteX174" fmla="*/ 1240607 w 7467600"/>
              <a:gd name="connsiteY174" fmla="*/ 4010401 h 6858000"/>
              <a:gd name="connsiteX175" fmla="*/ 1310106 w 7467600"/>
              <a:gd name="connsiteY175" fmla="*/ 3943217 h 6858000"/>
              <a:gd name="connsiteX176" fmla="*/ 1423113 w 7467600"/>
              <a:gd name="connsiteY176" fmla="*/ 3874565 h 6858000"/>
              <a:gd name="connsiteX177" fmla="*/ 1260565 w 7467600"/>
              <a:gd name="connsiteY177" fmla="*/ 4031982 h 6858000"/>
              <a:gd name="connsiteX178" fmla="*/ 901900 w 7467600"/>
              <a:gd name="connsiteY178" fmla="*/ 4421236 h 6858000"/>
              <a:gd name="connsiteX179" fmla="*/ 845044 w 7467600"/>
              <a:gd name="connsiteY179" fmla="*/ 4502436 h 6858000"/>
              <a:gd name="connsiteX180" fmla="*/ 685926 w 7467600"/>
              <a:gd name="connsiteY180" fmla="*/ 4703069 h 6858000"/>
              <a:gd name="connsiteX181" fmla="*/ 684248 w 7467600"/>
              <a:gd name="connsiteY181" fmla="*/ 4706721 h 6858000"/>
              <a:gd name="connsiteX182" fmla="*/ 1423113 w 7467600"/>
              <a:gd name="connsiteY182" fmla="*/ 3874565 h 6858000"/>
              <a:gd name="connsiteX183" fmla="*/ 3316479 w 7467600"/>
              <a:gd name="connsiteY183" fmla="*/ 3872136 h 6858000"/>
              <a:gd name="connsiteX184" fmla="*/ 3546806 w 7467600"/>
              <a:gd name="connsiteY184" fmla="*/ 4356139 h 6858000"/>
              <a:gd name="connsiteX185" fmla="*/ 3364433 w 7467600"/>
              <a:gd name="connsiteY185" fmla="*/ 3953121 h 6858000"/>
              <a:gd name="connsiteX186" fmla="*/ 3316479 w 7467600"/>
              <a:gd name="connsiteY186" fmla="*/ 3872136 h 6858000"/>
              <a:gd name="connsiteX187" fmla="*/ 3291335 w 7467600"/>
              <a:gd name="connsiteY187" fmla="*/ 3767420 h 6858000"/>
              <a:gd name="connsiteX188" fmla="*/ 3390805 w 7467600"/>
              <a:gd name="connsiteY188" fmla="*/ 3937163 h 6858000"/>
              <a:gd name="connsiteX189" fmla="*/ 3579062 w 7467600"/>
              <a:gd name="connsiteY189" fmla="*/ 4359040 h 6858000"/>
              <a:gd name="connsiteX190" fmla="*/ 3467355 w 7467600"/>
              <a:gd name="connsiteY190" fmla="*/ 3988130 h 6858000"/>
              <a:gd name="connsiteX191" fmla="*/ 3310753 w 7467600"/>
              <a:gd name="connsiteY191" fmla="*/ 3787140 h 6858000"/>
              <a:gd name="connsiteX192" fmla="*/ 3291335 w 7467600"/>
              <a:gd name="connsiteY192" fmla="*/ 3767420 h 6858000"/>
              <a:gd name="connsiteX193" fmla="*/ 1635889 w 7467600"/>
              <a:gd name="connsiteY193" fmla="*/ 3709494 h 6858000"/>
              <a:gd name="connsiteX194" fmla="*/ 1634800 w 7467600"/>
              <a:gd name="connsiteY194" fmla="*/ 3731111 h 6858000"/>
              <a:gd name="connsiteX195" fmla="*/ 1635889 w 7467600"/>
              <a:gd name="connsiteY195" fmla="*/ 3709494 h 6858000"/>
              <a:gd name="connsiteX196" fmla="*/ 1510397 w 7467600"/>
              <a:gd name="connsiteY196" fmla="*/ 3684705 h 6858000"/>
              <a:gd name="connsiteX197" fmla="*/ 1146550 w 7467600"/>
              <a:gd name="connsiteY197" fmla="*/ 3802012 h 6858000"/>
              <a:gd name="connsiteX198" fmla="*/ 698834 w 7467600"/>
              <a:gd name="connsiteY198" fmla="*/ 3952272 h 6858000"/>
              <a:gd name="connsiteX199" fmla="*/ 34256 w 7467600"/>
              <a:gd name="connsiteY199" fmla="*/ 4347603 h 6858000"/>
              <a:gd name="connsiteX200" fmla="*/ 527241 w 7467600"/>
              <a:gd name="connsiteY200" fmla="*/ 4065078 h 6858000"/>
              <a:gd name="connsiteX201" fmla="*/ 1510397 w 7467600"/>
              <a:gd name="connsiteY201" fmla="*/ 3684705 h 6858000"/>
              <a:gd name="connsiteX202" fmla="*/ 1313114 w 7467600"/>
              <a:gd name="connsiteY202" fmla="*/ 3655216 h 6858000"/>
              <a:gd name="connsiteX203" fmla="*/ 1109304 w 7467600"/>
              <a:gd name="connsiteY203" fmla="*/ 3669030 h 6858000"/>
              <a:gd name="connsiteX204" fmla="*/ 8129 w 7467600"/>
              <a:gd name="connsiteY204" fmla="*/ 4330519 h 6858000"/>
              <a:gd name="connsiteX205" fmla="*/ 687572 w 7467600"/>
              <a:gd name="connsiteY205" fmla="*/ 3925629 h 6858000"/>
              <a:gd name="connsiteX206" fmla="*/ 1138365 w 7467600"/>
              <a:gd name="connsiteY206" fmla="*/ 3774515 h 6858000"/>
              <a:gd name="connsiteX207" fmla="*/ 1505579 w 7467600"/>
              <a:gd name="connsiteY207" fmla="*/ 3655526 h 6858000"/>
              <a:gd name="connsiteX208" fmla="*/ 1313114 w 7467600"/>
              <a:gd name="connsiteY208" fmla="*/ 3655216 h 6858000"/>
              <a:gd name="connsiteX209" fmla="*/ 3655073 w 7467600"/>
              <a:gd name="connsiteY209" fmla="*/ 3650884 h 6858000"/>
              <a:gd name="connsiteX210" fmla="*/ 3989938 w 7467600"/>
              <a:gd name="connsiteY210" fmla="*/ 3991685 h 6858000"/>
              <a:gd name="connsiteX211" fmla="*/ 4393907 w 7467600"/>
              <a:gd name="connsiteY211" fmla="*/ 4261258 h 6858000"/>
              <a:gd name="connsiteX212" fmla="*/ 4648051 w 7467600"/>
              <a:gd name="connsiteY212" fmla="*/ 4374051 h 6858000"/>
              <a:gd name="connsiteX213" fmla="*/ 4383389 w 7467600"/>
              <a:gd name="connsiteY213" fmla="*/ 4184369 h 6858000"/>
              <a:gd name="connsiteX214" fmla="*/ 4165508 w 7467600"/>
              <a:gd name="connsiteY214" fmla="*/ 4035196 h 6858000"/>
              <a:gd name="connsiteX215" fmla="*/ 4068162 w 7467600"/>
              <a:gd name="connsiteY215" fmla="*/ 3953394 h 6858000"/>
              <a:gd name="connsiteX216" fmla="*/ 3981416 w 7467600"/>
              <a:gd name="connsiteY216" fmla="*/ 3880482 h 6858000"/>
              <a:gd name="connsiteX217" fmla="*/ 3800147 w 7467600"/>
              <a:gd name="connsiteY217" fmla="*/ 3749872 h 6858000"/>
              <a:gd name="connsiteX218" fmla="*/ 3655073 w 7467600"/>
              <a:gd name="connsiteY218" fmla="*/ 3650884 h 6858000"/>
              <a:gd name="connsiteX219" fmla="*/ 3670252 w 7467600"/>
              <a:gd name="connsiteY219" fmla="*/ 3622798 h 6858000"/>
              <a:gd name="connsiteX220" fmla="*/ 3817258 w 7467600"/>
              <a:gd name="connsiteY220" fmla="*/ 3723577 h 6858000"/>
              <a:gd name="connsiteX221" fmla="*/ 4000461 w 7467600"/>
              <a:gd name="connsiteY221" fmla="*/ 3855966 h 6858000"/>
              <a:gd name="connsiteX222" fmla="*/ 4088180 w 7467600"/>
              <a:gd name="connsiteY222" fmla="*/ 3929774 h 6858000"/>
              <a:gd name="connsiteX223" fmla="*/ 4184555 w 7467600"/>
              <a:gd name="connsiteY223" fmla="*/ 4010683 h 6858000"/>
              <a:gd name="connsiteX224" fmla="*/ 4399563 w 7467600"/>
              <a:gd name="connsiteY224" fmla="*/ 4158106 h 6858000"/>
              <a:gd name="connsiteX225" fmla="*/ 4684469 w 7467600"/>
              <a:gd name="connsiteY225" fmla="*/ 4364680 h 6858000"/>
              <a:gd name="connsiteX226" fmla="*/ 4690271 w 7467600"/>
              <a:gd name="connsiteY226" fmla="*/ 4370034 h 6858000"/>
              <a:gd name="connsiteX227" fmla="*/ 4136093 w 7467600"/>
              <a:gd name="connsiteY227" fmla="*/ 3858466 h 6858000"/>
              <a:gd name="connsiteX228" fmla="*/ 3670252 w 7467600"/>
              <a:gd name="connsiteY228" fmla="*/ 3622798 h 6858000"/>
              <a:gd name="connsiteX229" fmla="*/ 4440129 w 7467600"/>
              <a:gd name="connsiteY229" fmla="*/ 3448571 h 6858000"/>
              <a:gd name="connsiteX230" fmla="*/ 4856525 w 7467600"/>
              <a:gd name="connsiteY230" fmla="*/ 3915351 h 6858000"/>
              <a:gd name="connsiteX231" fmla="*/ 5059055 w 7467600"/>
              <a:gd name="connsiteY231" fmla="*/ 4108918 h 6858000"/>
              <a:gd name="connsiteX232" fmla="*/ 5290070 w 7467600"/>
              <a:gd name="connsiteY232" fmla="*/ 4263619 h 6858000"/>
              <a:gd name="connsiteX233" fmla="*/ 4834991 w 7467600"/>
              <a:gd name="connsiteY233" fmla="*/ 3830985 h 6858000"/>
              <a:gd name="connsiteX234" fmla="*/ 4440129 w 7467600"/>
              <a:gd name="connsiteY234" fmla="*/ 3448571 h 6858000"/>
              <a:gd name="connsiteX235" fmla="*/ 4441737 w 7467600"/>
              <a:gd name="connsiteY235" fmla="*/ 3399734 h 6858000"/>
              <a:gd name="connsiteX236" fmla="*/ 4431236 w 7467600"/>
              <a:gd name="connsiteY236" fmla="*/ 3400954 h 6858000"/>
              <a:gd name="connsiteX237" fmla="*/ 4557150 w 7467600"/>
              <a:gd name="connsiteY237" fmla="*/ 3510023 h 6858000"/>
              <a:gd name="connsiteX238" fmla="*/ 4856936 w 7467600"/>
              <a:gd name="connsiteY238" fmla="*/ 3809146 h 6858000"/>
              <a:gd name="connsiteX239" fmla="*/ 5111996 w 7467600"/>
              <a:gd name="connsiteY239" fmla="*/ 4065759 h 6858000"/>
              <a:gd name="connsiteX240" fmla="*/ 5388878 w 7467600"/>
              <a:gd name="connsiteY240" fmla="*/ 4300185 h 6858000"/>
              <a:gd name="connsiteX241" fmla="*/ 5425556 w 7467600"/>
              <a:gd name="connsiteY241" fmla="*/ 4308967 h 6858000"/>
              <a:gd name="connsiteX242" fmla="*/ 4943646 w 7467600"/>
              <a:gd name="connsiteY242" fmla="*/ 3822916 h 6858000"/>
              <a:gd name="connsiteX243" fmla="*/ 4594837 w 7467600"/>
              <a:gd name="connsiteY243" fmla="*/ 3532274 h 6858000"/>
              <a:gd name="connsiteX244" fmla="*/ 4441737 w 7467600"/>
              <a:gd name="connsiteY244" fmla="*/ 3399734 h 6858000"/>
              <a:gd name="connsiteX245" fmla="*/ 5425834 w 7467600"/>
              <a:gd name="connsiteY245" fmla="*/ 3162785 h 6858000"/>
              <a:gd name="connsiteX246" fmla="*/ 5401644 w 7467600"/>
              <a:gd name="connsiteY246" fmla="*/ 3617847 h 6858000"/>
              <a:gd name="connsiteX247" fmla="*/ 5467256 w 7467600"/>
              <a:gd name="connsiteY247" fmla="*/ 4175494 h 6858000"/>
              <a:gd name="connsiteX248" fmla="*/ 5448069 w 7467600"/>
              <a:gd name="connsiteY248" fmla="*/ 3567554 h 6858000"/>
              <a:gd name="connsiteX249" fmla="*/ 5425834 w 7467600"/>
              <a:gd name="connsiteY249" fmla="*/ 3162785 h 6858000"/>
              <a:gd name="connsiteX250" fmla="*/ 1318687 w 7467600"/>
              <a:gd name="connsiteY250" fmla="*/ 3113840 h 6858000"/>
              <a:gd name="connsiteX251" fmla="*/ 1066793 w 7467600"/>
              <a:gd name="connsiteY251" fmla="*/ 3212171 h 6858000"/>
              <a:gd name="connsiteX252" fmla="*/ 993319 w 7467600"/>
              <a:gd name="connsiteY252" fmla="*/ 3247648 h 6858000"/>
              <a:gd name="connsiteX253" fmla="*/ 853081 w 7467600"/>
              <a:gd name="connsiteY253" fmla="*/ 3312410 h 6858000"/>
              <a:gd name="connsiteX254" fmla="*/ 805957 w 7467600"/>
              <a:gd name="connsiteY254" fmla="*/ 3330443 h 6858000"/>
              <a:gd name="connsiteX255" fmla="*/ 1318687 w 7467600"/>
              <a:gd name="connsiteY255" fmla="*/ 3113840 h 6858000"/>
              <a:gd name="connsiteX256" fmla="*/ 5453702 w 7467600"/>
              <a:gd name="connsiteY256" fmla="*/ 3090882 h 6858000"/>
              <a:gd name="connsiteX257" fmla="*/ 5480135 w 7467600"/>
              <a:gd name="connsiteY257" fmla="*/ 3565802 h 6858000"/>
              <a:gd name="connsiteX258" fmla="*/ 5499023 w 7467600"/>
              <a:gd name="connsiteY258" fmla="*/ 4166310 h 6858000"/>
              <a:gd name="connsiteX259" fmla="*/ 5547022 w 7467600"/>
              <a:gd name="connsiteY259" fmla="*/ 3607838 h 6858000"/>
              <a:gd name="connsiteX260" fmla="*/ 5515964 w 7467600"/>
              <a:gd name="connsiteY260" fmla="*/ 3378541 h 6858000"/>
              <a:gd name="connsiteX261" fmla="*/ 5453702 w 7467600"/>
              <a:gd name="connsiteY261" fmla="*/ 3090882 h 6858000"/>
              <a:gd name="connsiteX262" fmla="*/ 1238695 w 7467600"/>
              <a:gd name="connsiteY262" fmla="*/ 3076820 h 6858000"/>
              <a:gd name="connsiteX263" fmla="*/ 716371 w 7467600"/>
              <a:gd name="connsiteY263" fmla="*/ 3293249 h 6858000"/>
              <a:gd name="connsiteX264" fmla="*/ 579522 w 7467600"/>
              <a:gd name="connsiteY264" fmla="*/ 3371759 h 6858000"/>
              <a:gd name="connsiteX265" fmla="*/ 600288 w 7467600"/>
              <a:gd name="connsiteY265" fmla="*/ 3365555 h 6858000"/>
              <a:gd name="connsiteX266" fmla="*/ 840692 w 7467600"/>
              <a:gd name="connsiteY266" fmla="*/ 3284921 h 6858000"/>
              <a:gd name="connsiteX267" fmla="*/ 979248 w 7467600"/>
              <a:gd name="connsiteY267" fmla="*/ 3221003 h 6858000"/>
              <a:gd name="connsiteX268" fmla="*/ 1053282 w 7467600"/>
              <a:gd name="connsiteY268" fmla="*/ 3185247 h 6858000"/>
              <a:gd name="connsiteX269" fmla="*/ 1320603 w 7467600"/>
              <a:gd name="connsiteY269" fmla="*/ 3081281 h 6858000"/>
              <a:gd name="connsiteX270" fmla="*/ 1238695 w 7467600"/>
              <a:gd name="connsiteY270" fmla="*/ 3076820 h 6858000"/>
              <a:gd name="connsiteX271" fmla="*/ 5425627 w 7467600"/>
              <a:gd name="connsiteY271" fmla="*/ 2954192 h 6858000"/>
              <a:gd name="connsiteX272" fmla="*/ 5470770 w 7467600"/>
              <a:gd name="connsiteY272" fmla="*/ 3005435 h 6858000"/>
              <a:gd name="connsiteX273" fmla="*/ 5519779 w 7467600"/>
              <a:gd name="connsiteY273" fmla="*/ 4359223 h 6858000"/>
              <a:gd name="connsiteX274" fmla="*/ 5520293 w 7467600"/>
              <a:gd name="connsiteY274" fmla="*/ 4360602 h 6858000"/>
              <a:gd name="connsiteX275" fmla="*/ 5767221 w 7467600"/>
              <a:gd name="connsiteY275" fmla="*/ 4665564 h 6858000"/>
              <a:gd name="connsiteX276" fmla="*/ 6937169 w 7467600"/>
              <a:gd name="connsiteY276" fmla="*/ 4815941 h 6858000"/>
              <a:gd name="connsiteX277" fmla="*/ 6953922 w 7467600"/>
              <a:gd name="connsiteY277" fmla="*/ 4890068 h 6858000"/>
              <a:gd name="connsiteX278" fmla="*/ 6071359 w 7467600"/>
              <a:gd name="connsiteY278" fmla="*/ 4770770 h 6858000"/>
              <a:gd name="connsiteX279" fmla="*/ 6038839 w 7467600"/>
              <a:gd name="connsiteY279" fmla="*/ 4764474 h 6858000"/>
              <a:gd name="connsiteX280" fmla="*/ 6038706 w 7467600"/>
              <a:gd name="connsiteY280" fmla="*/ 4763847 h 6858000"/>
              <a:gd name="connsiteX281" fmla="*/ 6037784 w 7467600"/>
              <a:gd name="connsiteY281" fmla="*/ 4764270 h 6858000"/>
              <a:gd name="connsiteX282" fmla="*/ 6038839 w 7467600"/>
              <a:gd name="connsiteY282" fmla="*/ 4764474 h 6858000"/>
              <a:gd name="connsiteX283" fmla="*/ 6040338 w 7467600"/>
              <a:gd name="connsiteY283" fmla="*/ 4771418 h 6858000"/>
              <a:gd name="connsiteX284" fmla="*/ 6024488 w 7467600"/>
              <a:gd name="connsiteY284" fmla="*/ 4809903 h 6858000"/>
              <a:gd name="connsiteX285" fmla="*/ 5599771 w 7467600"/>
              <a:gd name="connsiteY285" fmla="*/ 5509652 h 6858000"/>
              <a:gd name="connsiteX286" fmla="*/ 5548843 w 7467600"/>
              <a:gd name="connsiteY286" fmla="*/ 5563845 h 6858000"/>
              <a:gd name="connsiteX287" fmla="*/ 5940952 w 7467600"/>
              <a:gd name="connsiteY287" fmla="*/ 6250028 h 6858000"/>
              <a:gd name="connsiteX288" fmla="*/ 6043441 w 7467600"/>
              <a:gd name="connsiteY288" fmla="*/ 6665847 h 6858000"/>
              <a:gd name="connsiteX289" fmla="*/ 6093432 w 7467600"/>
              <a:gd name="connsiteY289" fmla="*/ 6858000 h 6858000"/>
              <a:gd name="connsiteX290" fmla="*/ 6034344 w 7467600"/>
              <a:gd name="connsiteY290" fmla="*/ 6858000 h 6858000"/>
              <a:gd name="connsiteX291" fmla="*/ 6026679 w 7467600"/>
              <a:gd name="connsiteY291" fmla="*/ 6836959 h 6858000"/>
              <a:gd name="connsiteX292" fmla="*/ 5800441 w 7467600"/>
              <a:gd name="connsiteY292" fmla="*/ 6335286 h 6858000"/>
              <a:gd name="connsiteX293" fmla="*/ 5526562 w 7467600"/>
              <a:gd name="connsiteY293" fmla="*/ 5705388 h 6858000"/>
              <a:gd name="connsiteX294" fmla="*/ 5519640 w 7467600"/>
              <a:gd name="connsiteY294" fmla="*/ 5683774 h 6858000"/>
              <a:gd name="connsiteX295" fmla="*/ 5844559 w 7467600"/>
              <a:gd name="connsiteY295" fmla="*/ 6553349 h 6858000"/>
              <a:gd name="connsiteX296" fmla="*/ 5975994 w 7467600"/>
              <a:gd name="connsiteY296" fmla="*/ 6858000 h 6858000"/>
              <a:gd name="connsiteX297" fmla="*/ 5898547 w 7467600"/>
              <a:gd name="connsiteY297" fmla="*/ 6858000 h 6858000"/>
              <a:gd name="connsiteX298" fmla="*/ 5682041 w 7467600"/>
              <a:gd name="connsiteY298" fmla="*/ 6355860 h 6858000"/>
              <a:gd name="connsiteX299" fmla="*/ 5461758 w 7467600"/>
              <a:gd name="connsiteY299" fmla="*/ 5820220 h 6858000"/>
              <a:gd name="connsiteX300" fmla="*/ 5237282 w 7467600"/>
              <a:gd name="connsiteY300" fmla="*/ 6579086 h 6858000"/>
              <a:gd name="connsiteX301" fmla="*/ 5115009 w 7467600"/>
              <a:gd name="connsiteY301" fmla="*/ 6858000 h 6858000"/>
              <a:gd name="connsiteX302" fmla="*/ 5028074 w 7467600"/>
              <a:gd name="connsiteY302" fmla="*/ 6858000 h 6858000"/>
              <a:gd name="connsiteX303" fmla="*/ 5079508 w 7467600"/>
              <a:gd name="connsiteY303" fmla="*/ 6749074 h 6858000"/>
              <a:gd name="connsiteX304" fmla="*/ 5371846 w 7467600"/>
              <a:gd name="connsiteY304" fmla="*/ 5924413 h 6858000"/>
              <a:gd name="connsiteX305" fmla="*/ 5270512 w 7467600"/>
              <a:gd name="connsiteY305" fmla="*/ 6138975 h 6858000"/>
              <a:gd name="connsiteX306" fmla="*/ 5062409 w 7467600"/>
              <a:gd name="connsiteY306" fmla="*/ 6653544 h 6858000"/>
              <a:gd name="connsiteX307" fmla="*/ 5036628 w 7467600"/>
              <a:gd name="connsiteY307" fmla="*/ 6754247 h 6858000"/>
              <a:gd name="connsiteX308" fmla="*/ 5009112 w 7467600"/>
              <a:gd name="connsiteY308" fmla="*/ 6858000 h 6858000"/>
              <a:gd name="connsiteX309" fmla="*/ 4976679 w 7467600"/>
              <a:gd name="connsiteY309" fmla="*/ 6858000 h 6858000"/>
              <a:gd name="connsiteX310" fmla="*/ 5006537 w 7467600"/>
              <a:gd name="connsiteY310" fmla="*/ 6747068 h 6858000"/>
              <a:gd name="connsiteX311" fmla="*/ 5032723 w 7467600"/>
              <a:gd name="connsiteY311" fmla="*/ 6644957 h 6858000"/>
              <a:gd name="connsiteX312" fmla="*/ 5242949 w 7467600"/>
              <a:gd name="connsiteY312" fmla="*/ 6125175 h 6858000"/>
              <a:gd name="connsiteX313" fmla="*/ 5286321 w 7467600"/>
              <a:gd name="connsiteY313" fmla="*/ 6033555 h 6858000"/>
              <a:gd name="connsiteX314" fmla="*/ 5008210 w 7467600"/>
              <a:gd name="connsiteY314" fmla="*/ 6649194 h 6858000"/>
              <a:gd name="connsiteX315" fmla="*/ 4986321 w 7467600"/>
              <a:gd name="connsiteY315" fmla="*/ 6765687 h 6858000"/>
              <a:gd name="connsiteX316" fmla="*/ 4973474 w 7467600"/>
              <a:gd name="connsiteY316" fmla="*/ 6858000 h 6858000"/>
              <a:gd name="connsiteX317" fmla="*/ 4907178 w 7467600"/>
              <a:gd name="connsiteY317" fmla="*/ 6858000 h 6858000"/>
              <a:gd name="connsiteX318" fmla="*/ 4910810 w 7467600"/>
              <a:gd name="connsiteY318" fmla="*/ 6829660 h 6858000"/>
              <a:gd name="connsiteX319" fmla="*/ 4987461 w 7467600"/>
              <a:gd name="connsiteY319" fmla="*/ 6432994 h 6858000"/>
              <a:gd name="connsiteX320" fmla="*/ 5179262 w 7467600"/>
              <a:gd name="connsiteY320" fmla="*/ 6035044 h 6858000"/>
              <a:gd name="connsiteX321" fmla="*/ 4689678 w 7467600"/>
              <a:gd name="connsiteY321" fmla="*/ 6440241 h 6858000"/>
              <a:gd name="connsiteX322" fmla="*/ 4477543 w 7467600"/>
              <a:gd name="connsiteY322" fmla="*/ 6674836 h 6858000"/>
              <a:gd name="connsiteX323" fmla="*/ 4329957 w 7467600"/>
              <a:gd name="connsiteY323" fmla="*/ 6858000 h 6858000"/>
              <a:gd name="connsiteX324" fmla="*/ 4218595 w 7467600"/>
              <a:gd name="connsiteY324" fmla="*/ 6858000 h 6858000"/>
              <a:gd name="connsiteX325" fmla="*/ 4368888 w 7467600"/>
              <a:gd name="connsiteY325" fmla="*/ 6668412 h 6858000"/>
              <a:gd name="connsiteX326" fmla="*/ 4563091 w 7467600"/>
              <a:gd name="connsiteY326" fmla="*/ 6442508 h 6858000"/>
              <a:gd name="connsiteX327" fmla="*/ 5387324 w 7467600"/>
              <a:gd name="connsiteY327" fmla="*/ 5705830 h 6858000"/>
              <a:gd name="connsiteX328" fmla="*/ 5073620 w 7467600"/>
              <a:gd name="connsiteY328" fmla="*/ 5955437 h 6858000"/>
              <a:gd name="connsiteX329" fmla="*/ 4689789 w 7467600"/>
              <a:gd name="connsiteY329" fmla="*/ 6268382 h 6858000"/>
              <a:gd name="connsiteX330" fmla="*/ 4418722 w 7467600"/>
              <a:gd name="connsiteY330" fmla="*/ 6570886 h 6858000"/>
              <a:gd name="connsiteX331" fmla="*/ 4214944 w 7467600"/>
              <a:gd name="connsiteY331" fmla="*/ 6858000 h 6858000"/>
              <a:gd name="connsiteX332" fmla="*/ 4177898 w 7467600"/>
              <a:gd name="connsiteY332" fmla="*/ 6858000 h 6858000"/>
              <a:gd name="connsiteX333" fmla="*/ 4391597 w 7467600"/>
              <a:gd name="connsiteY333" fmla="*/ 6556370 h 6858000"/>
              <a:gd name="connsiteX334" fmla="*/ 4668889 w 7467600"/>
              <a:gd name="connsiteY334" fmla="*/ 6246399 h 6858000"/>
              <a:gd name="connsiteX335" fmla="*/ 5055427 w 7467600"/>
              <a:gd name="connsiteY335" fmla="*/ 5931476 h 6858000"/>
              <a:gd name="connsiteX336" fmla="*/ 5371814 w 7467600"/>
              <a:gd name="connsiteY336" fmla="*/ 5678975 h 6858000"/>
              <a:gd name="connsiteX337" fmla="*/ 4987918 w 7467600"/>
              <a:gd name="connsiteY337" fmla="*/ 5838701 h 6858000"/>
              <a:gd name="connsiteX338" fmla="*/ 4317146 w 7467600"/>
              <a:gd name="connsiteY338" fmla="*/ 6587716 h 6858000"/>
              <a:gd name="connsiteX339" fmla="*/ 4171627 w 7467600"/>
              <a:gd name="connsiteY339" fmla="*/ 6858000 h 6858000"/>
              <a:gd name="connsiteX340" fmla="*/ 4081585 w 7467600"/>
              <a:gd name="connsiteY340" fmla="*/ 6858000 h 6858000"/>
              <a:gd name="connsiteX341" fmla="*/ 4238603 w 7467600"/>
              <a:gd name="connsiteY341" fmla="*/ 6559341 h 6858000"/>
              <a:gd name="connsiteX342" fmla="*/ 4778333 w 7467600"/>
              <a:gd name="connsiteY342" fmla="*/ 5873626 h 6858000"/>
              <a:gd name="connsiteX343" fmla="*/ 5414185 w 7467600"/>
              <a:gd name="connsiteY343" fmla="*/ 5573882 h 6858000"/>
              <a:gd name="connsiteX344" fmla="*/ 5959648 w 7467600"/>
              <a:gd name="connsiteY344" fmla="*/ 4760797 h 6858000"/>
              <a:gd name="connsiteX345" fmla="*/ 5355019 w 7467600"/>
              <a:gd name="connsiteY345" fmla="*/ 4734672 h 6858000"/>
              <a:gd name="connsiteX346" fmla="*/ 5083565 w 7467600"/>
              <a:gd name="connsiteY346" fmla="*/ 5179121 h 6858000"/>
              <a:gd name="connsiteX347" fmla="*/ 4713577 w 7467600"/>
              <a:gd name="connsiteY347" fmla="*/ 5616803 h 6858000"/>
              <a:gd name="connsiteX348" fmla="*/ 3989559 w 7467600"/>
              <a:gd name="connsiteY348" fmla="*/ 6145945 h 6858000"/>
              <a:gd name="connsiteX349" fmla="*/ 3939824 w 7467600"/>
              <a:gd name="connsiteY349" fmla="*/ 6066900 h 6858000"/>
              <a:gd name="connsiteX350" fmla="*/ 4584537 w 7467600"/>
              <a:gd name="connsiteY350" fmla="*/ 5324826 h 6858000"/>
              <a:gd name="connsiteX351" fmla="*/ 5037105 w 7467600"/>
              <a:gd name="connsiteY351" fmla="*/ 5088765 h 6858000"/>
              <a:gd name="connsiteX352" fmla="*/ 5039930 w 7467600"/>
              <a:gd name="connsiteY352" fmla="*/ 5089585 h 6858000"/>
              <a:gd name="connsiteX353" fmla="*/ 5263764 w 7467600"/>
              <a:gd name="connsiteY353" fmla="*/ 4735525 h 6858000"/>
              <a:gd name="connsiteX354" fmla="*/ 4086300 w 7467600"/>
              <a:gd name="connsiteY354" fmla="*/ 4884599 h 6858000"/>
              <a:gd name="connsiteX355" fmla="*/ 4085485 w 7467600"/>
              <a:gd name="connsiteY355" fmla="*/ 4899070 h 6858000"/>
              <a:gd name="connsiteX356" fmla="*/ 3871915 w 7467600"/>
              <a:gd name="connsiteY356" fmla="*/ 5253645 h 6858000"/>
              <a:gd name="connsiteX357" fmla="*/ 3799374 w 7467600"/>
              <a:gd name="connsiteY357" fmla="*/ 5466127 h 6858000"/>
              <a:gd name="connsiteX358" fmla="*/ 3498850 w 7467600"/>
              <a:gd name="connsiteY358" fmla="*/ 6661888 h 6858000"/>
              <a:gd name="connsiteX359" fmla="*/ 3399216 w 7467600"/>
              <a:gd name="connsiteY359" fmla="*/ 6858000 h 6858000"/>
              <a:gd name="connsiteX360" fmla="*/ 3303688 w 7467600"/>
              <a:gd name="connsiteY360" fmla="*/ 6858000 h 6858000"/>
              <a:gd name="connsiteX361" fmla="*/ 3391774 w 7467600"/>
              <a:gd name="connsiteY361" fmla="*/ 6697181 h 6858000"/>
              <a:gd name="connsiteX362" fmla="*/ 3735540 w 7467600"/>
              <a:gd name="connsiteY362" fmla="*/ 5546923 h 6858000"/>
              <a:gd name="connsiteX363" fmla="*/ 3729438 w 7467600"/>
              <a:gd name="connsiteY363" fmla="*/ 5569058 h 6858000"/>
              <a:gd name="connsiteX364" fmla="*/ 3707782 w 7467600"/>
              <a:gd name="connsiteY364" fmla="*/ 5644908 h 6858000"/>
              <a:gd name="connsiteX365" fmla="*/ 3583827 w 7467600"/>
              <a:gd name="connsiteY365" fmla="*/ 6039215 h 6858000"/>
              <a:gd name="connsiteX366" fmla="*/ 3547861 w 7467600"/>
              <a:gd name="connsiteY366" fmla="*/ 6129609 h 6858000"/>
              <a:gd name="connsiteX367" fmla="*/ 3490905 w 7467600"/>
              <a:gd name="connsiteY367" fmla="*/ 6277660 h 6858000"/>
              <a:gd name="connsiteX368" fmla="*/ 3455859 w 7467600"/>
              <a:gd name="connsiteY368" fmla="*/ 6391301 h 6858000"/>
              <a:gd name="connsiteX369" fmla="*/ 3429112 w 7467600"/>
              <a:gd name="connsiteY369" fmla="*/ 6479469 h 6858000"/>
              <a:gd name="connsiteX370" fmla="*/ 3304862 w 7467600"/>
              <a:gd name="connsiteY370" fmla="*/ 6796476 h 6858000"/>
              <a:gd name="connsiteX371" fmla="*/ 3276071 w 7467600"/>
              <a:gd name="connsiteY371" fmla="*/ 6858000 h 6858000"/>
              <a:gd name="connsiteX372" fmla="*/ 3240805 w 7467600"/>
              <a:gd name="connsiteY372" fmla="*/ 6858000 h 6858000"/>
              <a:gd name="connsiteX373" fmla="*/ 3275917 w 7467600"/>
              <a:gd name="connsiteY373" fmla="*/ 6783192 h 6858000"/>
              <a:gd name="connsiteX374" fmla="*/ 3399358 w 7467600"/>
              <a:gd name="connsiteY374" fmla="*/ 6469011 h 6858000"/>
              <a:gd name="connsiteX375" fmla="*/ 3425650 w 7467600"/>
              <a:gd name="connsiteY375" fmla="*/ 6381333 h 6858000"/>
              <a:gd name="connsiteX376" fmla="*/ 3460661 w 7467600"/>
              <a:gd name="connsiteY376" fmla="*/ 6266763 h 6858000"/>
              <a:gd name="connsiteX377" fmla="*/ 3518021 w 7467600"/>
              <a:gd name="connsiteY377" fmla="*/ 6117298 h 6858000"/>
              <a:gd name="connsiteX378" fmla="*/ 3554035 w 7467600"/>
              <a:gd name="connsiteY378" fmla="*/ 6027832 h 6858000"/>
              <a:gd name="connsiteX379" fmla="*/ 3677174 w 7467600"/>
              <a:gd name="connsiteY379" fmla="*/ 5636351 h 6858000"/>
              <a:gd name="connsiteX380" fmla="*/ 3698819 w 7467600"/>
              <a:gd name="connsiteY380" fmla="*/ 5560503 h 6858000"/>
              <a:gd name="connsiteX381" fmla="*/ 3702094 w 7467600"/>
              <a:gd name="connsiteY381" fmla="*/ 5549194 h 6858000"/>
              <a:gd name="connsiteX382" fmla="*/ 3398355 w 7467600"/>
              <a:gd name="connsiteY382" fmla="*/ 6094603 h 6858000"/>
              <a:gd name="connsiteX383" fmla="*/ 3193941 w 7467600"/>
              <a:gd name="connsiteY383" fmla="*/ 6798775 h 6858000"/>
              <a:gd name="connsiteX384" fmla="*/ 3184140 w 7467600"/>
              <a:gd name="connsiteY384" fmla="*/ 6858000 h 6858000"/>
              <a:gd name="connsiteX385" fmla="*/ 3099978 w 7467600"/>
              <a:gd name="connsiteY385" fmla="*/ 6858000 h 6858000"/>
              <a:gd name="connsiteX386" fmla="*/ 3101556 w 7467600"/>
              <a:gd name="connsiteY386" fmla="*/ 6843337 h 6858000"/>
              <a:gd name="connsiteX387" fmla="*/ 3370162 w 7467600"/>
              <a:gd name="connsiteY387" fmla="*/ 5785550 h 6858000"/>
              <a:gd name="connsiteX388" fmla="*/ 3746477 w 7467600"/>
              <a:gd name="connsiteY388" fmla="*/ 5377889 h 6858000"/>
              <a:gd name="connsiteX389" fmla="*/ 3863399 w 7467600"/>
              <a:gd name="connsiteY389" fmla="*/ 5087257 h 6858000"/>
              <a:gd name="connsiteX390" fmla="*/ 3968712 w 7467600"/>
              <a:gd name="connsiteY390" fmla="*/ 4913989 h 6858000"/>
              <a:gd name="connsiteX391" fmla="*/ 2792390 w 7467600"/>
              <a:gd name="connsiteY391" fmla="*/ 5382974 h 6858000"/>
              <a:gd name="connsiteX392" fmla="*/ 2714982 w 7467600"/>
              <a:gd name="connsiteY392" fmla="*/ 5427051 h 6858000"/>
              <a:gd name="connsiteX393" fmla="*/ 2813361 w 7467600"/>
              <a:gd name="connsiteY393" fmla="*/ 6023912 h 6858000"/>
              <a:gd name="connsiteX394" fmla="*/ 2688430 w 7467600"/>
              <a:gd name="connsiteY394" fmla="*/ 6801564 h 6858000"/>
              <a:gd name="connsiteX395" fmla="*/ 2629626 w 7467600"/>
              <a:gd name="connsiteY395" fmla="*/ 6763394 h 6858000"/>
              <a:gd name="connsiteX396" fmla="*/ 2565328 w 7467600"/>
              <a:gd name="connsiteY396" fmla="*/ 5516399 h 6858000"/>
              <a:gd name="connsiteX397" fmla="*/ 1922999 w 7467600"/>
              <a:gd name="connsiteY397" fmla="*/ 5980343 h 6858000"/>
              <a:gd name="connsiteX398" fmla="*/ 1950261 w 7467600"/>
              <a:gd name="connsiteY398" fmla="*/ 6405858 h 6858000"/>
              <a:gd name="connsiteX399" fmla="*/ 2365554 w 7467600"/>
              <a:gd name="connsiteY399" fmla="*/ 6759107 h 6858000"/>
              <a:gd name="connsiteX400" fmla="*/ 2424142 w 7467600"/>
              <a:gd name="connsiteY400" fmla="*/ 6858000 h 6858000"/>
              <a:gd name="connsiteX401" fmla="*/ 2395994 w 7467600"/>
              <a:gd name="connsiteY401" fmla="*/ 6858000 h 6858000"/>
              <a:gd name="connsiteX402" fmla="*/ 2392863 w 7467600"/>
              <a:gd name="connsiteY402" fmla="*/ 6852964 h 6858000"/>
              <a:gd name="connsiteX403" fmla="*/ 2017589 w 7467600"/>
              <a:gd name="connsiteY403" fmla="*/ 6493982 h 6858000"/>
              <a:gd name="connsiteX404" fmla="*/ 2147336 w 7467600"/>
              <a:gd name="connsiteY404" fmla="*/ 6594052 h 6858000"/>
              <a:gd name="connsiteX405" fmla="*/ 2207047 w 7467600"/>
              <a:gd name="connsiteY405" fmla="*/ 6654540 h 6858000"/>
              <a:gd name="connsiteX406" fmla="*/ 2299106 w 7467600"/>
              <a:gd name="connsiteY406" fmla="*/ 6778931 h 6858000"/>
              <a:gd name="connsiteX407" fmla="*/ 2314430 w 7467600"/>
              <a:gd name="connsiteY407" fmla="*/ 6801144 h 6858000"/>
              <a:gd name="connsiteX408" fmla="*/ 2352406 w 7467600"/>
              <a:gd name="connsiteY408" fmla="*/ 6858000 h 6858000"/>
              <a:gd name="connsiteX409" fmla="*/ 2314492 w 7467600"/>
              <a:gd name="connsiteY409" fmla="*/ 6858000 h 6858000"/>
              <a:gd name="connsiteX410" fmla="*/ 2288095 w 7467600"/>
              <a:gd name="connsiteY410" fmla="*/ 6818030 h 6858000"/>
              <a:gd name="connsiteX411" fmla="*/ 2272768 w 7467600"/>
              <a:gd name="connsiteY411" fmla="*/ 6795822 h 6858000"/>
              <a:gd name="connsiteX412" fmla="*/ 2182715 w 7467600"/>
              <a:gd name="connsiteY412" fmla="*/ 6675071 h 6858000"/>
              <a:gd name="connsiteX413" fmla="*/ 2032061 w 7467600"/>
              <a:gd name="connsiteY413" fmla="*/ 6541380 h 6858000"/>
              <a:gd name="connsiteX414" fmla="*/ 2257220 w 7467600"/>
              <a:gd name="connsiteY414" fmla="*/ 6826257 h 6858000"/>
              <a:gd name="connsiteX415" fmla="*/ 2281324 w 7467600"/>
              <a:gd name="connsiteY415" fmla="*/ 6858000 h 6858000"/>
              <a:gd name="connsiteX416" fmla="*/ 2242860 w 7467600"/>
              <a:gd name="connsiteY416" fmla="*/ 6858000 h 6858000"/>
              <a:gd name="connsiteX417" fmla="*/ 2232818 w 7467600"/>
              <a:gd name="connsiteY417" fmla="*/ 6844926 h 6858000"/>
              <a:gd name="connsiteX418" fmla="*/ 1990172 w 7467600"/>
              <a:gd name="connsiteY418" fmla="*/ 6542121 h 6858000"/>
              <a:gd name="connsiteX419" fmla="*/ 2124090 w 7467600"/>
              <a:gd name="connsiteY419" fmla="*/ 6761017 h 6858000"/>
              <a:gd name="connsiteX420" fmla="*/ 2200380 w 7467600"/>
              <a:gd name="connsiteY420" fmla="*/ 6858000 h 6858000"/>
              <a:gd name="connsiteX421" fmla="*/ 2147507 w 7467600"/>
              <a:gd name="connsiteY421" fmla="*/ 6858000 h 6858000"/>
              <a:gd name="connsiteX422" fmla="*/ 2070668 w 7467600"/>
              <a:gd name="connsiteY422" fmla="*/ 6761520 h 6858000"/>
              <a:gd name="connsiteX423" fmla="*/ 1975142 w 7467600"/>
              <a:gd name="connsiteY423" fmla="*/ 6585570 h 6858000"/>
              <a:gd name="connsiteX424" fmla="*/ 2050035 w 7467600"/>
              <a:gd name="connsiteY424" fmla="*/ 6813345 h 6858000"/>
              <a:gd name="connsiteX425" fmla="*/ 2063025 w 7467600"/>
              <a:gd name="connsiteY425" fmla="*/ 6858000 h 6858000"/>
              <a:gd name="connsiteX426" fmla="*/ 2021675 w 7467600"/>
              <a:gd name="connsiteY426" fmla="*/ 6858000 h 6858000"/>
              <a:gd name="connsiteX427" fmla="*/ 2019308 w 7467600"/>
              <a:gd name="connsiteY427" fmla="*/ 6847118 h 6858000"/>
              <a:gd name="connsiteX428" fmla="*/ 1938835 w 7467600"/>
              <a:gd name="connsiteY428" fmla="*/ 6551160 h 6858000"/>
              <a:gd name="connsiteX429" fmla="*/ 1953230 w 7467600"/>
              <a:gd name="connsiteY429" fmla="*/ 6759699 h 6858000"/>
              <a:gd name="connsiteX430" fmla="*/ 1956763 w 7467600"/>
              <a:gd name="connsiteY430" fmla="*/ 6778191 h 6858000"/>
              <a:gd name="connsiteX431" fmla="*/ 1967925 w 7467600"/>
              <a:gd name="connsiteY431" fmla="*/ 6858000 h 6858000"/>
              <a:gd name="connsiteX432" fmla="*/ 1936622 w 7467600"/>
              <a:gd name="connsiteY432" fmla="*/ 6858000 h 6858000"/>
              <a:gd name="connsiteX433" fmla="*/ 1926261 w 7467600"/>
              <a:gd name="connsiteY433" fmla="*/ 6784064 h 6858000"/>
              <a:gd name="connsiteX434" fmla="*/ 1922724 w 7467600"/>
              <a:gd name="connsiteY434" fmla="*/ 6765577 h 6858000"/>
              <a:gd name="connsiteX435" fmla="*/ 1904650 w 7467600"/>
              <a:gd name="connsiteY435" fmla="*/ 6639616 h 6858000"/>
              <a:gd name="connsiteX436" fmla="*/ 1885273 w 7467600"/>
              <a:gd name="connsiteY436" fmla="*/ 6858000 h 6858000"/>
              <a:gd name="connsiteX437" fmla="*/ 1854363 w 7467600"/>
              <a:gd name="connsiteY437" fmla="*/ 6858000 h 6858000"/>
              <a:gd name="connsiteX438" fmla="*/ 1880391 w 7467600"/>
              <a:gd name="connsiteY438" fmla="*/ 6603796 h 6858000"/>
              <a:gd name="connsiteX439" fmla="*/ 1818273 w 7467600"/>
              <a:gd name="connsiteY439" fmla="*/ 6715729 h 6858000"/>
              <a:gd name="connsiteX440" fmla="*/ 1794691 w 7467600"/>
              <a:gd name="connsiteY440" fmla="*/ 6843239 h 6858000"/>
              <a:gd name="connsiteX441" fmla="*/ 1794914 w 7467600"/>
              <a:gd name="connsiteY441" fmla="*/ 6858000 h 6858000"/>
              <a:gd name="connsiteX442" fmla="*/ 1746128 w 7467600"/>
              <a:gd name="connsiteY442" fmla="*/ 6858000 h 6858000"/>
              <a:gd name="connsiteX443" fmla="*/ 1753934 w 7467600"/>
              <a:gd name="connsiteY443" fmla="*/ 6724796 h 6858000"/>
              <a:gd name="connsiteX444" fmla="*/ 1792053 w 7467600"/>
              <a:gd name="connsiteY444" fmla="*/ 6572396 h 6858000"/>
              <a:gd name="connsiteX445" fmla="*/ 1862248 w 7467600"/>
              <a:gd name="connsiteY445" fmla="*/ 6266397 h 6858000"/>
              <a:gd name="connsiteX446" fmla="*/ 1862250 w 7467600"/>
              <a:gd name="connsiteY446" fmla="*/ 6033531 h 6858000"/>
              <a:gd name="connsiteX447" fmla="*/ 1211999 w 7467600"/>
              <a:gd name="connsiteY447" fmla="*/ 6683610 h 6858000"/>
              <a:gd name="connsiteX448" fmla="*/ 1213266 w 7467600"/>
              <a:gd name="connsiteY448" fmla="*/ 6691947 h 6858000"/>
              <a:gd name="connsiteX449" fmla="*/ 1203370 w 7467600"/>
              <a:gd name="connsiteY449" fmla="*/ 6850676 h 6858000"/>
              <a:gd name="connsiteX450" fmla="*/ 1203671 w 7467600"/>
              <a:gd name="connsiteY450" fmla="*/ 6858000 h 6858000"/>
              <a:gd name="connsiteX451" fmla="*/ 1143180 w 7467600"/>
              <a:gd name="connsiteY451" fmla="*/ 6858000 h 6858000"/>
              <a:gd name="connsiteX452" fmla="*/ 1142176 w 7467600"/>
              <a:gd name="connsiteY452" fmla="*/ 6766045 h 6858000"/>
              <a:gd name="connsiteX453" fmla="*/ 1067484 w 7467600"/>
              <a:gd name="connsiteY453" fmla="*/ 6858000 h 6858000"/>
              <a:gd name="connsiteX454" fmla="*/ 953928 w 7467600"/>
              <a:gd name="connsiteY454" fmla="*/ 6858000 h 6858000"/>
              <a:gd name="connsiteX455" fmla="*/ 959715 w 7467600"/>
              <a:gd name="connsiteY455" fmla="*/ 6850185 h 6858000"/>
              <a:gd name="connsiteX456" fmla="*/ 1483788 w 7467600"/>
              <a:gd name="connsiteY456" fmla="*/ 6259174 h 6858000"/>
              <a:gd name="connsiteX457" fmla="*/ 1100671 w 7467600"/>
              <a:gd name="connsiteY457" fmla="*/ 6252137 h 6858000"/>
              <a:gd name="connsiteX458" fmla="*/ 1090144 w 7467600"/>
              <a:gd name="connsiteY458" fmla="*/ 6256748 h 6858000"/>
              <a:gd name="connsiteX459" fmla="*/ 1095872 w 7467600"/>
              <a:gd name="connsiteY459" fmla="*/ 6271892 h 6858000"/>
              <a:gd name="connsiteX460" fmla="*/ 262785 w 7467600"/>
              <a:gd name="connsiteY460" fmla="*/ 6845450 h 6858000"/>
              <a:gd name="connsiteX461" fmla="*/ 209968 w 7467600"/>
              <a:gd name="connsiteY461" fmla="*/ 6770713 h 6858000"/>
              <a:gd name="connsiteX462" fmla="*/ 873460 w 7467600"/>
              <a:gd name="connsiteY462" fmla="*/ 6253768 h 6858000"/>
              <a:gd name="connsiteX463" fmla="*/ 192686 w 7467600"/>
              <a:gd name="connsiteY463" fmla="*/ 5849257 h 6858000"/>
              <a:gd name="connsiteX464" fmla="*/ 4696 w 7467600"/>
              <a:gd name="connsiteY464" fmla="*/ 5697668 h 6858000"/>
              <a:gd name="connsiteX465" fmla="*/ 0 w 7467600"/>
              <a:gd name="connsiteY465" fmla="*/ 5689984 h 6858000"/>
              <a:gd name="connsiteX466" fmla="*/ 0 w 7467600"/>
              <a:gd name="connsiteY466" fmla="*/ 5513472 h 6858000"/>
              <a:gd name="connsiteX467" fmla="*/ 174101 w 7467600"/>
              <a:gd name="connsiteY467" fmla="*/ 5620277 h 6858000"/>
              <a:gd name="connsiteX468" fmla="*/ 891800 w 7467600"/>
              <a:gd name="connsiteY468" fmla="*/ 6036935 h 6858000"/>
              <a:gd name="connsiteX469" fmla="*/ 1072219 w 7467600"/>
              <a:gd name="connsiteY469" fmla="*/ 6169443 h 6858000"/>
              <a:gd name="connsiteX470" fmla="*/ 1074117 w 7467600"/>
              <a:gd name="connsiteY470" fmla="*/ 6170301 h 6858000"/>
              <a:gd name="connsiteX471" fmla="*/ 1083114 w 7467600"/>
              <a:gd name="connsiteY471" fmla="*/ 6174131 h 6858000"/>
              <a:gd name="connsiteX472" fmla="*/ 1543010 w 7467600"/>
              <a:gd name="connsiteY472" fmla="*/ 6191140 h 6858000"/>
              <a:gd name="connsiteX473" fmla="*/ 1551080 w 7467600"/>
              <a:gd name="connsiteY473" fmla="*/ 6195006 h 6858000"/>
              <a:gd name="connsiteX474" fmla="*/ 2345443 w 7467600"/>
              <a:gd name="connsiteY474" fmla="*/ 5549882 h 6858000"/>
              <a:gd name="connsiteX475" fmla="*/ 1721499 w 7467600"/>
              <a:gd name="connsiteY475" fmla="*/ 5599969 h 6858000"/>
              <a:gd name="connsiteX476" fmla="*/ 767716 w 7467600"/>
              <a:gd name="connsiteY476" fmla="*/ 5472768 h 6858000"/>
              <a:gd name="connsiteX477" fmla="*/ 722147 w 7467600"/>
              <a:gd name="connsiteY477" fmla="*/ 5393091 h 6858000"/>
              <a:gd name="connsiteX478" fmla="*/ 1485552 w 7467600"/>
              <a:gd name="connsiteY478" fmla="*/ 5313202 h 6858000"/>
              <a:gd name="connsiteX479" fmla="*/ 2143004 w 7467600"/>
              <a:gd name="connsiteY479" fmla="*/ 5402420 h 6858000"/>
              <a:gd name="connsiteX480" fmla="*/ 1933391 w 7467600"/>
              <a:gd name="connsiteY480" fmla="*/ 5156971 h 6858000"/>
              <a:gd name="connsiteX481" fmla="*/ 1827118 w 7467600"/>
              <a:gd name="connsiteY481" fmla="*/ 4968410 h 6858000"/>
              <a:gd name="connsiteX482" fmla="*/ 1837349 w 7467600"/>
              <a:gd name="connsiteY482" fmla="*/ 4956357 h 6858000"/>
              <a:gd name="connsiteX483" fmla="*/ 2162835 w 7467600"/>
              <a:gd name="connsiteY483" fmla="*/ 5187853 h 6858000"/>
              <a:gd name="connsiteX484" fmla="*/ 2257167 w 7467600"/>
              <a:gd name="connsiteY484" fmla="*/ 5462123 h 6858000"/>
              <a:gd name="connsiteX485" fmla="*/ 2261598 w 7467600"/>
              <a:gd name="connsiteY485" fmla="*/ 5467998 h 6858000"/>
              <a:gd name="connsiteX486" fmla="*/ 2437177 w 7467600"/>
              <a:gd name="connsiteY486" fmla="*/ 5479608 h 6858000"/>
              <a:gd name="connsiteX487" fmla="*/ 2445247 w 7467600"/>
              <a:gd name="connsiteY487" fmla="*/ 5483476 h 6858000"/>
              <a:gd name="connsiteX488" fmla="*/ 2743626 w 7467600"/>
              <a:gd name="connsiteY488" fmla="*/ 5304819 h 6858000"/>
              <a:gd name="connsiteX489" fmla="*/ 3048102 w 7467600"/>
              <a:gd name="connsiteY489" fmla="*/ 5150595 h 6858000"/>
              <a:gd name="connsiteX490" fmla="*/ 1799414 w 7467600"/>
              <a:gd name="connsiteY490" fmla="*/ 4694732 h 6858000"/>
              <a:gd name="connsiteX491" fmla="*/ 1771735 w 7467600"/>
              <a:gd name="connsiteY491" fmla="*/ 4619929 h 6858000"/>
              <a:gd name="connsiteX492" fmla="*/ 3104273 w 7467600"/>
              <a:gd name="connsiteY492" fmla="*/ 5076159 h 6858000"/>
              <a:gd name="connsiteX493" fmla="*/ 3113245 w 7467600"/>
              <a:gd name="connsiteY493" fmla="*/ 5090705 h 6858000"/>
              <a:gd name="connsiteX494" fmla="*/ 3126294 w 7467600"/>
              <a:gd name="connsiteY494" fmla="*/ 5114400 h 6858000"/>
              <a:gd name="connsiteX495" fmla="*/ 3937433 w 7467600"/>
              <a:gd name="connsiteY495" fmla="*/ 4830473 h 6858000"/>
              <a:gd name="connsiteX496" fmla="*/ 3590475 w 7467600"/>
              <a:gd name="connsiteY496" fmla="*/ 4597974 h 6858000"/>
              <a:gd name="connsiteX497" fmla="*/ 3100264 w 7467600"/>
              <a:gd name="connsiteY497" fmla="*/ 4579845 h 6858000"/>
              <a:gd name="connsiteX498" fmla="*/ 2183576 w 7467600"/>
              <a:gd name="connsiteY498" fmla="*/ 4227150 h 6858000"/>
              <a:gd name="connsiteX499" fmla="*/ 2151029 w 7467600"/>
              <a:gd name="connsiteY499" fmla="*/ 4146947 h 6858000"/>
              <a:gd name="connsiteX500" fmla="*/ 3563434 w 7467600"/>
              <a:gd name="connsiteY500" fmla="*/ 4469115 h 6858000"/>
              <a:gd name="connsiteX501" fmla="*/ 3177952 w 7467600"/>
              <a:gd name="connsiteY501" fmla="*/ 3657386 h 6858000"/>
              <a:gd name="connsiteX502" fmla="*/ 3189263 w 7467600"/>
              <a:gd name="connsiteY502" fmla="*/ 3625726 h 6858000"/>
              <a:gd name="connsiteX503" fmla="*/ 3560912 w 7467600"/>
              <a:gd name="connsiteY503" fmla="*/ 4079863 h 6858000"/>
              <a:gd name="connsiteX504" fmla="*/ 3626636 w 7467600"/>
              <a:gd name="connsiteY504" fmla="*/ 4512230 h 6858000"/>
              <a:gd name="connsiteX505" fmla="*/ 3653088 w 7467600"/>
              <a:gd name="connsiteY505" fmla="*/ 4521417 h 6858000"/>
              <a:gd name="connsiteX506" fmla="*/ 3988128 w 7467600"/>
              <a:gd name="connsiteY506" fmla="*/ 4817267 h 6858000"/>
              <a:gd name="connsiteX507" fmla="*/ 4830582 w 7467600"/>
              <a:gd name="connsiteY507" fmla="*/ 4676000 h 6858000"/>
              <a:gd name="connsiteX508" fmla="*/ 4830100 w 7467600"/>
              <a:gd name="connsiteY508" fmla="*/ 4675554 h 6858000"/>
              <a:gd name="connsiteX509" fmla="*/ 4036318 w 7467600"/>
              <a:gd name="connsiteY509" fmla="*/ 4147013 h 6858000"/>
              <a:gd name="connsiteX510" fmla="*/ 3432098 w 7467600"/>
              <a:gd name="connsiteY510" fmla="*/ 3537312 h 6858000"/>
              <a:gd name="connsiteX511" fmla="*/ 3446761 w 7467600"/>
              <a:gd name="connsiteY511" fmla="*/ 3461278 h 6858000"/>
              <a:gd name="connsiteX512" fmla="*/ 4419733 w 7467600"/>
              <a:gd name="connsiteY512" fmla="*/ 3963555 h 6858000"/>
              <a:gd name="connsiteX513" fmla="*/ 4781371 w 7467600"/>
              <a:gd name="connsiteY513" fmla="*/ 4458604 h 6858000"/>
              <a:gd name="connsiteX514" fmla="*/ 4780440 w 7467600"/>
              <a:gd name="connsiteY514" fmla="*/ 4470290 h 6858000"/>
              <a:gd name="connsiteX515" fmla="*/ 4898954 w 7467600"/>
              <a:gd name="connsiteY515" fmla="*/ 4662092 h 6858000"/>
              <a:gd name="connsiteX516" fmla="*/ 4900699 w 7467600"/>
              <a:gd name="connsiteY516" fmla="*/ 4670867 h 6858000"/>
              <a:gd name="connsiteX517" fmla="*/ 5714511 w 7467600"/>
              <a:gd name="connsiteY517" fmla="*/ 4663483 h 6858000"/>
              <a:gd name="connsiteX518" fmla="*/ 5464793 w 7467600"/>
              <a:gd name="connsiteY518" fmla="*/ 4393556 h 6858000"/>
              <a:gd name="connsiteX519" fmla="*/ 5461897 w 7467600"/>
              <a:gd name="connsiteY519" fmla="*/ 4390879 h 6858000"/>
              <a:gd name="connsiteX520" fmla="*/ 4294126 w 7467600"/>
              <a:gd name="connsiteY520" fmla="*/ 3303048 h 6858000"/>
              <a:gd name="connsiteX521" fmla="*/ 4305321 w 7467600"/>
              <a:gd name="connsiteY521" fmla="*/ 3256953 h 6858000"/>
              <a:gd name="connsiteX522" fmla="*/ 4949299 w 7467600"/>
              <a:gd name="connsiteY522" fmla="*/ 3766336 h 6858000"/>
              <a:gd name="connsiteX523" fmla="*/ 5291452 w 7467600"/>
              <a:gd name="connsiteY523" fmla="*/ 4076801 h 6858000"/>
              <a:gd name="connsiteX524" fmla="*/ 5434998 w 7467600"/>
              <a:gd name="connsiteY524" fmla="*/ 4254100 h 6858000"/>
              <a:gd name="connsiteX525" fmla="*/ 5351015 w 7467600"/>
              <a:gd name="connsiteY525" fmla="*/ 3760989 h 6858000"/>
              <a:gd name="connsiteX526" fmla="*/ 5413780 w 7467600"/>
              <a:gd name="connsiteY526" fmla="*/ 2966265 h 6858000"/>
              <a:gd name="connsiteX527" fmla="*/ 5425627 w 7467600"/>
              <a:gd name="connsiteY527" fmla="*/ 2954192 h 6858000"/>
              <a:gd name="connsiteX528" fmla="*/ 6604735 w 7467600"/>
              <a:gd name="connsiteY528" fmla="*/ 2041381 h 6858000"/>
              <a:gd name="connsiteX529" fmla="*/ 7204487 w 7467600"/>
              <a:gd name="connsiteY529" fmla="*/ 2742112 h 6858000"/>
              <a:gd name="connsiteX530" fmla="*/ 7131592 w 7467600"/>
              <a:gd name="connsiteY530" fmla="*/ 2672096 h 6858000"/>
              <a:gd name="connsiteX531" fmla="*/ 6996344 w 7467600"/>
              <a:gd name="connsiteY531" fmla="*/ 2518310 h 6858000"/>
              <a:gd name="connsiteX532" fmla="*/ 6735495 w 7467600"/>
              <a:gd name="connsiteY532" fmla="*/ 2196890 h 6858000"/>
              <a:gd name="connsiteX533" fmla="*/ 6721901 w 7467600"/>
              <a:gd name="connsiteY533" fmla="*/ 2179274 h 6858000"/>
              <a:gd name="connsiteX534" fmla="*/ 6604735 w 7467600"/>
              <a:gd name="connsiteY534" fmla="*/ 2041381 h 6858000"/>
              <a:gd name="connsiteX535" fmla="*/ 6591670 w 7467600"/>
              <a:gd name="connsiteY535" fmla="*/ 1988277 h 6858000"/>
              <a:gd name="connsiteX536" fmla="*/ 6747349 w 7467600"/>
              <a:gd name="connsiteY536" fmla="*/ 2160069 h 6858000"/>
              <a:gd name="connsiteX537" fmla="*/ 6760943 w 7467600"/>
              <a:gd name="connsiteY537" fmla="*/ 2177686 h 6858000"/>
              <a:gd name="connsiteX538" fmla="*/ 7021065 w 7467600"/>
              <a:gd name="connsiteY538" fmla="*/ 2498102 h 6858000"/>
              <a:gd name="connsiteX539" fmla="*/ 7155223 w 7467600"/>
              <a:gd name="connsiteY539" fmla="*/ 2650386 h 6858000"/>
              <a:gd name="connsiteX540" fmla="*/ 7203167 w 7467600"/>
              <a:gd name="connsiteY540" fmla="*/ 2697288 h 6858000"/>
              <a:gd name="connsiteX541" fmla="*/ 6937703 w 7467600"/>
              <a:gd name="connsiteY541" fmla="*/ 2321981 h 6858000"/>
              <a:gd name="connsiteX542" fmla="*/ 6591670 w 7467600"/>
              <a:gd name="connsiteY542" fmla="*/ 1988277 h 6858000"/>
              <a:gd name="connsiteX543" fmla="*/ 5798671 w 7467600"/>
              <a:gd name="connsiteY543" fmla="*/ 1981601 h 6858000"/>
              <a:gd name="connsiteX544" fmla="*/ 5754709 w 7467600"/>
              <a:gd name="connsiteY544" fmla="*/ 2071454 h 6858000"/>
              <a:gd name="connsiteX545" fmla="*/ 5763044 w 7467600"/>
              <a:gd name="connsiteY545" fmla="*/ 2842206 h 6858000"/>
              <a:gd name="connsiteX546" fmla="*/ 5764974 w 7467600"/>
              <a:gd name="connsiteY546" fmla="*/ 2799609 h 6858000"/>
              <a:gd name="connsiteX547" fmla="*/ 5767665 w 7467600"/>
              <a:gd name="connsiteY547" fmla="*/ 2666409 h 6858000"/>
              <a:gd name="connsiteX548" fmla="*/ 5763055 w 7467600"/>
              <a:gd name="connsiteY548" fmla="*/ 2579705 h 6858000"/>
              <a:gd name="connsiteX549" fmla="*/ 5758079 w 7467600"/>
              <a:gd name="connsiteY549" fmla="*/ 2492508 h 6858000"/>
              <a:gd name="connsiteX550" fmla="*/ 5779325 w 7467600"/>
              <a:gd name="connsiteY550" fmla="*/ 2197069 h 6858000"/>
              <a:gd name="connsiteX551" fmla="*/ 5798671 w 7467600"/>
              <a:gd name="connsiteY551" fmla="*/ 1981601 h 6858000"/>
              <a:gd name="connsiteX552" fmla="*/ 5829202 w 7467600"/>
              <a:gd name="connsiteY552" fmla="*/ 1971679 h 6858000"/>
              <a:gd name="connsiteX553" fmla="*/ 5809558 w 7467600"/>
              <a:gd name="connsiteY553" fmla="*/ 2198043 h 6858000"/>
              <a:gd name="connsiteX554" fmla="*/ 5788653 w 7467600"/>
              <a:gd name="connsiteY554" fmla="*/ 2489430 h 6858000"/>
              <a:gd name="connsiteX555" fmla="*/ 5793439 w 7467600"/>
              <a:gd name="connsiteY555" fmla="*/ 2575235 h 6858000"/>
              <a:gd name="connsiteX556" fmla="*/ 5796837 w 7467600"/>
              <a:gd name="connsiteY556" fmla="*/ 2637633 h 6858000"/>
              <a:gd name="connsiteX557" fmla="*/ 5818614 w 7467600"/>
              <a:gd name="connsiteY557" fmla="*/ 2473055 h 6858000"/>
              <a:gd name="connsiteX558" fmla="*/ 5829202 w 7467600"/>
              <a:gd name="connsiteY558" fmla="*/ 1971679 h 6858000"/>
              <a:gd name="connsiteX559" fmla="*/ 5911389 w 7467600"/>
              <a:gd name="connsiteY559" fmla="*/ 1898371 h 6858000"/>
              <a:gd name="connsiteX560" fmla="*/ 6237627 w 7467600"/>
              <a:gd name="connsiteY560" fmla="*/ 2231921 h 6858000"/>
              <a:gd name="connsiteX561" fmla="*/ 5911389 w 7467600"/>
              <a:gd name="connsiteY561" fmla="*/ 1898371 h 6858000"/>
              <a:gd name="connsiteX562" fmla="*/ 6944437 w 7467600"/>
              <a:gd name="connsiteY562" fmla="*/ 1575402 h 6858000"/>
              <a:gd name="connsiteX563" fmla="*/ 6304730 w 7467600"/>
              <a:gd name="connsiteY563" fmla="*/ 1766654 h 6858000"/>
              <a:gd name="connsiteX564" fmla="*/ 6944437 w 7467600"/>
              <a:gd name="connsiteY564" fmla="*/ 1575402 h 6858000"/>
              <a:gd name="connsiteX565" fmla="*/ 7019523 w 7467600"/>
              <a:gd name="connsiteY565" fmla="*/ 1519450 h 6858000"/>
              <a:gd name="connsiteX566" fmla="*/ 6298091 w 7467600"/>
              <a:gd name="connsiteY566" fmla="*/ 1737122 h 6858000"/>
              <a:gd name="connsiteX567" fmla="*/ 7019523 w 7467600"/>
              <a:gd name="connsiteY567" fmla="*/ 1519450 h 6858000"/>
              <a:gd name="connsiteX568" fmla="*/ 2399523 w 7467600"/>
              <a:gd name="connsiteY568" fmla="*/ 1428234 h 6858000"/>
              <a:gd name="connsiteX569" fmla="*/ 2224982 w 7467600"/>
              <a:gd name="connsiteY569" fmla="*/ 1826201 h 6858000"/>
              <a:gd name="connsiteX570" fmla="*/ 2096099 w 7467600"/>
              <a:gd name="connsiteY570" fmla="*/ 2345900 h 6858000"/>
              <a:gd name="connsiteX571" fmla="*/ 2283317 w 7467600"/>
              <a:gd name="connsiteY571" fmla="*/ 1796925 h 6858000"/>
              <a:gd name="connsiteX572" fmla="*/ 2399523 w 7467600"/>
              <a:gd name="connsiteY572" fmla="*/ 1428234 h 6858000"/>
              <a:gd name="connsiteX573" fmla="*/ 2448558 w 7467600"/>
              <a:gd name="connsiteY573" fmla="*/ 1373435 h 6858000"/>
              <a:gd name="connsiteX574" fmla="*/ 2312521 w 7467600"/>
              <a:gd name="connsiteY574" fmla="*/ 1806140 h 6858000"/>
              <a:gd name="connsiteX575" fmla="*/ 2127533 w 7467600"/>
              <a:gd name="connsiteY575" fmla="*/ 2348380 h 6858000"/>
              <a:gd name="connsiteX576" fmla="*/ 2358080 w 7467600"/>
              <a:gd name="connsiteY576" fmla="*/ 1866134 h 6858000"/>
              <a:gd name="connsiteX577" fmla="*/ 2407436 w 7467600"/>
              <a:gd name="connsiteY577" fmla="*/ 1651070 h 6858000"/>
              <a:gd name="connsiteX578" fmla="*/ 2448558 w 7467600"/>
              <a:gd name="connsiteY578" fmla="*/ 1373435 h 6858000"/>
              <a:gd name="connsiteX579" fmla="*/ 278707 w 7467600"/>
              <a:gd name="connsiteY579" fmla="*/ 1352270 h 6858000"/>
              <a:gd name="connsiteX580" fmla="*/ 321570 w 7467600"/>
              <a:gd name="connsiteY580" fmla="*/ 1861610 h 6858000"/>
              <a:gd name="connsiteX581" fmla="*/ 294281 w 7467600"/>
              <a:gd name="connsiteY581" fmla="*/ 1440658 h 6858000"/>
              <a:gd name="connsiteX582" fmla="*/ 278707 w 7467600"/>
              <a:gd name="connsiteY582" fmla="*/ 1352270 h 6858000"/>
              <a:gd name="connsiteX583" fmla="*/ 1423821 w 7467600"/>
              <a:gd name="connsiteY583" fmla="*/ 1351958 h 6858000"/>
              <a:gd name="connsiteX584" fmla="*/ 1638521 w 7467600"/>
              <a:gd name="connsiteY584" fmla="*/ 1908470 h 6858000"/>
              <a:gd name="connsiteX585" fmla="*/ 1754199 w 7467600"/>
              <a:gd name="connsiteY585" fmla="*/ 2149284 h 6858000"/>
              <a:gd name="connsiteX586" fmla="*/ 1908359 w 7467600"/>
              <a:gd name="connsiteY586" fmla="*/ 2364988 h 6858000"/>
              <a:gd name="connsiteX587" fmla="*/ 1647661 w 7467600"/>
              <a:gd name="connsiteY587" fmla="*/ 1825945 h 6858000"/>
              <a:gd name="connsiteX588" fmla="*/ 1423821 w 7467600"/>
              <a:gd name="connsiteY588" fmla="*/ 1351958 h 6858000"/>
              <a:gd name="connsiteX589" fmla="*/ 1431890 w 7467600"/>
              <a:gd name="connsiteY589" fmla="*/ 1306475 h 6858000"/>
              <a:gd name="connsiteX590" fmla="*/ 1507597 w 7467600"/>
              <a:gd name="connsiteY590" fmla="*/ 1446132 h 6858000"/>
              <a:gd name="connsiteX591" fmla="*/ 1674586 w 7467600"/>
              <a:gd name="connsiteY591" fmla="*/ 1813832 h 6858000"/>
              <a:gd name="connsiteX592" fmla="*/ 1815950 w 7467600"/>
              <a:gd name="connsiteY592" fmla="*/ 2128564 h 6858000"/>
              <a:gd name="connsiteX593" fmla="*/ 1984242 w 7467600"/>
              <a:gd name="connsiteY593" fmla="*/ 2430829 h 6858000"/>
              <a:gd name="connsiteX594" fmla="*/ 2014023 w 7467600"/>
              <a:gd name="connsiteY594" fmla="*/ 2450995 h 6858000"/>
              <a:gd name="connsiteX595" fmla="*/ 1747337 w 7467600"/>
              <a:gd name="connsiteY595" fmla="*/ 1855264 h 6858000"/>
              <a:gd name="connsiteX596" fmla="*/ 1533749 w 7467600"/>
              <a:gd name="connsiteY596" fmla="*/ 1478656 h 6858000"/>
              <a:gd name="connsiteX597" fmla="*/ 1431890 w 7467600"/>
              <a:gd name="connsiteY597" fmla="*/ 1306475 h 6858000"/>
              <a:gd name="connsiteX598" fmla="*/ 5052692 w 7467600"/>
              <a:gd name="connsiteY598" fmla="*/ 1292994 h 6858000"/>
              <a:gd name="connsiteX599" fmla="*/ 5200661 w 7467600"/>
              <a:gd name="connsiteY599" fmla="*/ 1635186 h 6858000"/>
              <a:gd name="connsiteX600" fmla="*/ 5297138 w 7467600"/>
              <a:gd name="connsiteY600" fmla="*/ 1906351 h 6858000"/>
              <a:gd name="connsiteX601" fmla="*/ 5052692 w 7467600"/>
              <a:gd name="connsiteY601" fmla="*/ 1292994 h 6858000"/>
              <a:gd name="connsiteX602" fmla="*/ 5009948 w 7467600"/>
              <a:gd name="connsiteY602" fmla="*/ 1273619 h 6858000"/>
              <a:gd name="connsiteX603" fmla="*/ 5121777 w 7467600"/>
              <a:gd name="connsiteY603" fmla="*/ 1654213 h 6858000"/>
              <a:gd name="connsiteX604" fmla="*/ 5293545 w 7467600"/>
              <a:gd name="connsiteY604" fmla="*/ 2072247 h 6858000"/>
              <a:gd name="connsiteX605" fmla="*/ 5294042 w 7467600"/>
              <a:gd name="connsiteY605" fmla="*/ 2065019 h 6858000"/>
              <a:gd name="connsiteX606" fmla="*/ 5171936 w 7467600"/>
              <a:gd name="connsiteY606" fmla="*/ 1647613 h 6858000"/>
              <a:gd name="connsiteX607" fmla="*/ 5009948 w 7467600"/>
              <a:gd name="connsiteY607" fmla="*/ 1273619 h 6858000"/>
              <a:gd name="connsiteX608" fmla="*/ 655236 w 7467600"/>
              <a:gd name="connsiteY608" fmla="*/ 1268632 h 6858000"/>
              <a:gd name="connsiteX609" fmla="*/ 839521 w 7467600"/>
              <a:gd name="connsiteY609" fmla="*/ 1685315 h 6858000"/>
              <a:gd name="connsiteX610" fmla="*/ 1109416 w 7467600"/>
              <a:gd name="connsiteY610" fmla="*/ 2061663 h 6858000"/>
              <a:gd name="connsiteX611" fmla="*/ 1298300 w 7467600"/>
              <a:gd name="connsiteY611" fmla="*/ 2247742 h 6858000"/>
              <a:gd name="connsiteX612" fmla="*/ 1125871 w 7467600"/>
              <a:gd name="connsiteY612" fmla="*/ 1989513 h 6858000"/>
              <a:gd name="connsiteX613" fmla="*/ 981574 w 7467600"/>
              <a:gd name="connsiteY613" fmla="*/ 1783157 h 6858000"/>
              <a:gd name="connsiteX614" fmla="*/ 922198 w 7467600"/>
              <a:gd name="connsiteY614" fmla="*/ 1677437 h 6858000"/>
              <a:gd name="connsiteX615" fmla="*/ 869293 w 7467600"/>
              <a:gd name="connsiteY615" fmla="*/ 1583214 h 6858000"/>
              <a:gd name="connsiteX616" fmla="*/ 751431 w 7467600"/>
              <a:gd name="connsiteY616" fmla="*/ 1405731 h 6858000"/>
              <a:gd name="connsiteX617" fmla="*/ 655236 w 7467600"/>
              <a:gd name="connsiteY617" fmla="*/ 1268632 h 6858000"/>
              <a:gd name="connsiteX618" fmla="*/ 6516292 w 7467600"/>
              <a:gd name="connsiteY618" fmla="*/ 1263064 h 6858000"/>
              <a:gd name="connsiteX619" fmla="*/ 5736320 w 7467600"/>
              <a:gd name="connsiteY619" fmla="*/ 1501803 h 6858000"/>
              <a:gd name="connsiteX620" fmla="*/ 6516292 w 7467600"/>
              <a:gd name="connsiteY620" fmla="*/ 1263064 h 6858000"/>
              <a:gd name="connsiteX621" fmla="*/ 291466 w 7467600"/>
              <a:gd name="connsiteY621" fmla="*/ 1250369 h 6858000"/>
              <a:gd name="connsiteX622" fmla="*/ 323180 w 7467600"/>
              <a:gd name="connsiteY622" fmla="*/ 1435283 h 6858000"/>
              <a:gd name="connsiteX623" fmla="*/ 349381 w 7467600"/>
              <a:gd name="connsiteY623" fmla="*/ 1875041 h 6858000"/>
              <a:gd name="connsiteX624" fmla="*/ 374363 w 7467600"/>
              <a:gd name="connsiteY624" fmla="*/ 1506494 h 6858000"/>
              <a:gd name="connsiteX625" fmla="*/ 302168 w 7467600"/>
              <a:gd name="connsiteY625" fmla="*/ 1274495 h 6858000"/>
              <a:gd name="connsiteX626" fmla="*/ 291466 w 7467600"/>
              <a:gd name="connsiteY626" fmla="*/ 1250369 h 6858000"/>
              <a:gd name="connsiteX627" fmla="*/ 678222 w 7467600"/>
              <a:gd name="connsiteY627" fmla="*/ 1248670 h 6858000"/>
              <a:gd name="connsiteX628" fmla="*/ 775536 w 7467600"/>
              <a:gd name="connsiteY628" fmla="*/ 1388015 h 6858000"/>
              <a:gd name="connsiteX629" fmla="*/ 894529 w 7467600"/>
              <a:gd name="connsiteY629" fmla="*/ 1567739 h 6858000"/>
              <a:gd name="connsiteX630" fmla="*/ 948000 w 7467600"/>
              <a:gd name="connsiteY630" fmla="*/ 1663088 h 6858000"/>
              <a:gd name="connsiteX631" fmla="*/ 1006812 w 7467600"/>
              <a:gd name="connsiteY631" fmla="*/ 1767683 h 6858000"/>
              <a:gd name="connsiteX632" fmla="*/ 1149133 w 7467600"/>
              <a:gd name="connsiteY632" fmla="*/ 1971513 h 6858000"/>
              <a:gd name="connsiteX633" fmla="*/ 1333952 w 7467600"/>
              <a:gd name="connsiteY633" fmla="*/ 2251620 h 6858000"/>
              <a:gd name="connsiteX634" fmla="*/ 1337329 w 7467600"/>
              <a:gd name="connsiteY634" fmla="*/ 2258350 h 6858000"/>
              <a:gd name="connsiteX635" fmla="*/ 1014726 w 7467600"/>
              <a:gd name="connsiteY635" fmla="*/ 1615556 h 6858000"/>
              <a:gd name="connsiteX636" fmla="*/ 678222 w 7467600"/>
              <a:gd name="connsiteY636" fmla="*/ 1248670 h 6858000"/>
              <a:gd name="connsiteX637" fmla="*/ 6691602 w 7467600"/>
              <a:gd name="connsiteY637" fmla="*/ 1140573 h 6858000"/>
              <a:gd name="connsiteX638" fmla="*/ 6571100 w 7467600"/>
              <a:gd name="connsiteY638" fmla="*/ 1183662 h 6858000"/>
              <a:gd name="connsiteX639" fmla="*/ 6241687 w 7467600"/>
              <a:gd name="connsiteY639" fmla="*/ 1257600 h 6858000"/>
              <a:gd name="connsiteX640" fmla="*/ 5693009 w 7467600"/>
              <a:gd name="connsiteY640" fmla="*/ 1478256 h 6858000"/>
              <a:gd name="connsiteX641" fmla="*/ 6548420 w 7467600"/>
              <a:gd name="connsiteY641" fmla="*/ 1214599 h 6858000"/>
              <a:gd name="connsiteX642" fmla="*/ 6605473 w 7467600"/>
              <a:gd name="connsiteY642" fmla="*/ 1184686 h 6858000"/>
              <a:gd name="connsiteX643" fmla="*/ 6691602 w 7467600"/>
              <a:gd name="connsiteY643" fmla="*/ 1140573 h 6858000"/>
              <a:gd name="connsiteX644" fmla="*/ 4002475 w 7467600"/>
              <a:gd name="connsiteY644" fmla="*/ 1037802 h 6858000"/>
              <a:gd name="connsiteX645" fmla="*/ 4000324 w 7467600"/>
              <a:gd name="connsiteY645" fmla="*/ 1039362 h 6858000"/>
              <a:gd name="connsiteX646" fmla="*/ 4002862 w 7467600"/>
              <a:gd name="connsiteY646" fmla="*/ 1042866 h 6858000"/>
              <a:gd name="connsiteX647" fmla="*/ 4002475 w 7467600"/>
              <a:gd name="connsiteY647" fmla="*/ 1037802 h 6858000"/>
              <a:gd name="connsiteX648" fmla="*/ 506322 w 7467600"/>
              <a:gd name="connsiteY648" fmla="*/ 1020997 h 6858000"/>
              <a:gd name="connsiteX649" fmla="*/ 533068 w 7467600"/>
              <a:gd name="connsiteY649" fmla="*/ 1029409 h 6858000"/>
              <a:gd name="connsiteX650" fmla="*/ 1232525 w 7467600"/>
              <a:gd name="connsiteY650" fmla="*/ 1804675 h 6858000"/>
              <a:gd name="connsiteX651" fmla="*/ 1388858 w 7467600"/>
              <a:gd name="connsiteY651" fmla="*/ 2368011 h 6858000"/>
              <a:gd name="connsiteX652" fmla="*/ 1384098 w 7467600"/>
              <a:gd name="connsiteY652" fmla="*/ 2378125 h 6858000"/>
              <a:gd name="connsiteX653" fmla="*/ 1425393 w 7467600"/>
              <a:gd name="connsiteY653" fmla="*/ 2589124 h 6858000"/>
              <a:gd name="connsiteX654" fmla="*/ 1424001 w 7467600"/>
              <a:gd name="connsiteY654" fmla="*/ 2597541 h 6858000"/>
              <a:gd name="connsiteX655" fmla="*/ 2152729 w 7467600"/>
              <a:gd name="connsiteY655" fmla="*/ 2864487 h 6858000"/>
              <a:gd name="connsiteX656" fmla="*/ 2020609 w 7467600"/>
              <a:gd name="connsiteY656" fmla="*/ 2539671 h 6858000"/>
              <a:gd name="connsiteX657" fmla="*/ 2018920 w 7467600"/>
              <a:gd name="connsiteY657" fmla="*/ 2536309 h 6858000"/>
              <a:gd name="connsiteX658" fmla="*/ 1342441 w 7467600"/>
              <a:gd name="connsiteY658" fmla="*/ 1173017 h 6858000"/>
              <a:gd name="connsiteX659" fmla="*/ 1367925 w 7467600"/>
              <a:gd name="connsiteY659" fmla="*/ 1135648 h 6858000"/>
              <a:gd name="connsiteX660" fmla="*/ 1771401 w 7467600"/>
              <a:gd name="connsiteY660" fmla="*/ 1806673 h 6858000"/>
              <a:gd name="connsiteX661" fmla="*/ 1972385 w 7467600"/>
              <a:gd name="connsiteY661" fmla="*/ 2198735 h 6858000"/>
              <a:gd name="connsiteX662" fmla="*/ 2040892 w 7467600"/>
              <a:gd name="connsiteY662" fmla="*/ 2405205 h 6858000"/>
              <a:gd name="connsiteX663" fmla="*/ 2131689 w 7467600"/>
              <a:gd name="connsiteY663" fmla="*/ 1936926 h 6858000"/>
              <a:gd name="connsiteX664" fmla="*/ 2454820 w 7467600"/>
              <a:gd name="connsiteY664" fmla="*/ 1248808 h 6858000"/>
              <a:gd name="connsiteX665" fmla="*/ 2492512 w 7467600"/>
              <a:gd name="connsiteY665" fmla="*/ 1302920 h 6858000"/>
              <a:gd name="connsiteX666" fmla="*/ 2081216 w 7467600"/>
              <a:gd name="connsiteY666" fmla="*/ 2527513 h 6858000"/>
              <a:gd name="connsiteX667" fmla="*/ 2081211 w 7467600"/>
              <a:gd name="connsiteY667" fmla="*/ 2528916 h 6858000"/>
              <a:gd name="connsiteX668" fmla="*/ 2199067 w 7467600"/>
              <a:gd name="connsiteY668" fmla="*/ 2884061 h 6858000"/>
              <a:gd name="connsiteX669" fmla="*/ 3192586 w 7467600"/>
              <a:gd name="connsiteY669" fmla="*/ 3411496 h 6858000"/>
              <a:gd name="connsiteX670" fmla="*/ 3182620 w 7467600"/>
              <a:gd name="connsiteY670" fmla="*/ 3483279 h 6858000"/>
              <a:gd name="connsiteX671" fmla="*/ 2435119 w 7467600"/>
              <a:gd name="connsiteY671" fmla="*/ 3080173 h 6858000"/>
              <a:gd name="connsiteX672" fmla="*/ 2410152 w 7467600"/>
              <a:gd name="connsiteY672" fmla="*/ 3063751 h 6858000"/>
              <a:gd name="connsiteX673" fmla="*/ 2408099 w 7467600"/>
              <a:gd name="connsiteY673" fmla="*/ 3064403 h 6858000"/>
              <a:gd name="connsiteX674" fmla="*/ 2407218 w 7467600"/>
              <a:gd name="connsiteY674" fmla="*/ 3070324 h 6858000"/>
              <a:gd name="connsiteX675" fmla="*/ 2380138 w 7467600"/>
              <a:gd name="connsiteY675" fmla="*/ 3099341 h 6858000"/>
              <a:gd name="connsiteX676" fmla="*/ 1765923 w 7467600"/>
              <a:gd name="connsiteY676" fmla="*/ 3581043 h 6858000"/>
              <a:gd name="connsiteX677" fmla="*/ 1702258 w 7467600"/>
              <a:gd name="connsiteY677" fmla="*/ 3612286 h 6858000"/>
              <a:gd name="connsiteX678" fmla="*/ 1538370 w 7467600"/>
              <a:gd name="connsiteY678" fmla="*/ 3811804 h 6858000"/>
              <a:gd name="connsiteX679" fmla="*/ 542867 w 7467600"/>
              <a:gd name="connsiteY679" fmla="*/ 4944092 h 6858000"/>
              <a:gd name="connsiteX680" fmla="*/ 515800 w 7467600"/>
              <a:gd name="connsiteY680" fmla="*/ 4862180 h 6858000"/>
              <a:gd name="connsiteX681" fmla="*/ 909145 w 7467600"/>
              <a:gd name="connsiteY681" fmla="*/ 4199225 h 6858000"/>
              <a:gd name="connsiteX682" fmla="*/ 1214067 w 7467600"/>
              <a:gd name="connsiteY682" fmla="*/ 3908561 h 6858000"/>
              <a:gd name="connsiteX683" fmla="*/ 640967 w 7467600"/>
              <a:gd name="connsiteY683" fmla="*/ 4105601 h 6858000"/>
              <a:gd name="connsiteX684" fmla="*/ 112563 w 7467600"/>
              <a:gd name="connsiteY684" fmla="*/ 4396952 h 6858000"/>
              <a:gd name="connsiteX685" fmla="*/ 0 w 7467600"/>
              <a:gd name="connsiteY685" fmla="*/ 4466006 h 6858000"/>
              <a:gd name="connsiteX686" fmla="*/ 0 w 7467600"/>
              <a:gd name="connsiteY686" fmla="*/ 4233763 h 6858000"/>
              <a:gd name="connsiteX687" fmla="*/ 36881 w 7467600"/>
              <a:gd name="connsiteY687" fmla="*/ 4200118 h 6858000"/>
              <a:gd name="connsiteX688" fmla="*/ 910534 w 7467600"/>
              <a:gd name="connsiteY688" fmla="*/ 3629753 h 6858000"/>
              <a:gd name="connsiteX689" fmla="*/ 1578717 w 7467600"/>
              <a:gd name="connsiteY689" fmla="*/ 3575982 h 6858000"/>
              <a:gd name="connsiteX690" fmla="*/ 2338780 w 7467600"/>
              <a:gd name="connsiteY690" fmla="*/ 3033725 h 6858000"/>
              <a:gd name="connsiteX691" fmla="*/ 1807991 w 7467600"/>
              <a:gd name="connsiteY691" fmla="*/ 2807184 h 6858000"/>
              <a:gd name="connsiteX692" fmla="*/ 1416358 w 7467600"/>
              <a:gd name="connsiteY692" fmla="*/ 3112571 h 6858000"/>
              <a:gd name="connsiteX693" fmla="*/ 939066 w 7467600"/>
              <a:gd name="connsiteY693" fmla="*/ 3378798 h 6858000"/>
              <a:gd name="connsiteX694" fmla="*/ 115099 w 7467600"/>
              <a:gd name="connsiteY694" fmla="*/ 3607650 h 6858000"/>
              <a:gd name="connsiteX695" fmla="*/ 97284 w 7467600"/>
              <a:gd name="connsiteY695" fmla="*/ 3520393 h 6858000"/>
              <a:gd name="connsiteX696" fmla="*/ 922050 w 7467600"/>
              <a:gd name="connsiteY696" fmla="*/ 3074867 h 6858000"/>
              <a:gd name="connsiteX697" fmla="*/ 1405265 w 7467600"/>
              <a:gd name="connsiteY697" fmla="*/ 3016319 h 6858000"/>
              <a:gd name="connsiteX698" fmla="*/ 1407512 w 7467600"/>
              <a:gd name="connsiteY698" fmla="*/ 3018001 h 6858000"/>
              <a:gd name="connsiteX699" fmla="*/ 1726266 w 7467600"/>
              <a:gd name="connsiteY699" fmla="*/ 2777274 h 6858000"/>
              <a:gd name="connsiteX700" fmla="*/ 625390 w 7467600"/>
              <a:gd name="connsiteY700" fmla="*/ 2514541 h 6858000"/>
              <a:gd name="connsiteX701" fmla="*/ 619799 w 7467600"/>
              <a:gd name="connsiteY701" fmla="*/ 2527180 h 6858000"/>
              <a:gd name="connsiteX702" fmla="*/ 310030 w 7467600"/>
              <a:gd name="connsiteY702" fmla="*/ 2771818 h 6858000"/>
              <a:gd name="connsiteX703" fmla="*/ 173877 w 7467600"/>
              <a:gd name="connsiteY703" fmla="*/ 2937056 h 6858000"/>
              <a:gd name="connsiteX704" fmla="*/ 77889 w 7467600"/>
              <a:gd name="connsiteY704" fmla="*/ 3138440 h 6858000"/>
              <a:gd name="connsiteX705" fmla="*/ 0 w 7467600"/>
              <a:gd name="connsiteY705" fmla="*/ 3271395 h 6858000"/>
              <a:gd name="connsiteX706" fmla="*/ 0 w 7467600"/>
              <a:gd name="connsiteY706" fmla="*/ 3153002 h 6858000"/>
              <a:gd name="connsiteX707" fmla="*/ 2386 w 7467600"/>
              <a:gd name="connsiteY707" fmla="*/ 3149203 h 6858000"/>
              <a:gd name="connsiteX708" fmla="*/ 89753 w 7467600"/>
              <a:gd name="connsiteY708" fmla="*/ 2987702 h 6858000"/>
              <a:gd name="connsiteX709" fmla="*/ 76869 w 7467600"/>
              <a:gd name="connsiteY709" fmla="*/ 3005404 h 6858000"/>
              <a:gd name="connsiteX710" fmla="*/ 32049 w 7467600"/>
              <a:gd name="connsiteY710" fmla="*/ 3065814 h 6858000"/>
              <a:gd name="connsiteX711" fmla="*/ 0 w 7467600"/>
              <a:gd name="connsiteY711" fmla="*/ 3108744 h 6858000"/>
              <a:gd name="connsiteX712" fmla="*/ 0 w 7467600"/>
              <a:gd name="connsiteY712" fmla="*/ 3058059 h 6858000"/>
              <a:gd name="connsiteX713" fmla="*/ 7610 w 7467600"/>
              <a:gd name="connsiteY713" fmla="*/ 3047889 h 6858000"/>
              <a:gd name="connsiteX714" fmla="*/ 52419 w 7467600"/>
              <a:gd name="connsiteY714" fmla="*/ 2987479 h 6858000"/>
              <a:gd name="connsiteX715" fmla="*/ 59142 w 7467600"/>
              <a:gd name="connsiteY715" fmla="*/ 2978488 h 6858000"/>
              <a:gd name="connsiteX716" fmla="*/ 0 w 7467600"/>
              <a:gd name="connsiteY716" fmla="*/ 3015334 h 6858000"/>
              <a:gd name="connsiteX717" fmla="*/ 0 w 7467600"/>
              <a:gd name="connsiteY717" fmla="*/ 2914286 h 6858000"/>
              <a:gd name="connsiteX718" fmla="*/ 36383 w 7467600"/>
              <a:gd name="connsiteY718" fmla="*/ 2901128 h 6858000"/>
              <a:gd name="connsiteX719" fmla="*/ 156329 w 7467600"/>
              <a:gd name="connsiteY719" fmla="*/ 2840533 h 6858000"/>
              <a:gd name="connsiteX720" fmla="*/ 358355 w 7467600"/>
              <a:gd name="connsiteY720" fmla="*/ 2620471 h 6858000"/>
              <a:gd name="connsiteX721" fmla="*/ 510577 w 7467600"/>
              <a:gd name="connsiteY721" fmla="*/ 2501244 h 6858000"/>
              <a:gd name="connsiteX722" fmla="*/ 211967 w 7467600"/>
              <a:gd name="connsiteY722" fmla="*/ 2479171 h 6858000"/>
              <a:gd name="connsiteX723" fmla="*/ 0 w 7467600"/>
              <a:gd name="connsiteY723" fmla="*/ 2476398 h 6858000"/>
              <a:gd name="connsiteX724" fmla="*/ 0 w 7467600"/>
              <a:gd name="connsiteY724" fmla="*/ 2389189 h 6858000"/>
              <a:gd name="connsiteX725" fmla="*/ 103062 w 7467600"/>
              <a:gd name="connsiteY725" fmla="*/ 2389518 h 6858000"/>
              <a:gd name="connsiteX726" fmla="*/ 510734 w 7467600"/>
              <a:gd name="connsiteY726" fmla="*/ 2416201 h 6858000"/>
              <a:gd name="connsiteX727" fmla="*/ 279257 w 7467600"/>
              <a:gd name="connsiteY727" fmla="*/ 2092102 h 6858000"/>
              <a:gd name="connsiteX728" fmla="*/ 65265 w 7467600"/>
              <a:gd name="connsiteY728" fmla="*/ 2006049 h 6858000"/>
              <a:gd name="connsiteX729" fmla="*/ 0 w 7467600"/>
              <a:gd name="connsiteY729" fmla="*/ 1982532 h 6858000"/>
              <a:gd name="connsiteX730" fmla="*/ 0 w 7467600"/>
              <a:gd name="connsiteY730" fmla="*/ 1912789 h 6858000"/>
              <a:gd name="connsiteX731" fmla="*/ 97460 w 7467600"/>
              <a:gd name="connsiteY731" fmla="*/ 1953725 h 6858000"/>
              <a:gd name="connsiteX732" fmla="*/ 221272 w 7467600"/>
              <a:gd name="connsiteY732" fmla="*/ 1980766 h 6858000"/>
              <a:gd name="connsiteX733" fmla="*/ 116765 w 7467600"/>
              <a:gd name="connsiteY733" fmla="*/ 1911033 h 6858000"/>
              <a:gd name="connsiteX734" fmla="*/ 16405 w 7467600"/>
              <a:gd name="connsiteY734" fmla="*/ 1803412 h 6858000"/>
              <a:gd name="connsiteX735" fmla="*/ 0 w 7467600"/>
              <a:gd name="connsiteY735" fmla="*/ 1784777 h 6858000"/>
              <a:gd name="connsiteX736" fmla="*/ 0 w 7467600"/>
              <a:gd name="connsiteY736" fmla="*/ 1740082 h 6858000"/>
              <a:gd name="connsiteX737" fmla="*/ 39394 w 7467600"/>
              <a:gd name="connsiteY737" fmla="*/ 1784856 h 6858000"/>
              <a:gd name="connsiteX738" fmla="*/ 135813 w 7467600"/>
              <a:gd name="connsiteY738" fmla="*/ 1888838 h 6858000"/>
              <a:gd name="connsiteX739" fmla="*/ 242575 w 7467600"/>
              <a:gd name="connsiteY739" fmla="*/ 1958841 h 6858000"/>
              <a:gd name="connsiteX740" fmla="*/ 82197 w 7467600"/>
              <a:gd name="connsiteY740" fmla="*/ 1754826 h 6858000"/>
              <a:gd name="connsiteX741" fmla="*/ 0 w 7467600"/>
              <a:gd name="connsiteY741" fmla="*/ 1679650 h 6858000"/>
              <a:gd name="connsiteX742" fmla="*/ 0 w 7467600"/>
              <a:gd name="connsiteY742" fmla="*/ 1602463 h 6858000"/>
              <a:gd name="connsiteX743" fmla="*/ 84689 w 7467600"/>
              <a:gd name="connsiteY743" fmla="*/ 1677442 h 6858000"/>
              <a:gd name="connsiteX744" fmla="*/ 298437 w 7467600"/>
              <a:gd name="connsiteY744" fmla="*/ 1968019 h 6858000"/>
              <a:gd name="connsiteX745" fmla="*/ 227269 w 7467600"/>
              <a:gd name="connsiteY745" fmla="*/ 1114064 h 6858000"/>
              <a:gd name="connsiteX746" fmla="*/ 248003 w 7467600"/>
              <a:gd name="connsiteY746" fmla="*/ 1089613 h 6858000"/>
              <a:gd name="connsiteX747" fmla="*/ 427020 w 7467600"/>
              <a:gd name="connsiteY747" fmla="*/ 1619803 h 6858000"/>
              <a:gd name="connsiteX748" fmla="*/ 340345 w 7467600"/>
              <a:gd name="connsiteY748" fmla="*/ 2027739 h 6858000"/>
              <a:gd name="connsiteX749" fmla="*/ 360865 w 7467600"/>
              <a:gd name="connsiteY749" fmla="*/ 2044827 h 6858000"/>
              <a:gd name="connsiteX750" fmla="*/ 560414 w 7467600"/>
              <a:gd name="connsiteY750" fmla="*/ 2421457 h 6858000"/>
              <a:gd name="connsiteX751" fmla="*/ 1359703 w 7467600"/>
              <a:gd name="connsiteY751" fmla="*/ 2578554 h 6858000"/>
              <a:gd name="connsiteX752" fmla="*/ 1359422 w 7467600"/>
              <a:gd name="connsiteY752" fmla="*/ 2577994 h 6858000"/>
              <a:gd name="connsiteX753" fmla="*/ 828701 w 7467600"/>
              <a:gd name="connsiteY753" fmla="*/ 1839520 h 6858000"/>
              <a:gd name="connsiteX754" fmla="*/ 494427 w 7467600"/>
              <a:gd name="connsiteY754" fmla="*/ 1092333 h 6858000"/>
              <a:gd name="connsiteX755" fmla="*/ 506322 w 7467600"/>
              <a:gd name="connsiteY755" fmla="*/ 1020997 h 6858000"/>
              <a:gd name="connsiteX756" fmla="*/ 4570198 w 7467600"/>
              <a:gd name="connsiteY756" fmla="*/ 978081 h 6858000"/>
              <a:gd name="connsiteX757" fmla="*/ 4523691 w 7467600"/>
              <a:gd name="connsiteY757" fmla="*/ 1127776 h 6858000"/>
              <a:gd name="connsiteX758" fmla="*/ 4509875 w 7467600"/>
              <a:gd name="connsiteY758" fmla="*/ 1167552 h 6858000"/>
              <a:gd name="connsiteX759" fmla="*/ 4478168 w 7467600"/>
              <a:gd name="connsiteY759" fmla="*/ 1260735 h 6858000"/>
              <a:gd name="connsiteX760" fmla="*/ 4409309 w 7467600"/>
              <a:gd name="connsiteY760" fmla="*/ 1666996 h 6858000"/>
              <a:gd name="connsiteX761" fmla="*/ 4370031 w 7467600"/>
              <a:gd name="connsiteY761" fmla="*/ 1955666 h 6858000"/>
              <a:gd name="connsiteX762" fmla="*/ 4570198 w 7467600"/>
              <a:gd name="connsiteY762" fmla="*/ 978081 h 6858000"/>
              <a:gd name="connsiteX763" fmla="*/ 4557898 w 7467600"/>
              <a:gd name="connsiteY763" fmla="*/ 900011 h 6858000"/>
              <a:gd name="connsiteX764" fmla="*/ 4344840 w 7467600"/>
              <a:gd name="connsiteY764" fmla="*/ 1922038 h 6858000"/>
              <a:gd name="connsiteX765" fmla="*/ 4378710 w 7467600"/>
              <a:gd name="connsiteY765" fmla="*/ 1665516 h 6858000"/>
              <a:gd name="connsiteX766" fmla="*/ 4448798 w 7467600"/>
              <a:gd name="connsiteY766" fmla="*/ 1253024 h 6858000"/>
              <a:gd name="connsiteX767" fmla="*/ 4480315 w 7467600"/>
              <a:gd name="connsiteY767" fmla="*/ 1158454 h 6858000"/>
              <a:gd name="connsiteX768" fmla="*/ 4494133 w 7467600"/>
              <a:gd name="connsiteY768" fmla="*/ 1118676 h 6858000"/>
              <a:gd name="connsiteX769" fmla="*/ 4557898 w 7467600"/>
              <a:gd name="connsiteY769" fmla="*/ 900011 h 6858000"/>
              <a:gd name="connsiteX770" fmla="*/ 5870151 w 7467600"/>
              <a:gd name="connsiteY770" fmla="*/ 898890 h 6858000"/>
              <a:gd name="connsiteX771" fmla="*/ 5861335 w 7467600"/>
              <a:gd name="connsiteY771" fmla="*/ 899177 h 6858000"/>
              <a:gd name="connsiteX772" fmla="*/ 5843702 w 7467600"/>
              <a:gd name="connsiteY772" fmla="*/ 899748 h 6858000"/>
              <a:gd name="connsiteX773" fmla="*/ 5651107 w 7467600"/>
              <a:gd name="connsiteY773" fmla="*/ 920306 h 6858000"/>
              <a:gd name="connsiteX774" fmla="*/ 5459407 w 7467600"/>
              <a:gd name="connsiteY774" fmla="*/ 940975 h 6858000"/>
              <a:gd name="connsiteX775" fmla="*/ 5374846 w 7467600"/>
              <a:gd name="connsiteY775" fmla="*/ 941988 h 6858000"/>
              <a:gd name="connsiteX776" fmla="*/ 5256105 w 7467600"/>
              <a:gd name="connsiteY776" fmla="*/ 945632 h 6858000"/>
              <a:gd name="connsiteX777" fmla="*/ 5107071 w 7467600"/>
              <a:gd name="connsiteY777" fmla="*/ 969720 h 6858000"/>
              <a:gd name="connsiteX778" fmla="*/ 4998681 w 7467600"/>
              <a:gd name="connsiteY778" fmla="*/ 988771 h 6858000"/>
              <a:gd name="connsiteX779" fmla="*/ 5870151 w 7467600"/>
              <a:gd name="connsiteY779" fmla="*/ 898890 h 6858000"/>
              <a:gd name="connsiteX780" fmla="*/ 5504425 w 7467600"/>
              <a:gd name="connsiteY780" fmla="*/ 848067 h 6858000"/>
              <a:gd name="connsiteX781" fmla="*/ 4968849 w 7467600"/>
              <a:gd name="connsiteY781" fmla="*/ 962318 h 6858000"/>
              <a:gd name="connsiteX782" fmla="*/ 5104039 w 7467600"/>
              <a:gd name="connsiteY782" fmla="*/ 940634 h 6858000"/>
              <a:gd name="connsiteX783" fmla="*/ 5256311 w 7467600"/>
              <a:gd name="connsiteY783" fmla="*/ 916490 h 6858000"/>
              <a:gd name="connsiteX784" fmla="*/ 5377381 w 7467600"/>
              <a:gd name="connsiteY784" fmla="*/ 912671 h 6858000"/>
              <a:gd name="connsiteX785" fmla="*/ 5460148 w 7467600"/>
              <a:gd name="connsiteY785" fmla="*/ 911442 h 6858000"/>
              <a:gd name="connsiteX786" fmla="*/ 5648971 w 7467600"/>
              <a:gd name="connsiteY786" fmla="*/ 891331 h 6858000"/>
              <a:gd name="connsiteX787" fmla="*/ 5844807 w 7467600"/>
              <a:gd name="connsiteY787" fmla="*/ 870718 h 6858000"/>
              <a:gd name="connsiteX788" fmla="*/ 5862975 w 7467600"/>
              <a:gd name="connsiteY788" fmla="*/ 869756 h 6858000"/>
              <a:gd name="connsiteX789" fmla="*/ 5920887 w 7467600"/>
              <a:gd name="connsiteY789" fmla="*/ 865929 h 6858000"/>
              <a:gd name="connsiteX790" fmla="*/ 5504425 w 7467600"/>
              <a:gd name="connsiteY790" fmla="*/ 848067 h 6858000"/>
              <a:gd name="connsiteX791" fmla="*/ 3607114 w 7467600"/>
              <a:gd name="connsiteY791" fmla="*/ 467441 h 6858000"/>
              <a:gd name="connsiteX792" fmla="*/ 3296242 w 7467600"/>
              <a:gd name="connsiteY792" fmla="*/ 807991 h 6858000"/>
              <a:gd name="connsiteX793" fmla="*/ 3174674 w 7467600"/>
              <a:gd name="connsiteY793" fmla="*/ 919759 h 6858000"/>
              <a:gd name="connsiteX794" fmla="*/ 3042978 w 7467600"/>
              <a:gd name="connsiteY794" fmla="*/ 1054894 h 6858000"/>
              <a:gd name="connsiteX795" fmla="*/ 2968914 w 7467600"/>
              <a:gd name="connsiteY795" fmla="*/ 1133756 h 6858000"/>
              <a:gd name="connsiteX796" fmla="*/ 3103823 w 7467600"/>
              <a:gd name="connsiteY796" fmla="*/ 1026814 h 6858000"/>
              <a:gd name="connsiteX797" fmla="*/ 3607114 w 7467600"/>
              <a:gd name="connsiteY797" fmla="*/ 467441 h 6858000"/>
              <a:gd name="connsiteX798" fmla="*/ 3744487 w 7467600"/>
              <a:gd name="connsiteY798" fmla="*/ 383136 h 6858000"/>
              <a:gd name="connsiteX799" fmla="*/ 3970213 w 7467600"/>
              <a:gd name="connsiteY799" fmla="*/ 995559 h 6858000"/>
              <a:gd name="connsiteX800" fmla="*/ 3744487 w 7467600"/>
              <a:gd name="connsiteY800" fmla="*/ 383136 h 6858000"/>
              <a:gd name="connsiteX801" fmla="*/ 3624562 w 7467600"/>
              <a:gd name="connsiteY801" fmla="*/ 367041 h 6858000"/>
              <a:gd name="connsiteX802" fmla="*/ 3489712 w 7467600"/>
              <a:gd name="connsiteY802" fmla="*/ 485386 h 6858000"/>
              <a:gd name="connsiteX803" fmla="*/ 3182994 w 7467600"/>
              <a:gd name="connsiteY803" fmla="*/ 828265 h 6858000"/>
              <a:gd name="connsiteX804" fmla="*/ 2892114 w 7467600"/>
              <a:gd name="connsiteY804" fmla="*/ 1172635 h 6858000"/>
              <a:gd name="connsiteX805" fmla="*/ 3021459 w 7467600"/>
              <a:gd name="connsiteY805" fmla="*/ 1035385 h 6858000"/>
              <a:gd name="connsiteX806" fmla="*/ 3153873 w 7467600"/>
              <a:gd name="connsiteY806" fmla="*/ 898971 h 6858000"/>
              <a:gd name="connsiteX807" fmla="*/ 3276511 w 7467600"/>
              <a:gd name="connsiteY807" fmla="*/ 786423 h 6858000"/>
              <a:gd name="connsiteX808" fmla="*/ 3584154 w 7467600"/>
              <a:gd name="connsiteY808" fmla="*/ 448218 h 6858000"/>
              <a:gd name="connsiteX809" fmla="*/ 3624562 w 7467600"/>
              <a:gd name="connsiteY809" fmla="*/ 367041 h 6858000"/>
              <a:gd name="connsiteX810" fmla="*/ 3766672 w 7467600"/>
              <a:gd name="connsiteY810" fmla="*/ 359429 h 6858000"/>
              <a:gd name="connsiteX811" fmla="*/ 3996338 w 7467600"/>
              <a:gd name="connsiteY811" fmla="*/ 968237 h 6858000"/>
              <a:gd name="connsiteX812" fmla="*/ 3766672 w 7467600"/>
              <a:gd name="connsiteY812" fmla="*/ 359429 h 6858000"/>
              <a:gd name="connsiteX813" fmla="*/ 5805386 w 7467600"/>
              <a:gd name="connsiteY813" fmla="*/ 239240 h 6858000"/>
              <a:gd name="connsiteX814" fmla="*/ 5736947 w 7467600"/>
              <a:gd name="connsiteY814" fmla="*/ 261367 h 6858000"/>
              <a:gd name="connsiteX815" fmla="*/ 5427012 w 7467600"/>
              <a:gd name="connsiteY815" fmla="*/ 311272 h 6858000"/>
              <a:gd name="connsiteX816" fmla="*/ 5147818 w 7467600"/>
              <a:gd name="connsiteY816" fmla="*/ 322112 h 6858000"/>
              <a:gd name="connsiteX817" fmla="*/ 5060854 w 7467600"/>
              <a:gd name="connsiteY817" fmla="*/ 311882 h 6858000"/>
              <a:gd name="connsiteX818" fmla="*/ 4945989 w 7467600"/>
              <a:gd name="connsiteY818" fmla="*/ 300516 h 6858000"/>
              <a:gd name="connsiteX819" fmla="*/ 5410479 w 7467600"/>
              <a:gd name="connsiteY819" fmla="*/ 348434 h 6858000"/>
              <a:gd name="connsiteX820" fmla="*/ 5805386 w 7467600"/>
              <a:gd name="connsiteY820" fmla="*/ 239240 h 6858000"/>
              <a:gd name="connsiteX821" fmla="*/ 5905192 w 7467600"/>
              <a:gd name="connsiteY821" fmla="*/ 163079 h 6858000"/>
              <a:gd name="connsiteX822" fmla="*/ 5865655 w 7467600"/>
              <a:gd name="connsiteY822" fmla="*/ 171901 h 6858000"/>
              <a:gd name="connsiteX823" fmla="*/ 5259740 w 7467600"/>
              <a:gd name="connsiteY823" fmla="*/ 257013 h 6858000"/>
              <a:gd name="connsiteX824" fmla="*/ 5208466 w 7467600"/>
              <a:gd name="connsiteY824" fmla="*/ 257550 h 6858000"/>
              <a:gd name="connsiteX825" fmla="*/ 4980204 w 7467600"/>
              <a:gd name="connsiteY825" fmla="*/ 271903 h 6858000"/>
              <a:gd name="connsiteX826" fmla="*/ 5068068 w 7467600"/>
              <a:gd name="connsiteY826" fmla="*/ 282244 h 6858000"/>
              <a:gd name="connsiteX827" fmla="*/ 5153231 w 7467600"/>
              <a:gd name="connsiteY827" fmla="*/ 292240 h 6858000"/>
              <a:gd name="connsiteX828" fmla="*/ 5426491 w 7467600"/>
              <a:gd name="connsiteY828" fmla="*/ 281128 h 6858000"/>
              <a:gd name="connsiteX829" fmla="*/ 5731212 w 7467600"/>
              <a:gd name="connsiteY829" fmla="*/ 231951 h 6858000"/>
              <a:gd name="connsiteX830" fmla="*/ 5905192 w 7467600"/>
              <a:gd name="connsiteY830" fmla="*/ 163079 h 6858000"/>
              <a:gd name="connsiteX831" fmla="*/ 5944437 w 7467600"/>
              <a:gd name="connsiteY831" fmla="*/ 113829 h 6858000"/>
              <a:gd name="connsiteX832" fmla="*/ 5825032 w 7467600"/>
              <a:gd name="connsiteY832" fmla="*/ 146405 h 6858000"/>
              <a:gd name="connsiteX833" fmla="*/ 4955599 w 7467600"/>
              <a:gd name="connsiteY833" fmla="*/ 247008 h 6858000"/>
              <a:gd name="connsiteX834" fmla="*/ 5210104 w 7467600"/>
              <a:gd name="connsiteY834" fmla="*/ 228123 h 6858000"/>
              <a:gd name="connsiteX835" fmla="*/ 5261015 w 7467600"/>
              <a:gd name="connsiteY835" fmla="*/ 227087 h 6858000"/>
              <a:gd name="connsiteX836" fmla="*/ 5861181 w 7467600"/>
              <a:gd name="connsiteY836" fmla="*/ 143093 h 6858000"/>
              <a:gd name="connsiteX837" fmla="*/ 5961252 w 7467600"/>
              <a:gd name="connsiteY837" fmla="*/ 114820 h 6858000"/>
              <a:gd name="connsiteX838" fmla="*/ 5944437 w 7467600"/>
              <a:gd name="connsiteY838" fmla="*/ 113829 h 6858000"/>
              <a:gd name="connsiteX839" fmla="*/ 3882765 w 7467600"/>
              <a:gd name="connsiteY839" fmla="*/ 0 h 6858000"/>
              <a:gd name="connsiteX840" fmla="*/ 3995099 w 7467600"/>
              <a:gd name="connsiteY840" fmla="*/ 0 h 6858000"/>
              <a:gd name="connsiteX841" fmla="*/ 4163818 w 7467600"/>
              <a:gd name="connsiteY841" fmla="*/ 234104 h 6858000"/>
              <a:gd name="connsiteX842" fmla="*/ 4172099 w 7467600"/>
              <a:gd name="connsiteY842" fmla="*/ 234207 h 6858000"/>
              <a:gd name="connsiteX843" fmla="*/ 4784282 w 7467600"/>
              <a:gd name="connsiteY843" fmla="*/ 276561 h 6858000"/>
              <a:gd name="connsiteX844" fmla="*/ 4801687 w 7467600"/>
              <a:gd name="connsiteY844" fmla="*/ 267764 h 6858000"/>
              <a:gd name="connsiteX845" fmla="*/ 6082788 w 7467600"/>
              <a:gd name="connsiteY845" fmla="*/ 64119 h 6858000"/>
              <a:gd name="connsiteX846" fmla="*/ 6099442 w 7467600"/>
              <a:gd name="connsiteY846" fmla="*/ 82568 h 6858000"/>
              <a:gd name="connsiteX847" fmla="*/ 4804137 w 7467600"/>
              <a:gd name="connsiteY847" fmla="*/ 320931 h 6858000"/>
              <a:gd name="connsiteX848" fmla="*/ 4227047 w 7467600"/>
              <a:gd name="connsiteY848" fmla="*/ 313415 h 6858000"/>
              <a:gd name="connsiteX849" fmla="*/ 4346041 w 7467600"/>
              <a:gd name="connsiteY849" fmla="*/ 456086 h 6858000"/>
              <a:gd name="connsiteX850" fmla="*/ 4870967 w 7467600"/>
              <a:gd name="connsiteY850" fmla="*/ 963061 h 6858000"/>
              <a:gd name="connsiteX851" fmla="*/ 4889647 w 7467600"/>
              <a:gd name="connsiteY851" fmla="*/ 957147 h 6858000"/>
              <a:gd name="connsiteX852" fmla="*/ 5422504 w 7467600"/>
              <a:gd name="connsiteY852" fmla="*/ 805191 h 6858000"/>
              <a:gd name="connsiteX853" fmla="*/ 6087656 w 7467600"/>
              <a:gd name="connsiteY853" fmla="*/ 826703 h 6858000"/>
              <a:gd name="connsiteX854" fmla="*/ 6058717 w 7467600"/>
              <a:gd name="connsiteY854" fmla="*/ 865992 h 6858000"/>
              <a:gd name="connsiteX855" fmla="*/ 4974153 w 7467600"/>
              <a:gd name="connsiteY855" fmla="*/ 1045456 h 6858000"/>
              <a:gd name="connsiteX856" fmla="*/ 5627835 w 7467600"/>
              <a:gd name="connsiteY856" fmla="*/ 1472077 h 6858000"/>
              <a:gd name="connsiteX857" fmla="*/ 5629817 w 7467600"/>
              <a:gd name="connsiteY857" fmla="*/ 1471412 h 6858000"/>
              <a:gd name="connsiteX858" fmla="*/ 5634124 w 7467600"/>
              <a:gd name="connsiteY858" fmla="*/ 1470572 h 6858000"/>
              <a:gd name="connsiteX859" fmla="*/ 5755832 w 7467600"/>
              <a:gd name="connsiteY859" fmla="*/ 1383886 h 6858000"/>
              <a:gd name="connsiteX860" fmla="*/ 6014186 w 7467600"/>
              <a:gd name="connsiteY860" fmla="*/ 1279799 h 6858000"/>
              <a:gd name="connsiteX861" fmla="*/ 6901619 w 7467600"/>
              <a:gd name="connsiteY861" fmla="*/ 1047874 h 6858000"/>
              <a:gd name="connsiteX862" fmla="*/ 6931566 w 7467600"/>
              <a:gd name="connsiteY862" fmla="*/ 1062034 h 6858000"/>
              <a:gd name="connsiteX863" fmla="*/ 5790982 w 7467600"/>
              <a:gd name="connsiteY863" fmla="*/ 1561380 h 6858000"/>
              <a:gd name="connsiteX864" fmla="*/ 6188971 w 7467600"/>
              <a:gd name="connsiteY864" fmla="*/ 1755168 h 6858000"/>
              <a:gd name="connsiteX865" fmla="*/ 6202446 w 7467600"/>
              <a:gd name="connsiteY865" fmla="*/ 1752268 h 6858000"/>
              <a:gd name="connsiteX866" fmla="*/ 7179560 w 7467600"/>
              <a:gd name="connsiteY866" fmla="*/ 1467551 h 6858000"/>
              <a:gd name="connsiteX867" fmla="*/ 7158730 w 7467600"/>
              <a:gd name="connsiteY867" fmla="*/ 1507835 h 6858000"/>
              <a:gd name="connsiteX868" fmla="*/ 6326959 w 7467600"/>
              <a:gd name="connsiteY868" fmla="*/ 1817686 h 6858000"/>
              <a:gd name="connsiteX869" fmla="*/ 6537433 w 7467600"/>
              <a:gd name="connsiteY869" fmla="*/ 1907790 h 6858000"/>
              <a:gd name="connsiteX870" fmla="*/ 6550221 w 7467600"/>
              <a:gd name="connsiteY870" fmla="*/ 1910729 h 6858000"/>
              <a:gd name="connsiteX871" fmla="*/ 6964438 w 7467600"/>
              <a:gd name="connsiteY871" fmla="*/ 2209505 h 6858000"/>
              <a:gd name="connsiteX872" fmla="*/ 7367862 w 7467600"/>
              <a:gd name="connsiteY872" fmla="*/ 2806833 h 6858000"/>
              <a:gd name="connsiteX873" fmla="*/ 7364329 w 7467600"/>
              <a:gd name="connsiteY873" fmla="*/ 2826907 h 6858000"/>
              <a:gd name="connsiteX874" fmla="*/ 7290545 w 7467600"/>
              <a:gd name="connsiteY874" fmla="*/ 2850663 h 6858000"/>
              <a:gd name="connsiteX875" fmla="*/ 6472036 w 7467600"/>
              <a:gd name="connsiteY875" fmla="*/ 1959003 h 6858000"/>
              <a:gd name="connsiteX876" fmla="*/ 5792897 w 7467600"/>
              <a:gd name="connsiteY876" fmla="*/ 1647747 h 6858000"/>
              <a:gd name="connsiteX877" fmla="*/ 5842751 w 7467600"/>
              <a:gd name="connsiteY877" fmla="*/ 1816112 h 6858000"/>
              <a:gd name="connsiteX878" fmla="*/ 5847424 w 7467600"/>
              <a:gd name="connsiteY878" fmla="*/ 1815776 h 6858000"/>
              <a:gd name="connsiteX879" fmla="*/ 6399821 w 7467600"/>
              <a:gd name="connsiteY879" fmla="*/ 2344799 h 6858000"/>
              <a:gd name="connsiteX880" fmla="*/ 6323232 w 7467600"/>
              <a:gd name="connsiteY880" fmla="*/ 2389634 h 6858000"/>
              <a:gd name="connsiteX881" fmla="*/ 5942958 w 7467600"/>
              <a:gd name="connsiteY881" fmla="*/ 2077708 h 6858000"/>
              <a:gd name="connsiteX882" fmla="*/ 5921559 w 7467600"/>
              <a:gd name="connsiteY882" fmla="*/ 2378596 h 6858000"/>
              <a:gd name="connsiteX883" fmla="*/ 5817651 w 7467600"/>
              <a:gd name="connsiteY883" fmla="*/ 3023919 h 6858000"/>
              <a:gd name="connsiteX884" fmla="*/ 5729634 w 7467600"/>
              <a:gd name="connsiteY884" fmla="*/ 3051849 h 6858000"/>
              <a:gd name="connsiteX885" fmla="*/ 5611018 w 7467600"/>
              <a:gd name="connsiteY885" fmla="*/ 2316769 h 6858000"/>
              <a:gd name="connsiteX886" fmla="*/ 5687608 w 7467600"/>
              <a:gd name="connsiteY886" fmla="*/ 2039972 h 6858000"/>
              <a:gd name="connsiteX887" fmla="*/ 5657554 w 7467600"/>
              <a:gd name="connsiteY887" fmla="*/ 1576445 h 6858000"/>
              <a:gd name="connsiteX888" fmla="*/ 5150475 w 7467600"/>
              <a:gd name="connsiteY888" fmla="*/ 1274012 h 6858000"/>
              <a:gd name="connsiteX889" fmla="*/ 5349142 w 7467600"/>
              <a:gd name="connsiteY889" fmla="*/ 2204405 h 6858000"/>
              <a:gd name="connsiteX890" fmla="*/ 5262214 w 7467600"/>
              <a:gd name="connsiteY890" fmla="*/ 2233836 h 6858000"/>
              <a:gd name="connsiteX891" fmla="*/ 4981539 w 7467600"/>
              <a:gd name="connsiteY891" fmla="*/ 1542201 h 6858000"/>
              <a:gd name="connsiteX892" fmla="*/ 4958461 w 7467600"/>
              <a:gd name="connsiteY892" fmla="*/ 1136957 h 6858000"/>
              <a:gd name="connsiteX893" fmla="*/ 4655015 w 7467600"/>
              <a:gd name="connsiteY893" fmla="*/ 891426 h 6858000"/>
              <a:gd name="connsiteX894" fmla="*/ 4348002 w 7467600"/>
              <a:gd name="connsiteY894" fmla="*/ 2205895 h 6858000"/>
              <a:gd name="connsiteX895" fmla="*/ 4262250 w 7467600"/>
              <a:gd name="connsiteY895" fmla="*/ 2219972 h 6858000"/>
              <a:gd name="connsiteX896" fmla="*/ 4550611 w 7467600"/>
              <a:gd name="connsiteY896" fmla="*/ 817540 h 6858000"/>
              <a:gd name="connsiteX897" fmla="*/ 4564418 w 7467600"/>
              <a:gd name="connsiteY897" fmla="*/ 808293 h 6858000"/>
              <a:gd name="connsiteX898" fmla="*/ 4266388 w 7467600"/>
              <a:gd name="connsiteY898" fmla="*/ 500083 h 6858000"/>
              <a:gd name="connsiteX899" fmla="*/ 4032842 w 7467600"/>
              <a:gd name="connsiteY899" fmla="*/ 211809 h 6858000"/>
              <a:gd name="connsiteX900" fmla="*/ 3882765 w 7467600"/>
              <a:gd name="connsiteY900" fmla="*/ 0 h 6858000"/>
              <a:gd name="connsiteX901" fmla="*/ 3721337 w 7467600"/>
              <a:gd name="connsiteY901" fmla="*/ 0 h 6858000"/>
              <a:gd name="connsiteX902" fmla="*/ 3797544 w 7467600"/>
              <a:gd name="connsiteY902" fmla="*/ 0 h 6858000"/>
              <a:gd name="connsiteX903" fmla="*/ 3775734 w 7467600"/>
              <a:gd name="connsiteY903" fmla="*/ 95131 h 6858000"/>
              <a:gd name="connsiteX904" fmla="*/ 3724807 w 7467600"/>
              <a:gd name="connsiteY904" fmla="*/ 272257 h 6858000"/>
              <a:gd name="connsiteX905" fmla="*/ 3726844 w 7467600"/>
              <a:gd name="connsiteY905" fmla="*/ 282988 h 6858000"/>
              <a:gd name="connsiteX906" fmla="*/ 3742664 w 7467600"/>
              <a:gd name="connsiteY906" fmla="*/ 279918 h 6858000"/>
              <a:gd name="connsiteX907" fmla="*/ 4103910 w 7467600"/>
              <a:gd name="connsiteY907" fmla="*/ 1161917 h 6858000"/>
              <a:gd name="connsiteX908" fmla="*/ 4020269 w 7467600"/>
              <a:gd name="connsiteY908" fmla="*/ 1200406 h 6858000"/>
              <a:gd name="connsiteX909" fmla="*/ 3674882 w 7467600"/>
              <a:gd name="connsiteY909" fmla="*/ 488524 h 6858000"/>
              <a:gd name="connsiteX910" fmla="*/ 3132682 w 7467600"/>
              <a:gd name="connsiteY910" fmla="*/ 1072284 h 6858000"/>
              <a:gd name="connsiteX911" fmla="*/ 2716346 w 7467600"/>
              <a:gd name="connsiteY911" fmla="*/ 1276376 h 6858000"/>
              <a:gd name="connsiteX912" fmla="*/ 2716772 w 7467600"/>
              <a:gd name="connsiteY912" fmla="*/ 1255462 h 6858000"/>
              <a:gd name="connsiteX913" fmla="*/ 3471096 w 7467600"/>
              <a:gd name="connsiteY913" fmla="*/ 437072 h 6858000"/>
              <a:gd name="connsiteX914" fmla="*/ 3639057 w 7467600"/>
              <a:gd name="connsiteY914" fmla="*/ 286334 h 6858000"/>
              <a:gd name="connsiteX915" fmla="*/ 3640309 w 7467600"/>
              <a:gd name="connsiteY915" fmla="*/ 284664 h 6858000"/>
              <a:gd name="connsiteX916" fmla="*/ 3646022 w 7467600"/>
              <a:gd name="connsiteY916" fmla="*/ 276711 h 6858000"/>
              <a:gd name="connsiteX917" fmla="*/ 3707943 w 7467600"/>
              <a:gd name="connsiteY917" fmla="*/ 65958 h 6858000"/>
              <a:gd name="connsiteX918" fmla="*/ 3721337 w 7467600"/>
              <a:gd name="connsiteY918" fmla="*/ 0 h 6858000"/>
              <a:gd name="connsiteX919" fmla="*/ 2867960 w 7467600"/>
              <a:gd name="connsiteY919" fmla="*/ 0 h 6858000"/>
              <a:gd name="connsiteX920" fmla="*/ 2926351 w 7467600"/>
              <a:gd name="connsiteY920" fmla="*/ 0 h 6858000"/>
              <a:gd name="connsiteX921" fmla="*/ 2902823 w 7467600"/>
              <a:gd name="connsiteY921" fmla="*/ 262929 h 6858000"/>
              <a:gd name="connsiteX922" fmla="*/ 2940663 w 7467600"/>
              <a:gd name="connsiteY922" fmla="*/ 140884 h 6858000"/>
              <a:gd name="connsiteX923" fmla="*/ 2947039 w 7467600"/>
              <a:gd name="connsiteY923" fmla="*/ 122524 h 6858000"/>
              <a:gd name="connsiteX924" fmla="*/ 2984316 w 7467600"/>
              <a:gd name="connsiteY924" fmla="*/ 0 h 6858000"/>
              <a:gd name="connsiteX925" fmla="*/ 3016114 w 7467600"/>
              <a:gd name="connsiteY925" fmla="*/ 0 h 6858000"/>
              <a:gd name="connsiteX926" fmla="*/ 2979949 w 7467600"/>
              <a:gd name="connsiteY926" fmla="*/ 119274 h 6858000"/>
              <a:gd name="connsiteX927" fmla="*/ 3023879 w 7467600"/>
              <a:gd name="connsiteY927" fmla="*/ 0 h 6858000"/>
              <a:gd name="connsiteX928" fmla="*/ 3105400 w 7467600"/>
              <a:gd name="connsiteY928" fmla="*/ 0 h 6858000"/>
              <a:gd name="connsiteX929" fmla="*/ 3094669 w 7467600"/>
              <a:gd name="connsiteY929" fmla="*/ 30308 h 6858000"/>
              <a:gd name="connsiteX930" fmla="*/ 2901945 w 7467600"/>
              <a:gd name="connsiteY930" fmla="*/ 466538 h 6858000"/>
              <a:gd name="connsiteX931" fmla="*/ 2815209 w 7467600"/>
              <a:gd name="connsiteY931" fmla="*/ 497361 h 6858000"/>
              <a:gd name="connsiteX932" fmla="*/ 2844845 w 7467600"/>
              <a:gd name="connsiteY932" fmla="*/ 127638 h 6858000"/>
              <a:gd name="connsiteX933" fmla="*/ 2867960 w 7467600"/>
              <a:gd name="connsiteY933" fmla="*/ 0 h 6858000"/>
              <a:gd name="connsiteX934" fmla="*/ 1057230 w 7467600"/>
              <a:gd name="connsiteY934" fmla="*/ 0 h 6858000"/>
              <a:gd name="connsiteX935" fmla="*/ 1111003 w 7467600"/>
              <a:gd name="connsiteY935" fmla="*/ 0 h 6858000"/>
              <a:gd name="connsiteX936" fmla="*/ 1125553 w 7467600"/>
              <a:gd name="connsiteY936" fmla="*/ 52588 h 6858000"/>
              <a:gd name="connsiteX937" fmla="*/ 1304276 w 7467600"/>
              <a:gd name="connsiteY937" fmla="*/ 476275 h 6858000"/>
              <a:gd name="connsiteX938" fmla="*/ 1492066 w 7467600"/>
              <a:gd name="connsiteY938" fmla="*/ 886333 h 6858000"/>
              <a:gd name="connsiteX939" fmla="*/ 1423698 w 7467600"/>
              <a:gd name="connsiteY939" fmla="*/ 710817 h 6858000"/>
              <a:gd name="connsiteX940" fmla="*/ 1357609 w 7467600"/>
              <a:gd name="connsiteY940" fmla="*/ 532892 h 6858000"/>
              <a:gd name="connsiteX941" fmla="*/ 1309550 w 7467600"/>
              <a:gd name="connsiteY941" fmla="*/ 374031 h 6858000"/>
              <a:gd name="connsiteX942" fmla="*/ 1193673 w 7467600"/>
              <a:gd name="connsiteY942" fmla="*/ 49533 h 6858000"/>
              <a:gd name="connsiteX943" fmla="*/ 1164391 w 7467600"/>
              <a:gd name="connsiteY943" fmla="*/ 0 h 6858000"/>
              <a:gd name="connsiteX944" fmla="*/ 1200666 w 7467600"/>
              <a:gd name="connsiteY944" fmla="*/ 0 h 6858000"/>
              <a:gd name="connsiteX945" fmla="*/ 1223408 w 7467600"/>
              <a:gd name="connsiteY945" fmla="*/ 38996 h 6858000"/>
              <a:gd name="connsiteX946" fmla="*/ 1339635 w 7467600"/>
              <a:gd name="connsiteY946" fmla="*/ 365517 h 6858000"/>
              <a:gd name="connsiteX947" fmla="*/ 1387469 w 7467600"/>
              <a:gd name="connsiteY947" fmla="*/ 523079 h 6858000"/>
              <a:gd name="connsiteX948" fmla="*/ 1452685 w 7467600"/>
              <a:gd name="connsiteY948" fmla="*/ 699806 h 6858000"/>
              <a:gd name="connsiteX949" fmla="*/ 1492092 w 7467600"/>
              <a:gd name="connsiteY949" fmla="*/ 800424 h 6858000"/>
              <a:gd name="connsiteX950" fmla="*/ 1455302 w 7467600"/>
              <a:gd name="connsiteY950" fmla="*/ 632913 h 6858000"/>
              <a:gd name="connsiteX951" fmla="*/ 1222336 w 7467600"/>
              <a:gd name="connsiteY951" fmla="*/ 9480 h 6858000"/>
              <a:gd name="connsiteX952" fmla="*/ 1214634 w 7467600"/>
              <a:gd name="connsiteY952" fmla="*/ 0 h 6858000"/>
              <a:gd name="connsiteX953" fmla="*/ 1289827 w 7467600"/>
              <a:gd name="connsiteY953" fmla="*/ 0 h 6858000"/>
              <a:gd name="connsiteX954" fmla="*/ 1321076 w 7467600"/>
              <a:gd name="connsiteY954" fmla="*/ 59722 h 6858000"/>
              <a:gd name="connsiteX955" fmla="*/ 1512579 w 7467600"/>
              <a:gd name="connsiteY955" fmla="*/ 626441 h 6858000"/>
              <a:gd name="connsiteX956" fmla="*/ 1506076 w 7467600"/>
              <a:gd name="connsiteY956" fmla="*/ 1089289 h 6858000"/>
              <a:gd name="connsiteX957" fmla="*/ 1486346 w 7467600"/>
              <a:gd name="connsiteY957" fmla="*/ 1079919 h 6858000"/>
              <a:gd name="connsiteX958" fmla="*/ 1070511 w 7467600"/>
              <a:gd name="connsiteY958" fmla="*/ 48609 h 6858000"/>
              <a:gd name="connsiteX959" fmla="*/ 1057230 w 7467600"/>
              <a:gd name="connsiteY959" fmla="*/ 0 h 6858000"/>
              <a:gd name="connsiteX960" fmla="*/ 43151 w 7467600"/>
              <a:gd name="connsiteY960" fmla="*/ 0 h 6858000"/>
              <a:gd name="connsiteX961" fmla="*/ 95283 w 7467600"/>
              <a:gd name="connsiteY961" fmla="*/ 0 h 6858000"/>
              <a:gd name="connsiteX962" fmla="*/ 300708 w 7467600"/>
              <a:gd name="connsiteY962" fmla="*/ 154571 h 6858000"/>
              <a:gd name="connsiteX963" fmla="*/ 530414 w 7467600"/>
              <a:gd name="connsiteY963" fmla="*/ 354673 h 6858000"/>
              <a:gd name="connsiteX964" fmla="*/ 333785 w 7467600"/>
              <a:gd name="connsiteY964" fmla="*/ 161564 h 6858000"/>
              <a:gd name="connsiteX965" fmla="*/ 147005 w 7467600"/>
              <a:gd name="connsiteY965" fmla="*/ 0 h 6858000"/>
              <a:gd name="connsiteX966" fmla="*/ 272509 w 7467600"/>
              <a:gd name="connsiteY966" fmla="*/ 0 h 6858000"/>
              <a:gd name="connsiteX967" fmla="*/ 326276 w 7467600"/>
              <a:gd name="connsiteY967" fmla="*/ 45847 h 6858000"/>
              <a:gd name="connsiteX968" fmla="*/ 823759 w 7467600"/>
              <a:gd name="connsiteY968" fmla="*/ 574145 h 6858000"/>
              <a:gd name="connsiteX969" fmla="*/ 811254 w 7467600"/>
              <a:gd name="connsiteY969" fmla="*/ 665546 h 6858000"/>
              <a:gd name="connsiteX970" fmla="*/ 154042 w 7467600"/>
              <a:gd name="connsiteY970" fmla="*/ 261522 h 6858000"/>
              <a:gd name="connsiteX971" fmla="*/ 13550 w 7467600"/>
              <a:gd name="connsiteY971" fmla="*/ 158423 h 6858000"/>
              <a:gd name="connsiteX972" fmla="*/ 0 w 7467600"/>
              <a:gd name="connsiteY972" fmla="*/ 146618 h 6858000"/>
              <a:gd name="connsiteX973" fmla="*/ 0 w 7467600"/>
              <a:gd name="connsiteY973" fmla="*/ 59161 h 6858000"/>
              <a:gd name="connsiteX974" fmla="*/ 45427 w 7467600"/>
              <a:gd name="connsiteY974" fmla="*/ 101078 h 6858000"/>
              <a:gd name="connsiteX975" fmla="*/ 630103 w 7467600"/>
              <a:gd name="connsiteY975" fmla="*/ 485885 h 6858000"/>
              <a:gd name="connsiteX976" fmla="*/ 532040 w 7467600"/>
              <a:gd name="connsiteY976" fmla="*/ 399359 h 6858000"/>
              <a:gd name="connsiteX977" fmla="*/ 517618 w 7467600"/>
              <a:gd name="connsiteY977" fmla="*/ 385726 h 6858000"/>
              <a:gd name="connsiteX978" fmla="*/ 285074 w 7467600"/>
              <a:gd name="connsiteY978" fmla="*/ 182755 h 6858000"/>
              <a:gd name="connsiteX979" fmla="*/ 43151 w 7467600"/>
              <a:gd name="connsiteY979"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6844835 w 7467600"/>
              <a:gd name="connsiteY74" fmla="*/ 5424988 h 6858000"/>
              <a:gd name="connsiteX75" fmla="*/ 6879594 w 7467600"/>
              <a:gd name="connsiteY75" fmla="*/ 5424547 h 6858000"/>
              <a:gd name="connsiteX76" fmla="*/ 7379510 w 7467600"/>
              <a:gd name="connsiteY76" fmla="*/ 5755454 h 6858000"/>
              <a:gd name="connsiteX77" fmla="*/ 7467600 w 7467600"/>
              <a:gd name="connsiteY77" fmla="*/ 5845526 h 6858000"/>
              <a:gd name="connsiteX78" fmla="*/ 7467600 w 7467600"/>
              <a:gd name="connsiteY78" fmla="*/ 5925131 h 6858000"/>
              <a:gd name="connsiteX79" fmla="*/ 7271900 w 7467600"/>
              <a:gd name="connsiteY79" fmla="*/ 5734551 h 6858000"/>
              <a:gd name="connsiteX80" fmla="*/ 7015907 w 7467600"/>
              <a:gd name="connsiteY80" fmla="*/ 5541548 h 6858000"/>
              <a:gd name="connsiteX81" fmla="*/ 7259646 w 7467600"/>
              <a:gd name="connsiteY81" fmla="*/ 5765985 h 6858000"/>
              <a:gd name="connsiteX82" fmla="*/ 7467600 w 7467600"/>
              <a:gd name="connsiteY82" fmla="*/ 5971257 h 6858000"/>
              <a:gd name="connsiteX83" fmla="*/ 7467600 w 7467600"/>
              <a:gd name="connsiteY83" fmla="*/ 6012219 h 6858000"/>
              <a:gd name="connsiteX84" fmla="*/ 7240170 w 7467600"/>
              <a:gd name="connsiteY84" fmla="*/ 5787985 h 6858000"/>
              <a:gd name="connsiteX85" fmla="*/ 6946849 w 7467600"/>
              <a:gd name="connsiteY85" fmla="*/ 5523271 h 6858000"/>
              <a:gd name="connsiteX86" fmla="*/ 6946972 w 7467600"/>
              <a:gd name="connsiteY86" fmla="*/ 5526491 h 6858000"/>
              <a:gd name="connsiteX87" fmla="*/ 7105827 w 7467600"/>
              <a:gd name="connsiteY87" fmla="*/ 5718700 h 6858000"/>
              <a:gd name="connsiteX88" fmla="*/ 7356878 w 7467600"/>
              <a:gd name="connsiteY88" fmla="*/ 5981332 h 6858000"/>
              <a:gd name="connsiteX89" fmla="*/ 7467600 w 7467600"/>
              <a:gd name="connsiteY89" fmla="*/ 6117703 h 6858000"/>
              <a:gd name="connsiteX90" fmla="*/ 7467600 w 7467600"/>
              <a:gd name="connsiteY90" fmla="*/ 6163634 h 6858000"/>
              <a:gd name="connsiteX91" fmla="*/ 7403637 w 7467600"/>
              <a:gd name="connsiteY91" fmla="*/ 6083957 h 6858000"/>
              <a:gd name="connsiteX92" fmla="*/ 7254615 w 7467600"/>
              <a:gd name="connsiteY92" fmla="*/ 5911918 h 6858000"/>
              <a:gd name="connsiteX93" fmla="*/ 7312589 w 7467600"/>
              <a:gd name="connsiteY93" fmla="*/ 5982309 h 6858000"/>
              <a:gd name="connsiteX94" fmla="*/ 7448321 w 7467600"/>
              <a:gd name="connsiteY94" fmla="*/ 6190991 h 6858000"/>
              <a:gd name="connsiteX95" fmla="*/ 7467600 w 7467600"/>
              <a:gd name="connsiteY95" fmla="*/ 6221686 h 6858000"/>
              <a:gd name="connsiteX96" fmla="*/ 7467600 w 7467600"/>
              <a:gd name="connsiteY96" fmla="*/ 6334256 h 6858000"/>
              <a:gd name="connsiteX97" fmla="*/ 7454976 w 7467600"/>
              <a:gd name="connsiteY97" fmla="*/ 6318297 h 6858000"/>
              <a:gd name="connsiteX98" fmla="*/ 7042773 w 7467600"/>
              <a:gd name="connsiteY98" fmla="*/ 5734011 h 6858000"/>
              <a:gd name="connsiteX99" fmla="*/ 6844835 w 7467600"/>
              <a:gd name="connsiteY99" fmla="*/ 5424988 h 6858000"/>
              <a:gd name="connsiteX100" fmla="*/ 1456157 w 7467600"/>
              <a:gd name="connsiteY100" fmla="*/ 5371404 h 6858000"/>
              <a:gd name="connsiteX101" fmla="*/ 1244432 w 7467600"/>
              <a:gd name="connsiteY101" fmla="*/ 5385601 h 6858000"/>
              <a:gd name="connsiteX102" fmla="*/ 973990 w 7467600"/>
              <a:gd name="connsiteY102" fmla="*/ 5424940 h 6858000"/>
              <a:gd name="connsiteX103" fmla="*/ 1103809 w 7467600"/>
              <a:gd name="connsiteY103" fmla="*/ 5433720 h 6858000"/>
              <a:gd name="connsiteX104" fmla="*/ 1123454 w 7467600"/>
              <a:gd name="connsiteY104" fmla="*/ 5435727 h 6858000"/>
              <a:gd name="connsiteX105" fmla="*/ 1737017 w 7467600"/>
              <a:gd name="connsiteY105" fmla="*/ 5452183 h 6858000"/>
              <a:gd name="connsiteX106" fmla="*/ 1824397 w 7467600"/>
              <a:gd name="connsiteY106" fmla="*/ 5447757 h 6858000"/>
              <a:gd name="connsiteX107" fmla="*/ 2070059 w 7467600"/>
              <a:gd name="connsiteY107" fmla="*/ 5441660 h 6858000"/>
              <a:gd name="connsiteX108" fmla="*/ 1456157 w 7467600"/>
              <a:gd name="connsiteY108" fmla="*/ 5371404 h 6858000"/>
              <a:gd name="connsiteX109" fmla="*/ 4988186 w 7467600"/>
              <a:gd name="connsiteY109" fmla="*/ 5216467 h 6858000"/>
              <a:gd name="connsiteX110" fmla="*/ 4777334 w 7467600"/>
              <a:gd name="connsiteY110" fmla="*/ 5406072 h 6858000"/>
              <a:gd name="connsiteX111" fmla="*/ 4718341 w 7467600"/>
              <a:gd name="connsiteY111" fmla="*/ 5468043 h 6858000"/>
              <a:gd name="connsiteX112" fmla="*/ 4604655 w 7467600"/>
              <a:gd name="connsiteY112" fmla="*/ 5583434 h 6858000"/>
              <a:gd name="connsiteX113" fmla="*/ 4565074 w 7467600"/>
              <a:gd name="connsiteY113" fmla="*/ 5618550 h 6858000"/>
              <a:gd name="connsiteX114" fmla="*/ 4988186 w 7467600"/>
              <a:gd name="connsiteY114" fmla="*/ 5216467 h 6858000"/>
              <a:gd name="connsiteX115" fmla="*/ 4978032 w 7467600"/>
              <a:gd name="connsiteY115" fmla="*/ 5183809 h 6858000"/>
              <a:gd name="connsiteX116" fmla="*/ 4463413 w 7467600"/>
              <a:gd name="connsiteY116" fmla="*/ 5615162 h 6858000"/>
              <a:gd name="connsiteX117" fmla="*/ 4358134 w 7467600"/>
              <a:gd name="connsiteY117" fmla="*/ 5742791 h 6858000"/>
              <a:gd name="connsiteX118" fmla="*/ 4376219 w 7467600"/>
              <a:gd name="connsiteY118" fmla="*/ 5729027 h 6858000"/>
              <a:gd name="connsiteX119" fmla="*/ 4582340 w 7467600"/>
              <a:gd name="connsiteY119" fmla="*/ 5561037 h 6858000"/>
              <a:gd name="connsiteX120" fmla="*/ 4694684 w 7467600"/>
              <a:gd name="connsiteY120" fmla="*/ 5447098 h 6858000"/>
              <a:gd name="connsiteX121" fmla="*/ 4754123 w 7467600"/>
              <a:gd name="connsiteY121" fmla="*/ 5384643 h 6858000"/>
              <a:gd name="connsiteX122" fmla="*/ 4978032 w 7467600"/>
              <a:gd name="connsiteY122" fmla="*/ 5183809 h 6858000"/>
              <a:gd name="connsiteX123" fmla="*/ 1903353 w 7467600"/>
              <a:gd name="connsiteY123" fmla="*/ 5044827 h 6858000"/>
              <a:gd name="connsiteX124" fmla="*/ 1936931 w 7467600"/>
              <a:gd name="connsiteY124" fmla="*/ 5093954 h 6858000"/>
              <a:gd name="connsiteX125" fmla="*/ 2195868 w 7467600"/>
              <a:gd name="connsiteY125" fmla="*/ 5396574 h 6858000"/>
              <a:gd name="connsiteX126" fmla="*/ 2088852 w 7467600"/>
              <a:gd name="connsiteY126" fmla="*/ 5166123 h 6858000"/>
              <a:gd name="connsiteX127" fmla="*/ 1958241 w 7467600"/>
              <a:gd name="connsiteY127" fmla="*/ 5067955 h 6858000"/>
              <a:gd name="connsiteX128" fmla="*/ 1903353 w 7467600"/>
              <a:gd name="connsiteY128" fmla="*/ 5044827 h 6858000"/>
              <a:gd name="connsiteX129" fmla="*/ 1979378 w 7467600"/>
              <a:gd name="connsiteY129" fmla="*/ 4769504 h 6858000"/>
              <a:gd name="connsiteX130" fmla="*/ 2882120 w 7467600"/>
              <a:gd name="connsiteY130" fmla="*/ 5064547 h 6858000"/>
              <a:gd name="connsiteX131" fmla="*/ 2793103 w 7467600"/>
              <a:gd name="connsiteY131" fmla="*/ 5039699 h 6858000"/>
              <a:gd name="connsiteX132" fmla="*/ 2770041 w 7467600"/>
              <a:gd name="connsiteY132" fmla="*/ 5033634 h 6858000"/>
              <a:gd name="connsiteX133" fmla="*/ 1979378 w 7467600"/>
              <a:gd name="connsiteY133" fmla="*/ 4769504 h 6858000"/>
              <a:gd name="connsiteX134" fmla="*/ 1927410 w 7467600"/>
              <a:gd name="connsiteY134" fmla="*/ 4716164 h 6858000"/>
              <a:gd name="connsiteX135" fmla="*/ 1959587 w 7467600"/>
              <a:gd name="connsiteY135" fmla="*/ 4728849 h 6858000"/>
              <a:gd name="connsiteX136" fmla="*/ 2777707 w 7467600"/>
              <a:gd name="connsiteY136" fmla="*/ 5003991 h 6858000"/>
              <a:gd name="connsiteX137" fmla="*/ 2800768 w 7467600"/>
              <a:gd name="connsiteY137" fmla="*/ 5010056 h 6858000"/>
              <a:gd name="connsiteX138" fmla="*/ 2879408 w 7467600"/>
              <a:gd name="connsiteY138" fmla="*/ 5031590 h 6858000"/>
              <a:gd name="connsiteX139" fmla="*/ 2862295 w 7467600"/>
              <a:gd name="connsiteY139" fmla="*/ 5022958 h 6858000"/>
              <a:gd name="connsiteX140" fmla="*/ 2813343 w 7467600"/>
              <a:gd name="connsiteY140" fmla="*/ 4998369 h 6858000"/>
              <a:gd name="connsiteX141" fmla="*/ 2646245 w 7467600"/>
              <a:gd name="connsiteY141" fmla="*/ 4930999 h 6858000"/>
              <a:gd name="connsiteX142" fmla="*/ 1999243 w 7467600"/>
              <a:gd name="connsiteY142" fmla="*/ 4730524 h 6858000"/>
              <a:gd name="connsiteX143" fmla="*/ 1979527 w 7467600"/>
              <a:gd name="connsiteY143" fmla="*/ 4726651 h 6858000"/>
              <a:gd name="connsiteX144" fmla="*/ 1927410 w 7467600"/>
              <a:gd name="connsiteY144" fmla="*/ 4716164 h 6858000"/>
              <a:gd name="connsiteX145" fmla="*/ 1997014 w 7467600"/>
              <a:gd name="connsiteY145" fmla="*/ 4698007 h 6858000"/>
              <a:gd name="connsiteX146" fmla="*/ 2005458 w 7467600"/>
              <a:gd name="connsiteY146" fmla="*/ 4699540 h 6858000"/>
              <a:gd name="connsiteX147" fmla="*/ 2657186 w 7467600"/>
              <a:gd name="connsiteY147" fmla="*/ 4901687 h 6858000"/>
              <a:gd name="connsiteX148" fmla="*/ 2826662 w 7467600"/>
              <a:gd name="connsiteY148" fmla="*/ 4970362 h 6858000"/>
              <a:gd name="connsiteX149" fmla="*/ 2876100 w 7467600"/>
              <a:gd name="connsiteY149" fmla="*/ 4995397 h 6858000"/>
              <a:gd name="connsiteX150" fmla="*/ 3042600 w 7467600"/>
              <a:gd name="connsiteY150" fmla="*/ 5059532 h 6858000"/>
              <a:gd name="connsiteX151" fmla="*/ 1997014 w 7467600"/>
              <a:gd name="connsiteY151" fmla="*/ 4698007 h 6858000"/>
              <a:gd name="connsiteX152" fmla="*/ 2305292 w 7467600"/>
              <a:gd name="connsiteY152" fmla="*/ 4219492 h 6858000"/>
              <a:gd name="connsiteX153" fmla="*/ 3360922 w 7467600"/>
              <a:gd name="connsiteY153" fmla="*/ 4529373 h 6858000"/>
              <a:gd name="connsiteX154" fmla="*/ 3492420 w 7467600"/>
              <a:gd name="connsiteY154" fmla="*/ 4510145 h 6858000"/>
              <a:gd name="connsiteX155" fmla="*/ 3364086 w 7467600"/>
              <a:gd name="connsiteY155" fmla="*/ 4480340 h 6858000"/>
              <a:gd name="connsiteX156" fmla="*/ 3225818 w 7467600"/>
              <a:gd name="connsiteY156" fmla="*/ 4411822 h 6858000"/>
              <a:gd name="connsiteX157" fmla="*/ 3129696 w 7467600"/>
              <a:gd name="connsiteY157" fmla="*/ 4360704 h 6858000"/>
              <a:gd name="connsiteX158" fmla="*/ 2814545 w 7467600"/>
              <a:gd name="connsiteY158" fmla="*/ 4282955 h 6858000"/>
              <a:gd name="connsiteX159" fmla="*/ 2305292 w 7467600"/>
              <a:gd name="connsiteY159" fmla="*/ 4219492 h 6858000"/>
              <a:gd name="connsiteX160" fmla="*/ 2626982 w 7467600"/>
              <a:gd name="connsiteY160" fmla="*/ 4206450 h 6858000"/>
              <a:gd name="connsiteX161" fmla="*/ 2490617 w 7467600"/>
              <a:gd name="connsiteY161" fmla="*/ 4206951 h 6858000"/>
              <a:gd name="connsiteX162" fmla="*/ 2819869 w 7467600"/>
              <a:gd name="connsiteY162" fmla="*/ 4252936 h 6858000"/>
              <a:gd name="connsiteX163" fmla="*/ 3143018 w 7467600"/>
              <a:gd name="connsiteY163" fmla="*/ 4332698 h 6858000"/>
              <a:gd name="connsiteX164" fmla="*/ 3241520 w 7467600"/>
              <a:gd name="connsiteY164" fmla="*/ 4385112 h 6858000"/>
              <a:gd name="connsiteX165" fmla="*/ 3374575 w 7467600"/>
              <a:gd name="connsiteY165" fmla="*/ 4451517 h 6858000"/>
              <a:gd name="connsiteX166" fmla="*/ 3505221 w 7467600"/>
              <a:gd name="connsiteY166" fmla="*/ 4480757 h 6858000"/>
              <a:gd name="connsiteX167" fmla="*/ 2626982 w 7467600"/>
              <a:gd name="connsiteY167" fmla="*/ 4206450 h 6858000"/>
              <a:gd name="connsiteX168" fmla="*/ 1310106 w 7467600"/>
              <a:gd name="connsiteY168" fmla="*/ 3943217 h 6858000"/>
              <a:gd name="connsiteX169" fmla="*/ 854994 w 7467600"/>
              <a:gd name="connsiteY169" fmla="*/ 4399136 h 6858000"/>
              <a:gd name="connsiteX170" fmla="*/ 742462 w 7467600"/>
              <a:gd name="connsiteY170" fmla="*/ 4594648 h 6858000"/>
              <a:gd name="connsiteX171" fmla="*/ 820602 w 7467600"/>
              <a:gd name="connsiteY171" fmla="*/ 4485915 h 6858000"/>
              <a:gd name="connsiteX172" fmla="*/ 878295 w 7467600"/>
              <a:gd name="connsiteY172" fmla="*/ 4403594 h 6858000"/>
              <a:gd name="connsiteX173" fmla="*/ 1240607 w 7467600"/>
              <a:gd name="connsiteY173" fmla="*/ 4010401 h 6858000"/>
              <a:gd name="connsiteX174" fmla="*/ 1310106 w 7467600"/>
              <a:gd name="connsiteY174" fmla="*/ 3943217 h 6858000"/>
              <a:gd name="connsiteX175" fmla="*/ 1423113 w 7467600"/>
              <a:gd name="connsiteY175" fmla="*/ 3874565 h 6858000"/>
              <a:gd name="connsiteX176" fmla="*/ 1260565 w 7467600"/>
              <a:gd name="connsiteY176" fmla="*/ 4031982 h 6858000"/>
              <a:gd name="connsiteX177" fmla="*/ 901900 w 7467600"/>
              <a:gd name="connsiteY177" fmla="*/ 4421236 h 6858000"/>
              <a:gd name="connsiteX178" fmla="*/ 845044 w 7467600"/>
              <a:gd name="connsiteY178" fmla="*/ 4502436 h 6858000"/>
              <a:gd name="connsiteX179" fmla="*/ 685926 w 7467600"/>
              <a:gd name="connsiteY179" fmla="*/ 4703069 h 6858000"/>
              <a:gd name="connsiteX180" fmla="*/ 684248 w 7467600"/>
              <a:gd name="connsiteY180" fmla="*/ 4706721 h 6858000"/>
              <a:gd name="connsiteX181" fmla="*/ 1423113 w 7467600"/>
              <a:gd name="connsiteY181" fmla="*/ 3874565 h 6858000"/>
              <a:gd name="connsiteX182" fmla="*/ 3316479 w 7467600"/>
              <a:gd name="connsiteY182" fmla="*/ 3872136 h 6858000"/>
              <a:gd name="connsiteX183" fmla="*/ 3546806 w 7467600"/>
              <a:gd name="connsiteY183" fmla="*/ 4356139 h 6858000"/>
              <a:gd name="connsiteX184" fmla="*/ 3364433 w 7467600"/>
              <a:gd name="connsiteY184" fmla="*/ 3953121 h 6858000"/>
              <a:gd name="connsiteX185" fmla="*/ 3316479 w 7467600"/>
              <a:gd name="connsiteY185" fmla="*/ 3872136 h 6858000"/>
              <a:gd name="connsiteX186" fmla="*/ 3291335 w 7467600"/>
              <a:gd name="connsiteY186" fmla="*/ 3767420 h 6858000"/>
              <a:gd name="connsiteX187" fmla="*/ 3390805 w 7467600"/>
              <a:gd name="connsiteY187" fmla="*/ 3937163 h 6858000"/>
              <a:gd name="connsiteX188" fmla="*/ 3579062 w 7467600"/>
              <a:gd name="connsiteY188" fmla="*/ 4359040 h 6858000"/>
              <a:gd name="connsiteX189" fmla="*/ 3467355 w 7467600"/>
              <a:gd name="connsiteY189" fmla="*/ 3988130 h 6858000"/>
              <a:gd name="connsiteX190" fmla="*/ 3310753 w 7467600"/>
              <a:gd name="connsiteY190" fmla="*/ 3787140 h 6858000"/>
              <a:gd name="connsiteX191" fmla="*/ 3291335 w 7467600"/>
              <a:gd name="connsiteY191" fmla="*/ 3767420 h 6858000"/>
              <a:gd name="connsiteX192" fmla="*/ 1635889 w 7467600"/>
              <a:gd name="connsiteY192" fmla="*/ 3709494 h 6858000"/>
              <a:gd name="connsiteX193" fmla="*/ 1634800 w 7467600"/>
              <a:gd name="connsiteY193" fmla="*/ 3731111 h 6858000"/>
              <a:gd name="connsiteX194" fmla="*/ 1635889 w 7467600"/>
              <a:gd name="connsiteY194" fmla="*/ 3709494 h 6858000"/>
              <a:gd name="connsiteX195" fmla="*/ 1510397 w 7467600"/>
              <a:gd name="connsiteY195" fmla="*/ 3684705 h 6858000"/>
              <a:gd name="connsiteX196" fmla="*/ 1146550 w 7467600"/>
              <a:gd name="connsiteY196" fmla="*/ 3802012 h 6858000"/>
              <a:gd name="connsiteX197" fmla="*/ 698834 w 7467600"/>
              <a:gd name="connsiteY197" fmla="*/ 3952272 h 6858000"/>
              <a:gd name="connsiteX198" fmla="*/ 34256 w 7467600"/>
              <a:gd name="connsiteY198" fmla="*/ 4347603 h 6858000"/>
              <a:gd name="connsiteX199" fmla="*/ 527241 w 7467600"/>
              <a:gd name="connsiteY199" fmla="*/ 4065078 h 6858000"/>
              <a:gd name="connsiteX200" fmla="*/ 1510397 w 7467600"/>
              <a:gd name="connsiteY200" fmla="*/ 3684705 h 6858000"/>
              <a:gd name="connsiteX201" fmla="*/ 1313114 w 7467600"/>
              <a:gd name="connsiteY201" fmla="*/ 3655216 h 6858000"/>
              <a:gd name="connsiteX202" fmla="*/ 1109304 w 7467600"/>
              <a:gd name="connsiteY202" fmla="*/ 3669030 h 6858000"/>
              <a:gd name="connsiteX203" fmla="*/ 8129 w 7467600"/>
              <a:gd name="connsiteY203" fmla="*/ 4330519 h 6858000"/>
              <a:gd name="connsiteX204" fmla="*/ 687572 w 7467600"/>
              <a:gd name="connsiteY204" fmla="*/ 3925629 h 6858000"/>
              <a:gd name="connsiteX205" fmla="*/ 1138365 w 7467600"/>
              <a:gd name="connsiteY205" fmla="*/ 3774515 h 6858000"/>
              <a:gd name="connsiteX206" fmla="*/ 1505579 w 7467600"/>
              <a:gd name="connsiteY206" fmla="*/ 3655526 h 6858000"/>
              <a:gd name="connsiteX207" fmla="*/ 1313114 w 7467600"/>
              <a:gd name="connsiteY207" fmla="*/ 3655216 h 6858000"/>
              <a:gd name="connsiteX208" fmla="*/ 3655073 w 7467600"/>
              <a:gd name="connsiteY208" fmla="*/ 3650884 h 6858000"/>
              <a:gd name="connsiteX209" fmla="*/ 3989938 w 7467600"/>
              <a:gd name="connsiteY209" fmla="*/ 3991685 h 6858000"/>
              <a:gd name="connsiteX210" fmla="*/ 4393907 w 7467600"/>
              <a:gd name="connsiteY210" fmla="*/ 4261258 h 6858000"/>
              <a:gd name="connsiteX211" fmla="*/ 4648051 w 7467600"/>
              <a:gd name="connsiteY211" fmla="*/ 4374051 h 6858000"/>
              <a:gd name="connsiteX212" fmla="*/ 4383389 w 7467600"/>
              <a:gd name="connsiteY212" fmla="*/ 4184369 h 6858000"/>
              <a:gd name="connsiteX213" fmla="*/ 4165508 w 7467600"/>
              <a:gd name="connsiteY213" fmla="*/ 4035196 h 6858000"/>
              <a:gd name="connsiteX214" fmla="*/ 4068162 w 7467600"/>
              <a:gd name="connsiteY214" fmla="*/ 3953394 h 6858000"/>
              <a:gd name="connsiteX215" fmla="*/ 3981416 w 7467600"/>
              <a:gd name="connsiteY215" fmla="*/ 3880482 h 6858000"/>
              <a:gd name="connsiteX216" fmla="*/ 3800147 w 7467600"/>
              <a:gd name="connsiteY216" fmla="*/ 3749872 h 6858000"/>
              <a:gd name="connsiteX217" fmla="*/ 3655073 w 7467600"/>
              <a:gd name="connsiteY217" fmla="*/ 3650884 h 6858000"/>
              <a:gd name="connsiteX218" fmla="*/ 3670252 w 7467600"/>
              <a:gd name="connsiteY218" fmla="*/ 3622798 h 6858000"/>
              <a:gd name="connsiteX219" fmla="*/ 3817258 w 7467600"/>
              <a:gd name="connsiteY219" fmla="*/ 3723577 h 6858000"/>
              <a:gd name="connsiteX220" fmla="*/ 4000461 w 7467600"/>
              <a:gd name="connsiteY220" fmla="*/ 3855966 h 6858000"/>
              <a:gd name="connsiteX221" fmla="*/ 4088180 w 7467600"/>
              <a:gd name="connsiteY221" fmla="*/ 3929774 h 6858000"/>
              <a:gd name="connsiteX222" fmla="*/ 4184555 w 7467600"/>
              <a:gd name="connsiteY222" fmla="*/ 4010683 h 6858000"/>
              <a:gd name="connsiteX223" fmla="*/ 4399563 w 7467600"/>
              <a:gd name="connsiteY223" fmla="*/ 4158106 h 6858000"/>
              <a:gd name="connsiteX224" fmla="*/ 4684469 w 7467600"/>
              <a:gd name="connsiteY224" fmla="*/ 4364680 h 6858000"/>
              <a:gd name="connsiteX225" fmla="*/ 4690271 w 7467600"/>
              <a:gd name="connsiteY225" fmla="*/ 4370034 h 6858000"/>
              <a:gd name="connsiteX226" fmla="*/ 4136093 w 7467600"/>
              <a:gd name="connsiteY226" fmla="*/ 3858466 h 6858000"/>
              <a:gd name="connsiteX227" fmla="*/ 3670252 w 7467600"/>
              <a:gd name="connsiteY227" fmla="*/ 3622798 h 6858000"/>
              <a:gd name="connsiteX228" fmla="*/ 4440129 w 7467600"/>
              <a:gd name="connsiteY228" fmla="*/ 3448571 h 6858000"/>
              <a:gd name="connsiteX229" fmla="*/ 4856525 w 7467600"/>
              <a:gd name="connsiteY229" fmla="*/ 3915351 h 6858000"/>
              <a:gd name="connsiteX230" fmla="*/ 5059055 w 7467600"/>
              <a:gd name="connsiteY230" fmla="*/ 4108918 h 6858000"/>
              <a:gd name="connsiteX231" fmla="*/ 5290070 w 7467600"/>
              <a:gd name="connsiteY231" fmla="*/ 4263619 h 6858000"/>
              <a:gd name="connsiteX232" fmla="*/ 4834991 w 7467600"/>
              <a:gd name="connsiteY232" fmla="*/ 3830985 h 6858000"/>
              <a:gd name="connsiteX233" fmla="*/ 4440129 w 7467600"/>
              <a:gd name="connsiteY233" fmla="*/ 3448571 h 6858000"/>
              <a:gd name="connsiteX234" fmla="*/ 4441737 w 7467600"/>
              <a:gd name="connsiteY234" fmla="*/ 3399734 h 6858000"/>
              <a:gd name="connsiteX235" fmla="*/ 4431236 w 7467600"/>
              <a:gd name="connsiteY235" fmla="*/ 3400954 h 6858000"/>
              <a:gd name="connsiteX236" fmla="*/ 4557150 w 7467600"/>
              <a:gd name="connsiteY236" fmla="*/ 3510023 h 6858000"/>
              <a:gd name="connsiteX237" fmla="*/ 4856936 w 7467600"/>
              <a:gd name="connsiteY237" fmla="*/ 3809146 h 6858000"/>
              <a:gd name="connsiteX238" fmla="*/ 5111996 w 7467600"/>
              <a:gd name="connsiteY238" fmla="*/ 4065759 h 6858000"/>
              <a:gd name="connsiteX239" fmla="*/ 5388878 w 7467600"/>
              <a:gd name="connsiteY239" fmla="*/ 4300185 h 6858000"/>
              <a:gd name="connsiteX240" fmla="*/ 5425556 w 7467600"/>
              <a:gd name="connsiteY240" fmla="*/ 4308967 h 6858000"/>
              <a:gd name="connsiteX241" fmla="*/ 4943646 w 7467600"/>
              <a:gd name="connsiteY241" fmla="*/ 3822916 h 6858000"/>
              <a:gd name="connsiteX242" fmla="*/ 4594837 w 7467600"/>
              <a:gd name="connsiteY242" fmla="*/ 3532274 h 6858000"/>
              <a:gd name="connsiteX243" fmla="*/ 4441737 w 7467600"/>
              <a:gd name="connsiteY243" fmla="*/ 3399734 h 6858000"/>
              <a:gd name="connsiteX244" fmla="*/ 5425834 w 7467600"/>
              <a:gd name="connsiteY244" fmla="*/ 3162785 h 6858000"/>
              <a:gd name="connsiteX245" fmla="*/ 5401644 w 7467600"/>
              <a:gd name="connsiteY245" fmla="*/ 3617847 h 6858000"/>
              <a:gd name="connsiteX246" fmla="*/ 5467256 w 7467600"/>
              <a:gd name="connsiteY246" fmla="*/ 4175494 h 6858000"/>
              <a:gd name="connsiteX247" fmla="*/ 5448069 w 7467600"/>
              <a:gd name="connsiteY247" fmla="*/ 3567554 h 6858000"/>
              <a:gd name="connsiteX248" fmla="*/ 5425834 w 7467600"/>
              <a:gd name="connsiteY248" fmla="*/ 3162785 h 6858000"/>
              <a:gd name="connsiteX249" fmla="*/ 1318687 w 7467600"/>
              <a:gd name="connsiteY249" fmla="*/ 3113840 h 6858000"/>
              <a:gd name="connsiteX250" fmla="*/ 1066793 w 7467600"/>
              <a:gd name="connsiteY250" fmla="*/ 3212171 h 6858000"/>
              <a:gd name="connsiteX251" fmla="*/ 993319 w 7467600"/>
              <a:gd name="connsiteY251" fmla="*/ 3247648 h 6858000"/>
              <a:gd name="connsiteX252" fmla="*/ 853081 w 7467600"/>
              <a:gd name="connsiteY252" fmla="*/ 3312410 h 6858000"/>
              <a:gd name="connsiteX253" fmla="*/ 805957 w 7467600"/>
              <a:gd name="connsiteY253" fmla="*/ 3330443 h 6858000"/>
              <a:gd name="connsiteX254" fmla="*/ 1318687 w 7467600"/>
              <a:gd name="connsiteY254" fmla="*/ 3113840 h 6858000"/>
              <a:gd name="connsiteX255" fmla="*/ 5453702 w 7467600"/>
              <a:gd name="connsiteY255" fmla="*/ 3090882 h 6858000"/>
              <a:gd name="connsiteX256" fmla="*/ 5480135 w 7467600"/>
              <a:gd name="connsiteY256" fmla="*/ 3565802 h 6858000"/>
              <a:gd name="connsiteX257" fmla="*/ 5499023 w 7467600"/>
              <a:gd name="connsiteY257" fmla="*/ 4166310 h 6858000"/>
              <a:gd name="connsiteX258" fmla="*/ 5547022 w 7467600"/>
              <a:gd name="connsiteY258" fmla="*/ 3607838 h 6858000"/>
              <a:gd name="connsiteX259" fmla="*/ 5515964 w 7467600"/>
              <a:gd name="connsiteY259" fmla="*/ 3378541 h 6858000"/>
              <a:gd name="connsiteX260" fmla="*/ 5453702 w 7467600"/>
              <a:gd name="connsiteY260" fmla="*/ 3090882 h 6858000"/>
              <a:gd name="connsiteX261" fmla="*/ 1238695 w 7467600"/>
              <a:gd name="connsiteY261" fmla="*/ 3076820 h 6858000"/>
              <a:gd name="connsiteX262" fmla="*/ 716371 w 7467600"/>
              <a:gd name="connsiteY262" fmla="*/ 3293249 h 6858000"/>
              <a:gd name="connsiteX263" fmla="*/ 579522 w 7467600"/>
              <a:gd name="connsiteY263" fmla="*/ 3371759 h 6858000"/>
              <a:gd name="connsiteX264" fmla="*/ 600288 w 7467600"/>
              <a:gd name="connsiteY264" fmla="*/ 3365555 h 6858000"/>
              <a:gd name="connsiteX265" fmla="*/ 840692 w 7467600"/>
              <a:gd name="connsiteY265" fmla="*/ 3284921 h 6858000"/>
              <a:gd name="connsiteX266" fmla="*/ 979248 w 7467600"/>
              <a:gd name="connsiteY266" fmla="*/ 3221003 h 6858000"/>
              <a:gd name="connsiteX267" fmla="*/ 1053282 w 7467600"/>
              <a:gd name="connsiteY267" fmla="*/ 3185247 h 6858000"/>
              <a:gd name="connsiteX268" fmla="*/ 1320603 w 7467600"/>
              <a:gd name="connsiteY268" fmla="*/ 3081281 h 6858000"/>
              <a:gd name="connsiteX269" fmla="*/ 1238695 w 7467600"/>
              <a:gd name="connsiteY269" fmla="*/ 3076820 h 6858000"/>
              <a:gd name="connsiteX270" fmla="*/ 5425627 w 7467600"/>
              <a:gd name="connsiteY270" fmla="*/ 2954192 h 6858000"/>
              <a:gd name="connsiteX271" fmla="*/ 5470770 w 7467600"/>
              <a:gd name="connsiteY271" fmla="*/ 3005435 h 6858000"/>
              <a:gd name="connsiteX272" fmla="*/ 5519779 w 7467600"/>
              <a:gd name="connsiteY272" fmla="*/ 4359223 h 6858000"/>
              <a:gd name="connsiteX273" fmla="*/ 5520293 w 7467600"/>
              <a:gd name="connsiteY273" fmla="*/ 4360602 h 6858000"/>
              <a:gd name="connsiteX274" fmla="*/ 5767221 w 7467600"/>
              <a:gd name="connsiteY274" fmla="*/ 4665564 h 6858000"/>
              <a:gd name="connsiteX275" fmla="*/ 6937169 w 7467600"/>
              <a:gd name="connsiteY275" fmla="*/ 4815941 h 6858000"/>
              <a:gd name="connsiteX276" fmla="*/ 6953922 w 7467600"/>
              <a:gd name="connsiteY276" fmla="*/ 4890068 h 6858000"/>
              <a:gd name="connsiteX277" fmla="*/ 6071359 w 7467600"/>
              <a:gd name="connsiteY277" fmla="*/ 4770770 h 6858000"/>
              <a:gd name="connsiteX278" fmla="*/ 6038839 w 7467600"/>
              <a:gd name="connsiteY278" fmla="*/ 4764474 h 6858000"/>
              <a:gd name="connsiteX279" fmla="*/ 6038706 w 7467600"/>
              <a:gd name="connsiteY279" fmla="*/ 4763847 h 6858000"/>
              <a:gd name="connsiteX280" fmla="*/ 6037784 w 7467600"/>
              <a:gd name="connsiteY280" fmla="*/ 4764270 h 6858000"/>
              <a:gd name="connsiteX281" fmla="*/ 6038839 w 7467600"/>
              <a:gd name="connsiteY281" fmla="*/ 4764474 h 6858000"/>
              <a:gd name="connsiteX282" fmla="*/ 6040338 w 7467600"/>
              <a:gd name="connsiteY282" fmla="*/ 4771418 h 6858000"/>
              <a:gd name="connsiteX283" fmla="*/ 6024488 w 7467600"/>
              <a:gd name="connsiteY283" fmla="*/ 4809903 h 6858000"/>
              <a:gd name="connsiteX284" fmla="*/ 5599771 w 7467600"/>
              <a:gd name="connsiteY284" fmla="*/ 5509652 h 6858000"/>
              <a:gd name="connsiteX285" fmla="*/ 5548843 w 7467600"/>
              <a:gd name="connsiteY285" fmla="*/ 5563845 h 6858000"/>
              <a:gd name="connsiteX286" fmla="*/ 5940952 w 7467600"/>
              <a:gd name="connsiteY286" fmla="*/ 6250028 h 6858000"/>
              <a:gd name="connsiteX287" fmla="*/ 6043441 w 7467600"/>
              <a:gd name="connsiteY287" fmla="*/ 6665847 h 6858000"/>
              <a:gd name="connsiteX288" fmla="*/ 6093432 w 7467600"/>
              <a:gd name="connsiteY288" fmla="*/ 6858000 h 6858000"/>
              <a:gd name="connsiteX289" fmla="*/ 6034344 w 7467600"/>
              <a:gd name="connsiteY289" fmla="*/ 6858000 h 6858000"/>
              <a:gd name="connsiteX290" fmla="*/ 6026679 w 7467600"/>
              <a:gd name="connsiteY290" fmla="*/ 6836959 h 6858000"/>
              <a:gd name="connsiteX291" fmla="*/ 5800441 w 7467600"/>
              <a:gd name="connsiteY291" fmla="*/ 6335286 h 6858000"/>
              <a:gd name="connsiteX292" fmla="*/ 5526562 w 7467600"/>
              <a:gd name="connsiteY292" fmla="*/ 5705388 h 6858000"/>
              <a:gd name="connsiteX293" fmla="*/ 5519640 w 7467600"/>
              <a:gd name="connsiteY293" fmla="*/ 5683774 h 6858000"/>
              <a:gd name="connsiteX294" fmla="*/ 5844559 w 7467600"/>
              <a:gd name="connsiteY294" fmla="*/ 6553349 h 6858000"/>
              <a:gd name="connsiteX295" fmla="*/ 5975994 w 7467600"/>
              <a:gd name="connsiteY295" fmla="*/ 6858000 h 6858000"/>
              <a:gd name="connsiteX296" fmla="*/ 5898547 w 7467600"/>
              <a:gd name="connsiteY296" fmla="*/ 6858000 h 6858000"/>
              <a:gd name="connsiteX297" fmla="*/ 5682041 w 7467600"/>
              <a:gd name="connsiteY297" fmla="*/ 6355860 h 6858000"/>
              <a:gd name="connsiteX298" fmla="*/ 5461758 w 7467600"/>
              <a:gd name="connsiteY298" fmla="*/ 5820220 h 6858000"/>
              <a:gd name="connsiteX299" fmla="*/ 5237282 w 7467600"/>
              <a:gd name="connsiteY299" fmla="*/ 6579086 h 6858000"/>
              <a:gd name="connsiteX300" fmla="*/ 5115009 w 7467600"/>
              <a:gd name="connsiteY300" fmla="*/ 6858000 h 6858000"/>
              <a:gd name="connsiteX301" fmla="*/ 5028074 w 7467600"/>
              <a:gd name="connsiteY301" fmla="*/ 6858000 h 6858000"/>
              <a:gd name="connsiteX302" fmla="*/ 5079508 w 7467600"/>
              <a:gd name="connsiteY302" fmla="*/ 6749074 h 6858000"/>
              <a:gd name="connsiteX303" fmla="*/ 5371846 w 7467600"/>
              <a:gd name="connsiteY303" fmla="*/ 5924413 h 6858000"/>
              <a:gd name="connsiteX304" fmla="*/ 5270512 w 7467600"/>
              <a:gd name="connsiteY304" fmla="*/ 6138975 h 6858000"/>
              <a:gd name="connsiteX305" fmla="*/ 5062409 w 7467600"/>
              <a:gd name="connsiteY305" fmla="*/ 6653544 h 6858000"/>
              <a:gd name="connsiteX306" fmla="*/ 5036628 w 7467600"/>
              <a:gd name="connsiteY306" fmla="*/ 6754247 h 6858000"/>
              <a:gd name="connsiteX307" fmla="*/ 5009112 w 7467600"/>
              <a:gd name="connsiteY307" fmla="*/ 6858000 h 6858000"/>
              <a:gd name="connsiteX308" fmla="*/ 4976679 w 7467600"/>
              <a:gd name="connsiteY308" fmla="*/ 6858000 h 6858000"/>
              <a:gd name="connsiteX309" fmla="*/ 5006537 w 7467600"/>
              <a:gd name="connsiteY309" fmla="*/ 6747068 h 6858000"/>
              <a:gd name="connsiteX310" fmla="*/ 5032723 w 7467600"/>
              <a:gd name="connsiteY310" fmla="*/ 6644957 h 6858000"/>
              <a:gd name="connsiteX311" fmla="*/ 5242949 w 7467600"/>
              <a:gd name="connsiteY311" fmla="*/ 6125175 h 6858000"/>
              <a:gd name="connsiteX312" fmla="*/ 5286321 w 7467600"/>
              <a:gd name="connsiteY312" fmla="*/ 6033555 h 6858000"/>
              <a:gd name="connsiteX313" fmla="*/ 5008210 w 7467600"/>
              <a:gd name="connsiteY313" fmla="*/ 6649194 h 6858000"/>
              <a:gd name="connsiteX314" fmla="*/ 4986321 w 7467600"/>
              <a:gd name="connsiteY314" fmla="*/ 6765687 h 6858000"/>
              <a:gd name="connsiteX315" fmla="*/ 4973474 w 7467600"/>
              <a:gd name="connsiteY315" fmla="*/ 6858000 h 6858000"/>
              <a:gd name="connsiteX316" fmla="*/ 4907178 w 7467600"/>
              <a:gd name="connsiteY316" fmla="*/ 6858000 h 6858000"/>
              <a:gd name="connsiteX317" fmla="*/ 4910810 w 7467600"/>
              <a:gd name="connsiteY317" fmla="*/ 6829660 h 6858000"/>
              <a:gd name="connsiteX318" fmla="*/ 4987461 w 7467600"/>
              <a:gd name="connsiteY318" fmla="*/ 6432994 h 6858000"/>
              <a:gd name="connsiteX319" fmla="*/ 5179262 w 7467600"/>
              <a:gd name="connsiteY319" fmla="*/ 6035044 h 6858000"/>
              <a:gd name="connsiteX320" fmla="*/ 4689678 w 7467600"/>
              <a:gd name="connsiteY320" fmla="*/ 6440241 h 6858000"/>
              <a:gd name="connsiteX321" fmla="*/ 4477543 w 7467600"/>
              <a:gd name="connsiteY321" fmla="*/ 6674836 h 6858000"/>
              <a:gd name="connsiteX322" fmla="*/ 4329957 w 7467600"/>
              <a:gd name="connsiteY322" fmla="*/ 6858000 h 6858000"/>
              <a:gd name="connsiteX323" fmla="*/ 4218595 w 7467600"/>
              <a:gd name="connsiteY323" fmla="*/ 6858000 h 6858000"/>
              <a:gd name="connsiteX324" fmla="*/ 4368888 w 7467600"/>
              <a:gd name="connsiteY324" fmla="*/ 6668412 h 6858000"/>
              <a:gd name="connsiteX325" fmla="*/ 4563091 w 7467600"/>
              <a:gd name="connsiteY325" fmla="*/ 6442508 h 6858000"/>
              <a:gd name="connsiteX326" fmla="*/ 5387324 w 7467600"/>
              <a:gd name="connsiteY326" fmla="*/ 5705830 h 6858000"/>
              <a:gd name="connsiteX327" fmla="*/ 5073620 w 7467600"/>
              <a:gd name="connsiteY327" fmla="*/ 5955437 h 6858000"/>
              <a:gd name="connsiteX328" fmla="*/ 4689789 w 7467600"/>
              <a:gd name="connsiteY328" fmla="*/ 6268382 h 6858000"/>
              <a:gd name="connsiteX329" fmla="*/ 4418722 w 7467600"/>
              <a:gd name="connsiteY329" fmla="*/ 6570886 h 6858000"/>
              <a:gd name="connsiteX330" fmla="*/ 4214944 w 7467600"/>
              <a:gd name="connsiteY330" fmla="*/ 6858000 h 6858000"/>
              <a:gd name="connsiteX331" fmla="*/ 4177898 w 7467600"/>
              <a:gd name="connsiteY331" fmla="*/ 6858000 h 6858000"/>
              <a:gd name="connsiteX332" fmla="*/ 4391597 w 7467600"/>
              <a:gd name="connsiteY332" fmla="*/ 6556370 h 6858000"/>
              <a:gd name="connsiteX333" fmla="*/ 4668889 w 7467600"/>
              <a:gd name="connsiteY333" fmla="*/ 6246399 h 6858000"/>
              <a:gd name="connsiteX334" fmla="*/ 5055427 w 7467600"/>
              <a:gd name="connsiteY334" fmla="*/ 5931476 h 6858000"/>
              <a:gd name="connsiteX335" fmla="*/ 5371814 w 7467600"/>
              <a:gd name="connsiteY335" fmla="*/ 5678975 h 6858000"/>
              <a:gd name="connsiteX336" fmla="*/ 4987918 w 7467600"/>
              <a:gd name="connsiteY336" fmla="*/ 5838701 h 6858000"/>
              <a:gd name="connsiteX337" fmla="*/ 4317146 w 7467600"/>
              <a:gd name="connsiteY337" fmla="*/ 6587716 h 6858000"/>
              <a:gd name="connsiteX338" fmla="*/ 4171627 w 7467600"/>
              <a:gd name="connsiteY338" fmla="*/ 6858000 h 6858000"/>
              <a:gd name="connsiteX339" fmla="*/ 4081585 w 7467600"/>
              <a:gd name="connsiteY339" fmla="*/ 6858000 h 6858000"/>
              <a:gd name="connsiteX340" fmla="*/ 4238603 w 7467600"/>
              <a:gd name="connsiteY340" fmla="*/ 6559341 h 6858000"/>
              <a:gd name="connsiteX341" fmla="*/ 4778333 w 7467600"/>
              <a:gd name="connsiteY341" fmla="*/ 5873626 h 6858000"/>
              <a:gd name="connsiteX342" fmla="*/ 5414185 w 7467600"/>
              <a:gd name="connsiteY342" fmla="*/ 5573882 h 6858000"/>
              <a:gd name="connsiteX343" fmla="*/ 5959648 w 7467600"/>
              <a:gd name="connsiteY343" fmla="*/ 4760797 h 6858000"/>
              <a:gd name="connsiteX344" fmla="*/ 5355019 w 7467600"/>
              <a:gd name="connsiteY344" fmla="*/ 4734672 h 6858000"/>
              <a:gd name="connsiteX345" fmla="*/ 5083565 w 7467600"/>
              <a:gd name="connsiteY345" fmla="*/ 5179121 h 6858000"/>
              <a:gd name="connsiteX346" fmla="*/ 4713577 w 7467600"/>
              <a:gd name="connsiteY346" fmla="*/ 5616803 h 6858000"/>
              <a:gd name="connsiteX347" fmla="*/ 3989559 w 7467600"/>
              <a:gd name="connsiteY347" fmla="*/ 6145945 h 6858000"/>
              <a:gd name="connsiteX348" fmla="*/ 3939824 w 7467600"/>
              <a:gd name="connsiteY348" fmla="*/ 6066900 h 6858000"/>
              <a:gd name="connsiteX349" fmla="*/ 4584537 w 7467600"/>
              <a:gd name="connsiteY349" fmla="*/ 5324826 h 6858000"/>
              <a:gd name="connsiteX350" fmla="*/ 5037105 w 7467600"/>
              <a:gd name="connsiteY350" fmla="*/ 5088765 h 6858000"/>
              <a:gd name="connsiteX351" fmla="*/ 5039930 w 7467600"/>
              <a:gd name="connsiteY351" fmla="*/ 5089585 h 6858000"/>
              <a:gd name="connsiteX352" fmla="*/ 5263764 w 7467600"/>
              <a:gd name="connsiteY352" fmla="*/ 4735525 h 6858000"/>
              <a:gd name="connsiteX353" fmla="*/ 4086300 w 7467600"/>
              <a:gd name="connsiteY353" fmla="*/ 4884599 h 6858000"/>
              <a:gd name="connsiteX354" fmla="*/ 4085485 w 7467600"/>
              <a:gd name="connsiteY354" fmla="*/ 4899070 h 6858000"/>
              <a:gd name="connsiteX355" fmla="*/ 3871915 w 7467600"/>
              <a:gd name="connsiteY355" fmla="*/ 5253645 h 6858000"/>
              <a:gd name="connsiteX356" fmla="*/ 3799374 w 7467600"/>
              <a:gd name="connsiteY356" fmla="*/ 5466127 h 6858000"/>
              <a:gd name="connsiteX357" fmla="*/ 3498850 w 7467600"/>
              <a:gd name="connsiteY357" fmla="*/ 6661888 h 6858000"/>
              <a:gd name="connsiteX358" fmla="*/ 3399216 w 7467600"/>
              <a:gd name="connsiteY358" fmla="*/ 6858000 h 6858000"/>
              <a:gd name="connsiteX359" fmla="*/ 3303688 w 7467600"/>
              <a:gd name="connsiteY359" fmla="*/ 6858000 h 6858000"/>
              <a:gd name="connsiteX360" fmla="*/ 3391774 w 7467600"/>
              <a:gd name="connsiteY360" fmla="*/ 6697181 h 6858000"/>
              <a:gd name="connsiteX361" fmla="*/ 3735540 w 7467600"/>
              <a:gd name="connsiteY361" fmla="*/ 5546923 h 6858000"/>
              <a:gd name="connsiteX362" fmla="*/ 3729438 w 7467600"/>
              <a:gd name="connsiteY362" fmla="*/ 5569058 h 6858000"/>
              <a:gd name="connsiteX363" fmla="*/ 3707782 w 7467600"/>
              <a:gd name="connsiteY363" fmla="*/ 5644908 h 6858000"/>
              <a:gd name="connsiteX364" fmla="*/ 3583827 w 7467600"/>
              <a:gd name="connsiteY364" fmla="*/ 6039215 h 6858000"/>
              <a:gd name="connsiteX365" fmla="*/ 3547861 w 7467600"/>
              <a:gd name="connsiteY365" fmla="*/ 6129609 h 6858000"/>
              <a:gd name="connsiteX366" fmla="*/ 3490905 w 7467600"/>
              <a:gd name="connsiteY366" fmla="*/ 6277660 h 6858000"/>
              <a:gd name="connsiteX367" fmla="*/ 3455859 w 7467600"/>
              <a:gd name="connsiteY367" fmla="*/ 6391301 h 6858000"/>
              <a:gd name="connsiteX368" fmla="*/ 3429112 w 7467600"/>
              <a:gd name="connsiteY368" fmla="*/ 6479469 h 6858000"/>
              <a:gd name="connsiteX369" fmla="*/ 3304862 w 7467600"/>
              <a:gd name="connsiteY369" fmla="*/ 6796476 h 6858000"/>
              <a:gd name="connsiteX370" fmla="*/ 3276071 w 7467600"/>
              <a:gd name="connsiteY370" fmla="*/ 6858000 h 6858000"/>
              <a:gd name="connsiteX371" fmla="*/ 3240805 w 7467600"/>
              <a:gd name="connsiteY371" fmla="*/ 6858000 h 6858000"/>
              <a:gd name="connsiteX372" fmla="*/ 3275917 w 7467600"/>
              <a:gd name="connsiteY372" fmla="*/ 6783192 h 6858000"/>
              <a:gd name="connsiteX373" fmla="*/ 3399358 w 7467600"/>
              <a:gd name="connsiteY373" fmla="*/ 6469011 h 6858000"/>
              <a:gd name="connsiteX374" fmla="*/ 3425650 w 7467600"/>
              <a:gd name="connsiteY374" fmla="*/ 6381333 h 6858000"/>
              <a:gd name="connsiteX375" fmla="*/ 3460661 w 7467600"/>
              <a:gd name="connsiteY375" fmla="*/ 6266763 h 6858000"/>
              <a:gd name="connsiteX376" fmla="*/ 3518021 w 7467600"/>
              <a:gd name="connsiteY376" fmla="*/ 6117298 h 6858000"/>
              <a:gd name="connsiteX377" fmla="*/ 3554035 w 7467600"/>
              <a:gd name="connsiteY377" fmla="*/ 6027832 h 6858000"/>
              <a:gd name="connsiteX378" fmla="*/ 3677174 w 7467600"/>
              <a:gd name="connsiteY378" fmla="*/ 5636351 h 6858000"/>
              <a:gd name="connsiteX379" fmla="*/ 3698819 w 7467600"/>
              <a:gd name="connsiteY379" fmla="*/ 5560503 h 6858000"/>
              <a:gd name="connsiteX380" fmla="*/ 3702094 w 7467600"/>
              <a:gd name="connsiteY380" fmla="*/ 5549194 h 6858000"/>
              <a:gd name="connsiteX381" fmla="*/ 3398355 w 7467600"/>
              <a:gd name="connsiteY381" fmla="*/ 6094603 h 6858000"/>
              <a:gd name="connsiteX382" fmla="*/ 3193941 w 7467600"/>
              <a:gd name="connsiteY382" fmla="*/ 6798775 h 6858000"/>
              <a:gd name="connsiteX383" fmla="*/ 3184140 w 7467600"/>
              <a:gd name="connsiteY383" fmla="*/ 6858000 h 6858000"/>
              <a:gd name="connsiteX384" fmla="*/ 3099978 w 7467600"/>
              <a:gd name="connsiteY384" fmla="*/ 6858000 h 6858000"/>
              <a:gd name="connsiteX385" fmla="*/ 3101556 w 7467600"/>
              <a:gd name="connsiteY385" fmla="*/ 6843337 h 6858000"/>
              <a:gd name="connsiteX386" fmla="*/ 3370162 w 7467600"/>
              <a:gd name="connsiteY386" fmla="*/ 5785550 h 6858000"/>
              <a:gd name="connsiteX387" fmla="*/ 3746477 w 7467600"/>
              <a:gd name="connsiteY387" fmla="*/ 5377889 h 6858000"/>
              <a:gd name="connsiteX388" fmla="*/ 3863399 w 7467600"/>
              <a:gd name="connsiteY388" fmla="*/ 5087257 h 6858000"/>
              <a:gd name="connsiteX389" fmla="*/ 3968712 w 7467600"/>
              <a:gd name="connsiteY389" fmla="*/ 4913989 h 6858000"/>
              <a:gd name="connsiteX390" fmla="*/ 2792390 w 7467600"/>
              <a:gd name="connsiteY390" fmla="*/ 5382974 h 6858000"/>
              <a:gd name="connsiteX391" fmla="*/ 2714982 w 7467600"/>
              <a:gd name="connsiteY391" fmla="*/ 5427051 h 6858000"/>
              <a:gd name="connsiteX392" fmla="*/ 2813361 w 7467600"/>
              <a:gd name="connsiteY392" fmla="*/ 6023912 h 6858000"/>
              <a:gd name="connsiteX393" fmla="*/ 2688430 w 7467600"/>
              <a:gd name="connsiteY393" fmla="*/ 6801564 h 6858000"/>
              <a:gd name="connsiteX394" fmla="*/ 2629626 w 7467600"/>
              <a:gd name="connsiteY394" fmla="*/ 6763394 h 6858000"/>
              <a:gd name="connsiteX395" fmla="*/ 2565328 w 7467600"/>
              <a:gd name="connsiteY395" fmla="*/ 5516399 h 6858000"/>
              <a:gd name="connsiteX396" fmla="*/ 1922999 w 7467600"/>
              <a:gd name="connsiteY396" fmla="*/ 5980343 h 6858000"/>
              <a:gd name="connsiteX397" fmla="*/ 1950261 w 7467600"/>
              <a:gd name="connsiteY397" fmla="*/ 6405858 h 6858000"/>
              <a:gd name="connsiteX398" fmla="*/ 2365554 w 7467600"/>
              <a:gd name="connsiteY398" fmla="*/ 6759107 h 6858000"/>
              <a:gd name="connsiteX399" fmla="*/ 2424142 w 7467600"/>
              <a:gd name="connsiteY399" fmla="*/ 6858000 h 6858000"/>
              <a:gd name="connsiteX400" fmla="*/ 2395994 w 7467600"/>
              <a:gd name="connsiteY400" fmla="*/ 6858000 h 6858000"/>
              <a:gd name="connsiteX401" fmla="*/ 2392863 w 7467600"/>
              <a:gd name="connsiteY401" fmla="*/ 6852964 h 6858000"/>
              <a:gd name="connsiteX402" fmla="*/ 2017589 w 7467600"/>
              <a:gd name="connsiteY402" fmla="*/ 6493982 h 6858000"/>
              <a:gd name="connsiteX403" fmla="*/ 2147336 w 7467600"/>
              <a:gd name="connsiteY403" fmla="*/ 6594052 h 6858000"/>
              <a:gd name="connsiteX404" fmla="*/ 2207047 w 7467600"/>
              <a:gd name="connsiteY404" fmla="*/ 6654540 h 6858000"/>
              <a:gd name="connsiteX405" fmla="*/ 2299106 w 7467600"/>
              <a:gd name="connsiteY405" fmla="*/ 6778931 h 6858000"/>
              <a:gd name="connsiteX406" fmla="*/ 2314430 w 7467600"/>
              <a:gd name="connsiteY406" fmla="*/ 6801144 h 6858000"/>
              <a:gd name="connsiteX407" fmla="*/ 2352406 w 7467600"/>
              <a:gd name="connsiteY407" fmla="*/ 6858000 h 6858000"/>
              <a:gd name="connsiteX408" fmla="*/ 2314492 w 7467600"/>
              <a:gd name="connsiteY408" fmla="*/ 6858000 h 6858000"/>
              <a:gd name="connsiteX409" fmla="*/ 2288095 w 7467600"/>
              <a:gd name="connsiteY409" fmla="*/ 6818030 h 6858000"/>
              <a:gd name="connsiteX410" fmla="*/ 2272768 w 7467600"/>
              <a:gd name="connsiteY410" fmla="*/ 6795822 h 6858000"/>
              <a:gd name="connsiteX411" fmla="*/ 2182715 w 7467600"/>
              <a:gd name="connsiteY411" fmla="*/ 6675071 h 6858000"/>
              <a:gd name="connsiteX412" fmla="*/ 2032061 w 7467600"/>
              <a:gd name="connsiteY412" fmla="*/ 6541380 h 6858000"/>
              <a:gd name="connsiteX413" fmla="*/ 2257220 w 7467600"/>
              <a:gd name="connsiteY413" fmla="*/ 6826257 h 6858000"/>
              <a:gd name="connsiteX414" fmla="*/ 2281324 w 7467600"/>
              <a:gd name="connsiteY414" fmla="*/ 6858000 h 6858000"/>
              <a:gd name="connsiteX415" fmla="*/ 2242860 w 7467600"/>
              <a:gd name="connsiteY415" fmla="*/ 6858000 h 6858000"/>
              <a:gd name="connsiteX416" fmla="*/ 2232818 w 7467600"/>
              <a:gd name="connsiteY416" fmla="*/ 6844926 h 6858000"/>
              <a:gd name="connsiteX417" fmla="*/ 1990172 w 7467600"/>
              <a:gd name="connsiteY417" fmla="*/ 6542121 h 6858000"/>
              <a:gd name="connsiteX418" fmla="*/ 2124090 w 7467600"/>
              <a:gd name="connsiteY418" fmla="*/ 6761017 h 6858000"/>
              <a:gd name="connsiteX419" fmla="*/ 2200380 w 7467600"/>
              <a:gd name="connsiteY419" fmla="*/ 6858000 h 6858000"/>
              <a:gd name="connsiteX420" fmla="*/ 2147507 w 7467600"/>
              <a:gd name="connsiteY420" fmla="*/ 6858000 h 6858000"/>
              <a:gd name="connsiteX421" fmla="*/ 2070668 w 7467600"/>
              <a:gd name="connsiteY421" fmla="*/ 6761520 h 6858000"/>
              <a:gd name="connsiteX422" fmla="*/ 1975142 w 7467600"/>
              <a:gd name="connsiteY422" fmla="*/ 6585570 h 6858000"/>
              <a:gd name="connsiteX423" fmla="*/ 2050035 w 7467600"/>
              <a:gd name="connsiteY423" fmla="*/ 6813345 h 6858000"/>
              <a:gd name="connsiteX424" fmla="*/ 2063025 w 7467600"/>
              <a:gd name="connsiteY424" fmla="*/ 6858000 h 6858000"/>
              <a:gd name="connsiteX425" fmla="*/ 2021675 w 7467600"/>
              <a:gd name="connsiteY425" fmla="*/ 6858000 h 6858000"/>
              <a:gd name="connsiteX426" fmla="*/ 2019308 w 7467600"/>
              <a:gd name="connsiteY426" fmla="*/ 6847118 h 6858000"/>
              <a:gd name="connsiteX427" fmla="*/ 1938835 w 7467600"/>
              <a:gd name="connsiteY427" fmla="*/ 6551160 h 6858000"/>
              <a:gd name="connsiteX428" fmla="*/ 1953230 w 7467600"/>
              <a:gd name="connsiteY428" fmla="*/ 6759699 h 6858000"/>
              <a:gd name="connsiteX429" fmla="*/ 1956763 w 7467600"/>
              <a:gd name="connsiteY429" fmla="*/ 6778191 h 6858000"/>
              <a:gd name="connsiteX430" fmla="*/ 1967925 w 7467600"/>
              <a:gd name="connsiteY430" fmla="*/ 6858000 h 6858000"/>
              <a:gd name="connsiteX431" fmla="*/ 1936622 w 7467600"/>
              <a:gd name="connsiteY431" fmla="*/ 6858000 h 6858000"/>
              <a:gd name="connsiteX432" fmla="*/ 1926261 w 7467600"/>
              <a:gd name="connsiteY432" fmla="*/ 6784064 h 6858000"/>
              <a:gd name="connsiteX433" fmla="*/ 1922724 w 7467600"/>
              <a:gd name="connsiteY433" fmla="*/ 6765577 h 6858000"/>
              <a:gd name="connsiteX434" fmla="*/ 1904650 w 7467600"/>
              <a:gd name="connsiteY434" fmla="*/ 6639616 h 6858000"/>
              <a:gd name="connsiteX435" fmla="*/ 1885273 w 7467600"/>
              <a:gd name="connsiteY435" fmla="*/ 6858000 h 6858000"/>
              <a:gd name="connsiteX436" fmla="*/ 1854363 w 7467600"/>
              <a:gd name="connsiteY436" fmla="*/ 6858000 h 6858000"/>
              <a:gd name="connsiteX437" fmla="*/ 1880391 w 7467600"/>
              <a:gd name="connsiteY437" fmla="*/ 6603796 h 6858000"/>
              <a:gd name="connsiteX438" fmla="*/ 1818273 w 7467600"/>
              <a:gd name="connsiteY438" fmla="*/ 6715729 h 6858000"/>
              <a:gd name="connsiteX439" fmla="*/ 1794691 w 7467600"/>
              <a:gd name="connsiteY439" fmla="*/ 6843239 h 6858000"/>
              <a:gd name="connsiteX440" fmla="*/ 1794914 w 7467600"/>
              <a:gd name="connsiteY440" fmla="*/ 6858000 h 6858000"/>
              <a:gd name="connsiteX441" fmla="*/ 1746128 w 7467600"/>
              <a:gd name="connsiteY441" fmla="*/ 6858000 h 6858000"/>
              <a:gd name="connsiteX442" fmla="*/ 1753934 w 7467600"/>
              <a:gd name="connsiteY442" fmla="*/ 6724796 h 6858000"/>
              <a:gd name="connsiteX443" fmla="*/ 1792053 w 7467600"/>
              <a:gd name="connsiteY443" fmla="*/ 6572396 h 6858000"/>
              <a:gd name="connsiteX444" fmla="*/ 1862248 w 7467600"/>
              <a:gd name="connsiteY444" fmla="*/ 6266397 h 6858000"/>
              <a:gd name="connsiteX445" fmla="*/ 1862250 w 7467600"/>
              <a:gd name="connsiteY445" fmla="*/ 6033531 h 6858000"/>
              <a:gd name="connsiteX446" fmla="*/ 1211999 w 7467600"/>
              <a:gd name="connsiteY446" fmla="*/ 6683610 h 6858000"/>
              <a:gd name="connsiteX447" fmla="*/ 1213266 w 7467600"/>
              <a:gd name="connsiteY447" fmla="*/ 6691947 h 6858000"/>
              <a:gd name="connsiteX448" fmla="*/ 1203370 w 7467600"/>
              <a:gd name="connsiteY448" fmla="*/ 6850676 h 6858000"/>
              <a:gd name="connsiteX449" fmla="*/ 1203671 w 7467600"/>
              <a:gd name="connsiteY449" fmla="*/ 6858000 h 6858000"/>
              <a:gd name="connsiteX450" fmla="*/ 1143180 w 7467600"/>
              <a:gd name="connsiteY450" fmla="*/ 6858000 h 6858000"/>
              <a:gd name="connsiteX451" fmla="*/ 1142176 w 7467600"/>
              <a:gd name="connsiteY451" fmla="*/ 6766045 h 6858000"/>
              <a:gd name="connsiteX452" fmla="*/ 1067484 w 7467600"/>
              <a:gd name="connsiteY452" fmla="*/ 6858000 h 6858000"/>
              <a:gd name="connsiteX453" fmla="*/ 953928 w 7467600"/>
              <a:gd name="connsiteY453" fmla="*/ 6858000 h 6858000"/>
              <a:gd name="connsiteX454" fmla="*/ 959715 w 7467600"/>
              <a:gd name="connsiteY454" fmla="*/ 6850185 h 6858000"/>
              <a:gd name="connsiteX455" fmla="*/ 1483788 w 7467600"/>
              <a:gd name="connsiteY455" fmla="*/ 6259174 h 6858000"/>
              <a:gd name="connsiteX456" fmla="*/ 1100671 w 7467600"/>
              <a:gd name="connsiteY456" fmla="*/ 6252137 h 6858000"/>
              <a:gd name="connsiteX457" fmla="*/ 1090144 w 7467600"/>
              <a:gd name="connsiteY457" fmla="*/ 6256748 h 6858000"/>
              <a:gd name="connsiteX458" fmla="*/ 1095872 w 7467600"/>
              <a:gd name="connsiteY458" fmla="*/ 6271892 h 6858000"/>
              <a:gd name="connsiteX459" fmla="*/ 262785 w 7467600"/>
              <a:gd name="connsiteY459" fmla="*/ 6845450 h 6858000"/>
              <a:gd name="connsiteX460" fmla="*/ 209968 w 7467600"/>
              <a:gd name="connsiteY460" fmla="*/ 6770713 h 6858000"/>
              <a:gd name="connsiteX461" fmla="*/ 873460 w 7467600"/>
              <a:gd name="connsiteY461" fmla="*/ 6253768 h 6858000"/>
              <a:gd name="connsiteX462" fmla="*/ 192686 w 7467600"/>
              <a:gd name="connsiteY462" fmla="*/ 5849257 h 6858000"/>
              <a:gd name="connsiteX463" fmla="*/ 4696 w 7467600"/>
              <a:gd name="connsiteY463" fmla="*/ 5697668 h 6858000"/>
              <a:gd name="connsiteX464" fmla="*/ 0 w 7467600"/>
              <a:gd name="connsiteY464" fmla="*/ 5689984 h 6858000"/>
              <a:gd name="connsiteX465" fmla="*/ 0 w 7467600"/>
              <a:gd name="connsiteY465" fmla="*/ 5513472 h 6858000"/>
              <a:gd name="connsiteX466" fmla="*/ 174101 w 7467600"/>
              <a:gd name="connsiteY466" fmla="*/ 5620277 h 6858000"/>
              <a:gd name="connsiteX467" fmla="*/ 891800 w 7467600"/>
              <a:gd name="connsiteY467" fmla="*/ 6036935 h 6858000"/>
              <a:gd name="connsiteX468" fmla="*/ 1072219 w 7467600"/>
              <a:gd name="connsiteY468" fmla="*/ 6169443 h 6858000"/>
              <a:gd name="connsiteX469" fmla="*/ 1074117 w 7467600"/>
              <a:gd name="connsiteY469" fmla="*/ 6170301 h 6858000"/>
              <a:gd name="connsiteX470" fmla="*/ 1083114 w 7467600"/>
              <a:gd name="connsiteY470" fmla="*/ 6174131 h 6858000"/>
              <a:gd name="connsiteX471" fmla="*/ 1543010 w 7467600"/>
              <a:gd name="connsiteY471" fmla="*/ 6191140 h 6858000"/>
              <a:gd name="connsiteX472" fmla="*/ 1551080 w 7467600"/>
              <a:gd name="connsiteY472" fmla="*/ 6195006 h 6858000"/>
              <a:gd name="connsiteX473" fmla="*/ 2345443 w 7467600"/>
              <a:gd name="connsiteY473" fmla="*/ 5549882 h 6858000"/>
              <a:gd name="connsiteX474" fmla="*/ 1721499 w 7467600"/>
              <a:gd name="connsiteY474" fmla="*/ 5599969 h 6858000"/>
              <a:gd name="connsiteX475" fmla="*/ 767716 w 7467600"/>
              <a:gd name="connsiteY475" fmla="*/ 5472768 h 6858000"/>
              <a:gd name="connsiteX476" fmla="*/ 722147 w 7467600"/>
              <a:gd name="connsiteY476" fmla="*/ 5393091 h 6858000"/>
              <a:gd name="connsiteX477" fmla="*/ 1485552 w 7467600"/>
              <a:gd name="connsiteY477" fmla="*/ 5313202 h 6858000"/>
              <a:gd name="connsiteX478" fmla="*/ 2143004 w 7467600"/>
              <a:gd name="connsiteY478" fmla="*/ 5402420 h 6858000"/>
              <a:gd name="connsiteX479" fmla="*/ 1933391 w 7467600"/>
              <a:gd name="connsiteY479" fmla="*/ 5156971 h 6858000"/>
              <a:gd name="connsiteX480" fmla="*/ 1827118 w 7467600"/>
              <a:gd name="connsiteY480" fmla="*/ 4968410 h 6858000"/>
              <a:gd name="connsiteX481" fmla="*/ 1837349 w 7467600"/>
              <a:gd name="connsiteY481" fmla="*/ 4956357 h 6858000"/>
              <a:gd name="connsiteX482" fmla="*/ 2162835 w 7467600"/>
              <a:gd name="connsiteY482" fmla="*/ 5187853 h 6858000"/>
              <a:gd name="connsiteX483" fmla="*/ 2257167 w 7467600"/>
              <a:gd name="connsiteY483" fmla="*/ 5462123 h 6858000"/>
              <a:gd name="connsiteX484" fmla="*/ 2261598 w 7467600"/>
              <a:gd name="connsiteY484" fmla="*/ 5467998 h 6858000"/>
              <a:gd name="connsiteX485" fmla="*/ 2437177 w 7467600"/>
              <a:gd name="connsiteY485" fmla="*/ 5479608 h 6858000"/>
              <a:gd name="connsiteX486" fmla="*/ 2445247 w 7467600"/>
              <a:gd name="connsiteY486" fmla="*/ 5483476 h 6858000"/>
              <a:gd name="connsiteX487" fmla="*/ 2743626 w 7467600"/>
              <a:gd name="connsiteY487" fmla="*/ 5304819 h 6858000"/>
              <a:gd name="connsiteX488" fmla="*/ 3048102 w 7467600"/>
              <a:gd name="connsiteY488" fmla="*/ 5150595 h 6858000"/>
              <a:gd name="connsiteX489" fmla="*/ 1799414 w 7467600"/>
              <a:gd name="connsiteY489" fmla="*/ 4694732 h 6858000"/>
              <a:gd name="connsiteX490" fmla="*/ 1771735 w 7467600"/>
              <a:gd name="connsiteY490" fmla="*/ 4619929 h 6858000"/>
              <a:gd name="connsiteX491" fmla="*/ 3104273 w 7467600"/>
              <a:gd name="connsiteY491" fmla="*/ 5076159 h 6858000"/>
              <a:gd name="connsiteX492" fmla="*/ 3113245 w 7467600"/>
              <a:gd name="connsiteY492" fmla="*/ 5090705 h 6858000"/>
              <a:gd name="connsiteX493" fmla="*/ 3126294 w 7467600"/>
              <a:gd name="connsiteY493" fmla="*/ 5114400 h 6858000"/>
              <a:gd name="connsiteX494" fmla="*/ 3937433 w 7467600"/>
              <a:gd name="connsiteY494" fmla="*/ 4830473 h 6858000"/>
              <a:gd name="connsiteX495" fmla="*/ 3590475 w 7467600"/>
              <a:gd name="connsiteY495" fmla="*/ 4597974 h 6858000"/>
              <a:gd name="connsiteX496" fmla="*/ 3100264 w 7467600"/>
              <a:gd name="connsiteY496" fmla="*/ 4579845 h 6858000"/>
              <a:gd name="connsiteX497" fmla="*/ 2183576 w 7467600"/>
              <a:gd name="connsiteY497" fmla="*/ 4227150 h 6858000"/>
              <a:gd name="connsiteX498" fmla="*/ 2151029 w 7467600"/>
              <a:gd name="connsiteY498" fmla="*/ 4146947 h 6858000"/>
              <a:gd name="connsiteX499" fmla="*/ 3563434 w 7467600"/>
              <a:gd name="connsiteY499" fmla="*/ 4469115 h 6858000"/>
              <a:gd name="connsiteX500" fmla="*/ 3177952 w 7467600"/>
              <a:gd name="connsiteY500" fmla="*/ 3657386 h 6858000"/>
              <a:gd name="connsiteX501" fmla="*/ 3189263 w 7467600"/>
              <a:gd name="connsiteY501" fmla="*/ 3625726 h 6858000"/>
              <a:gd name="connsiteX502" fmla="*/ 3560912 w 7467600"/>
              <a:gd name="connsiteY502" fmla="*/ 4079863 h 6858000"/>
              <a:gd name="connsiteX503" fmla="*/ 3626636 w 7467600"/>
              <a:gd name="connsiteY503" fmla="*/ 4512230 h 6858000"/>
              <a:gd name="connsiteX504" fmla="*/ 3653088 w 7467600"/>
              <a:gd name="connsiteY504" fmla="*/ 4521417 h 6858000"/>
              <a:gd name="connsiteX505" fmla="*/ 3988128 w 7467600"/>
              <a:gd name="connsiteY505" fmla="*/ 4817267 h 6858000"/>
              <a:gd name="connsiteX506" fmla="*/ 4830582 w 7467600"/>
              <a:gd name="connsiteY506" fmla="*/ 4676000 h 6858000"/>
              <a:gd name="connsiteX507" fmla="*/ 4830100 w 7467600"/>
              <a:gd name="connsiteY507" fmla="*/ 4675554 h 6858000"/>
              <a:gd name="connsiteX508" fmla="*/ 4036318 w 7467600"/>
              <a:gd name="connsiteY508" fmla="*/ 4147013 h 6858000"/>
              <a:gd name="connsiteX509" fmla="*/ 3432098 w 7467600"/>
              <a:gd name="connsiteY509" fmla="*/ 3537312 h 6858000"/>
              <a:gd name="connsiteX510" fmla="*/ 3446761 w 7467600"/>
              <a:gd name="connsiteY510" fmla="*/ 3461278 h 6858000"/>
              <a:gd name="connsiteX511" fmla="*/ 4419733 w 7467600"/>
              <a:gd name="connsiteY511" fmla="*/ 3963555 h 6858000"/>
              <a:gd name="connsiteX512" fmla="*/ 4781371 w 7467600"/>
              <a:gd name="connsiteY512" fmla="*/ 4458604 h 6858000"/>
              <a:gd name="connsiteX513" fmla="*/ 4780440 w 7467600"/>
              <a:gd name="connsiteY513" fmla="*/ 4470290 h 6858000"/>
              <a:gd name="connsiteX514" fmla="*/ 4898954 w 7467600"/>
              <a:gd name="connsiteY514" fmla="*/ 4662092 h 6858000"/>
              <a:gd name="connsiteX515" fmla="*/ 4900699 w 7467600"/>
              <a:gd name="connsiteY515" fmla="*/ 4670867 h 6858000"/>
              <a:gd name="connsiteX516" fmla="*/ 5714511 w 7467600"/>
              <a:gd name="connsiteY516" fmla="*/ 4663483 h 6858000"/>
              <a:gd name="connsiteX517" fmla="*/ 5464793 w 7467600"/>
              <a:gd name="connsiteY517" fmla="*/ 4393556 h 6858000"/>
              <a:gd name="connsiteX518" fmla="*/ 5461897 w 7467600"/>
              <a:gd name="connsiteY518" fmla="*/ 4390879 h 6858000"/>
              <a:gd name="connsiteX519" fmla="*/ 4294126 w 7467600"/>
              <a:gd name="connsiteY519" fmla="*/ 3303048 h 6858000"/>
              <a:gd name="connsiteX520" fmla="*/ 4305321 w 7467600"/>
              <a:gd name="connsiteY520" fmla="*/ 3256953 h 6858000"/>
              <a:gd name="connsiteX521" fmla="*/ 4949299 w 7467600"/>
              <a:gd name="connsiteY521" fmla="*/ 3766336 h 6858000"/>
              <a:gd name="connsiteX522" fmla="*/ 5291452 w 7467600"/>
              <a:gd name="connsiteY522" fmla="*/ 4076801 h 6858000"/>
              <a:gd name="connsiteX523" fmla="*/ 5434998 w 7467600"/>
              <a:gd name="connsiteY523" fmla="*/ 4254100 h 6858000"/>
              <a:gd name="connsiteX524" fmla="*/ 5351015 w 7467600"/>
              <a:gd name="connsiteY524" fmla="*/ 3760989 h 6858000"/>
              <a:gd name="connsiteX525" fmla="*/ 5413780 w 7467600"/>
              <a:gd name="connsiteY525" fmla="*/ 2966265 h 6858000"/>
              <a:gd name="connsiteX526" fmla="*/ 5425627 w 7467600"/>
              <a:gd name="connsiteY526" fmla="*/ 2954192 h 6858000"/>
              <a:gd name="connsiteX527" fmla="*/ 6604735 w 7467600"/>
              <a:gd name="connsiteY527" fmla="*/ 2041381 h 6858000"/>
              <a:gd name="connsiteX528" fmla="*/ 7204487 w 7467600"/>
              <a:gd name="connsiteY528" fmla="*/ 2742112 h 6858000"/>
              <a:gd name="connsiteX529" fmla="*/ 7131592 w 7467600"/>
              <a:gd name="connsiteY529" fmla="*/ 2672096 h 6858000"/>
              <a:gd name="connsiteX530" fmla="*/ 6996344 w 7467600"/>
              <a:gd name="connsiteY530" fmla="*/ 2518310 h 6858000"/>
              <a:gd name="connsiteX531" fmla="*/ 6735495 w 7467600"/>
              <a:gd name="connsiteY531" fmla="*/ 2196890 h 6858000"/>
              <a:gd name="connsiteX532" fmla="*/ 6721901 w 7467600"/>
              <a:gd name="connsiteY532" fmla="*/ 2179274 h 6858000"/>
              <a:gd name="connsiteX533" fmla="*/ 6604735 w 7467600"/>
              <a:gd name="connsiteY533" fmla="*/ 2041381 h 6858000"/>
              <a:gd name="connsiteX534" fmla="*/ 6591670 w 7467600"/>
              <a:gd name="connsiteY534" fmla="*/ 1988277 h 6858000"/>
              <a:gd name="connsiteX535" fmla="*/ 6747349 w 7467600"/>
              <a:gd name="connsiteY535" fmla="*/ 2160069 h 6858000"/>
              <a:gd name="connsiteX536" fmla="*/ 6760943 w 7467600"/>
              <a:gd name="connsiteY536" fmla="*/ 2177686 h 6858000"/>
              <a:gd name="connsiteX537" fmla="*/ 7021065 w 7467600"/>
              <a:gd name="connsiteY537" fmla="*/ 2498102 h 6858000"/>
              <a:gd name="connsiteX538" fmla="*/ 7155223 w 7467600"/>
              <a:gd name="connsiteY538" fmla="*/ 2650386 h 6858000"/>
              <a:gd name="connsiteX539" fmla="*/ 7203167 w 7467600"/>
              <a:gd name="connsiteY539" fmla="*/ 2697288 h 6858000"/>
              <a:gd name="connsiteX540" fmla="*/ 6937703 w 7467600"/>
              <a:gd name="connsiteY540" fmla="*/ 2321981 h 6858000"/>
              <a:gd name="connsiteX541" fmla="*/ 6591670 w 7467600"/>
              <a:gd name="connsiteY541" fmla="*/ 1988277 h 6858000"/>
              <a:gd name="connsiteX542" fmla="*/ 5798671 w 7467600"/>
              <a:gd name="connsiteY542" fmla="*/ 1981601 h 6858000"/>
              <a:gd name="connsiteX543" fmla="*/ 5754709 w 7467600"/>
              <a:gd name="connsiteY543" fmla="*/ 2071454 h 6858000"/>
              <a:gd name="connsiteX544" fmla="*/ 5763044 w 7467600"/>
              <a:gd name="connsiteY544" fmla="*/ 2842206 h 6858000"/>
              <a:gd name="connsiteX545" fmla="*/ 5764974 w 7467600"/>
              <a:gd name="connsiteY545" fmla="*/ 2799609 h 6858000"/>
              <a:gd name="connsiteX546" fmla="*/ 5767665 w 7467600"/>
              <a:gd name="connsiteY546" fmla="*/ 2666409 h 6858000"/>
              <a:gd name="connsiteX547" fmla="*/ 5763055 w 7467600"/>
              <a:gd name="connsiteY547" fmla="*/ 2579705 h 6858000"/>
              <a:gd name="connsiteX548" fmla="*/ 5758079 w 7467600"/>
              <a:gd name="connsiteY548" fmla="*/ 2492508 h 6858000"/>
              <a:gd name="connsiteX549" fmla="*/ 5779325 w 7467600"/>
              <a:gd name="connsiteY549" fmla="*/ 2197069 h 6858000"/>
              <a:gd name="connsiteX550" fmla="*/ 5798671 w 7467600"/>
              <a:gd name="connsiteY550" fmla="*/ 1981601 h 6858000"/>
              <a:gd name="connsiteX551" fmla="*/ 5829202 w 7467600"/>
              <a:gd name="connsiteY551" fmla="*/ 1971679 h 6858000"/>
              <a:gd name="connsiteX552" fmla="*/ 5809558 w 7467600"/>
              <a:gd name="connsiteY552" fmla="*/ 2198043 h 6858000"/>
              <a:gd name="connsiteX553" fmla="*/ 5788653 w 7467600"/>
              <a:gd name="connsiteY553" fmla="*/ 2489430 h 6858000"/>
              <a:gd name="connsiteX554" fmla="*/ 5793439 w 7467600"/>
              <a:gd name="connsiteY554" fmla="*/ 2575235 h 6858000"/>
              <a:gd name="connsiteX555" fmla="*/ 5796837 w 7467600"/>
              <a:gd name="connsiteY555" fmla="*/ 2637633 h 6858000"/>
              <a:gd name="connsiteX556" fmla="*/ 5818614 w 7467600"/>
              <a:gd name="connsiteY556" fmla="*/ 2473055 h 6858000"/>
              <a:gd name="connsiteX557" fmla="*/ 5829202 w 7467600"/>
              <a:gd name="connsiteY557" fmla="*/ 1971679 h 6858000"/>
              <a:gd name="connsiteX558" fmla="*/ 5911389 w 7467600"/>
              <a:gd name="connsiteY558" fmla="*/ 1898371 h 6858000"/>
              <a:gd name="connsiteX559" fmla="*/ 6237627 w 7467600"/>
              <a:gd name="connsiteY559" fmla="*/ 2231921 h 6858000"/>
              <a:gd name="connsiteX560" fmla="*/ 5911389 w 7467600"/>
              <a:gd name="connsiteY560" fmla="*/ 1898371 h 6858000"/>
              <a:gd name="connsiteX561" fmla="*/ 6944437 w 7467600"/>
              <a:gd name="connsiteY561" fmla="*/ 1575402 h 6858000"/>
              <a:gd name="connsiteX562" fmla="*/ 6304730 w 7467600"/>
              <a:gd name="connsiteY562" fmla="*/ 1766654 h 6858000"/>
              <a:gd name="connsiteX563" fmla="*/ 6944437 w 7467600"/>
              <a:gd name="connsiteY563" fmla="*/ 1575402 h 6858000"/>
              <a:gd name="connsiteX564" fmla="*/ 7019523 w 7467600"/>
              <a:gd name="connsiteY564" fmla="*/ 1519450 h 6858000"/>
              <a:gd name="connsiteX565" fmla="*/ 6298091 w 7467600"/>
              <a:gd name="connsiteY565" fmla="*/ 1737122 h 6858000"/>
              <a:gd name="connsiteX566" fmla="*/ 7019523 w 7467600"/>
              <a:gd name="connsiteY566" fmla="*/ 1519450 h 6858000"/>
              <a:gd name="connsiteX567" fmla="*/ 2399523 w 7467600"/>
              <a:gd name="connsiteY567" fmla="*/ 1428234 h 6858000"/>
              <a:gd name="connsiteX568" fmla="*/ 2224982 w 7467600"/>
              <a:gd name="connsiteY568" fmla="*/ 1826201 h 6858000"/>
              <a:gd name="connsiteX569" fmla="*/ 2096099 w 7467600"/>
              <a:gd name="connsiteY569" fmla="*/ 2345900 h 6858000"/>
              <a:gd name="connsiteX570" fmla="*/ 2283317 w 7467600"/>
              <a:gd name="connsiteY570" fmla="*/ 1796925 h 6858000"/>
              <a:gd name="connsiteX571" fmla="*/ 2399523 w 7467600"/>
              <a:gd name="connsiteY571" fmla="*/ 1428234 h 6858000"/>
              <a:gd name="connsiteX572" fmla="*/ 2448558 w 7467600"/>
              <a:gd name="connsiteY572" fmla="*/ 1373435 h 6858000"/>
              <a:gd name="connsiteX573" fmla="*/ 2312521 w 7467600"/>
              <a:gd name="connsiteY573" fmla="*/ 1806140 h 6858000"/>
              <a:gd name="connsiteX574" fmla="*/ 2127533 w 7467600"/>
              <a:gd name="connsiteY574" fmla="*/ 2348380 h 6858000"/>
              <a:gd name="connsiteX575" fmla="*/ 2358080 w 7467600"/>
              <a:gd name="connsiteY575" fmla="*/ 1866134 h 6858000"/>
              <a:gd name="connsiteX576" fmla="*/ 2407436 w 7467600"/>
              <a:gd name="connsiteY576" fmla="*/ 1651070 h 6858000"/>
              <a:gd name="connsiteX577" fmla="*/ 2448558 w 7467600"/>
              <a:gd name="connsiteY577" fmla="*/ 1373435 h 6858000"/>
              <a:gd name="connsiteX578" fmla="*/ 278707 w 7467600"/>
              <a:gd name="connsiteY578" fmla="*/ 1352270 h 6858000"/>
              <a:gd name="connsiteX579" fmla="*/ 321570 w 7467600"/>
              <a:gd name="connsiteY579" fmla="*/ 1861610 h 6858000"/>
              <a:gd name="connsiteX580" fmla="*/ 294281 w 7467600"/>
              <a:gd name="connsiteY580" fmla="*/ 1440658 h 6858000"/>
              <a:gd name="connsiteX581" fmla="*/ 278707 w 7467600"/>
              <a:gd name="connsiteY581" fmla="*/ 1352270 h 6858000"/>
              <a:gd name="connsiteX582" fmla="*/ 1423821 w 7467600"/>
              <a:gd name="connsiteY582" fmla="*/ 1351958 h 6858000"/>
              <a:gd name="connsiteX583" fmla="*/ 1638521 w 7467600"/>
              <a:gd name="connsiteY583" fmla="*/ 1908470 h 6858000"/>
              <a:gd name="connsiteX584" fmla="*/ 1754199 w 7467600"/>
              <a:gd name="connsiteY584" fmla="*/ 2149284 h 6858000"/>
              <a:gd name="connsiteX585" fmla="*/ 1908359 w 7467600"/>
              <a:gd name="connsiteY585" fmla="*/ 2364988 h 6858000"/>
              <a:gd name="connsiteX586" fmla="*/ 1647661 w 7467600"/>
              <a:gd name="connsiteY586" fmla="*/ 1825945 h 6858000"/>
              <a:gd name="connsiteX587" fmla="*/ 1423821 w 7467600"/>
              <a:gd name="connsiteY587" fmla="*/ 1351958 h 6858000"/>
              <a:gd name="connsiteX588" fmla="*/ 1431890 w 7467600"/>
              <a:gd name="connsiteY588" fmla="*/ 1306475 h 6858000"/>
              <a:gd name="connsiteX589" fmla="*/ 1507597 w 7467600"/>
              <a:gd name="connsiteY589" fmla="*/ 1446132 h 6858000"/>
              <a:gd name="connsiteX590" fmla="*/ 1674586 w 7467600"/>
              <a:gd name="connsiteY590" fmla="*/ 1813832 h 6858000"/>
              <a:gd name="connsiteX591" fmla="*/ 1815950 w 7467600"/>
              <a:gd name="connsiteY591" fmla="*/ 2128564 h 6858000"/>
              <a:gd name="connsiteX592" fmla="*/ 1984242 w 7467600"/>
              <a:gd name="connsiteY592" fmla="*/ 2430829 h 6858000"/>
              <a:gd name="connsiteX593" fmla="*/ 2014023 w 7467600"/>
              <a:gd name="connsiteY593" fmla="*/ 2450995 h 6858000"/>
              <a:gd name="connsiteX594" fmla="*/ 1747337 w 7467600"/>
              <a:gd name="connsiteY594" fmla="*/ 1855264 h 6858000"/>
              <a:gd name="connsiteX595" fmla="*/ 1533749 w 7467600"/>
              <a:gd name="connsiteY595" fmla="*/ 1478656 h 6858000"/>
              <a:gd name="connsiteX596" fmla="*/ 1431890 w 7467600"/>
              <a:gd name="connsiteY596" fmla="*/ 1306475 h 6858000"/>
              <a:gd name="connsiteX597" fmla="*/ 5052692 w 7467600"/>
              <a:gd name="connsiteY597" fmla="*/ 1292994 h 6858000"/>
              <a:gd name="connsiteX598" fmla="*/ 5200661 w 7467600"/>
              <a:gd name="connsiteY598" fmla="*/ 1635186 h 6858000"/>
              <a:gd name="connsiteX599" fmla="*/ 5297138 w 7467600"/>
              <a:gd name="connsiteY599" fmla="*/ 1906351 h 6858000"/>
              <a:gd name="connsiteX600" fmla="*/ 5052692 w 7467600"/>
              <a:gd name="connsiteY600" fmla="*/ 1292994 h 6858000"/>
              <a:gd name="connsiteX601" fmla="*/ 5009948 w 7467600"/>
              <a:gd name="connsiteY601" fmla="*/ 1273619 h 6858000"/>
              <a:gd name="connsiteX602" fmla="*/ 5121777 w 7467600"/>
              <a:gd name="connsiteY602" fmla="*/ 1654213 h 6858000"/>
              <a:gd name="connsiteX603" fmla="*/ 5293545 w 7467600"/>
              <a:gd name="connsiteY603" fmla="*/ 2072247 h 6858000"/>
              <a:gd name="connsiteX604" fmla="*/ 5294042 w 7467600"/>
              <a:gd name="connsiteY604" fmla="*/ 2065019 h 6858000"/>
              <a:gd name="connsiteX605" fmla="*/ 5171936 w 7467600"/>
              <a:gd name="connsiteY605" fmla="*/ 1647613 h 6858000"/>
              <a:gd name="connsiteX606" fmla="*/ 5009948 w 7467600"/>
              <a:gd name="connsiteY606" fmla="*/ 1273619 h 6858000"/>
              <a:gd name="connsiteX607" fmla="*/ 655236 w 7467600"/>
              <a:gd name="connsiteY607" fmla="*/ 1268632 h 6858000"/>
              <a:gd name="connsiteX608" fmla="*/ 839521 w 7467600"/>
              <a:gd name="connsiteY608" fmla="*/ 1685315 h 6858000"/>
              <a:gd name="connsiteX609" fmla="*/ 1109416 w 7467600"/>
              <a:gd name="connsiteY609" fmla="*/ 2061663 h 6858000"/>
              <a:gd name="connsiteX610" fmla="*/ 1298300 w 7467600"/>
              <a:gd name="connsiteY610" fmla="*/ 2247742 h 6858000"/>
              <a:gd name="connsiteX611" fmla="*/ 1125871 w 7467600"/>
              <a:gd name="connsiteY611" fmla="*/ 1989513 h 6858000"/>
              <a:gd name="connsiteX612" fmla="*/ 981574 w 7467600"/>
              <a:gd name="connsiteY612" fmla="*/ 1783157 h 6858000"/>
              <a:gd name="connsiteX613" fmla="*/ 922198 w 7467600"/>
              <a:gd name="connsiteY613" fmla="*/ 1677437 h 6858000"/>
              <a:gd name="connsiteX614" fmla="*/ 869293 w 7467600"/>
              <a:gd name="connsiteY614" fmla="*/ 1583214 h 6858000"/>
              <a:gd name="connsiteX615" fmla="*/ 751431 w 7467600"/>
              <a:gd name="connsiteY615" fmla="*/ 1405731 h 6858000"/>
              <a:gd name="connsiteX616" fmla="*/ 655236 w 7467600"/>
              <a:gd name="connsiteY616" fmla="*/ 1268632 h 6858000"/>
              <a:gd name="connsiteX617" fmla="*/ 6516292 w 7467600"/>
              <a:gd name="connsiteY617" fmla="*/ 1263064 h 6858000"/>
              <a:gd name="connsiteX618" fmla="*/ 5736320 w 7467600"/>
              <a:gd name="connsiteY618" fmla="*/ 1501803 h 6858000"/>
              <a:gd name="connsiteX619" fmla="*/ 6516292 w 7467600"/>
              <a:gd name="connsiteY619" fmla="*/ 1263064 h 6858000"/>
              <a:gd name="connsiteX620" fmla="*/ 291466 w 7467600"/>
              <a:gd name="connsiteY620" fmla="*/ 1250369 h 6858000"/>
              <a:gd name="connsiteX621" fmla="*/ 323180 w 7467600"/>
              <a:gd name="connsiteY621" fmla="*/ 1435283 h 6858000"/>
              <a:gd name="connsiteX622" fmla="*/ 349381 w 7467600"/>
              <a:gd name="connsiteY622" fmla="*/ 1875041 h 6858000"/>
              <a:gd name="connsiteX623" fmla="*/ 374363 w 7467600"/>
              <a:gd name="connsiteY623" fmla="*/ 1506494 h 6858000"/>
              <a:gd name="connsiteX624" fmla="*/ 302168 w 7467600"/>
              <a:gd name="connsiteY624" fmla="*/ 1274495 h 6858000"/>
              <a:gd name="connsiteX625" fmla="*/ 291466 w 7467600"/>
              <a:gd name="connsiteY625" fmla="*/ 1250369 h 6858000"/>
              <a:gd name="connsiteX626" fmla="*/ 678222 w 7467600"/>
              <a:gd name="connsiteY626" fmla="*/ 1248670 h 6858000"/>
              <a:gd name="connsiteX627" fmla="*/ 775536 w 7467600"/>
              <a:gd name="connsiteY627" fmla="*/ 1388015 h 6858000"/>
              <a:gd name="connsiteX628" fmla="*/ 894529 w 7467600"/>
              <a:gd name="connsiteY628" fmla="*/ 1567739 h 6858000"/>
              <a:gd name="connsiteX629" fmla="*/ 948000 w 7467600"/>
              <a:gd name="connsiteY629" fmla="*/ 1663088 h 6858000"/>
              <a:gd name="connsiteX630" fmla="*/ 1006812 w 7467600"/>
              <a:gd name="connsiteY630" fmla="*/ 1767683 h 6858000"/>
              <a:gd name="connsiteX631" fmla="*/ 1149133 w 7467600"/>
              <a:gd name="connsiteY631" fmla="*/ 1971513 h 6858000"/>
              <a:gd name="connsiteX632" fmla="*/ 1333952 w 7467600"/>
              <a:gd name="connsiteY632" fmla="*/ 2251620 h 6858000"/>
              <a:gd name="connsiteX633" fmla="*/ 1337329 w 7467600"/>
              <a:gd name="connsiteY633" fmla="*/ 2258350 h 6858000"/>
              <a:gd name="connsiteX634" fmla="*/ 1014726 w 7467600"/>
              <a:gd name="connsiteY634" fmla="*/ 1615556 h 6858000"/>
              <a:gd name="connsiteX635" fmla="*/ 678222 w 7467600"/>
              <a:gd name="connsiteY635" fmla="*/ 1248670 h 6858000"/>
              <a:gd name="connsiteX636" fmla="*/ 6691602 w 7467600"/>
              <a:gd name="connsiteY636" fmla="*/ 1140573 h 6858000"/>
              <a:gd name="connsiteX637" fmla="*/ 6571100 w 7467600"/>
              <a:gd name="connsiteY637" fmla="*/ 1183662 h 6858000"/>
              <a:gd name="connsiteX638" fmla="*/ 6241687 w 7467600"/>
              <a:gd name="connsiteY638" fmla="*/ 1257600 h 6858000"/>
              <a:gd name="connsiteX639" fmla="*/ 5693009 w 7467600"/>
              <a:gd name="connsiteY639" fmla="*/ 1478256 h 6858000"/>
              <a:gd name="connsiteX640" fmla="*/ 6548420 w 7467600"/>
              <a:gd name="connsiteY640" fmla="*/ 1214599 h 6858000"/>
              <a:gd name="connsiteX641" fmla="*/ 6605473 w 7467600"/>
              <a:gd name="connsiteY641" fmla="*/ 1184686 h 6858000"/>
              <a:gd name="connsiteX642" fmla="*/ 6691602 w 7467600"/>
              <a:gd name="connsiteY642" fmla="*/ 1140573 h 6858000"/>
              <a:gd name="connsiteX643" fmla="*/ 4002475 w 7467600"/>
              <a:gd name="connsiteY643" fmla="*/ 1037802 h 6858000"/>
              <a:gd name="connsiteX644" fmla="*/ 4000324 w 7467600"/>
              <a:gd name="connsiteY644" fmla="*/ 1039362 h 6858000"/>
              <a:gd name="connsiteX645" fmla="*/ 4002862 w 7467600"/>
              <a:gd name="connsiteY645" fmla="*/ 1042866 h 6858000"/>
              <a:gd name="connsiteX646" fmla="*/ 4002475 w 7467600"/>
              <a:gd name="connsiteY646" fmla="*/ 1037802 h 6858000"/>
              <a:gd name="connsiteX647" fmla="*/ 506322 w 7467600"/>
              <a:gd name="connsiteY647" fmla="*/ 1020997 h 6858000"/>
              <a:gd name="connsiteX648" fmla="*/ 533068 w 7467600"/>
              <a:gd name="connsiteY648" fmla="*/ 1029409 h 6858000"/>
              <a:gd name="connsiteX649" fmla="*/ 1232525 w 7467600"/>
              <a:gd name="connsiteY649" fmla="*/ 1804675 h 6858000"/>
              <a:gd name="connsiteX650" fmla="*/ 1388858 w 7467600"/>
              <a:gd name="connsiteY650" fmla="*/ 2368011 h 6858000"/>
              <a:gd name="connsiteX651" fmla="*/ 1384098 w 7467600"/>
              <a:gd name="connsiteY651" fmla="*/ 2378125 h 6858000"/>
              <a:gd name="connsiteX652" fmla="*/ 1425393 w 7467600"/>
              <a:gd name="connsiteY652" fmla="*/ 2589124 h 6858000"/>
              <a:gd name="connsiteX653" fmla="*/ 1424001 w 7467600"/>
              <a:gd name="connsiteY653" fmla="*/ 2597541 h 6858000"/>
              <a:gd name="connsiteX654" fmla="*/ 2152729 w 7467600"/>
              <a:gd name="connsiteY654" fmla="*/ 2864487 h 6858000"/>
              <a:gd name="connsiteX655" fmla="*/ 2020609 w 7467600"/>
              <a:gd name="connsiteY655" fmla="*/ 2539671 h 6858000"/>
              <a:gd name="connsiteX656" fmla="*/ 2018920 w 7467600"/>
              <a:gd name="connsiteY656" fmla="*/ 2536309 h 6858000"/>
              <a:gd name="connsiteX657" fmla="*/ 1342441 w 7467600"/>
              <a:gd name="connsiteY657" fmla="*/ 1173017 h 6858000"/>
              <a:gd name="connsiteX658" fmla="*/ 1367925 w 7467600"/>
              <a:gd name="connsiteY658" fmla="*/ 1135648 h 6858000"/>
              <a:gd name="connsiteX659" fmla="*/ 1771401 w 7467600"/>
              <a:gd name="connsiteY659" fmla="*/ 1806673 h 6858000"/>
              <a:gd name="connsiteX660" fmla="*/ 1972385 w 7467600"/>
              <a:gd name="connsiteY660" fmla="*/ 2198735 h 6858000"/>
              <a:gd name="connsiteX661" fmla="*/ 2040892 w 7467600"/>
              <a:gd name="connsiteY661" fmla="*/ 2405205 h 6858000"/>
              <a:gd name="connsiteX662" fmla="*/ 2131689 w 7467600"/>
              <a:gd name="connsiteY662" fmla="*/ 1936926 h 6858000"/>
              <a:gd name="connsiteX663" fmla="*/ 2454820 w 7467600"/>
              <a:gd name="connsiteY663" fmla="*/ 1248808 h 6858000"/>
              <a:gd name="connsiteX664" fmla="*/ 2492512 w 7467600"/>
              <a:gd name="connsiteY664" fmla="*/ 1302920 h 6858000"/>
              <a:gd name="connsiteX665" fmla="*/ 2081216 w 7467600"/>
              <a:gd name="connsiteY665" fmla="*/ 2527513 h 6858000"/>
              <a:gd name="connsiteX666" fmla="*/ 2081211 w 7467600"/>
              <a:gd name="connsiteY666" fmla="*/ 2528916 h 6858000"/>
              <a:gd name="connsiteX667" fmla="*/ 2199067 w 7467600"/>
              <a:gd name="connsiteY667" fmla="*/ 2884061 h 6858000"/>
              <a:gd name="connsiteX668" fmla="*/ 3192586 w 7467600"/>
              <a:gd name="connsiteY668" fmla="*/ 3411496 h 6858000"/>
              <a:gd name="connsiteX669" fmla="*/ 3182620 w 7467600"/>
              <a:gd name="connsiteY669" fmla="*/ 3483279 h 6858000"/>
              <a:gd name="connsiteX670" fmla="*/ 2435119 w 7467600"/>
              <a:gd name="connsiteY670" fmla="*/ 3080173 h 6858000"/>
              <a:gd name="connsiteX671" fmla="*/ 2410152 w 7467600"/>
              <a:gd name="connsiteY671" fmla="*/ 3063751 h 6858000"/>
              <a:gd name="connsiteX672" fmla="*/ 2408099 w 7467600"/>
              <a:gd name="connsiteY672" fmla="*/ 3064403 h 6858000"/>
              <a:gd name="connsiteX673" fmla="*/ 2407218 w 7467600"/>
              <a:gd name="connsiteY673" fmla="*/ 3070324 h 6858000"/>
              <a:gd name="connsiteX674" fmla="*/ 2380138 w 7467600"/>
              <a:gd name="connsiteY674" fmla="*/ 3099341 h 6858000"/>
              <a:gd name="connsiteX675" fmla="*/ 1765923 w 7467600"/>
              <a:gd name="connsiteY675" fmla="*/ 3581043 h 6858000"/>
              <a:gd name="connsiteX676" fmla="*/ 1702258 w 7467600"/>
              <a:gd name="connsiteY676" fmla="*/ 3612286 h 6858000"/>
              <a:gd name="connsiteX677" fmla="*/ 1538370 w 7467600"/>
              <a:gd name="connsiteY677" fmla="*/ 3811804 h 6858000"/>
              <a:gd name="connsiteX678" fmla="*/ 542867 w 7467600"/>
              <a:gd name="connsiteY678" fmla="*/ 4944092 h 6858000"/>
              <a:gd name="connsiteX679" fmla="*/ 515800 w 7467600"/>
              <a:gd name="connsiteY679" fmla="*/ 4862180 h 6858000"/>
              <a:gd name="connsiteX680" fmla="*/ 909145 w 7467600"/>
              <a:gd name="connsiteY680" fmla="*/ 4199225 h 6858000"/>
              <a:gd name="connsiteX681" fmla="*/ 1214067 w 7467600"/>
              <a:gd name="connsiteY681" fmla="*/ 3908561 h 6858000"/>
              <a:gd name="connsiteX682" fmla="*/ 640967 w 7467600"/>
              <a:gd name="connsiteY682" fmla="*/ 4105601 h 6858000"/>
              <a:gd name="connsiteX683" fmla="*/ 112563 w 7467600"/>
              <a:gd name="connsiteY683" fmla="*/ 4396952 h 6858000"/>
              <a:gd name="connsiteX684" fmla="*/ 0 w 7467600"/>
              <a:gd name="connsiteY684" fmla="*/ 4466006 h 6858000"/>
              <a:gd name="connsiteX685" fmla="*/ 0 w 7467600"/>
              <a:gd name="connsiteY685" fmla="*/ 4233763 h 6858000"/>
              <a:gd name="connsiteX686" fmla="*/ 36881 w 7467600"/>
              <a:gd name="connsiteY686" fmla="*/ 4200118 h 6858000"/>
              <a:gd name="connsiteX687" fmla="*/ 910534 w 7467600"/>
              <a:gd name="connsiteY687" fmla="*/ 3629753 h 6858000"/>
              <a:gd name="connsiteX688" fmla="*/ 1578717 w 7467600"/>
              <a:gd name="connsiteY688" fmla="*/ 3575982 h 6858000"/>
              <a:gd name="connsiteX689" fmla="*/ 2338780 w 7467600"/>
              <a:gd name="connsiteY689" fmla="*/ 3033725 h 6858000"/>
              <a:gd name="connsiteX690" fmla="*/ 1807991 w 7467600"/>
              <a:gd name="connsiteY690" fmla="*/ 2807184 h 6858000"/>
              <a:gd name="connsiteX691" fmla="*/ 1416358 w 7467600"/>
              <a:gd name="connsiteY691" fmla="*/ 3112571 h 6858000"/>
              <a:gd name="connsiteX692" fmla="*/ 939066 w 7467600"/>
              <a:gd name="connsiteY692" fmla="*/ 3378798 h 6858000"/>
              <a:gd name="connsiteX693" fmla="*/ 115099 w 7467600"/>
              <a:gd name="connsiteY693" fmla="*/ 3607650 h 6858000"/>
              <a:gd name="connsiteX694" fmla="*/ 97284 w 7467600"/>
              <a:gd name="connsiteY694" fmla="*/ 3520393 h 6858000"/>
              <a:gd name="connsiteX695" fmla="*/ 922050 w 7467600"/>
              <a:gd name="connsiteY695" fmla="*/ 3074867 h 6858000"/>
              <a:gd name="connsiteX696" fmla="*/ 1405265 w 7467600"/>
              <a:gd name="connsiteY696" fmla="*/ 3016319 h 6858000"/>
              <a:gd name="connsiteX697" fmla="*/ 1407512 w 7467600"/>
              <a:gd name="connsiteY697" fmla="*/ 3018001 h 6858000"/>
              <a:gd name="connsiteX698" fmla="*/ 1726266 w 7467600"/>
              <a:gd name="connsiteY698" fmla="*/ 2777274 h 6858000"/>
              <a:gd name="connsiteX699" fmla="*/ 625390 w 7467600"/>
              <a:gd name="connsiteY699" fmla="*/ 2514541 h 6858000"/>
              <a:gd name="connsiteX700" fmla="*/ 619799 w 7467600"/>
              <a:gd name="connsiteY700" fmla="*/ 2527180 h 6858000"/>
              <a:gd name="connsiteX701" fmla="*/ 310030 w 7467600"/>
              <a:gd name="connsiteY701" fmla="*/ 2771818 h 6858000"/>
              <a:gd name="connsiteX702" fmla="*/ 173877 w 7467600"/>
              <a:gd name="connsiteY702" fmla="*/ 2937056 h 6858000"/>
              <a:gd name="connsiteX703" fmla="*/ 77889 w 7467600"/>
              <a:gd name="connsiteY703" fmla="*/ 3138440 h 6858000"/>
              <a:gd name="connsiteX704" fmla="*/ 0 w 7467600"/>
              <a:gd name="connsiteY704" fmla="*/ 3271395 h 6858000"/>
              <a:gd name="connsiteX705" fmla="*/ 0 w 7467600"/>
              <a:gd name="connsiteY705" fmla="*/ 3153002 h 6858000"/>
              <a:gd name="connsiteX706" fmla="*/ 2386 w 7467600"/>
              <a:gd name="connsiteY706" fmla="*/ 3149203 h 6858000"/>
              <a:gd name="connsiteX707" fmla="*/ 89753 w 7467600"/>
              <a:gd name="connsiteY707" fmla="*/ 2987702 h 6858000"/>
              <a:gd name="connsiteX708" fmla="*/ 76869 w 7467600"/>
              <a:gd name="connsiteY708" fmla="*/ 3005404 h 6858000"/>
              <a:gd name="connsiteX709" fmla="*/ 32049 w 7467600"/>
              <a:gd name="connsiteY709" fmla="*/ 3065814 h 6858000"/>
              <a:gd name="connsiteX710" fmla="*/ 0 w 7467600"/>
              <a:gd name="connsiteY710" fmla="*/ 3108744 h 6858000"/>
              <a:gd name="connsiteX711" fmla="*/ 0 w 7467600"/>
              <a:gd name="connsiteY711" fmla="*/ 3058059 h 6858000"/>
              <a:gd name="connsiteX712" fmla="*/ 7610 w 7467600"/>
              <a:gd name="connsiteY712" fmla="*/ 3047889 h 6858000"/>
              <a:gd name="connsiteX713" fmla="*/ 52419 w 7467600"/>
              <a:gd name="connsiteY713" fmla="*/ 2987479 h 6858000"/>
              <a:gd name="connsiteX714" fmla="*/ 59142 w 7467600"/>
              <a:gd name="connsiteY714" fmla="*/ 2978488 h 6858000"/>
              <a:gd name="connsiteX715" fmla="*/ 0 w 7467600"/>
              <a:gd name="connsiteY715" fmla="*/ 3015334 h 6858000"/>
              <a:gd name="connsiteX716" fmla="*/ 0 w 7467600"/>
              <a:gd name="connsiteY716" fmla="*/ 2914286 h 6858000"/>
              <a:gd name="connsiteX717" fmla="*/ 36383 w 7467600"/>
              <a:gd name="connsiteY717" fmla="*/ 2901128 h 6858000"/>
              <a:gd name="connsiteX718" fmla="*/ 156329 w 7467600"/>
              <a:gd name="connsiteY718" fmla="*/ 2840533 h 6858000"/>
              <a:gd name="connsiteX719" fmla="*/ 358355 w 7467600"/>
              <a:gd name="connsiteY719" fmla="*/ 2620471 h 6858000"/>
              <a:gd name="connsiteX720" fmla="*/ 510577 w 7467600"/>
              <a:gd name="connsiteY720" fmla="*/ 2501244 h 6858000"/>
              <a:gd name="connsiteX721" fmla="*/ 211967 w 7467600"/>
              <a:gd name="connsiteY721" fmla="*/ 2479171 h 6858000"/>
              <a:gd name="connsiteX722" fmla="*/ 0 w 7467600"/>
              <a:gd name="connsiteY722" fmla="*/ 2476398 h 6858000"/>
              <a:gd name="connsiteX723" fmla="*/ 0 w 7467600"/>
              <a:gd name="connsiteY723" fmla="*/ 2389189 h 6858000"/>
              <a:gd name="connsiteX724" fmla="*/ 103062 w 7467600"/>
              <a:gd name="connsiteY724" fmla="*/ 2389518 h 6858000"/>
              <a:gd name="connsiteX725" fmla="*/ 510734 w 7467600"/>
              <a:gd name="connsiteY725" fmla="*/ 2416201 h 6858000"/>
              <a:gd name="connsiteX726" fmla="*/ 279257 w 7467600"/>
              <a:gd name="connsiteY726" fmla="*/ 2092102 h 6858000"/>
              <a:gd name="connsiteX727" fmla="*/ 65265 w 7467600"/>
              <a:gd name="connsiteY727" fmla="*/ 2006049 h 6858000"/>
              <a:gd name="connsiteX728" fmla="*/ 0 w 7467600"/>
              <a:gd name="connsiteY728" fmla="*/ 1982532 h 6858000"/>
              <a:gd name="connsiteX729" fmla="*/ 0 w 7467600"/>
              <a:gd name="connsiteY729" fmla="*/ 1912789 h 6858000"/>
              <a:gd name="connsiteX730" fmla="*/ 97460 w 7467600"/>
              <a:gd name="connsiteY730" fmla="*/ 1953725 h 6858000"/>
              <a:gd name="connsiteX731" fmla="*/ 221272 w 7467600"/>
              <a:gd name="connsiteY731" fmla="*/ 1980766 h 6858000"/>
              <a:gd name="connsiteX732" fmla="*/ 116765 w 7467600"/>
              <a:gd name="connsiteY732" fmla="*/ 1911033 h 6858000"/>
              <a:gd name="connsiteX733" fmla="*/ 16405 w 7467600"/>
              <a:gd name="connsiteY733" fmla="*/ 1803412 h 6858000"/>
              <a:gd name="connsiteX734" fmla="*/ 0 w 7467600"/>
              <a:gd name="connsiteY734" fmla="*/ 1784777 h 6858000"/>
              <a:gd name="connsiteX735" fmla="*/ 0 w 7467600"/>
              <a:gd name="connsiteY735" fmla="*/ 1740082 h 6858000"/>
              <a:gd name="connsiteX736" fmla="*/ 39394 w 7467600"/>
              <a:gd name="connsiteY736" fmla="*/ 1784856 h 6858000"/>
              <a:gd name="connsiteX737" fmla="*/ 135813 w 7467600"/>
              <a:gd name="connsiteY737" fmla="*/ 1888838 h 6858000"/>
              <a:gd name="connsiteX738" fmla="*/ 242575 w 7467600"/>
              <a:gd name="connsiteY738" fmla="*/ 1958841 h 6858000"/>
              <a:gd name="connsiteX739" fmla="*/ 82197 w 7467600"/>
              <a:gd name="connsiteY739" fmla="*/ 1754826 h 6858000"/>
              <a:gd name="connsiteX740" fmla="*/ 0 w 7467600"/>
              <a:gd name="connsiteY740" fmla="*/ 1679650 h 6858000"/>
              <a:gd name="connsiteX741" fmla="*/ 0 w 7467600"/>
              <a:gd name="connsiteY741" fmla="*/ 1602463 h 6858000"/>
              <a:gd name="connsiteX742" fmla="*/ 84689 w 7467600"/>
              <a:gd name="connsiteY742" fmla="*/ 1677442 h 6858000"/>
              <a:gd name="connsiteX743" fmla="*/ 298437 w 7467600"/>
              <a:gd name="connsiteY743" fmla="*/ 1968019 h 6858000"/>
              <a:gd name="connsiteX744" fmla="*/ 227269 w 7467600"/>
              <a:gd name="connsiteY744" fmla="*/ 1114064 h 6858000"/>
              <a:gd name="connsiteX745" fmla="*/ 248003 w 7467600"/>
              <a:gd name="connsiteY745" fmla="*/ 1089613 h 6858000"/>
              <a:gd name="connsiteX746" fmla="*/ 427020 w 7467600"/>
              <a:gd name="connsiteY746" fmla="*/ 1619803 h 6858000"/>
              <a:gd name="connsiteX747" fmla="*/ 340345 w 7467600"/>
              <a:gd name="connsiteY747" fmla="*/ 2027739 h 6858000"/>
              <a:gd name="connsiteX748" fmla="*/ 360865 w 7467600"/>
              <a:gd name="connsiteY748" fmla="*/ 2044827 h 6858000"/>
              <a:gd name="connsiteX749" fmla="*/ 560414 w 7467600"/>
              <a:gd name="connsiteY749" fmla="*/ 2421457 h 6858000"/>
              <a:gd name="connsiteX750" fmla="*/ 1359703 w 7467600"/>
              <a:gd name="connsiteY750" fmla="*/ 2578554 h 6858000"/>
              <a:gd name="connsiteX751" fmla="*/ 1359422 w 7467600"/>
              <a:gd name="connsiteY751" fmla="*/ 2577994 h 6858000"/>
              <a:gd name="connsiteX752" fmla="*/ 828701 w 7467600"/>
              <a:gd name="connsiteY752" fmla="*/ 1839520 h 6858000"/>
              <a:gd name="connsiteX753" fmla="*/ 494427 w 7467600"/>
              <a:gd name="connsiteY753" fmla="*/ 1092333 h 6858000"/>
              <a:gd name="connsiteX754" fmla="*/ 506322 w 7467600"/>
              <a:gd name="connsiteY754" fmla="*/ 1020997 h 6858000"/>
              <a:gd name="connsiteX755" fmla="*/ 4570198 w 7467600"/>
              <a:gd name="connsiteY755" fmla="*/ 978081 h 6858000"/>
              <a:gd name="connsiteX756" fmla="*/ 4523691 w 7467600"/>
              <a:gd name="connsiteY756" fmla="*/ 1127776 h 6858000"/>
              <a:gd name="connsiteX757" fmla="*/ 4509875 w 7467600"/>
              <a:gd name="connsiteY757" fmla="*/ 1167552 h 6858000"/>
              <a:gd name="connsiteX758" fmla="*/ 4478168 w 7467600"/>
              <a:gd name="connsiteY758" fmla="*/ 1260735 h 6858000"/>
              <a:gd name="connsiteX759" fmla="*/ 4409309 w 7467600"/>
              <a:gd name="connsiteY759" fmla="*/ 1666996 h 6858000"/>
              <a:gd name="connsiteX760" fmla="*/ 4370031 w 7467600"/>
              <a:gd name="connsiteY760" fmla="*/ 1955666 h 6858000"/>
              <a:gd name="connsiteX761" fmla="*/ 4570198 w 7467600"/>
              <a:gd name="connsiteY761" fmla="*/ 978081 h 6858000"/>
              <a:gd name="connsiteX762" fmla="*/ 4557898 w 7467600"/>
              <a:gd name="connsiteY762" fmla="*/ 900011 h 6858000"/>
              <a:gd name="connsiteX763" fmla="*/ 4344840 w 7467600"/>
              <a:gd name="connsiteY763" fmla="*/ 1922038 h 6858000"/>
              <a:gd name="connsiteX764" fmla="*/ 4378710 w 7467600"/>
              <a:gd name="connsiteY764" fmla="*/ 1665516 h 6858000"/>
              <a:gd name="connsiteX765" fmla="*/ 4448798 w 7467600"/>
              <a:gd name="connsiteY765" fmla="*/ 1253024 h 6858000"/>
              <a:gd name="connsiteX766" fmla="*/ 4480315 w 7467600"/>
              <a:gd name="connsiteY766" fmla="*/ 1158454 h 6858000"/>
              <a:gd name="connsiteX767" fmla="*/ 4494133 w 7467600"/>
              <a:gd name="connsiteY767" fmla="*/ 1118676 h 6858000"/>
              <a:gd name="connsiteX768" fmla="*/ 4557898 w 7467600"/>
              <a:gd name="connsiteY768" fmla="*/ 900011 h 6858000"/>
              <a:gd name="connsiteX769" fmla="*/ 5870151 w 7467600"/>
              <a:gd name="connsiteY769" fmla="*/ 898890 h 6858000"/>
              <a:gd name="connsiteX770" fmla="*/ 5861335 w 7467600"/>
              <a:gd name="connsiteY770" fmla="*/ 899177 h 6858000"/>
              <a:gd name="connsiteX771" fmla="*/ 5843702 w 7467600"/>
              <a:gd name="connsiteY771" fmla="*/ 899748 h 6858000"/>
              <a:gd name="connsiteX772" fmla="*/ 5651107 w 7467600"/>
              <a:gd name="connsiteY772" fmla="*/ 920306 h 6858000"/>
              <a:gd name="connsiteX773" fmla="*/ 5459407 w 7467600"/>
              <a:gd name="connsiteY773" fmla="*/ 940975 h 6858000"/>
              <a:gd name="connsiteX774" fmla="*/ 5374846 w 7467600"/>
              <a:gd name="connsiteY774" fmla="*/ 941988 h 6858000"/>
              <a:gd name="connsiteX775" fmla="*/ 5256105 w 7467600"/>
              <a:gd name="connsiteY775" fmla="*/ 945632 h 6858000"/>
              <a:gd name="connsiteX776" fmla="*/ 5107071 w 7467600"/>
              <a:gd name="connsiteY776" fmla="*/ 969720 h 6858000"/>
              <a:gd name="connsiteX777" fmla="*/ 4998681 w 7467600"/>
              <a:gd name="connsiteY777" fmla="*/ 988771 h 6858000"/>
              <a:gd name="connsiteX778" fmla="*/ 5870151 w 7467600"/>
              <a:gd name="connsiteY778" fmla="*/ 898890 h 6858000"/>
              <a:gd name="connsiteX779" fmla="*/ 5504425 w 7467600"/>
              <a:gd name="connsiteY779" fmla="*/ 848067 h 6858000"/>
              <a:gd name="connsiteX780" fmla="*/ 4968849 w 7467600"/>
              <a:gd name="connsiteY780" fmla="*/ 962318 h 6858000"/>
              <a:gd name="connsiteX781" fmla="*/ 5104039 w 7467600"/>
              <a:gd name="connsiteY781" fmla="*/ 940634 h 6858000"/>
              <a:gd name="connsiteX782" fmla="*/ 5256311 w 7467600"/>
              <a:gd name="connsiteY782" fmla="*/ 916490 h 6858000"/>
              <a:gd name="connsiteX783" fmla="*/ 5377381 w 7467600"/>
              <a:gd name="connsiteY783" fmla="*/ 912671 h 6858000"/>
              <a:gd name="connsiteX784" fmla="*/ 5460148 w 7467600"/>
              <a:gd name="connsiteY784" fmla="*/ 911442 h 6858000"/>
              <a:gd name="connsiteX785" fmla="*/ 5648971 w 7467600"/>
              <a:gd name="connsiteY785" fmla="*/ 891331 h 6858000"/>
              <a:gd name="connsiteX786" fmla="*/ 5844807 w 7467600"/>
              <a:gd name="connsiteY786" fmla="*/ 870718 h 6858000"/>
              <a:gd name="connsiteX787" fmla="*/ 5862975 w 7467600"/>
              <a:gd name="connsiteY787" fmla="*/ 869756 h 6858000"/>
              <a:gd name="connsiteX788" fmla="*/ 5920887 w 7467600"/>
              <a:gd name="connsiteY788" fmla="*/ 865929 h 6858000"/>
              <a:gd name="connsiteX789" fmla="*/ 5504425 w 7467600"/>
              <a:gd name="connsiteY789" fmla="*/ 848067 h 6858000"/>
              <a:gd name="connsiteX790" fmla="*/ 3607114 w 7467600"/>
              <a:gd name="connsiteY790" fmla="*/ 467441 h 6858000"/>
              <a:gd name="connsiteX791" fmla="*/ 3296242 w 7467600"/>
              <a:gd name="connsiteY791" fmla="*/ 807991 h 6858000"/>
              <a:gd name="connsiteX792" fmla="*/ 3174674 w 7467600"/>
              <a:gd name="connsiteY792" fmla="*/ 919759 h 6858000"/>
              <a:gd name="connsiteX793" fmla="*/ 3042978 w 7467600"/>
              <a:gd name="connsiteY793" fmla="*/ 1054894 h 6858000"/>
              <a:gd name="connsiteX794" fmla="*/ 2968914 w 7467600"/>
              <a:gd name="connsiteY794" fmla="*/ 1133756 h 6858000"/>
              <a:gd name="connsiteX795" fmla="*/ 3103823 w 7467600"/>
              <a:gd name="connsiteY795" fmla="*/ 1026814 h 6858000"/>
              <a:gd name="connsiteX796" fmla="*/ 3607114 w 7467600"/>
              <a:gd name="connsiteY796" fmla="*/ 467441 h 6858000"/>
              <a:gd name="connsiteX797" fmla="*/ 3744487 w 7467600"/>
              <a:gd name="connsiteY797" fmla="*/ 383136 h 6858000"/>
              <a:gd name="connsiteX798" fmla="*/ 3970213 w 7467600"/>
              <a:gd name="connsiteY798" fmla="*/ 995559 h 6858000"/>
              <a:gd name="connsiteX799" fmla="*/ 3744487 w 7467600"/>
              <a:gd name="connsiteY799" fmla="*/ 383136 h 6858000"/>
              <a:gd name="connsiteX800" fmla="*/ 3624562 w 7467600"/>
              <a:gd name="connsiteY800" fmla="*/ 367041 h 6858000"/>
              <a:gd name="connsiteX801" fmla="*/ 3489712 w 7467600"/>
              <a:gd name="connsiteY801" fmla="*/ 485386 h 6858000"/>
              <a:gd name="connsiteX802" fmla="*/ 3182994 w 7467600"/>
              <a:gd name="connsiteY802" fmla="*/ 828265 h 6858000"/>
              <a:gd name="connsiteX803" fmla="*/ 2892114 w 7467600"/>
              <a:gd name="connsiteY803" fmla="*/ 1172635 h 6858000"/>
              <a:gd name="connsiteX804" fmla="*/ 3021459 w 7467600"/>
              <a:gd name="connsiteY804" fmla="*/ 1035385 h 6858000"/>
              <a:gd name="connsiteX805" fmla="*/ 3153873 w 7467600"/>
              <a:gd name="connsiteY805" fmla="*/ 898971 h 6858000"/>
              <a:gd name="connsiteX806" fmla="*/ 3276511 w 7467600"/>
              <a:gd name="connsiteY806" fmla="*/ 786423 h 6858000"/>
              <a:gd name="connsiteX807" fmla="*/ 3584154 w 7467600"/>
              <a:gd name="connsiteY807" fmla="*/ 448218 h 6858000"/>
              <a:gd name="connsiteX808" fmla="*/ 3624562 w 7467600"/>
              <a:gd name="connsiteY808" fmla="*/ 367041 h 6858000"/>
              <a:gd name="connsiteX809" fmla="*/ 3766672 w 7467600"/>
              <a:gd name="connsiteY809" fmla="*/ 359429 h 6858000"/>
              <a:gd name="connsiteX810" fmla="*/ 3996338 w 7467600"/>
              <a:gd name="connsiteY810" fmla="*/ 968237 h 6858000"/>
              <a:gd name="connsiteX811" fmla="*/ 3766672 w 7467600"/>
              <a:gd name="connsiteY811" fmla="*/ 359429 h 6858000"/>
              <a:gd name="connsiteX812" fmla="*/ 5805386 w 7467600"/>
              <a:gd name="connsiteY812" fmla="*/ 239240 h 6858000"/>
              <a:gd name="connsiteX813" fmla="*/ 5736947 w 7467600"/>
              <a:gd name="connsiteY813" fmla="*/ 261367 h 6858000"/>
              <a:gd name="connsiteX814" fmla="*/ 5427012 w 7467600"/>
              <a:gd name="connsiteY814" fmla="*/ 311272 h 6858000"/>
              <a:gd name="connsiteX815" fmla="*/ 5147818 w 7467600"/>
              <a:gd name="connsiteY815" fmla="*/ 322112 h 6858000"/>
              <a:gd name="connsiteX816" fmla="*/ 5060854 w 7467600"/>
              <a:gd name="connsiteY816" fmla="*/ 311882 h 6858000"/>
              <a:gd name="connsiteX817" fmla="*/ 4945989 w 7467600"/>
              <a:gd name="connsiteY817" fmla="*/ 300516 h 6858000"/>
              <a:gd name="connsiteX818" fmla="*/ 5410479 w 7467600"/>
              <a:gd name="connsiteY818" fmla="*/ 348434 h 6858000"/>
              <a:gd name="connsiteX819" fmla="*/ 5805386 w 7467600"/>
              <a:gd name="connsiteY819" fmla="*/ 239240 h 6858000"/>
              <a:gd name="connsiteX820" fmla="*/ 5905192 w 7467600"/>
              <a:gd name="connsiteY820" fmla="*/ 163079 h 6858000"/>
              <a:gd name="connsiteX821" fmla="*/ 5865655 w 7467600"/>
              <a:gd name="connsiteY821" fmla="*/ 171901 h 6858000"/>
              <a:gd name="connsiteX822" fmla="*/ 5259740 w 7467600"/>
              <a:gd name="connsiteY822" fmla="*/ 257013 h 6858000"/>
              <a:gd name="connsiteX823" fmla="*/ 5208466 w 7467600"/>
              <a:gd name="connsiteY823" fmla="*/ 257550 h 6858000"/>
              <a:gd name="connsiteX824" fmla="*/ 4980204 w 7467600"/>
              <a:gd name="connsiteY824" fmla="*/ 271903 h 6858000"/>
              <a:gd name="connsiteX825" fmla="*/ 5068068 w 7467600"/>
              <a:gd name="connsiteY825" fmla="*/ 282244 h 6858000"/>
              <a:gd name="connsiteX826" fmla="*/ 5153231 w 7467600"/>
              <a:gd name="connsiteY826" fmla="*/ 292240 h 6858000"/>
              <a:gd name="connsiteX827" fmla="*/ 5426491 w 7467600"/>
              <a:gd name="connsiteY827" fmla="*/ 281128 h 6858000"/>
              <a:gd name="connsiteX828" fmla="*/ 5731212 w 7467600"/>
              <a:gd name="connsiteY828" fmla="*/ 231951 h 6858000"/>
              <a:gd name="connsiteX829" fmla="*/ 5905192 w 7467600"/>
              <a:gd name="connsiteY829" fmla="*/ 163079 h 6858000"/>
              <a:gd name="connsiteX830" fmla="*/ 5944437 w 7467600"/>
              <a:gd name="connsiteY830" fmla="*/ 113829 h 6858000"/>
              <a:gd name="connsiteX831" fmla="*/ 5825032 w 7467600"/>
              <a:gd name="connsiteY831" fmla="*/ 146405 h 6858000"/>
              <a:gd name="connsiteX832" fmla="*/ 4955599 w 7467600"/>
              <a:gd name="connsiteY832" fmla="*/ 247008 h 6858000"/>
              <a:gd name="connsiteX833" fmla="*/ 5210104 w 7467600"/>
              <a:gd name="connsiteY833" fmla="*/ 228123 h 6858000"/>
              <a:gd name="connsiteX834" fmla="*/ 5261015 w 7467600"/>
              <a:gd name="connsiteY834" fmla="*/ 227087 h 6858000"/>
              <a:gd name="connsiteX835" fmla="*/ 5861181 w 7467600"/>
              <a:gd name="connsiteY835" fmla="*/ 143093 h 6858000"/>
              <a:gd name="connsiteX836" fmla="*/ 5961252 w 7467600"/>
              <a:gd name="connsiteY836" fmla="*/ 114820 h 6858000"/>
              <a:gd name="connsiteX837" fmla="*/ 5944437 w 7467600"/>
              <a:gd name="connsiteY837" fmla="*/ 113829 h 6858000"/>
              <a:gd name="connsiteX838" fmla="*/ 3882765 w 7467600"/>
              <a:gd name="connsiteY838" fmla="*/ 0 h 6858000"/>
              <a:gd name="connsiteX839" fmla="*/ 3995099 w 7467600"/>
              <a:gd name="connsiteY839" fmla="*/ 0 h 6858000"/>
              <a:gd name="connsiteX840" fmla="*/ 4163818 w 7467600"/>
              <a:gd name="connsiteY840" fmla="*/ 234104 h 6858000"/>
              <a:gd name="connsiteX841" fmla="*/ 4172099 w 7467600"/>
              <a:gd name="connsiteY841" fmla="*/ 234207 h 6858000"/>
              <a:gd name="connsiteX842" fmla="*/ 4784282 w 7467600"/>
              <a:gd name="connsiteY842" fmla="*/ 276561 h 6858000"/>
              <a:gd name="connsiteX843" fmla="*/ 4801687 w 7467600"/>
              <a:gd name="connsiteY843" fmla="*/ 267764 h 6858000"/>
              <a:gd name="connsiteX844" fmla="*/ 6082788 w 7467600"/>
              <a:gd name="connsiteY844" fmla="*/ 64119 h 6858000"/>
              <a:gd name="connsiteX845" fmla="*/ 6099442 w 7467600"/>
              <a:gd name="connsiteY845" fmla="*/ 82568 h 6858000"/>
              <a:gd name="connsiteX846" fmla="*/ 4804137 w 7467600"/>
              <a:gd name="connsiteY846" fmla="*/ 320931 h 6858000"/>
              <a:gd name="connsiteX847" fmla="*/ 4227047 w 7467600"/>
              <a:gd name="connsiteY847" fmla="*/ 313415 h 6858000"/>
              <a:gd name="connsiteX848" fmla="*/ 4346041 w 7467600"/>
              <a:gd name="connsiteY848" fmla="*/ 456086 h 6858000"/>
              <a:gd name="connsiteX849" fmla="*/ 4870967 w 7467600"/>
              <a:gd name="connsiteY849" fmla="*/ 963061 h 6858000"/>
              <a:gd name="connsiteX850" fmla="*/ 4889647 w 7467600"/>
              <a:gd name="connsiteY850" fmla="*/ 957147 h 6858000"/>
              <a:gd name="connsiteX851" fmla="*/ 5422504 w 7467600"/>
              <a:gd name="connsiteY851" fmla="*/ 805191 h 6858000"/>
              <a:gd name="connsiteX852" fmla="*/ 6087656 w 7467600"/>
              <a:gd name="connsiteY852" fmla="*/ 826703 h 6858000"/>
              <a:gd name="connsiteX853" fmla="*/ 6058717 w 7467600"/>
              <a:gd name="connsiteY853" fmla="*/ 865992 h 6858000"/>
              <a:gd name="connsiteX854" fmla="*/ 4974153 w 7467600"/>
              <a:gd name="connsiteY854" fmla="*/ 1045456 h 6858000"/>
              <a:gd name="connsiteX855" fmla="*/ 5627835 w 7467600"/>
              <a:gd name="connsiteY855" fmla="*/ 1472077 h 6858000"/>
              <a:gd name="connsiteX856" fmla="*/ 5629817 w 7467600"/>
              <a:gd name="connsiteY856" fmla="*/ 1471412 h 6858000"/>
              <a:gd name="connsiteX857" fmla="*/ 5634124 w 7467600"/>
              <a:gd name="connsiteY857" fmla="*/ 1470572 h 6858000"/>
              <a:gd name="connsiteX858" fmla="*/ 5755832 w 7467600"/>
              <a:gd name="connsiteY858" fmla="*/ 1383886 h 6858000"/>
              <a:gd name="connsiteX859" fmla="*/ 6014186 w 7467600"/>
              <a:gd name="connsiteY859" fmla="*/ 1279799 h 6858000"/>
              <a:gd name="connsiteX860" fmla="*/ 6901619 w 7467600"/>
              <a:gd name="connsiteY860" fmla="*/ 1047874 h 6858000"/>
              <a:gd name="connsiteX861" fmla="*/ 6931566 w 7467600"/>
              <a:gd name="connsiteY861" fmla="*/ 1062034 h 6858000"/>
              <a:gd name="connsiteX862" fmla="*/ 5790982 w 7467600"/>
              <a:gd name="connsiteY862" fmla="*/ 1561380 h 6858000"/>
              <a:gd name="connsiteX863" fmla="*/ 6188971 w 7467600"/>
              <a:gd name="connsiteY863" fmla="*/ 1755168 h 6858000"/>
              <a:gd name="connsiteX864" fmla="*/ 6202446 w 7467600"/>
              <a:gd name="connsiteY864" fmla="*/ 1752268 h 6858000"/>
              <a:gd name="connsiteX865" fmla="*/ 7179560 w 7467600"/>
              <a:gd name="connsiteY865" fmla="*/ 1467551 h 6858000"/>
              <a:gd name="connsiteX866" fmla="*/ 7158730 w 7467600"/>
              <a:gd name="connsiteY866" fmla="*/ 1507835 h 6858000"/>
              <a:gd name="connsiteX867" fmla="*/ 6326959 w 7467600"/>
              <a:gd name="connsiteY867" fmla="*/ 1817686 h 6858000"/>
              <a:gd name="connsiteX868" fmla="*/ 6537433 w 7467600"/>
              <a:gd name="connsiteY868" fmla="*/ 1907790 h 6858000"/>
              <a:gd name="connsiteX869" fmla="*/ 6550221 w 7467600"/>
              <a:gd name="connsiteY869" fmla="*/ 1910729 h 6858000"/>
              <a:gd name="connsiteX870" fmla="*/ 6964438 w 7467600"/>
              <a:gd name="connsiteY870" fmla="*/ 2209505 h 6858000"/>
              <a:gd name="connsiteX871" fmla="*/ 7367862 w 7467600"/>
              <a:gd name="connsiteY871" fmla="*/ 2806833 h 6858000"/>
              <a:gd name="connsiteX872" fmla="*/ 7364329 w 7467600"/>
              <a:gd name="connsiteY872" fmla="*/ 2826907 h 6858000"/>
              <a:gd name="connsiteX873" fmla="*/ 7290545 w 7467600"/>
              <a:gd name="connsiteY873" fmla="*/ 2850663 h 6858000"/>
              <a:gd name="connsiteX874" fmla="*/ 6472036 w 7467600"/>
              <a:gd name="connsiteY874" fmla="*/ 1959003 h 6858000"/>
              <a:gd name="connsiteX875" fmla="*/ 5792897 w 7467600"/>
              <a:gd name="connsiteY875" fmla="*/ 1647747 h 6858000"/>
              <a:gd name="connsiteX876" fmla="*/ 5842751 w 7467600"/>
              <a:gd name="connsiteY876" fmla="*/ 1816112 h 6858000"/>
              <a:gd name="connsiteX877" fmla="*/ 5847424 w 7467600"/>
              <a:gd name="connsiteY877" fmla="*/ 1815776 h 6858000"/>
              <a:gd name="connsiteX878" fmla="*/ 6399821 w 7467600"/>
              <a:gd name="connsiteY878" fmla="*/ 2344799 h 6858000"/>
              <a:gd name="connsiteX879" fmla="*/ 6323232 w 7467600"/>
              <a:gd name="connsiteY879" fmla="*/ 2389634 h 6858000"/>
              <a:gd name="connsiteX880" fmla="*/ 5942958 w 7467600"/>
              <a:gd name="connsiteY880" fmla="*/ 2077708 h 6858000"/>
              <a:gd name="connsiteX881" fmla="*/ 5921559 w 7467600"/>
              <a:gd name="connsiteY881" fmla="*/ 2378596 h 6858000"/>
              <a:gd name="connsiteX882" fmla="*/ 5817651 w 7467600"/>
              <a:gd name="connsiteY882" fmla="*/ 3023919 h 6858000"/>
              <a:gd name="connsiteX883" fmla="*/ 5729634 w 7467600"/>
              <a:gd name="connsiteY883" fmla="*/ 3051849 h 6858000"/>
              <a:gd name="connsiteX884" fmla="*/ 5611018 w 7467600"/>
              <a:gd name="connsiteY884" fmla="*/ 2316769 h 6858000"/>
              <a:gd name="connsiteX885" fmla="*/ 5687608 w 7467600"/>
              <a:gd name="connsiteY885" fmla="*/ 2039972 h 6858000"/>
              <a:gd name="connsiteX886" fmla="*/ 5657554 w 7467600"/>
              <a:gd name="connsiteY886" fmla="*/ 1576445 h 6858000"/>
              <a:gd name="connsiteX887" fmla="*/ 5150475 w 7467600"/>
              <a:gd name="connsiteY887" fmla="*/ 1274012 h 6858000"/>
              <a:gd name="connsiteX888" fmla="*/ 5349142 w 7467600"/>
              <a:gd name="connsiteY888" fmla="*/ 2204405 h 6858000"/>
              <a:gd name="connsiteX889" fmla="*/ 5262214 w 7467600"/>
              <a:gd name="connsiteY889" fmla="*/ 2233836 h 6858000"/>
              <a:gd name="connsiteX890" fmla="*/ 4981539 w 7467600"/>
              <a:gd name="connsiteY890" fmla="*/ 1542201 h 6858000"/>
              <a:gd name="connsiteX891" fmla="*/ 4958461 w 7467600"/>
              <a:gd name="connsiteY891" fmla="*/ 1136957 h 6858000"/>
              <a:gd name="connsiteX892" fmla="*/ 4655015 w 7467600"/>
              <a:gd name="connsiteY892" fmla="*/ 891426 h 6858000"/>
              <a:gd name="connsiteX893" fmla="*/ 4348002 w 7467600"/>
              <a:gd name="connsiteY893" fmla="*/ 2205895 h 6858000"/>
              <a:gd name="connsiteX894" fmla="*/ 4262250 w 7467600"/>
              <a:gd name="connsiteY894" fmla="*/ 2219972 h 6858000"/>
              <a:gd name="connsiteX895" fmla="*/ 4550611 w 7467600"/>
              <a:gd name="connsiteY895" fmla="*/ 817540 h 6858000"/>
              <a:gd name="connsiteX896" fmla="*/ 4564418 w 7467600"/>
              <a:gd name="connsiteY896" fmla="*/ 808293 h 6858000"/>
              <a:gd name="connsiteX897" fmla="*/ 4266388 w 7467600"/>
              <a:gd name="connsiteY897" fmla="*/ 500083 h 6858000"/>
              <a:gd name="connsiteX898" fmla="*/ 4032842 w 7467600"/>
              <a:gd name="connsiteY898" fmla="*/ 211809 h 6858000"/>
              <a:gd name="connsiteX899" fmla="*/ 3882765 w 7467600"/>
              <a:gd name="connsiteY899" fmla="*/ 0 h 6858000"/>
              <a:gd name="connsiteX900" fmla="*/ 3721337 w 7467600"/>
              <a:gd name="connsiteY900" fmla="*/ 0 h 6858000"/>
              <a:gd name="connsiteX901" fmla="*/ 3797544 w 7467600"/>
              <a:gd name="connsiteY901" fmla="*/ 0 h 6858000"/>
              <a:gd name="connsiteX902" fmla="*/ 3775734 w 7467600"/>
              <a:gd name="connsiteY902" fmla="*/ 95131 h 6858000"/>
              <a:gd name="connsiteX903" fmla="*/ 3724807 w 7467600"/>
              <a:gd name="connsiteY903" fmla="*/ 272257 h 6858000"/>
              <a:gd name="connsiteX904" fmla="*/ 3726844 w 7467600"/>
              <a:gd name="connsiteY904" fmla="*/ 282988 h 6858000"/>
              <a:gd name="connsiteX905" fmla="*/ 3742664 w 7467600"/>
              <a:gd name="connsiteY905" fmla="*/ 279918 h 6858000"/>
              <a:gd name="connsiteX906" fmla="*/ 4103910 w 7467600"/>
              <a:gd name="connsiteY906" fmla="*/ 1161917 h 6858000"/>
              <a:gd name="connsiteX907" fmla="*/ 4020269 w 7467600"/>
              <a:gd name="connsiteY907" fmla="*/ 1200406 h 6858000"/>
              <a:gd name="connsiteX908" fmla="*/ 3674882 w 7467600"/>
              <a:gd name="connsiteY908" fmla="*/ 488524 h 6858000"/>
              <a:gd name="connsiteX909" fmla="*/ 3132682 w 7467600"/>
              <a:gd name="connsiteY909" fmla="*/ 1072284 h 6858000"/>
              <a:gd name="connsiteX910" fmla="*/ 2716346 w 7467600"/>
              <a:gd name="connsiteY910" fmla="*/ 1276376 h 6858000"/>
              <a:gd name="connsiteX911" fmla="*/ 2716772 w 7467600"/>
              <a:gd name="connsiteY911" fmla="*/ 1255462 h 6858000"/>
              <a:gd name="connsiteX912" fmla="*/ 3471096 w 7467600"/>
              <a:gd name="connsiteY912" fmla="*/ 437072 h 6858000"/>
              <a:gd name="connsiteX913" fmla="*/ 3639057 w 7467600"/>
              <a:gd name="connsiteY913" fmla="*/ 286334 h 6858000"/>
              <a:gd name="connsiteX914" fmla="*/ 3640309 w 7467600"/>
              <a:gd name="connsiteY914" fmla="*/ 284664 h 6858000"/>
              <a:gd name="connsiteX915" fmla="*/ 3646022 w 7467600"/>
              <a:gd name="connsiteY915" fmla="*/ 276711 h 6858000"/>
              <a:gd name="connsiteX916" fmla="*/ 3707943 w 7467600"/>
              <a:gd name="connsiteY916" fmla="*/ 65958 h 6858000"/>
              <a:gd name="connsiteX917" fmla="*/ 3721337 w 7467600"/>
              <a:gd name="connsiteY917" fmla="*/ 0 h 6858000"/>
              <a:gd name="connsiteX918" fmla="*/ 2867960 w 7467600"/>
              <a:gd name="connsiteY918" fmla="*/ 0 h 6858000"/>
              <a:gd name="connsiteX919" fmla="*/ 2926351 w 7467600"/>
              <a:gd name="connsiteY919" fmla="*/ 0 h 6858000"/>
              <a:gd name="connsiteX920" fmla="*/ 2902823 w 7467600"/>
              <a:gd name="connsiteY920" fmla="*/ 262929 h 6858000"/>
              <a:gd name="connsiteX921" fmla="*/ 2940663 w 7467600"/>
              <a:gd name="connsiteY921" fmla="*/ 140884 h 6858000"/>
              <a:gd name="connsiteX922" fmla="*/ 2947039 w 7467600"/>
              <a:gd name="connsiteY922" fmla="*/ 122524 h 6858000"/>
              <a:gd name="connsiteX923" fmla="*/ 2984316 w 7467600"/>
              <a:gd name="connsiteY923" fmla="*/ 0 h 6858000"/>
              <a:gd name="connsiteX924" fmla="*/ 3016114 w 7467600"/>
              <a:gd name="connsiteY924" fmla="*/ 0 h 6858000"/>
              <a:gd name="connsiteX925" fmla="*/ 2979949 w 7467600"/>
              <a:gd name="connsiteY925" fmla="*/ 119274 h 6858000"/>
              <a:gd name="connsiteX926" fmla="*/ 3023879 w 7467600"/>
              <a:gd name="connsiteY926" fmla="*/ 0 h 6858000"/>
              <a:gd name="connsiteX927" fmla="*/ 3105400 w 7467600"/>
              <a:gd name="connsiteY927" fmla="*/ 0 h 6858000"/>
              <a:gd name="connsiteX928" fmla="*/ 3094669 w 7467600"/>
              <a:gd name="connsiteY928" fmla="*/ 30308 h 6858000"/>
              <a:gd name="connsiteX929" fmla="*/ 2901945 w 7467600"/>
              <a:gd name="connsiteY929" fmla="*/ 466538 h 6858000"/>
              <a:gd name="connsiteX930" fmla="*/ 2815209 w 7467600"/>
              <a:gd name="connsiteY930" fmla="*/ 497361 h 6858000"/>
              <a:gd name="connsiteX931" fmla="*/ 2844845 w 7467600"/>
              <a:gd name="connsiteY931" fmla="*/ 127638 h 6858000"/>
              <a:gd name="connsiteX932" fmla="*/ 2867960 w 7467600"/>
              <a:gd name="connsiteY932" fmla="*/ 0 h 6858000"/>
              <a:gd name="connsiteX933" fmla="*/ 1057230 w 7467600"/>
              <a:gd name="connsiteY933" fmla="*/ 0 h 6858000"/>
              <a:gd name="connsiteX934" fmla="*/ 1111003 w 7467600"/>
              <a:gd name="connsiteY934" fmla="*/ 0 h 6858000"/>
              <a:gd name="connsiteX935" fmla="*/ 1125553 w 7467600"/>
              <a:gd name="connsiteY935" fmla="*/ 52588 h 6858000"/>
              <a:gd name="connsiteX936" fmla="*/ 1304276 w 7467600"/>
              <a:gd name="connsiteY936" fmla="*/ 476275 h 6858000"/>
              <a:gd name="connsiteX937" fmla="*/ 1492066 w 7467600"/>
              <a:gd name="connsiteY937" fmla="*/ 886333 h 6858000"/>
              <a:gd name="connsiteX938" fmla="*/ 1423698 w 7467600"/>
              <a:gd name="connsiteY938" fmla="*/ 710817 h 6858000"/>
              <a:gd name="connsiteX939" fmla="*/ 1357609 w 7467600"/>
              <a:gd name="connsiteY939" fmla="*/ 532892 h 6858000"/>
              <a:gd name="connsiteX940" fmla="*/ 1309550 w 7467600"/>
              <a:gd name="connsiteY940" fmla="*/ 374031 h 6858000"/>
              <a:gd name="connsiteX941" fmla="*/ 1193673 w 7467600"/>
              <a:gd name="connsiteY941" fmla="*/ 49533 h 6858000"/>
              <a:gd name="connsiteX942" fmla="*/ 1164391 w 7467600"/>
              <a:gd name="connsiteY942" fmla="*/ 0 h 6858000"/>
              <a:gd name="connsiteX943" fmla="*/ 1200666 w 7467600"/>
              <a:gd name="connsiteY943" fmla="*/ 0 h 6858000"/>
              <a:gd name="connsiteX944" fmla="*/ 1223408 w 7467600"/>
              <a:gd name="connsiteY944" fmla="*/ 38996 h 6858000"/>
              <a:gd name="connsiteX945" fmla="*/ 1339635 w 7467600"/>
              <a:gd name="connsiteY945" fmla="*/ 365517 h 6858000"/>
              <a:gd name="connsiteX946" fmla="*/ 1387469 w 7467600"/>
              <a:gd name="connsiteY946" fmla="*/ 523079 h 6858000"/>
              <a:gd name="connsiteX947" fmla="*/ 1452685 w 7467600"/>
              <a:gd name="connsiteY947" fmla="*/ 699806 h 6858000"/>
              <a:gd name="connsiteX948" fmla="*/ 1492092 w 7467600"/>
              <a:gd name="connsiteY948" fmla="*/ 800424 h 6858000"/>
              <a:gd name="connsiteX949" fmla="*/ 1455302 w 7467600"/>
              <a:gd name="connsiteY949" fmla="*/ 632913 h 6858000"/>
              <a:gd name="connsiteX950" fmla="*/ 1222336 w 7467600"/>
              <a:gd name="connsiteY950" fmla="*/ 9480 h 6858000"/>
              <a:gd name="connsiteX951" fmla="*/ 1214634 w 7467600"/>
              <a:gd name="connsiteY951" fmla="*/ 0 h 6858000"/>
              <a:gd name="connsiteX952" fmla="*/ 1289827 w 7467600"/>
              <a:gd name="connsiteY952" fmla="*/ 0 h 6858000"/>
              <a:gd name="connsiteX953" fmla="*/ 1321076 w 7467600"/>
              <a:gd name="connsiteY953" fmla="*/ 59722 h 6858000"/>
              <a:gd name="connsiteX954" fmla="*/ 1512579 w 7467600"/>
              <a:gd name="connsiteY954" fmla="*/ 626441 h 6858000"/>
              <a:gd name="connsiteX955" fmla="*/ 1506076 w 7467600"/>
              <a:gd name="connsiteY955" fmla="*/ 1089289 h 6858000"/>
              <a:gd name="connsiteX956" fmla="*/ 1486346 w 7467600"/>
              <a:gd name="connsiteY956" fmla="*/ 1079919 h 6858000"/>
              <a:gd name="connsiteX957" fmla="*/ 1070511 w 7467600"/>
              <a:gd name="connsiteY957" fmla="*/ 48609 h 6858000"/>
              <a:gd name="connsiteX958" fmla="*/ 1057230 w 7467600"/>
              <a:gd name="connsiteY958" fmla="*/ 0 h 6858000"/>
              <a:gd name="connsiteX959" fmla="*/ 43151 w 7467600"/>
              <a:gd name="connsiteY959" fmla="*/ 0 h 6858000"/>
              <a:gd name="connsiteX960" fmla="*/ 95283 w 7467600"/>
              <a:gd name="connsiteY960" fmla="*/ 0 h 6858000"/>
              <a:gd name="connsiteX961" fmla="*/ 300708 w 7467600"/>
              <a:gd name="connsiteY961" fmla="*/ 154571 h 6858000"/>
              <a:gd name="connsiteX962" fmla="*/ 530414 w 7467600"/>
              <a:gd name="connsiteY962" fmla="*/ 354673 h 6858000"/>
              <a:gd name="connsiteX963" fmla="*/ 333785 w 7467600"/>
              <a:gd name="connsiteY963" fmla="*/ 161564 h 6858000"/>
              <a:gd name="connsiteX964" fmla="*/ 147005 w 7467600"/>
              <a:gd name="connsiteY964" fmla="*/ 0 h 6858000"/>
              <a:gd name="connsiteX965" fmla="*/ 272509 w 7467600"/>
              <a:gd name="connsiteY965" fmla="*/ 0 h 6858000"/>
              <a:gd name="connsiteX966" fmla="*/ 326276 w 7467600"/>
              <a:gd name="connsiteY966" fmla="*/ 45847 h 6858000"/>
              <a:gd name="connsiteX967" fmla="*/ 823759 w 7467600"/>
              <a:gd name="connsiteY967" fmla="*/ 574145 h 6858000"/>
              <a:gd name="connsiteX968" fmla="*/ 811254 w 7467600"/>
              <a:gd name="connsiteY968" fmla="*/ 665546 h 6858000"/>
              <a:gd name="connsiteX969" fmla="*/ 154042 w 7467600"/>
              <a:gd name="connsiteY969" fmla="*/ 261522 h 6858000"/>
              <a:gd name="connsiteX970" fmla="*/ 13550 w 7467600"/>
              <a:gd name="connsiteY970" fmla="*/ 158423 h 6858000"/>
              <a:gd name="connsiteX971" fmla="*/ 0 w 7467600"/>
              <a:gd name="connsiteY971" fmla="*/ 146618 h 6858000"/>
              <a:gd name="connsiteX972" fmla="*/ 0 w 7467600"/>
              <a:gd name="connsiteY972" fmla="*/ 59161 h 6858000"/>
              <a:gd name="connsiteX973" fmla="*/ 45427 w 7467600"/>
              <a:gd name="connsiteY973" fmla="*/ 101078 h 6858000"/>
              <a:gd name="connsiteX974" fmla="*/ 630103 w 7467600"/>
              <a:gd name="connsiteY974" fmla="*/ 485885 h 6858000"/>
              <a:gd name="connsiteX975" fmla="*/ 532040 w 7467600"/>
              <a:gd name="connsiteY975" fmla="*/ 399359 h 6858000"/>
              <a:gd name="connsiteX976" fmla="*/ 517618 w 7467600"/>
              <a:gd name="connsiteY976" fmla="*/ 385726 h 6858000"/>
              <a:gd name="connsiteX977" fmla="*/ 285074 w 7467600"/>
              <a:gd name="connsiteY977" fmla="*/ 182755 h 6858000"/>
              <a:gd name="connsiteX978" fmla="*/ 43151 w 7467600"/>
              <a:gd name="connsiteY978"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6844835 w 7467600"/>
              <a:gd name="connsiteY74" fmla="*/ 5424988 h 6858000"/>
              <a:gd name="connsiteX75" fmla="*/ 6879594 w 7467600"/>
              <a:gd name="connsiteY75" fmla="*/ 5424547 h 6858000"/>
              <a:gd name="connsiteX76" fmla="*/ 7379510 w 7467600"/>
              <a:gd name="connsiteY76" fmla="*/ 5755454 h 6858000"/>
              <a:gd name="connsiteX77" fmla="*/ 7467600 w 7467600"/>
              <a:gd name="connsiteY77" fmla="*/ 5845526 h 6858000"/>
              <a:gd name="connsiteX78" fmla="*/ 7467600 w 7467600"/>
              <a:gd name="connsiteY78" fmla="*/ 5925131 h 6858000"/>
              <a:gd name="connsiteX79" fmla="*/ 7271900 w 7467600"/>
              <a:gd name="connsiteY79" fmla="*/ 5734551 h 6858000"/>
              <a:gd name="connsiteX80" fmla="*/ 7015907 w 7467600"/>
              <a:gd name="connsiteY80" fmla="*/ 5541548 h 6858000"/>
              <a:gd name="connsiteX81" fmla="*/ 7259646 w 7467600"/>
              <a:gd name="connsiteY81" fmla="*/ 5765985 h 6858000"/>
              <a:gd name="connsiteX82" fmla="*/ 7467600 w 7467600"/>
              <a:gd name="connsiteY82" fmla="*/ 5971257 h 6858000"/>
              <a:gd name="connsiteX83" fmla="*/ 7467600 w 7467600"/>
              <a:gd name="connsiteY83" fmla="*/ 6012219 h 6858000"/>
              <a:gd name="connsiteX84" fmla="*/ 6946849 w 7467600"/>
              <a:gd name="connsiteY84" fmla="*/ 5523271 h 6858000"/>
              <a:gd name="connsiteX85" fmla="*/ 6946972 w 7467600"/>
              <a:gd name="connsiteY85" fmla="*/ 5526491 h 6858000"/>
              <a:gd name="connsiteX86" fmla="*/ 7105827 w 7467600"/>
              <a:gd name="connsiteY86" fmla="*/ 5718700 h 6858000"/>
              <a:gd name="connsiteX87" fmla="*/ 7356878 w 7467600"/>
              <a:gd name="connsiteY87" fmla="*/ 5981332 h 6858000"/>
              <a:gd name="connsiteX88" fmla="*/ 7467600 w 7467600"/>
              <a:gd name="connsiteY88" fmla="*/ 6117703 h 6858000"/>
              <a:gd name="connsiteX89" fmla="*/ 7467600 w 7467600"/>
              <a:gd name="connsiteY89" fmla="*/ 6163634 h 6858000"/>
              <a:gd name="connsiteX90" fmla="*/ 7403637 w 7467600"/>
              <a:gd name="connsiteY90" fmla="*/ 6083957 h 6858000"/>
              <a:gd name="connsiteX91" fmla="*/ 7254615 w 7467600"/>
              <a:gd name="connsiteY91" fmla="*/ 5911918 h 6858000"/>
              <a:gd name="connsiteX92" fmla="*/ 7312589 w 7467600"/>
              <a:gd name="connsiteY92" fmla="*/ 5982309 h 6858000"/>
              <a:gd name="connsiteX93" fmla="*/ 7448321 w 7467600"/>
              <a:gd name="connsiteY93" fmla="*/ 6190991 h 6858000"/>
              <a:gd name="connsiteX94" fmla="*/ 7467600 w 7467600"/>
              <a:gd name="connsiteY94" fmla="*/ 6221686 h 6858000"/>
              <a:gd name="connsiteX95" fmla="*/ 7467600 w 7467600"/>
              <a:gd name="connsiteY95" fmla="*/ 6334256 h 6858000"/>
              <a:gd name="connsiteX96" fmla="*/ 7454976 w 7467600"/>
              <a:gd name="connsiteY96" fmla="*/ 6318297 h 6858000"/>
              <a:gd name="connsiteX97" fmla="*/ 7042773 w 7467600"/>
              <a:gd name="connsiteY97" fmla="*/ 5734011 h 6858000"/>
              <a:gd name="connsiteX98" fmla="*/ 6844835 w 7467600"/>
              <a:gd name="connsiteY98" fmla="*/ 5424988 h 6858000"/>
              <a:gd name="connsiteX99" fmla="*/ 1456157 w 7467600"/>
              <a:gd name="connsiteY99" fmla="*/ 5371404 h 6858000"/>
              <a:gd name="connsiteX100" fmla="*/ 1244432 w 7467600"/>
              <a:gd name="connsiteY100" fmla="*/ 5385601 h 6858000"/>
              <a:gd name="connsiteX101" fmla="*/ 973990 w 7467600"/>
              <a:gd name="connsiteY101" fmla="*/ 5424940 h 6858000"/>
              <a:gd name="connsiteX102" fmla="*/ 1103809 w 7467600"/>
              <a:gd name="connsiteY102" fmla="*/ 5433720 h 6858000"/>
              <a:gd name="connsiteX103" fmla="*/ 1123454 w 7467600"/>
              <a:gd name="connsiteY103" fmla="*/ 5435727 h 6858000"/>
              <a:gd name="connsiteX104" fmla="*/ 1737017 w 7467600"/>
              <a:gd name="connsiteY104" fmla="*/ 5452183 h 6858000"/>
              <a:gd name="connsiteX105" fmla="*/ 1824397 w 7467600"/>
              <a:gd name="connsiteY105" fmla="*/ 5447757 h 6858000"/>
              <a:gd name="connsiteX106" fmla="*/ 2070059 w 7467600"/>
              <a:gd name="connsiteY106" fmla="*/ 5441660 h 6858000"/>
              <a:gd name="connsiteX107" fmla="*/ 1456157 w 7467600"/>
              <a:gd name="connsiteY107" fmla="*/ 5371404 h 6858000"/>
              <a:gd name="connsiteX108" fmla="*/ 4988186 w 7467600"/>
              <a:gd name="connsiteY108" fmla="*/ 5216467 h 6858000"/>
              <a:gd name="connsiteX109" fmla="*/ 4777334 w 7467600"/>
              <a:gd name="connsiteY109" fmla="*/ 5406072 h 6858000"/>
              <a:gd name="connsiteX110" fmla="*/ 4718341 w 7467600"/>
              <a:gd name="connsiteY110" fmla="*/ 5468043 h 6858000"/>
              <a:gd name="connsiteX111" fmla="*/ 4604655 w 7467600"/>
              <a:gd name="connsiteY111" fmla="*/ 5583434 h 6858000"/>
              <a:gd name="connsiteX112" fmla="*/ 4565074 w 7467600"/>
              <a:gd name="connsiteY112" fmla="*/ 5618550 h 6858000"/>
              <a:gd name="connsiteX113" fmla="*/ 4988186 w 7467600"/>
              <a:gd name="connsiteY113" fmla="*/ 5216467 h 6858000"/>
              <a:gd name="connsiteX114" fmla="*/ 4978032 w 7467600"/>
              <a:gd name="connsiteY114" fmla="*/ 5183809 h 6858000"/>
              <a:gd name="connsiteX115" fmla="*/ 4463413 w 7467600"/>
              <a:gd name="connsiteY115" fmla="*/ 5615162 h 6858000"/>
              <a:gd name="connsiteX116" fmla="*/ 4358134 w 7467600"/>
              <a:gd name="connsiteY116" fmla="*/ 5742791 h 6858000"/>
              <a:gd name="connsiteX117" fmla="*/ 4376219 w 7467600"/>
              <a:gd name="connsiteY117" fmla="*/ 5729027 h 6858000"/>
              <a:gd name="connsiteX118" fmla="*/ 4582340 w 7467600"/>
              <a:gd name="connsiteY118" fmla="*/ 5561037 h 6858000"/>
              <a:gd name="connsiteX119" fmla="*/ 4694684 w 7467600"/>
              <a:gd name="connsiteY119" fmla="*/ 5447098 h 6858000"/>
              <a:gd name="connsiteX120" fmla="*/ 4754123 w 7467600"/>
              <a:gd name="connsiteY120" fmla="*/ 5384643 h 6858000"/>
              <a:gd name="connsiteX121" fmla="*/ 4978032 w 7467600"/>
              <a:gd name="connsiteY121" fmla="*/ 5183809 h 6858000"/>
              <a:gd name="connsiteX122" fmla="*/ 1903353 w 7467600"/>
              <a:gd name="connsiteY122" fmla="*/ 5044827 h 6858000"/>
              <a:gd name="connsiteX123" fmla="*/ 1936931 w 7467600"/>
              <a:gd name="connsiteY123" fmla="*/ 5093954 h 6858000"/>
              <a:gd name="connsiteX124" fmla="*/ 2195868 w 7467600"/>
              <a:gd name="connsiteY124" fmla="*/ 5396574 h 6858000"/>
              <a:gd name="connsiteX125" fmla="*/ 2088852 w 7467600"/>
              <a:gd name="connsiteY125" fmla="*/ 5166123 h 6858000"/>
              <a:gd name="connsiteX126" fmla="*/ 1958241 w 7467600"/>
              <a:gd name="connsiteY126" fmla="*/ 5067955 h 6858000"/>
              <a:gd name="connsiteX127" fmla="*/ 1903353 w 7467600"/>
              <a:gd name="connsiteY127" fmla="*/ 5044827 h 6858000"/>
              <a:gd name="connsiteX128" fmla="*/ 1979378 w 7467600"/>
              <a:gd name="connsiteY128" fmla="*/ 4769504 h 6858000"/>
              <a:gd name="connsiteX129" fmla="*/ 2882120 w 7467600"/>
              <a:gd name="connsiteY129" fmla="*/ 5064547 h 6858000"/>
              <a:gd name="connsiteX130" fmla="*/ 2793103 w 7467600"/>
              <a:gd name="connsiteY130" fmla="*/ 5039699 h 6858000"/>
              <a:gd name="connsiteX131" fmla="*/ 2770041 w 7467600"/>
              <a:gd name="connsiteY131" fmla="*/ 5033634 h 6858000"/>
              <a:gd name="connsiteX132" fmla="*/ 1979378 w 7467600"/>
              <a:gd name="connsiteY132" fmla="*/ 4769504 h 6858000"/>
              <a:gd name="connsiteX133" fmla="*/ 1927410 w 7467600"/>
              <a:gd name="connsiteY133" fmla="*/ 4716164 h 6858000"/>
              <a:gd name="connsiteX134" fmla="*/ 1959587 w 7467600"/>
              <a:gd name="connsiteY134" fmla="*/ 4728849 h 6858000"/>
              <a:gd name="connsiteX135" fmla="*/ 2777707 w 7467600"/>
              <a:gd name="connsiteY135" fmla="*/ 5003991 h 6858000"/>
              <a:gd name="connsiteX136" fmla="*/ 2800768 w 7467600"/>
              <a:gd name="connsiteY136" fmla="*/ 5010056 h 6858000"/>
              <a:gd name="connsiteX137" fmla="*/ 2879408 w 7467600"/>
              <a:gd name="connsiteY137" fmla="*/ 5031590 h 6858000"/>
              <a:gd name="connsiteX138" fmla="*/ 2862295 w 7467600"/>
              <a:gd name="connsiteY138" fmla="*/ 5022958 h 6858000"/>
              <a:gd name="connsiteX139" fmla="*/ 2813343 w 7467600"/>
              <a:gd name="connsiteY139" fmla="*/ 4998369 h 6858000"/>
              <a:gd name="connsiteX140" fmla="*/ 2646245 w 7467600"/>
              <a:gd name="connsiteY140" fmla="*/ 4930999 h 6858000"/>
              <a:gd name="connsiteX141" fmla="*/ 1999243 w 7467600"/>
              <a:gd name="connsiteY141" fmla="*/ 4730524 h 6858000"/>
              <a:gd name="connsiteX142" fmla="*/ 1979527 w 7467600"/>
              <a:gd name="connsiteY142" fmla="*/ 4726651 h 6858000"/>
              <a:gd name="connsiteX143" fmla="*/ 1927410 w 7467600"/>
              <a:gd name="connsiteY143" fmla="*/ 4716164 h 6858000"/>
              <a:gd name="connsiteX144" fmla="*/ 1997014 w 7467600"/>
              <a:gd name="connsiteY144" fmla="*/ 4698007 h 6858000"/>
              <a:gd name="connsiteX145" fmla="*/ 2005458 w 7467600"/>
              <a:gd name="connsiteY145" fmla="*/ 4699540 h 6858000"/>
              <a:gd name="connsiteX146" fmla="*/ 2657186 w 7467600"/>
              <a:gd name="connsiteY146" fmla="*/ 4901687 h 6858000"/>
              <a:gd name="connsiteX147" fmla="*/ 2826662 w 7467600"/>
              <a:gd name="connsiteY147" fmla="*/ 4970362 h 6858000"/>
              <a:gd name="connsiteX148" fmla="*/ 2876100 w 7467600"/>
              <a:gd name="connsiteY148" fmla="*/ 4995397 h 6858000"/>
              <a:gd name="connsiteX149" fmla="*/ 3042600 w 7467600"/>
              <a:gd name="connsiteY149" fmla="*/ 5059532 h 6858000"/>
              <a:gd name="connsiteX150" fmla="*/ 1997014 w 7467600"/>
              <a:gd name="connsiteY150" fmla="*/ 4698007 h 6858000"/>
              <a:gd name="connsiteX151" fmla="*/ 2305292 w 7467600"/>
              <a:gd name="connsiteY151" fmla="*/ 4219492 h 6858000"/>
              <a:gd name="connsiteX152" fmla="*/ 3360922 w 7467600"/>
              <a:gd name="connsiteY152" fmla="*/ 4529373 h 6858000"/>
              <a:gd name="connsiteX153" fmla="*/ 3492420 w 7467600"/>
              <a:gd name="connsiteY153" fmla="*/ 4510145 h 6858000"/>
              <a:gd name="connsiteX154" fmla="*/ 3364086 w 7467600"/>
              <a:gd name="connsiteY154" fmla="*/ 4480340 h 6858000"/>
              <a:gd name="connsiteX155" fmla="*/ 3225818 w 7467600"/>
              <a:gd name="connsiteY155" fmla="*/ 4411822 h 6858000"/>
              <a:gd name="connsiteX156" fmla="*/ 3129696 w 7467600"/>
              <a:gd name="connsiteY156" fmla="*/ 4360704 h 6858000"/>
              <a:gd name="connsiteX157" fmla="*/ 2814545 w 7467600"/>
              <a:gd name="connsiteY157" fmla="*/ 4282955 h 6858000"/>
              <a:gd name="connsiteX158" fmla="*/ 2305292 w 7467600"/>
              <a:gd name="connsiteY158" fmla="*/ 4219492 h 6858000"/>
              <a:gd name="connsiteX159" fmla="*/ 2626982 w 7467600"/>
              <a:gd name="connsiteY159" fmla="*/ 4206450 h 6858000"/>
              <a:gd name="connsiteX160" fmla="*/ 2490617 w 7467600"/>
              <a:gd name="connsiteY160" fmla="*/ 4206951 h 6858000"/>
              <a:gd name="connsiteX161" fmla="*/ 2819869 w 7467600"/>
              <a:gd name="connsiteY161" fmla="*/ 4252936 h 6858000"/>
              <a:gd name="connsiteX162" fmla="*/ 3143018 w 7467600"/>
              <a:gd name="connsiteY162" fmla="*/ 4332698 h 6858000"/>
              <a:gd name="connsiteX163" fmla="*/ 3241520 w 7467600"/>
              <a:gd name="connsiteY163" fmla="*/ 4385112 h 6858000"/>
              <a:gd name="connsiteX164" fmla="*/ 3374575 w 7467600"/>
              <a:gd name="connsiteY164" fmla="*/ 4451517 h 6858000"/>
              <a:gd name="connsiteX165" fmla="*/ 3505221 w 7467600"/>
              <a:gd name="connsiteY165" fmla="*/ 4480757 h 6858000"/>
              <a:gd name="connsiteX166" fmla="*/ 2626982 w 7467600"/>
              <a:gd name="connsiteY166" fmla="*/ 4206450 h 6858000"/>
              <a:gd name="connsiteX167" fmla="*/ 1310106 w 7467600"/>
              <a:gd name="connsiteY167" fmla="*/ 3943217 h 6858000"/>
              <a:gd name="connsiteX168" fmla="*/ 854994 w 7467600"/>
              <a:gd name="connsiteY168" fmla="*/ 4399136 h 6858000"/>
              <a:gd name="connsiteX169" fmla="*/ 742462 w 7467600"/>
              <a:gd name="connsiteY169" fmla="*/ 4594648 h 6858000"/>
              <a:gd name="connsiteX170" fmla="*/ 820602 w 7467600"/>
              <a:gd name="connsiteY170" fmla="*/ 4485915 h 6858000"/>
              <a:gd name="connsiteX171" fmla="*/ 878295 w 7467600"/>
              <a:gd name="connsiteY171" fmla="*/ 4403594 h 6858000"/>
              <a:gd name="connsiteX172" fmla="*/ 1240607 w 7467600"/>
              <a:gd name="connsiteY172" fmla="*/ 4010401 h 6858000"/>
              <a:gd name="connsiteX173" fmla="*/ 1310106 w 7467600"/>
              <a:gd name="connsiteY173" fmla="*/ 3943217 h 6858000"/>
              <a:gd name="connsiteX174" fmla="*/ 1423113 w 7467600"/>
              <a:gd name="connsiteY174" fmla="*/ 3874565 h 6858000"/>
              <a:gd name="connsiteX175" fmla="*/ 1260565 w 7467600"/>
              <a:gd name="connsiteY175" fmla="*/ 4031982 h 6858000"/>
              <a:gd name="connsiteX176" fmla="*/ 901900 w 7467600"/>
              <a:gd name="connsiteY176" fmla="*/ 4421236 h 6858000"/>
              <a:gd name="connsiteX177" fmla="*/ 845044 w 7467600"/>
              <a:gd name="connsiteY177" fmla="*/ 4502436 h 6858000"/>
              <a:gd name="connsiteX178" fmla="*/ 685926 w 7467600"/>
              <a:gd name="connsiteY178" fmla="*/ 4703069 h 6858000"/>
              <a:gd name="connsiteX179" fmla="*/ 684248 w 7467600"/>
              <a:gd name="connsiteY179" fmla="*/ 4706721 h 6858000"/>
              <a:gd name="connsiteX180" fmla="*/ 1423113 w 7467600"/>
              <a:gd name="connsiteY180" fmla="*/ 3874565 h 6858000"/>
              <a:gd name="connsiteX181" fmla="*/ 3316479 w 7467600"/>
              <a:gd name="connsiteY181" fmla="*/ 3872136 h 6858000"/>
              <a:gd name="connsiteX182" fmla="*/ 3546806 w 7467600"/>
              <a:gd name="connsiteY182" fmla="*/ 4356139 h 6858000"/>
              <a:gd name="connsiteX183" fmla="*/ 3364433 w 7467600"/>
              <a:gd name="connsiteY183" fmla="*/ 3953121 h 6858000"/>
              <a:gd name="connsiteX184" fmla="*/ 3316479 w 7467600"/>
              <a:gd name="connsiteY184" fmla="*/ 3872136 h 6858000"/>
              <a:gd name="connsiteX185" fmla="*/ 3291335 w 7467600"/>
              <a:gd name="connsiteY185" fmla="*/ 3767420 h 6858000"/>
              <a:gd name="connsiteX186" fmla="*/ 3390805 w 7467600"/>
              <a:gd name="connsiteY186" fmla="*/ 3937163 h 6858000"/>
              <a:gd name="connsiteX187" fmla="*/ 3579062 w 7467600"/>
              <a:gd name="connsiteY187" fmla="*/ 4359040 h 6858000"/>
              <a:gd name="connsiteX188" fmla="*/ 3467355 w 7467600"/>
              <a:gd name="connsiteY188" fmla="*/ 3988130 h 6858000"/>
              <a:gd name="connsiteX189" fmla="*/ 3310753 w 7467600"/>
              <a:gd name="connsiteY189" fmla="*/ 3787140 h 6858000"/>
              <a:gd name="connsiteX190" fmla="*/ 3291335 w 7467600"/>
              <a:gd name="connsiteY190" fmla="*/ 3767420 h 6858000"/>
              <a:gd name="connsiteX191" fmla="*/ 1635889 w 7467600"/>
              <a:gd name="connsiteY191" fmla="*/ 3709494 h 6858000"/>
              <a:gd name="connsiteX192" fmla="*/ 1634800 w 7467600"/>
              <a:gd name="connsiteY192" fmla="*/ 3731111 h 6858000"/>
              <a:gd name="connsiteX193" fmla="*/ 1635889 w 7467600"/>
              <a:gd name="connsiteY193" fmla="*/ 3709494 h 6858000"/>
              <a:gd name="connsiteX194" fmla="*/ 1510397 w 7467600"/>
              <a:gd name="connsiteY194" fmla="*/ 3684705 h 6858000"/>
              <a:gd name="connsiteX195" fmla="*/ 1146550 w 7467600"/>
              <a:gd name="connsiteY195" fmla="*/ 3802012 h 6858000"/>
              <a:gd name="connsiteX196" fmla="*/ 698834 w 7467600"/>
              <a:gd name="connsiteY196" fmla="*/ 3952272 h 6858000"/>
              <a:gd name="connsiteX197" fmla="*/ 34256 w 7467600"/>
              <a:gd name="connsiteY197" fmla="*/ 4347603 h 6858000"/>
              <a:gd name="connsiteX198" fmla="*/ 527241 w 7467600"/>
              <a:gd name="connsiteY198" fmla="*/ 4065078 h 6858000"/>
              <a:gd name="connsiteX199" fmla="*/ 1510397 w 7467600"/>
              <a:gd name="connsiteY199" fmla="*/ 3684705 h 6858000"/>
              <a:gd name="connsiteX200" fmla="*/ 1313114 w 7467600"/>
              <a:gd name="connsiteY200" fmla="*/ 3655216 h 6858000"/>
              <a:gd name="connsiteX201" fmla="*/ 1109304 w 7467600"/>
              <a:gd name="connsiteY201" fmla="*/ 3669030 h 6858000"/>
              <a:gd name="connsiteX202" fmla="*/ 8129 w 7467600"/>
              <a:gd name="connsiteY202" fmla="*/ 4330519 h 6858000"/>
              <a:gd name="connsiteX203" fmla="*/ 687572 w 7467600"/>
              <a:gd name="connsiteY203" fmla="*/ 3925629 h 6858000"/>
              <a:gd name="connsiteX204" fmla="*/ 1138365 w 7467600"/>
              <a:gd name="connsiteY204" fmla="*/ 3774515 h 6858000"/>
              <a:gd name="connsiteX205" fmla="*/ 1505579 w 7467600"/>
              <a:gd name="connsiteY205" fmla="*/ 3655526 h 6858000"/>
              <a:gd name="connsiteX206" fmla="*/ 1313114 w 7467600"/>
              <a:gd name="connsiteY206" fmla="*/ 3655216 h 6858000"/>
              <a:gd name="connsiteX207" fmla="*/ 3655073 w 7467600"/>
              <a:gd name="connsiteY207" fmla="*/ 3650884 h 6858000"/>
              <a:gd name="connsiteX208" fmla="*/ 3989938 w 7467600"/>
              <a:gd name="connsiteY208" fmla="*/ 3991685 h 6858000"/>
              <a:gd name="connsiteX209" fmla="*/ 4393907 w 7467600"/>
              <a:gd name="connsiteY209" fmla="*/ 4261258 h 6858000"/>
              <a:gd name="connsiteX210" fmla="*/ 4648051 w 7467600"/>
              <a:gd name="connsiteY210" fmla="*/ 4374051 h 6858000"/>
              <a:gd name="connsiteX211" fmla="*/ 4383389 w 7467600"/>
              <a:gd name="connsiteY211" fmla="*/ 4184369 h 6858000"/>
              <a:gd name="connsiteX212" fmla="*/ 4165508 w 7467600"/>
              <a:gd name="connsiteY212" fmla="*/ 4035196 h 6858000"/>
              <a:gd name="connsiteX213" fmla="*/ 4068162 w 7467600"/>
              <a:gd name="connsiteY213" fmla="*/ 3953394 h 6858000"/>
              <a:gd name="connsiteX214" fmla="*/ 3981416 w 7467600"/>
              <a:gd name="connsiteY214" fmla="*/ 3880482 h 6858000"/>
              <a:gd name="connsiteX215" fmla="*/ 3800147 w 7467600"/>
              <a:gd name="connsiteY215" fmla="*/ 3749872 h 6858000"/>
              <a:gd name="connsiteX216" fmla="*/ 3655073 w 7467600"/>
              <a:gd name="connsiteY216" fmla="*/ 3650884 h 6858000"/>
              <a:gd name="connsiteX217" fmla="*/ 3670252 w 7467600"/>
              <a:gd name="connsiteY217" fmla="*/ 3622798 h 6858000"/>
              <a:gd name="connsiteX218" fmla="*/ 3817258 w 7467600"/>
              <a:gd name="connsiteY218" fmla="*/ 3723577 h 6858000"/>
              <a:gd name="connsiteX219" fmla="*/ 4000461 w 7467600"/>
              <a:gd name="connsiteY219" fmla="*/ 3855966 h 6858000"/>
              <a:gd name="connsiteX220" fmla="*/ 4088180 w 7467600"/>
              <a:gd name="connsiteY220" fmla="*/ 3929774 h 6858000"/>
              <a:gd name="connsiteX221" fmla="*/ 4184555 w 7467600"/>
              <a:gd name="connsiteY221" fmla="*/ 4010683 h 6858000"/>
              <a:gd name="connsiteX222" fmla="*/ 4399563 w 7467600"/>
              <a:gd name="connsiteY222" fmla="*/ 4158106 h 6858000"/>
              <a:gd name="connsiteX223" fmla="*/ 4684469 w 7467600"/>
              <a:gd name="connsiteY223" fmla="*/ 4364680 h 6858000"/>
              <a:gd name="connsiteX224" fmla="*/ 4690271 w 7467600"/>
              <a:gd name="connsiteY224" fmla="*/ 4370034 h 6858000"/>
              <a:gd name="connsiteX225" fmla="*/ 4136093 w 7467600"/>
              <a:gd name="connsiteY225" fmla="*/ 3858466 h 6858000"/>
              <a:gd name="connsiteX226" fmla="*/ 3670252 w 7467600"/>
              <a:gd name="connsiteY226" fmla="*/ 3622798 h 6858000"/>
              <a:gd name="connsiteX227" fmla="*/ 4440129 w 7467600"/>
              <a:gd name="connsiteY227" fmla="*/ 3448571 h 6858000"/>
              <a:gd name="connsiteX228" fmla="*/ 4856525 w 7467600"/>
              <a:gd name="connsiteY228" fmla="*/ 3915351 h 6858000"/>
              <a:gd name="connsiteX229" fmla="*/ 5059055 w 7467600"/>
              <a:gd name="connsiteY229" fmla="*/ 4108918 h 6858000"/>
              <a:gd name="connsiteX230" fmla="*/ 5290070 w 7467600"/>
              <a:gd name="connsiteY230" fmla="*/ 4263619 h 6858000"/>
              <a:gd name="connsiteX231" fmla="*/ 4834991 w 7467600"/>
              <a:gd name="connsiteY231" fmla="*/ 3830985 h 6858000"/>
              <a:gd name="connsiteX232" fmla="*/ 4440129 w 7467600"/>
              <a:gd name="connsiteY232" fmla="*/ 3448571 h 6858000"/>
              <a:gd name="connsiteX233" fmla="*/ 4441737 w 7467600"/>
              <a:gd name="connsiteY233" fmla="*/ 3399734 h 6858000"/>
              <a:gd name="connsiteX234" fmla="*/ 4431236 w 7467600"/>
              <a:gd name="connsiteY234" fmla="*/ 3400954 h 6858000"/>
              <a:gd name="connsiteX235" fmla="*/ 4557150 w 7467600"/>
              <a:gd name="connsiteY235" fmla="*/ 3510023 h 6858000"/>
              <a:gd name="connsiteX236" fmla="*/ 4856936 w 7467600"/>
              <a:gd name="connsiteY236" fmla="*/ 3809146 h 6858000"/>
              <a:gd name="connsiteX237" fmla="*/ 5111996 w 7467600"/>
              <a:gd name="connsiteY237" fmla="*/ 4065759 h 6858000"/>
              <a:gd name="connsiteX238" fmla="*/ 5388878 w 7467600"/>
              <a:gd name="connsiteY238" fmla="*/ 4300185 h 6858000"/>
              <a:gd name="connsiteX239" fmla="*/ 5425556 w 7467600"/>
              <a:gd name="connsiteY239" fmla="*/ 4308967 h 6858000"/>
              <a:gd name="connsiteX240" fmla="*/ 4943646 w 7467600"/>
              <a:gd name="connsiteY240" fmla="*/ 3822916 h 6858000"/>
              <a:gd name="connsiteX241" fmla="*/ 4594837 w 7467600"/>
              <a:gd name="connsiteY241" fmla="*/ 3532274 h 6858000"/>
              <a:gd name="connsiteX242" fmla="*/ 4441737 w 7467600"/>
              <a:gd name="connsiteY242" fmla="*/ 3399734 h 6858000"/>
              <a:gd name="connsiteX243" fmla="*/ 5425834 w 7467600"/>
              <a:gd name="connsiteY243" fmla="*/ 3162785 h 6858000"/>
              <a:gd name="connsiteX244" fmla="*/ 5401644 w 7467600"/>
              <a:gd name="connsiteY244" fmla="*/ 3617847 h 6858000"/>
              <a:gd name="connsiteX245" fmla="*/ 5467256 w 7467600"/>
              <a:gd name="connsiteY245" fmla="*/ 4175494 h 6858000"/>
              <a:gd name="connsiteX246" fmla="*/ 5448069 w 7467600"/>
              <a:gd name="connsiteY246" fmla="*/ 3567554 h 6858000"/>
              <a:gd name="connsiteX247" fmla="*/ 5425834 w 7467600"/>
              <a:gd name="connsiteY247" fmla="*/ 3162785 h 6858000"/>
              <a:gd name="connsiteX248" fmla="*/ 1318687 w 7467600"/>
              <a:gd name="connsiteY248" fmla="*/ 3113840 h 6858000"/>
              <a:gd name="connsiteX249" fmla="*/ 1066793 w 7467600"/>
              <a:gd name="connsiteY249" fmla="*/ 3212171 h 6858000"/>
              <a:gd name="connsiteX250" fmla="*/ 993319 w 7467600"/>
              <a:gd name="connsiteY250" fmla="*/ 3247648 h 6858000"/>
              <a:gd name="connsiteX251" fmla="*/ 853081 w 7467600"/>
              <a:gd name="connsiteY251" fmla="*/ 3312410 h 6858000"/>
              <a:gd name="connsiteX252" fmla="*/ 805957 w 7467600"/>
              <a:gd name="connsiteY252" fmla="*/ 3330443 h 6858000"/>
              <a:gd name="connsiteX253" fmla="*/ 1318687 w 7467600"/>
              <a:gd name="connsiteY253" fmla="*/ 3113840 h 6858000"/>
              <a:gd name="connsiteX254" fmla="*/ 5453702 w 7467600"/>
              <a:gd name="connsiteY254" fmla="*/ 3090882 h 6858000"/>
              <a:gd name="connsiteX255" fmla="*/ 5480135 w 7467600"/>
              <a:gd name="connsiteY255" fmla="*/ 3565802 h 6858000"/>
              <a:gd name="connsiteX256" fmla="*/ 5499023 w 7467600"/>
              <a:gd name="connsiteY256" fmla="*/ 4166310 h 6858000"/>
              <a:gd name="connsiteX257" fmla="*/ 5547022 w 7467600"/>
              <a:gd name="connsiteY257" fmla="*/ 3607838 h 6858000"/>
              <a:gd name="connsiteX258" fmla="*/ 5515964 w 7467600"/>
              <a:gd name="connsiteY258" fmla="*/ 3378541 h 6858000"/>
              <a:gd name="connsiteX259" fmla="*/ 5453702 w 7467600"/>
              <a:gd name="connsiteY259" fmla="*/ 3090882 h 6858000"/>
              <a:gd name="connsiteX260" fmla="*/ 1238695 w 7467600"/>
              <a:gd name="connsiteY260" fmla="*/ 3076820 h 6858000"/>
              <a:gd name="connsiteX261" fmla="*/ 716371 w 7467600"/>
              <a:gd name="connsiteY261" fmla="*/ 3293249 h 6858000"/>
              <a:gd name="connsiteX262" fmla="*/ 579522 w 7467600"/>
              <a:gd name="connsiteY262" fmla="*/ 3371759 h 6858000"/>
              <a:gd name="connsiteX263" fmla="*/ 600288 w 7467600"/>
              <a:gd name="connsiteY263" fmla="*/ 3365555 h 6858000"/>
              <a:gd name="connsiteX264" fmla="*/ 840692 w 7467600"/>
              <a:gd name="connsiteY264" fmla="*/ 3284921 h 6858000"/>
              <a:gd name="connsiteX265" fmla="*/ 979248 w 7467600"/>
              <a:gd name="connsiteY265" fmla="*/ 3221003 h 6858000"/>
              <a:gd name="connsiteX266" fmla="*/ 1053282 w 7467600"/>
              <a:gd name="connsiteY266" fmla="*/ 3185247 h 6858000"/>
              <a:gd name="connsiteX267" fmla="*/ 1320603 w 7467600"/>
              <a:gd name="connsiteY267" fmla="*/ 3081281 h 6858000"/>
              <a:gd name="connsiteX268" fmla="*/ 1238695 w 7467600"/>
              <a:gd name="connsiteY268" fmla="*/ 3076820 h 6858000"/>
              <a:gd name="connsiteX269" fmla="*/ 5425627 w 7467600"/>
              <a:gd name="connsiteY269" fmla="*/ 2954192 h 6858000"/>
              <a:gd name="connsiteX270" fmla="*/ 5470770 w 7467600"/>
              <a:gd name="connsiteY270" fmla="*/ 3005435 h 6858000"/>
              <a:gd name="connsiteX271" fmla="*/ 5519779 w 7467600"/>
              <a:gd name="connsiteY271" fmla="*/ 4359223 h 6858000"/>
              <a:gd name="connsiteX272" fmla="*/ 5520293 w 7467600"/>
              <a:gd name="connsiteY272" fmla="*/ 4360602 h 6858000"/>
              <a:gd name="connsiteX273" fmla="*/ 5767221 w 7467600"/>
              <a:gd name="connsiteY273" fmla="*/ 4665564 h 6858000"/>
              <a:gd name="connsiteX274" fmla="*/ 6937169 w 7467600"/>
              <a:gd name="connsiteY274" fmla="*/ 4815941 h 6858000"/>
              <a:gd name="connsiteX275" fmla="*/ 6953922 w 7467600"/>
              <a:gd name="connsiteY275" fmla="*/ 4890068 h 6858000"/>
              <a:gd name="connsiteX276" fmla="*/ 6071359 w 7467600"/>
              <a:gd name="connsiteY276" fmla="*/ 4770770 h 6858000"/>
              <a:gd name="connsiteX277" fmla="*/ 6038839 w 7467600"/>
              <a:gd name="connsiteY277" fmla="*/ 4764474 h 6858000"/>
              <a:gd name="connsiteX278" fmla="*/ 6038706 w 7467600"/>
              <a:gd name="connsiteY278" fmla="*/ 4763847 h 6858000"/>
              <a:gd name="connsiteX279" fmla="*/ 6037784 w 7467600"/>
              <a:gd name="connsiteY279" fmla="*/ 4764270 h 6858000"/>
              <a:gd name="connsiteX280" fmla="*/ 6038839 w 7467600"/>
              <a:gd name="connsiteY280" fmla="*/ 4764474 h 6858000"/>
              <a:gd name="connsiteX281" fmla="*/ 6040338 w 7467600"/>
              <a:gd name="connsiteY281" fmla="*/ 4771418 h 6858000"/>
              <a:gd name="connsiteX282" fmla="*/ 6024488 w 7467600"/>
              <a:gd name="connsiteY282" fmla="*/ 4809903 h 6858000"/>
              <a:gd name="connsiteX283" fmla="*/ 5599771 w 7467600"/>
              <a:gd name="connsiteY283" fmla="*/ 5509652 h 6858000"/>
              <a:gd name="connsiteX284" fmla="*/ 5548843 w 7467600"/>
              <a:gd name="connsiteY284" fmla="*/ 5563845 h 6858000"/>
              <a:gd name="connsiteX285" fmla="*/ 5940952 w 7467600"/>
              <a:gd name="connsiteY285" fmla="*/ 6250028 h 6858000"/>
              <a:gd name="connsiteX286" fmla="*/ 6043441 w 7467600"/>
              <a:gd name="connsiteY286" fmla="*/ 6665847 h 6858000"/>
              <a:gd name="connsiteX287" fmla="*/ 6093432 w 7467600"/>
              <a:gd name="connsiteY287" fmla="*/ 6858000 h 6858000"/>
              <a:gd name="connsiteX288" fmla="*/ 6034344 w 7467600"/>
              <a:gd name="connsiteY288" fmla="*/ 6858000 h 6858000"/>
              <a:gd name="connsiteX289" fmla="*/ 6026679 w 7467600"/>
              <a:gd name="connsiteY289" fmla="*/ 6836959 h 6858000"/>
              <a:gd name="connsiteX290" fmla="*/ 5800441 w 7467600"/>
              <a:gd name="connsiteY290" fmla="*/ 6335286 h 6858000"/>
              <a:gd name="connsiteX291" fmla="*/ 5526562 w 7467600"/>
              <a:gd name="connsiteY291" fmla="*/ 5705388 h 6858000"/>
              <a:gd name="connsiteX292" fmla="*/ 5519640 w 7467600"/>
              <a:gd name="connsiteY292" fmla="*/ 5683774 h 6858000"/>
              <a:gd name="connsiteX293" fmla="*/ 5844559 w 7467600"/>
              <a:gd name="connsiteY293" fmla="*/ 6553349 h 6858000"/>
              <a:gd name="connsiteX294" fmla="*/ 5975994 w 7467600"/>
              <a:gd name="connsiteY294" fmla="*/ 6858000 h 6858000"/>
              <a:gd name="connsiteX295" fmla="*/ 5898547 w 7467600"/>
              <a:gd name="connsiteY295" fmla="*/ 6858000 h 6858000"/>
              <a:gd name="connsiteX296" fmla="*/ 5682041 w 7467600"/>
              <a:gd name="connsiteY296" fmla="*/ 6355860 h 6858000"/>
              <a:gd name="connsiteX297" fmla="*/ 5461758 w 7467600"/>
              <a:gd name="connsiteY297" fmla="*/ 5820220 h 6858000"/>
              <a:gd name="connsiteX298" fmla="*/ 5237282 w 7467600"/>
              <a:gd name="connsiteY298" fmla="*/ 6579086 h 6858000"/>
              <a:gd name="connsiteX299" fmla="*/ 5115009 w 7467600"/>
              <a:gd name="connsiteY299" fmla="*/ 6858000 h 6858000"/>
              <a:gd name="connsiteX300" fmla="*/ 5028074 w 7467600"/>
              <a:gd name="connsiteY300" fmla="*/ 6858000 h 6858000"/>
              <a:gd name="connsiteX301" fmla="*/ 5079508 w 7467600"/>
              <a:gd name="connsiteY301" fmla="*/ 6749074 h 6858000"/>
              <a:gd name="connsiteX302" fmla="*/ 5371846 w 7467600"/>
              <a:gd name="connsiteY302" fmla="*/ 5924413 h 6858000"/>
              <a:gd name="connsiteX303" fmla="*/ 5270512 w 7467600"/>
              <a:gd name="connsiteY303" fmla="*/ 6138975 h 6858000"/>
              <a:gd name="connsiteX304" fmla="*/ 5062409 w 7467600"/>
              <a:gd name="connsiteY304" fmla="*/ 6653544 h 6858000"/>
              <a:gd name="connsiteX305" fmla="*/ 5036628 w 7467600"/>
              <a:gd name="connsiteY305" fmla="*/ 6754247 h 6858000"/>
              <a:gd name="connsiteX306" fmla="*/ 5009112 w 7467600"/>
              <a:gd name="connsiteY306" fmla="*/ 6858000 h 6858000"/>
              <a:gd name="connsiteX307" fmla="*/ 4976679 w 7467600"/>
              <a:gd name="connsiteY307" fmla="*/ 6858000 h 6858000"/>
              <a:gd name="connsiteX308" fmla="*/ 5006537 w 7467600"/>
              <a:gd name="connsiteY308" fmla="*/ 6747068 h 6858000"/>
              <a:gd name="connsiteX309" fmla="*/ 5032723 w 7467600"/>
              <a:gd name="connsiteY309" fmla="*/ 6644957 h 6858000"/>
              <a:gd name="connsiteX310" fmla="*/ 5242949 w 7467600"/>
              <a:gd name="connsiteY310" fmla="*/ 6125175 h 6858000"/>
              <a:gd name="connsiteX311" fmla="*/ 5286321 w 7467600"/>
              <a:gd name="connsiteY311" fmla="*/ 6033555 h 6858000"/>
              <a:gd name="connsiteX312" fmla="*/ 5008210 w 7467600"/>
              <a:gd name="connsiteY312" fmla="*/ 6649194 h 6858000"/>
              <a:gd name="connsiteX313" fmla="*/ 4986321 w 7467600"/>
              <a:gd name="connsiteY313" fmla="*/ 6765687 h 6858000"/>
              <a:gd name="connsiteX314" fmla="*/ 4973474 w 7467600"/>
              <a:gd name="connsiteY314" fmla="*/ 6858000 h 6858000"/>
              <a:gd name="connsiteX315" fmla="*/ 4907178 w 7467600"/>
              <a:gd name="connsiteY315" fmla="*/ 6858000 h 6858000"/>
              <a:gd name="connsiteX316" fmla="*/ 4910810 w 7467600"/>
              <a:gd name="connsiteY316" fmla="*/ 6829660 h 6858000"/>
              <a:gd name="connsiteX317" fmla="*/ 4987461 w 7467600"/>
              <a:gd name="connsiteY317" fmla="*/ 6432994 h 6858000"/>
              <a:gd name="connsiteX318" fmla="*/ 5179262 w 7467600"/>
              <a:gd name="connsiteY318" fmla="*/ 6035044 h 6858000"/>
              <a:gd name="connsiteX319" fmla="*/ 4689678 w 7467600"/>
              <a:gd name="connsiteY319" fmla="*/ 6440241 h 6858000"/>
              <a:gd name="connsiteX320" fmla="*/ 4477543 w 7467600"/>
              <a:gd name="connsiteY320" fmla="*/ 6674836 h 6858000"/>
              <a:gd name="connsiteX321" fmla="*/ 4329957 w 7467600"/>
              <a:gd name="connsiteY321" fmla="*/ 6858000 h 6858000"/>
              <a:gd name="connsiteX322" fmla="*/ 4218595 w 7467600"/>
              <a:gd name="connsiteY322" fmla="*/ 6858000 h 6858000"/>
              <a:gd name="connsiteX323" fmla="*/ 4368888 w 7467600"/>
              <a:gd name="connsiteY323" fmla="*/ 6668412 h 6858000"/>
              <a:gd name="connsiteX324" fmla="*/ 4563091 w 7467600"/>
              <a:gd name="connsiteY324" fmla="*/ 6442508 h 6858000"/>
              <a:gd name="connsiteX325" fmla="*/ 5387324 w 7467600"/>
              <a:gd name="connsiteY325" fmla="*/ 5705830 h 6858000"/>
              <a:gd name="connsiteX326" fmla="*/ 5073620 w 7467600"/>
              <a:gd name="connsiteY326" fmla="*/ 5955437 h 6858000"/>
              <a:gd name="connsiteX327" fmla="*/ 4689789 w 7467600"/>
              <a:gd name="connsiteY327" fmla="*/ 6268382 h 6858000"/>
              <a:gd name="connsiteX328" fmla="*/ 4418722 w 7467600"/>
              <a:gd name="connsiteY328" fmla="*/ 6570886 h 6858000"/>
              <a:gd name="connsiteX329" fmla="*/ 4214944 w 7467600"/>
              <a:gd name="connsiteY329" fmla="*/ 6858000 h 6858000"/>
              <a:gd name="connsiteX330" fmla="*/ 4177898 w 7467600"/>
              <a:gd name="connsiteY330" fmla="*/ 6858000 h 6858000"/>
              <a:gd name="connsiteX331" fmla="*/ 4391597 w 7467600"/>
              <a:gd name="connsiteY331" fmla="*/ 6556370 h 6858000"/>
              <a:gd name="connsiteX332" fmla="*/ 4668889 w 7467600"/>
              <a:gd name="connsiteY332" fmla="*/ 6246399 h 6858000"/>
              <a:gd name="connsiteX333" fmla="*/ 5055427 w 7467600"/>
              <a:gd name="connsiteY333" fmla="*/ 5931476 h 6858000"/>
              <a:gd name="connsiteX334" fmla="*/ 5371814 w 7467600"/>
              <a:gd name="connsiteY334" fmla="*/ 5678975 h 6858000"/>
              <a:gd name="connsiteX335" fmla="*/ 4987918 w 7467600"/>
              <a:gd name="connsiteY335" fmla="*/ 5838701 h 6858000"/>
              <a:gd name="connsiteX336" fmla="*/ 4317146 w 7467600"/>
              <a:gd name="connsiteY336" fmla="*/ 6587716 h 6858000"/>
              <a:gd name="connsiteX337" fmla="*/ 4171627 w 7467600"/>
              <a:gd name="connsiteY337" fmla="*/ 6858000 h 6858000"/>
              <a:gd name="connsiteX338" fmla="*/ 4081585 w 7467600"/>
              <a:gd name="connsiteY338" fmla="*/ 6858000 h 6858000"/>
              <a:gd name="connsiteX339" fmla="*/ 4238603 w 7467600"/>
              <a:gd name="connsiteY339" fmla="*/ 6559341 h 6858000"/>
              <a:gd name="connsiteX340" fmla="*/ 4778333 w 7467600"/>
              <a:gd name="connsiteY340" fmla="*/ 5873626 h 6858000"/>
              <a:gd name="connsiteX341" fmla="*/ 5414185 w 7467600"/>
              <a:gd name="connsiteY341" fmla="*/ 5573882 h 6858000"/>
              <a:gd name="connsiteX342" fmla="*/ 5959648 w 7467600"/>
              <a:gd name="connsiteY342" fmla="*/ 4760797 h 6858000"/>
              <a:gd name="connsiteX343" fmla="*/ 5355019 w 7467600"/>
              <a:gd name="connsiteY343" fmla="*/ 4734672 h 6858000"/>
              <a:gd name="connsiteX344" fmla="*/ 5083565 w 7467600"/>
              <a:gd name="connsiteY344" fmla="*/ 5179121 h 6858000"/>
              <a:gd name="connsiteX345" fmla="*/ 4713577 w 7467600"/>
              <a:gd name="connsiteY345" fmla="*/ 5616803 h 6858000"/>
              <a:gd name="connsiteX346" fmla="*/ 3989559 w 7467600"/>
              <a:gd name="connsiteY346" fmla="*/ 6145945 h 6858000"/>
              <a:gd name="connsiteX347" fmla="*/ 3939824 w 7467600"/>
              <a:gd name="connsiteY347" fmla="*/ 6066900 h 6858000"/>
              <a:gd name="connsiteX348" fmla="*/ 4584537 w 7467600"/>
              <a:gd name="connsiteY348" fmla="*/ 5324826 h 6858000"/>
              <a:gd name="connsiteX349" fmla="*/ 5037105 w 7467600"/>
              <a:gd name="connsiteY349" fmla="*/ 5088765 h 6858000"/>
              <a:gd name="connsiteX350" fmla="*/ 5039930 w 7467600"/>
              <a:gd name="connsiteY350" fmla="*/ 5089585 h 6858000"/>
              <a:gd name="connsiteX351" fmla="*/ 5263764 w 7467600"/>
              <a:gd name="connsiteY351" fmla="*/ 4735525 h 6858000"/>
              <a:gd name="connsiteX352" fmla="*/ 4086300 w 7467600"/>
              <a:gd name="connsiteY352" fmla="*/ 4884599 h 6858000"/>
              <a:gd name="connsiteX353" fmla="*/ 4085485 w 7467600"/>
              <a:gd name="connsiteY353" fmla="*/ 4899070 h 6858000"/>
              <a:gd name="connsiteX354" fmla="*/ 3871915 w 7467600"/>
              <a:gd name="connsiteY354" fmla="*/ 5253645 h 6858000"/>
              <a:gd name="connsiteX355" fmla="*/ 3799374 w 7467600"/>
              <a:gd name="connsiteY355" fmla="*/ 5466127 h 6858000"/>
              <a:gd name="connsiteX356" fmla="*/ 3498850 w 7467600"/>
              <a:gd name="connsiteY356" fmla="*/ 6661888 h 6858000"/>
              <a:gd name="connsiteX357" fmla="*/ 3399216 w 7467600"/>
              <a:gd name="connsiteY357" fmla="*/ 6858000 h 6858000"/>
              <a:gd name="connsiteX358" fmla="*/ 3303688 w 7467600"/>
              <a:gd name="connsiteY358" fmla="*/ 6858000 h 6858000"/>
              <a:gd name="connsiteX359" fmla="*/ 3391774 w 7467600"/>
              <a:gd name="connsiteY359" fmla="*/ 6697181 h 6858000"/>
              <a:gd name="connsiteX360" fmla="*/ 3735540 w 7467600"/>
              <a:gd name="connsiteY360" fmla="*/ 5546923 h 6858000"/>
              <a:gd name="connsiteX361" fmla="*/ 3729438 w 7467600"/>
              <a:gd name="connsiteY361" fmla="*/ 5569058 h 6858000"/>
              <a:gd name="connsiteX362" fmla="*/ 3707782 w 7467600"/>
              <a:gd name="connsiteY362" fmla="*/ 5644908 h 6858000"/>
              <a:gd name="connsiteX363" fmla="*/ 3583827 w 7467600"/>
              <a:gd name="connsiteY363" fmla="*/ 6039215 h 6858000"/>
              <a:gd name="connsiteX364" fmla="*/ 3547861 w 7467600"/>
              <a:gd name="connsiteY364" fmla="*/ 6129609 h 6858000"/>
              <a:gd name="connsiteX365" fmla="*/ 3490905 w 7467600"/>
              <a:gd name="connsiteY365" fmla="*/ 6277660 h 6858000"/>
              <a:gd name="connsiteX366" fmla="*/ 3455859 w 7467600"/>
              <a:gd name="connsiteY366" fmla="*/ 6391301 h 6858000"/>
              <a:gd name="connsiteX367" fmla="*/ 3429112 w 7467600"/>
              <a:gd name="connsiteY367" fmla="*/ 6479469 h 6858000"/>
              <a:gd name="connsiteX368" fmla="*/ 3304862 w 7467600"/>
              <a:gd name="connsiteY368" fmla="*/ 6796476 h 6858000"/>
              <a:gd name="connsiteX369" fmla="*/ 3276071 w 7467600"/>
              <a:gd name="connsiteY369" fmla="*/ 6858000 h 6858000"/>
              <a:gd name="connsiteX370" fmla="*/ 3240805 w 7467600"/>
              <a:gd name="connsiteY370" fmla="*/ 6858000 h 6858000"/>
              <a:gd name="connsiteX371" fmla="*/ 3275917 w 7467600"/>
              <a:gd name="connsiteY371" fmla="*/ 6783192 h 6858000"/>
              <a:gd name="connsiteX372" fmla="*/ 3399358 w 7467600"/>
              <a:gd name="connsiteY372" fmla="*/ 6469011 h 6858000"/>
              <a:gd name="connsiteX373" fmla="*/ 3425650 w 7467600"/>
              <a:gd name="connsiteY373" fmla="*/ 6381333 h 6858000"/>
              <a:gd name="connsiteX374" fmla="*/ 3460661 w 7467600"/>
              <a:gd name="connsiteY374" fmla="*/ 6266763 h 6858000"/>
              <a:gd name="connsiteX375" fmla="*/ 3518021 w 7467600"/>
              <a:gd name="connsiteY375" fmla="*/ 6117298 h 6858000"/>
              <a:gd name="connsiteX376" fmla="*/ 3554035 w 7467600"/>
              <a:gd name="connsiteY376" fmla="*/ 6027832 h 6858000"/>
              <a:gd name="connsiteX377" fmla="*/ 3677174 w 7467600"/>
              <a:gd name="connsiteY377" fmla="*/ 5636351 h 6858000"/>
              <a:gd name="connsiteX378" fmla="*/ 3698819 w 7467600"/>
              <a:gd name="connsiteY378" fmla="*/ 5560503 h 6858000"/>
              <a:gd name="connsiteX379" fmla="*/ 3702094 w 7467600"/>
              <a:gd name="connsiteY379" fmla="*/ 5549194 h 6858000"/>
              <a:gd name="connsiteX380" fmla="*/ 3398355 w 7467600"/>
              <a:gd name="connsiteY380" fmla="*/ 6094603 h 6858000"/>
              <a:gd name="connsiteX381" fmla="*/ 3193941 w 7467600"/>
              <a:gd name="connsiteY381" fmla="*/ 6798775 h 6858000"/>
              <a:gd name="connsiteX382" fmla="*/ 3184140 w 7467600"/>
              <a:gd name="connsiteY382" fmla="*/ 6858000 h 6858000"/>
              <a:gd name="connsiteX383" fmla="*/ 3099978 w 7467600"/>
              <a:gd name="connsiteY383" fmla="*/ 6858000 h 6858000"/>
              <a:gd name="connsiteX384" fmla="*/ 3101556 w 7467600"/>
              <a:gd name="connsiteY384" fmla="*/ 6843337 h 6858000"/>
              <a:gd name="connsiteX385" fmla="*/ 3370162 w 7467600"/>
              <a:gd name="connsiteY385" fmla="*/ 5785550 h 6858000"/>
              <a:gd name="connsiteX386" fmla="*/ 3746477 w 7467600"/>
              <a:gd name="connsiteY386" fmla="*/ 5377889 h 6858000"/>
              <a:gd name="connsiteX387" fmla="*/ 3863399 w 7467600"/>
              <a:gd name="connsiteY387" fmla="*/ 5087257 h 6858000"/>
              <a:gd name="connsiteX388" fmla="*/ 3968712 w 7467600"/>
              <a:gd name="connsiteY388" fmla="*/ 4913989 h 6858000"/>
              <a:gd name="connsiteX389" fmla="*/ 2792390 w 7467600"/>
              <a:gd name="connsiteY389" fmla="*/ 5382974 h 6858000"/>
              <a:gd name="connsiteX390" fmla="*/ 2714982 w 7467600"/>
              <a:gd name="connsiteY390" fmla="*/ 5427051 h 6858000"/>
              <a:gd name="connsiteX391" fmla="*/ 2813361 w 7467600"/>
              <a:gd name="connsiteY391" fmla="*/ 6023912 h 6858000"/>
              <a:gd name="connsiteX392" fmla="*/ 2688430 w 7467600"/>
              <a:gd name="connsiteY392" fmla="*/ 6801564 h 6858000"/>
              <a:gd name="connsiteX393" fmla="*/ 2629626 w 7467600"/>
              <a:gd name="connsiteY393" fmla="*/ 6763394 h 6858000"/>
              <a:gd name="connsiteX394" fmla="*/ 2565328 w 7467600"/>
              <a:gd name="connsiteY394" fmla="*/ 5516399 h 6858000"/>
              <a:gd name="connsiteX395" fmla="*/ 1922999 w 7467600"/>
              <a:gd name="connsiteY395" fmla="*/ 5980343 h 6858000"/>
              <a:gd name="connsiteX396" fmla="*/ 1950261 w 7467600"/>
              <a:gd name="connsiteY396" fmla="*/ 6405858 h 6858000"/>
              <a:gd name="connsiteX397" fmla="*/ 2365554 w 7467600"/>
              <a:gd name="connsiteY397" fmla="*/ 6759107 h 6858000"/>
              <a:gd name="connsiteX398" fmla="*/ 2424142 w 7467600"/>
              <a:gd name="connsiteY398" fmla="*/ 6858000 h 6858000"/>
              <a:gd name="connsiteX399" fmla="*/ 2395994 w 7467600"/>
              <a:gd name="connsiteY399" fmla="*/ 6858000 h 6858000"/>
              <a:gd name="connsiteX400" fmla="*/ 2392863 w 7467600"/>
              <a:gd name="connsiteY400" fmla="*/ 6852964 h 6858000"/>
              <a:gd name="connsiteX401" fmla="*/ 2017589 w 7467600"/>
              <a:gd name="connsiteY401" fmla="*/ 6493982 h 6858000"/>
              <a:gd name="connsiteX402" fmla="*/ 2147336 w 7467600"/>
              <a:gd name="connsiteY402" fmla="*/ 6594052 h 6858000"/>
              <a:gd name="connsiteX403" fmla="*/ 2207047 w 7467600"/>
              <a:gd name="connsiteY403" fmla="*/ 6654540 h 6858000"/>
              <a:gd name="connsiteX404" fmla="*/ 2299106 w 7467600"/>
              <a:gd name="connsiteY404" fmla="*/ 6778931 h 6858000"/>
              <a:gd name="connsiteX405" fmla="*/ 2314430 w 7467600"/>
              <a:gd name="connsiteY405" fmla="*/ 6801144 h 6858000"/>
              <a:gd name="connsiteX406" fmla="*/ 2352406 w 7467600"/>
              <a:gd name="connsiteY406" fmla="*/ 6858000 h 6858000"/>
              <a:gd name="connsiteX407" fmla="*/ 2314492 w 7467600"/>
              <a:gd name="connsiteY407" fmla="*/ 6858000 h 6858000"/>
              <a:gd name="connsiteX408" fmla="*/ 2288095 w 7467600"/>
              <a:gd name="connsiteY408" fmla="*/ 6818030 h 6858000"/>
              <a:gd name="connsiteX409" fmla="*/ 2272768 w 7467600"/>
              <a:gd name="connsiteY409" fmla="*/ 6795822 h 6858000"/>
              <a:gd name="connsiteX410" fmla="*/ 2182715 w 7467600"/>
              <a:gd name="connsiteY410" fmla="*/ 6675071 h 6858000"/>
              <a:gd name="connsiteX411" fmla="*/ 2032061 w 7467600"/>
              <a:gd name="connsiteY411" fmla="*/ 6541380 h 6858000"/>
              <a:gd name="connsiteX412" fmla="*/ 2257220 w 7467600"/>
              <a:gd name="connsiteY412" fmla="*/ 6826257 h 6858000"/>
              <a:gd name="connsiteX413" fmla="*/ 2281324 w 7467600"/>
              <a:gd name="connsiteY413" fmla="*/ 6858000 h 6858000"/>
              <a:gd name="connsiteX414" fmla="*/ 2242860 w 7467600"/>
              <a:gd name="connsiteY414" fmla="*/ 6858000 h 6858000"/>
              <a:gd name="connsiteX415" fmla="*/ 2232818 w 7467600"/>
              <a:gd name="connsiteY415" fmla="*/ 6844926 h 6858000"/>
              <a:gd name="connsiteX416" fmla="*/ 1990172 w 7467600"/>
              <a:gd name="connsiteY416" fmla="*/ 6542121 h 6858000"/>
              <a:gd name="connsiteX417" fmla="*/ 2124090 w 7467600"/>
              <a:gd name="connsiteY417" fmla="*/ 6761017 h 6858000"/>
              <a:gd name="connsiteX418" fmla="*/ 2200380 w 7467600"/>
              <a:gd name="connsiteY418" fmla="*/ 6858000 h 6858000"/>
              <a:gd name="connsiteX419" fmla="*/ 2147507 w 7467600"/>
              <a:gd name="connsiteY419" fmla="*/ 6858000 h 6858000"/>
              <a:gd name="connsiteX420" fmla="*/ 2070668 w 7467600"/>
              <a:gd name="connsiteY420" fmla="*/ 6761520 h 6858000"/>
              <a:gd name="connsiteX421" fmla="*/ 1975142 w 7467600"/>
              <a:gd name="connsiteY421" fmla="*/ 6585570 h 6858000"/>
              <a:gd name="connsiteX422" fmla="*/ 2050035 w 7467600"/>
              <a:gd name="connsiteY422" fmla="*/ 6813345 h 6858000"/>
              <a:gd name="connsiteX423" fmla="*/ 2063025 w 7467600"/>
              <a:gd name="connsiteY423" fmla="*/ 6858000 h 6858000"/>
              <a:gd name="connsiteX424" fmla="*/ 2021675 w 7467600"/>
              <a:gd name="connsiteY424" fmla="*/ 6858000 h 6858000"/>
              <a:gd name="connsiteX425" fmla="*/ 2019308 w 7467600"/>
              <a:gd name="connsiteY425" fmla="*/ 6847118 h 6858000"/>
              <a:gd name="connsiteX426" fmla="*/ 1938835 w 7467600"/>
              <a:gd name="connsiteY426" fmla="*/ 6551160 h 6858000"/>
              <a:gd name="connsiteX427" fmla="*/ 1953230 w 7467600"/>
              <a:gd name="connsiteY427" fmla="*/ 6759699 h 6858000"/>
              <a:gd name="connsiteX428" fmla="*/ 1956763 w 7467600"/>
              <a:gd name="connsiteY428" fmla="*/ 6778191 h 6858000"/>
              <a:gd name="connsiteX429" fmla="*/ 1967925 w 7467600"/>
              <a:gd name="connsiteY429" fmla="*/ 6858000 h 6858000"/>
              <a:gd name="connsiteX430" fmla="*/ 1936622 w 7467600"/>
              <a:gd name="connsiteY430" fmla="*/ 6858000 h 6858000"/>
              <a:gd name="connsiteX431" fmla="*/ 1926261 w 7467600"/>
              <a:gd name="connsiteY431" fmla="*/ 6784064 h 6858000"/>
              <a:gd name="connsiteX432" fmla="*/ 1922724 w 7467600"/>
              <a:gd name="connsiteY432" fmla="*/ 6765577 h 6858000"/>
              <a:gd name="connsiteX433" fmla="*/ 1904650 w 7467600"/>
              <a:gd name="connsiteY433" fmla="*/ 6639616 h 6858000"/>
              <a:gd name="connsiteX434" fmla="*/ 1885273 w 7467600"/>
              <a:gd name="connsiteY434" fmla="*/ 6858000 h 6858000"/>
              <a:gd name="connsiteX435" fmla="*/ 1854363 w 7467600"/>
              <a:gd name="connsiteY435" fmla="*/ 6858000 h 6858000"/>
              <a:gd name="connsiteX436" fmla="*/ 1880391 w 7467600"/>
              <a:gd name="connsiteY436" fmla="*/ 6603796 h 6858000"/>
              <a:gd name="connsiteX437" fmla="*/ 1818273 w 7467600"/>
              <a:gd name="connsiteY437" fmla="*/ 6715729 h 6858000"/>
              <a:gd name="connsiteX438" fmla="*/ 1794691 w 7467600"/>
              <a:gd name="connsiteY438" fmla="*/ 6843239 h 6858000"/>
              <a:gd name="connsiteX439" fmla="*/ 1794914 w 7467600"/>
              <a:gd name="connsiteY439" fmla="*/ 6858000 h 6858000"/>
              <a:gd name="connsiteX440" fmla="*/ 1746128 w 7467600"/>
              <a:gd name="connsiteY440" fmla="*/ 6858000 h 6858000"/>
              <a:gd name="connsiteX441" fmla="*/ 1753934 w 7467600"/>
              <a:gd name="connsiteY441" fmla="*/ 6724796 h 6858000"/>
              <a:gd name="connsiteX442" fmla="*/ 1792053 w 7467600"/>
              <a:gd name="connsiteY442" fmla="*/ 6572396 h 6858000"/>
              <a:gd name="connsiteX443" fmla="*/ 1862248 w 7467600"/>
              <a:gd name="connsiteY443" fmla="*/ 6266397 h 6858000"/>
              <a:gd name="connsiteX444" fmla="*/ 1862250 w 7467600"/>
              <a:gd name="connsiteY444" fmla="*/ 6033531 h 6858000"/>
              <a:gd name="connsiteX445" fmla="*/ 1211999 w 7467600"/>
              <a:gd name="connsiteY445" fmla="*/ 6683610 h 6858000"/>
              <a:gd name="connsiteX446" fmla="*/ 1213266 w 7467600"/>
              <a:gd name="connsiteY446" fmla="*/ 6691947 h 6858000"/>
              <a:gd name="connsiteX447" fmla="*/ 1203370 w 7467600"/>
              <a:gd name="connsiteY447" fmla="*/ 6850676 h 6858000"/>
              <a:gd name="connsiteX448" fmla="*/ 1203671 w 7467600"/>
              <a:gd name="connsiteY448" fmla="*/ 6858000 h 6858000"/>
              <a:gd name="connsiteX449" fmla="*/ 1143180 w 7467600"/>
              <a:gd name="connsiteY449" fmla="*/ 6858000 h 6858000"/>
              <a:gd name="connsiteX450" fmla="*/ 1142176 w 7467600"/>
              <a:gd name="connsiteY450" fmla="*/ 6766045 h 6858000"/>
              <a:gd name="connsiteX451" fmla="*/ 1067484 w 7467600"/>
              <a:gd name="connsiteY451" fmla="*/ 6858000 h 6858000"/>
              <a:gd name="connsiteX452" fmla="*/ 953928 w 7467600"/>
              <a:gd name="connsiteY452" fmla="*/ 6858000 h 6858000"/>
              <a:gd name="connsiteX453" fmla="*/ 959715 w 7467600"/>
              <a:gd name="connsiteY453" fmla="*/ 6850185 h 6858000"/>
              <a:gd name="connsiteX454" fmla="*/ 1483788 w 7467600"/>
              <a:gd name="connsiteY454" fmla="*/ 6259174 h 6858000"/>
              <a:gd name="connsiteX455" fmla="*/ 1100671 w 7467600"/>
              <a:gd name="connsiteY455" fmla="*/ 6252137 h 6858000"/>
              <a:gd name="connsiteX456" fmla="*/ 1090144 w 7467600"/>
              <a:gd name="connsiteY456" fmla="*/ 6256748 h 6858000"/>
              <a:gd name="connsiteX457" fmla="*/ 1095872 w 7467600"/>
              <a:gd name="connsiteY457" fmla="*/ 6271892 h 6858000"/>
              <a:gd name="connsiteX458" fmla="*/ 262785 w 7467600"/>
              <a:gd name="connsiteY458" fmla="*/ 6845450 h 6858000"/>
              <a:gd name="connsiteX459" fmla="*/ 209968 w 7467600"/>
              <a:gd name="connsiteY459" fmla="*/ 6770713 h 6858000"/>
              <a:gd name="connsiteX460" fmla="*/ 873460 w 7467600"/>
              <a:gd name="connsiteY460" fmla="*/ 6253768 h 6858000"/>
              <a:gd name="connsiteX461" fmla="*/ 192686 w 7467600"/>
              <a:gd name="connsiteY461" fmla="*/ 5849257 h 6858000"/>
              <a:gd name="connsiteX462" fmla="*/ 4696 w 7467600"/>
              <a:gd name="connsiteY462" fmla="*/ 5697668 h 6858000"/>
              <a:gd name="connsiteX463" fmla="*/ 0 w 7467600"/>
              <a:gd name="connsiteY463" fmla="*/ 5689984 h 6858000"/>
              <a:gd name="connsiteX464" fmla="*/ 0 w 7467600"/>
              <a:gd name="connsiteY464" fmla="*/ 5513472 h 6858000"/>
              <a:gd name="connsiteX465" fmla="*/ 174101 w 7467600"/>
              <a:gd name="connsiteY465" fmla="*/ 5620277 h 6858000"/>
              <a:gd name="connsiteX466" fmla="*/ 891800 w 7467600"/>
              <a:gd name="connsiteY466" fmla="*/ 6036935 h 6858000"/>
              <a:gd name="connsiteX467" fmla="*/ 1072219 w 7467600"/>
              <a:gd name="connsiteY467" fmla="*/ 6169443 h 6858000"/>
              <a:gd name="connsiteX468" fmla="*/ 1074117 w 7467600"/>
              <a:gd name="connsiteY468" fmla="*/ 6170301 h 6858000"/>
              <a:gd name="connsiteX469" fmla="*/ 1083114 w 7467600"/>
              <a:gd name="connsiteY469" fmla="*/ 6174131 h 6858000"/>
              <a:gd name="connsiteX470" fmla="*/ 1543010 w 7467600"/>
              <a:gd name="connsiteY470" fmla="*/ 6191140 h 6858000"/>
              <a:gd name="connsiteX471" fmla="*/ 1551080 w 7467600"/>
              <a:gd name="connsiteY471" fmla="*/ 6195006 h 6858000"/>
              <a:gd name="connsiteX472" fmla="*/ 2345443 w 7467600"/>
              <a:gd name="connsiteY472" fmla="*/ 5549882 h 6858000"/>
              <a:gd name="connsiteX473" fmla="*/ 1721499 w 7467600"/>
              <a:gd name="connsiteY473" fmla="*/ 5599969 h 6858000"/>
              <a:gd name="connsiteX474" fmla="*/ 767716 w 7467600"/>
              <a:gd name="connsiteY474" fmla="*/ 5472768 h 6858000"/>
              <a:gd name="connsiteX475" fmla="*/ 722147 w 7467600"/>
              <a:gd name="connsiteY475" fmla="*/ 5393091 h 6858000"/>
              <a:gd name="connsiteX476" fmla="*/ 1485552 w 7467600"/>
              <a:gd name="connsiteY476" fmla="*/ 5313202 h 6858000"/>
              <a:gd name="connsiteX477" fmla="*/ 2143004 w 7467600"/>
              <a:gd name="connsiteY477" fmla="*/ 5402420 h 6858000"/>
              <a:gd name="connsiteX478" fmla="*/ 1933391 w 7467600"/>
              <a:gd name="connsiteY478" fmla="*/ 5156971 h 6858000"/>
              <a:gd name="connsiteX479" fmla="*/ 1827118 w 7467600"/>
              <a:gd name="connsiteY479" fmla="*/ 4968410 h 6858000"/>
              <a:gd name="connsiteX480" fmla="*/ 1837349 w 7467600"/>
              <a:gd name="connsiteY480" fmla="*/ 4956357 h 6858000"/>
              <a:gd name="connsiteX481" fmla="*/ 2162835 w 7467600"/>
              <a:gd name="connsiteY481" fmla="*/ 5187853 h 6858000"/>
              <a:gd name="connsiteX482" fmla="*/ 2257167 w 7467600"/>
              <a:gd name="connsiteY482" fmla="*/ 5462123 h 6858000"/>
              <a:gd name="connsiteX483" fmla="*/ 2261598 w 7467600"/>
              <a:gd name="connsiteY483" fmla="*/ 5467998 h 6858000"/>
              <a:gd name="connsiteX484" fmla="*/ 2437177 w 7467600"/>
              <a:gd name="connsiteY484" fmla="*/ 5479608 h 6858000"/>
              <a:gd name="connsiteX485" fmla="*/ 2445247 w 7467600"/>
              <a:gd name="connsiteY485" fmla="*/ 5483476 h 6858000"/>
              <a:gd name="connsiteX486" fmla="*/ 2743626 w 7467600"/>
              <a:gd name="connsiteY486" fmla="*/ 5304819 h 6858000"/>
              <a:gd name="connsiteX487" fmla="*/ 3048102 w 7467600"/>
              <a:gd name="connsiteY487" fmla="*/ 5150595 h 6858000"/>
              <a:gd name="connsiteX488" fmla="*/ 1799414 w 7467600"/>
              <a:gd name="connsiteY488" fmla="*/ 4694732 h 6858000"/>
              <a:gd name="connsiteX489" fmla="*/ 1771735 w 7467600"/>
              <a:gd name="connsiteY489" fmla="*/ 4619929 h 6858000"/>
              <a:gd name="connsiteX490" fmla="*/ 3104273 w 7467600"/>
              <a:gd name="connsiteY490" fmla="*/ 5076159 h 6858000"/>
              <a:gd name="connsiteX491" fmla="*/ 3113245 w 7467600"/>
              <a:gd name="connsiteY491" fmla="*/ 5090705 h 6858000"/>
              <a:gd name="connsiteX492" fmla="*/ 3126294 w 7467600"/>
              <a:gd name="connsiteY492" fmla="*/ 5114400 h 6858000"/>
              <a:gd name="connsiteX493" fmla="*/ 3937433 w 7467600"/>
              <a:gd name="connsiteY493" fmla="*/ 4830473 h 6858000"/>
              <a:gd name="connsiteX494" fmla="*/ 3590475 w 7467600"/>
              <a:gd name="connsiteY494" fmla="*/ 4597974 h 6858000"/>
              <a:gd name="connsiteX495" fmla="*/ 3100264 w 7467600"/>
              <a:gd name="connsiteY495" fmla="*/ 4579845 h 6858000"/>
              <a:gd name="connsiteX496" fmla="*/ 2183576 w 7467600"/>
              <a:gd name="connsiteY496" fmla="*/ 4227150 h 6858000"/>
              <a:gd name="connsiteX497" fmla="*/ 2151029 w 7467600"/>
              <a:gd name="connsiteY497" fmla="*/ 4146947 h 6858000"/>
              <a:gd name="connsiteX498" fmla="*/ 3563434 w 7467600"/>
              <a:gd name="connsiteY498" fmla="*/ 4469115 h 6858000"/>
              <a:gd name="connsiteX499" fmla="*/ 3177952 w 7467600"/>
              <a:gd name="connsiteY499" fmla="*/ 3657386 h 6858000"/>
              <a:gd name="connsiteX500" fmla="*/ 3189263 w 7467600"/>
              <a:gd name="connsiteY500" fmla="*/ 3625726 h 6858000"/>
              <a:gd name="connsiteX501" fmla="*/ 3560912 w 7467600"/>
              <a:gd name="connsiteY501" fmla="*/ 4079863 h 6858000"/>
              <a:gd name="connsiteX502" fmla="*/ 3626636 w 7467600"/>
              <a:gd name="connsiteY502" fmla="*/ 4512230 h 6858000"/>
              <a:gd name="connsiteX503" fmla="*/ 3653088 w 7467600"/>
              <a:gd name="connsiteY503" fmla="*/ 4521417 h 6858000"/>
              <a:gd name="connsiteX504" fmla="*/ 3988128 w 7467600"/>
              <a:gd name="connsiteY504" fmla="*/ 4817267 h 6858000"/>
              <a:gd name="connsiteX505" fmla="*/ 4830582 w 7467600"/>
              <a:gd name="connsiteY505" fmla="*/ 4676000 h 6858000"/>
              <a:gd name="connsiteX506" fmla="*/ 4830100 w 7467600"/>
              <a:gd name="connsiteY506" fmla="*/ 4675554 h 6858000"/>
              <a:gd name="connsiteX507" fmla="*/ 4036318 w 7467600"/>
              <a:gd name="connsiteY507" fmla="*/ 4147013 h 6858000"/>
              <a:gd name="connsiteX508" fmla="*/ 3432098 w 7467600"/>
              <a:gd name="connsiteY508" fmla="*/ 3537312 h 6858000"/>
              <a:gd name="connsiteX509" fmla="*/ 3446761 w 7467600"/>
              <a:gd name="connsiteY509" fmla="*/ 3461278 h 6858000"/>
              <a:gd name="connsiteX510" fmla="*/ 4419733 w 7467600"/>
              <a:gd name="connsiteY510" fmla="*/ 3963555 h 6858000"/>
              <a:gd name="connsiteX511" fmla="*/ 4781371 w 7467600"/>
              <a:gd name="connsiteY511" fmla="*/ 4458604 h 6858000"/>
              <a:gd name="connsiteX512" fmla="*/ 4780440 w 7467600"/>
              <a:gd name="connsiteY512" fmla="*/ 4470290 h 6858000"/>
              <a:gd name="connsiteX513" fmla="*/ 4898954 w 7467600"/>
              <a:gd name="connsiteY513" fmla="*/ 4662092 h 6858000"/>
              <a:gd name="connsiteX514" fmla="*/ 4900699 w 7467600"/>
              <a:gd name="connsiteY514" fmla="*/ 4670867 h 6858000"/>
              <a:gd name="connsiteX515" fmla="*/ 5714511 w 7467600"/>
              <a:gd name="connsiteY515" fmla="*/ 4663483 h 6858000"/>
              <a:gd name="connsiteX516" fmla="*/ 5464793 w 7467600"/>
              <a:gd name="connsiteY516" fmla="*/ 4393556 h 6858000"/>
              <a:gd name="connsiteX517" fmla="*/ 5461897 w 7467600"/>
              <a:gd name="connsiteY517" fmla="*/ 4390879 h 6858000"/>
              <a:gd name="connsiteX518" fmla="*/ 4294126 w 7467600"/>
              <a:gd name="connsiteY518" fmla="*/ 3303048 h 6858000"/>
              <a:gd name="connsiteX519" fmla="*/ 4305321 w 7467600"/>
              <a:gd name="connsiteY519" fmla="*/ 3256953 h 6858000"/>
              <a:gd name="connsiteX520" fmla="*/ 4949299 w 7467600"/>
              <a:gd name="connsiteY520" fmla="*/ 3766336 h 6858000"/>
              <a:gd name="connsiteX521" fmla="*/ 5291452 w 7467600"/>
              <a:gd name="connsiteY521" fmla="*/ 4076801 h 6858000"/>
              <a:gd name="connsiteX522" fmla="*/ 5434998 w 7467600"/>
              <a:gd name="connsiteY522" fmla="*/ 4254100 h 6858000"/>
              <a:gd name="connsiteX523" fmla="*/ 5351015 w 7467600"/>
              <a:gd name="connsiteY523" fmla="*/ 3760989 h 6858000"/>
              <a:gd name="connsiteX524" fmla="*/ 5413780 w 7467600"/>
              <a:gd name="connsiteY524" fmla="*/ 2966265 h 6858000"/>
              <a:gd name="connsiteX525" fmla="*/ 5425627 w 7467600"/>
              <a:gd name="connsiteY525" fmla="*/ 2954192 h 6858000"/>
              <a:gd name="connsiteX526" fmla="*/ 6604735 w 7467600"/>
              <a:gd name="connsiteY526" fmla="*/ 2041381 h 6858000"/>
              <a:gd name="connsiteX527" fmla="*/ 7204487 w 7467600"/>
              <a:gd name="connsiteY527" fmla="*/ 2742112 h 6858000"/>
              <a:gd name="connsiteX528" fmla="*/ 7131592 w 7467600"/>
              <a:gd name="connsiteY528" fmla="*/ 2672096 h 6858000"/>
              <a:gd name="connsiteX529" fmla="*/ 6996344 w 7467600"/>
              <a:gd name="connsiteY529" fmla="*/ 2518310 h 6858000"/>
              <a:gd name="connsiteX530" fmla="*/ 6735495 w 7467600"/>
              <a:gd name="connsiteY530" fmla="*/ 2196890 h 6858000"/>
              <a:gd name="connsiteX531" fmla="*/ 6721901 w 7467600"/>
              <a:gd name="connsiteY531" fmla="*/ 2179274 h 6858000"/>
              <a:gd name="connsiteX532" fmla="*/ 6604735 w 7467600"/>
              <a:gd name="connsiteY532" fmla="*/ 2041381 h 6858000"/>
              <a:gd name="connsiteX533" fmla="*/ 6591670 w 7467600"/>
              <a:gd name="connsiteY533" fmla="*/ 1988277 h 6858000"/>
              <a:gd name="connsiteX534" fmla="*/ 6747349 w 7467600"/>
              <a:gd name="connsiteY534" fmla="*/ 2160069 h 6858000"/>
              <a:gd name="connsiteX535" fmla="*/ 6760943 w 7467600"/>
              <a:gd name="connsiteY535" fmla="*/ 2177686 h 6858000"/>
              <a:gd name="connsiteX536" fmla="*/ 7021065 w 7467600"/>
              <a:gd name="connsiteY536" fmla="*/ 2498102 h 6858000"/>
              <a:gd name="connsiteX537" fmla="*/ 7155223 w 7467600"/>
              <a:gd name="connsiteY537" fmla="*/ 2650386 h 6858000"/>
              <a:gd name="connsiteX538" fmla="*/ 7203167 w 7467600"/>
              <a:gd name="connsiteY538" fmla="*/ 2697288 h 6858000"/>
              <a:gd name="connsiteX539" fmla="*/ 6937703 w 7467600"/>
              <a:gd name="connsiteY539" fmla="*/ 2321981 h 6858000"/>
              <a:gd name="connsiteX540" fmla="*/ 6591670 w 7467600"/>
              <a:gd name="connsiteY540" fmla="*/ 1988277 h 6858000"/>
              <a:gd name="connsiteX541" fmla="*/ 5798671 w 7467600"/>
              <a:gd name="connsiteY541" fmla="*/ 1981601 h 6858000"/>
              <a:gd name="connsiteX542" fmla="*/ 5754709 w 7467600"/>
              <a:gd name="connsiteY542" fmla="*/ 2071454 h 6858000"/>
              <a:gd name="connsiteX543" fmla="*/ 5763044 w 7467600"/>
              <a:gd name="connsiteY543" fmla="*/ 2842206 h 6858000"/>
              <a:gd name="connsiteX544" fmla="*/ 5764974 w 7467600"/>
              <a:gd name="connsiteY544" fmla="*/ 2799609 h 6858000"/>
              <a:gd name="connsiteX545" fmla="*/ 5767665 w 7467600"/>
              <a:gd name="connsiteY545" fmla="*/ 2666409 h 6858000"/>
              <a:gd name="connsiteX546" fmla="*/ 5763055 w 7467600"/>
              <a:gd name="connsiteY546" fmla="*/ 2579705 h 6858000"/>
              <a:gd name="connsiteX547" fmla="*/ 5758079 w 7467600"/>
              <a:gd name="connsiteY547" fmla="*/ 2492508 h 6858000"/>
              <a:gd name="connsiteX548" fmla="*/ 5779325 w 7467600"/>
              <a:gd name="connsiteY548" fmla="*/ 2197069 h 6858000"/>
              <a:gd name="connsiteX549" fmla="*/ 5798671 w 7467600"/>
              <a:gd name="connsiteY549" fmla="*/ 1981601 h 6858000"/>
              <a:gd name="connsiteX550" fmla="*/ 5829202 w 7467600"/>
              <a:gd name="connsiteY550" fmla="*/ 1971679 h 6858000"/>
              <a:gd name="connsiteX551" fmla="*/ 5809558 w 7467600"/>
              <a:gd name="connsiteY551" fmla="*/ 2198043 h 6858000"/>
              <a:gd name="connsiteX552" fmla="*/ 5788653 w 7467600"/>
              <a:gd name="connsiteY552" fmla="*/ 2489430 h 6858000"/>
              <a:gd name="connsiteX553" fmla="*/ 5793439 w 7467600"/>
              <a:gd name="connsiteY553" fmla="*/ 2575235 h 6858000"/>
              <a:gd name="connsiteX554" fmla="*/ 5796837 w 7467600"/>
              <a:gd name="connsiteY554" fmla="*/ 2637633 h 6858000"/>
              <a:gd name="connsiteX555" fmla="*/ 5818614 w 7467600"/>
              <a:gd name="connsiteY555" fmla="*/ 2473055 h 6858000"/>
              <a:gd name="connsiteX556" fmla="*/ 5829202 w 7467600"/>
              <a:gd name="connsiteY556" fmla="*/ 1971679 h 6858000"/>
              <a:gd name="connsiteX557" fmla="*/ 5911389 w 7467600"/>
              <a:gd name="connsiteY557" fmla="*/ 1898371 h 6858000"/>
              <a:gd name="connsiteX558" fmla="*/ 6237627 w 7467600"/>
              <a:gd name="connsiteY558" fmla="*/ 2231921 h 6858000"/>
              <a:gd name="connsiteX559" fmla="*/ 5911389 w 7467600"/>
              <a:gd name="connsiteY559" fmla="*/ 1898371 h 6858000"/>
              <a:gd name="connsiteX560" fmla="*/ 6944437 w 7467600"/>
              <a:gd name="connsiteY560" fmla="*/ 1575402 h 6858000"/>
              <a:gd name="connsiteX561" fmla="*/ 6304730 w 7467600"/>
              <a:gd name="connsiteY561" fmla="*/ 1766654 h 6858000"/>
              <a:gd name="connsiteX562" fmla="*/ 6944437 w 7467600"/>
              <a:gd name="connsiteY562" fmla="*/ 1575402 h 6858000"/>
              <a:gd name="connsiteX563" fmla="*/ 7019523 w 7467600"/>
              <a:gd name="connsiteY563" fmla="*/ 1519450 h 6858000"/>
              <a:gd name="connsiteX564" fmla="*/ 6298091 w 7467600"/>
              <a:gd name="connsiteY564" fmla="*/ 1737122 h 6858000"/>
              <a:gd name="connsiteX565" fmla="*/ 7019523 w 7467600"/>
              <a:gd name="connsiteY565" fmla="*/ 1519450 h 6858000"/>
              <a:gd name="connsiteX566" fmla="*/ 2399523 w 7467600"/>
              <a:gd name="connsiteY566" fmla="*/ 1428234 h 6858000"/>
              <a:gd name="connsiteX567" fmla="*/ 2224982 w 7467600"/>
              <a:gd name="connsiteY567" fmla="*/ 1826201 h 6858000"/>
              <a:gd name="connsiteX568" fmla="*/ 2096099 w 7467600"/>
              <a:gd name="connsiteY568" fmla="*/ 2345900 h 6858000"/>
              <a:gd name="connsiteX569" fmla="*/ 2283317 w 7467600"/>
              <a:gd name="connsiteY569" fmla="*/ 1796925 h 6858000"/>
              <a:gd name="connsiteX570" fmla="*/ 2399523 w 7467600"/>
              <a:gd name="connsiteY570" fmla="*/ 1428234 h 6858000"/>
              <a:gd name="connsiteX571" fmla="*/ 2448558 w 7467600"/>
              <a:gd name="connsiteY571" fmla="*/ 1373435 h 6858000"/>
              <a:gd name="connsiteX572" fmla="*/ 2312521 w 7467600"/>
              <a:gd name="connsiteY572" fmla="*/ 1806140 h 6858000"/>
              <a:gd name="connsiteX573" fmla="*/ 2127533 w 7467600"/>
              <a:gd name="connsiteY573" fmla="*/ 2348380 h 6858000"/>
              <a:gd name="connsiteX574" fmla="*/ 2358080 w 7467600"/>
              <a:gd name="connsiteY574" fmla="*/ 1866134 h 6858000"/>
              <a:gd name="connsiteX575" fmla="*/ 2407436 w 7467600"/>
              <a:gd name="connsiteY575" fmla="*/ 1651070 h 6858000"/>
              <a:gd name="connsiteX576" fmla="*/ 2448558 w 7467600"/>
              <a:gd name="connsiteY576" fmla="*/ 1373435 h 6858000"/>
              <a:gd name="connsiteX577" fmla="*/ 278707 w 7467600"/>
              <a:gd name="connsiteY577" fmla="*/ 1352270 h 6858000"/>
              <a:gd name="connsiteX578" fmla="*/ 321570 w 7467600"/>
              <a:gd name="connsiteY578" fmla="*/ 1861610 h 6858000"/>
              <a:gd name="connsiteX579" fmla="*/ 294281 w 7467600"/>
              <a:gd name="connsiteY579" fmla="*/ 1440658 h 6858000"/>
              <a:gd name="connsiteX580" fmla="*/ 278707 w 7467600"/>
              <a:gd name="connsiteY580" fmla="*/ 1352270 h 6858000"/>
              <a:gd name="connsiteX581" fmla="*/ 1423821 w 7467600"/>
              <a:gd name="connsiteY581" fmla="*/ 1351958 h 6858000"/>
              <a:gd name="connsiteX582" fmla="*/ 1638521 w 7467600"/>
              <a:gd name="connsiteY582" fmla="*/ 1908470 h 6858000"/>
              <a:gd name="connsiteX583" fmla="*/ 1754199 w 7467600"/>
              <a:gd name="connsiteY583" fmla="*/ 2149284 h 6858000"/>
              <a:gd name="connsiteX584" fmla="*/ 1908359 w 7467600"/>
              <a:gd name="connsiteY584" fmla="*/ 2364988 h 6858000"/>
              <a:gd name="connsiteX585" fmla="*/ 1647661 w 7467600"/>
              <a:gd name="connsiteY585" fmla="*/ 1825945 h 6858000"/>
              <a:gd name="connsiteX586" fmla="*/ 1423821 w 7467600"/>
              <a:gd name="connsiteY586" fmla="*/ 1351958 h 6858000"/>
              <a:gd name="connsiteX587" fmla="*/ 1431890 w 7467600"/>
              <a:gd name="connsiteY587" fmla="*/ 1306475 h 6858000"/>
              <a:gd name="connsiteX588" fmla="*/ 1507597 w 7467600"/>
              <a:gd name="connsiteY588" fmla="*/ 1446132 h 6858000"/>
              <a:gd name="connsiteX589" fmla="*/ 1674586 w 7467600"/>
              <a:gd name="connsiteY589" fmla="*/ 1813832 h 6858000"/>
              <a:gd name="connsiteX590" fmla="*/ 1815950 w 7467600"/>
              <a:gd name="connsiteY590" fmla="*/ 2128564 h 6858000"/>
              <a:gd name="connsiteX591" fmla="*/ 1984242 w 7467600"/>
              <a:gd name="connsiteY591" fmla="*/ 2430829 h 6858000"/>
              <a:gd name="connsiteX592" fmla="*/ 2014023 w 7467600"/>
              <a:gd name="connsiteY592" fmla="*/ 2450995 h 6858000"/>
              <a:gd name="connsiteX593" fmla="*/ 1747337 w 7467600"/>
              <a:gd name="connsiteY593" fmla="*/ 1855264 h 6858000"/>
              <a:gd name="connsiteX594" fmla="*/ 1533749 w 7467600"/>
              <a:gd name="connsiteY594" fmla="*/ 1478656 h 6858000"/>
              <a:gd name="connsiteX595" fmla="*/ 1431890 w 7467600"/>
              <a:gd name="connsiteY595" fmla="*/ 1306475 h 6858000"/>
              <a:gd name="connsiteX596" fmla="*/ 5052692 w 7467600"/>
              <a:gd name="connsiteY596" fmla="*/ 1292994 h 6858000"/>
              <a:gd name="connsiteX597" fmla="*/ 5200661 w 7467600"/>
              <a:gd name="connsiteY597" fmla="*/ 1635186 h 6858000"/>
              <a:gd name="connsiteX598" fmla="*/ 5297138 w 7467600"/>
              <a:gd name="connsiteY598" fmla="*/ 1906351 h 6858000"/>
              <a:gd name="connsiteX599" fmla="*/ 5052692 w 7467600"/>
              <a:gd name="connsiteY599" fmla="*/ 1292994 h 6858000"/>
              <a:gd name="connsiteX600" fmla="*/ 5009948 w 7467600"/>
              <a:gd name="connsiteY600" fmla="*/ 1273619 h 6858000"/>
              <a:gd name="connsiteX601" fmla="*/ 5121777 w 7467600"/>
              <a:gd name="connsiteY601" fmla="*/ 1654213 h 6858000"/>
              <a:gd name="connsiteX602" fmla="*/ 5293545 w 7467600"/>
              <a:gd name="connsiteY602" fmla="*/ 2072247 h 6858000"/>
              <a:gd name="connsiteX603" fmla="*/ 5294042 w 7467600"/>
              <a:gd name="connsiteY603" fmla="*/ 2065019 h 6858000"/>
              <a:gd name="connsiteX604" fmla="*/ 5171936 w 7467600"/>
              <a:gd name="connsiteY604" fmla="*/ 1647613 h 6858000"/>
              <a:gd name="connsiteX605" fmla="*/ 5009948 w 7467600"/>
              <a:gd name="connsiteY605" fmla="*/ 1273619 h 6858000"/>
              <a:gd name="connsiteX606" fmla="*/ 655236 w 7467600"/>
              <a:gd name="connsiteY606" fmla="*/ 1268632 h 6858000"/>
              <a:gd name="connsiteX607" fmla="*/ 839521 w 7467600"/>
              <a:gd name="connsiteY607" fmla="*/ 1685315 h 6858000"/>
              <a:gd name="connsiteX608" fmla="*/ 1109416 w 7467600"/>
              <a:gd name="connsiteY608" fmla="*/ 2061663 h 6858000"/>
              <a:gd name="connsiteX609" fmla="*/ 1298300 w 7467600"/>
              <a:gd name="connsiteY609" fmla="*/ 2247742 h 6858000"/>
              <a:gd name="connsiteX610" fmla="*/ 1125871 w 7467600"/>
              <a:gd name="connsiteY610" fmla="*/ 1989513 h 6858000"/>
              <a:gd name="connsiteX611" fmla="*/ 981574 w 7467600"/>
              <a:gd name="connsiteY611" fmla="*/ 1783157 h 6858000"/>
              <a:gd name="connsiteX612" fmla="*/ 922198 w 7467600"/>
              <a:gd name="connsiteY612" fmla="*/ 1677437 h 6858000"/>
              <a:gd name="connsiteX613" fmla="*/ 869293 w 7467600"/>
              <a:gd name="connsiteY613" fmla="*/ 1583214 h 6858000"/>
              <a:gd name="connsiteX614" fmla="*/ 751431 w 7467600"/>
              <a:gd name="connsiteY614" fmla="*/ 1405731 h 6858000"/>
              <a:gd name="connsiteX615" fmla="*/ 655236 w 7467600"/>
              <a:gd name="connsiteY615" fmla="*/ 1268632 h 6858000"/>
              <a:gd name="connsiteX616" fmla="*/ 6516292 w 7467600"/>
              <a:gd name="connsiteY616" fmla="*/ 1263064 h 6858000"/>
              <a:gd name="connsiteX617" fmla="*/ 5736320 w 7467600"/>
              <a:gd name="connsiteY617" fmla="*/ 1501803 h 6858000"/>
              <a:gd name="connsiteX618" fmla="*/ 6516292 w 7467600"/>
              <a:gd name="connsiteY618" fmla="*/ 1263064 h 6858000"/>
              <a:gd name="connsiteX619" fmla="*/ 291466 w 7467600"/>
              <a:gd name="connsiteY619" fmla="*/ 1250369 h 6858000"/>
              <a:gd name="connsiteX620" fmla="*/ 323180 w 7467600"/>
              <a:gd name="connsiteY620" fmla="*/ 1435283 h 6858000"/>
              <a:gd name="connsiteX621" fmla="*/ 349381 w 7467600"/>
              <a:gd name="connsiteY621" fmla="*/ 1875041 h 6858000"/>
              <a:gd name="connsiteX622" fmla="*/ 374363 w 7467600"/>
              <a:gd name="connsiteY622" fmla="*/ 1506494 h 6858000"/>
              <a:gd name="connsiteX623" fmla="*/ 302168 w 7467600"/>
              <a:gd name="connsiteY623" fmla="*/ 1274495 h 6858000"/>
              <a:gd name="connsiteX624" fmla="*/ 291466 w 7467600"/>
              <a:gd name="connsiteY624" fmla="*/ 1250369 h 6858000"/>
              <a:gd name="connsiteX625" fmla="*/ 678222 w 7467600"/>
              <a:gd name="connsiteY625" fmla="*/ 1248670 h 6858000"/>
              <a:gd name="connsiteX626" fmla="*/ 775536 w 7467600"/>
              <a:gd name="connsiteY626" fmla="*/ 1388015 h 6858000"/>
              <a:gd name="connsiteX627" fmla="*/ 894529 w 7467600"/>
              <a:gd name="connsiteY627" fmla="*/ 1567739 h 6858000"/>
              <a:gd name="connsiteX628" fmla="*/ 948000 w 7467600"/>
              <a:gd name="connsiteY628" fmla="*/ 1663088 h 6858000"/>
              <a:gd name="connsiteX629" fmla="*/ 1006812 w 7467600"/>
              <a:gd name="connsiteY629" fmla="*/ 1767683 h 6858000"/>
              <a:gd name="connsiteX630" fmla="*/ 1149133 w 7467600"/>
              <a:gd name="connsiteY630" fmla="*/ 1971513 h 6858000"/>
              <a:gd name="connsiteX631" fmla="*/ 1333952 w 7467600"/>
              <a:gd name="connsiteY631" fmla="*/ 2251620 h 6858000"/>
              <a:gd name="connsiteX632" fmla="*/ 1337329 w 7467600"/>
              <a:gd name="connsiteY632" fmla="*/ 2258350 h 6858000"/>
              <a:gd name="connsiteX633" fmla="*/ 1014726 w 7467600"/>
              <a:gd name="connsiteY633" fmla="*/ 1615556 h 6858000"/>
              <a:gd name="connsiteX634" fmla="*/ 678222 w 7467600"/>
              <a:gd name="connsiteY634" fmla="*/ 1248670 h 6858000"/>
              <a:gd name="connsiteX635" fmla="*/ 6691602 w 7467600"/>
              <a:gd name="connsiteY635" fmla="*/ 1140573 h 6858000"/>
              <a:gd name="connsiteX636" fmla="*/ 6571100 w 7467600"/>
              <a:gd name="connsiteY636" fmla="*/ 1183662 h 6858000"/>
              <a:gd name="connsiteX637" fmla="*/ 6241687 w 7467600"/>
              <a:gd name="connsiteY637" fmla="*/ 1257600 h 6858000"/>
              <a:gd name="connsiteX638" fmla="*/ 5693009 w 7467600"/>
              <a:gd name="connsiteY638" fmla="*/ 1478256 h 6858000"/>
              <a:gd name="connsiteX639" fmla="*/ 6548420 w 7467600"/>
              <a:gd name="connsiteY639" fmla="*/ 1214599 h 6858000"/>
              <a:gd name="connsiteX640" fmla="*/ 6605473 w 7467600"/>
              <a:gd name="connsiteY640" fmla="*/ 1184686 h 6858000"/>
              <a:gd name="connsiteX641" fmla="*/ 6691602 w 7467600"/>
              <a:gd name="connsiteY641" fmla="*/ 1140573 h 6858000"/>
              <a:gd name="connsiteX642" fmla="*/ 4002475 w 7467600"/>
              <a:gd name="connsiteY642" fmla="*/ 1037802 h 6858000"/>
              <a:gd name="connsiteX643" fmla="*/ 4000324 w 7467600"/>
              <a:gd name="connsiteY643" fmla="*/ 1039362 h 6858000"/>
              <a:gd name="connsiteX644" fmla="*/ 4002862 w 7467600"/>
              <a:gd name="connsiteY644" fmla="*/ 1042866 h 6858000"/>
              <a:gd name="connsiteX645" fmla="*/ 4002475 w 7467600"/>
              <a:gd name="connsiteY645" fmla="*/ 1037802 h 6858000"/>
              <a:gd name="connsiteX646" fmla="*/ 506322 w 7467600"/>
              <a:gd name="connsiteY646" fmla="*/ 1020997 h 6858000"/>
              <a:gd name="connsiteX647" fmla="*/ 533068 w 7467600"/>
              <a:gd name="connsiteY647" fmla="*/ 1029409 h 6858000"/>
              <a:gd name="connsiteX648" fmla="*/ 1232525 w 7467600"/>
              <a:gd name="connsiteY648" fmla="*/ 1804675 h 6858000"/>
              <a:gd name="connsiteX649" fmla="*/ 1388858 w 7467600"/>
              <a:gd name="connsiteY649" fmla="*/ 2368011 h 6858000"/>
              <a:gd name="connsiteX650" fmla="*/ 1384098 w 7467600"/>
              <a:gd name="connsiteY650" fmla="*/ 2378125 h 6858000"/>
              <a:gd name="connsiteX651" fmla="*/ 1425393 w 7467600"/>
              <a:gd name="connsiteY651" fmla="*/ 2589124 h 6858000"/>
              <a:gd name="connsiteX652" fmla="*/ 1424001 w 7467600"/>
              <a:gd name="connsiteY652" fmla="*/ 2597541 h 6858000"/>
              <a:gd name="connsiteX653" fmla="*/ 2152729 w 7467600"/>
              <a:gd name="connsiteY653" fmla="*/ 2864487 h 6858000"/>
              <a:gd name="connsiteX654" fmla="*/ 2020609 w 7467600"/>
              <a:gd name="connsiteY654" fmla="*/ 2539671 h 6858000"/>
              <a:gd name="connsiteX655" fmla="*/ 2018920 w 7467600"/>
              <a:gd name="connsiteY655" fmla="*/ 2536309 h 6858000"/>
              <a:gd name="connsiteX656" fmla="*/ 1342441 w 7467600"/>
              <a:gd name="connsiteY656" fmla="*/ 1173017 h 6858000"/>
              <a:gd name="connsiteX657" fmla="*/ 1367925 w 7467600"/>
              <a:gd name="connsiteY657" fmla="*/ 1135648 h 6858000"/>
              <a:gd name="connsiteX658" fmla="*/ 1771401 w 7467600"/>
              <a:gd name="connsiteY658" fmla="*/ 1806673 h 6858000"/>
              <a:gd name="connsiteX659" fmla="*/ 1972385 w 7467600"/>
              <a:gd name="connsiteY659" fmla="*/ 2198735 h 6858000"/>
              <a:gd name="connsiteX660" fmla="*/ 2040892 w 7467600"/>
              <a:gd name="connsiteY660" fmla="*/ 2405205 h 6858000"/>
              <a:gd name="connsiteX661" fmla="*/ 2131689 w 7467600"/>
              <a:gd name="connsiteY661" fmla="*/ 1936926 h 6858000"/>
              <a:gd name="connsiteX662" fmla="*/ 2454820 w 7467600"/>
              <a:gd name="connsiteY662" fmla="*/ 1248808 h 6858000"/>
              <a:gd name="connsiteX663" fmla="*/ 2492512 w 7467600"/>
              <a:gd name="connsiteY663" fmla="*/ 1302920 h 6858000"/>
              <a:gd name="connsiteX664" fmla="*/ 2081216 w 7467600"/>
              <a:gd name="connsiteY664" fmla="*/ 2527513 h 6858000"/>
              <a:gd name="connsiteX665" fmla="*/ 2081211 w 7467600"/>
              <a:gd name="connsiteY665" fmla="*/ 2528916 h 6858000"/>
              <a:gd name="connsiteX666" fmla="*/ 2199067 w 7467600"/>
              <a:gd name="connsiteY666" fmla="*/ 2884061 h 6858000"/>
              <a:gd name="connsiteX667" fmla="*/ 3192586 w 7467600"/>
              <a:gd name="connsiteY667" fmla="*/ 3411496 h 6858000"/>
              <a:gd name="connsiteX668" fmla="*/ 3182620 w 7467600"/>
              <a:gd name="connsiteY668" fmla="*/ 3483279 h 6858000"/>
              <a:gd name="connsiteX669" fmla="*/ 2435119 w 7467600"/>
              <a:gd name="connsiteY669" fmla="*/ 3080173 h 6858000"/>
              <a:gd name="connsiteX670" fmla="*/ 2410152 w 7467600"/>
              <a:gd name="connsiteY670" fmla="*/ 3063751 h 6858000"/>
              <a:gd name="connsiteX671" fmla="*/ 2408099 w 7467600"/>
              <a:gd name="connsiteY671" fmla="*/ 3064403 h 6858000"/>
              <a:gd name="connsiteX672" fmla="*/ 2407218 w 7467600"/>
              <a:gd name="connsiteY672" fmla="*/ 3070324 h 6858000"/>
              <a:gd name="connsiteX673" fmla="*/ 2380138 w 7467600"/>
              <a:gd name="connsiteY673" fmla="*/ 3099341 h 6858000"/>
              <a:gd name="connsiteX674" fmla="*/ 1765923 w 7467600"/>
              <a:gd name="connsiteY674" fmla="*/ 3581043 h 6858000"/>
              <a:gd name="connsiteX675" fmla="*/ 1702258 w 7467600"/>
              <a:gd name="connsiteY675" fmla="*/ 3612286 h 6858000"/>
              <a:gd name="connsiteX676" fmla="*/ 1538370 w 7467600"/>
              <a:gd name="connsiteY676" fmla="*/ 3811804 h 6858000"/>
              <a:gd name="connsiteX677" fmla="*/ 542867 w 7467600"/>
              <a:gd name="connsiteY677" fmla="*/ 4944092 h 6858000"/>
              <a:gd name="connsiteX678" fmla="*/ 515800 w 7467600"/>
              <a:gd name="connsiteY678" fmla="*/ 4862180 h 6858000"/>
              <a:gd name="connsiteX679" fmla="*/ 909145 w 7467600"/>
              <a:gd name="connsiteY679" fmla="*/ 4199225 h 6858000"/>
              <a:gd name="connsiteX680" fmla="*/ 1214067 w 7467600"/>
              <a:gd name="connsiteY680" fmla="*/ 3908561 h 6858000"/>
              <a:gd name="connsiteX681" fmla="*/ 640967 w 7467600"/>
              <a:gd name="connsiteY681" fmla="*/ 4105601 h 6858000"/>
              <a:gd name="connsiteX682" fmla="*/ 112563 w 7467600"/>
              <a:gd name="connsiteY682" fmla="*/ 4396952 h 6858000"/>
              <a:gd name="connsiteX683" fmla="*/ 0 w 7467600"/>
              <a:gd name="connsiteY683" fmla="*/ 4466006 h 6858000"/>
              <a:gd name="connsiteX684" fmla="*/ 0 w 7467600"/>
              <a:gd name="connsiteY684" fmla="*/ 4233763 h 6858000"/>
              <a:gd name="connsiteX685" fmla="*/ 36881 w 7467600"/>
              <a:gd name="connsiteY685" fmla="*/ 4200118 h 6858000"/>
              <a:gd name="connsiteX686" fmla="*/ 910534 w 7467600"/>
              <a:gd name="connsiteY686" fmla="*/ 3629753 h 6858000"/>
              <a:gd name="connsiteX687" fmla="*/ 1578717 w 7467600"/>
              <a:gd name="connsiteY687" fmla="*/ 3575982 h 6858000"/>
              <a:gd name="connsiteX688" fmla="*/ 2338780 w 7467600"/>
              <a:gd name="connsiteY688" fmla="*/ 3033725 h 6858000"/>
              <a:gd name="connsiteX689" fmla="*/ 1807991 w 7467600"/>
              <a:gd name="connsiteY689" fmla="*/ 2807184 h 6858000"/>
              <a:gd name="connsiteX690" fmla="*/ 1416358 w 7467600"/>
              <a:gd name="connsiteY690" fmla="*/ 3112571 h 6858000"/>
              <a:gd name="connsiteX691" fmla="*/ 939066 w 7467600"/>
              <a:gd name="connsiteY691" fmla="*/ 3378798 h 6858000"/>
              <a:gd name="connsiteX692" fmla="*/ 115099 w 7467600"/>
              <a:gd name="connsiteY692" fmla="*/ 3607650 h 6858000"/>
              <a:gd name="connsiteX693" fmla="*/ 97284 w 7467600"/>
              <a:gd name="connsiteY693" fmla="*/ 3520393 h 6858000"/>
              <a:gd name="connsiteX694" fmla="*/ 922050 w 7467600"/>
              <a:gd name="connsiteY694" fmla="*/ 3074867 h 6858000"/>
              <a:gd name="connsiteX695" fmla="*/ 1405265 w 7467600"/>
              <a:gd name="connsiteY695" fmla="*/ 3016319 h 6858000"/>
              <a:gd name="connsiteX696" fmla="*/ 1407512 w 7467600"/>
              <a:gd name="connsiteY696" fmla="*/ 3018001 h 6858000"/>
              <a:gd name="connsiteX697" fmla="*/ 1726266 w 7467600"/>
              <a:gd name="connsiteY697" fmla="*/ 2777274 h 6858000"/>
              <a:gd name="connsiteX698" fmla="*/ 625390 w 7467600"/>
              <a:gd name="connsiteY698" fmla="*/ 2514541 h 6858000"/>
              <a:gd name="connsiteX699" fmla="*/ 619799 w 7467600"/>
              <a:gd name="connsiteY699" fmla="*/ 2527180 h 6858000"/>
              <a:gd name="connsiteX700" fmla="*/ 310030 w 7467600"/>
              <a:gd name="connsiteY700" fmla="*/ 2771818 h 6858000"/>
              <a:gd name="connsiteX701" fmla="*/ 173877 w 7467600"/>
              <a:gd name="connsiteY701" fmla="*/ 2937056 h 6858000"/>
              <a:gd name="connsiteX702" fmla="*/ 77889 w 7467600"/>
              <a:gd name="connsiteY702" fmla="*/ 3138440 h 6858000"/>
              <a:gd name="connsiteX703" fmla="*/ 0 w 7467600"/>
              <a:gd name="connsiteY703" fmla="*/ 3271395 h 6858000"/>
              <a:gd name="connsiteX704" fmla="*/ 0 w 7467600"/>
              <a:gd name="connsiteY704" fmla="*/ 3153002 h 6858000"/>
              <a:gd name="connsiteX705" fmla="*/ 2386 w 7467600"/>
              <a:gd name="connsiteY705" fmla="*/ 3149203 h 6858000"/>
              <a:gd name="connsiteX706" fmla="*/ 89753 w 7467600"/>
              <a:gd name="connsiteY706" fmla="*/ 2987702 h 6858000"/>
              <a:gd name="connsiteX707" fmla="*/ 76869 w 7467600"/>
              <a:gd name="connsiteY707" fmla="*/ 3005404 h 6858000"/>
              <a:gd name="connsiteX708" fmla="*/ 32049 w 7467600"/>
              <a:gd name="connsiteY708" fmla="*/ 3065814 h 6858000"/>
              <a:gd name="connsiteX709" fmla="*/ 0 w 7467600"/>
              <a:gd name="connsiteY709" fmla="*/ 3108744 h 6858000"/>
              <a:gd name="connsiteX710" fmla="*/ 0 w 7467600"/>
              <a:gd name="connsiteY710" fmla="*/ 3058059 h 6858000"/>
              <a:gd name="connsiteX711" fmla="*/ 7610 w 7467600"/>
              <a:gd name="connsiteY711" fmla="*/ 3047889 h 6858000"/>
              <a:gd name="connsiteX712" fmla="*/ 52419 w 7467600"/>
              <a:gd name="connsiteY712" fmla="*/ 2987479 h 6858000"/>
              <a:gd name="connsiteX713" fmla="*/ 59142 w 7467600"/>
              <a:gd name="connsiteY713" fmla="*/ 2978488 h 6858000"/>
              <a:gd name="connsiteX714" fmla="*/ 0 w 7467600"/>
              <a:gd name="connsiteY714" fmla="*/ 3015334 h 6858000"/>
              <a:gd name="connsiteX715" fmla="*/ 0 w 7467600"/>
              <a:gd name="connsiteY715" fmla="*/ 2914286 h 6858000"/>
              <a:gd name="connsiteX716" fmla="*/ 36383 w 7467600"/>
              <a:gd name="connsiteY716" fmla="*/ 2901128 h 6858000"/>
              <a:gd name="connsiteX717" fmla="*/ 156329 w 7467600"/>
              <a:gd name="connsiteY717" fmla="*/ 2840533 h 6858000"/>
              <a:gd name="connsiteX718" fmla="*/ 358355 w 7467600"/>
              <a:gd name="connsiteY718" fmla="*/ 2620471 h 6858000"/>
              <a:gd name="connsiteX719" fmla="*/ 510577 w 7467600"/>
              <a:gd name="connsiteY719" fmla="*/ 2501244 h 6858000"/>
              <a:gd name="connsiteX720" fmla="*/ 211967 w 7467600"/>
              <a:gd name="connsiteY720" fmla="*/ 2479171 h 6858000"/>
              <a:gd name="connsiteX721" fmla="*/ 0 w 7467600"/>
              <a:gd name="connsiteY721" fmla="*/ 2476398 h 6858000"/>
              <a:gd name="connsiteX722" fmla="*/ 0 w 7467600"/>
              <a:gd name="connsiteY722" fmla="*/ 2389189 h 6858000"/>
              <a:gd name="connsiteX723" fmla="*/ 103062 w 7467600"/>
              <a:gd name="connsiteY723" fmla="*/ 2389518 h 6858000"/>
              <a:gd name="connsiteX724" fmla="*/ 510734 w 7467600"/>
              <a:gd name="connsiteY724" fmla="*/ 2416201 h 6858000"/>
              <a:gd name="connsiteX725" fmla="*/ 279257 w 7467600"/>
              <a:gd name="connsiteY725" fmla="*/ 2092102 h 6858000"/>
              <a:gd name="connsiteX726" fmla="*/ 65265 w 7467600"/>
              <a:gd name="connsiteY726" fmla="*/ 2006049 h 6858000"/>
              <a:gd name="connsiteX727" fmla="*/ 0 w 7467600"/>
              <a:gd name="connsiteY727" fmla="*/ 1982532 h 6858000"/>
              <a:gd name="connsiteX728" fmla="*/ 0 w 7467600"/>
              <a:gd name="connsiteY728" fmla="*/ 1912789 h 6858000"/>
              <a:gd name="connsiteX729" fmla="*/ 97460 w 7467600"/>
              <a:gd name="connsiteY729" fmla="*/ 1953725 h 6858000"/>
              <a:gd name="connsiteX730" fmla="*/ 221272 w 7467600"/>
              <a:gd name="connsiteY730" fmla="*/ 1980766 h 6858000"/>
              <a:gd name="connsiteX731" fmla="*/ 116765 w 7467600"/>
              <a:gd name="connsiteY731" fmla="*/ 1911033 h 6858000"/>
              <a:gd name="connsiteX732" fmla="*/ 16405 w 7467600"/>
              <a:gd name="connsiteY732" fmla="*/ 1803412 h 6858000"/>
              <a:gd name="connsiteX733" fmla="*/ 0 w 7467600"/>
              <a:gd name="connsiteY733" fmla="*/ 1784777 h 6858000"/>
              <a:gd name="connsiteX734" fmla="*/ 0 w 7467600"/>
              <a:gd name="connsiteY734" fmla="*/ 1740082 h 6858000"/>
              <a:gd name="connsiteX735" fmla="*/ 39394 w 7467600"/>
              <a:gd name="connsiteY735" fmla="*/ 1784856 h 6858000"/>
              <a:gd name="connsiteX736" fmla="*/ 135813 w 7467600"/>
              <a:gd name="connsiteY736" fmla="*/ 1888838 h 6858000"/>
              <a:gd name="connsiteX737" fmla="*/ 242575 w 7467600"/>
              <a:gd name="connsiteY737" fmla="*/ 1958841 h 6858000"/>
              <a:gd name="connsiteX738" fmla="*/ 82197 w 7467600"/>
              <a:gd name="connsiteY738" fmla="*/ 1754826 h 6858000"/>
              <a:gd name="connsiteX739" fmla="*/ 0 w 7467600"/>
              <a:gd name="connsiteY739" fmla="*/ 1679650 h 6858000"/>
              <a:gd name="connsiteX740" fmla="*/ 0 w 7467600"/>
              <a:gd name="connsiteY740" fmla="*/ 1602463 h 6858000"/>
              <a:gd name="connsiteX741" fmla="*/ 84689 w 7467600"/>
              <a:gd name="connsiteY741" fmla="*/ 1677442 h 6858000"/>
              <a:gd name="connsiteX742" fmla="*/ 298437 w 7467600"/>
              <a:gd name="connsiteY742" fmla="*/ 1968019 h 6858000"/>
              <a:gd name="connsiteX743" fmla="*/ 227269 w 7467600"/>
              <a:gd name="connsiteY743" fmla="*/ 1114064 h 6858000"/>
              <a:gd name="connsiteX744" fmla="*/ 248003 w 7467600"/>
              <a:gd name="connsiteY744" fmla="*/ 1089613 h 6858000"/>
              <a:gd name="connsiteX745" fmla="*/ 427020 w 7467600"/>
              <a:gd name="connsiteY745" fmla="*/ 1619803 h 6858000"/>
              <a:gd name="connsiteX746" fmla="*/ 340345 w 7467600"/>
              <a:gd name="connsiteY746" fmla="*/ 2027739 h 6858000"/>
              <a:gd name="connsiteX747" fmla="*/ 360865 w 7467600"/>
              <a:gd name="connsiteY747" fmla="*/ 2044827 h 6858000"/>
              <a:gd name="connsiteX748" fmla="*/ 560414 w 7467600"/>
              <a:gd name="connsiteY748" fmla="*/ 2421457 h 6858000"/>
              <a:gd name="connsiteX749" fmla="*/ 1359703 w 7467600"/>
              <a:gd name="connsiteY749" fmla="*/ 2578554 h 6858000"/>
              <a:gd name="connsiteX750" fmla="*/ 1359422 w 7467600"/>
              <a:gd name="connsiteY750" fmla="*/ 2577994 h 6858000"/>
              <a:gd name="connsiteX751" fmla="*/ 828701 w 7467600"/>
              <a:gd name="connsiteY751" fmla="*/ 1839520 h 6858000"/>
              <a:gd name="connsiteX752" fmla="*/ 494427 w 7467600"/>
              <a:gd name="connsiteY752" fmla="*/ 1092333 h 6858000"/>
              <a:gd name="connsiteX753" fmla="*/ 506322 w 7467600"/>
              <a:gd name="connsiteY753" fmla="*/ 1020997 h 6858000"/>
              <a:gd name="connsiteX754" fmla="*/ 4570198 w 7467600"/>
              <a:gd name="connsiteY754" fmla="*/ 978081 h 6858000"/>
              <a:gd name="connsiteX755" fmla="*/ 4523691 w 7467600"/>
              <a:gd name="connsiteY755" fmla="*/ 1127776 h 6858000"/>
              <a:gd name="connsiteX756" fmla="*/ 4509875 w 7467600"/>
              <a:gd name="connsiteY756" fmla="*/ 1167552 h 6858000"/>
              <a:gd name="connsiteX757" fmla="*/ 4478168 w 7467600"/>
              <a:gd name="connsiteY757" fmla="*/ 1260735 h 6858000"/>
              <a:gd name="connsiteX758" fmla="*/ 4409309 w 7467600"/>
              <a:gd name="connsiteY758" fmla="*/ 1666996 h 6858000"/>
              <a:gd name="connsiteX759" fmla="*/ 4370031 w 7467600"/>
              <a:gd name="connsiteY759" fmla="*/ 1955666 h 6858000"/>
              <a:gd name="connsiteX760" fmla="*/ 4570198 w 7467600"/>
              <a:gd name="connsiteY760" fmla="*/ 978081 h 6858000"/>
              <a:gd name="connsiteX761" fmla="*/ 4557898 w 7467600"/>
              <a:gd name="connsiteY761" fmla="*/ 900011 h 6858000"/>
              <a:gd name="connsiteX762" fmla="*/ 4344840 w 7467600"/>
              <a:gd name="connsiteY762" fmla="*/ 1922038 h 6858000"/>
              <a:gd name="connsiteX763" fmla="*/ 4378710 w 7467600"/>
              <a:gd name="connsiteY763" fmla="*/ 1665516 h 6858000"/>
              <a:gd name="connsiteX764" fmla="*/ 4448798 w 7467600"/>
              <a:gd name="connsiteY764" fmla="*/ 1253024 h 6858000"/>
              <a:gd name="connsiteX765" fmla="*/ 4480315 w 7467600"/>
              <a:gd name="connsiteY765" fmla="*/ 1158454 h 6858000"/>
              <a:gd name="connsiteX766" fmla="*/ 4494133 w 7467600"/>
              <a:gd name="connsiteY766" fmla="*/ 1118676 h 6858000"/>
              <a:gd name="connsiteX767" fmla="*/ 4557898 w 7467600"/>
              <a:gd name="connsiteY767" fmla="*/ 900011 h 6858000"/>
              <a:gd name="connsiteX768" fmla="*/ 5870151 w 7467600"/>
              <a:gd name="connsiteY768" fmla="*/ 898890 h 6858000"/>
              <a:gd name="connsiteX769" fmla="*/ 5861335 w 7467600"/>
              <a:gd name="connsiteY769" fmla="*/ 899177 h 6858000"/>
              <a:gd name="connsiteX770" fmla="*/ 5843702 w 7467600"/>
              <a:gd name="connsiteY770" fmla="*/ 899748 h 6858000"/>
              <a:gd name="connsiteX771" fmla="*/ 5651107 w 7467600"/>
              <a:gd name="connsiteY771" fmla="*/ 920306 h 6858000"/>
              <a:gd name="connsiteX772" fmla="*/ 5459407 w 7467600"/>
              <a:gd name="connsiteY772" fmla="*/ 940975 h 6858000"/>
              <a:gd name="connsiteX773" fmla="*/ 5374846 w 7467600"/>
              <a:gd name="connsiteY773" fmla="*/ 941988 h 6858000"/>
              <a:gd name="connsiteX774" fmla="*/ 5256105 w 7467600"/>
              <a:gd name="connsiteY774" fmla="*/ 945632 h 6858000"/>
              <a:gd name="connsiteX775" fmla="*/ 5107071 w 7467600"/>
              <a:gd name="connsiteY775" fmla="*/ 969720 h 6858000"/>
              <a:gd name="connsiteX776" fmla="*/ 4998681 w 7467600"/>
              <a:gd name="connsiteY776" fmla="*/ 988771 h 6858000"/>
              <a:gd name="connsiteX777" fmla="*/ 5870151 w 7467600"/>
              <a:gd name="connsiteY777" fmla="*/ 898890 h 6858000"/>
              <a:gd name="connsiteX778" fmla="*/ 5504425 w 7467600"/>
              <a:gd name="connsiteY778" fmla="*/ 848067 h 6858000"/>
              <a:gd name="connsiteX779" fmla="*/ 4968849 w 7467600"/>
              <a:gd name="connsiteY779" fmla="*/ 962318 h 6858000"/>
              <a:gd name="connsiteX780" fmla="*/ 5104039 w 7467600"/>
              <a:gd name="connsiteY780" fmla="*/ 940634 h 6858000"/>
              <a:gd name="connsiteX781" fmla="*/ 5256311 w 7467600"/>
              <a:gd name="connsiteY781" fmla="*/ 916490 h 6858000"/>
              <a:gd name="connsiteX782" fmla="*/ 5377381 w 7467600"/>
              <a:gd name="connsiteY782" fmla="*/ 912671 h 6858000"/>
              <a:gd name="connsiteX783" fmla="*/ 5460148 w 7467600"/>
              <a:gd name="connsiteY783" fmla="*/ 911442 h 6858000"/>
              <a:gd name="connsiteX784" fmla="*/ 5648971 w 7467600"/>
              <a:gd name="connsiteY784" fmla="*/ 891331 h 6858000"/>
              <a:gd name="connsiteX785" fmla="*/ 5844807 w 7467600"/>
              <a:gd name="connsiteY785" fmla="*/ 870718 h 6858000"/>
              <a:gd name="connsiteX786" fmla="*/ 5862975 w 7467600"/>
              <a:gd name="connsiteY786" fmla="*/ 869756 h 6858000"/>
              <a:gd name="connsiteX787" fmla="*/ 5920887 w 7467600"/>
              <a:gd name="connsiteY787" fmla="*/ 865929 h 6858000"/>
              <a:gd name="connsiteX788" fmla="*/ 5504425 w 7467600"/>
              <a:gd name="connsiteY788" fmla="*/ 848067 h 6858000"/>
              <a:gd name="connsiteX789" fmla="*/ 3607114 w 7467600"/>
              <a:gd name="connsiteY789" fmla="*/ 467441 h 6858000"/>
              <a:gd name="connsiteX790" fmla="*/ 3296242 w 7467600"/>
              <a:gd name="connsiteY790" fmla="*/ 807991 h 6858000"/>
              <a:gd name="connsiteX791" fmla="*/ 3174674 w 7467600"/>
              <a:gd name="connsiteY791" fmla="*/ 919759 h 6858000"/>
              <a:gd name="connsiteX792" fmla="*/ 3042978 w 7467600"/>
              <a:gd name="connsiteY792" fmla="*/ 1054894 h 6858000"/>
              <a:gd name="connsiteX793" fmla="*/ 2968914 w 7467600"/>
              <a:gd name="connsiteY793" fmla="*/ 1133756 h 6858000"/>
              <a:gd name="connsiteX794" fmla="*/ 3103823 w 7467600"/>
              <a:gd name="connsiteY794" fmla="*/ 1026814 h 6858000"/>
              <a:gd name="connsiteX795" fmla="*/ 3607114 w 7467600"/>
              <a:gd name="connsiteY795" fmla="*/ 467441 h 6858000"/>
              <a:gd name="connsiteX796" fmla="*/ 3744487 w 7467600"/>
              <a:gd name="connsiteY796" fmla="*/ 383136 h 6858000"/>
              <a:gd name="connsiteX797" fmla="*/ 3970213 w 7467600"/>
              <a:gd name="connsiteY797" fmla="*/ 995559 h 6858000"/>
              <a:gd name="connsiteX798" fmla="*/ 3744487 w 7467600"/>
              <a:gd name="connsiteY798" fmla="*/ 383136 h 6858000"/>
              <a:gd name="connsiteX799" fmla="*/ 3624562 w 7467600"/>
              <a:gd name="connsiteY799" fmla="*/ 367041 h 6858000"/>
              <a:gd name="connsiteX800" fmla="*/ 3489712 w 7467600"/>
              <a:gd name="connsiteY800" fmla="*/ 485386 h 6858000"/>
              <a:gd name="connsiteX801" fmla="*/ 3182994 w 7467600"/>
              <a:gd name="connsiteY801" fmla="*/ 828265 h 6858000"/>
              <a:gd name="connsiteX802" fmla="*/ 2892114 w 7467600"/>
              <a:gd name="connsiteY802" fmla="*/ 1172635 h 6858000"/>
              <a:gd name="connsiteX803" fmla="*/ 3021459 w 7467600"/>
              <a:gd name="connsiteY803" fmla="*/ 1035385 h 6858000"/>
              <a:gd name="connsiteX804" fmla="*/ 3153873 w 7467600"/>
              <a:gd name="connsiteY804" fmla="*/ 898971 h 6858000"/>
              <a:gd name="connsiteX805" fmla="*/ 3276511 w 7467600"/>
              <a:gd name="connsiteY805" fmla="*/ 786423 h 6858000"/>
              <a:gd name="connsiteX806" fmla="*/ 3584154 w 7467600"/>
              <a:gd name="connsiteY806" fmla="*/ 448218 h 6858000"/>
              <a:gd name="connsiteX807" fmla="*/ 3624562 w 7467600"/>
              <a:gd name="connsiteY807" fmla="*/ 367041 h 6858000"/>
              <a:gd name="connsiteX808" fmla="*/ 3766672 w 7467600"/>
              <a:gd name="connsiteY808" fmla="*/ 359429 h 6858000"/>
              <a:gd name="connsiteX809" fmla="*/ 3996338 w 7467600"/>
              <a:gd name="connsiteY809" fmla="*/ 968237 h 6858000"/>
              <a:gd name="connsiteX810" fmla="*/ 3766672 w 7467600"/>
              <a:gd name="connsiteY810" fmla="*/ 359429 h 6858000"/>
              <a:gd name="connsiteX811" fmla="*/ 5805386 w 7467600"/>
              <a:gd name="connsiteY811" fmla="*/ 239240 h 6858000"/>
              <a:gd name="connsiteX812" fmla="*/ 5736947 w 7467600"/>
              <a:gd name="connsiteY812" fmla="*/ 261367 h 6858000"/>
              <a:gd name="connsiteX813" fmla="*/ 5427012 w 7467600"/>
              <a:gd name="connsiteY813" fmla="*/ 311272 h 6858000"/>
              <a:gd name="connsiteX814" fmla="*/ 5147818 w 7467600"/>
              <a:gd name="connsiteY814" fmla="*/ 322112 h 6858000"/>
              <a:gd name="connsiteX815" fmla="*/ 5060854 w 7467600"/>
              <a:gd name="connsiteY815" fmla="*/ 311882 h 6858000"/>
              <a:gd name="connsiteX816" fmla="*/ 4945989 w 7467600"/>
              <a:gd name="connsiteY816" fmla="*/ 300516 h 6858000"/>
              <a:gd name="connsiteX817" fmla="*/ 5410479 w 7467600"/>
              <a:gd name="connsiteY817" fmla="*/ 348434 h 6858000"/>
              <a:gd name="connsiteX818" fmla="*/ 5805386 w 7467600"/>
              <a:gd name="connsiteY818" fmla="*/ 239240 h 6858000"/>
              <a:gd name="connsiteX819" fmla="*/ 5905192 w 7467600"/>
              <a:gd name="connsiteY819" fmla="*/ 163079 h 6858000"/>
              <a:gd name="connsiteX820" fmla="*/ 5865655 w 7467600"/>
              <a:gd name="connsiteY820" fmla="*/ 171901 h 6858000"/>
              <a:gd name="connsiteX821" fmla="*/ 5259740 w 7467600"/>
              <a:gd name="connsiteY821" fmla="*/ 257013 h 6858000"/>
              <a:gd name="connsiteX822" fmla="*/ 5208466 w 7467600"/>
              <a:gd name="connsiteY822" fmla="*/ 257550 h 6858000"/>
              <a:gd name="connsiteX823" fmla="*/ 4980204 w 7467600"/>
              <a:gd name="connsiteY823" fmla="*/ 271903 h 6858000"/>
              <a:gd name="connsiteX824" fmla="*/ 5068068 w 7467600"/>
              <a:gd name="connsiteY824" fmla="*/ 282244 h 6858000"/>
              <a:gd name="connsiteX825" fmla="*/ 5153231 w 7467600"/>
              <a:gd name="connsiteY825" fmla="*/ 292240 h 6858000"/>
              <a:gd name="connsiteX826" fmla="*/ 5426491 w 7467600"/>
              <a:gd name="connsiteY826" fmla="*/ 281128 h 6858000"/>
              <a:gd name="connsiteX827" fmla="*/ 5731212 w 7467600"/>
              <a:gd name="connsiteY827" fmla="*/ 231951 h 6858000"/>
              <a:gd name="connsiteX828" fmla="*/ 5905192 w 7467600"/>
              <a:gd name="connsiteY828" fmla="*/ 163079 h 6858000"/>
              <a:gd name="connsiteX829" fmla="*/ 5944437 w 7467600"/>
              <a:gd name="connsiteY829" fmla="*/ 113829 h 6858000"/>
              <a:gd name="connsiteX830" fmla="*/ 5825032 w 7467600"/>
              <a:gd name="connsiteY830" fmla="*/ 146405 h 6858000"/>
              <a:gd name="connsiteX831" fmla="*/ 4955599 w 7467600"/>
              <a:gd name="connsiteY831" fmla="*/ 247008 h 6858000"/>
              <a:gd name="connsiteX832" fmla="*/ 5210104 w 7467600"/>
              <a:gd name="connsiteY832" fmla="*/ 228123 h 6858000"/>
              <a:gd name="connsiteX833" fmla="*/ 5261015 w 7467600"/>
              <a:gd name="connsiteY833" fmla="*/ 227087 h 6858000"/>
              <a:gd name="connsiteX834" fmla="*/ 5861181 w 7467600"/>
              <a:gd name="connsiteY834" fmla="*/ 143093 h 6858000"/>
              <a:gd name="connsiteX835" fmla="*/ 5961252 w 7467600"/>
              <a:gd name="connsiteY835" fmla="*/ 114820 h 6858000"/>
              <a:gd name="connsiteX836" fmla="*/ 5944437 w 7467600"/>
              <a:gd name="connsiteY836" fmla="*/ 113829 h 6858000"/>
              <a:gd name="connsiteX837" fmla="*/ 3882765 w 7467600"/>
              <a:gd name="connsiteY837" fmla="*/ 0 h 6858000"/>
              <a:gd name="connsiteX838" fmla="*/ 3995099 w 7467600"/>
              <a:gd name="connsiteY838" fmla="*/ 0 h 6858000"/>
              <a:gd name="connsiteX839" fmla="*/ 4163818 w 7467600"/>
              <a:gd name="connsiteY839" fmla="*/ 234104 h 6858000"/>
              <a:gd name="connsiteX840" fmla="*/ 4172099 w 7467600"/>
              <a:gd name="connsiteY840" fmla="*/ 234207 h 6858000"/>
              <a:gd name="connsiteX841" fmla="*/ 4784282 w 7467600"/>
              <a:gd name="connsiteY841" fmla="*/ 276561 h 6858000"/>
              <a:gd name="connsiteX842" fmla="*/ 4801687 w 7467600"/>
              <a:gd name="connsiteY842" fmla="*/ 267764 h 6858000"/>
              <a:gd name="connsiteX843" fmla="*/ 6082788 w 7467600"/>
              <a:gd name="connsiteY843" fmla="*/ 64119 h 6858000"/>
              <a:gd name="connsiteX844" fmla="*/ 6099442 w 7467600"/>
              <a:gd name="connsiteY844" fmla="*/ 82568 h 6858000"/>
              <a:gd name="connsiteX845" fmla="*/ 4804137 w 7467600"/>
              <a:gd name="connsiteY845" fmla="*/ 320931 h 6858000"/>
              <a:gd name="connsiteX846" fmla="*/ 4227047 w 7467600"/>
              <a:gd name="connsiteY846" fmla="*/ 313415 h 6858000"/>
              <a:gd name="connsiteX847" fmla="*/ 4346041 w 7467600"/>
              <a:gd name="connsiteY847" fmla="*/ 456086 h 6858000"/>
              <a:gd name="connsiteX848" fmla="*/ 4870967 w 7467600"/>
              <a:gd name="connsiteY848" fmla="*/ 963061 h 6858000"/>
              <a:gd name="connsiteX849" fmla="*/ 4889647 w 7467600"/>
              <a:gd name="connsiteY849" fmla="*/ 957147 h 6858000"/>
              <a:gd name="connsiteX850" fmla="*/ 5422504 w 7467600"/>
              <a:gd name="connsiteY850" fmla="*/ 805191 h 6858000"/>
              <a:gd name="connsiteX851" fmla="*/ 6087656 w 7467600"/>
              <a:gd name="connsiteY851" fmla="*/ 826703 h 6858000"/>
              <a:gd name="connsiteX852" fmla="*/ 6058717 w 7467600"/>
              <a:gd name="connsiteY852" fmla="*/ 865992 h 6858000"/>
              <a:gd name="connsiteX853" fmla="*/ 4974153 w 7467600"/>
              <a:gd name="connsiteY853" fmla="*/ 1045456 h 6858000"/>
              <a:gd name="connsiteX854" fmla="*/ 5627835 w 7467600"/>
              <a:gd name="connsiteY854" fmla="*/ 1472077 h 6858000"/>
              <a:gd name="connsiteX855" fmla="*/ 5629817 w 7467600"/>
              <a:gd name="connsiteY855" fmla="*/ 1471412 h 6858000"/>
              <a:gd name="connsiteX856" fmla="*/ 5634124 w 7467600"/>
              <a:gd name="connsiteY856" fmla="*/ 1470572 h 6858000"/>
              <a:gd name="connsiteX857" fmla="*/ 5755832 w 7467600"/>
              <a:gd name="connsiteY857" fmla="*/ 1383886 h 6858000"/>
              <a:gd name="connsiteX858" fmla="*/ 6014186 w 7467600"/>
              <a:gd name="connsiteY858" fmla="*/ 1279799 h 6858000"/>
              <a:gd name="connsiteX859" fmla="*/ 6901619 w 7467600"/>
              <a:gd name="connsiteY859" fmla="*/ 1047874 h 6858000"/>
              <a:gd name="connsiteX860" fmla="*/ 6931566 w 7467600"/>
              <a:gd name="connsiteY860" fmla="*/ 1062034 h 6858000"/>
              <a:gd name="connsiteX861" fmla="*/ 5790982 w 7467600"/>
              <a:gd name="connsiteY861" fmla="*/ 1561380 h 6858000"/>
              <a:gd name="connsiteX862" fmla="*/ 6188971 w 7467600"/>
              <a:gd name="connsiteY862" fmla="*/ 1755168 h 6858000"/>
              <a:gd name="connsiteX863" fmla="*/ 6202446 w 7467600"/>
              <a:gd name="connsiteY863" fmla="*/ 1752268 h 6858000"/>
              <a:gd name="connsiteX864" fmla="*/ 7179560 w 7467600"/>
              <a:gd name="connsiteY864" fmla="*/ 1467551 h 6858000"/>
              <a:gd name="connsiteX865" fmla="*/ 7158730 w 7467600"/>
              <a:gd name="connsiteY865" fmla="*/ 1507835 h 6858000"/>
              <a:gd name="connsiteX866" fmla="*/ 6326959 w 7467600"/>
              <a:gd name="connsiteY866" fmla="*/ 1817686 h 6858000"/>
              <a:gd name="connsiteX867" fmla="*/ 6537433 w 7467600"/>
              <a:gd name="connsiteY867" fmla="*/ 1907790 h 6858000"/>
              <a:gd name="connsiteX868" fmla="*/ 6550221 w 7467600"/>
              <a:gd name="connsiteY868" fmla="*/ 1910729 h 6858000"/>
              <a:gd name="connsiteX869" fmla="*/ 6964438 w 7467600"/>
              <a:gd name="connsiteY869" fmla="*/ 2209505 h 6858000"/>
              <a:gd name="connsiteX870" fmla="*/ 7367862 w 7467600"/>
              <a:gd name="connsiteY870" fmla="*/ 2806833 h 6858000"/>
              <a:gd name="connsiteX871" fmla="*/ 7364329 w 7467600"/>
              <a:gd name="connsiteY871" fmla="*/ 2826907 h 6858000"/>
              <a:gd name="connsiteX872" fmla="*/ 7290545 w 7467600"/>
              <a:gd name="connsiteY872" fmla="*/ 2850663 h 6858000"/>
              <a:gd name="connsiteX873" fmla="*/ 6472036 w 7467600"/>
              <a:gd name="connsiteY873" fmla="*/ 1959003 h 6858000"/>
              <a:gd name="connsiteX874" fmla="*/ 5792897 w 7467600"/>
              <a:gd name="connsiteY874" fmla="*/ 1647747 h 6858000"/>
              <a:gd name="connsiteX875" fmla="*/ 5842751 w 7467600"/>
              <a:gd name="connsiteY875" fmla="*/ 1816112 h 6858000"/>
              <a:gd name="connsiteX876" fmla="*/ 5847424 w 7467600"/>
              <a:gd name="connsiteY876" fmla="*/ 1815776 h 6858000"/>
              <a:gd name="connsiteX877" fmla="*/ 6399821 w 7467600"/>
              <a:gd name="connsiteY877" fmla="*/ 2344799 h 6858000"/>
              <a:gd name="connsiteX878" fmla="*/ 6323232 w 7467600"/>
              <a:gd name="connsiteY878" fmla="*/ 2389634 h 6858000"/>
              <a:gd name="connsiteX879" fmla="*/ 5942958 w 7467600"/>
              <a:gd name="connsiteY879" fmla="*/ 2077708 h 6858000"/>
              <a:gd name="connsiteX880" fmla="*/ 5921559 w 7467600"/>
              <a:gd name="connsiteY880" fmla="*/ 2378596 h 6858000"/>
              <a:gd name="connsiteX881" fmla="*/ 5817651 w 7467600"/>
              <a:gd name="connsiteY881" fmla="*/ 3023919 h 6858000"/>
              <a:gd name="connsiteX882" fmla="*/ 5729634 w 7467600"/>
              <a:gd name="connsiteY882" fmla="*/ 3051849 h 6858000"/>
              <a:gd name="connsiteX883" fmla="*/ 5611018 w 7467600"/>
              <a:gd name="connsiteY883" fmla="*/ 2316769 h 6858000"/>
              <a:gd name="connsiteX884" fmla="*/ 5687608 w 7467600"/>
              <a:gd name="connsiteY884" fmla="*/ 2039972 h 6858000"/>
              <a:gd name="connsiteX885" fmla="*/ 5657554 w 7467600"/>
              <a:gd name="connsiteY885" fmla="*/ 1576445 h 6858000"/>
              <a:gd name="connsiteX886" fmla="*/ 5150475 w 7467600"/>
              <a:gd name="connsiteY886" fmla="*/ 1274012 h 6858000"/>
              <a:gd name="connsiteX887" fmla="*/ 5349142 w 7467600"/>
              <a:gd name="connsiteY887" fmla="*/ 2204405 h 6858000"/>
              <a:gd name="connsiteX888" fmla="*/ 5262214 w 7467600"/>
              <a:gd name="connsiteY888" fmla="*/ 2233836 h 6858000"/>
              <a:gd name="connsiteX889" fmla="*/ 4981539 w 7467600"/>
              <a:gd name="connsiteY889" fmla="*/ 1542201 h 6858000"/>
              <a:gd name="connsiteX890" fmla="*/ 4958461 w 7467600"/>
              <a:gd name="connsiteY890" fmla="*/ 1136957 h 6858000"/>
              <a:gd name="connsiteX891" fmla="*/ 4655015 w 7467600"/>
              <a:gd name="connsiteY891" fmla="*/ 891426 h 6858000"/>
              <a:gd name="connsiteX892" fmla="*/ 4348002 w 7467600"/>
              <a:gd name="connsiteY892" fmla="*/ 2205895 h 6858000"/>
              <a:gd name="connsiteX893" fmla="*/ 4262250 w 7467600"/>
              <a:gd name="connsiteY893" fmla="*/ 2219972 h 6858000"/>
              <a:gd name="connsiteX894" fmla="*/ 4550611 w 7467600"/>
              <a:gd name="connsiteY894" fmla="*/ 817540 h 6858000"/>
              <a:gd name="connsiteX895" fmla="*/ 4564418 w 7467600"/>
              <a:gd name="connsiteY895" fmla="*/ 808293 h 6858000"/>
              <a:gd name="connsiteX896" fmla="*/ 4266388 w 7467600"/>
              <a:gd name="connsiteY896" fmla="*/ 500083 h 6858000"/>
              <a:gd name="connsiteX897" fmla="*/ 4032842 w 7467600"/>
              <a:gd name="connsiteY897" fmla="*/ 211809 h 6858000"/>
              <a:gd name="connsiteX898" fmla="*/ 3882765 w 7467600"/>
              <a:gd name="connsiteY898" fmla="*/ 0 h 6858000"/>
              <a:gd name="connsiteX899" fmla="*/ 3721337 w 7467600"/>
              <a:gd name="connsiteY899" fmla="*/ 0 h 6858000"/>
              <a:gd name="connsiteX900" fmla="*/ 3797544 w 7467600"/>
              <a:gd name="connsiteY900" fmla="*/ 0 h 6858000"/>
              <a:gd name="connsiteX901" fmla="*/ 3775734 w 7467600"/>
              <a:gd name="connsiteY901" fmla="*/ 95131 h 6858000"/>
              <a:gd name="connsiteX902" fmla="*/ 3724807 w 7467600"/>
              <a:gd name="connsiteY902" fmla="*/ 272257 h 6858000"/>
              <a:gd name="connsiteX903" fmla="*/ 3726844 w 7467600"/>
              <a:gd name="connsiteY903" fmla="*/ 282988 h 6858000"/>
              <a:gd name="connsiteX904" fmla="*/ 3742664 w 7467600"/>
              <a:gd name="connsiteY904" fmla="*/ 279918 h 6858000"/>
              <a:gd name="connsiteX905" fmla="*/ 4103910 w 7467600"/>
              <a:gd name="connsiteY905" fmla="*/ 1161917 h 6858000"/>
              <a:gd name="connsiteX906" fmla="*/ 4020269 w 7467600"/>
              <a:gd name="connsiteY906" fmla="*/ 1200406 h 6858000"/>
              <a:gd name="connsiteX907" fmla="*/ 3674882 w 7467600"/>
              <a:gd name="connsiteY907" fmla="*/ 488524 h 6858000"/>
              <a:gd name="connsiteX908" fmla="*/ 3132682 w 7467600"/>
              <a:gd name="connsiteY908" fmla="*/ 1072284 h 6858000"/>
              <a:gd name="connsiteX909" fmla="*/ 2716346 w 7467600"/>
              <a:gd name="connsiteY909" fmla="*/ 1276376 h 6858000"/>
              <a:gd name="connsiteX910" fmla="*/ 2716772 w 7467600"/>
              <a:gd name="connsiteY910" fmla="*/ 1255462 h 6858000"/>
              <a:gd name="connsiteX911" fmla="*/ 3471096 w 7467600"/>
              <a:gd name="connsiteY911" fmla="*/ 437072 h 6858000"/>
              <a:gd name="connsiteX912" fmla="*/ 3639057 w 7467600"/>
              <a:gd name="connsiteY912" fmla="*/ 286334 h 6858000"/>
              <a:gd name="connsiteX913" fmla="*/ 3640309 w 7467600"/>
              <a:gd name="connsiteY913" fmla="*/ 284664 h 6858000"/>
              <a:gd name="connsiteX914" fmla="*/ 3646022 w 7467600"/>
              <a:gd name="connsiteY914" fmla="*/ 276711 h 6858000"/>
              <a:gd name="connsiteX915" fmla="*/ 3707943 w 7467600"/>
              <a:gd name="connsiteY915" fmla="*/ 65958 h 6858000"/>
              <a:gd name="connsiteX916" fmla="*/ 3721337 w 7467600"/>
              <a:gd name="connsiteY916" fmla="*/ 0 h 6858000"/>
              <a:gd name="connsiteX917" fmla="*/ 2867960 w 7467600"/>
              <a:gd name="connsiteY917" fmla="*/ 0 h 6858000"/>
              <a:gd name="connsiteX918" fmla="*/ 2926351 w 7467600"/>
              <a:gd name="connsiteY918" fmla="*/ 0 h 6858000"/>
              <a:gd name="connsiteX919" fmla="*/ 2902823 w 7467600"/>
              <a:gd name="connsiteY919" fmla="*/ 262929 h 6858000"/>
              <a:gd name="connsiteX920" fmla="*/ 2940663 w 7467600"/>
              <a:gd name="connsiteY920" fmla="*/ 140884 h 6858000"/>
              <a:gd name="connsiteX921" fmla="*/ 2947039 w 7467600"/>
              <a:gd name="connsiteY921" fmla="*/ 122524 h 6858000"/>
              <a:gd name="connsiteX922" fmla="*/ 2984316 w 7467600"/>
              <a:gd name="connsiteY922" fmla="*/ 0 h 6858000"/>
              <a:gd name="connsiteX923" fmla="*/ 3016114 w 7467600"/>
              <a:gd name="connsiteY923" fmla="*/ 0 h 6858000"/>
              <a:gd name="connsiteX924" fmla="*/ 2979949 w 7467600"/>
              <a:gd name="connsiteY924" fmla="*/ 119274 h 6858000"/>
              <a:gd name="connsiteX925" fmla="*/ 3023879 w 7467600"/>
              <a:gd name="connsiteY925" fmla="*/ 0 h 6858000"/>
              <a:gd name="connsiteX926" fmla="*/ 3105400 w 7467600"/>
              <a:gd name="connsiteY926" fmla="*/ 0 h 6858000"/>
              <a:gd name="connsiteX927" fmla="*/ 3094669 w 7467600"/>
              <a:gd name="connsiteY927" fmla="*/ 30308 h 6858000"/>
              <a:gd name="connsiteX928" fmla="*/ 2901945 w 7467600"/>
              <a:gd name="connsiteY928" fmla="*/ 466538 h 6858000"/>
              <a:gd name="connsiteX929" fmla="*/ 2815209 w 7467600"/>
              <a:gd name="connsiteY929" fmla="*/ 497361 h 6858000"/>
              <a:gd name="connsiteX930" fmla="*/ 2844845 w 7467600"/>
              <a:gd name="connsiteY930" fmla="*/ 127638 h 6858000"/>
              <a:gd name="connsiteX931" fmla="*/ 2867960 w 7467600"/>
              <a:gd name="connsiteY931" fmla="*/ 0 h 6858000"/>
              <a:gd name="connsiteX932" fmla="*/ 1057230 w 7467600"/>
              <a:gd name="connsiteY932" fmla="*/ 0 h 6858000"/>
              <a:gd name="connsiteX933" fmla="*/ 1111003 w 7467600"/>
              <a:gd name="connsiteY933" fmla="*/ 0 h 6858000"/>
              <a:gd name="connsiteX934" fmla="*/ 1125553 w 7467600"/>
              <a:gd name="connsiteY934" fmla="*/ 52588 h 6858000"/>
              <a:gd name="connsiteX935" fmla="*/ 1304276 w 7467600"/>
              <a:gd name="connsiteY935" fmla="*/ 476275 h 6858000"/>
              <a:gd name="connsiteX936" fmla="*/ 1492066 w 7467600"/>
              <a:gd name="connsiteY936" fmla="*/ 886333 h 6858000"/>
              <a:gd name="connsiteX937" fmla="*/ 1423698 w 7467600"/>
              <a:gd name="connsiteY937" fmla="*/ 710817 h 6858000"/>
              <a:gd name="connsiteX938" fmla="*/ 1357609 w 7467600"/>
              <a:gd name="connsiteY938" fmla="*/ 532892 h 6858000"/>
              <a:gd name="connsiteX939" fmla="*/ 1309550 w 7467600"/>
              <a:gd name="connsiteY939" fmla="*/ 374031 h 6858000"/>
              <a:gd name="connsiteX940" fmla="*/ 1193673 w 7467600"/>
              <a:gd name="connsiteY940" fmla="*/ 49533 h 6858000"/>
              <a:gd name="connsiteX941" fmla="*/ 1164391 w 7467600"/>
              <a:gd name="connsiteY941" fmla="*/ 0 h 6858000"/>
              <a:gd name="connsiteX942" fmla="*/ 1200666 w 7467600"/>
              <a:gd name="connsiteY942" fmla="*/ 0 h 6858000"/>
              <a:gd name="connsiteX943" fmla="*/ 1223408 w 7467600"/>
              <a:gd name="connsiteY943" fmla="*/ 38996 h 6858000"/>
              <a:gd name="connsiteX944" fmla="*/ 1339635 w 7467600"/>
              <a:gd name="connsiteY944" fmla="*/ 365517 h 6858000"/>
              <a:gd name="connsiteX945" fmla="*/ 1387469 w 7467600"/>
              <a:gd name="connsiteY945" fmla="*/ 523079 h 6858000"/>
              <a:gd name="connsiteX946" fmla="*/ 1452685 w 7467600"/>
              <a:gd name="connsiteY946" fmla="*/ 699806 h 6858000"/>
              <a:gd name="connsiteX947" fmla="*/ 1492092 w 7467600"/>
              <a:gd name="connsiteY947" fmla="*/ 800424 h 6858000"/>
              <a:gd name="connsiteX948" fmla="*/ 1455302 w 7467600"/>
              <a:gd name="connsiteY948" fmla="*/ 632913 h 6858000"/>
              <a:gd name="connsiteX949" fmla="*/ 1222336 w 7467600"/>
              <a:gd name="connsiteY949" fmla="*/ 9480 h 6858000"/>
              <a:gd name="connsiteX950" fmla="*/ 1214634 w 7467600"/>
              <a:gd name="connsiteY950" fmla="*/ 0 h 6858000"/>
              <a:gd name="connsiteX951" fmla="*/ 1289827 w 7467600"/>
              <a:gd name="connsiteY951" fmla="*/ 0 h 6858000"/>
              <a:gd name="connsiteX952" fmla="*/ 1321076 w 7467600"/>
              <a:gd name="connsiteY952" fmla="*/ 59722 h 6858000"/>
              <a:gd name="connsiteX953" fmla="*/ 1512579 w 7467600"/>
              <a:gd name="connsiteY953" fmla="*/ 626441 h 6858000"/>
              <a:gd name="connsiteX954" fmla="*/ 1506076 w 7467600"/>
              <a:gd name="connsiteY954" fmla="*/ 1089289 h 6858000"/>
              <a:gd name="connsiteX955" fmla="*/ 1486346 w 7467600"/>
              <a:gd name="connsiteY955" fmla="*/ 1079919 h 6858000"/>
              <a:gd name="connsiteX956" fmla="*/ 1070511 w 7467600"/>
              <a:gd name="connsiteY956" fmla="*/ 48609 h 6858000"/>
              <a:gd name="connsiteX957" fmla="*/ 1057230 w 7467600"/>
              <a:gd name="connsiteY957" fmla="*/ 0 h 6858000"/>
              <a:gd name="connsiteX958" fmla="*/ 43151 w 7467600"/>
              <a:gd name="connsiteY958" fmla="*/ 0 h 6858000"/>
              <a:gd name="connsiteX959" fmla="*/ 95283 w 7467600"/>
              <a:gd name="connsiteY959" fmla="*/ 0 h 6858000"/>
              <a:gd name="connsiteX960" fmla="*/ 300708 w 7467600"/>
              <a:gd name="connsiteY960" fmla="*/ 154571 h 6858000"/>
              <a:gd name="connsiteX961" fmla="*/ 530414 w 7467600"/>
              <a:gd name="connsiteY961" fmla="*/ 354673 h 6858000"/>
              <a:gd name="connsiteX962" fmla="*/ 333785 w 7467600"/>
              <a:gd name="connsiteY962" fmla="*/ 161564 h 6858000"/>
              <a:gd name="connsiteX963" fmla="*/ 147005 w 7467600"/>
              <a:gd name="connsiteY963" fmla="*/ 0 h 6858000"/>
              <a:gd name="connsiteX964" fmla="*/ 272509 w 7467600"/>
              <a:gd name="connsiteY964" fmla="*/ 0 h 6858000"/>
              <a:gd name="connsiteX965" fmla="*/ 326276 w 7467600"/>
              <a:gd name="connsiteY965" fmla="*/ 45847 h 6858000"/>
              <a:gd name="connsiteX966" fmla="*/ 823759 w 7467600"/>
              <a:gd name="connsiteY966" fmla="*/ 574145 h 6858000"/>
              <a:gd name="connsiteX967" fmla="*/ 811254 w 7467600"/>
              <a:gd name="connsiteY967" fmla="*/ 665546 h 6858000"/>
              <a:gd name="connsiteX968" fmla="*/ 154042 w 7467600"/>
              <a:gd name="connsiteY968" fmla="*/ 261522 h 6858000"/>
              <a:gd name="connsiteX969" fmla="*/ 13550 w 7467600"/>
              <a:gd name="connsiteY969" fmla="*/ 158423 h 6858000"/>
              <a:gd name="connsiteX970" fmla="*/ 0 w 7467600"/>
              <a:gd name="connsiteY970" fmla="*/ 146618 h 6858000"/>
              <a:gd name="connsiteX971" fmla="*/ 0 w 7467600"/>
              <a:gd name="connsiteY971" fmla="*/ 59161 h 6858000"/>
              <a:gd name="connsiteX972" fmla="*/ 45427 w 7467600"/>
              <a:gd name="connsiteY972" fmla="*/ 101078 h 6858000"/>
              <a:gd name="connsiteX973" fmla="*/ 630103 w 7467600"/>
              <a:gd name="connsiteY973" fmla="*/ 485885 h 6858000"/>
              <a:gd name="connsiteX974" fmla="*/ 532040 w 7467600"/>
              <a:gd name="connsiteY974" fmla="*/ 399359 h 6858000"/>
              <a:gd name="connsiteX975" fmla="*/ 517618 w 7467600"/>
              <a:gd name="connsiteY975" fmla="*/ 385726 h 6858000"/>
              <a:gd name="connsiteX976" fmla="*/ 285074 w 7467600"/>
              <a:gd name="connsiteY976" fmla="*/ 182755 h 6858000"/>
              <a:gd name="connsiteX977" fmla="*/ 43151 w 7467600"/>
              <a:gd name="connsiteY977"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6844835 w 7467600"/>
              <a:gd name="connsiteY74" fmla="*/ 5424988 h 6858000"/>
              <a:gd name="connsiteX75" fmla="*/ 6879594 w 7467600"/>
              <a:gd name="connsiteY75" fmla="*/ 5424547 h 6858000"/>
              <a:gd name="connsiteX76" fmla="*/ 7379510 w 7467600"/>
              <a:gd name="connsiteY76" fmla="*/ 5755454 h 6858000"/>
              <a:gd name="connsiteX77" fmla="*/ 7467600 w 7467600"/>
              <a:gd name="connsiteY77" fmla="*/ 5845526 h 6858000"/>
              <a:gd name="connsiteX78" fmla="*/ 7467600 w 7467600"/>
              <a:gd name="connsiteY78" fmla="*/ 5925131 h 6858000"/>
              <a:gd name="connsiteX79" fmla="*/ 7271900 w 7467600"/>
              <a:gd name="connsiteY79" fmla="*/ 5734551 h 6858000"/>
              <a:gd name="connsiteX80" fmla="*/ 7015907 w 7467600"/>
              <a:gd name="connsiteY80" fmla="*/ 5541548 h 6858000"/>
              <a:gd name="connsiteX81" fmla="*/ 7259646 w 7467600"/>
              <a:gd name="connsiteY81" fmla="*/ 5765985 h 6858000"/>
              <a:gd name="connsiteX82" fmla="*/ 7467600 w 7467600"/>
              <a:gd name="connsiteY82" fmla="*/ 6012219 h 6858000"/>
              <a:gd name="connsiteX83" fmla="*/ 6946849 w 7467600"/>
              <a:gd name="connsiteY83" fmla="*/ 5523271 h 6858000"/>
              <a:gd name="connsiteX84" fmla="*/ 6946972 w 7467600"/>
              <a:gd name="connsiteY84" fmla="*/ 5526491 h 6858000"/>
              <a:gd name="connsiteX85" fmla="*/ 7105827 w 7467600"/>
              <a:gd name="connsiteY85" fmla="*/ 5718700 h 6858000"/>
              <a:gd name="connsiteX86" fmla="*/ 7356878 w 7467600"/>
              <a:gd name="connsiteY86" fmla="*/ 5981332 h 6858000"/>
              <a:gd name="connsiteX87" fmla="*/ 7467600 w 7467600"/>
              <a:gd name="connsiteY87" fmla="*/ 6117703 h 6858000"/>
              <a:gd name="connsiteX88" fmla="*/ 7467600 w 7467600"/>
              <a:gd name="connsiteY88" fmla="*/ 6163634 h 6858000"/>
              <a:gd name="connsiteX89" fmla="*/ 7403637 w 7467600"/>
              <a:gd name="connsiteY89" fmla="*/ 6083957 h 6858000"/>
              <a:gd name="connsiteX90" fmla="*/ 7254615 w 7467600"/>
              <a:gd name="connsiteY90" fmla="*/ 5911918 h 6858000"/>
              <a:gd name="connsiteX91" fmla="*/ 7312589 w 7467600"/>
              <a:gd name="connsiteY91" fmla="*/ 5982309 h 6858000"/>
              <a:gd name="connsiteX92" fmla="*/ 7448321 w 7467600"/>
              <a:gd name="connsiteY92" fmla="*/ 6190991 h 6858000"/>
              <a:gd name="connsiteX93" fmla="*/ 7467600 w 7467600"/>
              <a:gd name="connsiteY93" fmla="*/ 6221686 h 6858000"/>
              <a:gd name="connsiteX94" fmla="*/ 7467600 w 7467600"/>
              <a:gd name="connsiteY94" fmla="*/ 6334256 h 6858000"/>
              <a:gd name="connsiteX95" fmla="*/ 7454976 w 7467600"/>
              <a:gd name="connsiteY95" fmla="*/ 6318297 h 6858000"/>
              <a:gd name="connsiteX96" fmla="*/ 7042773 w 7467600"/>
              <a:gd name="connsiteY96" fmla="*/ 5734011 h 6858000"/>
              <a:gd name="connsiteX97" fmla="*/ 6844835 w 7467600"/>
              <a:gd name="connsiteY97" fmla="*/ 5424988 h 6858000"/>
              <a:gd name="connsiteX98" fmla="*/ 1456157 w 7467600"/>
              <a:gd name="connsiteY98" fmla="*/ 5371404 h 6858000"/>
              <a:gd name="connsiteX99" fmla="*/ 1244432 w 7467600"/>
              <a:gd name="connsiteY99" fmla="*/ 5385601 h 6858000"/>
              <a:gd name="connsiteX100" fmla="*/ 973990 w 7467600"/>
              <a:gd name="connsiteY100" fmla="*/ 5424940 h 6858000"/>
              <a:gd name="connsiteX101" fmla="*/ 1103809 w 7467600"/>
              <a:gd name="connsiteY101" fmla="*/ 5433720 h 6858000"/>
              <a:gd name="connsiteX102" fmla="*/ 1123454 w 7467600"/>
              <a:gd name="connsiteY102" fmla="*/ 5435727 h 6858000"/>
              <a:gd name="connsiteX103" fmla="*/ 1737017 w 7467600"/>
              <a:gd name="connsiteY103" fmla="*/ 5452183 h 6858000"/>
              <a:gd name="connsiteX104" fmla="*/ 1824397 w 7467600"/>
              <a:gd name="connsiteY104" fmla="*/ 5447757 h 6858000"/>
              <a:gd name="connsiteX105" fmla="*/ 2070059 w 7467600"/>
              <a:gd name="connsiteY105" fmla="*/ 5441660 h 6858000"/>
              <a:gd name="connsiteX106" fmla="*/ 1456157 w 7467600"/>
              <a:gd name="connsiteY106" fmla="*/ 5371404 h 6858000"/>
              <a:gd name="connsiteX107" fmla="*/ 4988186 w 7467600"/>
              <a:gd name="connsiteY107" fmla="*/ 5216467 h 6858000"/>
              <a:gd name="connsiteX108" fmla="*/ 4777334 w 7467600"/>
              <a:gd name="connsiteY108" fmla="*/ 5406072 h 6858000"/>
              <a:gd name="connsiteX109" fmla="*/ 4718341 w 7467600"/>
              <a:gd name="connsiteY109" fmla="*/ 5468043 h 6858000"/>
              <a:gd name="connsiteX110" fmla="*/ 4604655 w 7467600"/>
              <a:gd name="connsiteY110" fmla="*/ 5583434 h 6858000"/>
              <a:gd name="connsiteX111" fmla="*/ 4565074 w 7467600"/>
              <a:gd name="connsiteY111" fmla="*/ 5618550 h 6858000"/>
              <a:gd name="connsiteX112" fmla="*/ 4988186 w 7467600"/>
              <a:gd name="connsiteY112" fmla="*/ 5216467 h 6858000"/>
              <a:gd name="connsiteX113" fmla="*/ 4978032 w 7467600"/>
              <a:gd name="connsiteY113" fmla="*/ 5183809 h 6858000"/>
              <a:gd name="connsiteX114" fmla="*/ 4463413 w 7467600"/>
              <a:gd name="connsiteY114" fmla="*/ 5615162 h 6858000"/>
              <a:gd name="connsiteX115" fmla="*/ 4358134 w 7467600"/>
              <a:gd name="connsiteY115" fmla="*/ 5742791 h 6858000"/>
              <a:gd name="connsiteX116" fmla="*/ 4376219 w 7467600"/>
              <a:gd name="connsiteY116" fmla="*/ 5729027 h 6858000"/>
              <a:gd name="connsiteX117" fmla="*/ 4582340 w 7467600"/>
              <a:gd name="connsiteY117" fmla="*/ 5561037 h 6858000"/>
              <a:gd name="connsiteX118" fmla="*/ 4694684 w 7467600"/>
              <a:gd name="connsiteY118" fmla="*/ 5447098 h 6858000"/>
              <a:gd name="connsiteX119" fmla="*/ 4754123 w 7467600"/>
              <a:gd name="connsiteY119" fmla="*/ 5384643 h 6858000"/>
              <a:gd name="connsiteX120" fmla="*/ 4978032 w 7467600"/>
              <a:gd name="connsiteY120" fmla="*/ 5183809 h 6858000"/>
              <a:gd name="connsiteX121" fmla="*/ 1903353 w 7467600"/>
              <a:gd name="connsiteY121" fmla="*/ 5044827 h 6858000"/>
              <a:gd name="connsiteX122" fmla="*/ 1936931 w 7467600"/>
              <a:gd name="connsiteY122" fmla="*/ 5093954 h 6858000"/>
              <a:gd name="connsiteX123" fmla="*/ 2195868 w 7467600"/>
              <a:gd name="connsiteY123" fmla="*/ 5396574 h 6858000"/>
              <a:gd name="connsiteX124" fmla="*/ 2088852 w 7467600"/>
              <a:gd name="connsiteY124" fmla="*/ 5166123 h 6858000"/>
              <a:gd name="connsiteX125" fmla="*/ 1958241 w 7467600"/>
              <a:gd name="connsiteY125" fmla="*/ 5067955 h 6858000"/>
              <a:gd name="connsiteX126" fmla="*/ 1903353 w 7467600"/>
              <a:gd name="connsiteY126" fmla="*/ 5044827 h 6858000"/>
              <a:gd name="connsiteX127" fmla="*/ 1979378 w 7467600"/>
              <a:gd name="connsiteY127" fmla="*/ 4769504 h 6858000"/>
              <a:gd name="connsiteX128" fmla="*/ 2882120 w 7467600"/>
              <a:gd name="connsiteY128" fmla="*/ 5064547 h 6858000"/>
              <a:gd name="connsiteX129" fmla="*/ 2793103 w 7467600"/>
              <a:gd name="connsiteY129" fmla="*/ 5039699 h 6858000"/>
              <a:gd name="connsiteX130" fmla="*/ 2770041 w 7467600"/>
              <a:gd name="connsiteY130" fmla="*/ 5033634 h 6858000"/>
              <a:gd name="connsiteX131" fmla="*/ 1979378 w 7467600"/>
              <a:gd name="connsiteY131" fmla="*/ 4769504 h 6858000"/>
              <a:gd name="connsiteX132" fmla="*/ 1927410 w 7467600"/>
              <a:gd name="connsiteY132" fmla="*/ 4716164 h 6858000"/>
              <a:gd name="connsiteX133" fmla="*/ 1959587 w 7467600"/>
              <a:gd name="connsiteY133" fmla="*/ 4728849 h 6858000"/>
              <a:gd name="connsiteX134" fmla="*/ 2777707 w 7467600"/>
              <a:gd name="connsiteY134" fmla="*/ 5003991 h 6858000"/>
              <a:gd name="connsiteX135" fmla="*/ 2800768 w 7467600"/>
              <a:gd name="connsiteY135" fmla="*/ 5010056 h 6858000"/>
              <a:gd name="connsiteX136" fmla="*/ 2879408 w 7467600"/>
              <a:gd name="connsiteY136" fmla="*/ 5031590 h 6858000"/>
              <a:gd name="connsiteX137" fmla="*/ 2862295 w 7467600"/>
              <a:gd name="connsiteY137" fmla="*/ 5022958 h 6858000"/>
              <a:gd name="connsiteX138" fmla="*/ 2813343 w 7467600"/>
              <a:gd name="connsiteY138" fmla="*/ 4998369 h 6858000"/>
              <a:gd name="connsiteX139" fmla="*/ 2646245 w 7467600"/>
              <a:gd name="connsiteY139" fmla="*/ 4930999 h 6858000"/>
              <a:gd name="connsiteX140" fmla="*/ 1999243 w 7467600"/>
              <a:gd name="connsiteY140" fmla="*/ 4730524 h 6858000"/>
              <a:gd name="connsiteX141" fmla="*/ 1979527 w 7467600"/>
              <a:gd name="connsiteY141" fmla="*/ 4726651 h 6858000"/>
              <a:gd name="connsiteX142" fmla="*/ 1927410 w 7467600"/>
              <a:gd name="connsiteY142" fmla="*/ 4716164 h 6858000"/>
              <a:gd name="connsiteX143" fmla="*/ 1997014 w 7467600"/>
              <a:gd name="connsiteY143" fmla="*/ 4698007 h 6858000"/>
              <a:gd name="connsiteX144" fmla="*/ 2005458 w 7467600"/>
              <a:gd name="connsiteY144" fmla="*/ 4699540 h 6858000"/>
              <a:gd name="connsiteX145" fmla="*/ 2657186 w 7467600"/>
              <a:gd name="connsiteY145" fmla="*/ 4901687 h 6858000"/>
              <a:gd name="connsiteX146" fmla="*/ 2826662 w 7467600"/>
              <a:gd name="connsiteY146" fmla="*/ 4970362 h 6858000"/>
              <a:gd name="connsiteX147" fmla="*/ 2876100 w 7467600"/>
              <a:gd name="connsiteY147" fmla="*/ 4995397 h 6858000"/>
              <a:gd name="connsiteX148" fmla="*/ 3042600 w 7467600"/>
              <a:gd name="connsiteY148" fmla="*/ 5059532 h 6858000"/>
              <a:gd name="connsiteX149" fmla="*/ 1997014 w 7467600"/>
              <a:gd name="connsiteY149" fmla="*/ 4698007 h 6858000"/>
              <a:gd name="connsiteX150" fmla="*/ 2305292 w 7467600"/>
              <a:gd name="connsiteY150" fmla="*/ 4219492 h 6858000"/>
              <a:gd name="connsiteX151" fmla="*/ 3360922 w 7467600"/>
              <a:gd name="connsiteY151" fmla="*/ 4529373 h 6858000"/>
              <a:gd name="connsiteX152" fmla="*/ 3492420 w 7467600"/>
              <a:gd name="connsiteY152" fmla="*/ 4510145 h 6858000"/>
              <a:gd name="connsiteX153" fmla="*/ 3364086 w 7467600"/>
              <a:gd name="connsiteY153" fmla="*/ 4480340 h 6858000"/>
              <a:gd name="connsiteX154" fmla="*/ 3225818 w 7467600"/>
              <a:gd name="connsiteY154" fmla="*/ 4411822 h 6858000"/>
              <a:gd name="connsiteX155" fmla="*/ 3129696 w 7467600"/>
              <a:gd name="connsiteY155" fmla="*/ 4360704 h 6858000"/>
              <a:gd name="connsiteX156" fmla="*/ 2814545 w 7467600"/>
              <a:gd name="connsiteY156" fmla="*/ 4282955 h 6858000"/>
              <a:gd name="connsiteX157" fmla="*/ 2305292 w 7467600"/>
              <a:gd name="connsiteY157" fmla="*/ 4219492 h 6858000"/>
              <a:gd name="connsiteX158" fmla="*/ 2626982 w 7467600"/>
              <a:gd name="connsiteY158" fmla="*/ 4206450 h 6858000"/>
              <a:gd name="connsiteX159" fmla="*/ 2490617 w 7467600"/>
              <a:gd name="connsiteY159" fmla="*/ 4206951 h 6858000"/>
              <a:gd name="connsiteX160" fmla="*/ 2819869 w 7467600"/>
              <a:gd name="connsiteY160" fmla="*/ 4252936 h 6858000"/>
              <a:gd name="connsiteX161" fmla="*/ 3143018 w 7467600"/>
              <a:gd name="connsiteY161" fmla="*/ 4332698 h 6858000"/>
              <a:gd name="connsiteX162" fmla="*/ 3241520 w 7467600"/>
              <a:gd name="connsiteY162" fmla="*/ 4385112 h 6858000"/>
              <a:gd name="connsiteX163" fmla="*/ 3374575 w 7467600"/>
              <a:gd name="connsiteY163" fmla="*/ 4451517 h 6858000"/>
              <a:gd name="connsiteX164" fmla="*/ 3505221 w 7467600"/>
              <a:gd name="connsiteY164" fmla="*/ 4480757 h 6858000"/>
              <a:gd name="connsiteX165" fmla="*/ 2626982 w 7467600"/>
              <a:gd name="connsiteY165" fmla="*/ 4206450 h 6858000"/>
              <a:gd name="connsiteX166" fmla="*/ 1310106 w 7467600"/>
              <a:gd name="connsiteY166" fmla="*/ 3943217 h 6858000"/>
              <a:gd name="connsiteX167" fmla="*/ 854994 w 7467600"/>
              <a:gd name="connsiteY167" fmla="*/ 4399136 h 6858000"/>
              <a:gd name="connsiteX168" fmla="*/ 742462 w 7467600"/>
              <a:gd name="connsiteY168" fmla="*/ 4594648 h 6858000"/>
              <a:gd name="connsiteX169" fmla="*/ 820602 w 7467600"/>
              <a:gd name="connsiteY169" fmla="*/ 4485915 h 6858000"/>
              <a:gd name="connsiteX170" fmla="*/ 878295 w 7467600"/>
              <a:gd name="connsiteY170" fmla="*/ 4403594 h 6858000"/>
              <a:gd name="connsiteX171" fmla="*/ 1240607 w 7467600"/>
              <a:gd name="connsiteY171" fmla="*/ 4010401 h 6858000"/>
              <a:gd name="connsiteX172" fmla="*/ 1310106 w 7467600"/>
              <a:gd name="connsiteY172" fmla="*/ 3943217 h 6858000"/>
              <a:gd name="connsiteX173" fmla="*/ 1423113 w 7467600"/>
              <a:gd name="connsiteY173" fmla="*/ 3874565 h 6858000"/>
              <a:gd name="connsiteX174" fmla="*/ 1260565 w 7467600"/>
              <a:gd name="connsiteY174" fmla="*/ 4031982 h 6858000"/>
              <a:gd name="connsiteX175" fmla="*/ 901900 w 7467600"/>
              <a:gd name="connsiteY175" fmla="*/ 4421236 h 6858000"/>
              <a:gd name="connsiteX176" fmla="*/ 845044 w 7467600"/>
              <a:gd name="connsiteY176" fmla="*/ 4502436 h 6858000"/>
              <a:gd name="connsiteX177" fmla="*/ 685926 w 7467600"/>
              <a:gd name="connsiteY177" fmla="*/ 4703069 h 6858000"/>
              <a:gd name="connsiteX178" fmla="*/ 684248 w 7467600"/>
              <a:gd name="connsiteY178" fmla="*/ 4706721 h 6858000"/>
              <a:gd name="connsiteX179" fmla="*/ 1423113 w 7467600"/>
              <a:gd name="connsiteY179" fmla="*/ 3874565 h 6858000"/>
              <a:gd name="connsiteX180" fmla="*/ 3316479 w 7467600"/>
              <a:gd name="connsiteY180" fmla="*/ 3872136 h 6858000"/>
              <a:gd name="connsiteX181" fmla="*/ 3546806 w 7467600"/>
              <a:gd name="connsiteY181" fmla="*/ 4356139 h 6858000"/>
              <a:gd name="connsiteX182" fmla="*/ 3364433 w 7467600"/>
              <a:gd name="connsiteY182" fmla="*/ 3953121 h 6858000"/>
              <a:gd name="connsiteX183" fmla="*/ 3316479 w 7467600"/>
              <a:gd name="connsiteY183" fmla="*/ 3872136 h 6858000"/>
              <a:gd name="connsiteX184" fmla="*/ 3291335 w 7467600"/>
              <a:gd name="connsiteY184" fmla="*/ 3767420 h 6858000"/>
              <a:gd name="connsiteX185" fmla="*/ 3390805 w 7467600"/>
              <a:gd name="connsiteY185" fmla="*/ 3937163 h 6858000"/>
              <a:gd name="connsiteX186" fmla="*/ 3579062 w 7467600"/>
              <a:gd name="connsiteY186" fmla="*/ 4359040 h 6858000"/>
              <a:gd name="connsiteX187" fmla="*/ 3467355 w 7467600"/>
              <a:gd name="connsiteY187" fmla="*/ 3988130 h 6858000"/>
              <a:gd name="connsiteX188" fmla="*/ 3310753 w 7467600"/>
              <a:gd name="connsiteY188" fmla="*/ 3787140 h 6858000"/>
              <a:gd name="connsiteX189" fmla="*/ 3291335 w 7467600"/>
              <a:gd name="connsiteY189" fmla="*/ 3767420 h 6858000"/>
              <a:gd name="connsiteX190" fmla="*/ 1635889 w 7467600"/>
              <a:gd name="connsiteY190" fmla="*/ 3709494 h 6858000"/>
              <a:gd name="connsiteX191" fmla="*/ 1634800 w 7467600"/>
              <a:gd name="connsiteY191" fmla="*/ 3731111 h 6858000"/>
              <a:gd name="connsiteX192" fmla="*/ 1635889 w 7467600"/>
              <a:gd name="connsiteY192" fmla="*/ 3709494 h 6858000"/>
              <a:gd name="connsiteX193" fmla="*/ 1510397 w 7467600"/>
              <a:gd name="connsiteY193" fmla="*/ 3684705 h 6858000"/>
              <a:gd name="connsiteX194" fmla="*/ 1146550 w 7467600"/>
              <a:gd name="connsiteY194" fmla="*/ 3802012 h 6858000"/>
              <a:gd name="connsiteX195" fmla="*/ 698834 w 7467600"/>
              <a:gd name="connsiteY195" fmla="*/ 3952272 h 6858000"/>
              <a:gd name="connsiteX196" fmla="*/ 34256 w 7467600"/>
              <a:gd name="connsiteY196" fmla="*/ 4347603 h 6858000"/>
              <a:gd name="connsiteX197" fmla="*/ 527241 w 7467600"/>
              <a:gd name="connsiteY197" fmla="*/ 4065078 h 6858000"/>
              <a:gd name="connsiteX198" fmla="*/ 1510397 w 7467600"/>
              <a:gd name="connsiteY198" fmla="*/ 3684705 h 6858000"/>
              <a:gd name="connsiteX199" fmla="*/ 1313114 w 7467600"/>
              <a:gd name="connsiteY199" fmla="*/ 3655216 h 6858000"/>
              <a:gd name="connsiteX200" fmla="*/ 1109304 w 7467600"/>
              <a:gd name="connsiteY200" fmla="*/ 3669030 h 6858000"/>
              <a:gd name="connsiteX201" fmla="*/ 8129 w 7467600"/>
              <a:gd name="connsiteY201" fmla="*/ 4330519 h 6858000"/>
              <a:gd name="connsiteX202" fmla="*/ 687572 w 7467600"/>
              <a:gd name="connsiteY202" fmla="*/ 3925629 h 6858000"/>
              <a:gd name="connsiteX203" fmla="*/ 1138365 w 7467600"/>
              <a:gd name="connsiteY203" fmla="*/ 3774515 h 6858000"/>
              <a:gd name="connsiteX204" fmla="*/ 1505579 w 7467600"/>
              <a:gd name="connsiteY204" fmla="*/ 3655526 h 6858000"/>
              <a:gd name="connsiteX205" fmla="*/ 1313114 w 7467600"/>
              <a:gd name="connsiteY205" fmla="*/ 3655216 h 6858000"/>
              <a:gd name="connsiteX206" fmla="*/ 3655073 w 7467600"/>
              <a:gd name="connsiteY206" fmla="*/ 3650884 h 6858000"/>
              <a:gd name="connsiteX207" fmla="*/ 3989938 w 7467600"/>
              <a:gd name="connsiteY207" fmla="*/ 3991685 h 6858000"/>
              <a:gd name="connsiteX208" fmla="*/ 4393907 w 7467600"/>
              <a:gd name="connsiteY208" fmla="*/ 4261258 h 6858000"/>
              <a:gd name="connsiteX209" fmla="*/ 4648051 w 7467600"/>
              <a:gd name="connsiteY209" fmla="*/ 4374051 h 6858000"/>
              <a:gd name="connsiteX210" fmla="*/ 4383389 w 7467600"/>
              <a:gd name="connsiteY210" fmla="*/ 4184369 h 6858000"/>
              <a:gd name="connsiteX211" fmla="*/ 4165508 w 7467600"/>
              <a:gd name="connsiteY211" fmla="*/ 4035196 h 6858000"/>
              <a:gd name="connsiteX212" fmla="*/ 4068162 w 7467600"/>
              <a:gd name="connsiteY212" fmla="*/ 3953394 h 6858000"/>
              <a:gd name="connsiteX213" fmla="*/ 3981416 w 7467600"/>
              <a:gd name="connsiteY213" fmla="*/ 3880482 h 6858000"/>
              <a:gd name="connsiteX214" fmla="*/ 3800147 w 7467600"/>
              <a:gd name="connsiteY214" fmla="*/ 3749872 h 6858000"/>
              <a:gd name="connsiteX215" fmla="*/ 3655073 w 7467600"/>
              <a:gd name="connsiteY215" fmla="*/ 3650884 h 6858000"/>
              <a:gd name="connsiteX216" fmla="*/ 3670252 w 7467600"/>
              <a:gd name="connsiteY216" fmla="*/ 3622798 h 6858000"/>
              <a:gd name="connsiteX217" fmla="*/ 3817258 w 7467600"/>
              <a:gd name="connsiteY217" fmla="*/ 3723577 h 6858000"/>
              <a:gd name="connsiteX218" fmla="*/ 4000461 w 7467600"/>
              <a:gd name="connsiteY218" fmla="*/ 3855966 h 6858000"/>
              <a:gd name="connsiteX219" fmla="*/ 4088180 w 7467600"/>
              <a:gd name="connsiteY219" fmla="*/ 3929774 h 6858000"/>
              <a:gd name="connsiteX220" fmla="*/ 4184555 w 7467600"/>
              <a:gd name="connsiteY220" fmla="*/ 4010683 h 6858000"/>
              <a:gd name="connsiteX221" fmla="*/ 4399563 w 7467600"/>
              <a:gd name="connsiteY221" fmla="*/ 4158106 h 6858000"/>
              <a:gd name="connsiteX222" fmla="*/ 4684469 w 7467600"/>
              <a:gd name="connsiteY222" fmla="*/ 4364680 h 6858000"/>
              <a:gd name="connsiteX223" fmla="*/ 4690271 w 7467600"/>
              <a:gd name="connsiteY223" fmla="*/ 4370034 h 6858000"/>
              <a:gd name="connsiteX224" fmla="*/ 4136093 w 7467600"/>
              <a:gd name="connsiteY224" fmla="*/ 3858466 h 6858000"/>
              <a:gd name="connsiteX225" fmla="*/ 3670252 w 7467600"/>
              <a:gd name="connsiteY225" fmla="*/ 3622798 h 6858000"/>
              <a:gd name="connsiteX226" fmla="*/ 4440129 w 7467600"/>
              <a:gd name="connsiteY226" fmla="*/ 3448571 h 6858000"/>
              <a:gd name="connsiteX227" fmla="*/ 4856525 w 7467600"/>
              <a:gd name="connsiteY227" fmla="*/ 3915351 h 6858000"/>
              <a:gd name="connsiteX228" fmla="*/ 5059055 w 7467600"/>
              <a:gd name="connsiteY228" fmla="*/ 4108918 h 6858000"/>
              <a:gd name="connsiteX229" fmla="*/ 5290070 w 7467600"/>
              <a:gd name="connsiteY229" fmla="*/ 4263619 h 6858000"/>
              <a:gd name="connsiteX230" fmla="*/ 4834991 w 7467600"/>
              <a:gd name="connsiteY230" fmla="*/ 3830985 h 6858000"/>
              <a:gd name="connsiteX231" fmla="*/ 4440129 w 7467600"/>
              <a:gd name="connsiteY231" fmla="*/ 3448571 h 6858000"/>
              <a:gd name="connsiteX232" fmla="*/ 4441737 w 7467600"/>
              <a:gd name="connsiteY232" fmla="*/ 3399734 h 6858000"/>
              <a:gd name="connsiteX233" fmla="*/ 4431236 w 7467600"/>
              <a:gd name="connsiteY233" fmla="*/ 3400954 h 6858000"/>
              <a:gd name="connsiteX234" fmla="*/ 4557150 w 7467600"/>
              <a:gd name="connsiteY234" fmla="*/ 3510023 h 6858000"/>
              <a:gd name="connsiteX235" fmla="*/ 4856936 w 7467600"/>
              <a:gd name="connsiteY235" fmla="*/ 3809146 h 6858000"/>
              <a:gd name="connsiteX236" fmla="*/ 5111996 w 7467600"/>
              <a:gd name="connsiteY236" fmla="*/ 4065759 h 6858000"/>
              <a:gd name="connsiteX237" fmla="*/ 5388878 w 7467600"/>
              <a:gd name="connsiteY237" fmla="*/ 4300185 h 6858000"/>
              <a:gd name="connsiteX238" fmla="*/ 5425556 w 7467600"/>
              <a:gd name="connsiteY238" fmla="*/ 4308967 h 6858000"/>
              <a:gd name="connsiteX239" fmla="*/ 4943646 w 7467600"/>
              <a:gd name="connsiteY239" fmla="*/ 3822916 h 6858000"/>
              <a:gd name="connsiteX240" fmla="*/ 4594837 w 7467600"/>
              <a:gd name="connsiteY240" fmla="*/ 3532274 h 6858000"/>
              <a:gd name="connsiteX241" fmla="*/ 4441737 w 7467600"/>
              <a:gd name="connsiteY241" fmla="*/ 3399734 h 6858000"/>
              <a:gd name="connsiteX242" fmla="*/ 5425834 w 7467600"/>
              <a:gd name="connsiteY242" fmla="*/ 3162785 h 6858000"/>
              <a:gd name="connsiteX243" fmla="*/ 5401644 w 7467600"/>
              <a:gd name="connsiteY243" fmla="*/ 3617847 h 6858000"/>
              <a:gd name="connsiteX244" fmla="*/ 5467256 w 7467600"/>
              <a:gd name="connsiteY244" fmla="*/ 4175494 h 6858000"/>
              <a:gd name="connsiteX245" fmla="*/ 5448069 w 7467600"/>
              <a:gd name="connsiteY245" fmla="*/ 3567554 h 6858000"/>
              <a:gd name="connsiteX246" fmla="*/ 5425834 w 7467600"/>
              <a:gd name="connsiteY246" fmla="*/ 3162785 h 6858000"/>
              <a:gd name="connsiteX247" fmla="*/ 1318687 w 7467600"/>
              <a:gd name="connsiteY247" fmla="*/ 3113840 h 6858000"/>
              <a:gd name="connsiteX248" fmla="*/ 1066793 w 7467600"/>
              <a:gd name="connsiteY248" fmla="*/ 3212171 h 6858000"/>
              <a:gd name="connsiteX249" fmla="*/ 993319 w 7467600"/>
              <a:gd name="connsiteY249" fmla="*/ 3247648 h 6858000"/>
              <a:gd name="connsiteX250" fmla="*/ 853081 w 7467600"/>
              <a:gd name="connsiteY250" fmla="*/ 3312410 h 6858000"/>
              <a:gd name="connsiteX251" fmla="*/ 805957 w 7467600"/>
              <a:gd name="connsiteY251" fmla="*/ 3330443 h 6858000"/>
              <a:gd name="connsiteX252" fmla="*/ 1318687 w 7467600"/>
              <a:gd name="connsiteY252" fmla="*/ 3113840 h 6858000"/>
              <a:gd name="connsiteX253" fmla="*/ 5453702 w 7467600"/>
              <a:gd name="connsiteY253" fmla="*/ 3090882 h 6858000"/>
              <a:gd name="connsiteX254" fmla="*/ 5480135 w 7467600"/>
              <a:gd name="connsiteY254" fmla="*/ 3565802 h 6858000"/>
              <a:gd name="connsiteX255" fmla="*/ 5499023 w 7467600"/>
              <a:gd name="connsiteY255" fmla="*/ 4166310 h 6858000"/>
              <a:gd name="connsiteX256" fmla="*/ 5547022 w 7467600"/>
              <a:gd name="connsiteY256" fmla="*/ 3607838 h 6858000"/>
              <a:gd name="connsiteX257" fmla="*/ 5515964 w 7467600"/>
              <a:gd name="connsiteY257" fmla="*/ 3378541 h 6858000"/>
              <a:gd name="connsiteX258" fmla="*/ 5453702 w 7467600"/>
              <a:gd name="connsiteY258" fmla="*/ 3090882 h 6858000"/>
              <a:gd name="connsiteX259" fmla="*/ 1238695 w 7467600"/>
              <a:gd name="connsiteY259" fmla="*/ 3076820 h 6858000"/>
              <a:gd name="connsiteX260" fmla="*/ 716371 w 7467600"/>
              <a:gd name="connsiteY260" fmla="*/ 3293249 h 6858000"/>
              <a:gd name="connsiteX261" fmla="*/ 579522 w 7467600"/>
              <a:gd name="connsiteY261" fmla="*/ 3371759 h 6858000"/>
              <a:gd name="connsiteX262" fmla="*/ 600288 w 7467600"/>
              <a:gd name="connsiteY262" fmla="*/ 3365555 h 6858000"/>
              <a:gd name="connsiteX263" fmla="*/ 840692 w 7467600"/>
              <a:gd name="connsiteY263" fmla="*/ 3284921 h 6858000"/>
              <a:gd name="connsiteX264" fmla="*/ 979248 w 7467600"/>
              <a:gd name="connsiteY264" fmla="*/ 3221003 h 6858000"/>
              <a:gd name="connsiteX265" fmla="*/ 1053282 w 7467600"/>
              <a:gd name="connsiteY265" fmla="*/ 3185247 h 6858000"/>
              <a:gd name="connsiteX266" fmla="*/ 1320603 w 7467600"/>
              <a:gd name="connsiteY266" fmla="*/ 3081281 h 6858000"/>
              <a:gd name="connsiteX267" fmla="*/ 1238695 w 7467600"/>
              <a:gd name="connsiteY267" fmla="*/ 3076820 h 6858000"/>
              <a:gd name="connsiteX268" fmla="*/ 5425627 w 7467600"/>
              <a:gd name="connsiteY268" fmla="*/ 2954192 h 6858000"/>
              <a:gd name="connsiteX269" fmla="*/ 5470770 w 7467600"/>
              <a:gd name="connsiteY269" fmla="*/ 3005435 h 6858000"/>
              <a:gd name="connsiteX270" fmla="*/ 5519779 w 7467600"/>
              <a:gd name="connsiteY270" fmla="*/ 4359223 h 6858000"/>
              <a:gd name="connsiteX271" fmla="*/ 5520293 w 7467600"/>
              <a:gd name="connsiteY271" fmla="*/ 4360602 h 6858000"/>
              <a:gd name="connsiteX272" fmla="*/ 5767221 w 7467600"/>
              <a:gd name="connsiteY272" fmla="*/ 4665564 h 6858000"/>
              <a:gd name="connsiteX273" fmla="*/ 6937169 w 7467600"/>
              <a:gd name="connsiteY273" fmla="*/ 4815941 h 6858000"/>
              <a:gd name="connsiteX274" fmla="*/ 6953922 w 7467600"/>
              <a:gd name="connsiteY274" fmla="*/ 4890068 h 6858000"/>
              <a:gd name="connsiteX275" fmla="*/ 6071359 w 7467600"/>
              <a:gd name="connsiteY275" fmla="*/ 4770770 h 6858000"/>
              <a:gd name="connsiteX276" fmla="*/ 6038839 w 7467600"/>
              <a:gd name="connsiteY276" fmla="*/ 4764474 h 6858000"/>
              <a:gd name="connsiteX277" fmla="*/ 6038706 w 7467600"/>
              <a:gd name="connsiteY277" fmla="*/ 4763847 h 6858000"/>
              <a:gd name="connsiteX278" fmla="*/ 6037784 w 7467600"/>
              <a:gd name="connsiteY278" fmla="*/ 4764270 h 6858000"/>
              <a:gd name="connsiteX279" fmla="*/ 6038839 w 7467600"/>
              <a:gd name="connsiteY279" fmla="*/ 4764474 h 6858000"/>
              <a:gd name="connsiteX280" fmla="*/ 6040338 w 7467600"/>
              <a:gd name="connsiteY280" fmla="*/ 4771418 h 6858000"/>
              <a:gd name="connsiteX281" fmla="*/ 6024488 w 7467600"/>
              <a:gd name="connsiteY281" fmla="*/ 4809903 h 6858000"/>
              <a:gd name="connsiteX282" fmla="*/ 5599771 w 7467600"/>
              <a:gd name="connsiteY282" fmla="*/ 5509652 h 6858000"/>
              <a:gd name="connsiteX283" fmla="*/ 5548843 w 7467600"/>
              <a:gd name="connsiteY283" fmla="*/ 5563845 h 6858000"/>
              <a:gd name="connsiteX284" fmla="*/ 5940952 w 7467600"/>
              <a:gd name="connsiteY284" fmla="*/ 6250028 h 6858000"/>
              <a:gd name="connsiteX285" fmla="*/ 6043441 w 7467600"/>
              <a:gd name="connsiteY285" fmla="*/ 6665847 h 6858000"/>
              <a:gd name="connsiteX286" fmla="*/ 6093432 w 7467600"/>
              <a:gd name="connsiteY286" fmla="*/ 6858000 h 6858000"/>
              <a:gd name="connsiteX287" fmla="*/ 6034344 w 7467600"/>
              <a:gd name="connsiteY287" fmla="*/ 6858000 h 6858000"/>
              <a:gd name="connsiteX288" fmla="*/ 6026679 w 7467600"/>
              <a:gd name="connsiteY288" fmla="*/ 6836959 h 6858000"/>
              <a:gd name="connsiteX289" fmla="*/ 5800441 w 7467600"/>
              <a:gd name="connsiteY289" fmla="*/ 6335286 h 6858000"/>
              <a:gd name="connsiteX290" fmla="*/ 5526562 w 7467600"/>
              <a:gd name="connsiteY290" fmla="*/ 5705388 h 6858000"/>
              <a:gd name="connsiteX291" fmla="*/ 5519640 w 7467600"/>
              <a:gd name="connsiteY291" fmla="*/ 5683774 h 6858000"/>
              <a:gd name="connsiteX292" fmla="*/ 5844559 w 7467600"/>
              <a:gd name="connsiteY292" fmla="*/ 6553349 h 6858000"/>
              <a:gd name="connsiteX293" fmla="*/ 5975994 w 7467600"/>
              <a:gd name="connsiteY293" fmla="*/ 6858000 h 6858000"/>
              <a:gd name="connsiteX294" fmla="*/ 5898547 w 7467600"/>
              <a:gd name="connsiteY294" fmla="*/ 6858000 h 6858000"/>
              <a:gd name="connsiteX295" fmla="*/ 5682041 w 7467600"/>
              <a:gd name="connsiteY295" fmla="*/ 6355860 h 6858000"/>
              <a:gd name="connsiteX296" fmla="*/ 5461758 w 7467600"/>
              <a:gd name="connsiteY296" fmla="*/ 5820220 h 6858000"/>
              <a:gd name="connsiteX297" fmla="*/ 5237282 w 7467600"/>
              <a:gd name="connsiteY297" fmla="*/ 6579086 h 6858000"/>
              <a:gd name="connsiteX298" fmla="*/ 5115009 w 7467600"/>
              <a:gd name="connsiteY298" fmla="*/ 6858000 h 6858000"/>
              <a:gd name="connsiteX299" fmla="*/ 5028074 w 7467600"/>
              <a:gd name="connsiteY299" fmla="*/ 6858000 h 6858000"/>
              <a:gd name="connsiteX300" fmla="*/ 5079508 w 7467600"/>
              <a:gd name="connsiteY300" fmla="*/ 6749074 h 6858000"/>
              <a:gd name="connsiteX301" fmla="*/ 5371846 w 7467600"/>
              <a:gd name="connsiteY301" fmla="*/ 5924413 h 6858000"/>
              <a:gd name="connsiteX302" fmla="*/ 5270512 w 7467600"/>
              <a:gd name="connsiteY302" fmla="*/ 6138975 h 6858000"/>
              <a:gd name="connsiteX303" fmla="*/ 5062409 w 7467600"/>
              <a:gd name="connsiteY303" fmla="*/ 6653544 h 6858000"/>
              <a:gd name="connsiteX304" fmla="*/ 5036628 w 7467600"/>
              <a:gd name="connsiteY304" fmla="*/ 6754247 h 6858000"/>
              <a:gd name="connsiteX305" fmla="*/ 5009112 w 7467600"/>
              <a:gd name="connsiteY305" fmla="*/ 6858000 h 6858000"/>
              <a:gd name="connsiteX306" fmla="*/ 4976679 w 7467600"/>
              <a:gd name="connsiteY306" fmla="*/ 6858000 h 6858000"/>
              <a:gd name="connsiteX307" fmla="*/ 5006537 w 7467600"/>
              <a:gd name="connsiteY307" fmla="*/ 6747068 h 6858000"/>
              <a:gd name="connsiteX308" fmla="*/ 5032723 w 7467600"/>
              <a:gd name="connsiteY308" fmla="*/ 6644957 h 6858000"/>
              <a:gd name="connsiteX309" fmla="*/ 5242949 w 7467600"/>
              <a:gd name="connsiteY309" fmla="*/ 6125175 h 6858000"/>
              <a:gd name="connsiteX310" fmla="*/ 5286321 w 7467600"/>
              <a:gd name="connsiteY310" fmla="*/ 6033555 h 6858000"/>
              <a:gd name="connsiteX311" fmla="*/ 5008210 w 7467600"/>
              <a:gd name="connsiteY311" fmla="*/ 6649194 h 6858000"/>
              <a:gd name="connsiteX312" fmla="*/ 4986321 w 7467600"/>
              <a:gd name="connsiteY312" fmla="*/ 6765687 h 6858000"/>
              <a:gd name="connsiteX313" fmla="*/ 4973474 w 7467600"/>
              <a:gd name="connsiteY313" fmla="*/ 6858000 h 6858000"/>
              <a:gd name="connsiteX314" fmla="*/ 4907178 w 7467600"/>
              <a:gd name="connsiteY314" fmla="*/ 6858000 h 6858000"/>
              <a:gd name="connsiteX315" fmla="*/ 4910810 w 7467600"/>
              <a:gd name="connsiteY315" fmla="*/ 6829660 h 6858000"/>
              <a:gd name="connsiteX316" fmla="*/ 4987461 w 7467600"/>
              <a:gd name="connsiteY316" fmla="*/ 6432994 h 6858000"/>
              <a:gd name="connsiteX317" fmla="*/ 5179262 w 7467600"/>
              <a:gd name="connsiteY317" fmla="*/ 6035044 h 6858000"/>
              <a:gd name="connsiteX318" fmla="*/ 4689678 w 7467600"/>
              <a:gd name="connsiteY318" fmla="*/ 6440241 h 6858000"/>
              <a:gd name="connsiteX319" fmla="*/ 4477543 w 7467600"/>
              <a:gd name="connsiteY319" fmla="*/ 6674836 h 6858000"/>
              <a:gd name="connsiteX320" fmla="*/ 4329957 w 7467600"/>
              <a:gd name="connsiteY320" fmla="*/ 6858000 h 6858000"/>
              <a:gd name="connsiteX321" fmla="*/ 4218595 w 7467600"/>
              <a:gd name="connsiteY321" fmla="*/ 6858000 h 6858000"/>
              <a:gd name="connsiteX322" fmla="*/ 4368888 w 7467600"/>
              <a:gd name="connsiteY322" fmla="*/ 6668412 h 6858000"/>
              <a:gd name="connsiteX323" fmla="*/ 4563091 w 7467600"/>
              <a:gd name="connsiteY323" fmla="*/ 6442508 h 6858000"/>
              <a:gd name="connsiteX324" fmla="*/ 5387324 w 7467600"/>
              <a:gd name="connsiteY324" fmla="*/ 5705830 h 6858000"/>
              <a:gd name="connsiteX325" fmla="*/ 5073620 w 7467600"/>
              <a:gd name="connsiteY325" fmla="*/ 5955437 h 6858000"/>
              <a:gd name="connsiteX326" fmla="*/ 4689789 w 7467600"/>
              <a:gd name="connsiteY326" fmla="*/ 6268382 h 6858000"/>
              <a:gd name="connsiteX327" fmla="*/ 4418722 w 7467600"/>
              <a:gd name="connsiteY327" fmla="*/ 6570886 h 6858000"/>
              <a:gd name="connsiteX328" fmla="*/ 4214944 w 7467600"/>
              <a:gd name="connsiteY328" fmla="*/ 6858000 h 6858000"/>
              <a:gd name="connsiteX329" fmla="*/ 4177898 w 7467600"/>
              <a:gd name="connsiteY329" fmla="*/ 6858000 h 6858000"/>
              <a:gd name="connsiteX330" fmla="*/ 4391597 w 7467600"/>
              <a:gd name="connsiteY330" fmla="*/ 6556370 h 6858000"/>
              <a:gd name="connsiteX331" fmla="*/ 4668889 w 7467600"/>
              <a:gd name="connsiteY331" fmla="*/ 6246399 h 6858000"/>
              <a:gd name="connsiteX332" fmla="*/ 5055427 w 7467600"/>
              <a:gd name="connsiteY332" fmla="*/ 5931476 h 6858000"/>
              <a:gd name="connsiteX333" fmla="*/ 5371814 w 7467600"/>
              <a:gd name="connsiteY333" fmla="*/ 5678975 h 6858000"/>
              <a:gd name="connsiteX334" fmla="*/ 4987918 w 7467600"/>
              <a:gd name="connsiteY334" fmla="*/ 5838701 h 6858000"/>
              <a:gd name="connsiteX335" fmla="*/ 4317146 w 7467600"/>
              <a:gd name="connsiteY335" fmla="*/ 6587716 h 6858000"/>
              <a:gd name="connsiteX336" fmla="*/ 4171627 w 7467600"/>
              <a:gd name="connsiteY336" fmla="*/ 6858000 h 6858000"/>
              <a:gd name="connsiteX337" fmla="*/ 4081585 w 7467600"/>
              <a:gd name="connsiteY337" fmla="*/ 6858000 h 6858000"/>
              <a:gd name="connsiteX338" fmla="*/ 4238603 w 7467600"/>
              <a:gd name="connsiteY338" fmla="*/ 6559341 h 6858000"/>
              <a:gd name="connsiteX339" fmla="*/ 4778333 w 7467600"/>
              <a:gd name="connsiteY339" fmla="*/ 5873626 h 6858000"/>
              <a:gd name="connsiteX340" fmla="*/ 5414185 w 7467600"/>
              <a:gd name="connsiteY340" fmla="*/ 5573882 h 6858000"/>
              <a:gd name="connsiteX341" fmla="*/ 5959648 w 7467600"/>
              <a:gd name="connsiteY341" fmla="*/ 4760797 h 6858000"/>
              <a:gd name="connsiteX342" fmla="*/ 5355019 w 7467600"/>
              <a:gd name="connsiteY342" fmla="*/ 4734672 h 6858000"/>
              <a:gd name="connsiteX343" fmla="*/ 5083565 w 7467600"/>
              <a:gd name="connsiteY343" fmla="*/ 5179121 h 6858000"/>
              <a:gd name="connsiteX344" fmla="*/ 4713577 w 7467600"/>
              <a:gd name="connsiteY344" fmla="*/ 5616803 h 6858000"/>
              <a:gd name="connsiteX345" fmla="*/ 3989559 w 7467600"/>
              <a:gd name="connsiteY345" fmla="*/ 6145945 h 6858000"/>
              <a:gd name="connsiteX346" fmla="*/ 3939824 w 7467600"/>
              <a:gd name="connsiteY346" fmla="*/ 6066900 h 6858000"/>
              <a:gd name="connsiteX347" fmla="*/ 4584537 w 7467600"/>
              <a:gd name="connsiteY347" fmla="*/ 5324826 h 6858000"/>
              <a:gd name="connsiteX348" fmla="*/ 5037105 w 7467600"/>
              <a:gd name="connsiteY348" fmla="*/ 5088765 h 6858000"/>
              <a:gd name="connsiteX349" fmla="*/ 5039930 w 7467600"/>
              <a:gd name="connsiteY349" fmla="*/ 5089585 h 6858000"/>
              <a:gd name="connsiteX350" fmla="*/ 5263764 w 7467600"/>
              <a:gd name="connsiteY350" fmla="*/ 4735525 h 6858000"/>
              <a:gd name="connsiteX351" fmla="*/ 4086300 w 7467600"/>
              <a:gd name="connsiteY351" fmla="*/ 4884599 h 6858000"/>
              <a:gd name="connsiteX352" fmla="*/ 4085485 w 7467600"/>
              <a:gd name="connsiteY352" fmla="*/ 4899070 h 6858000"/>
              <a:gd name="connsiteX353" fmla="*/ 3871915 w 7467600"/>
              <a:gd name="connsiteY353" fmla="*/ 5253645 h 6858000"/>
              <a:gd name="connsiteX354" fmla="*/ 3799374 w 7467600"/>
              <a:gd name="connsiteY354" fmla="*/ 5466127 h 6858000"/>
              <a:gd name="connsiteX355" fmla="*/ 3498850 w 7467600"/>
              <a:gd name="connsiteY355" fmla="*/ 6661888 h 6858000"/>
              <a:gd name="connsiteX356" fmla="*/ 3399216 w 7467600"/>
              <a:gd name="connsiteY356" fmla="*/ 6858000 h 6858000"/>
              <a:gd name="connsiteX357" fmla="*/ 3303688 w 7467600"/>
              <a:gd name="connsiteY357" fmla="*/ 6858000 h 6858000"/>
              <a:gd name="connsiteX358" fmla="*/ 3391774 w 7467600"/>
              <a:gd name="connsiteY358" fmla="*/ 6697181 h 6858000"/>
              <a:gd name="connsiteX359" fmla="*/ 3735540 w 7467600"/>
              <a:gd name="connsiteY359" fmla="*/ 5546923 h 6858000"/>
              <a:gd name="connsiteX360" fmla="*/ 3729438 w 7467600"/>
              <a:gd name="connsiteY360" fmla="*/ 5569058 h 6858000"/>
              <a:gd name="connsiteX361" fmla="*/ 3707782 w 7467600"/>
              <a:gd name="connsiteY361" fmla="*/ 5644908 h 6858000"/>
              <a:gd name="connsiteX362" fmla="*/ 3583827 w 7467600"/>
              <a:gd name="connsiteY362" fmla="*/ 6039215 h 6858000"/>
              <a:gd name="connsiteX363" fmla="*/ 3547861 w 7467600"/>
              <a:gd name="connsiteY363" fmla="*/ 6129609 h 6858000"/>
              <a:gd name="connsiteX364" fmla="*/ 3490905 w 7467600"/>
              <a:gd name="connsiteY364" fmla="*/ 6277660 h 6858000"/>
              <a:gd name="connsiteX365" fmla="*/ 3455859 w 7467600"/>
              <a:gd name="connsiteY365" fmla="*/ 6391301 h 6858000"/>
              <a:gd name="connsiteX366" fmla="*/ 3429112 w 7467600"/>
              <a:gd name="connsiteY366" fmla="*/ 6479469 h 6858000"/>
              <a:gd name="connsiteX367" fmla="*/ 3304862 w 7467600"/>
              <a:gd name="connsiteY367" fmla="*/ 6796476 h 6858000"/>
              <a:gd name="connsiteX368" fmla="*/ 3276071 w 7467600"/>
              <a:gd name="connsiteY368" fmla="*/ 6858000 h 6858000"/>
              <a:gd name="connsiteX369" fmla="*/ 3240805 w 7467600"/>
              <a:gd name="connsiteY369" fmla="*/ 6858000 h 6858000"/>
              <a:gd name="connsiteX370" fmla="*/ 3275917 w 7467600"/>
              <a:gd name="connsiteY370" fmla="*/ 6783192 h 6858000"/>
              <a:gd name="connsiteX371" fmla="*/ 3399358 w 7467600"/>
              <a:gd name="connsiteY371" fmla="*/ 6469011 h 6858000"/>
              <a:gd name="connsiteX372" fmla="*/ 3425650 w 7467600"/>
              <a:gd name="connsiteY372" fmla="*/ 6381333 h 6858000"/>
              <a:gd name="connsiteX373" fmla="*/ 3460661 w 7467600"/>
              <a:gd name="connsiteY373" fmla="*/ 6266763 h 6858000"/>
              <a:gd name="connsiteX374" fmla="*/ 3518021 w 7467600"/>
              <a:gd name="connsiteY374" fmla="*/ 6117298 h 6858000"/>
              <a:gd name="connsiteX375" fmla="*/ 3554035 w 7467600"/>
              <a:gd name="connsiteY375" fmla="*/ 6027832 h 6858000"/>
              <a:gd name="connsiteX376" fmla="*/ 3677174 w 7467600"/>
              <a:gd name="connsiteY376" fmla="*/ 5636351 h 6858000"/>
              <a:gd name="connsiteX377" fmla="*/ 3698819 w 7467600"/>
              <a:gd name="connsiteY377" fmla="*/ 5560503 h 6858000"/>
              <a:gd name="connsiteX378" fmla="*/ 3702094 w 7467600"/>
              <a:gd name="connsiteY378" fmla="*/ 5549194 h 6858000"/>
              <a:gd name="connsiteX379" fmla="*/ 3398355 w 7467600"/>
              <a:gd name="connsiteY379" fmla="*/ 6094603 h 6858000"/>
              <a:gd name="connsiteX380" fmla="*/ 3193941 w 7467600"/>
              <a:gd name="connsiteY380" fmla="*/ 6798775 h 6858000"/>
              <a:gd name="connsiteX381" fmla="*/ 3184140 w 7467600"/>
              <a:gd name="connsiteY381" fmla="*/ 6858000 h 6858000"/>
              <a:gd name="connsiteX382" fmla="*/ 3099978 w 7467600"/>
              <a:gd name="connsiteY382" fmla="*/ 6858000 h 6858000"/>
              <a:gd name="connsiteX383" fmla="*/ 3101556 w 7467600"/>
              <a:gd name="connsiteY383" fmla="*/ 6843337 h 6858000"/>
              <a:gd name="connsiteX384" fmla="*/ 3370162 w 7467600"/>
              <a:gd name="connsiteY384" fmla="*/ 5785550 h 6858000"/>
              <a:gd name="connsiteX385" fmla="*/ 3746477 w 7467600"/>
              <a:gd name="connsiteY385" fmla="*/ 5377889 h 6858000"/>
              <a:gd name="connsiteX386" fmla="*/ 3863399 w 7467600"/>
              <a:gd name="connsiteY386" fmla="*/ 5087257 h 6858000"/>
              <a:gd name="connsiteX387" fmla="*/ 3968712 w 7467600"/>
              <a:gd name="connsiteY387" fmla="*/ 4913989 h 6858000"/>
              <a:gd name="connsiteX388" fmla="*/ 2792390 w 7467600"/>
              <a:gd name="connsiteY388" fmla="*/ 5382974 h 6858000"/>
              <a:gd name="connsiteX389" fmla="*/ 2714982 w 7467600"/>
              <a:gd name="connsiteY389" fmla="*/ 5427051 h 6858000"/>
              <a:gd name="connsiteX390" fmla="*/ 2813361 w 7467600"/>
              <a:gd name="connsiteY390" fmla="*/ 6023912 h 6858000"/>
              <a:gd name="connsiteX391" fmla="*/ 2688430 w 7467600"/>
              <a:gd name="connsiteY391" fmla="*/ 6801564 h 6858000"/>
              <a:gd name="connsiteX392" fmla="*/ 2629626 w 7467600"/>
              <a:gd name="connsiteY392" fmla="*/ 6763394 h 6858000"/>
              <a:gd name="connsiteX393" fmla="*/ 2565328 w 7467600"/>
              <a:gd name="connsiteY393" fmla="*/ 5516399 h 6858000"/>
              <a:gd name="connsiteX394" fmla="*/ 1922999 w 7467600"/>
              <a:gd name="connsiteY394" fmla="*/ 5980343 h 6858000"/>
              <a:gd name="connsiteX395" fmla="*/ 1950261 w 7467600"/>
              <a:gd name="connsiteY395" fmla="*/ 6405858 h 6858000"/>
              <a:gd name="connsiteX396" fmla="*/ 2365554 w 7467600"/>
              <a:gd name="connsiteY396" fmla="*/ 6759107 h 6858000"/>
              <a:gd name="connsiteX397" fmla="*/ 2424142 w 7467600"/>
              <a:gd name="connsiteY397" fmla="*/ 6858000 h 6858000"/>
              <a:gd name="connsiteX398" fmla="*/ 2395994 w 7467600"/>
              <a:gd name="connsiteY398" fmla="*/ 6858000 h 6858000"/>
              <a:gd name="connsiteX399" fmla="*/ 2392863 w 7467600"/>
              <a:gd name="connsiteY399" fmla="*/ 6852964 h 6858000"/>
              <a:gd name="connsiteX400" fmla="*/ 2017589 w 7467600"/>
              <a:gd name="connsiteY400" fmla="*/ 6493982 h 6858000"/>
              <a:gd name="connsiteX401" fmla="*/ 2147336 w 7467600"/>
              <a:gd name="connsiteY401" fmla="*/ 6594052 h 6858000"/>
              <a:gd name="connsiteX402" fmla="*/ 2207047 w 7467600"/>
              <a:gd name="connsiteY402" fmla="*/ 6654540 h 6858000"/>
              <a:gd name="connsiteX403" fmla="*/ 2299106 w 7467600"/>
              <a:gd name="connsiteY403" fmla="*/ 6778931 h 6858000"/>
              <a:gd name="connsiteX404" fmla="*/ 2314430 w 7467600"/>
              <a:gd name="connsiteY404" fmla="*/ 6801144 h 6858000"/>
              <a:gd name="connsiteX405" fmla="*/ 2352406 w 7467600"/>
              <a:gd name="connsiteY405" fmla="*/ 6858000 h 6858000"/>
              <a:gd name="connsiteX406" fmla="*/ 2314492 w 7467600"/>
              <a:gd name="connsiteY406" fmla="*/ 6858000 h 6858000"/>
              <a:gd name="connsiteX407" fmla="*/ 2288095 w 7467600"/>
              <a:gd name="connsiteY407" fmla="*/ 6818030 h 6858000"/>
              <a:gd name="connsiteX408" fmla="*/ 2272768 w 7467600"/>
              <a:gd name="connsiteY408" fmla="*/ 6795822 h 6858000"/>
              <a:gd name="connsiteX409" fmla="*/ 2182715 w 7467600"/>
              <a:gd name="connsiteY409" fmla="*/ 6675071 h 6858000"/>
              <a:gd name="connsiteX410" fmla="*/ 2032061 w 7467600"/>
              <a:gd name="connsiteY410" fmla="*/ 6541380 h 6858000"/>
              <a:gd name="connsiteX411" fmla="*/ 2257220 w 7467600"/>
              <a:gd name="connsiteY411" fmla="*/ 6826257 h 6858000"/>
              <a:gd name="connsiteX412" fmla="*/ 2281324 w 7467600"/>
              <a:gd name="connsiteY412" fmla="*/ 6858000 h 6858000"/>
              <a:gd name="connsiteX413" fmla="*/ 2242860 w 7467600"/>
              <a:gd name="connsiteY413" fmla="*/ 6858000 h 6858000"/>
              <a:gd name="connsiteX414" fmla="*/ 2232818 w 7467600"/>
              <a:gd name="connsiteY414" fmla="*/ 6844926 h 6858000"/>
              <a:gd name="connsiteX415" fmla="*/ 1990172 w 7467600"/>
              <a:gd name="connsiteY415" fmla="*/ 6542121 h 6858000"/>
              <a:gd name="connsiteX416" fmla="*/ 2124090 w 7467600"/>
              <a:gd name="connsiteY416" fmla="*/ 6761017 h 6858000"/>
              <a:gd name="connsiteX417" fmla="*/ 2200380 w 7467600"/>
              <a:gd name="connsiteY417" fmla="*/ 6858000 h 6858000"/>
              <a:gd name="connsiteX418" fmla="*/ 2147507 w 7467600"/>
              <a:gd name="connsiteY418" fmla="*/ 6858000 h 6858000"/>
              <a:gd name="connsiteX419" fmla="*/ 2070668 w 7467600"/>
              <a:gd name="connsiteY419" fmla="*/ 6761520 h 6858000"/>
              <a:gd name="connsiteX420" fmla="*/ 1975142 w 7467600"/>
              <a:gd name="connsiteY420" fmla="*/ 6585570 h 6858000"/>
              <a:gd name="connsiteX421" fmla="*/ 2050035 w 7467600"/>
              <a:gd name="connsiteY421" fmla="*/ 6813345 h 6858000"/>
              <a:gd name="connsiteX422" fmla="*/ 2063025 w 7467600"/>
              <a:gd name="connsiteY422" fmla="*/ 6858000 h 6858000"/>
              <a:gd name="connsiteX423" fmla="*/ 2021675 w 7467600"/>
              <a:gd name="connsiteY423" fmla="*/ 6858000 h 6858000"/>
              <a:gd name="connsiteX424" fmla="*/ 2019308 w 7467600"/>
              <a:gd name="connsiteY424" fmla="*/ 6847118 h 6858000"/>
              <a:gd name="connsiteX425" fmla="*/ 1938835 w 7467600"/>
              <a:gd name="connsiteY425" fmla="*/ 6551160 h 6858000"/>
              <a:gd name="connsiteX426" fmla="*/ 1953230 w 7467600"/>
              <a:gd name="connsiteY426" fmla="*/ 6759699 h 6858000"/>
              <a:gd name="connsiteX427" fmla="*/ 1956763 w 7467600"/>
              <a:gd name="connsiteY427" fmla="*/ 6778191 h 6858000"/>
              <a:gd name="connsiteX428" fmla="*/ 1967925 w 7467600"/>
              <a:gd name="connsiteY428" fmla="*/ 6858000 h 6858000"/>
              <a:gd name="connsiteX429" fmla="*/ 1936622 w 7467600"/>
              <a:gd name="connsiteY429" fmla="*/ 6858000 h 6858000"/>
              <a:gd name="connsiteX430" fmla="*/ 1926261 w 7467600"/>
              <a:gd name="connsiteY430" fmla="*/ 6784064 h 6858000"/>
              <a:gd name="connsiteX431" fmla="*/ 1922724 w 7467600"/>
              <a:gd name="connsiteY431" fmla="*/ 6765577 h 6858000"/>
              <a:gd name="connsiteX432" fmla="*/ 1904650 w 7467600"/>
              <a:gd name="connsiteY432" fmla="*/ 6639616 h 6858000"/>
              <a:gd name="connsiteX433" fmla="*/ 1885273 w 7467600"/>
              <a:gd name="connsiteY433" fmla="*/ 6858000 h 6858000"/>
              <a:gd name="connsiteX434" fmla="*/ 1854363 w 7467600"/>
              <a:gd name="connsiteY434" fmla="*/ 6858000 h 6858000"/>
              <a:gd name="connsiteX435" fmla="*/ 1880391 w 7467600"/>
              <a:gd name="connsiteY435" fmla="*/ 6603796 h 6858000"/>
              <a:gd name="connsiteX436" fmla="*/ 1818273 w 7467600"/>
              <a:gd name="connsiteY436" fmla="*/ 6715729 h 6858000"/>
              <a:gd name="connsiteX437" fmla="*/ 1794691 w 7467600"/>
              <a:gd name="connsiteY437" fmla="*/ 6843239 h 6858000"/>
              <a:gd name="connsiteX438" fmla="*/ 1794914 w 7467600"/>
              <a:gd name="connsiteY438" fmla="*/ 6858000 h 6858000"/>
              <a:gd name="connsiteX439" fmla="*/ 1746128 w 7467600"/>
              <a:gd name="connsiteY439" fmla="*/ 6858000 h 6858000"/>
              <a:gd name="connsiteX440" fmla="*/ 1753934 w 7467600"/>
              <a:gd name="connsiteY440" fmla="*/ 6724796 h 6858000"/>
              <a:gd name="connsiteX441" fmla="*/ 1792053 w 7467600"/>
              <a:gd name="connsiteY441" fmla="*/ 6572396 h 6858000"/>
              <a:gd name="connsiteX442" fmla="*/ 1862248 w 7467600"/>
              <a:gd name="connsiteY442" fmla="*/ 6266397 h 6858000"/>
              <a:gd name="connsiteX443" fmla="*/ 1862250 w 7467600"/>
              <a:gd name="connsiteY443" fmla="*/ 6033531 h 6858000"/>
              <a:gd name="connsiteX444" fmla="*/ 1211999 w 7467600"/>
              <a:gd name="connsiteY444" fmla="*/ 6683610 h 6858000"/>
              <a:gd name="connsiteX445" fmla="*/ 1213266 w 7467600"/>
              <a:gd name="connsiteY445" fmla="*/ 6691947 h 6858000"/>
              <a:gd name="connsiteX446" fmla="*/ 1203370 w 7467600"/>
              <a:gd name="connsiteY446" fmla="*/ 6850676 h 6858000"/>
              <a:gd name="connsiteX447" fmla="*/ 1203671 w 7467600"/>
              <a:gd name="connsiteY447" fmla="*/ 6858000 h 6858000"/>
              <a:gd name="connsiteX448" fmla="*/ 1143180 w 7467600"/>
              <a:gd name="connsiteY448" fmla="*/ 6858000 h 6858000"/>
              <a:gd name="connsiteX449" fmla="*/ 1142176 w 7467600"/>
              <a:gd name="connsiteY449" fmla="*/ 6766045 h 6858000"/>
              <a:gd name="connsiteX450" fmla="*/ 1067484 w 7467600"/>
              <a:gd name="connsiteY450" fmla="*/ 6858000 h 6858000"/>
              <a:gd name="connsiteX451" fmla="*/ 953928 w 7467600"/>
              <a:gd name="connsiteY451" fmla="*/ 6858000 h 6858000"/>
              <a:gd name="connsiteX452" fmla="*/ 959715 w 7467600"/>
              <a:gd name="connsiteY452" fmla="*/ 6850185 h 6858000"/>
              <a:gd name="connsiteX453" fmla="*/ 1483788 w 7467600"/>
              <a:gd name="connsiteY453" fmla="*/ 6259174 h 6858000"/>
              <a:gd name="connsiteX454" fmla="*/ 1100671 w 7467600"/>
              <a:gd name="connsiteY454" fmla="*/ 6252137 h 6858000"/>
              <a:gd name="connsiteX455" fmla="*/ 1090144 w 7467600"/>
              <a:gd name="connsiteY455" fmla="*/ 6256748 h 6858000"/>
              <a:gd name="connsiteX456" fmla="*/ 1095872 w 7467600"/>
              <a:gd name="connsiteY456" fmla="*/ 6271892 h 6858000"/>
              <a:gd name="connsiteX457" fmla="*/ 262785 w 7467600"/>
              <a:gd name="connsiteY457" fmla="*/ 6845450 h 6858000"/>
              <a:gd name="connsiteX458" fmla="*/ 209968 w 7467600"/>
              <a:gd name="connsiteY458" fmla="*/ 6770713 h 6858000"/>
              <a:gd name="connsiteX459" fmla="*/ 873460 w 7467600"/>
              <a:gd name="connsiteY459" fmla="*/ 6253768 h 6858000"/>
              <a:gd name="connsiteX460" fmla="*/ 192686 w 7467600"/>
              <a:gd name="connsiteY460" fmla="*/ 5849257 h 6858000"/>
              <a:gd name="connsiteX461" fmla="*/ 4696 w 7467600"/>
              <a:gd name="connsiteY461" fmla="*/ 5697668 h 6858000"/>
              <a:gd name="connsiteX462" fmla="*/ 0 w 7467600"/>
              <a:gd name="connsiteY462" fmla="*/ 5689984 h 6858000"/>
              <a:gd name="connsiteX463" fmla="*/ 0 w 7467600"/>
              <a:gd name="connsiteY463" fmla="*/ 5513472 h 6858000"/>
              <a:gd name="connsiteX464" fmla="*/ 174101 w 7467600"/>
              <a:gd name="connsiteY464" fmla="*/ 5620277 h 6858000"/>
              <a:gd name="connsiteX465" fmla="*/ 891800 w 7467600"/>
              <a:gd name="connsiteY465" fmla="*/ 6036935 h 6858000"/>
              <a:gd name="connsiteX466" fmla="*/ 1072219 w 7467600"/>
              <a:gd name="connsiteY466" fmla="*/ 6169443 h 6858000"/>
              <a:gd name="connsiteX467" fmla="*/ 1074117 w 7467600"/>
              <a:gd name="connsiteY467" fmla="*/ 6170301 h 6858000"/>
              <a:gd name="connsiteX468" fmla="*/ 1083114 w 7467600"/>
              <a:gd name="connsiteY468" fmla="*/ 6174131 h 6858000"/>
              <a:gd name="connsiteX469" fmla="*/ 1543010 w 7467600"/>
              <a:gd name="connsiteY469" fmla="*/ 6191140 h 6858000"/>
              <a:gd name="connsiteX470" fmla="*/ 1551080 w 7467600"/>
              <a:gd name="connsiteY470" fmla="*/ 6195006 h 6858000"/>
              <a:gd name="connsiteX471" fmla="*/ 2345443 w 7467600"/>
              <a:gd name="connsiteY471" fmla="*/ 5549882 h 6858000"/>
              <a:gd name="connsiteX472" fmla="*/ 1721499 w 7467600"/>
              <a:gd name="connsiteY472" fmla="*/ 5599969 h 6858000"/>
              <a:gd name="connsiteX473" fmla="*/ 767716 w 7467600"/>
              <a:gd name="connsiteY473" fmla="*/ 5472768 h 6858000"/>
              <a:gd name="connsiteX474" fmla="*/ 722147 w 7467600"/>
              <a:gd name="connsiteY474" fmla="*/ 5393091 h 6858000"/>
              <a:gd name="connsiteX475" fmla="*/ 1485552 w 7467600"/>
              <a:gd name="connsiteY475" fmla="*/ 5313202 h 6858000"/>
              <a:gd name="connsiteX476" fmla="*/ 2143004 w 7467600"/>
              <a:gd name="connsiteY476" fmla="*/ 5402420 h 6858000"/>
              <a:gd name="connsiteX477" fmla="*/ 1933391 w 7467600"/>
              <a:gd name="connsiteY477" fmla="*/ 5156971 h 6858000"/>
              <a:gd name="connsiteX478" fmla="*/ 1827118 w 7467600"/>
              <a:gd name="connsiteY478" fmla="*/ 4968410 h 6858000"/>
              <a:gd name="connsiteX479" fmla="*/ 1837349 w 7467600"/>
              <a:gd name="connsiteY479" fmla="*/ 4956357 h 6858000"/>
              <a:gd name="connsiteX480" fmla="*/ 2162835 w 7467600"/>
              <a:gd name="connsiteY480" fmla="*/ 5187853 h 6858000"/>
              <a:gd name="connsiteX481" fmla="*/ 2257167 w 7467600"/>
              <a:gd name="connsiteY481" fmla="*/ 5462123 h 6858000"/>
              <a:gd name="connsiteX482" fmla="*/ 2261598 w 7467600"/>
              <a:gd name="connsiteY482" fmla="*/ 5467998 h 6858000"/>
              <a:gd name="connsiteX483" fmla="*/ 2437177 w 7467600"/>
              <a:gd name="connsiteY483" fmla="*/ 5479608 h 6858000"/>
              <a:gd name="connsiteX484" fmla="*/ 2445247 w 7467600"/>
              <a:gd name="connsiteY484" fmla="*/ 5483476 h 6858000"/>
              <a:gd name="connsiteX485" fmla="*/ 2743626 w 7467600"/>
              <a:gd name="connsiteY485" fmla="*/ 5304819 h 6858000"/>
              <a:gd name="connsiteX486" fmla="*/ 3048102 w 7467600"/>
              <a:gd name="connsiteY486" fmla="*/ 5150595 h 6858000"/>
              <a:gd name="connsiteX487" fmla="*/ 1799414 w 7467600"/>
              <a:gd name="connsiteY487" fmla="*/ 4694732 h 6858000"/>
              <a:gd name="connsiteX488" fmla="*/ 1771735 w 7467600"/>
              <a:gd name="connsiteY488" fmla="*/ 4619929 h 6858000"/>
              <a:gd name="connsiteX489" fmla="*/ 3104273 w 7467600"/>
              <a:gd name="connsiteY489" fmla="*/ 5076159 h 6858000"/>
              <a:gd name="connsiteX490" fmla="*/ 3113245 w 7467600"/>
              <a:gd name="connsiteY490" fmla="*/ 5090705 h 6858000"/>
              <a:gd name="connsiteX491" fmla="*/ 3126294 w 7467600"/>
              <a:gd name="connsiteY491" fmla="*/ 5114400 h 6858000"/>
              <a:gd name="connsiteX492" fmla="*/ 3937433 w 7467600"/>
              <a:gd name="connsiteY492" fmla="*/ 4830473 h 6858000"/>
              <a:gd name="connsiteX493" fmla="*/ 3590475 w 7467600"/>
              <a:gd name="connsiteY493" fmla="*/ 4597974 h 6858000"/>
              <a:gd name="connsiteX494" fmla="*/ 3100264 w 7467600"/>
              <a:gd name="connsiteY494" fmla="*/ 4579845 h 6858000"/>
              <a:gd name="connsiteX495" fmla="*/ 2183576 w 7467600"/>
              <a:gd name="connsiteY495" fmla="*/ 4227150 h 6858000"/>
              <a:gd name="connsiteX496" fmla="*/ 2151029 w 7467600"/>
              <a:gd name="connsiteY496" fmla="*/ 4146947 h 6858000"/>
              <a:gd name="connsiteX497" fmla="*/ 3563434 w 7467600"/>
              <a:gd name="connsiteY497" fmla="*/ 4469115 h 6858000"/>
              <a:gd name="connsiteX498" fmla="*/ 3177952 w 7467600"/>
              <a:gd name="connsiteY498" fmla="*/ 3657386 h 6858000"/>
              <a:gd name="connsiteX499" fmla="*/ 3189263 w 7467600"/>
              <a:gd name="connsiteY499" fmla="*/ 3625726 h 6858000"/>
              <a:gd name="connsiteX500" fmla="*/ 3560912 w 7467600"/>
              <a:gd name="connsiteY500" fmla="*/ 4079863 h 6858000"/>
              <a:gd name="connsiteX501" fmla="*/ 3626636 w 7467600"/>
              <a:gd name="connsiteY501" fmla="*/ 4512230 h 6858000"/>
              <a:gd name="connsiteX502" fmla="*/ 3653088 w 7467600"/>
              <a:gd name="connsiteY502" fmla="*/ 4521417 h 6858000"/>
              <a:gd name="connsiteX503" fmla="*/ 3988128 w 7467600"/>
              <a:gd name="connsiteY503" fmla="*/ 4817267 h 6858000"/>
              <a:gd name="connsiteX504" fmla="*/ 4830582 w 7467600"/>
              <a:gd name="connsiteY504" fmla="*/ 4676000 h 6858000"/>
              <a:gd name="connsiteX505" fmla="*/ 4830100 w 7467600"/>
              <a:gd name="connsiteY505" fmla="*/ 4675554 h 6858000"/>
              <a:gd name="connsiteX506" fmla="*/ 4036318 w 7467600"/>
              <a:gd name="connsiteY506" fmla="*/ 4147013 h 6858000"/>
              <a:gd name="connsiteX507" fmla="*/ 3432098 w 7467600"/>
              <a:gd name="connsiteY507" fmla="*/ 3537312 h 6858000"/>
              <a:gd name="connsiteX508" fmla="*/ 3446761 w 7467600"/>
              <a:gd name="connsiteY508" fmla="*/ 3461278 h 6858000"/>
              <a:gd name="connsiteX509" fmla="*/ 4419733 w 7467600"/>
              <a:gd name="connsiteY509" fmla="*/ 3963555 h 6858000"/>
              <a:gd name="connsiteX510" fmla="*/ 4781371 w 7467600"/>
              <a:gd name="connsiteY510" fmla="*/ 4458604 h 6858000"/>
              <a:gd name="connsiteX511" fmla="*/ 4780440 w 7467600"/>
              <a:gd name="connsiteY511" fmla="*/ 4470290 h 6858000"/>
              <a:gd name="connsiteX512" fmla="*/ 4898954 w 7467600"/>
              <a:gd name="connsiteY512" fmla="*/ 4662092 h 6858000"/>
              <a:gd name="connsiteX513" fmla="*/ 4900699 w 7467600"/>
              <a:gd name="connsiteY513" fmla="*/ 4670867 h 6858000"/>
              <a:gd name="connsiteX514" fmla="*/ 5714511 w 7467600"/>
              <a:gd name="connsiteY514" fmla="*/ 4663483 h 6858000"/>
              <a:gd name="connsiteX515" fmla="*/ 5464793 w 7467600"/>
              <a:gd name="connsiteY515" fmla="*/ 4393556 h 6858000"/>
              <a:gd name="connsiteX516" fmla="*/ 5461897 w 7467600"/>
              <a:gd name="connsiteY516" fmla="*/ 4390879 h 6858000"/>
              <a:gd name="connsiteX517" fmla="*/ 4294126 w 7467600"/>
              <a:gd name="connsiteY517" fmla="*/ 3303048 h 6858000"/>
              <a:gd name="connsiteX518" fmla="*/ 4305321 w 7467600"/>
              <a:gd name="connsiteY518" fmla="*/ 3256953 h 6858000"/>
              <a:gd name="connsiteX519" fmla="*/ 4949299 w 7467600"/>
              <a:gd name="connsiteY519" fmla="*/ 3766336 h 6858000"/>
              <a:gd name="connsiteX520" fmla="*/ 5291452 w 7467600"/>
              <a:gd name="connsiteY520" fmla="*/ 4076801 h 6858000"/>
              <a:gd name="connsiteX521" fmla="*/ 5434998 w 7467600"/>
              <a:gd name="connsiteY521" fmla="*/ 4254100 h 6858000"/>
              <a:gd name="connsiteX522" fmla="*/ 5351015 w 7467600"/>
              <a:gd name="connsiteY522" fmla="*/ 3760989 h 6858000"/>
              <a:gd name="connsiteX523" fmla="*/ 5413780 w 7467600"/>
              <a:gd name="connsiteY523" fmla="*/ 2966265 h 6858000"/>
              <a:gd name="connsiteX524" fmla="*/ 5425627 w 7467600"/>
              <a:gd name="connsiteY524" fmla="*/ 2954192 h 6858000"/>
              <a:gd name="connsiteX525" fmla="*/ 6604735 w 7467600"/>
              <a:gd name="connsiteY525" fmla="*/ 2041381 h 6858000"/>
              <a:gd name="connsiteX526" fmla="*/ 7204487 w 7467600"/>
              <a:gd name="connsiteY526" fmla="*/ 2742112 h 6858000"/>
              <a:gd name="connsiteX527" fmla="*/ 7131592 w 7467600"/>
              <a:gd name="connsiteY527" fmla="*/ 2672096 h 6858000"/>
              <a:gd name="connsiteX528" fmla="*/ 6996344 w 7467600"/>
              <a:gd name="connsiteY528" fmla="*/ 2518310 h 6858000"/>
              <a:gd name="connsiteX529" fmla="*/ 6735495 w 7467600"/>
              <a:gd name="connsiteY529" fmla="*/ 2196890 h 6858000"/>
              <a:gd name="connsiteX530" fmla="*/ 6721901 w 7467600"/>
              <a:gd name="connsiteY530" fmla="*/ 2179274 h 6858000"/>
              <a:gd name="connsiteX531" fmla="*/ 6604735 w 7467600"/>
              <a:gd name="connsiteY531" fmla="*/ 2041381 h 6858000"/>
              <a:gd name="connsiteX532" fmla="*/ 6591670 w 7467600"/>
              <a:gd name="connsiteY532" fmla="*/ 1988277 h 6858000"/>
              <a:gd name="connsiteX533" fmla="*/ 6747349 w 7467600"/>
              <a:gd name="connsiteY533" fmla="*/ 2160069 h 6858000"/>
              <a:gd name="connsiteX534" fmla="*/ 6760943 w 7467600"/>
              <a:gd name="connsiteY534" fmla="*/ 2177686 h 6858000"/>
              <a:gd name="connsiteX535" fmla="*/ 7021065 w 7467600"/>
              <a:gd name="connsiteY535" fmla="*/ 2498102 h 6858000"/>
              <a:gd name="connsiteX536" fmla="*/ 7155223 w 7467600"/>
              <a:gd name="connsiteY536" fmla="*/ 2650386 h 6858000"/>
              <a:gd name="connsiteX537" fmla="*/ 7203167 w 7467600"/>
              <a:gd name="connsiteY537" fmla="*/ 2697288 h 6858000"/>
              <a:gd name="connsiteX538" fmla="*/ 6937703 w 7467600"/>
              <a:gd name="connsiteY538" fmla="*/ 2321981 h 6858000"/>
              <a:gd name="connsiteX539" fmla="*/ 6591670 w 7467600"/>
              <a:gd name="connsiteY539" fmla="*/ 1988277 h 6858000"/>
              <a:gd name="connsiteX540" fmla="*/ 5798671 w 7467600"/>
              <a:gd name="connsiteY540" fmla="*/ 1981601 h 6858000"/>
              <a:gd name="connsiteX541" fmla="*/ 5754709 w 7467600"/>
              <a:gd name="connsiteY541" fmla="*/ 2071454 h 6858000"/>
              <a:gd name="connsiteX542" fmla="*/ 5763044 w 7467600"/>
              <a:gd name="connsiteY542" fmla="*/ 2842206 h 6858000"/>
              <a:gd name="connsiteX543" fmla="*/ 5764974 w 7467600"/>
              <a:gd name="connsiteY543" fmla="*/ 2799609 h 6858000"/>
              <a:gd name="connsiteX544" fmla="*/ 5767665 w 7467600"/>
              <a:gd name="connsiteY544" fmla="*/ 2666409 h 6858000"/>
              <a:gd name="connsiteX545" fmla="*/ 5763055 w 7467600"/>
              <a:gd name="connsiteY545" fmla="*/ 2579705 h 6858000"/>
              <a:gd name="connsiteX546" fmla="*/ 5758079 w 7467600"/>
              <a:gd name="connsiteY546" fmla="*/ 2492508 h 6858000"/>
              <a:gd name="connsiteX547" fmla="*/ 5779325 w 7467600"/>
              <a:gd name="connsiteY547" fmla="*/ 2197069 h 6858000"/>
              <a:gd name="connsiteX548" fmla="*/ 5798671 w 7467600"/>
              <a:gd name="connsiteY548" fmla="*/ 1981601 h 6858000"/>
              <a:gd name="connsiteX549" fmla="*/ 5829202 w 7467600"/>
              <a:gd name="connsiteY549" fmla="*/ 1971679 h 6858000"/>
              <a:gd name="connsiteX550" fmla="*/ 5809558 w 7467600"/>
              <a:gd name="connsiteY550" fmla="*/ 2198043 h 6858000"/>
              <a:gd name="connsiteX551" fmla="*/ 5788653 w 7467600"/>
              <a:gd name="connsiteY551" fmla="*/ 2489430 h 6858000"/>
              <a:gd name="connsiteX552" fmla="*/ 5793439 w 7467600"/>
              <a:gd name="connsiteY552" fmla="*/ 2575235 h 6858000"/>
              <a:gd name="connsiteX553" fmla="*/ 5796837 w 7467600"/>
              <a:gd name="connsiteY553" fmla="*/ 2637633 h 6858000"/>
              <a:gd name="connsiteX554" fmla="*/ 5818614 w 7467600"/>
              <a:gd name="connsiteY554" fmla="*/ 2473055 h 6858000"/>
              <a:gd name="connsiteX555" fmla="*/ 5829202 w 7467600"/>
              <a:gd name="connsiteY555" fmla="*/ 1971679 h 6858000"/>
              <a:gd name="connsiteX556" fmla="*/ 5911389 w 7467600"/>
              <a:gd name="connsiteY556" fmla="*/ 1898371 h 6858000"/>
              <a:gd name="connsiteX557" fmla="*/ 6237627 w 7467600"/>
              <a:gd name="connsiteY557" fmla="*/ 2231921 h 6858000"/>
              <a:gd name="connsiteX558" fmla="*/ 5911389 w 7467600"/>
              <a:gd name="connsiteY558" fmla="*/ 1898371 h 6858000"/>
              <a:gd name="connsiteX559" fmla="*/ 6944437 w 7467600"/>
              <a:gd name="connsiteY559" fmla="*/ 1575402 h 6858000"/>
              <a:gd name="connsiteX560" fmla="*/ 6304730 w 7467600"/>
              <a:gd name="connsiteY560" fmla="*/ 1766654 h 6858000"/>
              <a:gd name="connsiteX561" fmla="*/ 6944437 w 7467600"/>
              <a:gd name="connsiteY561" fmla="*/ 1575402 h 6858000"/>
              <a:gd name="connsiteX562" fmla="*/ 7019523 w 7467600"/>
              <a:gd name="connsiteY562" fmla="*/ 1519450 h 6858000"/>
              <a:gd name="connsiteX563" fmla="*/ 6298091 w 7467600"/>
              <a:gd name="connsiteY563" fmla="*/ 1737122 h 6858000"/>
              <a:gd name="connsiteX564" fmla="*/ 7019523 w 7467600"/>
              <a:gd name="connsiteY564" fmla="*/ 1519450 h 6858000"/>
              <a:gd name="connsiteX565" fmla="*/ 2399523 w 7467600"/>
              <a:gd name="connsiteY565" fmla="*/ 1428234 h 6858000"/>
              <a:gd name="connsiteX566" fmla="*/ 2224982 w 7467600"/>
              <a:gd name="connsiteY566" fmla="*/ 1826201 h 6858000"/>
              <a:gd name="connsiteX567" fmla="*/ 2096099 w 7467600"/>
              <a:gd name="connsiteY567" fmla="*/ 2345900 h 6858000"/>
              <a:gd name="connsiteX568" fmla="*/ 2283317 w 7467600"/>
              <a:gd name="connsiteY568" fmla="*/ 1796925 h 6858000"/>
              <a:gd name="connsiteX569" fmla="*/ 2399523 w 7467600"/>
              <a:gd name="connsiteY569" fmla="*/ 1428234 h 6858000"/>
              <a:gd name="connsiteX570" fmla="*/ 2448558 w 7467600"/>
              <a:gd name="connsiteY570" fmla="*/ 1373435 h 6858000"/>
              <a:gd name="connsiteX571" fmla="*/ 2312521 w 7467600"/>
              <a:gd name="connsiteY571" fmla="*/ 1806140 h 6858000"/>
              <a:gd name="connsiteX572" fmla="*/ 2127533 w 7467600"/>
              <a:gd name="connsiteY572" fmla="*/ 2348380 h 6858000"/>
              <a:gd name="connsiteX573" fmla="*/ 2358080 w 7467600"/>
              <a:gd name="connsiteY573" fmla="*/ 1866134 h 6858000"/>
              <a:gd name="connsiteX574" fmla="*/ 2407436 w 7467600"/>
              <a:gd name="connsiteY574" fmla="*/ 1651070 h 6858000"/>
              <a:gd name="connsiteX575" fmla="*/ 2448558 w 7467600"/>
              <a:gd name="connsiteY575" fmla="*/ 1373435 h 6858000"/>
              <a:gd name="connsiteX576" fmla="*/ 278707 w 7467600"/>
              <a:gd name="connsiteY576" fmla="*/ 1352270 h 6858000"/>
              <a:gd name="connsiteX577" fmla="*/ 321570 w 7467600"/>
              <a:gd name="connsiteY577" fmla="*/ 1861610 h 6858000"/>
              <a:gd name="connsiteX578" fmla="*/ 294281 w 7467600"/>
              <a:gd name="connsiteY578" fmla="*/ 1440658 h 6858000"/>
              <a:gd name="connsiteX579" fmla="*/ 278707 w 7467600"/>
              <a:gd name="connsiteY579" fmla="*/ 1352270 h 6858000"/>
              <a:gd name="connsiteX580" fmla="*/ 1423821 w 7467600"/>
              <a:gd name="connsiteY580" fmla="*/ 1351958 h 6858000"/>
              <a:gd name="connsiteX581" fmla="*/ 1638521 w 7467600"/>
              <a:gd name="connsiteY581" fmla="*/ 1908470 h 6858000"/>
              <a:gd name="connsiteX582" fmla="*/ 1754199 w 7467600"/>
              <a:gd name="connsiteY582" fmla="*/ 2149284 h 6858000"/>
              <a:gd name="connsiteX583" fmla="*/ 1908359 w 7467600"/>
              <a:gd name="connsiteY583" fmla="*/ 2364988 h 6858000"/>
              <a:gd name="connsiteX584" fmla="*/ 1647661 w 7467600"/>
              <a:gd name="connsiteY584" fmla="*/ 1825945 h 6858000"/>
              <a:gd name="connsiteX585" fmla="*/ 1423821 w 7467600"/>
              <a:gd name="connsiteY585" fmla="*/ 1351958 h 6858000"/>
              <a:gd name="connsiteX586" fmla="*/ 1431890 w 7467600"/>
              <a:gd name="connsiteY586" fmla="*/ 1306475 h 6858000"/>
              <a:gd name="connsiteX587" fmla="*/ 1507597 w 7467600"/>
              <a:gd name="connsiteY587" fmla="*/ 1446132 h 6858000"/>
              <a:gd name="connsiteX588" fmla="*/ 1674586 w 7467600"/>
              <a:gd name="connsiteY588" fmla="*/ 1813832 h 6858000"/>
              <a:gd name="connsiteX589" fmla="*/ 1815950 w 7467600"/>
              <a:gd name="connsiteY589" fmla="*/ 2128564 h 6858000"/>
              <a:gd name="connsiteX590" fmla="*/ 1984242 w 7467600"/>
              <a:gd name="connsiteY590" fmla="*/ 2430829 h 6858000"/>
              <a:gd name="connsiteX591" fmla="*/ 2014023 w 7467600"/>
              <a:gd name="connsiteY591" fmla="*/ 2450995 h 6858000"/>
              <a:gd name="connsiteX592" fmla="*/ 1747337 w 7467600"/>
              <a:gd name="connsiteY592" fmla="*/ 1855264 h 6858000"/>
              <a:gd name="connsiteX593" fmla="*/ 1533749 w 7467600"/>
              <a:gd name="connsiteY593" fmla="*/ 1478656 h 6858000"/>
              <a:gd name="connsiteX594" fmla="*/ 1431890 w 7467600"/>
              <a:gd name="connsiteY594" fmla="*/ 1306475 h 6858000"/>
              <a:gd name="connsiteX595" fmla="*/ 5052692 w 7467600"/>
              <a:gd name="connsiteY595" fmla="*/ 1292994 h 6858000"/>
              <a:gd name="connsiteX596" fmla="*/ 5200661 w 7467600"/>
              <a:gd name="connsiteY596" fmla="*/ 1635186 h 6858000"/>
              <a:gd name="connsiteX597" fmla="*/ 5297138 w 7467600"/>
              <a:gd name="connsiteY597" fmla="*/ 1906351 h 6858000"/>
              <a:gd name="connsiteX598" fmla="*/ 5052692 w 7467600"/>
              <a:gd name="connsiteY598" fmla="*/ 1292994 h 6858000"/>
              <a:gd name="connsiteX599" fmla="*/ 5009948 w 7467600"/>
              <a:gd name="connsiteY599" fmla="*/ 1273619 h 6858000"/>
              <a:gd name="connsiteX600" fmla="*/ 5121777 w 7467600"/>
              <a:gd name="connsiteY600" fmla="*/ 1654213 h 6858000"/>
              <a:gd name="connsiteX601" fmla="*/ 5293545 w 7467600"/>
              <a:gd name="connsiteY601" fmla="*/ 2072247 h 6858000"/>
              <a:gd name="connsiteX602" fmla="*/ 5294042 w 7467600"/>
              <a:gd name="connsiteY602" fmla="*/ 2065019 h 6858000"/>
              <a:gd name="connsiteX603" fmla="*/ 5171936 w 7467600"/>
              <a:gd name="connsiteY603" fmla="*/ 1647613 h 6858000"/>
              <a:gd name="connsiteX604" fmla="*/ 5009948 w 7467600"/>
              <a:gd name="connsiteY604" fmla="*/ 1273619 h 6858000"/>
              <a:gd name="connsiteX605" fmla="*/ 655236 w 7467600"/>
              <a:gd name="connsiteY605" fmla="*/ 1268632 h 6858000"/>
              <a:gd name="connsiteX606" fmla="*/ 839521 w 7467600"/>
              <a:gd name="connsiteY606" fmla="*/ 1685315 h 6858000"/>
              <a:gd name="connsiteX607" fmla="*/ 1109416 w 7467600"/>
              <a:gd name="connsiteY607" fmla="*/ 2061663 h 6858000"/>
              <a:gd name="connsiteX608" fmla="*/ 1298300 w 7467600"/>
              <a:gd name="connsiteY608" fmla="*/ 2247742 h 6858000"/>
              <a:gd name="connsiteX609" fmla="*/ 1125871 w 7467600"/>
              <a:gd name="connsiteY609" fmla="*/ 1989513 h 6858000"/>
              <a:gd name="connsiteX610" fmla="*/ 981574 w 7467600"/>
              <a:gd name="connsiteY610" fmla="*/ 1783157 h 6858000"/>
              <a:gd name="connsiteX611" fmla="*/ 922198 w 7467600"/>
              <a:gd name="connsiteY611" fmla="*/ 1677437 h 6858000"/>
              <a:gd name="connsiteX612" fmla="*/ 869293 w 7467600"/>
              <a:gd name="connsiteY612" fmla="*/ 1583214 h 6858000"/>
              <a:gd name="connsiteX613" fmla="*/ 751431 w 7467600"/>
              <a:gd name="connsiteY613" fmla="*/ 1405731 h 6858000"/>
              <a:gd name="connsiteX614" fmla="*/ 655236 w 7467600"/>
              <a:gd name="connsiteY614" fmla="*/ 1268632 h 6858000"/>
              <a:gd name="connsiteX615" fmla="*/ 6516292 w 7467600"/>
              <a:gd name="connsiteY615" fmla="*/ 1263064 h 6858000"/>
              <a:gd name="connsiteX616" fmla="*/ 5736320 w 7467600"/>
              <a:gd name="connsiteY616" fmla="*/ 1501803 h 6858000"/>
              <a:gd name="connsiteX617" fmla="*/ 6516292 w 7467600"/>
              <a:gd name="connsiteY617" fmla="*/ 1263064 h 6858000"/>
              <a:gd name="connsiteX618" fmla="*/ 291466 w 7467600"/>
              <a:gd name="connsiteY618" fmla="*/ 1250369 h 6858000"/>
              <a:gd name="connsiteX619" fmla="*/ 323180 w 7467600"/>
              <a:gd name="connsiteY619" fmla="*/ 1435283 h 6858000"/>
              <a:gd name="connsiteX620" fmla="*/ 349381 w 7467600"/>
              <a:gd name="connsiteY620" fmla="*/ 1875041 h 6858000"/>
              <a:gd name="connsiteX621" fmla="*/ 374363 w 7467600"/>
              <a:gd name="connsiteY621" fmla="*/ 1506494 h 6858000"/>
              <a:gd name="connsiteX622" fmla="*/ 302168 w 7467600"/>
              <a:gd name="connsiteY622" fmla="*/ 1274495 h 6858000"/>
              <a:gd name="connsiteX623" fmla="*/ 291466 w 7467600"/>
              <a:gd name="connsiteY623" fmla="*/ 1250369 h 6858000"/>
              <a:gd name="connsiteX624" fmla="*/ 678222 w 7467600"/>
              <a:gd name="connsiteY624" fmla="*/ 1248670 h 6858000"/>
              <a:gd name="connsiteX625" fmla="*/ 775536 w 7467600"/>
              <a:gd name="connsiteY625" fmla="*/ 1388015 h 6858000"/>
              <a:gd name="connsiteX626" fmla="*/ 894529 w 7467600"/>
              <a:gd name="connsiteY626" fmla="*/ 1567739 h 6858000"/>
              <a:gd name="connsiteX627" fmla="*/ 948000 w 7467600"/>
              <a:gd name="connsiteY627" fmla="*/ 1663088 h 6858000"/>
              <a:gd name="connsiteX628" fmla="*/ 1006812 w 7467600"/>
              <a:gd name="connsiteY628" fmla="*/ 1767683 h 6858000"/>
              <a:gd name="connsiteX629" fmla="*/ 1149133 w 7467600"/>
              <a:gd name="connsiteY629" fmla="*/ 1971513 h 6858000"/>
              <a:gd name="connsiteX630" fmla="*/ 1333952 w 7467600"/>
              <a:gd name="connsiteY630" fmla="*/ 2251620 h 6858000"/>
              <a:gd name="connsiteX631" fmla="*/ 1337329 w 7467600"/>
              <a:gd name="connsiteY631" fmla="*/ 2258350 h 6858000"/>
              <a:gd name="connsiteX632" fmla="*/ 1014726 w 7467600"/>
              <a:gd name="connsiteY632" fmla="*/ 1615556 h 6858000"/>
              <a:gd name="connsiteX633" fmla="*/ 678222 w 7467600"/>
              <a:gd name="connsiteY633" fmla="*/ 1248670 h 6858000"/>
              <a:gd name="connsiteX634" fmla="*/ 6691602 w 7467600"/>
              <a:gd name="connsiteY634" fmla="*/ 1140573 h 6858000"/>
              <a:gd name="connsiteX635" fmla="*/ 6571100 w 7467600"/>
              <a:gd name="connsiteY635" fmla="*/ 1183662 h 6858000"/>
              <a:gd name="connsiteX636" fmla="*/ 6241687 w 7467600"/>
              <a:gd name="connsiteY636" fmla="*/ 1257600 h 6858000"/>
              <a:gd name="connsiteX637" fmla="*/ 5693009 w 7467600"/>
              <a:gd name="connsiteY637" fmla="*/ 1478256 h 6858000"/>
              <a:gd name="connsiteX638" fmla="*/ 6548420 w 7467600"/>
              <a:gd name="connsiteY638" fmla="*/ 1214599 h 6858000"/>
              <a:gd name="connsiteX639" fmla="*/ 6605473 w 7467600"/>
              <a:gd name="connsiteY639" fmla="*/ 1184686 h 6858000"/>
              <a:gd name="connsiteX640" fmla="*/ 6691602 w 7467600"/>
              <a:gd name="connsiteY640" fmla="*/ 1140573 h 6858000"/>
              <a:gd name="connsiteX641" fmla="*/ 4002475 w 7467600"/>
              <a:gd name="connsiteY641" fmla="*/ 1037802 h 6858000"/>
              <a:gd name="connsiteX642" fmla="*/ 4000324 w 7467600"/>
              <a:gd name="connsiteY642" fmla="*/ 1039362 h 6858000"/>
              <a:gd name="connsiteX643" fmla="*/ 4002862 w 7467600"/>
              <a:gd name="connsiteY643" fmla="*/ 1042866 h 6858000"/>
              <a:gd name="connsiteX644" fmla="*/ 4002475 w 7467600"/>
              <a:gd name="connsiteY644" fmla="*/ 1037802 h 6858000"/>
              <a:gd name="connsiteX645" fmla="*/ 506322 w 7467600"/>
              <a:gd name="connsiteY645" fmla="*/ 1020997 h 6858000"/>
              <a:gd name="connsiteX646" fmla="*/ 533068 w 7467600"/>
              <a:gd name="connsiteY646" fmla="*/ 1029409 h 6858000"/>
              <a:gd name="connsiteX647" fmla="*/ 1232525 w 7467600"/>
              <a:gd name="connsiteY647" fmla="*/ 1804675 h 6858000"/>
              <a:gd name="connsiteX648" fmla="*/ 1388858 w 7467600"/>
              <a:gd name="connsiteY648" fmla="*/ 2368011 h 6858000"/>
              <a:gd name="connsiteX649" fmla="*/ 1384098 w 7467600"/>
              <a:gd name="connsiteY649" fmla="*/ 2378125 h 6858000"/>
              <a:gd name="connsiteX650" fmla="*/ 1425393 w 7467600"/>
              <a:gd name="connsiteY650" fmla="*/ 2589124 h 6858000"/>
              <a:gd name="connsiteX651" fmla="*/ 1424001 w 7467600"/>
              <a:gd name="connsiteY651" fmla="*/ 2597541 h 6858000"/>
              <a:gd name="connsiteX652" fmla="*/ 2152729 w 7467600"/>
              <a:gd name="connsiteY652" fmla="*/ 2864487 h 6858000"/>
              <a:gd name="connsiteX653" fmla="*/ 2020609 w 7467600"/>
              <a:gd name="connsiteY653" fmla="*/ 2539671 h 6858000"/>
              <a:gd name="connsiteX654" fmla="*/ 2018920 w 7467600"/>
              <a:gd name="connsiteY654" fmla="*/ 2536309 h 6858000"/>
              <a:gd name="connsiteX655" fmla="*/ 1342441 w 7467600"/>
              <a:gd name="connsiteY655" fmla="*/ 1173017 h 6858000"/>
              <a:gd name="connsiteX656" fmla="*/ 1367925 w 7467600"/>
              <a:gd name="connsiteY656" fmla="*/ 1135648 h 6858000"/>
              <a:gd name="connsiteX657" fmla="*/ 1771401 w 7467600"/>
              <a:gd name="connsiteY657" fmla="*/ 1806673 h 6858000"/>
              <a:gd name="connsiteX658" fmla="*/ 1972385 w 7467600"/>
              <a:gd name="connsiteY658" fmla="*/ 2198735 h 6858000"/>
              <a:gd name="connsiteX659" fmla="*/ 2040892 w 7467600"/>
              <a:gd name="connsiteY659" fmla="*/ 2405205 h 6858000"/>
              <a:gd name="connsiteX660" fmla="*/ 2131689 w 7467600"/>
              <a:gd name="connsiteY660" fmla="*/ 1936926 h 6858000"/>
              <a:gd name="connsiteX661" fmla="*/ 2454820 w 7467600"/>
              <a:gd name="connsiteY661" fmla="*/ 1248808 h 6858000"/>
              <a:gd name="connsiteX662" fmla="*/ 2492512 w 7467600"/>
              <a:gd name="connsiteY662" fmla="*/ 1302920 h 6858000"/>
              <a:gd name="connsiteX663" fmla="*/ 2081216 w 7467600"/>
              <a:gd name="connsiteY663" fmla="*/ 2527513 h 6858000"/>
              <a:gd name="connsiteX664" fmla="*/ 2081211 w 7467600"/>
              <a:gd name="connsiteY664" fmla="*/ 2528916 h 6858000"/>
              <a:gd name="connsiteX665" fmla="*/ 2199067 w 7467600"/>
              <a:gd name="connsiteY665" fmla="*/ 2884061 h 6858000"/>
              <a:gd name="connsiteX666" fmla="*/ 3192586 w 7467600"/>
              <a:gd name="connsiteY666" fmla="*/ 3411496 h 6858000"/>
              <a:gd name="connsiteX667" fmla="*/ 3182620 w 7467600"/>
              <a:gd name="connsiteY667" fmla="*/ 3483279 h 6858000"/>
              <a:gd name="connsiteX668" fmla="*/ 2435119 w 7467600"/>
              <a:gd name="connsiteY668" fmla="*/ 3080173 h 6858000"/>
              <a:gd name="connsiteX669" fmla="*/ 2410152 w 7467600"/>
              <a:gd name="connsiteY669" fmla="*/ 3063751 h 6858000"/>
              <a:gd name="connsiteX670" fmla="*/ 2408099 w 7467600"/>
              <a:gd name="connsiteY670" fmla="*/ 3064403 h 6858000"/>
              <a:gd name="connsiteX671" fmla="*/ 2407218 w 7467600"/>
              <a:gd name="connsiteY671" fmla="*/ 3070324 h 6858000"/>
              <a:gd name="connsiteX672" fmla="*/ 2380138 w 7467600"/>
              <a:gd name="connsiteY672" fmla="*/ 3099341 h 6858000"/>
              <a:gd name="connsiteX673" fmla="*/ 1765923 w 7467600"/>
              <a:gd name="connsiteY673" fmla="*/ 3581043 h 6858000"/>
              <a:gd name="connsiteX674" fmla="*/ 1702258 w 7467600"/>
              <a:gd name="connsiteY674" fmla="*/ 3612286 h 6858000"/>
              <a:gd name="connsiteX675" fmla="*/ 1538370 w 7467600"/>
              <a:gd name="connsiteY675" fmla="*/ 3811804 h 6858000"/>
              <a:gd name="connsiteX676" fmla="*/ 542867 w 7467600"/>
              <a:gd name="connsiteY676" fmla="*/ 4944092 h 6858000"/>
              <a:gd name="connsiteX677" fmla="*/ 515800 w 7467600"/>
              <a:gd name="connsiteY677" fmla="*/ 4862180 h 6858000"/>
              <a:gd name="connsiteX678" fmla="*/ 909145 w 7467600"/>
              <a:gd name="connsiteY678" fmla="*/ 4199225 h 6858000"/>
              <a:gd name="connsiteX679" fmla="*/ 1214067 w 7467600"/>
              <a:gd name="connsiteY679" fmla="*/ 3908561 h 6858000"/>
              <a:gd name="connsiteX680" fmla="*/ 640967 w 7467600"/>
              <a:gd name="connsiteY680" fmla="*/ 4105601 h 6858000"/>
              <a:gd name="connsiteX681" fmla="*/ 112563 w 7467600"/>
              <a:gd name="connsiteY681" fmla="*/ 4396952 h 6858000"/>
              <a:gd name="connsiteX682" fmla="*/ 0 w 7467600"/>
              <a:gd name="connsiteY682" fmla="*/ 4466006 h 6858000"/>
              <a:gd name="connsiteX683" fmla="*/ 0 w 7467600"/>
              <a:gd name="connsiteY683" fmla="*/ 4233763 h 6858000"/>
              <a:gd name="connsiteX684" fmla="*/ 36881 w 7467600"/>
              <a:gd name="connsiteY684" fmla="*/ 4200118 h 6858000"/>
              <a:gd name="connsiteX685" fmla="*/ 910534 w 7467600"/>
              <a:gd name="connsiteY685" fmla="*/ 3629753 h 6858000"/>
              <a:gd name="connsiteX686" fmla="*/ 1578717 w 7467600"/>
              <a:gd name="connsiteY686" fmla="*/ 3575982 h 6858000"/>
              <a:gd name="connsiteX687" fmla="*/ 2338780 w 7467600"/>
              <a:gd name="connsiteY687" fmla="*/ 3033725 h 6858000"/>
              <a:gd name="connsiteX688" fmla="*/ 1807991 w 7467600"/>
              <a:gd name="connsiteY688" fmla="*/ 2807184 h 6858000"/>
              <a:gd name="connsiteX689" fmla="*/ 1416358 w 7467600"/>
              <a:gd name="connsiteY689" fmla="*/ 3112571 h 6858000"/>
              <a:gd name="connsiteX690" fmla="*/ 939066 w 7467600"/>
              <a:gd name="connsiteY690" fmla="*/ 3378798 h 6858000"/>
              <a:gd name="connsiteX691" fmla="*/ 115099 w 7467600"/>
              <a:gd name="connsiteY691" fmla="*/ 3607650 h 6858000"/>
              <a:gd name="connsiteX692" fmla="*/ 97284 w 7467600"/>
              <a:gd name="connsiteY692" fmla="*/ 3520393 h 6858000"/>
              <a:gd name="connsiteX693" fmla="*/ 922050 w 7467600"/>
              <a:gd name="connsiteY693" fmla="*/ 3074867 h 6858000"/>
              <a:gd name="connsiteX694" fmla="*/ 1405265 w 7467600"/>
              <a:gd name="connsiteY694" fmla="*/ 3016319 h 6858000"/>
              <a:gd name="connsiteX695" fmla="*/ 1407512 w 7467600"/>
              <a:gd name="connsiteY695" fmla="*/ 3018001 h 6858000"/>
              <a:gd name="connsiteX696" fmla="*/ 1726266 w 7467600"/>
              <a:gd name="connsiteY696" fmla="*/ 2777274 h 6858000"/>
              <a:gd name="connsiteX697" fmla="*/ 625390 w 7467600"/>
              <a:gd name="connsiteY697" fmla="*/ 2514541 h 6858000"/>
              <a:gd name="connsiteX698" fmla="*/ 619799 w 7467600"/>
              <a:gd name="connsiteY698" fmla="*/ 2527180 h 6858000"/>
              <a:gd name="connsiteX699" fmla="*/ 310030 w 7467600"/>
              <a:gd name="connsiteY699" fmla="*/ 2771818 h 6858000"/>
              <a:gd name="connsiteX700" fmla="*/ 173877 w 7467600"/>
              <a:gd name="connsiteY700" fmla="*/ 2937056 h 6858000"/>
              <a:gd name="connsiteX701" fmla="*/ 77889 w 7467600"/>
              <a:gd name="connsiteY701" fmla="*/ 3138440 h 6858000"/>
              <a:gd name="connsiteX702" fmla="*/ 0 w 7467600"/>
              <a:gd name="connsiteY702" fmla="*/ 3271395 h 6858000"/>
              <a:gd name="connsiteX703" fmla="*/ 0 w 7467600"/>
              <a:gd name="connsiteY703" fmla="*/ 3153002 h 6858000"/>
              <a:gd name="connsiteX704" fmla="*/ 2386 w 7467600"/>
              <a:gd name="connsiteY704" fmla="*/ 3149203 h 6858000"/>
              <a:gd name="connsiteX705" fmla="*/ 89753 w 7467600"/>
              <a:gd name="connsiteY705" fmla="*/ 2987702 h 6858000"/>
              <a:gd name="connsiteX706" fmla="*/ 76869 w 7467600"/>
              <a:gd name="connsiteY706" fmla="*/ 3005404 h 6858000"/>
              <a:gd name="connsiteX707" fmla="*/ 32049 w 7467600"/>
              <a:gd name="connsiteY707" fmla="*/ 3065814 h 6858000"/>
              <a:gd name="connsiteX708" fmla="*/ 0 w 7467600"/>
              <a:gd name="connsiteY708" fmla="*/ 3108744 h 6858000"/>
              <a:gd name="connsiteX709" fmla="*/ 0 w 7467600"/>
              <a:gd name="connsiteY709" fmla="*/ 3058059 h 6858000"/>
              <a:gd name="connsiteX710" fmla="*/ 7610 w 7467600"/>
              <a:gd name="connsiteY710" fmla="*/ 3047889 h 6858000"/>
              <a:gd name="connsiteX711" fmla="*/ 52419 w 7467600"/>
              <a:gd name="connsiteY711" fmla="*/ 2987479 h 6858000"/>
              <a:gd name="connsiteX712" fmla="*/ 59142 w 7467600"/>
              <a:gd name="connsiteY712" fmla="*/ 2978488 h 6858000"/>
              <a:gd name="connsiteX713" fmla="*/ 0 w 7467600"/>
              <a:gd name="connsiteY713" fmla="*/ 3015334 h 6858000"/>
              <a:gd name="connsiteX714" fmla="*/ 0 w 7467600"/>
              <a:gd name="connsiteY714" fmla="*/ 2914286 h 6858000"/>
              <a:gd name="connsiteX715" fmla="*/ 36383 w 7467600"/>
              <a:gd name="connsiteY715" fmla="*/ 2901128 h 6858000"/>
              <a:gd name="connsiteX716" fmla="*/ 156329 w 7467600"/>
              <a:gd name="connsiteY716" fmla="*/ 2840533 h 6858000"/>
              <a:gd name="connsiteX717" fmla="*/ 358355 w 7467600"/>
              <a:gd name="connsiteY717" fmla="*/ 2620471 h 6858000"/>
              <a:gd name="connsiteX718" fmla="*/ 510577 w 7467600"/>
              <a:gd name="connsiteY718" fmla="*/ 2501244 h 6858000"/>
              <a:gd name="connsiteX719" fmla="*/ 211967 w 7467600"/>
              <a:gd name="connsiteY719" fmla="*/ 2479171 h 6858000"/>
              <a:gd name="connsiteX720" fmla="*/ 0 w 7467600"/>
              <a:gd name="connsiteY720" fmla="*/ 2476398 h 6858000"/>
              <a:gd name="connsiteX721" fmla="*/ 0 w 7467600"/>
              <a:gd name="connsiteY721" fmla="*/ 2389189 h 6858000"/>
              <a:gd name="connsiteX722" fmla="*/ 103062 w 7467600"/>
              <a:gd name="connsiteY722" fmla="*/ 2389518 h 6858000"/>
              <a:gd name="connsiteX723" fmla="*/ 510734 w 7467600"/>
              <a:gd name="connsiteY723" fmla="*/ 2416201 h 6858000"/>
              <a:gd name="connsiteX724" fmla="*/ 279257 w 7467600"/>
              <a:gd name="connsiteY724" fmla="*/ 2092102 h 6858000"/>
              <a:gd name="connsiteX725" fmla="*/ 65265 w 7467600"/>
              <a:gd name="connsiteY725" fmla="*/ 2006049 h 6858000"/>
              <a:gd name="connsiteX726" fmla="*/ 0 w 7467600"/>
              <a:gd name="connsiteY726" fmla="*/ 1982532 h 6858000"/>
              <a:gd name="connsiteX727" fmla="*/ 0 w 7467600"/>
              <a:gd name="connsiteY727" fmla="*/ 1912789 h 6858000"/>
              <a:gd name="connsiteX728" fmla="*/ 97460 w 7467600"/>
              <a:gd name="connsiteY728" fmla="*/ 1953725 h 6858000"/>
              <a:gd name="connsiteX729" fmla="*/ 221272 w 7467600"/>
              <a:gd name="connsiteY729" fmla="*/ 1980766 h 6858000"/>
              <a:gd name="connsiteX730" fmla="*/ 116765 w 7467600"/>
              <a:gd name="connsiteY730" fmla="*/ 1911033 h 6858000"/>
              <a:gd name="connsiteX731" fmla="*/ 16405 w 7467600"/>
              <a:gd name="connsiteY731" fmla="*/ 1803412 h 6858000"/>
              <a:gd name="connsiteX732" fmla="*/ 0 w 7467600"/>
              <a:gd name="connsiteY732" fmla="*/ 1784777 h 6858000"/>
              <a:gd name="connsiteX733" fmla="*/ 0 w 7467600"/>
              <a:gd name="connsiteY733" fmla="*/ 1740082 h 6858000"/>
              <a:gd name="connsiteX734" fmla="*/ 39394 w 7467600"/>
              <a:gd name="connsiteY734" fmla="*/ 1784856 h 6858000"/>
              <a:gd name="connsiteX735" fmla="*/ 135813 w 7467600"/>
              <a:gd name="connsiteY735" fmla="*/ 1888838 h 6858000"/>
              <a:gd name="connsiteX736" fmla="*/ 242575 w 7467600"/>
              <a:gd name="connsiteY736" fmla="*/ 1958841 h 6858000"/>
              <a:gd name="connsiteX737" fmla="*/ 82197 w 7467600"/>
              <a:gd name="connsiteY737" fmla="*/ 1754826 h 6858000"/>
              <a:gd name="connsiteX738" fmla="*/ 0 w 7467600"/>
              <a:gd name="connsiteY738" fmla="*/ 1679650 h 6858000"/>
              <a:gd name="connsiteX739" fmla="*/ 0 w 7467600"/>
              <a:gd name="connsiteY739" fmla="*/ 1602463 h 6858000"/>
              <a:gd name="connsiteX740" fmla="*/ 84689 w 7467600"/>
              <a:gd name="connsiteY740" fmla="*/ 1677442 h 6858000"/>
              <a:gd name="connsiteX741" fmla="*/ 298437 w 7467600"/>
              <a:gd name="connsiteY741" fmla="*/ 1968019 h 6858000"/>
              <a:gd name="connsiteX742" fmla="*/ 227269 w 7467600"/>
              <a:gd name="connsiteY742" fmla="*/ 1114064 h 6858000"/>
              <a:gd name="connsiteX743" fmla="*/ 248003 w 7467600"/>
              <a:gd name="connsiteY743" fmla="*/ 1089613 h 6858000"/>
              <a:gd name="connsiteX744" fmla="*/ 427020 w 7467600"/>
              <a:gd name="connsiteY744" fmla="*/ 1619803 h 6858000"/>
              <a:gd name="connsiteX745" fmla="*/ 340345 w 7467600"/>
              <a:gd name="connsiteY745" fmla="*/ 2027739 h 6858000"/>
              <a:gd name="connsiteX746" fmla="*/ 360865 w 7467600"/>
              <a:gd name="connsiteY746" fmla="*/ 2044827 h 6858000"/>
              <a:gd name="connsiteX747" fmla="*/ 560414 w 7467600"/>
              <a:gd name="connsiteY747" fmla="*/ 2421457 h 6858000"/>
              <a:gd name="connsiteX748" fmla="*/ 1359703 w 7467600"/>
              <a:gd name="connsiteY748" fmla="*/ 2578554 h 6858000"/>
              <a:gd name="connsiteX749" fmla="*/ 1359422 w 7467600"/>
              <a:gd name="connsiteY749" fmla="*/ 2577994 h 6858000"/>
              <a:gd name="connsiteX750" fmla="*/ 828701 w 7467600"/>
              <a:gd name="connsiteY750" fmla="*/ 1839520 h 6858000"/>
              <a:gd name="connsiteX751" fmla="*/ 494427 w 7467600"/>
              <a:gd name="connsiteY751" fmla="*/ 1092333 h 6858000"/>
              <a:gd name="connsiteX752" fmla="*/ 506322 w 7467600"/>
              <a:gd name="connsiteY752" fmla="*/ 1020997 h 6858000"/>
              <a:gd name="connsiteX753" fmla="*/ 4570198 w 7467600"/>
              <a:gd name="connsiteY753" fmla="*/ 978081 h 6858000"/>
              <a:gd name="connsiteX754" fmla="*/ 4523691 w 7467600"/>
              <a:gd name="connsiteY754" fmla="*/ 1127776 h 6858000"/>
              <a:gd name="connsiteX755" fmla="*/ 4509875 w 7467600"/>
              <a:gd name="connsiteY755" fmla="*/ 1167552 h 6858000"/>
              <a:gd name="connsiteX756" fmla="*/ 4478168 w 7467600"/>
              <a:gd name="connsiteY756" fmla="*/ 1260735 h 6858000"/>
              <a:gd name="connsiteX757" fmla="*/ 4409309 w 7467600"/>
              <a:gd name="connsiteY757" fmla="*/ 1666996 h 6858000"/>
              <a:gd name="connsiteX758" fmla="*/ 4370031 w 7467600"/>
              <a:gd name="connsiteY758" fmla="*/ 1955666 h 6858000"/>
              <a:gd name="connsiteX759" fmla="*/ 4570198 w 7467600"/>
              <a:gd name="connsiteY759" fmla="*/ 978081 h 6858000"/>
              <a:gd name="connsiteX760" fmla="*/ 4557898 w 7467600"/>
              <a:gd name="connsiteY760" fmla="*/ 900011 h 6858000"/>
              <a:gd name="connsiteX761" fmla="*/ 4344840 w 7467600"/>
              <a:gd name="connsiteY761" fmla="*/ 1922038 h 6858000"/>
              <a:gd name="connsiteX762" fmla="*/ 4378710 w 7467600"/>
              <a:gd name="connsiteY762" fmla="*/ 1665516 h 6858000"/>
              <a:gd name="connsiteX763" fmla="*/ 4448798 w 7467600"/>
              <a:gd name="connsiteY763" fmla="*/ 1253024 h 6858000"/>
              <a:gd name="connsiteX764" fmla="*/ 4480315 w 7467600"/>
              <a:gd name="connsiteY764" fmla="*/ 1158454 h 6858000"/>
              <a:gd name="connsiteX765" fmla="*/ 4494133 w 7467600"/>
              <a:gd name="connsiteY765" fmla="*/ 1118676 h 6858000"/>
              <a:gd name="connsiteX766" fmla="*/ 4557898 w 7467600"/>
              <a:gd name="connsiteY766" fmla="*/ 900011 h 6858000"/>
              <a:gd name="connsiteX767" fmla="*/ 5870151 w 7467600"/>
              <a:gd name="connsiteY767" fmla="*/ 898890 h 6858000"/>
              <a:gd name="connsiteX768" fmla="*/ 5861335 w 7467600"/>
              <a:gd name="connsiteY768" fmla="*/ 899177 h 6858000"/>
              <a:gd name="connsiteX769" fmla="*/ 5843702 w 7467600"/>
              <a:gd name="connsiteY769" fmla="*/ 899748 h 6858000"/>
              <a:gd name="connsiteX770" fmla="*/ 5651107 w 7467600"/>
              <a:gd name="connsiteY770" fmla="*/ 920306 h 6858000"/>
              <a:gd name="connsiteX771" fmla="*/ 5459407 w 7467600"/>
              <a:gd name="connsiteY771" fmla="*/ 940975 h 6858000"/>
              <a:gd name="connsiteX772" fmla="*/ 5374846 w 7467600"/>
              <a:gd name="connsiteY772" fmla="*/ 941988 h 6858000"/>
              <a:gd name="connsiteX773" fmla="*/ 5256105 w 7467600"/>
              <a:gd name="connsiteY773" fmla="*/ 945632 h 6858000"/>
              <a:gd name="connsiteX774" fmla="*/ 5107071 w 7467600"/>
              <a:gd name="connsiteY774" fmla="*/ 969720 h 6858000"/>
              <a:gd name="connsiteX775" fmla="*/ 4998681 w 7467600"/>
              <a:gd name="connsiteY775" fmla="*/ 988771 h 6858000"/>
              <a:gd name="connsiteX776" fmla="*/ 5870151 w 7467600"/>
              <a:gd name="connsiteY776" fmla="*/ 898890 h 6858000"/>
              <a:gd name="connsiteX777" fmla="*/ 5504425 w 7467600"/>
              <a:gd name="connsiteY777" fmla="*/ 848067 h 6858000"/>
              <a:gd name="connsiteX778" fmla="*/ 4968849 w 7467600"/>
              <a:gd name="connsiteY778" fmla="*/ 962318 h 6858000"/>
              <a:gd name="connsiteX779" fmla="*/ 5104039 w 7467600"/>
              <a:gd name="connsiteY779" fmla="*/ 940634 h 6858000"/>
              <a:gd name="connsiteX780" fmla="*/ 5256311 w 7467600"/>
              <a:gd name="connsiteY780" fmla="*/ 916490 h 6858000"/>
              <a:gd name="connsiteX781" fmla="*/ 5377381 w 7467600"/>
              <a:gd name="connsiteY781" fmla="*/ 912671 h 6858000"/>
              <a:gd name="connsiteX782" fmla="*/ 5460148 w 7467600"/>
              <a:gd name="connsiteY782" fmla="*/ 911442 h 6858000"/>
              <a:gd name="connsiteX783" fmla="*/ 5648971 w 7467600"/>
              <a:gd name="connsiteY783" fmla="*/ 891331 h 6858000"/>
              <a:gd name="connsiteX784" fmla="*/ 5844807 w 7467600"/>
              <a:gd name="connsiteY784" fmla="*/ 870718 h 6858000"/>
              <a:gd name="connsiteX785" fmla="*/ 5862975 w 7467600"/>
              <a:gd name="connsiteY785" fmla="*/ 869756 h 6858000"/>
              <a:gd name="connsiteX786" fmla="*/ 5920887 w 7467600"/>
              <a:gd name="connsiteY786" fmla="*/ 865929 h 6858000"/>
              <a:gd name="connsiteX787" fmla="*/ 5504425 w 7467600"/>
              <a:gd name="connsiteY787" fmla="*/ 848067 h 6858000"/>
              <a:gd name="connsiteX788" fmla="*/ 3607114 w 7467600"/>
              <a:gd name="connsiteY788" fmla="*/ 467441 h 6858000"/>
              <a:gd name="connsiteX789" fmla="*/ 3296242 w 7467600"/>
              <a:gd name="connsiteY789" fmla="*/ 807991 h 6858000"/>
              <a:gd name="connsiteX790" fmla="*/ 3174674 w 7467600"/>
              <a:gd name="connsiteY790" fmla="*/ 919759 h 6858000"/>
              <a:gd name="connsiteX791" fmla="*/ 3042978 w 7467600"/>
              <a:gd name="connsiteY791" fmla="*/ 1054894 h 6858000"/>
              <a:gd name="connsiteX792" fmla="*/ 2968914 w 7467600"/>
              <a:gd name="connsiteY792" fmla="*/ 1133756 h 6858000"/>
              <a:gd name="connsiteX793" fmla="*/ 3103823 w 7467600"/>
              <a:gd name="connsiteY793" fmla="*/ 1026814 h 6858000"/>
              <a:gd name="connsiteX794" fmla="*/ 3607114 w 7467600"/>
              <a:gd name="connsiteY794" fmla="*/ 467441 h 6858000"/>
              <a:gd name="connsiteX795" fmla="*/ 3744487 w 7467600"/>
              <a:gd name="connsiteY795" fmla="*/ 383136 h 6858000"/>
              <a:gd name="connsiteX796" fmla="*/ 3970213 w 7467600"/>
              <a:gd name="connsiteY796" fmla="*/ 995559 h 6858000"/>
              <a:gd name="connsiteX797" fmla="*/ 3744487 w 7467600"/>
              <a:gd name="connsiteY797" fmla="*/ 383136 h 6858000"/>
              <a:gd name="connsiteX798" fmla="*/ 3624562 w 7467600"/>
              <a:gd name="connsiteY798" fmla="*/ 367041 h 6858000"/>
              <a:gd name="connsiteX799" fmla="*/ 3489712 w 7467600"/>
              <a:gd name="connsiteY799" fmla="*/ 485386 h 6858000"/>
              <a:gd name="connsiteX800" fmla="*/ 3182994 w 7467600"/>
              <a:gd name="connsiteY800" fmla="*/ 828265 h 6858000"/>
              <a:gd name="connsiteX801" fmla="*/ 2892114 w 7467600"/>
              <a:gd name="connsiteY801" fmla="*/ 1172635 h 6858000"/>
              <a:gd name="connsiteX802" fmla="*/ 3021459 w 7467600"/>
              <a:gd name="connsiteY802" fmla="*/ 1035385 h 6858000"/>
              <a:gd name="connsiteX803" fmla="*/ 3153873 w 7467600"/>
              <a:gd name="connsiteY803" fmla="*/ 898971 h 6858000"/>
              <a:gd name="connsiteX804" fmla="*/ 3276511 w 7467600"/>
              <a:gd name="connsiteY804" fmla="*/ 786423 h 6858000"/>
              <a:gd name="connsiteX805" fmla="*/ 3584154 w 7467600"/>
              <a:gd name="connsiteY805" fmla="*/ 448218 h 6858000"/>
              <a:gd name="connsiteX806" fmla="*/ 3624562 w 7467600"/>
              <a:gd name="connsiteY806" fmla="*/ 367041 h 6858000"/>
              <a:gd name="connsiteX807" fmla="*/ 3766672 w 7467600"/>
              <a:gd name="connsiteY807" fmla="*/ 359429 h 6858000"/>
              <a:gd name="connsiteX808" fmla="*/ 3996338 w 7467600"/>
              <a:gd name="connsiteY808" fmla="*/ 968237 h 6858000"/>
              <a:gd name="connsiteX809" fmla="*/ 3766672 w 7467600"/>
              <a:gd name="connsiteY809" fmla="*/ 359429 h 6858000"/>
              <a:gd name="connsiteX810" fmla="*/ 5805386 w 7467600"/>
              <a:gd name="connsiteY810" fmla="*/ 239240 h 6858000"/>
              <a:gd name="connsiteX811" fmla="*/ 5736947 w 7467600"/>
              <a:gd name="connsiteY811" fmla="*/ 261367 h 6858000"/>
              <a:gd name="connsiteX812" fmla="*/ 5427012 w 7467600"/>
              <a:gd name="connsiteY812" fmla="*/ 311272 h 6858000"/>
              <a:gd name="connsiteX813" fmla="*/ 5147818 w 7467600"/>
              <a:gd name="connsiteY813" fmla="*/ 322112 h 6858000"/>
              <a:gd name="connsiteX814" fmla="*/ 5060854 w 7467600"/>
              <a:gd name="connsiteY814" fmla="*/ 311882 h 6858000"/>
              <a:gd name="connsiteX815" fmla="*/ 4945989 w 7467600"/>
              <a:gd name="connsiteY815" fmla="*/ 300516 h 6858000"/>
              <a:gd name="connsiteX816" fmla="*/ 5410479 w 7467600"/>
              <a:gd name="connsiteY816" fmla="*/ 348434 h 6858000"/>
              <a:gd name="connsiteX817" fmla="*/ 5805386 w 7467600"/>
              <a:gd name="connsiteY817" fmla="*/ 239240 h 6858000"/>
              <a:gd name="connsiteX818" fmla="*/ 5905192 w 7467600"/>
              <a:gd name="connsiteY818" fmla="*/ 163079 h 6858000"/>
              <a:gd name="connsiteX819" fmla="*/ 5865655 w 7467600"/>
              <a:gd name="connsiteY819" fmla="*/ 171901 h 6858000"/>
              <a:gd name="connsiteX820" fmla="*/ 5259740 w 7467600"/>
              <a:gd name="connsiteY820" fmla="*/ 257013 h 6858000"/>
              <a:gd name="connsiteX821" fmla="*/ 5208466 w 7467600"/>
              <a:gd name="connsiteY821" fmla="*/ 257550 h 6858000"/>
              <a:gd name="connsiteX822" fmla="*/ 4980204 w 7467600"/>
              <a:gd name="connsiteY822" fmla="*/ 271903 h 6858000"/>
              <a:gd name="connsiteX823" fmla="*/ 5068068 w 7467600"/>
              <a:gd name="connsiteY823" fmla="*/ 282244 h 6858000"/>
              <a:gd name="connsiteX824" fmla="*/ 5153231 w 7467600"/>
              <a:gd name="connsiteY824" fmla="*/ 292240 h 6858000"/>
              <a:gd name="connsiteX825" fmla="*/ 5426491 w 7467600"/>
              <a:gd name="connsiteY825" fmla="*/ 281128 h 6858000"/>
              <a:gd name="connsiteX826" fmla="*/ 5731212 w 7467600"/>
              <a:gd name="connsiteY826" fmla="*/ 231951 h 6858000"/>
              <a:gd name="connsiteX827" fmla="*/ 5905192 w 7467600"/>
              <a:gd name="connsiteY827" fmla="*/ 163079 h 6858000"/>
              <a:gd name="connsiteX828" fmla="*/ 5944437 w 7467600"/>
              <a:gd name="connsiteY828" fmla="*/ 113829 h 6858000"/>
              <a:gd name="connsiteX829" fmla="*/ 5825032 w 7467600"/>
              <a:gd name="connsiteY829" fmla="*/ 146405 h 6858000"/>
              <a:gd name="connsiteX830" fmla="*/ 4955599 w 7467600"/>
              <a:gd name="connsiteY830" fmla="*/ 247008 h 6858000"/>
              <a:gd name="connsiteX831" fmla="*/ 5210104 w 7467600"/>
              <a:gd name="connsiteY831" fmla="*/ 228123 h 6858000"/>
              <a:gd name="connsiteX832" fmla="*/ 5261015 w 7467600"/>
              <a:gd name="connsiteY832" fmla="*/ 227087 h 6858000"/>
              <a:gd name="connsiteX833" fmla="*/ 5861181 w 7467600"/>
              <a:gd name="connsiteY833" fmla="*/ 143093 h 6858000"/>
              <a:gd name="connsiteX834" fmla="*/ 5961252 w 7467600"/>
              <a:gd name="connsiteY834" fmla="*/ 114820 h 6858000"/>
              <a:gd name="connsiteX835" fmla="*/ 5944437 w 7467600"/>
              <a:gd name="connsiteY835" fmla="*/ 113829 h 6858000"/>
              <a:gd name="connsiteX836" fmla="*/ 3882765 w 7467600"/>
              <a:gd name="connsiteY836" fmla="*/ 0 h 6858000"/>
              <a:gd name="connsiteX837" fmla="*/ 3995099 w 7467600"/>
              <a:gd name="connsiteY837" fmla="*/ 0 h 6858000"/>
              <a:gd name="connsiteX838" fmla="*/ 4163818 w 7467600"/>
              <a:gd name="connsiteY838" fmla="*/ 234104 h 6858000"/>
              <a:gd name="connsiteX839" fmla="*/ 4172099 w 7467600"/>
              <a:gd name="connsiteY839" fmla="*/ 234207 h 6858000"/>
              <a:gd name="connsiteX840" fmla="*/ 4784282 w 7467600"/>
              <a:gd name="connsiteY840" fmla="*/ 276561 h 6858000"/>
              <a:gd name="connsiteX841" fmla="*/ 4801687 w 7467600"/>
              <a:gd name="connsiteY841" fmla="*/ 267764 h 6858000"/>
              <a:gd name="connsiteX842" fmla="*/ 6082788 w 7467600"/>
              <a:gd name="connsiteY842" fmla="*/ 64119 h 6858000"/>
              <a:gd name="connsiteX843" fmla="*/ 6099442 w 7467600"/>
              <a:gd name="connsiteY843" fmla="*/ 82568 h 6858000"/>
              <a:gd name="connsiteX844" fmla="*/ 4804137 w 7467600"/>
              <a:gd name="connsiteY844" fmla="*/ 320931 h 6858000"/>
              <a:gd name="connsiteX845" fmla="*/ 4227047 w 7467600"/>
              <a:gd name="connsiteY845" fmla="*/ 313415 h 6858000"/>
              <a:gd name="connsiteX846" fmla="*/ 4346041 w 7467600"/>
              <a:gd name="connsiteY846" fmla="*/ 456086 h 6858000"/>
              <a:gd name="connsiteX847" fmla="*/ 4870967 w 7467600"/>
              <a:gd name="connsiteY847" fmla="*/ 963061 h 6858000"/>
              <a:gd name="connsiteX848" fmla="*/ 4889647 w 7467600"/>
              <a:gd name="connsiteY848" fmla="*/ 957147 h 6858000"/>
              <a:gd name="connsiteX849" fmla="*/ 5422504 w 7467600"/>
              <a:gd name="connsiteY849" fmla="*/ 805191 h 6858000"/>
              <a:gd name="connsiteX850" fmla="*/ 6087656 w 7467600"/>
              <a:gd name="connsiteY850" fmla="*/ 826703 h 6858000"/>
              <a:gd name="connsiteX851" fmla="*/ 6058717 w 7467600"/>
              <a:gd name="connsiteY851" fmla="*/ 865992 h 6858000"/>
              <a:gd name="connsiteX852" fmla="*/ 4974153 w 7467600"/>
              <a:gd name="connsiteY852" fmla="*/ 1045456 h 6858000"/>
              <a:gd name="connsiteX853" fmla="*/ 5627835 w 7467600"/>
              <a:gd name="connsiteY853" fmla="*/ 1472077 h 6858000"/>
              <a:gd name="connsiteX854" fmla="*/ 5629817 w 7467600"/>
              <a:gd name="connsiteY854" fmla="*/ 1471412 h 6858000"/>
              <a:gd name="connsiteX855" fmla="*/ 5634124 w 7467600"/>
              <a:gd name="connsiteY855" fmla="*/ 1470572 h 6858000"/>
              <a:gd name="connsiteX856" fmla="*/ 5755832 w 7467600"/>
              <a:gd name="connsiteY856" fmla="*/ 1383886 h 6858000"/>
              <a:gd name="connsiteX857" fmla="*/ 6014186 w 7467600"/>
              <a:gd name="connsiteY857" fmla="*/ 1279799 h 6858000"/>
              <a:gd name="connsiteX858" fmla="*/ 6901619 w 7467600"/>
              <a:gd name="connsiteY858" fmla="*/ 1047874 h 6858000"/>
              <a:gd name="connsiteX859" fmla="*/ 6931566 w 7467600"/>
              <a:gd name="connsiteY859" fmla="*/ 1062034 h 6858000"/>
              <a:gd name="connsiteX860" fmla="*/ 5790982 w 7467600"/>
              <a:gd name="connsiteY860" fmla="*/ 1561380 h 6858000"/>
              <a:gd name="connsiteX861" fmla="*/ 6188971 w 7467600"/>
              <a:gd name="connsiteY861" fmla="*/ 1755168 h 6858000"/>
              <a:gd name="connsiteX862" fmla="*/ 6202446 w 7467600"/>
              <a:gd name="connsiteY862" fmla="*/ 1752268 h 6858000"/>
              <a:gd name="connsiteX863" fmla="*/ 7179560 w 7467600"/>
              <a:gd name="connsiteY863" fmla="*/ 1467551 h 6858000"/>
              <a:gd name="connsiteX864" fmla="*/ 7158730 w 7467600"/>
              <a:gd name="connsiteY864" fmla="*/ 1507835 h 6858000"/>
              <a:gd name="connsiteX865" fmla="*/ 6326959 w 7467600"/>
              <a:gd name="connsiteY865" fmla="*/ 1817686 h 6858000"/>
              <a:gd name="connsiteX866" fmla="*/ 6537433 w 7467600"/>
              <a:gd name="connsiteY866" fmla="*/ 1907790 h 6858000"/>
              <a:gd name="connsiteX867" fmla="*/ 6550221 w 7467600"/>
              <a:gd name="connsiteY867" fmla="*/ 1910729 h 6858000"/>
              <a:gd name="connsiteX868" fmla="*/ 6964438 w 7467600"/>
              <a:gd name="connsiteY868" fmla="*/ 2209505 h 6858000"/>
              <a:gd name="connsiteX869" fmla="*/ 7367862 w 7467600"/>
              <a:gd name="connsiteY869" fmla="*/ 2806833 h 6858000"/>
              <a:gd name="connsiteX870" fmla="*/ 7364329 w 7467600"/>
              <a:gd name="connsiteY870" fmla="*/ 2826907 h 6858000"/>
              <a:gd name="connsiteX871" fmla="*/ 7290545 w 7467600"/>
              <a:gd name="connsiteY871" fmla="*/ 2850663 h 6858000"/>
              <a:gd name="connsiteX872" fmla="*/ 6472036 w 7467600"/>
              <a:gd name="connsiteY872" fmla="*/ 1959003 h 6858000"/>
              <a:gd name="connsiteX873" fmla="*/ 5792897 w 7467600"/>
              <a:gd name="connsiteY873" fmla="*/ 1647747 h 6858000"/>
              <a:gd name="connsiteX874" fmla="*/ 5842751 w 7467600"/>
              <a:gd name="connsiteY874" fmla="*/ 1816112 h 6858000"/>
              <a:gd name="connsiteX875" fmla="*/ 5847424 w 7467600"/>
              <a:gd name="connsiteY875" fmla="*/ 1815776 h 6858000"/>
              <a:gd name="connsiteX876" fmla="*/ 6399821 w 7467600"/>
              <a:gd name="connsiteY876" fmla="*/ 2344799 h 6858000"/>
              <a:gd name="connsiteX877" fmla="*/ 6323232 w 7467600"/>
              <a:gd name="connsiteY877" fmla="*/ 2389634 h 6858000"/>
              <a:gd name="connsiteX878" fmla="*/ 5942958 w 7467600"/>
              <a:gd name="connsiteY878" fmla="*/ 2077708 h 6858000"/>
              <a:gd name="connsiteX879" fmla="*/ 5921559 w 7467600"/>
              <a:gd name="connsiteY879" fmla="*/ 2378596 h 6858000"/>
              <a:gd name="connsiteX880" fmla="*/ 5817651 w 7467600"/>
              <a:gd name="connsiteY880" fmla="*/ 3023919 h 6858000"/>
              <a:gd name="connsiteX881" fmla="*/ 5729634 w 7467600"/>
              <a:gd name="connsiteY881" fmla="*/ 3051849 h 6858000"/>
              <a:gd name="connsiteX882" fmla="*/ 5611018 w 7467600"/>
              <a:gd name="connsiteY882" fmla="*/ 2316769 h 6858000"/>
              <a:gd name="connsiteX883" fmla="*/ 5687608 w 7467600"/>
              <a:gd name="connsiteY883" fmla="*/ 2039972 h 6858000"/>
              <a:gd name="connsiteX884" fmla="*/ 5657554 w 7467600"/>
              <a:gd name="connsiteY884" fmla="*/ 1576445 h 6858000"/>
              <a:gd name="connsiteX885" fmla="*/ 5150475 w 7467600"/>
              <a:gd name="connsiteY885" fmla="*/ 1274012 h 6858000"/>
              <a:gd name="connsiteX886" fmla="*/ 5349142 w 7467600"/>
              <a:gd name="connsiteY886" fmla="*/ 2204405 h 6858000"/>
              <a:gd name="connsiteX887" fmla="*/ 5262214 w 7467600"/>
              <a:gd name="connsiteY887" fmla="*/ 2233836 h 6858000"/>
              <a:gd name="connsiteX888" fmla="*/ 4981539 w 7467600"/>
              <a:gd name="connsiteY888" fmla="*/ 1542201 h 6858000"/>
              <a:gd name="connsiteX889" fmla="*/ 4958461 w 7467600"/>
              <a:gd name="connsiteY889" fmla="*/ 1136957 h 6858000"/>
              <a:gd name="connsiteX890" fmla="*/ 4655015 w 7467600"/>
              <a:gd name="connsiteY890" fmla="*/ 891426 h 6858000"/>
              <a:gd name="connsiteX891" fmla="*/ 4348002 w 7467600"/>
              <a:gd name="connsiteY891" fmla="*/ 2205895 h 6858000"/>
              <a:gd name="connsiteX892" fmla="*/ 4262250 w 7467600"/>
              <a:gd name="connsiteY892" fmla="*/ 2219972 h 6858000"/>
              <a:gd name="connsiteX893" fmla="*/ 4550611 w 7467600"/>
              <a:gd name="connsiteY893" fmla="*/ 817540 h 6858000"/>
              <a:gd name="connsiteX894" fmla="*/ 4564418 w 7467600"/>
              <a:gd name="connsiteY894" fmla="*/ 808293 h 6858000"/>
              <a:gd name="connsiteX895" fmla="*/ 4266388 w 7467600"/>
              <a:gd name="connsiteY895" fmla="*/ 500083 h 6858000"/>
              <a:gd name="connsiteX896" fmla="*/ 4032842 w 7467600"/>
              <a:gd name="connsiteY896" fmla="*/ 211809 h 6858000"/>
              <a:gd name="connsiteX897" fmla="*/ 3882765 w 7467600"/>
              <a:gd name="connsiteY897" fmla="*/ 0 h 6858000"/>
              <a:gd name="connsiteX898" fmla="*/ 3721337 w 7467600"/>
              <a:gd name="connsiteY898" fmla="*/ 0 h 6858000"/>
              <a:gd name="connsiteX899" fmla="*/ 3797544 w 7467600"/>
              <a:gd name="connsiteY899" fmla="*/ 0 h 6858000"/>
              <a:gd name="connsiteX900" fmla="*/ 3775734 w 7467600"/>
              <a:gd name="connsiteY900" fmla="*/ 95131 h 6858000"/>
              <a:gd name="connsiteX901" fmla="*/ 3724807 w 7467600"/>
              <a:gd name="connsiteY901" fmla="*/ 272257 h 6858000"/>
              <a:gd name="connsiteX902" fmla="*/ 3726844 w 7467600"/>
              <a:gd name="connsiteY902" fmla="*/ 282988 h 6858000"/>
              <a:gd name="connsiteX903" fmla="*/ 3742664 w 7467600"/>
              <a:gd name="connsiteY903" fmla="*/ 279918 h 6858000"/>
              <a:gd name="connsiteX904" fmla="*/ 4103910 w 7467600"/>
              <a:gd name="connsiteY904" fmla="*/ 1161917 h 6858000"/>
              <a:gd name="connsiteX905" fmla="*/ 4020269 w 7467600"/>
              <a:gd name="connsiteY905" fmla="*/ 1200406 h 6858000"/>
              <a:gd name="connsiteX906" fmla="*/ 3674882 w 7467600"/>
              <a:gd name="connsiteY906" fmla="*/ 488524 h 6858000"/>
              <a:gd name="connsiteX907" fmla="*/ 3132682 w 7467600"/>
              <a:gd name="connsiteY907" fmla="*/ 1072284 h 6858000"/>
              <a:gd name="connsiteX908" fmla="*/ 2716346 w 7467600"/>
              <a:gd name="connsiteY908" fmla="*/ 1276376 h 6858000"/>
              <a:gd name="connsiteX909" fmla="*/ 2716772 w 7467600"/>
              <a:gd name="connsiteY909" fmla="*/ 1255462 h 6858000"/>
              <a:gd name="connsiteX910" fmla="*/ 3471096 w 7467600"/>
              <a:gd name="connsiteY910" fmla="*/ 437072 h 6858000"/>
              <a:gd name="connsiteX911" fmla="*/ 3639057 w 7467600"/>
              <a:gd name="connsiteY911" fmla="*/ 286334 h 6858000"/>
              <a:gd name="connsiteX912" fmla="*/ 3640309 w 7467600"/>
              <a:gd name="connsiteY912" fmla="*/ 284664 h 6858000"/>
              <a:gd name="connsiteX913" fmla="*/ 3646022 w 7467600"/>
              <a:gd name="connsiteY913" fmla="*/ 276711 h 6858000"/>
              <a:gd name="connsiteX914" fmla="*/ 3707943 w 7467600"/>
              <a:gd name="connsiteY914" fmla="*/ 65958 h 6858000"/>
              <a:gd name="connsiteX915" fmla="*/ 3721337 w 7467600"/>
              <a:gd name="connsiteY915" fmla="*/ 0 h 6858000"/>
              <a:gd name="connsiteX916" fmla="*/ 2867960 w 7467600"/>
              <a:gd name="connsiteY916" fmla="*/ 0 h 6858000"/>
              <a:gd name="connsiteX917" fmla="*/ 2926351 w 7467600"/>
              <a:gd name="connsiteY917" fmla="*/ 0 h 6858000"/>
              <a:gd name="connsiteX918" fmla="*/ 2902823 w 7467600"/>
              <a:gd name="connsiteY918" fmla="*/ 262929 h 6858000"/>
              <a:gd name="connsiteX919" fmla="*/ 2940663 w 7467600"/>
              <a:gd name="connsiteY919" fmla="*/ 140884 h 6858000"/>
              <a:gd name="connsiteX920" fmla="*/ 2947039 w 7467600"/>
              <a:gd name="connsiteY920" fmla="*/ 122524 h 6858000"/>
              <a:gd name="connsiteX921" fmla="*/ 2984316 w 7467600"/>
              <a:gd name="connsiteY921" fmla="*/ 0 h 6858000"/>
              <a:gd name="connsiteX922" fmla="*/ 3016114 w 7467600"/>
              <a:gd name="connsiteY922" fmla="*/ 0 h 6858000"/>
              <a:gd name="connsiteX923" fmla="*/ 2979949 w 7467600"/>
              <a:gd name="connsiteY923" fmla="*/ 119274 h 6858000"/>
              <a:gd name="connsiteX924" fmla="*/ 3023879 w 7467600"/>
              <a:gd name="connsiteY924" fmla="*/ 0 h 6858000"/>
              <a:gd name="connsiteX925" fmla="*/ 3105400 w 7467600"/>
              <a:gd name="connsiteY925" fmla="*/ 0 h 6858000"/>
              <a:gd name="connsiteX926" fmla="*/ 3094669 w 7467600"/>
              <a:gd name="connsiteY926" fmla="*/ 30308 h 6858000"/>
              <a:gd name="connsiteX927" fmla="*/ 2901945 w 7467600"/>
              <a:gd name="connsiteY927" fmla="*/ 466538 h 6858000"/>
              <a:gd name="connsiteX928" fmla="*/ 2815209 w 7467600"/>
              <a:gd name="connsiteY928" fmla="*/ 497361 h 6858000"/>
              <a:gd name="connsiteX929" fmla="*/ 2844845 w 7467600"/>
              <a:gd name="connsiteY929" fmla="*/ 127638 h 6858000"/>
              <a:gd name="connsiteX930" fmla="*/ 2867960 w 7467600"/>
              <a:gd name="connsiteY930" fmla="*/ 0 h 6858000"/>
              <a:gd name="connsiteX931" fmla="*/ 1057230 w 7467600"/>
              <a:gd name="connsiteY931" fmla="*/ 0 h 6858000"/>
              <a:gd name="connsiteX932" fmla="*/ 1111003 w 7467600"/>
              <a:gd name="connsiteY932" fmla="*/ 0 h 6858000"/>
              <a:gd name="connsiteX933" fmla="*/ 1125553 w 7467600"/>
              <a:gd name="connsiteY933" fmla="*/ 52588 h 6858000"/>
              <a:gd name="connsiteX934" fmla="*/ 1304276 w 7467600"/>
              <a:gd name="connsiteY934" fmla="*/ 476275 h 6858000"/>
              <a:gd name="connsiteX935" fmla="*/ 1492066 w 7467600"/>
              <a:gd name="connsiteY935" fmla="*/ 886333 h 6858000"/>
              <a:gd name="connsiteX936" fmla="*/ 1423698 w 7467600"/>
              <a:gd name="connsiteY936" fmla="*/ 710817 h 6858000"/>
              <a:gd name="connsiteX937" fmla="*/ 1357609 w 7467600"/>
              <a:gd name="connsiteY937" fmla="*/ 532892 h 6858000"/>
              <a:gd name="connsiteX938" fmla="*/ 1309550 w 7467600"/>
              <a:gd name="connsiteY938" fmla="*/ 374031 h 6858000"/>
              <a:gd name="connsiteX939" fmla="*/ 1193673 w 7467600"/>
              <a:gd name="connsiteY939" fmla="*/ 49533 h 6858000"/>
              <a:gd name="connsiteX940" fmla="*/ 1164391 w 7467600"/>
              <a:gd name="connsiteY940" fmla="*/ 0 h 6858000"/>
              <a:gd name="connsiteX941" fmla="*/ 1200666 w 7467600"/>
              <a:gd name="connsiteY941" fmla="*/ 0 h 6858000"/>
              <a:gd name="connsiteX942" fmla="*/ 1223408 w 7467600"/>
              <a:gd name="connsiteY942" fmla="*/ 38996 h 6858000"/>
              <a:gd name="connsiteX943" fmla="*/ 1339635 w 7467600"/>
              <a:gd name="connsiteY943" fmla="*/ 365517 h 6858000"/>
              <a:gd name="connsiteX944" fmla="*/ 1387469 w 7467600"/>
              <a:gd name="connsiteY944" fmla="*/ 523079 h 6858000"/>
              <a:gd name="connsiteX945" fmla="*/ 1452685 w 7467600"/>
              <a:gd name="connsiteY945" fmla="*/ 699806 h 6858000"/>
              <a:gd name="connsiteX946" fmla="*/ 1492092 w 7467600"/>
              <a:gd name="connsiteY946" fmla="*/ 800424 h 6858000"/>
              <a:gd name="connsiteX947" fmla="*/ 1455302 w 7467600"/>
              <a:gd name="connsiteY947" fmla="*/ 632913 h 6858000"/>
              <a:gd name="connsiteX948" fmla="*/ 1222336 w 7467600"/>
              <a:gd name="connsiteY948" fmla="*/ 9480 h 6858000"/>
              <a:gd name="connsiteX949" fmla="*/ 1214634 w 7467600"/>
              <a:gd name="connsiteY949" fmla="*/ 0 h 6858000"/>
              <a:gd name="connsiteX950" fmla="*/ 1289827 w 7467600"/>
              <a:gd name="connsiteY950" fmla="*/ 0 h 6858000"/>
              <a:gd name="connsiteX951" fmla="*/ 1321076 w 7467600"/>
              <a:gd name="connsiteY951" fmla="*/ 59722 h 6858000"/>
              <a:gd name="connsiteX952" fmla="*/ 1512579 w 7467600"/>
              <a:gd name="connsiteY952" fmla="*/ 626441 h 6858000"/>
              <a:gd name="connsiteX953" fmla="*/ 1506076 w 7467600"/>
              <a:gd name="connsiteY953" fmla="*/ 1089289 h 6858000"/>
              <a:gd name="connsiteX954" fmla="*/ 1486346 w 7467600"/>
              <a:gd name="connsiteY954" fmla="*/ 1079919 h 6858000"/>
              <a:gd name="connsiteX955" fmla="*/ 1070511 w 7467600"/>
              <a:gd name="connsiteY955" fmla="*/ 48609 h 6858000"/>
              <a:gd name="connsiteX956" fmla="*/ 1057230 w 7467600"/>
              <a:gd name="connsiteY956" fmla="*/ 0 h 6858000"/>
              <a:gd name="connsiteX957" fmla="*/ 43151 w 7467600"/>
              <a:gd name="connsiteY957" fmla="*/ 0 h 6858000"/>
              <a:gd name="connsiteX958" fmla="*/ 95283 w 7467600"/>
              <a:gd name="connsiteY958" fmla="*/ 0 h 6858000"/>
              <a:gd name="connsiteX959" fmla="*/ 300708 w 7467600"/>
              <a:gd name="connsiteY959" fmla="*/ 154571 h 6858000"/>
              <a:gd name="connsiteX960" fmla="*/ 530414 w 7467600"/>
              <a:gd name="connsiteY960" fmla="*/ 354673 h 6858000"/>
              <a:gd name="connsiteX961" fmla="*/ 333785 w 7467600"/>
              <a:gd name="connsiteY961" fmla="*/ 161564 h 6858000"/>
              <a:gd name="connsiteX962" fmla="*/ 147005 w 7467600"/>
              <a:gd name="connsiteY962" fmla="*/ 0 h 6858000"/>
              <a:gd name="connsiteX963" fmla="*/ 272509 w 7467600"/>
              <a:gd name="connsiteY963" fmla="*/ 0 h 6858000"/>
              <a:gd name="connsiteX964" fmla="*/ 326276 w 7467600"/>
              <a:gd name="connsiteY964" fmla="*/ 45847 h 6858000"/>
              <a:gd name="connsiteX965" fmla="*/ 823759 w 7467600"/>
              <a:gd name="connsiteY965" fmla="*/ 574145 h 6858000"/>
              <a:gd name="connsiteX966" fmla="*/ 811254 w 7467600"/>
              <a:gd name="connsiteY966" fmla="*/ 665546 h 6858000"/>
              <a:gd name="connsiteX967" fmla="*/ 154042 w 7467600"/>
              <a:gd name="connsiteY967" fmla="*/ 261522 h 6858000"/>
              <a:gd name="connsiteX968" fmla="*/ 13550 w 7467600"/>
              <a:gd name="connsiteY968" fmla="*/ 158423 h 6858000"/>
              <a:gd name="connsiteX969" fmla="*/ 0 w 7467600"/>
              <a:gd name="connsiteY969" fmla="*/ 146618 h 6858000"/>
              <a:gd name="connsiteX970" fmla="*/ 0 w 7467600"/>
              <a:gd name="connsiteY970" fmla="*/ 59161 h 6858000"/>
              <a:gd name="connsiteX971" fmla="*/ 45427 w 7467600"/>
              <a:gd name="connsiteY971" fmla="*/ 101078 h 6858000"/>
              <a:gd name="connsiteX972" fmla="*/ 630103 w 7467600"/>
              <a:gd name="connsiteY972" fmla="*/ 485885 h 6858000"/>
              <a:gd name="connsiteX973" fmla="*/ 532040 w 7467600"/>
              <a:gd name="connsiteY973" fmla="*/ 399359 h 6858000"/>
              <a:gd name="connsiteX974" fmla="*/ 517618 w 7467600"/>
              <a:gd name="connsiteY974" fmla="*/ 385726 h 6858000"/>
              <a:gd name="connsiteX975" fmla="*/ 285074 w 7467600"/>
              <a:gd name="connsiteY975" fmla="*/ 182755 h 6858000"/>
              <a:gd name="connsiteX976" fmla="*/ 43151 w 7467600"/>
              <a:gd name="connsiteY976"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6844835 w 7467600"/>
              <a:gd name="connsiteY74" fmla="*/ 5424988 h 6858000"/>
              <a:gd name="connsiteX75" fmla="*/ 6879594 w 7467600"/>
              <a:gd name="connsiteY75" fmla="*/ 5424547 h 6858000"/>
              <a:gd name="connsiteX76" fmla="*/ 7379510 w 7467600"/>
              <a:gd name="connsiteY76" fmla="*/ 5755454 h 6858000"/>
              <a:gd name="connsiteX77" fmla="*/ 7467600 w 7467600"/>
              <a:gd name="connsiteY77" fmla="*/ 5845526 h 6858000"/>
              <a:gd name="connsiteX78" fmla="*/ 7271900 w 7467600"/>
              <a:gd name="connsiteY78" fmla="*/ 5734551 h 6858000"/>
              <a:gd name="connsiteX79" fmla="*/ 7015907 w 7467600"/>
              <a:gd name="connsiteY79" fmla="*/ 5541548 h 6858000"/>
              <a:gd name="connsiteX80" fmla="*/ 7259646 w 7467600"/>
              <a:gd name="connsiteY80" fmla="*/ 5765985 h 6858000"/>
              <a:gd name="connsiteX81" fmla="*/ 7467600 w 7467600"/>
              <a:gd name="connsiteY81" fmla="*/ 6012219 h 6858000"/>
              <a:gd name="connsiteX82" fmla="*/ 6946849 w 7467600"/>
              <a:gd name="connsiteY82" fmla="*/ 5523271 h 6858000"/>
              <a:gd name="connsiteX83" fmla="*/ 6946972 w 7467600"/>
              <a:gd name="connsiteY83" fmla="*/ 5526491 h 6858000"/>
              <a:gd name="connsiteX84" fmla="*/ 7105827 w 7467600"/>
              <a:gd name="connsiteY84" fmla="*/ 5718700 h 6858000"/>
              <a:gd name="connsiteX85" fmla="*/ 7356878 w 7467600"/>
              <a:gd name="connsiteY85" fmla="*/ 5981332 h 6858000"/>
              <a:gd name="connsiteX86" fmla="*/ 7467600 w 7467600"/>
              <a:gd name="connsiteY86" fmla="*/ 6117703 h 6858000"/>
              <a:gd name="connsiteX87" fmla="*/ 7467600 w 7467600"/>
              <a:gd name="connsiteY87" fmla="*/ 6163634 h 6858000"/>
              <a:gd name="connsiteX88" fmla="*/ 7403637 w 7467600"/>
              <a:gd name="connsiteY88" fmla="*/ 6083957 h 6858000"/>
              <a:gd name="connsiteX89" fmla="*/ 7254615 w 7467600"/>
              <a:gd name="connsiteY89" fmla="*/ 5911918 h 6858000"/>
              <a:gd name="connsiteX90" fmla="*/ 7312589 w 7467600"/>
              <a:gd name="connsiteY90" fmla="*/ 5982309 h 6858000"/>
              <a:gd name="connsiteX91" fmla="*/ 7448321 w 7467600"/>
              <a:gd name="connsiteY91" fmla="*/ 6190991 h 6858000"/>
              <a:gd name="connsiteX92" fmla="*/ 7467600 w 7467600"/>
              <a:gd name="connsiteY92" fmla="*/ 6221686 h 6858000"/>
              <a:gd name="connsiteX93" fmla="*/ 7467600 w 7467600"/>
              <a:gd name="connsiteY93" fmla="*/ 6334256 h 6858000"/>
              <a:gd name="connsiteX94" fmla="*/ 7454976 w 7467600"/>
              <a:gd name="connsiteY94" fmla="*/ 6318297 h 6858000"/>
              <a:gd name="connsiteX95" fmla="*/ 7042773 w 7467600"/>
              <a:gd name="connsiteY95" fmla="*/ 5734011 h 6858000"/>
              <a:gd name="connsiteX96" fmla="*/ 6844835 w 7467600"/>
              <a:gd name="connsiteY96" fmla="*/ 5424988 h 6858000"/>
              <a:gd name="connsiteX97" fmla="*/ 1456157 w 7467600"/>
              <a:gd name="connsiteY97" fmla="*/ 5371404 h 6858000"/>
              <a:gd name="connsiteX98" fmla="*/ 1244432 w 7467600"/>
              <a:gd name="connsiteY98" fmla="*/ 5385601 h 6858000"/>
              <a:gd name="connsiteX99" fmla="*/ 973990 w 7467600"/>
              <a:gd name="connsiteY99" fmla="*/ 5424940 h 6858000"/>
              <a:gd name="connsiteX100" fmla="*/ 1103809 w 7467600"/>
              <a:gd name="connsiteY100" fmla="*/ 5433720 h 6858000"/>
              <a:gd name="connsiteX101" fmla="*/ 1123454 w 7467600"/>
              <a:gd name="connsiteY101" fmla="*/ 5435727 h 6858000"/>
              <a:gd name="connsiteX102" fmla="*/ 1737017 w 7467600"/>
              <a:gd name="connsiteY102" fmla="*/ 5452183 h 6858000"/>
              <a:gd name="connsiteX103" fmla="*/ 1824397 w 7467600"/>
              <a:gd name="connsiteY103" fmla="*/ 5447757 h 6858000"/>
              <a:gd name="connsiteX104" fmla="*/ 2070059 w 7467600"/>
              <a:gd name="connsiteY104" fmla="*/ 5441660 h 6858000"/>
              <a:gd name="connsiteX105" fmla="*/ 1456157 w 7467600"/>
              <a:gd name="connsiteY105" fmla="*/ 5371404 h 6858000"/>
              <a:gd name="connsiteX106" fmla="*/ 4988186 w 7467600"/>
              <a:gd name="connsiteY106" fmla="*/ 5216467 h 6858000"/>
              <a:gd name="connsiteX107" fmla="*/ 4777334 w 7467600"/>
              <a:gd name="connsiteY107" fmla="*/ 5406072 h 6858000"/>
              <a:gd name="connsiteX108" fmla="*/ 4718341 w 7467600"/>
              <a:gd name="connsiteY108" fmla="*/ 5468043 h 6858000"/>
              <a:gd name="connsiteX109" fmla="*/ 4604655 w 7467600"/>
              <a:gd name="connsiteY109" fmla="*/ 5583434 h 6858000"/>
              <a:gd name="connsiteX110" fmla="*/ 4565074 w 7467600"/>
              <a:gd name="connsiteY110" fmla="*/ 5618550 h 6858000"/>
              <a:gd name="connsiteX111" fmla="*/ 4988186 w 7467600"/>
              <a:gd name="connsiteY111" fmla="*/ 5216467 h 6858000"/>
              <a:gd name="connsiteX112" fmla="*/ 4978032 w 7467600"/>
              <a:gd name="connsiteY112" fmla="*/ 5183809 h 6858000"/>
              <a:gd name="connsiteX113" fmla="*/ 4463413 w 7467600"/>
              <a:gd name="connsiteY113" fmla="*/ 5615162 h 6858000"/>
              <a:gd name="connsiteX114" fmla="*/ 4358134 w 7467600"/>
              <a:gd name="connsiteY114" fmla="*/ 5742791 h 6858000"/>
              <a:gd name="connsiteX115" fmla="*/ 4376219 w 7467600"/>
              <a:gd name="connsiteY115" fmla="*/ 5729027 h 6858000"/>
              <a:gd name="connsiteX116" fmla="*/ 4582340 w 7467600"/>
              <a:gd name="connsiteY116" fmla="*/ 5561037 h 6858000"/>
              <a:gd name="connsiteX117" fmla="*/ 4694684 w 7467600"/>
              <a:gd name="connsiteY117" fmla="*/ 5447098 h 6858000"/>
              <a:gd name="connsiteX118" fmla="*/ 4754123 w 7467600"/>
              <a:gd name="connsiteY118" fmla="*/ 5384643 h 6858000"/>
              <a:gd name="connsiteX119" fmla="*/ 4978032 w 7467600"/>
              <a:gd name="connsiteY119" fmla="*/ 5183809 h 6858000"/>
              <a:gd name="connsiteX120" fmla="*/ 1903353 w 7467600"/>
              <a:gd name="connsiteY120" fmla="*/ 5044827 h 6858000"/>
              <a:gd name="connsiteX121" fmla="*/ 1936931 w 7467600"/>
              <a:gd name="connsiteY121" fmla="*/ 5093954 h 6858000"/>
              <a:gd name="connsiteX122" fmla="*/ 2195868 w 7467600"/>
              <a:gd name="connsiteY122" fmla="*/ 5396574 h 6858000"/>
              <a:gd name="connsiteX123" fmla="*/ 2088852 w 7467600"/>
              <a:gd name="connsiteY123" fmla="*/ 5166123 h 6858000"/>
              <a:gd name="connsiteX124" fmla="*/ 1958241 w 7467600"/>
              <a:gd name="connsiteY124" fmla="*/ 5067955 h 6858000"/>
              <a:gd name="connsiteX125" fmla="*/ 1903353 w 7467600"/>
              <a:gd name="connsiteY125" fmla="*/ 5044827 h 6858000"/>
              <a:gd name="connsiteX126" fmla="*/ 1979378 w 7467600"/>
              <a:gd name="connsiteY126" fmla="*/ 4769504 h 6858000"/>
              <a:gd name="connsiteX127" fmla="*/ 2882120 w 7467600"/>
              <a:gd name="connsiteY127" fmla="*/ 5064547 h 6858000"/>
              <a:gd name="connsiteX128" fmla="*/ 2793103 w 7467600"/>
              <a:gd name="connsiteY128" fmla="*/ 5039699 h 6858000"/>
              <a:gd name="connsiteX129" fmla="*/ 2770041 w 7467600"/>
              <a:gd name="connsiteY129" fmla="*/ 5033634 h 6858000"/>
              <a:gd name="connsiteX130" fmla="*/ 1979378 w 7467600"/>
              <a:gd name="connsiteY130" fmla="*/ 4769504 h 6858000"/>
              <a:gd name="connsiteX131" fmla="*/ 1927410 w 7467600"/>
              <a:gd name="connsiteY131" fmla="*/ 4716164 h 6858000"/>
              <a:gd name="connsiteX132" fmla="*/ 1959587 w 7467600"/>
              <a:gd name="connsiteY132" fmla="*/ 4728849 h 6858000"/>
              <a:gd name="connsiteX133" fmla="*/ 2777707 w 7467600"/>
              <a:gd name="connsiteY133" fmla="*/ 5003991 h 6858000"/>
              <a:gd name="connsiteX134" fmla="*/ 2800768 w 7467600"/>
              <a:gd name="connsiteY134" fmla="*/ 5010056 h 6858000"/>
              <a:gd name="connsiteX135" fmla="*/ 2879408 w 7467600"/>
              <a:gd name="connsiteY135" fmla="*/ 5031590 h 6858000"/>
              <a:gd name="connsiteX136" fmla="*/ 2862295 w 7467600"/>
              <a:gd name="connsiteY136" fmla="*/ 5022958 h 6858000"/>
              <a:gd name="connsiteX137" fmla="*/ 2813343 w 7467600"/>
              <a:gd name="connsiteY137" fmla="*/ 4998369 h 6858000"/>
              <a:gd name="connsiteX138" fmla="*/ 2646245 w 7467600"/>
              <a:gd name="connsiteY138" fmla="*/ 4930999 h 6858000"/>
              <a:gd name="connsiteX139" fmla="*/ 1999243 w 7467600"/>
              <a:gd name="connsiteY139" fmla="*/ 4730524 h 6858000"/>
              <a:gd name="connsiteX140" fmla="*/ 1979527 w 7467600"/>
              <a:gd name="connsiteY140" fmla="*/ 4726651 h 6858000"/>
              <a:gd name="connsiteX141" fmla="*/ 1927410 w 7467600"/>
              <a:gd name="connsiteY141" fmla="*/ 4716164 h 6858000"/>
              <a:gd name="connsiteX142" fmla="*/ 1997014 w 7467600"/>
              <a:gd name="connsiteY142" fmla="*/ 4698007 h 6858000"/>
              <a:gd name="connsiteX143" fmla="*/ 2005458 w 7467600"/>
              <a:gd name="connsiteY143" fmla="*/ 4699540 h 6858000"/>
              <a:gd name="connsiteX144" fmla="*/ 2657186 w 7467600"/>
              <a:gd name="connsiteY144" fmla="*/ 4901687 h 6858000"/>
              <a:gd name="connsiteX145" fmla="*/ 2826662 w 7467600"/>
              <a:gd name="connsiteY145" fmla="*/ 4970362 h 6858000"/>
              <a:gd name="connsiteX146" fmla="*/ 2876100 w 7467600"/>
              <a:gd name="connsiteY146" fmla="*/ 4995397 h 6858000"/>
              <a:gd name="connsiteX147" fmla="*/ 3042600 w 7467600"/>
              <a:gd name="connsiteY147" fmla="*/ 5059532 h 6858000"/>
              <a:gd name="connsiteX148" fmla="*/ 1997014 w 7467600"/>
              <a:gd name="connsiteY148" fmla="*/ 4698007 h 6858000"/>
              <a:gd name="connsiteX149" fmla="*/ 2305292 w 7467600"/>
              <a:gd name="connsiteY149" fmla="*/ 4219492 h 6858000"/>
              <a:gd name="connsiteX150" fmla="*/ 3360922 w 7467600"/>
              <a:gd name="connsiteY150" fmla="*/ 4529373 h 6858000"/>
              <a:gd name="connsiteX151" fmla="*/ 3492420 w 7467600"/>
              <a:gd name="connsiteY151" fmla="*/ 4510145 h 6858000"/>
              <a:gd name="connsiteX152" fmla="*/ 3364086 w 7467600"/>
              <a:gd name="connsiteY152" fmla="*/ 4480340 h 6858000"/>
              <a:gd name="connsiteX153" fmla="*/ 3225818 w 7467600"/>
              <a:gd name="connsiteY153" fmla="*/ 4411822 h 6858000"/>
              <a:gd name="connsiteX154" fmla="*/ 3129696 w 7467600"/>
              <a:gd name="connsiteY154" fmla="*/ 4360704 h 6858000"/>
              <a:gd name="connsiteX155" fmla="*/ 2814545 w 7467600"/>
              <a:gd name="connsiteY155" fmla="*/ 4282955 h 6858000"/>
              <a:gd name="connsiteX156" fmla="*/ 2305292 w 7467600"/>
              <a:gd name="connsiteY156" fmla="*/ 4219492 h 6858000"/>
              <a:gd name="connsiteX157" fmla="*/ 2626982 w 7467600"/>
              <a:gd name="connsiteY157" fmla="*/ 4206450 h 6858000"/>
              <a:gd name="connsiteX158" fmla="*/ 2490617 w 7467600"/>
              <a:gd name="connsiteY158" fmla="*/ 4206951 h 6858000"/>
              <a:gd name="connsiteX159" fmla="*/ 2819869 w 7467600"/>
              <a:gd name="connsiteY159" fmla="*/ 4252936 h 6858000"/>
              <a:gd name="connsiteX160" fmla="*/ 3143018 w 7467600"/>
              <a:gd name="connsiteY160" fmla="*/ 4332698 h 6858000"/>
              <a:gd name="connsiteX161" fmla="*/ 3241520 w 7467600"/>
              <a:gd name="connsiteY161" fmla="*/ 4385112 h 6858000"/>
              <a:gd name="connsiteX162" fmla="*/ 3374575 w 7467600"/>
              <a:gd name="connsiteY162" fmla="*/ 4451517 h 6858000"/>
              <a:gd name="connsiteX163" fmla="*/ 3505221 w 7467600"/>
              <a:gd name="connsiteY163" fmla="*/ 4480757 h 6858000"/>
              <a:gd name="connsiteX164" fmla="*/ 2626982 w 7467600"/>
              <a:gd name="connsiteY164" fmla="*/ 4206450 h 6858000"/>
              <a:gd name="connsiteX165" fmla="*/ 1310106 w 7467600"/>
              <a:gd name="connsiteY165" fmla="*/ 3943217 h 6858000"/>
              <a:gd name="connsiteX166" fmla="*/ 854994 w 7467600"/>
              <a:gd name="connsiteY166" fmla="*/ 4399136 h 6858000"/>
              <a:gd name="connsiteX167" fmla="*/ 742462 w 7467600"/>
              <a:gd name="connsiteY167" fmla="*/ 4594648 h 6858000"/>
              <a:gd name="connsiteX168" fmla="*/ 820602 w 7467600"/>
              <a:gd name="connsiteY168" fmla="*/ 4485915 h 6858000"/>
              <a:gd name="connsiteX169" fmla="*/ 878295 w 7467600"/>
              <a:gd name="connsiteY169" fmla="*/ 4403594 h 6858000"/>
              <a:gd name="connsiteX170" fmla="*/ 1240607 w 7467600"/>
              <a:gd name="connsiteY170" fmla="*/ 4010401 h 6858000"/>
              <a:gd name="connsiteX171" fmla="*/ 1310106 w 7467600"/>
              <a:gd name="connsiteY171" fmla="*/ 3943217 h 6858000"/>
              <a:gd name="connsiteX172" fmla="*/ 1423113 w 7467600"/>
              <a:gd name="connsiteY172" fmla="*/ 3874565 h 6858000"/>
              <a:gd name="connsiteX173" fmla="*/ 1260565 w 7467600"/>
              <a:gd name="connsiteY173" fmla="*/ 4031982 h 6858000"/>
              <a:gd name="connsiteX174" fmla="*/ 901900 w 7467600"/>
              <a:gd name="connsiteY174" fmla="*/ 4421236 h 6858000"/>
              <a:gd name="connsiteX175" fmla="*/ 845044 w 7467600"/>
              <a:gd name="connsiteY175" fmla="*/ 4502436 h 6858000"/>
              <a:gd name="connsiteX176" fmla="*/ 685926 w 7467600"/>
              <a:gd name="connsiteY176" fmla="*/ 4703069 h 6858000"/>
              <a:gd name="connsiteX177" fmla="*/ 684248 w 7467600"/>
              <a:gd name="connsiteY177" fmla="*/ 4706721 h 6858000"/>
              <a:gd name="connsiteX178" fmla="*/ 1423113 w 7467600"/>
              <a:gd name="connsiteY178" fmla="*/ 3874565 h 6858000"/>
              <a:gd name="connsiteX179" fmla="*/ 3316479 w 7467600"/>
              <a:gd name="connsiteY179" fmla="*/ 3872136 h 6858000"/>
              <a:gd name="connsiteX180" fmla="*/ 3546806 w 7467600"/>
              <a:gd name="connsiteY180" fmla="*/ 4356139 h 6858000"/>
              <a:gd name="connsiteX181" fmla="*/ 3364433 w 7467600"/>
              <a:gd name="connsiteY181" fmla="*/ 3953121 h 6858000"/>
              <a:gd name="connsiteX182" fmla="*/ 3316479 w 7467600"/>
              <a:gd name="connsiteY182" fmla="*/ 3872136 h 6858000"/>
              <a:gd name="connsiteX183" fmla="*/ 3291335 w 7467600"/>
              <a:gd name="connsiteY183" fmla="*/ 3767420 h 6858000"/>
              <a:gd name="connsiteX184" fmla="*/ 3390805 w 7467600"/>
              <a:gd name="connsiteY184" fmla="*/ 3937163 h 6858000"/>
              <a:gd name="connsiteX185" fmla="*/ 3579062 w 7467600"/>
              <a:gd name="connsiteY185" fmla="*/ 4359040 h 6858000"/>
              <a:gd name="connsiteX186" fmla="*/ 3467355 w 7467600"/>
              <a:gd name="connsiteY186" fmla="*/ 3988130 h 6858000"/>
              <a:gd name="connsiteX187" fmla="*/ 3310753 w 7467600"/>
              <a:gd name="connsiteY187" fmla="*/ 3787140 h 6858000"/>
              <a:gd name="connsiteX188" fmla="*/ 3291335 w 7467600"/>
              <a:gd name="connsiteY188" fmla="*/ 3767420 h 6858000"/>
              <a:gd name="connsiteX189" fmla="*/ 1635889 w 7467600"/>
              <a:gd name="connsiteY189" fmla="*/ 3709494 h 6858000"/>
              <a:gd name="connsiteX190" fmla="*/ 1634800 w 7467600"/>
              <a:gd name="connsiteY190" fmla="*/ 3731111 h 6858000"/>
              <a:gd name="connsiteX191" fmla="*/ 1635889 w 7467600"/>
              <a:gd name="connsiteY191" fmla="*/ 3709494 h 6858000"/>
              <a:gd name="connsiteX192" fmla="*/ 1510397 w 7467600"/>
              <a:gd name="connsiteY192" fmla="*/ 3684705 h 6858000"/>
              <a:gd name="connsiteX193" fmla="*/ 1146550 w 7467600"/>
              <a:gd name="connsiteY193" fmla="*/ 3802012 h 6858000"/>
              <a:gd name="connsiteX194" fmla="*/ 698834 w 7467600"/>
              <a:gd name="connsiteY194" fmla="*/ 3952272 h 6858000"/>
              <a:gd name="connsiteX195" fmla="*/ 34256 w 7467600"/>
              <a:gd name="connsiteY195" fmla="*/ 4347603 h 6858000"/>
              <a:gd name="connsiteX196" fmla="*/ 527241 w 7467600"/>
              <a:gd name="connsiteY196" fmla="*/ 4065078 h 6858000"/>
              <a:gd name="connsiteX197" fmla="*/ 1510397 w 7467600"/>
              <a:gd name="connsiteY197" fmla="*/ 3684705 h 6858000"/>
              <a:gd name="connsiteX198" fmla="*/ 1313114 w 7467600"/>
              <a:gd name="connsiteY198" fmla="*/ 3655216 h 6858000"/>
              <a:gd name="connsiteX199" fmla="*/ 1109304 w 7467600"/>
              <a:gd name="connsiteY199" fmla="*/ 3669030 h 6858000"/>
              <a:gd name="connsiteX200" fmla="*/ 8129 w 7467600"/>
              <a:gd name="connsiteY200" fmla="*/ 4330519 h 6858000"/>
              <a:gd name="connsiteX201" fmla="*/ 687572 w 7467600"/>
              <a:gd name="connsiteY201" fmla="*/ 3925629 h 6858000"/>
              <a:gd name="connsiteX202" fmla="*/ 1138365 w 7467600"/>
              <a:gd name="connsiteY202" fmla="*/ 3774515 h 6858000"/>
              <a:gd name="connsiteX203" fmla="*/ 1505579 w 7467600"/>
              <a:gd name="connsiteY203" fmla="*/ 3655526 h 6858000"/>
              <a:gd name="connsiteX204" fmla="*/ 1313114 w 7467600"/>
              <a:gd name="connsiteY204" fmla="*/ 3655216 h 6858000"/>
              <a:gd name="connsiteX205" fmla="*/ 3655073 w 7467600"/>
              <a:gd name="connsiteY205" fmla="*/ 3650884 h 6858000"/>
              <a:gd name="connsiteX206" fmla="*/ 3989938 w 7467600"/>
              <a:gd name="connsiteY206" fmla="*/ 3991685 h 6858000"/>
              <a:gd name="connsiteX207" fmla="*/ 4393907 w 7467600"/>
              <a:gd name="connsiteY207" fmla="*/ 4261258 h 6858000"/>
              <a:gd name="connsiteX208" fmla="*/ 4648051 w 7467600"/>
              <a:gd name="connsiteY208" fmla="*/ 4374051 h 6858000"/>
              <a:gd name="connsiteX209" fmla="*/ 4383389 w 7467600"/>
              <a:gd name="connsiteY209" fmla="*/ 4184369 h 6858000"/>
              <a:gd name="connsiteX210" fmla="*/ 4165508 w 7467600"/>
              <a:gd name="connsiteY210" fmla="*/ 4035196 h 6858000"/>
              <a:gd name="connsiteX211" fmla="*/ 4068162 w 7467600"/>
              <a:gd name="connsiteY211" fmla="*/ 3953394 h 6858000"/>
              <a:gd name="connsiteX212" fmla="*/ 3981416 w 7467600"/>
              <a:gd name="connsiteY212" fmla="*/ 3880482 h 6858000"/>
              <a:gd name="connsiteX213" fmla="*/ 3800147 w 7467600"/>
              <a:gd name="connsiteY213" fmla="*/ 3749872 h 6858000"/>
              <a:gd name="connsiteX214" fmla="*/ 3655073 w 7467600"/>
              <a:gd name="connsiteY214" fmla="*/ 3650884 h 6858000"/>
              <a:gd name="connsiteX215" fmla="*/ 3670252 w 7467600"/>
              <a:gd name="connsiteY215" fmla="*/ 3622798 h 6858000"/>
              <a:gd name="connsiteX216" fmla="*/ 3817258 w 7467600"/>
              <a:gd name="connsiteY216" fmla="*/ 3723577 h 6858000"/>
              <a:gd name="connsiteX217" fmla="*/ 4000461 w 7467600"/>
              <a:gd name="connsiteY217" fmla="*/ 3855966 h 6858000"/>
              <a:gd name="connsiteX218" fmla="*/ 4088180 w 7467600"/>
              <a:gd name="connsiteY218" fmla="*/ 3929774 h 6858000"/>
              <a:gd name="connsiteX219" fmla="*/ 4184555 w 7467600"/>
              <a:gd name="connsiteY219" fmla="*/ 4010683 h 6858000"/>
              <a:gd name="connsiteX220" fmla="*/ 4399563 w 7467600"/>
              <a:gd name="connsiteY220" fmla="*/ 4158106 h 6858000"/>
              <a:gd name="connsiteX221" fmla="*/ 4684469 w 7467600"/>
              <a:gd name="connsiteY221" fmla="*/ 4364680 h 6858000"/>
              <a:gd name="connsiteX222" fmla="*/ 4690271 w 7467600"/>
              <a:gd name="connsiteY222" fmla="*/ 4370034 h 6858000"/>
              <a:gd name="connsiteX223" fmla="*/ 4136093 w 7467600"/>
              <a:gd name="connsiteY223" fmla="*/ 3858466 h 6858000"/>
              <a:gd name="connsiteX224" fmla="*/ 3670252 w 7467600"/>
              <a:gd name="connsiteY224" fmla="*/ 3622798 h 6858000"/>
              <a:gd name="connsiteX225" fmla="*/ 4440129 w 7467600"/>
              <a:gd name="connsiteY225" fmla="*/ 3448571 h 6858000"/>
              <a:gd name="connsiteX226" fmla="*/ 4856525 w 7467600"/>
              <a:gd name="connsiteY226" fmla="*/ 3915351 h 6858000"/>
              <a:gd name="connsiteX227" fmla="*/ 5059055 w 7467600"/>
              <a:gd name="connsiteY227" fmla="*/ 4108918 h 6858000"/>
              <a:gd name="connsiteX228" fmla="*/ 5290070 w 7467600"/>
              <a:gd name="connsiteY228" fmla="*/ 4263619 h 6858000"/>
              <a:gd name="connsiteX229" fmla="*/ 4834991 w 7467600"/>
              <a:gd name="connsiteY229" fmla="*/ 3830985 h 6858000"/>
              <a:gd name="connsiteX230" fmla="*/ 4440129 w 7467600"/>
              <a:gd name="connsiteY230" fmla="*/ 3448571 h 6858000"/>
              <a:gd name="connsiteX231" fmla="*/ 4441737 w 7467600"/>
              <a:gd name="connsiteY231" fmla="*/ 3399734 h 6858000"/>
              <a:gd name="connsiteX232" fmla="*/ 4431236 w 7467600"/>
              <a:gd name="connsiteY232" fmla="*/ 3400954 h 6858000"/>
              <a:gd name="connsiteX233" fmla="*/ 4557150 w 7467600"/>
              <a:gd name="connsiteY233" fmla="*/ 3510023 h 6858000"/>
              <a:gd name="connsiteX234" fmla="*/ 4856936 w 7467600"/>
              <a:gd name="connsiteY234" fmla="*/ 3809146 h 6858000"/>
              <a:gd name="connsiteX235" fmla="*/ 5111996 w 7467600"/>
              <a:gd name="connsiteY235" fmla="*/ 4065759 h 6858000"/>
              <a:gd name="connsiteX236" fmla="*/ 5388878 w 7467600"/>
              <a:gd name="connsiteY236" fmla="*/ 4300185 h 6858000"/>
              <a:gd name="connsiteX237" fmla="*/ 5425556 w 7467600"/>
              <a:gd name="connsiteY237" fmla="*/ 4308967 h 6858000"/>
              <a:gd name="connsiteX238" fmla="*/ 4943646 w 7467600"/>
              <a:gd name="connsiteY238" fmla="*/ 3822916 h 6858000"/>
              <a:gd name="connsiteX239" fmla="*/ 4594837 w 7467600"/>
              <a:gd name="connsiteY239" fmla="*/ 3532274 h 6858000"/>
              <a:gd name="connsiteX240" fmla="*/ 4441737 w 7467600"/>
              <a:gd name="connsiteY240" fmla="*/ 3399734 h 6858000"/>
              <a:gd name="connsiteX241" fmla="*/ 5425834 w 7467600"/>
              <a:gd name="connsiteY241" fmla="*/ 3162785 h 6858000"/>
              <a:gd name="connsiteX242" fmla="*/ 5401644 w 7467600"/>
              <a:gd name="connsiteY242" fmla="*/ 3617847 h 6858000"/>
              <a:gd name="connsiteX243" fmla="*/ 5467256 w 7467600"/>
              <a:gd name="connsiteY243" fmla="*/ 4175494 h 6858000"/>
              <a:gd name="connsiteX244" fmla="*/ 5448069 w 7467600"/>
              <a:gd name="connsiteY244" fmla="*/ 3567554 h 6858000"/>
              <a:gd name="connsiteX245" fmla="*/ 5425834 w 7467600"/>
              <a:gd name="connsiteY245" fmla="*/ 3162785 h 6858000"/>
              <a:gd name="connsiteX246" fmla="*/ 1318687 w 7467600"/>
              <a:gd name="connsiteY246" fmla="*/ 3113840 h 6858000"/>
              <a:gd name="connsiteX247" fmla="*/ 1066793 w 7467600"/>
              <a:gd name="connsiteY247" fmla="*/ 3212171 h 6858000"/>
              <a:gd name="connsiteX248" fmla="*/ 993319 w 7467600"/>
              <a:gd name="connsiteY248" fmla="*/ 3247648 h 6858000"/>
              <a:gd name="connsiteX249" fmla="*/ 853081 w 7467600"/>
              <a:gd name="connsiteY249" fmla="*/ 3312410 h 6858000"/>
              <a:gd name="connsiteX250" fmla="*/ 805957 w 7467600"/>
              <a:gd name="connsiteY250" fmla="*/ 3330443 h 6858000"/>
              <a:gd name="connsiteX251" fmla="*/ 1318687 w 7467600"/>
              <a:gd name="connsiteY251" fmla="*/ 3113840 h 6858000"/>
              <a:gd name="connsiteX252" fmla="*/ 5453702 w 7467600"/>
              <a:gd name="connsiteY252" fmla="*/ 3090882 h 6858000"/>
              <a:gd name="connsiteX253" fmla="*/ 5480135 w 7467600"/>
              <a:gd name="connsiteY253" fmla="*/ 3565802 h 6858000"/>
              <a:gd name="connsiteX254" fmla="*/ 5499023 w 7467600"/>
              <a:gd name="connsiteY254" fmla="*/ 4166310 h 6858000"/>
              <a:gd name="connsiteX255" fmla="*/ 5547022 w 7467600"/>
              <a:gd name="connsiteY255" fmla="*/ 3607838 h 6858000"/>
              <a:gd name="connsiteX256" fmla="*/ 5515964 w 7467600"/>
              <a:gd name="connsiteY256" fmla="*/ 3378541 h 6858000"/>
              <a:gd name="connsiteX257" fmla="*/ 5453702 w 7467600"/>
              <a:gd name="connsiteY257" fmla="*/ 3090882 h 6858000"/>
              <a:gd name="connsiteX258" fmla="*/ 1238695 w 7467600"/>
              <a:gd name="connsiteY258" fmla="*/ 3076820 h 6858000"/>
              <a:gd name="connsiteX259" fmla="*/ 716371 w 7467600"/>
              <a:gd name="connsiteY259" fmla="*/ 3293249 h 6858000"/>
              <a:gd name="connsiteX260" fmla="*/ 579522 w 7467600"/>
              <a:gd name="connsiteY260" fmla="*/ 3371759 h 6858000"/>
              <a:gd name="connsiteX261" fmla="*/ 600288 w 7467600"/>
              <a:gd name="connsiteY261" fmla="*/ 3365555 h 6858000"/>
              <a:gd name="connsiteX262" fmla="*/ 840692 w 7467600"/>
              <a:gd name="connsiteY262" fmla="*/ 3284921 h 6858000"/>
              <a:gd name="connsiteX263" fmla="*/ 979248 w 7467600"/>
              <a:gd name="connsiteY263" fmla="*/ 3221003 h 6858000"/>
              <a:gd name="connsiteX264" fmla="*/ 1053282 w 7467600"/>
              <a:gd name="connsiteY264" fmla="*/ 3185247 h 6858000"/>
              <a:gd name="connsiteX265" fmla="*/ 1320603 w 7467600"/>
              <a:gd name="connsiteY265" fmla="*/ 3081281 h 6858000"/>
              <a:gd name="connsiteX266" fmla="*/ 1238695 w 7467600"/>
              <a:gd name="connsiteY266" fmla="*/ 3076820 h 6858000"/>
              <a:gd name="connsiteX267" fmla="*/ 5425627 w 7467600"/>
              <a:gd name="connsiteY267" fmla="*/ 2954192 h 6858000"/>
              <a:gd name="connsiteX268" fmla="*/ 5470770 w 7467600"/>
              <a:gd name="connsiteY268" fmla="*/ 3005435 h 6858000"/>
              <a:gd name="connsiteX269" fmla="*/ 5519779 w 7467600"/>
              <a:gd name="connsiteY269" fmla="*/ 4359223 h 6858000"/>
              <a:gd name="connsiteX270" fmla="*/ 5520293 w 7467600"/>
              <a:gd name="connsiteY270" fmla="*/ 4360602 h 6858000"/>
              <a:gd name="connsiteX271" fmla="*/ 5767221 w 7467600"/>
              <a:gd name="connsiteY271" fmla="*/ 4665564 h 6858000"/>
              <a:gd name="connsiteX272" fmla="*/ 6937169 w 7467600"/>
              <a:gd name="connsiteY272" fmla="*/ 4815941 h 6858000"/>
              <a:gd name="connsiteX273" fmla="*/ 6953922 w 7467600"/>
              <a:gd name="connsiteY273" fmla="*/ 4890068 h 6858000"/>
              <a:gd name="connsiteX274" fmla="*/ 6071359 w 7467600"/>
              <a:gd name="connsiteY274" fmla="*/ 4770770 h 6858000"/>
              <a:gd name="connsiteX275" fmla="*/ 6038839 w 7467600"/>
              <a:gd name="connsiteY275" fmla="*/ 4764474 h 6858000"/>
              <a:gd name="connsiteX276" fmla="*/ 6038706 w 7467600"/>
              <a:gd name="connsiteY276" fmla="*/ 4763847 h 6858000"/>
              <a:gd name="connsiteX277" fmla="*/ 6037784 w 7467600"/>
              <a:gd name="connsiteY277" fmla="*/ 4764270 h 6858000"/>
              <a:gd name="connsiteX278" fmla="*/ 6038839 w 7467600"/>
              <a:gd name="connsiteY278" fmla="*/ 4764474 h 6858000"/>
              <a:gd name="connsiteX279" fmla="*/ 6040338 w 7467600"/>
              <a:gd name="connsiteY279" fmla="*/ 4771418 h 6858000"/>
              <a:gd name="connsiteX280" fmla="*/ 6024488 w 7467600"/>
              <a:gd name="connsiteY280" fmla="*/ 4809903 h 6858000"/>
              <a:gd name="connsiteX281" fmla="*/ 5599771 w 7467600"/>
              <a:gd name="connsiteY281" fmla="*/ 5509652 h 6858000"/>
              <a:gd name="connsiteX282" fmla="*/ 5548843 w 7467600"/>
              <a:gd name="connsiteY282" fmla="*/ 5563845 h 6858000"/>
              <a:gd name="connsiteX283" fmla="*/ 5940952 w 7467600"/>
              <a:gd name="connsiteY283" fmla="*/ 6250028 h 6858000"/>
              <a:gd name="connsiteX284" fmla="*/ 6043441 w 7467600"/>
              <a:gd name="connsiteY284" fmla="*/ 6665847 h 6858000"/>
              <a:gd name="connsiteX285" fmla="*/ 6093432 w 7467600"/>
              <a:gd name="connsiteY285" fmla="*/ 6858000 h 6858000"/>
              <a:gd name="connsiteX286" fmla="*/ 6034344 w 7467600"/>
              <a:gd name="connsiteY286" fmla="*/ 6858000 h 6858000"/>
              <a:gd name="connsiteX287" fmla="*/ 6026679 w 7467600"/>
              <a:gd name="connsiteY287" fmla="*/ 6836959 h 6858000"/>
              <a:gd name="connsiteX288" fmla="*/ 5800441 w 7467600"/>
              <a:gd name="connsiteY288" fmla="*/ 6335286 h 6858000"/>
              <a:gd name="connsiteX289" fmla="*/ 5526562 w 7467600"/>
              <a:gd name="connsiteY289" fmla="*/ 5705388 h 6858000"/>
              <a:gd name="connsiteX290" fmla="*/ 5519640 w 7467600"/>
              <a:gd name="connsiteY290" fmla="*/ 5683774 h 6858000"/>
              <a:gd name="connsiteX291" fmla="*/ 5844559 w 7467600"/>
              <a:gd name="connsiteY291" fmla="*/ 6553349 h 6858000"/>
              <a:gd name="connsiteX292" fmla="*/ 5975994 w 7467600"/>
              <a:gd name="connsiteY292" fmla="*/ 6858000 h 6858000"/>
              <a:gd name="connsiteX293" fmla="*/ 5898547 w 7467600"/>
              <a:gd name="connsiteY293" fmla="*/ 6858000 h 6858000"/>
              <a:gd name="connsiteX294" fmla="*/ 5682041 w 7467600"/>
              <a:gd name="connsiteY294" fmla="*/ 6355860 h 6858000"/>
              <a:gd name="connsiteX295" fmla="*/ 5461758 w 7467600"/>
              <a:gd name="connsiteY295" fmla="*/ 5820220 h 6858000"/>
              <a:gd name="connsiteX296" fmla="*/ 5237282 w 7467600"/>
              <a:gd name="connsiteY296" fmla="*/ 6579086 h 6858000"/>
              <a:gd name="connsiteX297" fmla="*/ 5115009 w 7467600"/>
              <a:gd name="connsiteY297" fmla="*/ 6858000 h 6858000"/>
              <a:gd name="connsiteX298" fmla="*/ 5028074 w 7467600"/>
              <a:gd name="connsiteY298" fmla="*/ 6858000 h 6858000"/>
              <a:gd name="connsiteX299" fmla="*/ 5079508 w 7467600"/>
              <a:gd name="connsiteY299" fmla="*/ 6749074 h 6858000"/>
              <a:gd name="connsiteX300" fmla="*/ 5371846 w 7467600"/>
              <a:gd name="connsiteY300" fmla="*/ 5924413 h 6858000"/>
              <a:gd name="connsiteX301" fmla="*/ 5270512 w 7467600"/>
              <a:gd name="connsiteY301" fmla="*/ 6138975 h 6858000"/>
              <a:gd name="connsiteX302" fmla="*/ 5062409 w 7467600"/>
              <a:gd name="connsiteY302" fmla="*/ 6653544 h 6858000"/>
              <a:gd name="connsiteX303" fmla="*/ 5036628 w 7467600"/>
              <a:gd name="connsiteY303" fmla="*/ 6754247 h 6858000"/>
              <a:gd name="connsiteX304" fmla="*/ 5009112 w 7467600"/>
              <a:gd name="connsiteY304" fmla="*/ 6858000 h 6858000"/>
              <a:gd name="connsiteX305" fmla="*/ 4976679 w 7467600"/>
              <a:gd name="connsiteY305" fmla="*/ 6858000 h 6858000"/>
              <a:gd name="connsiteX306" fmla="*/ 5006537 w 7467600"/>
              <a:gd name="connsiteY306" fmla="*/ 6747068 h 6858000"/>
              <a:gd name="connsiteX307" fmla="*/ 5032723 w 7467600"/>
              <a:gd name="connsiteY307" fmla="*/ 6644957 h 6858000"/>
              <a:gd name="connsiteX308" fmla="*/ 5242949 w 7467600"/>
              <a:gd name="connsiteY308" fmla="*/ 6125175 h 6858000"/>
              <a:gd name="connsiteX309" fmla="*/ 5286321 w 7467600"/>
              <a:gd name="connsiteY309" fmla="*/ 6033555 h 6858000"/>
              <a:gd name="connsiteX310" fmla="*/ 5008210 w 7467600"/>
              <a:gd name="connsiteY310" fmla="*/ 6649194 h 6858000"/>
              <a:gd name="connsiteX311" fmla="*/ 4986321 w 7467600"/>
              <a:gd name="connsiteY311" fmla="*/ 6765687 h 6858000"/>
              <a:gd name="connsiteX312" fmla="*/ 4973474 w 7467600"/>
              <a:gd name="connsiteY312" fmla="*/ 6858000 h 6858000"/>
              <a:gd name="connsiteX313" fmla="*/ 4907178 w 7467600"/>
              <a:gd name="connsiteY313" fmla="*/ 6858000 h 6858000"/>
              <a:gd name="connsiteX314" fmla="*/ 4910810 w 7467600"/>
              <a:gd name="connsiteY314" fmla="*/ 6829660 h 6858000"/>
              <a:gd name="connsiteX315" fmla="*/ 4987461 w 7467600"/>
              <a:gd name="connsiteY315" fmla="*/ 6432994 h 6858000"/>
              <a:gd name="connsiteX316" fmla="*/ 5179262 w 7467600"/>
              <a:gd name="connsiteY316" fmla="*/ 6035044 h 6858000"/>
              <a:gd name="connsiteX317" fmla="*/ 4689678 w 7467600"/>
              <a:gd name="connsiteY317" fmla="*/ 6440241 h 6858000"/>
              <a:gd name="connsiteX318" fmla="*/ 4477543 w 7467600"/>
              <a:gd name="connsiteY318" fmla="*/ 6674836 h 6858000"/>
              <a:gd name="connsiteX319" fmla="*/ 4329957 w 7467600"/>
              <a:gd name="connsiteY319" fmla="*/ 6858000 h 6858000"/>
              <a:gd name="connsiteX320" fmla="*/ 4218595 w 7467600"/>
              <a:gd name="connsiteY320" fmla="*/ 6858000 h 6858000"/>
              <a:gd name="connsiteX321" fmla="*/ 4368888 w 7467600"/>
              <a:gd name="connsiteY321" fmla="*/ 6668412 h 6858000"/>
              <a:gd name="connsiteX322" fmla="*/ 4563091 w 7467600"/>
              <a:gd name="connsiteY322" fmla="*/ 6442508 h 6858000"/>
              <a:gd name="connsiteX323" fmla="*/ 5387324 w 7467600"/>
              <a:gd name="connsiteY323" fmla="*/ 5705830 h 6858000"/>
              <a:gd name="connsiteX324" fmla="*/ 5073620 w 7467600"/>
              <a:gd name="connsiteY324" fmla="*/ 5955437 h 6858000"/>
              <a:gd name="connsiteX325" fmla="*/ 4689789 w 7467600"/>
              <a:gd name="connsiteY325" fmla="*/ 6268382 h 6858000"/>
              <a:gd name="connsiteX326" fmla="*/ 4418722 w 7467600"/>
              <a:gd name="connsiteY326" fmla="*/ 6570886 h 6858000"/>
              <a:gd name="connsiteX327" fmla="*/ 4214944 w 7467600"/>
              <a:gd name="connsiteY327" fmla="*/ 6858000 h 6858000"/>
              <a:gd name="connsiteX328" fmla="*/ 4177898 w 7467600"/>
              <a:gd name="connsiteY328" fmla="*/ 6858000 h 6858000"/>
              <a:gd name="connsiteX329" fmla="*/ 4391597 w 7467600"/>
              <a:gd name="connsiteY329" fmla="*/ 6556370 h 6858000"/>
              <a:gd name="connsiteX330" fmla="*/ 4668889 w 7467600"/>
              <a:gd name="connsiteY330" fmla="*/ 6246399 h 6858000"/>
              <a:gd name="connsiteX331" fmla="*/ 5055427 w 7467600"/>
              <a:gd name="connsiteY331" fmla="*/ 5931476 h 6858000"/>
              <a:gd name="connsiteX332" fmla="*/ 5371814 w 7467600"/>
              <a:gd name="connsiteY332" fmla="*/ 5678975 h 6858000"/>
              <a:gd name="connsiteX333" fmla="*/ 4987918 w 7467600"/>
              <a:gd name="connsiteY333" fmla="*/ 5838701 h 6858000"/>
              <a:gd name="connsiteX334" fmla="*/ 4317146 w 7467600"/>
              <a:gd name="connsiteY334" fmla="*/ 6587716 h 6858000"/>
              <a:gd name="connsiteX335" fmla="*/ 4171627 w 7467600"/>
              <a:gd name="connsiteY335" fmla="*/ 6858000 h 6858000"/>
              <a:gd name="connsiteX336" fmla="*/ 4081585 w 7467600"/>
              <a:gd name="connsiteY336" fmla="*/ 6858000 h 6858000"/>
              <a:gd name="connsiteX337" fmla="*/ 4238603 w 7467600"/>
              <a:gd name="connsiteY337" fmla="*/ 6559341 h 6858000"/>
              <a:gd name="connsiteX338" fmla="*/ 4778333 w 7467600"/>
              <a:gd name="connsiteY338" fmla="*/ 5873626 h 6858000"/>
              <a:gd name="connsiteX339" fmla="*/ 5414185 w 7467600"/>
              <a:gd name="connsiteY339" fmla="*/ 5573882 h 6858000"/>
              <a:gd name="connsiteX340" fmla="*/ 5959648 w 7467600"/>
              <a:gd name="connsiteY340" fmla="*/ 4760797 h 6858000"/>
              <a:gd name="connsiteX341" fmla="*/ 5355019 w 7467600"/>
              <a:gd name="connsiteY341" fmla="*/ 4734672 h 6858000"/>
              <a:gd name="connsiteX342" fmla="*/ 5083565 w 7467600"/>
              <a:gd name="connsiteY342" fmla="*/ 5179121 h 6858000"/>
              <a:gd name="connsiteX343" fmla="*/ 4713577 w 7467600"/>
              <a:gd name="connsiteY343" fmla="*/ 5616803 h 6858000"/>
              <a:gd name="connsiteX344" fmla="*/ 3989559 w 7467600"/>
              <a:gd name="connsiteY344" fmla="*/ 6145945 h 6858000"/>
              <a:gd name="connsiteX345" fmla="*/ 3939824 w 7467600"/>
              <a:gd name="connsiteY345" fmla="*/ 6066900 h 6858000"/>
              <a:gd name="connsiteX346" fmla="*/ 4584537 w 7467600"/>
              <a:gd name="connsiteY346" fmla="*/ 5324826 h 6858000"/>
              <a:gd name="connsiteX347" fmla="*/ 5037105 w 7467600"/>
              <a:gd name="connsiteY347" fmla="*/ 5088765 h 6858000"/>
              <a:gd name="connsiteX348" fmla="*/ 5039930 w 7467600"/>
              <a:gd name="connsiteY348" fmla="*/ 5089585 h 6858000"/>
              <a:gd name="connsiteX349" fmla="*/ 5263764 w 7467600"/>
              <a:gd name="connsiteY349" fmla="*/ 4735525 h 6858000"/>
              <a:gd name="connsiteX350" fmla="*/ 4086300 w 7467600"/>
              <a:gd name="connsiteY350" fmla="*/ 4884599 h 6858000"/>
              <a:gd name="connsiteX351" fmla="*/ 4085485 w 7467600"/>
              <a:gd name="connsiteY351" fmla="*/ 4899070 h 6858000"/>
              <a:gd name="connsiteX352" fmla="*/ 3871915 w 7467600"/>
              <a:gd name="connsiteY352" fmla="*/ 5253645 h 6858000"/>
              <a:gd name="connsiteX353" fmla="*/ 3799374 w 7467600"/>
              <a:gd name="connsiteY353" fmla="*/ 5466127 h 6858000"/>
              <a:gd name="connsiteX354" fmla="*/ 3498850 w 7467600"/>
              <a:gd name="connsiteY354" fmla="*/ 6661888 h 6858000"/>
              <a:gd name="connsiteX355" fmla="*/ 3399216 w 7467600"/>
              <a:gd name="connsiteY355" fmla="*/ 6858000 h 6858000"/>
              <a:gd name="connsiteX356" fmla="*/ 3303688 w 7467600"/>
              <a:gd name="connsiteY356" fmla="*/ 6858000 h 6858000"/>
              <a:gd name="connsiteX357" fmla="*/ 3391774 w 7467600"/>
              <a:gd name="connsiteY357" fmla="*/ 6697181 h 6858000"/>
              <a:gd name="connsiteX358" fmla="*/ 3735540 w 7467600"/>
              <a:gd name="connsiteY358" fmla="*/ 5546923 h 6858000"/>
              <a:gd name="connsiteX359" fmla="*/ 3729438 w 7467600"/>
              <a:gd name="connsiteY359" fmla="*/ 5569058 h 6858000"/>
              <a:gd name="connsiteX360" fmla="*/ 3707782 w 7467600"/>
              <a:gd name="connsiteY360" fmla="*/ 5644908 h 6858000"/>
              <a:gd name="connsiteX361" fmla="*/ 3583827 w 7467600"/>
              <a:gd name="connsiteY361" fmla="*/ 6039215 h 6858000"/>
              <a:gd name="connsiteX362" fmla="*/ 3547861 w 7467600"/>
              <a:gd name="connsiteY362" fmla="*/ 6129609 h 6858000"/>
              <a:gd name="connsiteX363" fmla="*/ 3490905 w 7467600"/>
              <a:gd name="connsiteY363" fmla="*/ 6277660 h 6858000"/>
              <a:gd name="connsiteX364" fmla="*/ 3455859 w 7467600"/>
              <a:gd name="connsiteY364" fmla="*/ 6391301 h 6858000"/>
              <a:gd name="connsiteX365" fmla="*/ 3429112 w 7467600"/>
              <a:gd name="connsiteY365" fmla="*/ 6479469 h 6858000"/>
              <a:gd name="connsiteX366" fmla="*/ 3304862 w 7467600"/>
              <a:gd name="connsiteY366" fmla="*/ 6796476 h 6858000"/>
              <a:gd name="connsiteX367" fmla="*/ 3276071 w 7467600"/>
              <a:gd name="connsiteY367" fmla="*/ 6858000 h 6858000"/>
              <a:gd name="connsiteX368" fmla="*/ 3240805 w 7467600"/>
              <a:gd name="connsiteY368" fmla="*/ 6858000 h 6858000"/>
              <a:gd name="connsiteX369" fmla="*/ 3275917 w 7467600"/>
              <a:gd name="connsiteY369" fmla="*/ 6783192 h 6858000"/>
              <a:gd name="connsiteX370" fmla="*/ 3399358 w 7467600"/>
              <a:gd name="connsiteY370" fmla="*/ 6469011 h 6858000"/>
              <a:gd name="connsiteX371" fmla="*/ 3425650 w 7467600"/>
              <a:gd name="connsiteY371" fmla="*/ 6381333 h 6858000"/>
              <a:gd name="connsiteX372" fmla="*/ 3460661 w 7467600"/>
              <a:gd name="connsiteY372" fmla="*/ 6266763 h 6858000"/>
              <a:gd name="connsiteX373" fmla="*/ 3518021 w 7467600"/>
              <a:gd name="connsiteY373" fmla="*/ 6117298 h 6858000"/>
              <a:gd name="connsiteX374" fmla="*/ 3554035 w 7467600"/>
              <a:gd name="connsiteY374" fmla="*/ 6027832 h 6858000"/>
              <a:gd name="connsiteX375" fmla="*/ 3677174 w 7467600"/>
              <a:gd name="connsiteY375" fmla="*/ 5636351 h 6858000"/>
              <a:gd name="connsiteX376" fmla="*/ 3698819 w 7467600"/>
              <a:gd name="connsiteY376" fmla="*/ 5560503 h 6858000"/>
              <a:gd name="connsiteX377" fmla="*/ 3702094 w 7467600"/>
              <a:gd name="connsiteY377" fmla="*/ 5549194 h 6858000"/>
              <a:gd name="connsiteX378" fmla="*/ 3398355 w 7467600"/>
              <a:gd name="connsiteY378" fmla="*/ 6094603 h 6858000"/>
              <a:gd name="connsiteX379" fmla="*/ 3193941 w 7467600"/>
              <a:gd name="connsiteY379" fmla="*/ 6798775 h 6858000"/>
              <a:gd name="connsiteX380" fmla="*/ 3184140 w 7467600"/>
              <a:gd name="connsiteY380" fmla="*/ 6858000 h 6858000"/>
              <a:gd name="connsiteX381" fmla="*/ 3099978 w 7467600"/>
              <a:gd name="connsiteY381" fmla="*/ 6858000 h 6858000"/>
              <a:gd name="connsiteX382" fmla="*/ 3101556 w 7467600"/>
              <a:gd name="connsiteY382" fmla="*/ 6843337 h 6858000"/>
              <a:gd name="connsiteX383" fmla="*/ 3370162 w 7467600"/>
              <a:gd name="connsiteY383" fmla="*/ 5785550 h 6858000"/>
              <a:gd name="connsiteX384" fmla="*/ 3746477 w 7467600"/>
              <a:gd name="connsiteY384" fmla="*/ 5377889 h 6858000"/>
              <a:gd name="connsiteX385" fmla="*/ 3863399 w 7467600"/>
              <a:gd name="connsiteY385" fmla="*/ 5087257 h 6858000"/>
              <a:gd name="connsiteX386" fmla="*/ 3968712 w 7467600"/>
              <a:gd name="connsiteY386" fmla="*/ 4913989 h 6858000"/>
              <a:gd name="connsiteX387" fmla="*/ 2792390 w 7467600"/>
              <a:gd name="connsiteY387" fmla="*/ 5382974 h 6858000"/>
              <a:gd name="connsiteX388" fmla="*/ 2714982 w 7467600"/>
              <a:gd name="connsiteY388" fmla="*/ 5427051 h 6858000"/>
              <a:gd name="connsiteX389" fmla="*/ 2813361 w 7467600"/>
              <a:gd name="connsiteY389" fmla="*/ 6023912 h 6858000"/>
              <a:gd name="connsiteX390" fmla="*/ 2688430 w 7467600"/>
              <a:gd name="connsiteY390" fmla="*/ 6801564 h 6858000"/>
              <a:gd name="connsiteX391" fmla="*/ 2629626 w 7467600"/>
              <a:gd name="connsiteY391" fmla="*/ 6763394 h 6858000"/>
              <a:gd name="connsiteX392" fmla="*/ 2565328 w 7467600"/>
              <a:gd name="connsiteY392" fmla="*/ 5516399 h 6858000"/>
              <a:gd name="connsiteX393" fmla="*/ 1922999 w 7467600"/>
              <a:gd name="connsiteY393" fmla="*/ 5980343 h 6858000"/>
              <a:gd name="connsiteX394" fmla="*/ 1950261 w 7467600"/>
              <a:gd name="connsiteY394" fmla="*/ 6405858 h 6858000"/>
              <a:gd name="connsiteX395" fmla="*/ 2365554 w 7467600"/>
              <a:gd name="connsiteY395" fmla="*/ 6759107 h 6858000"/>
              <a:gd name="connsiteX396" fmla="*/ 2424142 w 7467600"/>
              <a:gd name="connsiteY396" fmla="*/ 6858000 h 6858000"/>
              <a:gd name="connsiteX397" fmla="*/ 2395994 w 7467600"/>
              <a:gd name="connsiteY397" fmla="*/ 6858000 h 6858000"/>
              <a:gd name="connsiteX398" fmla="*/ 2392863 w 7467600"/>
              <a:gd name="connsiteY398" fmla="*/ 6852964 h 6858000"/>
              <a:gd name="connsiteX399" fmla="*/ 2017589 w 7467600"/>
              <a:gd name="connsiteY399" fmla="*/ 6493982 h 6858000"/>
              <a:gd name="connsiteX400" fmla="*/ 2147336 w 7467600"/>
              <a:gd name="connsiteY400" fmla="*/ 6594052 h 6858000"/>
              <a:gd name="connsiteX401" fmla="*/ 2207047 w 7467600"/>
              <a:gd name="connsiteY401" fmla="*/ 6654540 h 6858000"/>
              <a:gd name="connsiteX402" fmla="*/ 2299106 w 7467600"/>
              <a:gd name="connsiteY402" fmla="*/ 6778931 h 6858000"/>
              <a:gd name="connsiteX403" fmla="*/ 2314430 w 7467600"/>
              <a:gd name="connsiteY403" fmla="*/ 6801144 h 6858000"/>
              <a:gd name="connsiteX404" fmla="*/ 2352406 w 7467600"/>
              <a:gd name="connsiteY404" fmla="*/ 6858000 h 6858000"/>
              <a:gd name="connsiteX405" fmla="*/ 2314492 w 7467600"/>
              <a:gd name="connsiteY405" fmla="*/ 6858000 h 6858000"/>
              <a:gd name="connsiteX406" fmla="*/ 2288095 w 7467600"/>
              <a:gd name="connsiteY406" fmla="*/ 6818030 h 6858000"/>
              <a:gd name="connsiteX407" fmla="*/ 2272768 w 7467600"/>
              <a:gd name="connsiteY407" fmla="*/ 6795822 h 6858000"/>
              <a:gd name="connsiteX408" fmla="*/ 2182715 w 7467600"/>
              <a:gd name="connsiteY408" fmla="*/ 6675071 h 6858000"/>
              <a:gd name="connsiteX409" fmla="*/ 2032061 w 7467600"/>
              <a:gd name="connsiteY409" fmla="*/ 6541380 h 6858000"/>
              <a:gd name="connsiteX410" fmla="*/ 2257220 w 7467600"/>
              <a:gd name="connsiteY410" fmla="*/ 6826257 h 6858000"/>
              <a:gd name="connsiteX411" fmla="*/ 2281324 w 7467600"/>
              <a:gd name="connsiteY411" fmla="*/ 6858000 h 6858000"/>
              <a:gd name="connsiteX412" fmla="*/ 2242860 w 7467600"/>
              <a:gd name="connsiteY412" fmla="*/ 6858000 h 6858000"/>
              <a:gd name="connsiteX413" fmla="*/ 2232818 w 7467600"/>
              <a:gd name="connsiteY413" fmla="*/ 6844926 h 6858000"/>
              <a:gd name="connsiteX414" fmla="*/ 1990172 w 7467600"/>
              <a:gd name="connsiteY414" fmla="*/ 6542121 h 6858000"/>
              <a:gd name="connsiteX415" fmla="*/ 2124090 w 7467600"/>
              <a:gd name="connsiteY415" fmla="*/ 6761017 h 6858000"/>
              <a:gd name="connsiteX416" fmla="*/ 2200380 w 7467600"/>
              <a:gd name="connsiteY416" fmla="*/ 6858000 h 6858000"/>
              <a:gd name="connsiteX417" fmla="*/ 2147507 w 7467600"/>
              <a:gd name="connsiteY417" fmla="*/ 6858000 h 6858000"/>
              <a:gd name="connsiteX418" fmla="*/ 2070668 w 7467600"/>
              <a:gd name="connsiteY418" fmla="*/ 6761520 h 6858000"/>
              <a:gd name="connsiteX419" fmla="*/ 1975142 w 7467600"/>
              <a:gd name="connsiteY419" fmla="*/ 6585570 h 6858000"/>
              <a:gd name="connsiteX420" fmla="*/ 2050035 w 7467600"/>
              <a:gd name="connsiteY420" fmla="*/ 6813345 h 6858000"/>
              <a:gd name="connsiteX421" fmla="*/ 2063025 w 7467600"/>
              <a:gd name="connsiteY421" fmla="*/ 6858000 h 6858000"/>
              <a:gd name="connsiteX422" fmla="*/ 2021675 w 7467600"/>
              <a:gd name="connsiteY422" fmla="*/ 6858000 h 6858000"/>
              <a:gd name="connsiteX423" fmla="*/ 2019308 w 7467600"/>
              <a:gd name="connsiteY423" fmla="*/ 6847118 h 6858000"/>
              <a:gd name="connsiteX424" fmla="*/ 1938835 w 7467600"/>
              <a:gd name="connsiteY424" fmla="*/ 6551160 h 6858000"/>
              <a:gd name="connsiteX425" fmla="*/ 1953230 w 7467600"/>
              <a:gd name="connsiteY425" fmla="*/ 6759699 h 6858000"/>
              <a:gd name="connsiteX426" fmla="*/ 1956763 w 7467600"/>
              <a:gd name="connsiteY426" fmla="*/ 6778191 h 6858000"/>
              <a:gd name="connsiteX427" fmla="*/ 1967925 w 7467600"/>
              <a:gd name="connsiteY427" fmla="*/ 6858000 h 6858000"/>
              <a:gd name="connsiteX428" fmla="*/ 1936622 w 7467600"/>
              <a:gd name="connsiteY428" fmla="*/ 6858000 h 6858000"/>
              <a:gd name="connsiteX429" fmla="*/ 1926261 w 7467600"/>
              <a:gd name="connsiteY429" fmla="*/ 6784064 h 6858000"/>
              <a:gd name="connsiteX430" fmla="*/ 1922724 w 7467600"/>
              <a:gd name="connsiteY430" fmla="*/ 6765577 h 6858000"/>
              <a:gd name="connsiteX431" fmla="*/ 1904650 w 7467600"/>
              <a:gd name="connsiteY431" fmla="*/ 6639616 h 6858000"/>
              <a:gd name="connsiteX432" fmla="*/ 1885273 w 7467600"/>
              <a:gd name="connsiteY432" fmla="*/ 6858000 h 6858000"/>
              <a:gd name="connsiteX433" fmla="*/ 1854363 w 7467600"/>
              <a:gd name="connsiteY433" fmla="*/ 6858000 h 6858000"/>
              <a:gd name="connsiteX434" fmla="*/ 1880391 w 7467600"/>
              <a:gd name="connsiteY434" fmla="*/ 6603796 h 6858000"/>
              <a:gd name="connsiteX435" fmla="*/ 1818273 w 7467600"/>
              <a:gd name="connsiteY435" fmla="*/ 6715729 h 6858000"/>
              <a:gd name="connsiteX436" fmla="*/ 1794691 w 7467600"/>
              <a:gd name="connsiteY436" fmla="*/ 6843239 h 6858000"/>
              <a:gd name="connsiteX437" fmla="*/ 1794914 w 7467600"/>
              <a:gd name="connsiteY437" fmla="*/ 6858000 h 6858000"/>
              <a:gd name="connsiteX438" fmla="*/ 1746128 w 7467600"/>
              <a:gd name="connsiteY438" fmla="*/ 6858000 h 6858000"/>
              <a:gd name="connsiteX439" fmla="*/ 1753934 w 7467600"/>
              <a:gd name="connsiteY439" fmla="*/ 6724796 h 6858000"/>
              <a:gd name="connsiteX440" fmla="*/ 1792053 w 7467600"/>
              <a:gd name="connsiteY440" fmla="*/ 6572396 h 6858000"/>
              <a:gd name="connsiteX441" fmla="*/ 1862248 w 7467600"/>
              <a:gd name="connsiteY441" fmla="*/ 6266397 h 6858000"/>
              <a:gd name="connsiteX442" fmla="*/ 1862250 w 7467600"/>
              <a:gd name="connsiteY442" fmla="*/ 6033531 h 6858000"/>
              <a:gd name="connsiteX443" fmla="*/ 1211999 w 7467600"/>
              <a:gd name="connsiteY443" fmla="*/ 6683610 h 6858000"/>
              <a:gd name="connsiteX444" fmla="*/ 1213266 w 7467600"/>
              <a:gd name="connsiteY444" fmla="*/ 6691947 h 6858000"/>
              <a:gd name="connsiteX445" fmla="*/ 1203370 w 7467600"/>
              <a:gd name="connsiteY445" fmla="*/ 6850676 h 6858000"/>
              <a:gd name="connsiteX446" fmla="*/ 1203671 w 7467600"/>
              <a:gd name="connsiteY446" fmla="*/ 6858000 h 6858000"/>
              <a:gd name="connsiteX447" fmla="*/ 1143180 w 7467600"/>
              <a:gd name="connsiteY447" fmla="*/ 6858000 h 6858000"/>
              <a:gd name="connsiteX448" fmla="*/ 1142176 w 7467600"/>
              <a:gd name="connsiteY448" fmla="*/ 6766045 h 6858000"/>
              <a:gd name="connsiteX449" fmla="*/ 1067484 w 7467600"/>
              <a:gd name="connsiteY449" fmla="*/ 6858000 h 6858000"/>
              <a:gd name="connsiteX450" fmla="*/ 953928 w 7467600"/>
              <a:gd name="connsiteY450" fmla="*/ 6858000 h 6858000"/>
              <a:gd name="connsiteX451" fmla="*/ 959715 w 7467600"/>
              <a:gd name="connsiteY451" fmla="*/ 6850185 h 6858000"/>
              <a:gd name="connsiteX452" fmla="*/ 1483788 w 7467600"/>
              <a:gd name="connsiteY452" fmla="*/ 6259174 h 6858000"/>
              <a:gd name="connsiteX453" fmla="*/ 1100671 w 7467600"/>
              <a:gd name="connsiteY453" fmla="*/ 6252137 h 6858000"/>
              <a:gd name="connsiteX454" fmla="*/ 1090144 w 7467600"/>
              <a:gd name="connsiteY454" fmla="*/ 6256748 h 6858000"/>
              <a:gd name="connsiteX455" fmla="*/ 1095872 w 7467600"/>
              <a:gd name="connsiteY455" fmla="*/ 6271892 h 6858000"/>
              <a:gd name="connsiteX456" fmla="*/ 262785 w 7467600"/>
              <a:gd name="connsiteY456" fmla="*/ 6845450 h 6858000"/>
              <a:gd name="connsiteX457" fmla="*/ 209968 w 7467600"/>
              <a:gd name="connsiteY457" fmla="*/ 6770713 h 6858000"/>
              <a:gd name="connsiteX458" fmla="*/ 873460 w 7467600"/>
              <a:gd name="connsiteY458" fmla="*/ 6253768 h 6858000"/>
              <a:gd name="connsiteX459" fmla="*/ 192686 w 7467600"/>
              <a:gd name="connsiteY459" fmla="*/ 5849257 h 6858000"/>
              <a:gd name="connsiteX460" fmla="*/ 4696 w 7467600"/>
              <a:gd name="connsiteY460" fmla="*/ 5697668 h 6858000"/>
              <a:gd name="connsiteX461" fmla="*/ 0 w 7467600"/>
              <a:gd name="connsiteY461" fmla="*/ 5689984 h 6858000"/>
              <a:gd name="connsiteX462" fmla="*/ 0 w 7467600"/>
              <a:gd name="connsiteY462" fmla="*/ 5513472 h 6858000"/>
              <a:gd name="connsiteX463" fmla="*/ 174101 w 7467600"/>
              <a:gd name="connsiteY463" fmla="*/ 5620277 h 6858000"/>
              <a:gd name="connsiteX464" fmla="*/ 891800 w 7467600"/>
              <a:gd name="connsiteY464" fmla="*/ 6036935 h 6858000"/>
              <a:gd name="connsiteX465" fmla="*/ 1072219 w 7467600"/>
              <a:gd name="connsiteY465" fmla="*/ 6169443 h 6858000"/>
              <a:gd name="connsiteX466" fmla="*/ 1074117 w 7467600"/>
              <a:gd name="connsiteY466" fmla="*/ 6170301 h 6858000"/>
              <a:gd name="connsiteX467" fmla="*/ 1083114 w 7467600"/>
              <a:gd name="connsiteY467" fmla="*/ 6174131 h 6858000"/>
              <a:gd name="connsiteX468" fmla="*/ 1543010 w 7467600"/>
              <a:gd name="connsiteY468" fmla="*/ 6191140 h 6858000"/>
              <a:gd name="connsiteX469" fmla="*/ 1551080 w 7467600"/>
              <a:gd name="connsiteY469" fmla="*/ 6195006 h 6858000"/>
              <a:gd name="connsiteX470" fmla="*/ 2345443 w 7467600"/>
              <a:gd name="connsiteY470" fmla="*/ 5549882 h 6858000"/>
              <a:gd name="connsiteX471" fmla="*/ 1721499 w 7467600"/>
              <a:gd name="connsiteY471" fmla="*/ 5599969 h 6858000"/>
              <a:gd name="connsiteX472" fmla="*/ 767716 w 7467600"/>
              <a:gd name="connsiteY472" fmla="*/ 5472768 h 6858000"/>
              <a:gd name="connsiteX473" fmla="*/ 722147 w 7467600"/>
              <a:gd name="connsiteY473" fmla="*/ 5393091 h 6858000"/>
              <a:gd name="connsiteX474" fmla="*/ 1485552 w 7467600"/>
              <a:gd name="connsiteY474" fmla="*/ 5313202 h 6858000"/>
              <a:gd name="connsiteX475" fmla="*/ 2143004 w 7467600"/>
              <a:gd name="connsiteY475" fmla="*/ 5402420 h 6858000"/>
              <a:gd name="connsiteX476" fmla="*/ 1933391 w 7467600"/>
              <a:gd name="connsiteY476" fmla="*/ 5156971 h 6858000"/>
              <a:gd name="connsiteX477" fmla="*/ 1827118 w 7467600"/>
              <a:gd name="connsiteY477" fmla="*/ 4968410 h 6858000"/>
              <a:gd name="connsiteX478" fmla="*/ 1837349 w 7467600"/>
              <a:gd name="connsiteY478" fmla="*/ 4956357 h 6858000"/>
              <a:gd name="connsiteX479" fmla="*/ 2162835 w 7467600"/>
              <a:gd name="connsiteY479" fmla="*/ 5187853 h 6858000"/>
              <a:gd name="connsiteX480" fmla="*/ 2257167 w 7467600"/>
              <a:gd name="connsiteY480" fmla="*/ 5462123 h 6858000"/>
              <a:gd name="connsiteX481" fmla="*/ 2261598 w 7467600"/>
              <a:gd name="connsiteY481" fmla="*/ 5467998 h 6858000"/>
              <a:gd name="connsiteX482" fmla="*/ 2437177 w 7467600"/>
              <a:gd name="connsiteY482" fmla="*/ 5479608 h 6858000"/>
              <a:gd name="connsiteX483" fmla="*/ 2445247 w 7467600"/>
              <a:gd name="connsiteY483" fmla="*/ 5483476 h 6858000"/>
              <a:gd name="connsiteX484" fmla="*/ 2743626 w 7467600"/>
              <a:gd name="connsiteY484" fmla="*/ 5304819 h 6858000"/>
              <a:gd name="connsiteX485" fmla="*/ 3048102 w 7467600"/>
              <a:gd name="connsiteY485" fmla="*/ 5150595 h 6858000"/>
              <a:gd name="connsiteX486" fmla="*/ 1799414 w 7467600"/>
              <a:gd name="connsiteY486" fmla="*/ 4694732 h 6858000"/>
              <a:gd name="connsiteX487" fmla="*/ 1771735 w 7467600"/>
              <a:gd name="connsiteY487" fmla="*/ 4619929 h 6858000"/>
              <a:gd name="connsiteX488" fmla="*/ 3104273 w 7467600"/>
              <a:gd name="connsiteY488" fmla="*/ 5076159 h 6858000"/>
              <a:gd name="connsiteX489" fmla="*/ 3113245 w 7467600"/>
              <a:gd name="connsiteY489" fmla="*/ 5090705 h 6858000"/>
              <a:gd name="connsiteX490" fmla="*/ 3126294 w 7467600"/>
              <a:gd name="connsiteY490" fmla="*/ 5114400 h 6858000"/>
              <a:gd name="connsiteX491" fmla="*/ 3937433 w 7467600"/>
              <a:gd name="connsiteY491" fmla="*/ 4830473 h 6858000"/>
              <a:gd name="connsiteX492" fmla="*/ 3590475 w 7467600"/>
              <a:gd name="connsiteY492" fmla="*/ 4597974 h 6858000"/>
              <a:gd name="connsiteX493" fmla="*/ 3100264 w 7467600"/>
              <a:gd name="connsiteY493" fmla="*/ 4579845 h 6858000"/>
              <a:gd name="connsiteX494" fmla="*/ 2183576 w 7467600"/>
              <a:gd name="connsiteY494" fmla="*/ 4227150 h 6858000"/>
              <a:gd name="connsiteX495" fmla="*/ 2151029 w 7467600"/>
              <a:gd name="connsiteY495" fmla="*/ 4146947 h 6858000"/>
              <a:gd name="connsiteX496" fmla="*/ 3563434 w 7467600"/>
              <a:gd name="connsiteY496" fmla="*/ 4469115 h 6858000"/>
              <a:gd name="connsiteX497" fmla="*/ 3177952 w 7467600"/>
              <a:gd name="connsiteY497" fmla="*/ 3657386 h 6858000"/>
              <a:gd name="connsiteX498" fmla="*/ 3189263 w 7467600"/>
              <a:gd name="connsiteY498" fmla="*/ 3625726 h 6858000"/>
              <a:gd name="connsiteX499" fmla="*/ 3560912 w 7467600"/>
              <a:gd name="connsiteY499" fmla="*/ 4079863 h 6858000"/>
              <a:gd name="connsiteX500" fmla="*/ 3626636 w 7467600"/>
              <a:gd name="connsiteY500" fmla="*/ 4512230 h 6858000"/>
              <a:gd name="connsiteX501" fmla="*/ 3653088 w 7467600"/>
              <a:gd name="connsiteY501" fmla="*/ 4521417 h 6858000"/>
              <a:gd name="connsiteX502" fmla="*/ 3988128 w 7467600"/>
              <a:gd name="connsiteY502" fmla="*/ 4817267 h 6858000"/>
              <a:gd name="connsiteX503" fmla="*/ 4830582 w 7467600"/>
              <a:gd name="connsiteY503" fmla="*/ 4676000 h 6858000"/>
              <a:gd name="connsiteX504" fmla="*/ 4830100 w 7467600"/>
              <a:gd name="connsiteY504" fmla="*/ 4675554 h 6858000"/>
              <a:gd name="connsiteX505" fmla="*/ 4036318 w 7467600"/>
              <a:gd name="connsiteY505" fmla="*/ 4147013 h 6858000"/>
              <a:gd name="connsiteX506" fmla="*/ 3432098 w 7467600"/>
              <a:gd name="connsiteY506" fmla="*/ 3537312 h 6858000"/>
              <a:gd name="connsiteX507" fmla="*/ 3446761 w 7467600"/>
              <a:gd name="connsiteY507" fmla="*/ 3461278 h 6858000"/>
              <a:gd name="connsiteX508" fmla="*/ 4419733 w 7467600"/>
              <a:gd name="connsiteY508" fmla="*/ 3963555 h 6858000"/>
              <a:gd name="connsiteX509" fmla="*/ 4781371 w 7467600"/>
              <a:gd name="connsiteY509" fmla="*/ 4458604 h 6858000"/>
              <a:gd name="connsiteX510" fmla="*/ 4780440 w 7467600"/>
              <a:gd name="connsiteY510" fmla="*/ 4470290 h 6858000"/>
              <a:gd name="connsiteX511" fmla="*/ 4898954 w 7467600"/>
              <a:gd name="connsiteY511" fmla="*/ 4662092 h 6858000"/>
              <a:gd name="connsiteX512" fmla="*/ 4900699 w 7467600"/>
              <a:gd name="connsiteY512" fmla="*/ 4670867 h 6858000"/>
              <a:gd name="connsiteX513" fmla="*/ 5714511 w 7467600"/>
              <a:gd name="connsiteY513" fmla="*/ 4663483 h 6858000"/>
              <a:gd name="connsiteX514" fmla="*/ 5464793 w 7467600"/>
              <a:gd name="connsiteY514" fmla="*/ 4393556 h 6858000"/>
              <a:gd name="connsiteX515" fmla="*/ 5461897 w 7467600"/>
              <a:gd name="connsiteY515" fmla="*/ 4390879 h 6858000"/>
              <a:gd name="connsiteX516" fmla="*/ 4294126 w 7467600"/>
              <a:gd name="connsiteY516" fmla="*/ 3303048 h 6858000"/>
              <a:gd name="connsiteX517" fmla="*/ 4305321 w 7467600"/>
              <a:gd name="connsiteY517" fmla="*/ 3256953 h 6858000"/>
              <a:gd name="connsiteX518" fmla="*/ 4949299 w 7467600"/>
              <a:gd name="connsiteY518" fmla="*/ 3766336 h 6858000"/>
              <a:gd name="connsiteX519" fmla="*/ 5291452 w 7467600"/>
              <a:gd name="connsiteY519" fmla="*/ 4076801 h 6858000"/>
              <a:gd name="connsiteX520" fmla="*/ 5434998 w 7467600"/>
              <a:gd name="connsiteY520" fmla="*/ 4254100 h 6858000"/>
              <a:gd name="connsiteX521" fmla="*/ 5351015 w 7467600"/>
              <a:gd name="connsiteY521" fmla="*/ 3760989 h 6858000"/>
              <a:gd name="connsiteX522" fmla="*/ 5413780 w 7467600"/>
              <a:gd name="connsiteY522" fmla="*/ 2966265 h 6858000"/>
              <a:gd name="connsiteX523" fmla="*/ 5425627 w 7467600"/>
              <a:gd name="connsiteY523" fmla="*/ 2954192 h 6858000"/>
              <a:gd name="connsiteX524" fmla="*/ 6604735 w 7467600"/>
              <a:gd name="connsiteY524" fmla="*/ 2041381 h 6858000"/>
              <a:gd name="connsiteX525" fmla="*/ 7204487 w 7467600"/>
              <a:gd name="connsiteY525" fmla="*/ 2742112 h 6858000"/>
              <a:gd name="connsiteX526" fmla="*/ 7131592 w 7467600"/>
              <a:gd name="connsiteY526" fmla="*/ 2672096 h 6858000"/>
              <a:gd name="connsiteX527" fmla="*/ 6996344 w 7467600"/>
              <a:gd name="connsiteY527" fmla="*/ 2518310 h 6858000"/>
              <a:gd name="connsiteX528" fmla="*/ 6735495 w 7467600"/>
              <a:gd name="connsiteY528" fmla="*/ 2196890 h 6858000"/>
              <a:gd name="connsiteX529" fmla="*/ 6721901 w 7467600"/>
              <a:gd name="connsiteY529" fmla="*/ 2179274 h 6858000"/>
              <a:gd name="connsiteX530" fmla="*/ 6604735 w 7467600"/>
              <a:gd name="connsiteY530" fmla="*/ 2041381 h 6858000"/>
              <a:gd name="connsiteX531" fmla="*/ 6591670 w 7467600"/>
              <a:gd name="connsiteY531" fmla="*/ 1988277 h 6858000"/>
              <a:gd name="connsiteX532" fmla="*/ 6747349 w 7467600"/>
              <a:gd name="connsiteY532" fmla="*/ 2160069 h 6858000"/>
              <a:gd name="connsiteX533" fmla="*/ 6760943 w 7467600"/>
              <a:gd name="connsiteY533" fmla="*/ 2177686 h 6858000"/>
              <a:gd name="connsiteX534" fmla="*/ 7021065 w 7467600"/>
              <a:gd name="connsiteY534" fmla="*/ 2498102 h 6858000"/>
              <a:gd name="connsiteX535" fmla="*/ 7155223 w 7467600"/>
              <a:gd name="connsiteY535" fmla="*/ 2650386 h 6858000"/>
              <a:gd name="connsiteX536" fmla="*/ 7203167 w 7467600"/>
              <a:gd name="connsiteY536" fmla="*/ 2697288 h 6858000"/>
              <a:gd name="connsiteX537" fmla="*/ 6937703 w 7467600"/>
              <a:gd name="connsiteY537" fmla="*/ 2321981 h 6858000"/>
              <a:gd name="connsiteX538" fmla="*/ 6591670 w 7467600"/>
              <a:gd name="connsiteY538" fmla="*/ 1988277 h 6858000"/>
              <a:gd name="connsiteX539" fmla="*/ 5798671 w 7467600"/>
              <a:gd name="connsiteY539" fmla="*/ 1981601 h 6858000"/>
              <a:gd name="connsiteX540" fmla="*/ 5754709 w 7467600"/>
              <a:gd name="connsiteY540" fmla="*/ 2071454 h 6858000"/>
              <a:gd name="connsiteX541" fmla="*/ 5763044 w 7467600"/>
              <a:gd name="connsiteY541" fmla="*/ 2842206 h 6858000"/>
              <a:gd name="connsiteX542" fmla="*/ 5764974 w 7467600"/>
              <a:gd name="connsiteY542" fmla="*/ 2799609 h 6858000"/>
              <a:gd name="connsiteX543" fmla="*/ 5767665 w 7467600"/>
              <a:gd name="connsiteY543" fmla="*/ 2666409 h 6858000"/>
              <a:gd name="connsiteX544" fmla="*/ 5763055 w 7467600"/>
              <a:gd name="connsiteY544" fmla="*/ 2579705 h 6858000"/>
              <a:gd name="connsiteX545" fmla="*/ 5758079 w 7467600"/>
              <a:gd name="connsiteY545" fmla="*/ 2492508 h 6858000"/>
              <a:gd name="connsiteX546" fmla="*/ 5779325 w 7467600"/>
              <a:gd name="connsiteY546" fmla="*/ 2197069 h 6858000"/>
              <a:gd name="connsiteX547" fmla="*/ 5798671 w 7467600"/>
              <a:gd name="connsiteY547" fmla="*/ 1981601 h 6858000"/>
              <a:gd name="connsiteX548" fmla="*/ 5829202 w 7467600"/>
              <a:gd name="connsiteY548" fmla="*/ 1971679 h 6858000"/>
              <a:gd name="connsiteX549" fmla="*/ 5809558 w 7467600"/>
              <a:gd name="connsiteY549" fmla="*/ 2198043 h 6858000"/>
              <a:gd name="connsiteX550" fmla="*/ 5788653 w 7467600"/>
              <a:gd name="connsiteY550" fmla="*/ 2489430 h 6858000"/>
              <a:gd name="connsiteX551" fmla="*/ 5793439 w 7467600"/>
              <a:gd name="connsiteY551" fmla="*/ 2575235 h 6858000"/>
              <a:gd name="connsiteX552" fmla="*/ 5796837 w 7467600"/>
              <a:gd name="connsiteY552" fmla="*/ 2637633 h 6858000"/>
              <a:gd name="connsiteX553" fmla="*/ 5818614 w 7467600"/>
              <a:gd name="connsiteY553" fmla="*/ 2473055 h 6858000"/>
              <a:gd name="connsiteX554" fmla="*/ 5829202 w 7467600"/>
              <a:gd name="connsiteY554" fmla="*/ 1971679 h 6858000"/>
              <a:gd name="connsiteX555" fmla="*/ 5911389 w 7467600"/>
              <a:gd name="connsiteY555" fmla="*/ 1898371 h 6858000"/>
              <a:gd name="connsiteX556" fmla="*/ 6237627 w 7467600"/>
              <a:gd name="connsiteY556" fmla="*/ 2231921 h 6858000"/>
              <a:gd name="connsiteX557" fmla="*/ 5911389 w 7467600"/>
              <a:gd name="connsiteY557" fmla="*/ 1898371 h 6858000"/>
              <a:gd name="connsiteX558" fmla="*/ 6944437 w 7467600"/>
              <a:gd name="connsiteY558" fmla="*/ 1575402 h 6858000"/>
              <a:gd name="connsiteX559" fmla="*/ 6304730 w 7467600"/>
              <a:gd name="connsiteY559" fmla="*/ 1766654 h 6858000"/>
              <a:gd name="connsiteX560" fmla="*/ 6944437 w 7467600"/>
              <a:gd name="connsiteY560" fmla="*/ 1575402 h 6858000"/>
              <a:gd name="connsiteX561" fmla="*/ 7019523 w 7467600"/>
              <a:gd name="connsiteY561" fmla="*/ 1519450 h 6858000"/>
              <a:gd name="connsiteX562" fmla="*/ 6298091 w 7467600"/>
              <a:gd name="connsiteY562" fmla="*/ 1737122 h 6858000"/>
              <a:gd name="connsiteX563" fmla="*/ 7019523 w 7467600"/>
              <a:gd name="connsiteY563" fmla="*/ 1519450 h 6858000"/>
              <a:gd name="connsiteX564" fmla="*/ 2399523 w 7467600"/>
              <a:gd name="connsiteY564" fmla="*/ 1428234 h 6858000"/>
              <a:gd name="connsiteX565" fmla="*/ 2224982 w 7467600"/>
              <a:gd name="connsiteY565" fmla="*/ 1826201 h 6858000"/>
              <a:gd name="connsiteX566" fmla="*/ 2096099 w 7467600"/>
              <a:gd name="connsiteY566" fmla="*/ 2345900 h 6858000"/>
              <a:gd name="connsiteX567" fmla="*/ 2283317 w 7467600"/>
              <a:gd name="connsiteY567" fmla="*/ 1796925 h 6858000"/>
              <a:gd name="connsiteX568" fmla="*/ 2399523 w 7467600"/>
              <a:gd name="connsiteY568" fmla="*/ 1428234 h 6858000"/>
              <a:gd name="connsiteX569" fmla="*/ 2448558 w 7467600"/>
              <a:gd name="connsiteY569" fmla="*/ 1373435 h 6858000"/>
              <a:gd name="connsiteX570" fmla="*/ 2312521 w 7467600"/>
              <a:gd name="connsiteY570" fmla="*/ 1806140 h 6858000"/>
              <a:gd name="connsiteX571" fmla="*/ 2127533 w 7467600"/>
              <a:gd name="connsiteY571" fmla="*/ 2348380 h 6858000"/>
              <a:gd name="connsiteX572" fmla="*/ 2358080 w 7467600"/>
              <a:gd name="connsiteY572" fmla="*/ 1866134 h 6858000"/>
              <a:gd name="connsiteX573" fmla="*/ 2407436 w 7467600"/>
              <a:gd name="connsiteY573" fmla="*/ 1651070 h 6858000"/>
              <a:gd name="connsiteX574" fmla="*/ 2448558 w 7467600"/>
              <a:gd name="connsiteY574" fmla="*/ 1373435 h 6858000"/>
              <a:gd name="connsiteX575" fmla="*/ 278707 w 7467600"/>
              <a:gd name="connsiteY575" fmla="*/ 1352270 h 6858000"/>
              <a:gd name="connsiteX576" fmla="*/ 321570 w 7467600"/>
              <a:gd name="connsiteY576" fmla="*/ 1861610 h 6858000"/>
              <a:gd name="connsiteX577" fmla="*/ 294281 w 7467600"/>
              <a:gd name="connsiteY577" fmla="*/ 1440658 h 6858000"/>
              <a:gd name="connsiteX578" fmla="*/ 278707 w 7467600"/>
              <a:gd name="connsiteY578" fmla="*/ 1352270 h 6858000"/>
              <a:gd name="connsiteX579" fmla="*/ 1423821 w 7467600"/>
              <a:gd name="connsiteY579" fmla="*/ 1351958 h 6858000"/>
              <a:gd name="connsiteX580" fmla="*/ 1638521 w 7467600"/>
              <a:gd name="connsiteY580" fmla="*/ 1908470 h 6858000"/>
              <a:gd name="connsiteX581" fmla="*/ 1754199 w 7467600"/>
              <a:gd name="connsiteY581" fmla="*/ 2149284 h 6858000"/>
              <a:gd name="connsiteX582" fmla="*/ 1908359 w 7467600"/>
              <a:gd name="connsiteY582" fmla="*/ 2364988 h 6858000"/>
              <a:gd name="connsiteX583" fmla="*/ 1647661 w 7467600"/>
              <a:gd name="connsiteY583" fmla="*/ 1825945 h 6858000"/>
              <a:gd name="connsiteX584" fmla="*/ 1423821 w 7467600"/>
              <a:gd name="connsiteY584" fmla="*/ 1351958 h 6858000"/>
              <a:gd name="connsiteX585" fmla="*/ 1431890 w 7467600"/>
              <a:gd name="connsiteY585" fmla="*/ 1306475 h 6858000"/>
              <a:gd name="connsiteX586" fmla="*/ 1507597 w 7467600"/>
              <a:gd name="connsiteY586" fmla="*/ 1446132 h 6858000"/>
              <a:gd name="connsiteX587" fmla="*/ 1674586 w 7467600"/>
              <a:gd name="connsiteY587" fmla="*/ 1813832 h 6858000"/>
              <a:gd name="connsiteX588" fmla="*/ 1815950 w 7467600"/>
              <a:gd name="connsiteY588" fmla="*/ 2128564 h 6858000"/>
              <a:gd name="connsiteX589" fmla="*/ 1984242 w 7467600"/>
              <a:gd name="connsiteY589" fmla="*/ 2430829 h 6858000"/>
              <a:gd name="connsiteX590" fmla="*/ 2014023 w 7467600"/>
              <a:gd name="connsiteY590" fmla="*/ 2450995 h 6858000"/>
              <a:gd name="connsiteX591" fmla="*/ 1747337 w 7467600"/>
              <a:gd name="connsiteY591" fmla="*/ 1855264 h 6858000"/>
              <a:gd name="connsiteX592" fmla="*/ 1533749 w 7467600"/>
              <a:gd name="connsiteY592" fmla="*/ 1478656 h 6858000"/>
              <a:gd name="connsiteX593" fmla="*/ 1431890 w 7467600"/>
              <a:gd name="connsiteY593" fmla="*/ 1306475 h 6858000"/>
              <a:gd name="connsiteX594" fmla="*/ 5052692 w 7467600"/>
              <a:gd name="connsiteY594" fmla="*/ 1292994 h 6858000"/>
              <a:gd name="connsiteX595" fmla="*/ 5200661 w 7467600"/>
              <a:gd name="connsiteY595" fmla="*/ 1635186 h 6858000"/>
              <a:gd name="connsiteX596" fmla="*/ 5297138 w 7467600"/>
              <a:gd name="connsiteY596" fmla="*/ 1906351 h 6858000"/>
              <a:gd name="connsiteX597" fmla="*/ 5052692 w 7467600"/>
              <a:gd name="connsiteY597" fmla="*/ 1292994 h 6858000"/>
              <a:gd name="connsiteX598" fmla="*/ 5009948 w 7467600"/>
              <a:gd name="connsiteY598" fmla="*/ 1273619 h 6858000"/>
              <a:gd name="connsiteX599" fmla="*/ 5121777 w 7467600"/>
              <a:gd name="connsiteY599" fmla="*/ 1654213 h 6858000"/>
              <a:gd name="connsiteX600" fmla="*/ 5293545 w 7467600"/>
              <a:gd name="connsiteY600" fmla="*/ 2072247 h 6858000"/>
              <a:gd name="connsiteX601" fmla="*/ 5294042 w 7467600"/>
              <a:gd name="connsiteY601" fmla="*/ 2065019 h 6858000"/>
              <a:gd name="connsiteX602" fmla="*/ 5171936 w 7467600"/>
              <a:gd name="connsiteY602" fmla="*/ 1647613 h 6858000"/>
              <a:gd name="connsiteX603" fmla="*/ 5009948 w 7467600"/>
              <a:gd name="connsiteY603" fmla="*/ 1273619 h 6858000"/>
              <a:gd name="connsiteX604" fmla="*/ 655236 w 7467600"/>
              <a:gd name="connsiteY604" fmla="*/ 1268632 h 6858000"/>
              <a:gd name="connsiteX605" fmla="*/ 839521 w 7467600"/>
              <a:gd name="connsiteY605" fmla="*/ 1685315 h 6858000"/>
              <a:gd name="connsiteX606" fmla="*/ 1109416 w 7467600"/>
              <a:gd name="connsiteY606" fmla="*/ 2061663 h 6858000"/>
              <a:gd name="connsiteX607" fmla="*/ 1298300 w 7467600"/>
              <a:gd name="connsiteY607" fmla="*/ 2247742 h 6858000"/>
              <a:gd name="connsiteX608" fmla="*/ 1125871 w 7467600"/>
              <a:gd name="connsiteY608" fmla="*/ 1989513 h 6858000"/>
              <a:gd name="connsiteX609" fmla="*/ 981574 w 7467600"/>
              <a:gd name="connsiteY609" fmla="*/ 1783157 h 6858000"/>
              <a:gd name="connsiteX610" fmla="*/ 922198 w 7467600"/>
              <a:gd name="connsiteY610" fmla="*/ 1677437 h 6858000"/>
              <a:gd name="connsiteX611" fmla="*/ 869293 w 7467600"/>
              <a:gd name="connsiteY611" fmla="*/ 1583214 h 6858000"/>
              <a:gd name="connsiteX612" fmla="*/ 751431 w 7467600"/>
              <a:gd name="connsiteY612" fmla="*/ 1405731 h 6858000"/>
              <a:gd name="connsiteX613" fmla="*/ 655236 w 7467600"/>
              <a:gd name="connsiteY613" fmla="*/ 1268632 h 6858000"/>
              <a:gd name="connsiteX614" fmla="*/ 6516292 w 7467600"/>
              <a:gd name="connsiteY614" fmla="*/ 1263064 h 6858000"/>
              <a:gd name="connsiteX615" fmla="*/ 5736320 w 7467600"/>
              <a:gd name="connsiteY615" fmla="*/ 1501803 h 6858000"/>
              <a:gd name="connsiteX616" fmla="*/ 6516292 w 7467600"/>
              <a:gd name="connsiteY616" fmla="*/ 1263064 h 6858000"/>
              <a:gd name="connsiteX617" fmla="*/ 291466 w 7467600"/>
              <a:gd name="connsiteY617" fmla="*/ 1250369 h 6858000"/>
              <a:gd name="connsiteX618" fmla="*/ 323180 w 7467600"/>
              <a:gd name="connsiteY618" fmla="*/ 1435283 h 6858000"/>
              <a:gd name="connsiteX619" fmla="*/ 349381 w 7467600"/>
              <a:gd name="connsiteY619" fmla="*/ 1875041 h 6858000"/>
              <a:gd name="connsiteX620" fmla="*/ 374363 w 7467600"/>
              <a:gd name="connsiteY620" fmla="*/ 1506494 h 6858000"/>
              <a:gd name="connsiteX621" fmla="*/ 302168 w 7467600"/>
              <a:gd name="connsiteY621" fmla="*/ 1274495 h 6858000"/>
              <a:gd name="connsiteX622" fmla="*/ 291466 w 7467600"/>
              <a:gd name="connsiteY622" fmla="*/ 1250369 h 6858000"/>
              <a:gd name="connsiteX623" fmla="*/ 678222 w 7467600"/>
              <a:gd name="connsiteY623" fmla="*/ 1248670 h 6858000"/>
              <a:gd name="connsiteX624" fmla="*/ 775536 w 7467600"/>
              <a:gd name="connsiteY624" fmla="*/ 1388015 h 6858000"/>
              <a:gd name="connsiteX625" fmla="*/ 894529 w 7467600"/>
              <a:gd name="connsiteY625" fmla="*/ 1567739 h 6858000"/>
              <a:gd name="connsiteX626" fmla="*/ 948000 w 7467600"/>
              <a:gd name="connsiteY626" fmla="*/ 1663088 h 6858000"/>
              <a:gd name="connsiteX627" fmla="*/ 1006812 w 7467600"/>
              <a:gd name="connsiteY627" fmla="*/ 1767683 h 6858000"/>
              <a:gd name="connsiteX628" fmla="*/ 1149133 w 7467600"/>
              <a:gd name="connsiteY628" fmla="*/ 1971513 h 6858000"/>
              <a:gd name="connsiteX629" fmla="*/ 1333952 w 7467600"/>
              <a:gd name="connsiteY629" fmla="*/ 2251620 h 6858000"/>
              <a:gd name="connsiteX630" fmla="*/ 1337329 w 7467600"/>
              <a:gd name="connsiteY630" fmla="*/ 2258350 h 6858000"/>
              <a:gd name="connsiteX631" fmla="*/ 1014726 w 7467600"/>
              <a:gd name="connsiteY631" fmla="*/ 1615556 h 6858000"/>
              <a:gd name="connsiteX632" fmla="*/ 678222 w 7467600"/>
              <a:gd name="connsiteY632" fmla="*/ 1248670 h 6858000"/>
              <a:gd name="connsiteX633" fmla="*/ 6691602 w 7467600"/>
              <a:gd name="connsiteY633" fmla="*/ 1140573 h 6858000"/>
              <a:gd name="connsiteX634" fmla="*/ 6571100 w 7467600"/>
              <a:gd name="connsiteY634" fmla="*/ 1183662 h 6858000"/>
              <a:gd name="connsiteX635" fmla="*/ 6241687 w 7467600"/>
              <a:gd name="connsiteY635" fmla="*/ 1257600 h 6858000"/>
              <a:gd name="connsiteX636" fmla="*/ 5693009 w 7467600"/>
              <a:gd name="connsiteY636" fmla="*/ 1478256 h 6858000"/>
              <a:gd name="connsiteX637" fmla="*/ 6548420 w 7467600"/>
              <a:gd name="connsiteY637" fmla="*/ 1214599 h 6858000"/>
              <a:gd name="connsiteX638" fmla="*/ 6605473 w 7467600"/>
              <a:gd name="connsiteY638" fmla="*/ 1184686 h 6858000"/>
              <a:gd name="connsiteX639" fmla="*/ 6691602 w 7467600"/>
              <a:gd name="connsiteY639" fmla="*/ 1140573 h 6858000"/>
              <a:gd name="connsiteX640" fmla="*/ 4002475 w 7467600"/>
              <a:gd name="connsiteY640" fmla="*/ 1037802 h 6858000"/>
              <a:gd name="connsiteX641" fmla="*/ 4000324 w 7467600"/>
              <a:gd name="connsiteY641" fmla="*/ 1039362 h 6858000"/>
              <a:gd name="connsiteX642" fmla="*/ 4002862 w 7467600"/>
              <a:gd name="connsiteY642" fmla="*/ 1042866 h 6858000"/>
              <a:gd name="connsiteX643" fmla="*/ 4002475 w 7467600"/>
              <a:gd name="connsiteY643" fmla="*/ 1037802 h 6858000"/>
              <a:gd name="connsiteX644" fmla="*/ 506322 w 7467600"/>
              <a:gd name="connsiteY644" fmla="*/ 1020997 h 6858000"/>
              <a:gd name="connsiteX645" fmla="*/ 533068 w 7467600"/>
              <a:gd name="connsiteY645" fmla="*/ 1029409 h 6858000"/>
              <a:gd name="connsiteX646" fmla="*/ 1232525 w 7467600"/>
              <a:gd name="connsiteY646" fmla="*/ 1804675 h 6858000"/>
              <a:gd name="connsiteX647" fmla="*/ 1388858 w 7467600"/>
              <a:gd name="connsiteY647" fmla="*/ 2368011 h 6858000"/>
              <a:gd name="connsiteX648" fmla="*/ 1384098 w 7467600"/>
              <a:gd name="connsiteY648" fmla="*/ 2378125 h 6858000"/>
              <a:gd name="connsiteX649" fmla="*/ 1425393 w 7467600"/>
              <a:gd name="connsiteY649" fmla="*/ 2589124 h 6858000"/>
              <a:gd name="connsiteX650" fmla="*/ 1424001 w 7467600"/>
              <a:gd name="connsiteY650" fmla="*/ 2597541 h 6858000"/>
              <a:gd name="connsiteX651" fmla="*/ 2152729 w 7467600"/>
              <a:gd name="connsiteY651" fmla="*/ 2864487 h 6858000"/>
              <a:gd name="connsiteX652" fmla="*/ 2020609 w 7467600"/>
              <a:gd name="connsiteY652" fmla="*/ 2539671 h 6858000"/>
              <a:gd name="connsiteX653" fmla="*/ 2018920 w 7467600"/>
              <a:gd name="connsiteY653" fmla="*/ 2536309 h 6858000"/>
              <a:gd name="connsiteX654" fmla="*/ 1342441 w 7467600"/>
              <a:gd name="connsiteY654" fmla="*/ 1173017 h 6858000"/>
              <a:gd name="connsiteX655" fmla="*/ 1367925 w 7467600"/>
              <a:gd name="connsiteY655" fmla="*/ 1135648 h 6858000"/>
              <a:gd name="connsiteX656" fmla="*/ 1771401 w 7467600"/>
              <a:gd name="connsiteY656" fmla="*/ 1806673 h 6858000"/>
              <a:gd name="connsiteX657" fmla="*/ 1972385 w 7467600"/>
              <a:gd name="connsiteY657" fmla="*/ 2198735 h 6858000"/>
              <a:gd name="connsiteX658" fmla="*/ 2040892 w 7467600"/>
              <a:gd name="connsiteY658" fmla="*/ 2405205 h 6858000"/>
              <a:gd name="connsiteX659" fmla="*/ 2131689 w 7467600"/>
              <a:gd name="connsiteY659" fmla="*/ 1936926 h 6858000"/>
              <a:gd name="connsiteX660" fmla="*/ 2454820 w 7467600"/>
              <a:gd name="connsiteY660" fmla="*/ 1248808 h 6858000"/>
              <a:gd name="connsiteX661" fmla="*/ 2492512 w 7467600"/>
              <a:gd name="connsiteY661" fmla="*/ 1302920 h 6858000"/>
              <a:gd name="connsiteX662" fmla="*/ 2081216 w 7467600"/>
              <a:gd name="connsiteY662" fmla="*/ 2527513 h 6858000"/>
              <a:gd name="connsiteX663" fmla="*/ 2081211 w 7467600"/>
              <a:gd name="connsiteY663" fmla="*/ 2528916 h 6858000"/>
              <a:gd name="connsiteX664" fmla="*/ 2199067 w 7467600"/>
              <a:gd name="connsiteY664" fmla="*/ 2884061 h 6858000"/>
              <a:gd name="connsiteX665" fmla="*/ 3192586 w 7467600"/>
              <a:gd name="connsiteY665" fmla="*/ 3411496 h 6858000"/>
              <a:gd name="connsiteX666" fmla="*/ 3182620 w 7467600"/>
              <a:gd name="connsiteY666" fmla="*/ 3483279 h 6858000"/>
              <a:gd name="connsiteX667" fmla="*/ 2435119 w 7467600"/>
              <a:gd name="connsiteY667" fmla="*/ 3080173 h 6858000"/>
              <a:gd name="connsiteX668" fmla="*/ 2410152 w 7467600"/>
              <a:gd name="connsiteY668" fmla="*/ 3063751 h 6858000"/>
              <a:gd name="connsiteX669" fmla="*/ 2408099 w 7467600"/>
              <a:gd name="connsiteY669" fmla="*/ 3064403 h 6858000"/>
              <a:gd name="connsiteX670" fmla="*/ 2407218 w 7467600"/>
              <a:gd name="connsiteY670" fmla="*/ 3070324 h 6858000"/>
              <a:gd name="connsiteX671" fmla="*/ 2380138 w 7467600"/>
              <a:gd name="connsiteY671" fmla="*/ 3099341 h 6858000"/>
              <a:gd name="connsiteX672" fmla="*/ 1765923 w 7467600"/>
              <a:gd name="connsiteY672" fmla="*/ 3581043 h 6858000"/>
              <a:gd name="connsiteX673" fmla="*/ 1702258 w 7467600"/>
              <a:gd name="connsiteY673" fmla="*/ 3612286 h 6858000"/>
              <a:gd name="connsiteX674" fmla="*/ 1538370 w 7467600"/>
              <a:gd name="connsiteY674" fmla="*/ 3811804 h 6858000"/>
              <a:gd name="connsiteX675" fmla="*/ 542867 w 7467600"/>
              <a:gd name="connsiteY675" fmla="*/ 4944092 h 6858000"/>
              <a:gd name="connsiteX676" fmla="*/ 515800 w 7467600"/>
              <a:gd name="connsiteY676" fmla="*/ 4862180 h 6858000"/>
              <a:gd name="connsiteX677" fmla="*/ 909145 w 7467600"/>
              <a:gd name="connsiteY677" fmla="*/ 4199225 h 6858000"/>
              <a:gd name="connsiteX678" fmla="*/ 1214067 w 7467600"/>
              <a:gd name="connsiteY678" fmla="*/ 3908561 h 6858000"/>
              <a:gd name="connsiteX679" fmla="*/ 640967 w 7467600"/>
              <a:gd name="connsiteY679" fmla="*/ 4105601 h 6858000"/>
              <a:gd name="connsiteX680" fmla="*/ 112563 w 7467600"/>
              <a:gd name="connsiteY680" fmla="*/ 4396952 h 6858000"/>
              <a:gd name="connsiteX681" fmla="*/ 0 w 7467600"/>
              <a:gd name="connsiteY681" fmla="*/ 4466006 h 6858000"/>
              <a:gd name="connsiteX682" fmla="*/ 0 w 7467600"/>
              <a:gd name="connsiteY682" fmla="*/ 4233763 h 6858000"/>
              <a:gd name="connsiteX683" fmla="*/ 36881 w 7467600"/>
              <a:gd name="connsiteY683" fmla="*/ 4200118 h 6858000"/>
              <a:gd name="connsiteX684" fmla="*/ 910534 w 7467600"/>
              <a:gd name="connsiteY684" fmla="*/ 3629753 h 6858000"/>
              <a:gd name="connsiteX685" fmla="*/ 1578717 w 7467600"/>
              <a:gd name="connsiteY685" fmla="*/ 3575982 h 6858000"/>
              <a:gd name="connsiteX686" fmla="*/ 2338780 w 7467600"/>
              <a:gd name="connsiteY686" fmla="*/ 3033725 h 6858000"/>
              <a:gd name="connsiteX687" fmla="*/ 1807991 w 7467600"/>
              <a:gd name="connsiteY687" fmla="*/ 2807184 h 6858000"/>
              <a:gd name="connsiteX688" fmla="*/ 1416358 w 7467600"/>
              <a:gd name="connsiteY688" fmla="*/ 3112571 h 6858000"/>
              <a:gd name="connsiteX689" fmla="*/ 939066 w 7467600"/>
              <a:gd name="connsiteY689" fmla="*/ 3378798 h 6858000"/>
              <a:gd name="connsiteX690" fmla="*/ 115099 w 7467600"/>
              <a:gd name="connsiteY690" fmla="*/ 3607650 h 6858000"/>
              <a:gd name="connsiteX691" fmla="*/ 97284 w 7467600"/>
              <a:gd name="connsiteY691" fmla="*/ 3520393 h 6858000"/>
              <a:gd name="connsiteX692" fmla="*/ 922050 w 7467600"/>
              <a:gd name="connsiteY692" fmla="*/ 3074867 h 6858000"/>
              <a:gd name="connsiteX693" fmla="*/ 1405265 w 7467600"/>
              <a:gd name="connsiteY693" fmla="*/ 3016319 h 6858000"/>
              <a:gd name="connsiteX694" fmla="*/ 1407512 w 7467600"/>
              <a:gd name="connsiteY694" fmla="*/ 3018001 h 6858000"/>
              <a:gd name="connsiteX695" fmla="*/ 1726266 w 7467600"/>
              <a:gd name="connsiteY695" fmla="*/ 2777274 h 6858000"/>
              <a:gd name="connsiteX696" fmla="*/ 625390 w 7467600"/>
              <a:gd name="connsiteY696" fmla="*/ 2514541 h 6858000"/>
              <a:gd name="connsiteX697" fmla="*/ 619799 w 7467600"/>
              <a:gd name="connsiteY697" fmla="*/ 2527180 h 6858000"/>
              <a:gd name="connsiteX698" fmla="*/ 310030 w 7467600"/>
              <a:gd name="connsiteY698" fmla="*/ 2771818 h 6858000"/>
              <a:gd name="connsiteX699" fmla="*/ 173877 w 7467600"/>
              <a:gd name="connsiteY699" fmla="*/ 2937056 h 6858000"/>
              <a:gd name="connsiteX700" fmla="*/ 77889 w 7467600"/>
              <a:gd name="connsiteY700" fmla="*/ 3138440 h 6858000"/>
              <a:gd name="connsiteX701" fmla="*/ 0 w 7467600"/>
              <a:gd name="connsiteY701" fmla="*/ 3271395 h 6858000"/>
              <a:gd name="connsiteX702" fmla="*/ 0 w 7467600"/>
              <a:gd name="connsiteY702" fmla="*/ 3153002 h 6858000"/>
              <a:gd name="connsiteX703" fmla="*/ 2386 w 7467600"/>
              <a:gd name="connsiteY703" fmla="*/ 3149203 h 6858000"/>
              <a:gd name="connsiteX704" fmla="*/ 89753 w 7467600"/>
              <a:gd name="connsiteY704" fmla="*/ 2987702 h 6858000"/>
              <a:gd name="connsiteX705" fmla="*/ 76869 w 7467600"/>
              <a:gd name="connsiteY705" fmla="*/ 3005404 h 6858000"/>
              <a:gd name="connsiteX706" fmla="*/ 32049 w 7467600"/>
              <a:gd name="connsiteY706" fmla="*/ 3065814 h 6858000"/>
              <a:gd name="connsiteX707" fmla="*/ 0 w 7467600"/>
              <a:gd name="connsiteY707" fmla="*/ 3108744 h 6858000"/>
              <a:gd name="connsiteX708" fmla="*/ 0 w 7467600"/>
              <a:gd name="connsiteY708" fmla="*/ 3058059 h 6858000"/>
              <a:gd name="connsiteX709" fmla="*/ 7610 w 7467600"/>
              <a:gd name="connsiteY709" fmla="*/ 3047889 h 6858000"/>
              <a:gd name="connsiteX710" fmla="*/ 52419 w 7467600"/>
              <a:gd name="connsiteY710" fmla="*/ 2987479 h 6858000"/>
              <a:gd name="connsiteX711" fmla="*/ 59142 w 7467600"/>
              <a:gd name="connsiteY711" fmla="*/ 2978488 h 6858000"/>
              <a:gd name="connsiteX712" fmla="*/ 0 w 7467600"/>
              <a:gd name="connsiteY712" fmla="*/ 3015334 h 6858000"/>
              <a:gd name="connsiteX713" fmla="*/ 0 w 7467600"/>
              <a:gd name="connsiteY713" fmla="*/ 2914286 h 6858000"/>
              <a:gd name="connsiteX714" fmla="*/ 36383 w 7467600"/>
              <a:gd name="connsiteY714" fmla="*/ 2901128 h 6858000"/>
              <a:gd name="connsiteX715" fmla="*/ 156329 w 7467600"/>
              <a:gd name="connsiteY715" fmla="*/ 2840533 h 6858000"/>
              <a:gd name="connsiteX716" fmla="*/ 358355 w 7467600"/>
              <a:gd name="connsiteY716" fmla="*/ 2620471 h 6858000"/>
              <a:gd name="connsiteX717" fmla="*/ 510577 w 7467600"/>
              <a:gd name="connsiteY717" fmla="*/ 2501244 h 6858000"/>
              <a:gd name="connsiteX718" fmla="*/ 211967 w 7467600"/>
              <a:gd name="connsiteY718" fmla="*/ 2479171 h 6858000"/>
              <a:gd name="connsiteX719" fmla="*/ 0 w 7467600"/>
              <a:gd name="connsiteY719" fmla="*/ 2476398 h 6858000"/>
              <a:gd name="connsiteX720" fmla="*/ 0 w 7467600"/>
              <a:gd name="connsiteY720" fmla="*/ 2389189 h 6858000"/>
              <a:gd name="connsiteX721" fmla="*/ 103062 w 7467600"/>
              <a:gd name="connsiteY721" fmla="*/ 2389518 h 6858000"/>
              <a:gd name="connsiteX722" fmla="*/ 510734 w 7467600"/>
              <a:gd name="connsiteY722" fmla="*/ 2416201 h 6858000"/>
              <a:gd name="connsiteX723" fmla="*/ 279257 w 7467600"/>
              <a:gd name="connsiteY723" fmla="*/ 2092102 h 6858000"/>
              <a:gd name="connsiteX724" fmla="*/ 65265 w 7467600"/>
              <a:gd name="connsiteY724" fmla="*/ 2006049 h 6858000"/>
              <a:gd name="connsiteX725" fmla="*/ 0 w 7467600"/>
              <a:gd name="connsiteY725" fmla="*/ 1982532 h 6858000"/>
              <a:gd name="connsiteX726" fmla="*/ 0 w 7467600"/>
              <a:gd name="connsiteY726" fmla="*/ 1912789 h 6858000"/>
              <a:gd name="connsiteX727" fmla="*/ 97460 w 7467600"/>
              <a:gd name="connsiteY727" fmla="*/ 1953725 h 6858000"/>
              <a:gd name="connsiteX728" fmla="*/ 221272 w 7467600"/>
              <a:gd name="connsiteY728" fmla="*/ 1980766 h 6858000"/>
              <a:gd name="connsiteX729" fmla="*/ 116765 w 7467600"/>
              <a:gd name="connsiteY729" fmla="*/ 1911033 h 6858000"/>
              <a:gd name="connsiteX730" fmla="*/ 16405 w 7467600"/>
              <a:gd name="connsiteY730" fmla="*/ 1803412 h 6858000"/>
              <a:gd name="connsiteX731" fmla="*/ 0 w 7467600"/>
              <a:gd name="connsiteY731" fmla="*/ 1784777 h 6858000"/>
              <a:gd name="connsiteX732" fmla="*/ 0 w 7467600"/>
              <a:gd name="connsiteY732" fmla="*/ 1740082 h 6858000"/>
              <a:gd name="connsiteX733" fmla="*/ 39394 w 7467600"/>
              <a:gd name="connsiteY733" fmla="*/ 1784856 h 6858000"/>
              <a:gd name="connsiteX734" fmla="*/ 135813 w 7467600"/>
              <a:gd name="connsiteY734" fmla="*/ 1888838 h 6858000"/>
              <a:gd name="connsiteX735" fmla="*/ 242575 w 7467600"/>
              <a:gd name="connsiteY735" fmla="*/ 1958841 h 6858000"/>
              <a:gd name="connsiteX736" fmla="*/ 82197 w 7467600"/>
              <a:gd name="connsiteY736" fmla="*/ 1754826 h 6858000"/>
              <a:gd name="connsiteX737" fmla="*/ 0 w 7467600"/>
              <a:gd name="connsiteY737" fmla="*/ 1679650 h 6858000"/>
              <a:gd name="connsiteX738" fmla="*/ 0 w 7467600"/>
              <a:gd name="connsiteY738" fmla="*/ 1602463 h 6858000"/>
              <a:gd name="connsiteX739" fmla="*/ 84689 w 7467600"/>
              <a:gd name="connsiteY739" fmla="*/ 1677442 h 6858000"/>
              <a:gd name="connsiteX740" fmla="*/ 298437 w 7467600"/>
              <a:gd name="connsiteY740" fmla="*/ 1968019 h 6858000"/>
              <a:gd name="connsiteX741" fmla="*/ 227269 w 7467600"/>
              <a:gd name="connsiteY741" fmla="*/ 1114064 h 6858000"/>
              <a:gd name="connsiteX742" fmla="*/ 248003 w 7467600"/>
              <a:gd name="connsiteY742" fmla="*/ 1089613 h 6858000"/>
              <a:gd name="connsiteX743" fmla="*/ 427020 w 7467600"/>
              <a:gd name="connsiteY743" fmla="*/ 1619803 h 6858000"/>
              <a:gd name="connsiteX744" fmla="*/ 340345 w 7467600"/>
              <a:gd name="connsiteY744" fmla="*/ 2027739 h 6858000"/>
              <a:gd name="connsiteX745" fmla="*/ 360865 w 7467600"/>
              <a:gd name="connsiteY745" fmla="*/ 2044827 h 6858000"/>
              <a:gd name="connsiteX746" fmla="*/ 560414 w 7467600"/>
              <a:gd name="connsiteY746" fmla="*/ 2421457 h 6858000"/>
              <a:gd name="connsiteX747" fmla="*/ 1359703 w 7467600"/>
              <a:gd name="connsiteY747" fmla="*/ 2578554 h 6858000"/>
              <a:gd name="connsiteX748" fmla="*/ 1359422 w 7467600"/>
              <a:gd name="connsiteY748" fmla="*/ 2577994 h 6858000"/>
              <a:gd name="connsiteX749" fmla="*/ 828701 w 7467600"/>
              <a:gd name="connsiteY749" fmla="*/ 1839520 h 6858000"/>
              <a:gd name="connsiteX750" fmla="*/ 494427 w 7467600"/>
              <a:gd name="connsiteY750" fmla="*/ 1092333 h 6858000"/>
              <a:gd name="connsiteX751" fmla="*/ 506322 w 7467600"/>
              <a:gd name="connsiteY751" fmla="*/ 1020997 h 6858000"/>
              <a:gd name="connsiteX752" fmla="*/ 4570198 w 7467600"/>
              <a:gd name="connsiteY752" fmla="*/ 978081 h 6858000"/>
              <a:gd name="connsiteX753" fmla="*/ 4523691 w 7467600"/>
              <a:gd name="connsiteY753" fmla="*/ 1127776 h 6858000"/>
              <a:gd name="connsiteX754" fmla="*/ 4509875 w 7467600"/>
              <a:gd name="connsiteY754" fmla="*/ 1167552 h 6858000"/>
              <a:gd name="connsiteX755" fmla="*/ 4478168 w 7467600"/>
              <a:gd name="connsiteY755" fmla="*/ 1260735 h 6858000"/>
              <a:gd name="connsiteX756" fmla="*/ 4409309 w 7467600"/>
              <a:gd name="connsiteY756" fmla="*/ 1666996 h 6858000"/>
              <a:gd name="connsiteX757" fmla="*/ 4370031 w 7467600"/>
              <a:gd name="connsiteY757" fmla="*/ 1955666 h 6858000"/>
              <a:gd name="connsiteX758" fmla="*/ 4570198 w 7467600"/>
              <a:gd name="connsiteY758" fmla="*/ 978081 h 6858000"/>
              <a:gd name="connsiteX759" fmla="*/ 4557898 w 7467600"/>
              <a:gd name="connsiteY759" fmla="*/ 900011 h 6858000"/>
              <a:gd name="connsiteX760" fmla="*/ 4344840 w 7467600"/>
              <a:gd name="connsiteY760" fmla="*/ 1922038 h 6858000"/>
              <a:gd name="connsiteX761" fmla="*/ 4378710 w 7467600"/>
              <a:gd name="connsiteY761" fmla="*/ 1665516 h 6858000"/>
              <a:gd name="connsiteX762" fmla="*/ 4448798 w 7467600"/>
              <a:gd name="connsiteY762" fmla="*/ 1253024 h 6858000"/>
              <a:gd name="connsiteX763" fmla="*/ 4480315 w 7467600"/>
              <a:gd name="connsiteY763" fmla="*/ 1158454 h 6858000"/>
              <a:gd name="connsiteX764" fmla="*/ 4494133 w 7467600"/>
              <a:gd name="connsiteY764" fmla="*/ 1118676 h 6858000"/>
              <a:gd name="connsiteX765" fmla="*/ 4557898 w 7467600"/>
              <a:gd name="connsiteY765" fmla="*/ 900011 h 6858000"/>
              <a:gd name="connsiteX766" fmla="*/ 5870151 w 7467600"/>
              <a:gd name="connsiteY766" fmla="*/ 898890 h 6858000"/>
              <a:gd name="connsiteX767" fmla="*/ 5861335 w 7467600"/>
              <a:gd name="connsiteY767" fmla="*/ 899177 h 6858000"/>
              <a:gd name="connsiteX768" fmla="*/ 5843702 w 7467600"/>
              <a:gd name="connsiteY768" fmla="*/ 899748 h 6858000"/>
              <a:gd name="connsiteX769" fmla="*/ 5651107 w 7467600"/>
              <a:gd name="connsiteY769" fmla="*/ 920306 h 6858000"/>
              <a:gd name="connsiteX770" fmla="*/ 5459407 w 7467600"/>
              <a:gd name="connsiteY770" fmla="*/ 940975 h 6858000"/>
              <a:gd name="connsiteX771" fmla="*/ 5374846 w 7467600"/>
              <a:gd name="connsiteY771" fmla="*/ 941988 h 6858000"/>
              <a:gd name="connsiteX772" fmla="*/ 5256105 w 7467600"/>
              <a:gd name="connsiteY772" fmla="*/ 945632 h 6858000"/>
              <a:gd name="connsiteX773" fmla="*/ 5107071 w 7467600"/>
              <a:gd name="connsiteY773" fmla="*/ 969720 h 6858000"/>
              <a:gd name="connsiteX774" fmla="*/ 4998681 w 7467600"/>
              <a:gd name="connsiteY774" fmla="*/ 988771 h 6858000"/>
              <a:gd name="connsiteX775" fmla="*/ 5870151 w 7467600"/>
              <a:gd name="connsiteY775" fmla="*/ 898890 h 6858000"/>
              <a:gd name="connsiteX776" fmla="*/ 5504425 w 7467600"/>
              <a:gd name="connsiteY776" fmla="*/ 848067 h 6858000"/>
              <a:gd name="connsiteX777" fmla="*/ 4968849 w 7467600"/>
              <a:gd name="connsiteY777" fmla="*/ 962318 h 6858000"/>
              <a:gd name="connsiteX778" fmla="*/ 5104039 w 7467600"/>
              <a:gd name="connsiteY778" fmla="*/ 940634 h 6858000"/>
              <a:gd name="connsiteX779" fmla="*/ 5256311 w 7467600"/>
              <a:gd name="connsiteY779" fmla="*/ 916490 h 6858000"/>
              <a:gd name="connsiteX780" fmla="*/ 5377381 w 7467600"/>
              <a:gd name="connsiteY780" fmla="*/ 912671 h 6858000"/>
              <a:gd name="connsiteX781" fmla="*/ 5460148 w 7467600"/>
              <a:gd name="connsiteY781" fmla="*/ 911442 h 6858000"/>
              <a:gd name="connsiteX782" fmla="*/ 5648971 w 7467600"/>
              <a:gd name="connsiteY782" fmla="*/ 891331 h 6858000"/>
              <a:gd name="connsiteX783" fmla="*/ 5844807 w 7467600"/>
              <a:gd name="connsiteY783" fmla="*/ 870718 h 6858000"/>
              <a:gd name="connsiteX784" fmla="*/ 5862975 w 7467600"/>
              <a:gd name="connsiteY784" fmla="*/ 869756 h 6858000"/>
              <a:gd name="connsiteX785" fmla="*/ 5920887 w 7467600"/>
              <a:gd name="connsiteY785" fmla="*/ 865929 h 6858000"/>
              <a:gd name="connsiteX786" fmla="*/ 5504425 w 7467600"/>
              <a:gd name="connsiteY786" fmla="*/ 848067 h 6858000"/>
              <a:gd name="connsiteX787" fmla="*/ 3607114 w 7467600"/>
              <a:gd name="connsiteY787" fmla="*/ 467441 h 6858000"/>
              <a:gd name="connsiteX788" fmla="*/ 3296242 w 7467600"/>
              <a:gd name="connsiteY788" fmla="*/ 807991 h 6858000"/>
              <a:gd name="connsiteX789" fmla="*/ 3174674 w 7467600"/>
              <a:gd name="connsiteY789" fmla="*/ 919759 h 6858000"/>
              <a:gd name="connsiteX790" fmla="*/ 3042978 w 7467600"/>
              <a:gd name="connsiteY790" fmla="*/ 1054894 h 6858000"/>
              <a:gd name="connsiteX791" fmla="*/ 2968914 w 7467600"/>
              <a:gd name="connsiteY791" fmla="*/ 1133756 h 6858000"/>
              <a:gd name="connsiteX792" fmla="*/ 3103823 w 7467600"/>
              <a:gd name="connsiteY792" fmla="*/ 1026814 h 6858000"/>
              <a:gd name="connsiteX793" fmla="*/ 3607114 w 7467600"/>
              <a:gd name="connsiteY793" fmla="*/ 467441 h 6858000"/>
              <a:gd name="connsiteX794" fmla="*/ 3744487 w 7467600"/>
              <a:gd name="connsiteY794" fmla="*/ 383136 h 6858000"/>
              <a:gd name="connsiteX795" fmla="*/ 3970213 w 7467600"/>
              <a:gd name="connsiteY795" fmla="*/ 995559 h 6858000"/>
              <a:gd name="connsiteX796" fmla="*/ 3744487 w 7467600"/>
              <a:gd name="connsiteY796" fmla="*/ 383136 h 6858000"/>
              <a:gd name="connsiteX797" fmla="*/ 3624562 w 7467600"/>
              <a:gd name="connsiteY797" fmla="*/ 367041 h 6858000"/>
              <a:gd name="connsiteX798" fmla="*/ 3489712 w 7467600"/>
              <a:gd name="connsiteY798" fmla="*/ 485386 h 6858000"/>
              <a:gd name="connsiteX799" fmla="*/ 3182994 w 7467600"/>
              <a:gd name="connsiteY799" fmla="*/ 828265 h 6858000"/>
              <a:gd name="connsiteX800" fmla="*/ 2892114 w 7467600"/>
              <a:gd name="connsiteY800" fmla="*/ 1172635 h 6858000"/>
              <a:gd name="connsiteX801" fmla="*/ 3021459 w 7467600"/>
              <a:gd name="connsiteY801" fmla="*/ 1035385 h 6858000"/>
              <a:gd name="connsiteX802" fmla="*/ 3153873 w 7467600"/>
              <a:gd name="connsiteY802" fmla="*/ 898971 h 6858000"/>
              <a:gd name="connsiteX803" fmla="*/ 3276511 w 7467600"/>
              <a:gd name="connsiteY803" fmla="*/ 786423 h 6858000"/>
              <a:gd name="connsiteX804" fmla="*/ 3584154 w 7467600"/>
              <a:gd name="connsiteY804" fmla="*/ 448218 h 6858000"/>
              <a:gd name="connsiteX805" fmla="*/ 3624562 w 7467600"/>
              <a:gd name="connsiteY805" fmla="*/ 367041 h 6858000"/>
              <a:gd name="connsiteX806" fmla="*/ 3766672 w 7467600"/>
              <a:gd name="connsiteY806" fmla="*/ 359429 h 6858000"/>
              <a:gd name="connsiteX807" fmla="*/ 3996338 w 7467600"/>
              <a:gd name="connsiteY807" fmla="*/ 968237 h 6858000"/>
              <a:gd name="connsiteX808" fmla="*/ 3766672 w 7467600"/>
              <a:gd name="connsiteY808" fmla="*/ 359429 h 6858000"/>
              <a:gd name="connsiteX809" fmla="*/ 5805386 w 7467600"/>
              <a:gd name="connsiteY809" fmla="*/ 239240 h 6858000"/>
              <a:gd name="connsiteX810" fmla="*/ 5736947 w 7467600"/>
              <a:gd name="connsiteY810" fmla="*/ 261367 h 6858000"/>
              <a:gd name="connsiteX811" fmla="*/ 5427012 w 7467600"/>
              <a:gd name="connsiteY811" fmla="*/ 311272 h 6858000"/>
              <a:gd name="connsiteX812" fmla="*/ 5147818 w 7467600"/>
              <a:gd name="connsiteY812" fmla="*/ 322112 h 6858000"/>
              <a:gd name="connsiteX813" fmla="*/ 5060854 w 7467600"/>
              <a:gd name="connsiteY813" fmla="*/ 311882 h 6858000"/>
              <a:gd name="connsiteX814" fmla="*/ 4945989 w 7467600"/>
              <a:gd name="connsiteY814" fmla="*/ 300516 h 6858000"/>
              <a:gd name="connsiteX815" fmla="*/ 5410479 w 7467600"/>
              <a:gd name="connsiteY815" fmla="*/ 348434 h 6858000"/>
              <a:gd name="connsiteX816" fmla="*/ 5805386 w 7467600"/>
              <a:gd name="connsiteY816" fmla="*/ 239240 h 6858000"/>
              <a:gd name="connsiteX817" fmla="*/ 5905192 w 7467600"/>
              <a:gd name="connsiteY817" fmla="*/ 163079 h 6858000"/>
              <a:gd name="connsiteX818" fmla="*/ 5865655 w 7467600"/>
              <a:gd name="connsiteY818" fmla="*/ 171901 h 6858000"/>
              <a:gd name="connsiteX819" fmla="*/ 5259740 w 7467600"/>
              <a:gd name="connsiteY819" fmla="*/ 257013 h 6858000"/>
              <a:gd name="connsiteX820" fmla="*/ 5208466 w 7467600"/>
              <a:gd name="connsiteY820" fmla="*/ 257550 h 6858000"/>
              <a:gd name="connsiteX821" fmla="*/ 4980204 w 7467600"/>
              <a:gd name="connsiteY821" fmla="*/ 271903 h 6858000"/>
              <a:gd name="connsiteX822" fmla="*/ 5068068 w 7467600"/>
              <a:gd name="connsiteY822" fmla="*/ 282244 h 6858000"/>
              <a:gd name="connsiteX823" fmla="*/ 5153231 w 7467600"/>
              <a:gd name="connsiteY823" fmla="*/ 292240 h 6858000"/>
              <a:gd name="connsiteX824" fmla="*/ 5426491 w 7467600"/>
              <a:gd name="connsiteY824" fmla="*/ 281128 h 6858000"/>
              <a:gd name="connsiteX825" fmla="*/ 5731212 w 7467600"/>
              <a:gd name="connsiteY825" fmla="*/ 231951 h 6858000"/>
              <a:gd name="connsiteX826" fmla="*/ 5905192 w 7467600"/>
              <a:gd name="connsiteY826" fmla="*/ 163079 h 6858000"/>
              <a:gd name="connsiteX827" fmla="*/ 5944437 w 7467600"/>
              <a:gd name="connsiteY827" fmla="*/ 113829 h 6858000"/>
              <a:gd name="connsiteX828" fmla="*/ 5825032 w 7467600"/>
              <a:gd name="connsiteY828" fmla="*/ 146405 h 6858000"/>
              <a:gd name="connsiteX829" fmla="*/ 4955599 w 7467600"/>
              <a:gd name="connsiteY829" fmla="*/ 247008 h 6858000"/>
              <a:gd name="connsiteX830" fmla="*/ 5210104 w 7467600"/>
              <a:gd name="connsiteY830" fmla="*/ 228123 h 6858000"/>
              <a:gd name="connsiteX831" fmla="*/ 5261015 w 7467600"/>
              <a:gd name="connsiteY831" fmla="*/ 227087 h 6858000"/>
              <a:gd name="connsiteX832" fmla="*/ 5861181 w 7467600"/>
              <a:gd name="connsiteY832" fmla="*/ 143093 h 6858000"/>
              <a:gd name="connsiteX833" fmla="*/ 5961252 w 7467600"/>
              <a:gd name="connsiteY833" fmla="*/ 114820 h 6858000"/>
              <a:gd name="connsiteX834" fmla="*/ 5944437 w 7467600"/>
              <a:gd name="connsiteY834" fmla="*/ 113829 h 6858000"/>
              <a:gd name="connsiteX835" fmla="*/ 3882765 w 7467600"/>
              <a:gd name="connsiteY835" fmla="*/ 0 h 6858000"/>
              <a:gd name="connsiteX836" fmla="*/ 3995099 w 7467600"/>
              <a:gd name="connsiteY836" fmla="*/ 0 h 6858000"/>
              <a:gd name="connsiteX837" fmla="*/ 4163818 w 7467600"/>
              <a:gd name="connsiteY837" fmla="*/ 234104 h 6858000"/>
              <a:gd name="connsiteX838" fmla="*/ 4172099 w 7467600"/>
              <a:gd name="connsiteY838" fmla="*/ 234207 h 6858000"/>
              <a:gd name="connsiteX839" fmla="*/ 4784282 w 7467600"/>
              <a:gd name="connsiteY839" fmla="*/ 276561 h 6858000"/>
              <a:gd name="connsiteX840" fmla="*/ 4801687 w 7467600"/>
              <a:gd name="connsiteY840" fmla="*/ 267764 h 6858000"/>
              <a:gd name="connsiteX841" fmla="*/ 6082788 w 7467600"/>
              <a:gd name="connsiteY841" fmla="*/ 64119 h 6858000"/>
              <a:gd name="connsiteX842" fmla="*/ 6099442 w 7467600"/>
              <a:gd name="connsiteY842" fmla="*/ 82568 h 6858000"/>
              <a:gd name="connsiteX843" fmla="*/ 4804137 w 7467600"/>
              <a:gd name="connsiteY843" fmla="*/ 320931 h 6858000"/>
              <a:gd name="connsiteX844" fmla="*/ 4227047 w 7467600"/>
              <a:gd name="connsiteY844" fmla="*/ 313415 h 6858000"/>
              <a:gd name="connsiteX845" fmla="*/ 4346041 w 7467600"/>
              <a:gd name="connsiteY845" fmla="*/ 456086 h 6858000"/>
              <a:gd name="connsiteX846" fmla="*/ 4870967 w 7467600"/>
              <a:gd name="connsiteY846" fmla="*/ 963061 h 6858000"/>
              <a:gd name="connsiteX847" fmla="*/ 4889647 w 7467600"/>
              <a:gd name="connsiteY847" fmla="*/ 957147 h 6858000"/>
              <a:gd name="connsiteX848" fmla="*/ 5422504 w 7467600"/>
              <a:gd name="connsiteY848" fmla="*/ 805191 h 6858000"/>
              <a:gd name="connsiteX849" fmla="*/ 6087656 w 7467600"/>
              <a:gd name="connsiteY849" fmla="*/ 826703 h 6858000"/>
              <a:gd name="connsiteX850" fmla="*/ 6058717 w 7467600"/>
              <a:gd name="connsiteY850" fmla="*/ 865992 h 6858000"/>
              <a:gd name="connsiteX851" fmla="*/ 4974153 w 7467600"/>
              <a:gd name="connsiteY851" fmla="*/ 1045456 h 6858000"/>
              <a:gd name="connsiteX852" fmla="*/ 5627835 w 7467600"/>
              <a:gd name="connsiteY852" fmla="*/ 1472077 h 6858000"/>
              <a:gd name="connsiteX853" fmla="*/ 5629817 w 7467600"/>
              <a:gd name="connsiteY853" fmla="*/ 1471412 h 6858000"/>
              <a:gd name="connsiteX854" fmla="*/ 5634124 w 7467600"/>
              <a:gd name="connsiteY854" fmla="*/ 1470572 h 6858000"/>
              <a:gd name="connsiteX855" fmla="*/ 5755832 w 7467600"/>
              <a:gd name="connsiteY855" fmla="*/ 1383886 h 6858000"/>
              <a:gd name="connsiteX856" fmla="*/ 6014186 w 7467600"/>
              <a:gd name="connsiteY856" fmla="*/ 1279799 h 6858000"/>
              <a:gd name="connsiteX857" fmla="*/ 6901619 w 7467600"/>
              <a:gd name="connsiteY857" fmla="*/ 1047874 h 6858000"/>
              <a:gd name="connsiteX858" fmla="*/ 6931566 w 7467600"/>
              <a:gd name="connsiteY858" fmla="*/ 1062034 h 6858000"/>
              <a:gd name="connsiteX859" fmla="*/ 5790982 w 7467600"/>
              <a:gd name="connsiteY859" fmla="*/ 1561380 h 6858000"/>
              <a:gd name="connsiteX860" fmla="*/ 6188971 w 7467600"/>
              <a:gd name="connsiteY860" fmla="*/ 1755168 h 6858000"/>
              <a:gd name="connsiteX861" fmla="*/ 6202446 w 7467600"/>
              <a:gd name="connsiteY861" fmla="*/ 1752268 h 6858000"/>
              <a:gd name="connsiteX862" fmla="*/ 7179560 w 7467600"/>
              <a:gd name="connsiteY862" fmla="*/ 1467551 h 6858000"/>
              <a:gd name="connsiteX863" fmla="*/ 7158730 w 7467600"/>
              <a:gd name="connsiteY863" fmla="*/ 1507835 h 6858000"/>
              <a:gd name="connsiteX864" fmla="*/ 6326959 w 7467600"/>
              <a:gd name="connsiteY864" fmla="*/ 1817686 h 6858000"/>
              <a:gd name="connsiteX865" fmla="*/ 6537433 w 7467600"/>
              <a:gd name="connsiteY865" fmla="*/ 1907790 h 6858000"/>
              <a:gd name="connsiteX866" fmla="*/ 6550221 w 7467600"/>
              <a:gd name="connsiteY866" fmla="*/ 1910729 h 6858000"/>
              <a:gd name="connsiteX867" fmla="*/ 6964438 w 7467600"/>
              <a:gd name="connsiteY867" fmla="*/ 2209505 h 6858000"/>
              <a:gd name="connsiteX868" fmla="*/ 7367862 w 7467600"/>
              <a:gd name="connsiteY868" fmla="*/ 2806833 h 6858000"/>
              <a:gd name="connsiteX869" fmla="*/ 7364329 w 7467600"/>
              <a:gd name="connsiteY869" fmla="*/ 2826907 h 6858000"/>
              <a:gd name="connsiteX870" fmla="*/ 7290545 w 7467600"/>
              <a:gd name="connsiteY870" fmla="*/ 2850663 h 6858000"/>
              <a:gd name="connsiteX871" fmla="*/ 6472036 w 7467600"/>
              <a:gd name="connsiteY871" fmla="*/ 1959003 h 6858000"/>
              <a:gd name="connsiteX872" fmla="*/ 5792897 w 7467600"/>
              <a:gd name="connsiteY872" fmla="*/ 1647747 h 6858000"/>
              <a:gd name="connsiteX873" fmla="*/ 5842751 w 7467600"/>
              <a:gd name="connsiteY873" fmla="*/ 1816112 h 6858000"/>
              <a:gd name="connsiteX874" fmla="*/ 5847424 w 7467600"/>
              <a:gd name="connsiteY874" fmla="*/ 1815776 h 6858000"/>
              <a:gd name="connsiteX875" fmla="*/ 6399821 w 7467600"/>
              <a:gd name="connsiteY875" fmla="*/ 2344799 h 6858000"/>
              <a:gd name="connsiteX876" fmla="*/ 6323232 w 7467600"/>
              <a:gd name="connsiteY876" fmla="*/ 2389634 h 6858000"/>
              <a:gd name="connsiteX877" fmla="*/ 5942958 w 7467600"/>
              <a:gd name="connsiteY877" fmla="*/ 2077708 h 6858000"/>
              <a:gd name="connsiteX878" fmla="*/ 5921559 w 7467600"/>
              <a:gd name="connsiteY878" fmla="*/ 2378596 h 6858000"/>
              <a:gd name="connsiteX879" fmla="*/ 5817651 w 7467600"/>
              <a:gd name="connsiteY879" fmla="*/ 3023919 h 6858000"/>
              <a:gd name="connsiteX880" fmla="*/ 5729634 w 7467600"/>
              <a:gd name="connsiteY880" fmla="*/ 3051849 h 6858000"/>
              <a:gd name="connsiteX881" fmla="*/ 5611018 w 7467600"/>
              <a:gd name="connsiteY881" fmla="*/ 2316769 h 6858000"/>
              <a:gd name="connsiteX882" fmla="*/ 5687608 w 7467600"/>
              <a:gd name="connsiteY882" fmla="*/ 2039972 h 6858000"/>
              <a:gd name="connsiteX883" fmla="*/ 5657554 w 7467600"/>
              <a:gd name="connsiteY883" fmla="*/ 1576445 h 6858000"/>
              <a:gd name="connsiteX884" fmla="*/ 5150475 w 7467600"/>
              <a:gd name="connsiteY884" fmla="*/ 1274012 h 6858000"/>
              <a:gd name="connsiteX885" fmla="*/ 5349142 w 7467600"/>
              <a:gd name="connsiteY885" fmla="*/ 2204405 h 6858000"/>
              <a:gd name="connsiteX886" fmla="*/ 5262214 w 7467600"/>
              <a:gd name="connsiteY886" fmla="*/ 2233836 h 6858000"/>
              <a:gd name="connsiteX887" fmla="*/ 4981539 w 7467600"/>
              <a:gd name="connsiteY887" fmla="*/ 1542201 h 6858000"/>
              <a:gd name="connsiteX888" fmla="*/ 4958461 w 7467600"/>
              <a:gd name="connsiteY888" fmla="*/ 1136957 h 6858000"/>
              <a:gd name="connsiteX889" fmla="*/ 4655015 w 7467600"/>
              <a:gd name="connsiteY889" fmla="*/ 891426 h 6858000"/>
              <a:gd name="connsiteX890" fmla="*/ 4348002 w 7467600"/>
              <a:gd name="connsiteY890" fmla="*/ 2205895 h 6858000"/>
              <a:gd name="connsiteX891" fmla="*/ 4262250 w 7467600"/>
              <a:gd name="connsiteY891" fmla="*/ 2219972 h 6858000"/>
              <a:gd name="connsiteX892" fmla="*/ 4550611 w 7467600"/>
              <a:gd name="connsiteY892" fmla="*/ 817540 h 6858000"/>
              <a:gd name="connsiteX893" fmla="*/ 4564418 w 7467600"/>
              <a:gd name="connsiteY893" fmla="*/ 808293 h 6858000"/>
              <a:gd name="connsiteX894" fmla="*/ 4266388 w 7467600"/>
              <a:gd name="connsiteY894" fmla="*/ 500083 h 6858000"/>
              <a:gd name="connsiteX895" fmla="*/ 4032842 w 7467600"/>
              <a:gd name="connsiteY895" fmla="*/ 211809 h 6858000"/>
              <a:gd name="connsiteX896" fmla="*/ 3882765 w 7467600"/>
              <a:gd name="connsiteY896" fmla="*/ 0 h 6858000"/>
              <a:gd name="connsiteX897" fmla="*/ 3721337 w 7467600"/>
              <a:gd name="connsiteY897" fmla="*/ 0 h 6858000"/>
              <a:gd name="connsiteX898" fmla="*/ 3797544 w 7467600"/>
              <a:gd name="connsiteY898" fmla="*/ 0 h 6858000"/>
              <a:gd name="connsiteX899" fmla="*/ 3775734 w 7467600"/>
              <a:gd name="connsiteY899" fmla="*/ 95131 h 6858000"/>
              <a:gd name="connsiteX900" fmla="*/ 3724807 w 7467600"/>
              <a:gd name="connsiteY900" fmla="*/ 272257 h 6858000"/>
              <a:gd name="connsiteX901" fmla="*/ 3726844 w 7467600"/>
              <a:gd name="connsiteY901" fmla="*/ 282988 h 6858000"/>
              <a:gd name="connsiteX902" fmla="*/ 3742664 w 7467600"/>
              <a:gd name="connsiteY902" fmla="*/ 279918 h 6858000"/>
              <a:gd name="connsiteX903" fmla="*/ 4103910 w 7467600"/>
              <a:gd name="connsiteY903" fmla="*/ 1161917 h 6858000"/>
              <a:gd name="connsiteX904" fmla="*/ 4020269 w 7467600"/>
              <a:gd name="connsiteY904" fmla="*/ 1200406 h 6858000"/>
              <a:gd name="connsiteX905" fmla="*/ 3674882 w 7467600"/>
              <a:gd name="connsiteY905" fmla="*/ 488524 h 6858000"/>
              <a:gd name="connsiteX906" fmla="*/ 3132682 w 7467600"/>
              <a:gd name="connsiteY906" fmla="*/ 1072284 h 6858000"/>
              <a:gd name="connsiteX907" fmla="*/ 2716346 w 7467600"/>
              <a:gd name="connsiteY907" fmla="*/ 1276376 h 6858000"/>
              <a:gd name="connsiteX908" fmla="*/ 2716772 w 7467600"/>
              <a:gd name="connsiteY908" fmla="*/ 1255462 h 6858000"/>
              <a:gd name="connsiteX909" fmla="*/ 3471096 w 7467600"/>
              <a:gd name="connsiteY909" fmla="*/ 437072 h 6858000"/>
              <a:gd name="connsiteX910" fmla="*/ 3639057 w 7467600"/>
              <a:gd name="connsiteY910" fmla="*/ 286334 h 6858000"/>
              <a:gd name="connsiteX911" fmla="*/ 3640309 w 7467600"/>
              <a:gd name="connsiteY911" fmla="*/ 284664 h 6858000"/>
              <a:gd name="connsiteX912" fmla="*/ 3646022 w 7467600"/>
              <a:gd name="connsiteY912" fmla="*/ 276711 h 6858000"/>
              <a:gd name="connsiteX913" fmla="*/ 3707943 w 7467600"/>
              <a:gd name="connsiteY913" fmla="*/ 65958 h 6858000"/>
              <a:gd name="connsiteX914" fmla="*/ 3721337 w 7467600"/>
              <a:gd name="connsiteY914" fmla="*/ 0 h 6858000"/>
              <a:gd name="connsiteX915" fmla="*/ 2867960 w 7467600"/>
              <a:gd name="connsiteY915" fmla="*/ 0 h 6858000"/>
              <a:gd name="connsiteX916" fmla="*/ 2926351 w 7467600"/>
              <a:gd name="connsiteY916" fmla="*/ 0 h 6858000"/>
              <a:gd name="connsiteX917" fmla="*/ 2902823 w 7467600"/>
              <a:gd name="connsiteY917" fmla="*/ 262929 h 6858000"/>
              <a:gd name="connsiteX918" fmla="*/ 2940663 w 7467600"/>
              <a:gd name="connsiteY918" fmla="*/ 140884 h 6858000"/>
              <a:gd name="connsiteX919" fmla="*/ 2947039 w 7467600"/>
              <a:gd name="connsiteY919" fmla="*/ 122524 h 6858000"/>
              <a:gd name="connsiteX920" fmla="*/ 2984316 w 7467600"/>
              <a:gd name="connsiteY920" fmla="*/ 0 h 6858000"/>
              <a:gd name="connsiteX921" fmla="*/ 3016114 w 7467600"/>
              <a:gd name="connsiteY921" fmla="*/ 0 h 6858000"/>
              <a:gd name="connsiteX922" fmla="*/ 2979949 w 7467600"/>
              <a:gd name="connsiteY922" fmla="*/ 119274 h 6858000"/>
              <a:gd name="connsiteX923" fmla="*/ 3023879 w 7467600"/>
              <a:gd name="connsiteY923" fmla="*/ 0 h 6858000"/>
              <a:gd name="connsiteX924" fmla="*/ 3105400 w 7467600"/>
              <a:gd name="connsiteY924" fmla="*/ 0 h 6858000"/>
              <a:gd name="connsiteX925" fmla="*/ 3094669 w 7467600"/>
              <a:gd name="connsiteY925" fmla="*/ 30308 h 6858000"/>
              <a:gd name="connsiteX926" fmla="*/ 2901945 w 7467600"/>
              <a:gd name="connsiteY926" fmla="*/ 466538 h 6858000"/>
              <a:gd name="connsiteX927" fmla="*/ 2815209 w 7467600"/>
              <a:gd name="connsiteY927" fmla="*/ 497361 h 6858000"/>
              <a:gd name="connsiteX928" fmla="*/ 2844845 w 7467600"/>
              <a:gd name="connsiteY928" fmla="*/ 127638 h 6858000"/>
              <a:gd name="connsiteX929" fmla="*/ 2867960 w 7467600"/>
              <a:gd name="connsiteY929" fmla="*/ 0 h 6858000"/>
              <a:gd name="connsiteX930" fmla="*/ 1057230 w 7467600"/>
              <a:gd name="connsiteY930" fmla="*/ 0 h 6858000"/>
              <a:gd name="connsiteX931" fmla="*/ 1111003 w 7467600"/>
              <a:gd name="connsiteY931" fmla="*/ 0 h 6858000"/>
              <a:gd name="connsiteX932" fmla="*/ 1125553 w 7467600"/>
              <a:gd name="connsiteY932" fmla="*/ 52588 h 6858000"/>
              <a:gd name="connsiteX933" fmla="*/ 1304276 w 7467600"/>
              <a:gd name="connsiteY933" fmla="*/ 476275 h 6858000"/>
              <a:gd name="connsiteX934" fmla="*/ 1492066 w 7467600"/>
              <a:gd name="connsiteY934" fmla="*/ 886333 h 6858000"/>
              <a:gd name="connsiteX935" fmla="*/ 1423698 w 7467600"/>
              <a:gd name="connsiteY935" fmla="*/ 710817 h 6858000"/>
              <a:gd name="connsiteX936" fmla="*/ 1357609 w 7467600"/>
              <a:gd name="connsiteY936" fmla="*/ 532892 h 6858000"/>
              <a:gd name="connsiteX937" fmla="*/ 1309550 w 7467600"/>
              <a:gd name="connsiteY937" fmla="*/ 374031 h 6858000"/>
              <a:gd name="connsiteX938" fmla="*/ 1193673 w 7467600"/>
              <a:gd name="connsiteY938" fmla="*/ 49533 h 6858000"/>
              <a:gd name="connsiteX939" fmla="*/ 1164391 w 7467600"/>
              <a:gd name="connsiteY939" fmla="*/ 0 h 6858000"/>
              <a:gd name="connsiteX940" fmla="*/ 1200666 w 7467600"/>
              <a:gd name="connsiteY940" fmla="*/ 0 h 6858000"/>
              <a:gd name="connsiteX941" fmla="*/ 1223408 w 7467600"/>
              <a:gd name="connsiteY941" fmla="*/ 38996 h 6858000"/>
              <a:gd name="connsiteX942" fmla="*/ 1339635 w 7467600"/>
              <a:gd name="connsiteY942" fmla="*/ 365517 h 6858000"/>
              <a:gd name="connsiteX943" fmla="*/ 1387469 w 7467600"/>
              <a:gd name="connsiteY943" fmla="*/ 523079 h 6858000"/>
              <a:gd name="connsiteX944" fmla="*/ 1452685 w 7467600"/>
              <a:gd name="connsiteY944" fmla="*/ 699806 h 6858000"/>
              <a:gd name="connsiteX945" fmla="*/ 1492092 w 7467600"/>
              <a:gd name="connsiteY945" fmla="*/ 800424 h 6858000"/>
              <a:gd name="connsiteX946" fmla="*/ 1455302 w 7467600"/>
              <a:gd name="connsiteY946" fmla="*/ 632913 h 6858000"/>
              <a:gd name="connsiteX947" fmla="*/ 1222336 w 7467600"/>
              <a:gd name="connsiteY947" fmla="*/ 9480 h 6858000"/>
              <a:gd name="connsiteX948" fmla="*/ 1214634 w 7467600"/>
              <a:gd name="connsiteY948" fmla="*/ 0 h 6858000"/>
              <a:gd name="connsiteX949" fmla="*/ 1289827 w 7467600"/>
              <a:gd name="connsiteY949" fmla="*/ 0 h 6858000"/>
              <a:gd name="connsiteX950" fmla="*/ 1321076 w 7467600"/>
              <a:gd name="connsiteY950" fmla="*/ 59722 h 6858000"/>
              <a:gd name="connsiteX951" fmla="*/ 1512579 w 7467600"/>
              <a:gd name="connsiteY951" fmla="*/ 626441 h 6858000"/>
              <a:gd name="connsiteX952" fmla="*/ 1506076 w 7467600"/>
              <a:gd name="connsiteY952" fmla="*/ 1089289 h 6858000"/>
              <a:gd name="connsiteX953" fmla="*/ 1486346 w 7467600"/>
              <a:gd name="connsiteY953" fmla="*/ 1079919 h 6858000"/>
              <a:gd name="connsiteX954" fmla="*/ 1070511 w 7467600"/>
              <a:gd name="connsiteY954" fmla="*/ 48609 h 6858000"/>
              <a:gd name="connsiteX955" fmla="*/ 1057230 w 7467600"/>
              <a:gd name="connsiteY955" fmla="*/ 0 h 6858000"/>
              <a:gd name="connsiteX956" fmla="*/ 43151 w 7467600"/>
              <a:gd name="connsiteY956" fmla="*/ 0 h 6858000"/>
              <a:gd name="connsiteX957" fmla="*/ 95283 w 7467600"/>
              <a:gd name="connsiteY957" fmla="*/ 0 h 6858000"/>
              <a:gd name="connsiteX958" fmla="*/ 300708 w 7467600"/>
              <a:gd name="connsiteY958" fmla="*/ 154571 h 6858000"/>
              <a:gd name="connsiteX959" fmla="*/ 530414 w 7467600"/>
              <a:gd name="connsiteY959" fmla="*/ 354673 h 6858000"/>
              <a:gd name="connsiteX960" fmla="*/ 333785 w 7467600"/>
              <a:gd name="connsiteY960" fmla="*/ 161564 h 6858000"/>
              <a:gd name="connsiteX961" fmla="*/ 147005 w 7467600"/>
              <a:gd name="connsiteY961" fmla="*/ 0 h 6858000"/>
              <a:gd name="connsiteX962" fmla="*/ 272509 w 7467600"/>
              <a:gd name="connsiteY962" fmla="*/ 0 h 6858000"/>
              <a:gd name="connsiteX963" fmla="*/ 326276 w 7467600"/>
              <a:gd name="connsiteY963" fmla="*/ 45847 h 6858000"/>
              <a:gd name="connsiteX964" fmla="*/ 823759 w 7467600"/>
              <a:gd name="connsiteY964" fmla="*/ 574145 h 6858000"/>
              <a:gd name="connsiteX965" fmla="*/ 811254 w 7467600"/>
              <a:gd name="connsiteY965" fmla="*/ 665546 h 6858000"/>
              <a:gd name="connsiteX966" fmla="*/ 154042 w 7467600"/>
              <a:gd name="connsiteY966" fmla="*/ 261522 h 6858000"/>
              <a:gd name="connsiteX967" fmla="*/ 13550 w 7467600"/>
              <a:gd name="connsiteY967" fmla="*/ 158423 h 6858000"/>
              <a:gd name="connsiteX968" fmla="*/ 0 w 7467600"/>
              <a:gd name="connsiteY968" fmla="*/ 146618 h 6858000"/>
              <a:gd name="connsiteX969" fmla="*/ 0 w 7467600"/>
              <a:gd name="connsiteY969" fmla="*/ 59161 h 6858000"/>
              <a:gd name="connsiteX970" fmla="*/ 45427 w 7467600"/>
              <a:gd name="connsiteY970" fmla="*/ 101078 h 6858000"/>
              <a:gd name="connsiteX971" fmla="*/ 630103 w 7467600"/>
              <a:gd name="connsiteY971" fmla="*/ 485885 h 6858000"/>
              <a:gd name="connsiteX972" fmla="*/ 532040 w 7467600"/>
              <a:gd name="connsiteY972" fmla="*/ 399359 h 6858000"/>
              <a:gd name="connsiteX973" fmla="*/ 517618 w 7467600"/>
              <a:gd name="connsiteY973" fmla="*/ 385726 h 6858000"/>
              <a:gd name="connsiteX974" fmla="*/ 285074 w 7467600"/>
              <a:gd name="connsiteY974" fmla="*/ 182755 h 6858000"/>
              <a:gd name="connsiteX975" fmla="*/ 43151 w 7467600"/>
              <a:gd name="connsiteY975"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7042773 w 7467600"/>
              <a:gd name="connsiteY74" fmla="*/ 5734011 h 6858000"/>
              <a:gd name="connsiteX75" fmla="*/ 6879594 w 7467600"/>
              <a:gd name="connsiteY75" fmla="*/ 5424547 h 6858000"/>
              <a:gd name="connsiteX76" fmla="*/ 7379510 w 7467600"/>
              <a:gd name="connsiteY76" fmla="*/ 5755454 h 6858000"/>
              <a:gd name="connsiteX77" fmla="*/ 7467600 w 7467600"/>
              <a:gd name="connsiteY77" fmla="*/ 5845526 h 6858000"/>
              <a:gd name="connsiteX78" fmla="*/ 7271900 w 7467600"/>
              <a:gd name="connsiteY78" fmla="*/ 5734551 h 6858000"/>
              <a:gd name="connsiteX79" fmla="*/ 7015907 w 7467600"/>
              <a:gd name="connsiteY79" fmla="*/ 5541548 h 6858000"/>
              <a:gd name="connsiteX80" fmla="*/ 7259646 w 7467600"/>
              <a:gd name="connsiteY80" fmla="*/ 5765985 h 6858000"/>
              <a:gd name="connsiteX81" fmla="*/ 7467600 w 7467600"/>
              <a:gd name="connsiteY81" fmla="*/ 6012219 h 6858000"/>
              <a:gd name="connsiteX82" fmla="*/ 6946849 w 7467600"/>
              <a:gd name="connsiteY82" fmla="*/ 5523271 h 6858000"/>
              <a:gd name="connsiteX83" fmla="*/ 6946972 w 7467600"/>
              <a:gd name="connsiteY83" fmla="*/ 5526491 h 6858000"/>
              <a:gd name="connsiteX84" fmla="*/ 7105827 w 7467600"/>
              <a:gd name="connsiteY84" fmla="*/ 5718700 h 6858000"/>
              <a:gd name="connsiteX85" fmla="*/ 7356878 w 7467600"/>
              <a:gd name="connsiteY85" fmla="*/ 5981332 h 6858000"/>
              <a:gd name="connsiteX86" fmla="*/ 7467600 w 7467600"/>
              <a:gd name="connsiteY86" fmla="*/ 6117703 h 6858000"/>
              <a:gd name="connsiteX87" fmla="*/ 7467600 w 7467600"/>
              <a:gd name="connsiteY87" fmla="*/ 6163634 h 6858000"/>
              <a:gd name="connsiteX88" fmla="*/ 7403637 w 7467600"/>
              <a:gd name="connsiteY88" fmla="*/ 6083957 h 6858000"/>
              <a:gd name="connsiteX89" fmla="*/ 7254615 w 7467600"/>
              <a:gd name="connsiteY89" fmla="*/ 5911918 h 6858000"/>
              <a:gd name="connsiteX90" fmla="*/ 7312589 w 7467600"/>
              <a:gd name="connsiteY90" fmla="*/ 5982309 h 6858000"/>
              <a:gd name="connsiteX91" fmla="*/ 7448321 w 7467600"/>
              <a:gd name="connsiteY91" fmla="*/ 6190991 h 6858000"/>
              <a:gd name="connsiteX92" fmla="*/ 7467600 w 7467600"/>
              <a:gd name="connsiteY92" fmla="*/ 6221686 h 6858000"/>
              <a:gd name="connsiteX93" fmla="*/ 7467600 w 7467600"/>
              <a:gd name="connsiteY93" fmla="*/ 6334256 h 6858000"/>
              <a:gd name="connsiteX94" fmla="*/ 7454976 w 7467600"/>
              <a:gd name="connsiteY94" fmla="*/ 6318297 h 6858000"/>
              <a:gd name="connsiteX95" fmla="*/ 7042773 w 7467600"/>
              <a:gd name="connsiteY95" fmla="*/ 5734011 h 6858000"/>
              <a:gd name="connsiteX96" fmla="*/ 1456157 w 7467600"/>
              <a:gd name="connsiteY96" fmla="*/ 5371404 h 6858000"/>
              <a:gd name="connsiteX97" fmla="*/ 1244432 w 7467600"/>
              <a:gd name="connsiteY97" fmla="*/ 5385601 h 6858000"/>
              <a:gd name="connsiteX98" fmla="*/ 973990 w 7467600"/>
              <a:gd name="connsiteY98" fmla="*/ 5424940 h 6858000"/>
              <a:gd name="connsiteX99" fmla="*/ 1103809 w 7467600"/>
              <a:gd name="connsiteY99" fmla="*/ 5433720 h 6858000"/>
              <a:gd name="connsiteX100" fmla="*/ 1123454 w 7467600"/>
              <a:gd name="connsiteY100" fmla="*/ 5435727 h 6858000"/>
              <a:gd name="connsiteX101" fmla="*/ 1737017 w 7467600"/>
              <a:gd name="connsiteY101" fmla="*/ 5452183 h 6858000"/>
              <a:gd name="connsiteX102" fmla="*/ 1824397 w 7467600"/>
              <a:gd name="connsiteY102" fmla="*/ 5447757 h 6858000"/>
              <a:gd name="connsiteX103" fmla="*/ 2070059 w 7467600"/>
              <a:gd name="connsiteY103" fmla="*/ 5441660 h 6858000"/>
              <a:gd name="connsiteX104" fmla="*/ 1456157 w 7467600"/>
              <a:gd name="connsiteY104" fmla="*/ 5371404 h 6858000"/>
              <a:gd name="connsiteX105" fmla="*/ 4988186 w 7467600"/>
              <a:gd name="connsiteY105" fmla="*/ 5216467 h 6858000"/>
              <a:gd name="connsiteX106" fmla="*/ 4777334 w 7467600"/>
              <a:gd name="connsiteY106" fmla="*/ 5406072 h 6858000"/>
              <a:gd name="connsiteX107" fmla="*/ 4718341 w 7467600"/>
              <a:gd name="connsiteY107" fmla="*/ 5468043 h 6858000"/>
              <a:gd name="connsiteX108" fmla="*/ 4604655 w 7467600"/>
              <a:gd name="connsiteY108" fmla="*/ 5583434 h 6858000"/>
              <a:gd name="connsiteX109" fmla="*/ 4565074 w 7467600"/>
              <a:gd name="connsiteY109" fmla="*/ 5618550 h 6858000"/>
              <a:gd name="connsiteX110" fmla="*/ 4988186 w 7467600"/>
              <a:gd name="connsiteY110" fmla="*/ 5216467 h 6858000"/>
              <a:gd name="connsiteX111" fmla="*/ 4978032 w 7467600"/>
              <a:gd name="connsiteY111" fmla="*/ 5183809 h 6858000"/>
              <a:gd name="connsiteX112" fmla="*/ 4463413 w 7467600"/>
              <a:gd name="connsiteY112" fmla="*/ 5615162 h 6858000"/>
              <a:gd name="connsiteX113" fmla="*/ 4358134 w 7467600"/>
              <a:gd name="connsiteY113" fmla="*/ 5742791 h 6858000"/>
              <a:gd name="connsiteX114" fmla="*/ 4376219 w 7467600"/>
              <a:gd name="connsiteY114" fmla="*/ 5729027 h 6858000"/>
              <a:gd name="connsiteX115" fmla="*/ 4582340 w 7467600"/>
              <a:gd name="connsiteY115" fmla="*/ 5561037 h 6858000"/>
              <a:gd name="connsiteX116" fmla="*/ 4694684 w 7467600"/>
              <a:gd name="connsiteY116" fmla="*/ 5447098 h 6858000"/>
              <a:gd name="connsiteX117" fmla="*/ 4754123 w 7467600"/>
              <a:gd name="connsiteY117" fmla="*/ 5384643 h 6858000"/>
              <a:gd name="connsiteX118" fmla="*/ 4978032 w 7467600"/>
              <a:gd name="connsiteY118" fmla="*/ 5183809 h 6858000"/>
              <a:gd name="connsiteX119" fmla="*/ 1903353 w 7467600"/>
              <a:gd name="connsiteY119" fmla="*/ 5044827 h 6858000"/>
              <a:gd name="connsiteX120" fmla="*/ 1936931 w 7467600"/>
              <a:gd name="connsiteY120" fmla="*/ 5093954 h 6858000"/>
              <a:gd name="connsiteX121" fmla="*/ 2195868 w 7467600"/>
              <a:gd name="connsiteY121" fmla="*/ 5396574 h 6858000"/>
              <a:gd name="connsiteX122" fmla="*/ 2088852 w 7467600"/>
              <a:gd name="connsiteY122" fmla="*/ 5166123 h 6858000"/>
              <a:gd name="connsiteX123" fmla="*/ 1958241 w 7467600"/>
              <a:gd name="connsiteY123" fmla="*/ 5067955 h 6858000"/>
              <a:gd name="connsiteX124" fmla="*/ 1903353 w 7467600"/>
              <a:gd name="connsiteY124" fmla="*/ 5044827 h 6858000"/>
              <a:gd name="connsiteX125" fmla="*/ 1979378 w 7467600"/>
              <a:gd name="connsiteY125" fmla="*/ 4769504 h 6858000"/>
              <a:gd name="connsiteX126" fmla="*/ 2882120 w 7467600"/>
              <a:gd name="connsiteY126" fmla="*/ 5064547 h 6858000"/>
              <a:gd name="connsiteX127" fmla="*/ 2793103 w 7467600"/>
              <a:gd name="connsiteY127" fmla="*/ 5039699 h 6858000"/>
              <a:gd name="connsiteX128" fmla="*/ 2770041 w 7467600"/>
              <a:gd name="connsiteY128" fmla="*/ 5033634 h 6858000"/>
              <a:gd name="connsiteX129" fmla="*/ 1979378 w 7467600"/>
              <a:gd name="connsiteY129" fmla="*/ 4769504 h 6858000"/>
              <a:gd name="connsiteX130" fmla="*/ 1927410 w 7467600"/>
              <a:gd name="connsiteY130" fmla="*/ 4716164 h 6858000"/>
              <a:gd name="connsiteX131" fmla="*/ 1959587 w 7467600"/>
              <a:gd name="connsiteY131" fmla="*/ 4728849 h 6858000"/>
              <a:gd name="connsiteX132" fmla="*/ 2777707 w 7467600"/>
              <a:gd name="connsiteY132" fmla="*/ 5003991 h 6858000"/>
              <a:gd name="connsiteX133" fmla="*/ 2800768 w 7467600"/>
              <a:gd name="connsiteY133" fmla="*/ 5010056 h 6858000"/>
              <a:gd name="connsiteX134" fmla="*/ 2879408 w 7467600"/>
              <a:gd name="connsiteY134" fmla="*/ 5031590 h 6858000"/>
              <a:gd name="connsiteX135" fmla="*/ 2862295 w 7467600"/>
              <a:gd name="connsiteY135" fmla="*/ 5022958 h 6858000"/>
              <a:gd name="connsiteX136" fmla="*/ 2813343 w 7467600"/>
              <a:gd name="connsiteY136" fmla="*/ 4998369 h 6858000"/>
              <a:gd name="connsiteX137" fmla="*/ 2646245 w 7467600"/>
              <a:gd name="connsiteY137" fmla="*/ 4930999 h 6858000"/>
              <a:gd name="connsiteX138" fmla="*/ 1999243 w 7467600"/>
              <a:gd name="connsiteY138" fmla="*/ 4730524 h 6858000"/>
              <a:gd name="connsiteX139" fmla="*/ 1979527 w 7467600"/>
              <a:gd name="connsiteY139" fmla="*/ 4726651 h 6858000"/>
              <a:gd name="connsiteX140" fmla="*/ 1927410 w 7467600"/>
              <a:gd name="connsiteY140" fmla="*/ 4716164 h 6858000"/>
              <a:gd name="connsiteX141" fmla="*/ 1997014 w 7467600"/>
              <a:gd name="connsiteY141" fmla="*/ 4698007 h 6858000"/>
              <a:gd name="connsiteX142" fmla="*/ 2005458 w 7467600"/>
              <a:gd name="connsiteY142" fmla="*/ 4699540 h 6858000"/>
              <a:gd name="connsiteX143" fmla="*/ 2657186 w 7467600"/>
              <a:gd name="connsiteY143" fmla="*/ 4901687 h 6858000"/>
              <a:gd name="connsiteX144" fmla="*/ 2826662 w 7467600"/>
              <a:gd name="connsiteY144" fmla="*/ 4970362 h 6858000"/>
              <a:gd name="connsiteX145" fmla="*/ 2876100 w 7467600"/>
              <a:gd name="connsiteY145" fmla="*/ 4995397 h 6858000"/>
              <a:gd name="connsiteX146" fmla="*/ 3042600 w 7467600"/>
              <a:gd name="connsiteY146" fmla="*/ 5059532 h 6858000"/>
              <a:gd name="connsiteX147" fmla="*/ 1997014 w 7467600"/>
              <a:gd name="connsiteY147" fmla="*/ 4698007 h 6858000"/>
              <a:gd name="connsiteX148" fmla="*/ 2305292 w 7467600"/>
              <a:gd name="connsiteY148" fmla="*/ 4219492 h 6858000"/>
              <a:gd name="connsiteX149" fmla="*/ 3360922 w 7467600"/>
              <a:gd name="connsiteY149" fmla="*/ 4529373 h 6858000"/>
              <a:gd name="connsiteX150" fmla="*/ 3492420 w 7467600"/>
              <a:gd name="connsiteY150" fmla="*/ 4510145 h 6858000"/>
              <a:gd name="connsiteX151" fmla="*/ 3364086 w 7467600"/>
              <a:gd name="connsiteY151" fmla="*/ 4480340 h 6858000"/>
              <a:gd name="connsiteX152" fmla="*/ 3225818 w 7467600"/>
              <a:gd name="connsiteY152" fmla="*/ 4411822 h 6858000"/>
              <a:gd name="connsiteX153" fmla="*/ 3129696 w 7467600"/>
              <a:gd name="connsiteY153" fmla="*/ 4360704 h 6858000"/>
              <a:gd name="connsiteX154" fmla="*/ 2814545 w 7467600"/>
              <a:gd name="connsiteY154" fmla="*/ 4282955 h 6858000"/>
              <a:gd name="connsiteX155" fmla="*/ 2305292 w 7467600"/>
              <a:gd name="connsiteY155" fmla="*/ 4219492 h 6858000"/>
              <a:gd name="connsiteX156" fmla="*/ 2626982 w 7467600"/>
              <a:gd name="connsiteY156" fmla="*/ 4206450 h 6858000"/>
              <a:gd name="connsiteX157" fmla="*/ 2490617 w 7467600"/>
              <a:gd name="connsiteY157" fmla="*/ 4206951 h 6858000"/>
              <a:gd name="connsiteX158" fmla="*/ 2819869 w 7467600"/>
              <a:gd name="connsiteY158" fmla="*/ 4252936 h 6858000"/>
              <a:gd name="connsiteX159" fmla="*/ 3143018 w 7467600"/>
              <a:gd name="connsiteY159" fmla="*/ 4332698 h 6858000"/>
              <a:gd name="connsiteX160" fmla="*/ 3241520 w 7467600"/>
              <a:gd name="connsiteY160" fmla="*/ 4385112 h 6858000"/>
              <a:gd name="connsiteX161" fmla="*/ 3374575 w 7467600"/>
              <a:gd name="connsiteY161" fmla="*/ 4451517 h 6858000"/>
              <a:gd name="connsiteX162" fmla="*/ 3505221 w 7467600"/>
              <a:gd name="connsiteY162" fmla="*/ 4480757 h 6858000"/>
              <a:gd name="connsiteX163" fmla="*/ 2626982 w 7467600"/>
              <a:gd name="connsiteY163" fmla="*/ 4206450 h 6858000"/>
              <a:gd name="connsiteX164" fmla="*/ 1310106 w 7467600"/>
              <a:gd name="connsiteY164" fmla="*/ 3943217 h 6858000"/>
              <a:gd name="connsiteX165" fmla="*/ 854994 w 7467600"/>
              <a:gd name="connsiteY165" fmla="*/ 4399136 h 6858000"/>
              <a:gd name="connsiteX166" fmla="*/ 742462 w 7467600"/>
              <a:gd name="connsiteY166" fmla="*/ 4594648 h 6858000"/>
              <a:gd name="connsiteX167" fmla="*/ 820602 w 7467600"/>
              <a:gd name="connsiteY167" fmla="*/ 4485915 h 6858000"/>
              <a:gd name="connsiteX168" fmla="*/ 878295 w 7467600"/>
              <a:gd name="connsiteY168" fmla="*/ 4403594 h 6858000"/>
              <a:gd name="connsiteX169" fmla="*/ 1240607 w 7467600"/>
              <a:gd name="connsiteY169" fmla="*/ 4010401 h 6858000"/>
              <a:gd name="connsiteX170" fmla="*/ 1310106 w 7467600"/>
              <a:gd name="connsiteY170" fmla="*/ 3943217 h 6858000"/>
              <a:gd name="connsiteX171" fmla="*/ 1423113 w 7467600"/>
              <a:gd name="connsiteY171" fmla="*/ 3874565 h 6858000"/>
              <a:gd name="connsiteX172" fmla="*/ 1260565 w 7467600"/>
              <a:gd name="connsiteY172" fmla="*/ 4031982 h 6858000"/>
              <a:gd name="connsiteX173" fmla="*/ 901900 w 7467600"/>
              <a:gd name="connsiteY173" fmla="*/ 4421236 h 6858000"/>
              <a:gd name="connsiteX174" fmla="*/ 845044 w 7467600"/>
              <a:gd name="connsiteY174" fmla="*/ 4502436 h 6858000"/>
              <a:gd name="connsiteX175" fmla="*/ 685926 w 7467600"/>
              <a:gd name="connsiteY175" fmla="*/ 4703069 h 6858000"/>
              <a:gd name="connsiteX176" fmla="*/ 684248 w 7467600"/>
              <a:gd name="connsiteY176" fmla="*/ 4706721 h 6858000"/>
              <a:gd name="connsiteX177" fmla="*/ 1423113 w 7467600"/>
              <a:gd name="connsiteY177" fmla="*/ 3874565 h 6858000"/>
              <a:gd name="connsiteX178" fmla="*/ 3316479 w 7467600"/>
              <a:gd name="connsiteY178" fmla="*/ 3872136 h 6858000"/>
              <a:gd name="connsiteX179" fmla="*/ 3546806 w 7467600"/>
              <a:gd name="connsiteY179" fmla="*/ 4356139 h 6858000"/>
              <a:gd name="connsiteX180" fmla="*/ 3364433 w 7467600"/>
              <a:gd name="connsiteY180" fmla="*/ 3953121 h 6858000"/>
              <a:gd name="connsiteX181" fmla="*/ 3316479 w 7467600"/>
              <a:gd name="connsiteY181" fmla="*/ 3872136 h 6858000"/>
              <a:gd name="connsiteX182" fmla="*/ 3291335 w 7467600"/>
              <a:gd name="connsiteY182" fmla="*/ 3767420 h 6858000"/>
              <a:gd name="connsiteX183" fmla="*/ 3390805 w 7467600"/>
              <a:gd name="connsiteY183" fmla="*/ 3937163 h 6858000"/>
              <a:gd name="connsiteX184" fmla="*/ 3579062 w 7467600"/>
              <a:gd name="connsiteY184" fmla="*/ 4359040 h 6858000"/>
              <a:gd name="connsiteX185" fmla="*/ 3467355 w 7467600"/>
              <a:gd name="connsiteY185" fmla="*/ 3988130 h 6858000"/>
              <a:gd name="connsiteX186" fmla="*/ 3310753 w 7467600"/>
              <a:gd name="connsiteY186" fmla="*/ 3787140 h 6858000"/>
              <a:gd name="connsiteX187" fmla="*/ 3291335 w 7467600"/>
              <a:gd name="connsiteY187" fmla="*/ 3767420 h 6858000"/>
              <a:gd name="connsiteX188" fmla="*/ 1635889 w 7467600"/>
              <a:gd name="connsiteY188" fmla="*/ 3709494 h 6858000"/>
              <a:gd name="connsiteX189" fmla="*/ 1634800 w 7467600"/>
              <a:gd name="connsiteY189" fmla="*/ 3731111 h 6858000"/>
              <a:gd name="connsiteX190" fmla="*/ 1635889 w 7467600"/>
              <a:gd name="connsiteY190" fmla="*/ 3709494 h 6858000"/>
              <a:gd name="connsiteX191" fmla="*/ 1510397 w 7467600"/>
              <a:gd name="connsiteY191" fmla="*/ 3684705 h 6858000"/>
              <a:gd name="connsiteX192" fmla="*/ 1146550 w 7467600"/>
              <a:gd name="connsiteY192" fmla="*/ 3802012 h 6858000"/>
              <a:gd name="connsiteX193" fmla="*/ 698834 w 7467600"/>
              <a:gd name="connsiteY193" fmla="*/ 3952272 h 6858000"/>
              <a:gd name="connsiteX194" fmla="*/ 34256 w 7467600"/>
              <a:gd name="connsiteY194" fmla="*/ 4347603 h 6858000"/>
              <a:gd name="connsiteX195" fmla="*/ 527241 w 7467600"/>
              <a:gd name="connsiteY195" fmla="*/ 4065078 h 6858000"/>
              <a:gd name="connsiteX196" fmla="*/ 1510397 w 7467600"/>
              <a:gd name="connsiteY196" fmla="*/ 3684705 h 6858000"/>
              <a:gd name="connsiteX197" fmla="*/ 1313114 w 7467600"/>
              <a:gd name="connsiteY197" fmla="*/ 3655216 h 6858000"/>
              <a:gd name="connsiteX198" fmla="*/ 1109304 w 7467600"/>
              <a:gd name="connsiteY198" fmla="*/ 3669030 h 6858000"/>
              <a:gd name="connsiteX199" fmla="*/ 8129 w 7467600"/>
              <a:gd name="connsiteY199" fmla="*/ 4330519 h 6858000"/>
              <a:gd name="connsiteX200" fmla="*/ 687572 w 7467600"/>
              <a:gd name="connsiteY200" fmla="*/ 3925629 h 6858000"/>
              <a:gd name="connsiteX201" fmla="*/ 1138365 w 7467600"/>
              <a:gd name="connsiteY201" fmla="*/ 3774515 h 6858000"/>
              <a:gd name="connsiteX202" fmla="*/ 1505579 w 7467600"/>
              <a:gd name="connsiteY202" fmla="*/ 3655526 h 6858000"/>
              <a:gd name="connsiteX203" fmla="*/ 1313114 w 7467600"/>
              <a:gd name="connsiteY203" fmla="*/ 3655216 h 6858000"/>
              <a:gd name="connsiteX204" fmla="*/ 3655073 w 7467600"/>
              <a:gd name="connsiteY204" fmla="*/ 3650884 h 6858000"/>
              <a:gd name="connsiteX205" fmla="*/ 3989938 w 7467600"/>
              <a:gd name="connsiteY205" fmla="*/ 3991685 h 6858000"/>
              <a:gd name="connsiteX206" fmla="*/ 4393907 w 7467600"/>
              <a:gd name="connsiteY206" fmla="*/ 4261258 h 6858000"/>
              <a:gd name="connsiteX207" fmla="*/ 4648051 w 7467600"/>
              <a:gd name="connsiteY207" fmla="*/ 4374051 h 6858000"/>
              <a:gd name="connsiteX208" fmla="*/ 4383389 w 7467600"/>
              <a:gd name="connsiteY208" fmla="*/ 4184369 h 6858000"/>
              <a:gd name="connsiteX209" fmla="*/ 4165508 w 7467600"/>
              <a:gd name="connsiteY209" fmla="*/ 4035196 h 6858000"/>
              <a:gd name="connsiteX210" fmla="*/ 4068162 w 7467600"/>
              <a:gd name="connsiteY210" fmla="*/ 3953394 h 6858000"/>
              <a:gd name="connsiteX211" fmla="*/ 3981416 w 7467600"/>
              <a:gd name="connsiteY211" fmla="*/ 3880482 h 6858000"/>
              <a:gd name="connsiteX212" fmla="*/ 3800147 w 7467600"/>
              <a:gd name="connsiteY212" fmla="*/ 3749872 h 6858000"/>
              <a:gd name="connsiteX213" fmla="*/ 3655073 w 7467600"/>
              <a:gd name="connsiteY213" fmla="*/ 3650884 h 6858000"/>
              <a:gd name="connsiteX214" fmla="*/ 3670252 w 7467600"/>
              <a:gd name="connsiteY214" fmla="*/ 3622798 h 6858000"/>
              <a:gd name="connsiteX215" fmla="*/ 3817258 w 7467600"/>
              <a:gd name="connsiteY215" fmla="*/ 3723577 h 6858000"/>
              <a:gd name="connsiteX216" fmla="*/ 4000461 w 7467600"/>
              <a:gd name="connsiteY216" fmla="*/ 3855966 h 6858000"/>
              <a:gd name="connsiteX217" fmla="*/ 4088180 w 7467600"/>
              <a:gd name="connsiteY217" fmla="*/ 3929774 h 6858000"/>
              <a:gd name="connsiteX218" fmla="*/ 4184555 w 7467600"/>
              <a:gd name="connsiteY218" fmla="*/ 4010683 h 6858000"/>
              <a:gd name="connsiteX219" fmla="*/ 4399563 w 7467600"/>
              <a:gd name="connsiteY219" fmla="*/ 4158106 h 6858000"/>
              <a:gd name="connsiteX220" fmla="*/ 4684469 w 7467600"/>
              <a:gd name="connsiteY220" fmla="*/ 4364680 h 6858000"/>
              <a:gd name="connsiteX221" fmla="*/ 4690271 w 7467600"/>
              <a:gd name="connsiteY221" fmla="*/ 4370034 h 6858000"/>
              <a:gd name="connsiteX222" fmla="*/ 4136093 w 7467600"/>
              <a:gd name="connsiteY222" fmla="*/ 3858466 h 6858000"/>
              <a:gd name="connsiteX223" fmla="*/ 3670252 w 7467600"/>
              <a:gd name="connsiteY223" fmla="*/ 3622798 h 6858000"/>
              <a:gd name="connsiteX224" fmla="*/ 4440129 w 7467600"/>
              <a:gd name="connsiteY224" fmla="*/ 3448571 h 6858000"/>
              <a:gd name="connsiteX225" fmla="*/ 4856525 w 7467600"/>
              <a:gd name="connsiteY225" fmla="*/ 3915351 h 6858000"/>
              <a:gd name="connsiteX226" fmla="*/ 5059055 w 7467600"/>
              <a:gd name="connsiteY226" fmla="*/ 4108918 h 6858000"/>
              <a:gd name="connsiteX227" fmla="*/ 5290070 w 7467600"/>
              <a:gd name="connsiteY227" fmla="*/ 4263619 h 6858000"/>
              <a:gd name="connsiteX228" fmla="*/ 4834991 w 7467600"/>
              <a:gd name="connsiteY228" fmla="*/ 3830985 h 6858000"/>
              <a:gd name="connsiteX229" fmla="*/ 4440129 w 7467600"/>
              <a:gd name="connsiteY229" fmla="*/ 3448571 h 6858000"/>
              <a:gd name="connsiteX230" fmla="*/ 4441737 w 7467600"/>
              <a:gd name="connsiteY230" fmla="*/ 3399734 h 6858000"/>
              <a:gd name="connsiteX231" fmla="*/ 4431236 w 7467600"/>
              <a:gd name="connsiteY231" fmla="*/ 3400954 h 6858000"/>
              <a:gd name="connsiteX232" fmla="*/ 4557150 w 7467600"/>
              <a:gd name="connsiteY232" fmla="*/ 3510023 h 6858000"/>
              <a:gd name="connsiteX233" fmla="*/ 4856936 w 7467600"/>
              <a:gd name="connsiteY233" fmla="*/ 3809146 h 6858000"/>
              <a:gd name="connsiteX234" fmla="*/ 5111996 w 7467600"/>
              <a:gd name="connsiteY234" fmla="*/ 4065759 h 6858000"/>
              <a:gd name="connsiteX235" fmla="*/ 5388878 w 7467600"/>
              <a:gd name="connsiteY235" fmla="*/ 4300185 h 6858000"/>
              <a:gd name="connsiteX236" fmla="*/ 5425556 w 7467600"/>
              <a:gd name="connsiteY236" fmla="*/ 4308967 h 6858000"/>
              <a:gd name="connsiteX237" fmla="*/ 4943646 w 7467600"/>
              <a:gd name="connsiteY237" fmla="*/ 3822916 h 6858000"/>
              <a:gd name="connsiteX238" fmla="*/ 4594837 w 7467600"/>
              <a:gd name="connsiteY238" fmla="*/ 3532274 h 6858000"/>
              <a:gd name="connsiteX239" fmla="*/ 4441737 w 7467600"/>
              <a:gd name="connsiteY239" fmla="*/ 3399734 h 6858000"/>
              <a:gd name="connsiteX240" fmla="*/ 5425834 w 7467600"/>
              <a:gd name="connsiteY240" fmla="*/ 3162785 h 6858000"/>
              <a:gd name="connsiteX241" fmla="*/ 5401644 w 7467600"/>
              <a:gd name="connsiteY241" fmla="*/ 3617847 h 6858000"/>
              <a:gd name="connsiteX242" fmla="*/ 5467256 w 7467600"/>
              <a:gd name="connsiteY242" fmla="*/ 4175494 h 6858000"/>
              <a:gd name="connsiteX243" fmla="*/ 5448069 w 7467600"/>
              <a:gd name="connsiteY243" fmla="*/ 3567554 h 6858000"/>
              <a:gd name="connsiteX244" fmla="*/ 5425834 w 7467600"/>
              <a:gd name="connsiteY244" fmla="*/ 3162785 h 6858000"/>
              <a:gd name="connsiteX245" fmla="*/ 1318687 w 7467600"/>
              <a:gd name="connsiteY245" fmla="*/ 3113840 h 6858000"/>
              <a:gd name="connsiteX246" fmla="*/ 1066793 w 7467600"/>
              <a:gd name="connsiteY246" fmla="*/ 3212171 h 6858000"/>
              <a:gd name="connsiteX247" fmla="*/ 993319 w 7467600"/>
              <a:gd name="connsiteY247" fmla="*/ 3247648 h 6858000"/>
              <a:gd name="connsiteX248" fmla="*/ 853081 w 7467600"/>
              <a:gd name="connsiteY248" fmla="*/ 3312410 h 6858000"/>
              <a:gd name="connsiteX249" fmla="*/ 805957 w 7467600"/>
              <a:gd name="connsiteY249" fmla="*/ 3330443 h 6858000"/>
              <a:gd name="connsiteX250" fmla="*/ 1318687 w 7467600"/>
              <a:gd name="connsiteY250" fmla="*/ 3113840 h 6858000"/>
              <a:gd name="connsiteX251" fmla="*/ 5453702 w 7467600"/>
              <a:gd name="connsiteY251" fmla="*/ 3090882 h 6858000"/>
              <a:gd name="connsiteX252" fmla="*/ 5480135 w 7467600"/>
              <a:gd name="connsiteY252" fmla="*/ 3565802 h 6858000"/>
              <a:gd name="connsiteX253" fmla="*/ 5499023 w 7467600"/>
              <a:gd name="connsiteY253" fmla="*/ 4166310 h 6858000"/>
              <a:gd name="connsiteX254" fmla="*/ 5547022 w 7467600"/>
              <a:gd name="connsiteY254" fmla="*/ 3607838 h 6858000"/>
              <a:gd name="connsiteX255" fmla="*/ 5515964 w 7467600"/>
              <a:gd name="connsiteY255" fmla="*/ 3378541 h 6858000"/>
              <a:gd name="connsiteX256" fmla="*/ 5453702 w 7467600"/>
              <a:gd name="connsiteY256" fmla="*/ 3090882 h 6858000"/>
              <a:gd name="connsiteX257" fmla="*/ 1238695 w 7467600"/>
              <a:gd name="connsiteY257" fmla="*/ 3076820 h 6858000"/>
              <a:gd name="connsiteX258" fmla="*/ 716371 w 7467600"/>
              <a:gd name="connsiteY258" fmla="*/ 3293249 h 6858000"/>
              <a:gd name="connsiteX259" fmla="*/ 579522 w 7467600"/>
              <a:gd name="connsiteY259" fmla="*/ 3371759 h 6858000"/>
              <a:gd name="connsiteX260" fmla="*/ 600288 w 7467600"/>
              <a:gd name="connsiteY260" fmla="*/ 3365555 h 6858000"/>
              <a:gd name="connsiteX261" fmla="*/ 840692 w 7467600"/>
              <a:gd name="connsiteY261" fmla="*/ 3284921 h 6858000"/>
              <a:gd name="connsiteX262" fmla="*/ 979248 w 7467600"/>
              <a:gd name="connsiteY262" fmla="*/ 3221003 h 6858000"/>
              <a:gd name="connsiteX263" fmla="*/ 1053282 w 7467600"/>
              <a:gd name="connsiteY263" fmla="*/ 3185247 h 6858000"/>
              <a:gd name="connsiteX264" fmla="*/ 1320603 w 7467600"/>
              <a:gd name="connsiteY264" fmla="*/ 3081281 h 6858000"/>
              <a:gd name="connsiteX265" fmla="*/ 1238695 w 7467600"/>
              <a:gd name="connsiteY265" fmla="*/ 3076820 h 6858000"/>
              <a:gd name="connsiteX266" fmla="*/ 5425627 w 7467600"/>
              <a:gd name="connsiteY266" fmla="*/ 2954192 h 6858000"/>
              <a:gd name="connsiteX267" fmla="*/ 5470770 w 7467600"/>
              <a:gd name="connsiteY267" fmla="*/ 3005435 h 6858000"/>
              <a:gd name="connsiteX268" fmla="*/ 5519779 w 7467600"/>
              <a:gd name="connsiteY268" fmla="*/ 4359223 h 6858000"/>
              <a:gd name="connsiteX269" fmla="*/ 5520293 w 7467600"/>
              <a:gd name="connsiteY269" fmla="*/ 4360602 h 6858000"/>
              <a:gd name="connsiteX270" fmla="*/ 5767221 w 7467600"/>
              <a:gd name="connsiteY270" fmla="*/ 4665564 h 6858000"/>
              <a:gd name="connsiteX271" fmla="*/ 6937169 w 7467600"/>
              <a:gd name="connsiteY271" fmla="*/ 4815941 h 6858000"/>
              <a:gd name="connsiteX272" fmla="*/ 6953922 w 7467600"/>
              <a:gd name="connsiteY272" fmla="*/ 4890068 h 6858000"/>
              <a:gd name="connsiteX273" fmla="*/ 6071359 w 7467600"/>
              <a:gd name="connsiteY273" fmla="*/ 4770770 h 6858000"/>
              <a:gd name="connsiteX274" fmla="*/ 6038839 w 7467600"/>
              <a:gd name="connsiteY274" fmla="*/ 4764474 h 6858000"/>
              <a:gd name="connsiteX275" fmla="*/ 6038706 w 7467600"/>
              <a:gd name="connsiteY275" fmla="*/ 4763847 h 6858000"/>
              <a:gd name="connsiteX276" fmla="*/ 6037784 w 7467600"/>
              <a:gd name="connsiteY276" fmla="*/ 4764270 h 6858000"/>
              <a:gd name="connsiteX277" fmla="*/ 6038839 w 7467600"/>
              <a:gd name="connsiteY277" fmla="*/ 4764474 h 6858000"/>
              <a:gd name="connsiteX278" fmla="*/ 6040338 w 7467600"/>
              <a:gd name="connsiteY278" fmla="*/ 4771418 h 6858000"/>
              <a:gd name="connsiteX279" fmla="*/ 6024488 w 7467600"/>
              <a:gd name="connsiteY279" fmla="*/ 4809903 h 6858000"/>
              <a:gd name="connsiteX280" fmla="*/ 5599771 w 7467600"/>
              <a:gd name="connsiteY280" fmla="*/ 5509652 h 6858000"/>
              <a:gd name="connsiteX281" fmla="*/ 5548843 w 7467600"/>
              <a:gd name="connsiteY281" fmla="*/ 5563845 h 6858000"/>
              <a:gd name="connsiteX282" fmla="*/ 5940952 w 7467600"/>
              <a:gd name="connsiteY282" fmla="*/ 6250028 h 6858000"/>
              <a:gd name="connsiteX283" fmla="*/ 6043441 w 7467600"/>
              <a:gd name="connsiteY283" fmla="*/ 6665847 h 6858000"/>
              <a:gd name="connsiteX284" fmla="*/ 6093432 w 7467600"/>
              <a:gd name="connsiteY284" fmla="*/ 6858000 h 6858000"/>
              <a:gd name="connsiteX285" fmla="*/ 6034344 w 7467600"/>
              <a:gd name="connsiteY285" fmla="*/ 6858000 h 6858000"/>
              <a:gd name="connsiteX286" fmla="*/ 6026679 w 7467600"/>
              <a:gd name="connsiteY286" fmla="*/ 6836959 h 6858000"/>
              <a:gd name="connsiteX287" fmla="*/ 5800441 w 7467600"/>
              <a:gd name="connsiteY287" fmla="*/ 6335286 h 6858000"/>
              <a:gd name="connsiteX288" fmla="*/ 5526562 w 7467600"/>
              <a:gd name="connsiteY288" fmla="*/ 5705388 h 6858000"/>
              <a:gd name="connsiteX289" fmla="*/ 5519640 w 7467600"/>
              <a:gd name="connsiteY289" fmla="*/ 5683774 h 6858000"/>
              <a:gd name="connsiteX290" fmla="*/ 5844559 w 7467600"/>
              <a:gd name="connsiteY290" fmla="*/ 6553349 h 6858000"/>
              <a:gd name="connsiteX291" fmla="*/ 5975994 w 7467600"/>
              <a:gd name="connsiteY291" fmla="*/ 6858000 h 6858000"/>
              <a:gd name="connsiteX292" fmla="*/ 5898547 w 7467600"/>
              <a:gd name="connsiteY292" fmla="*/ 6858000 h 6858000"/>
              <a:gd name="connsiteX293" fmla="*/ 5682041 w 7467600"/>
              <a:gd name="connsiteY293" fmla="*/ 6355860 h 6858000"/>
              <a:gd name="connsiteX294" fmla="*/ 5461758 w 7467600"/>
              <a:gd name="connsiteY294" fmla="*/ 5820220 h 6858000"/>
              <a:gd name="connsiteX295" fmla="*/ 5237282 w 7467600"/>
              <a:gd name="connsiteY295" fmla="*/ 6579086 h 6858000"/>
              <a:gd name="connsiteX296" fmla="*/ 5115009 w 7467600"/>
              <a:gd name="connsiteY296" fmla="*/ 6858000 h 6858000"/>
              <a:gd name="connsiteX297" fmla="*/ 5028074 w 7467600"/>
              <a:gd name="connsiteY297" fmla="*/ 6858000 h 6858000"/>
              <a:gd name="connsiteX298" fmla="*/ 5079508 w 7467600"/>
              <a:gd name="connsiteY298" fmla="*/ 6749074 h 6858000"/>
              <a:gd name="connsiteX299" fmla="*/ 5371846 w 7467600"/>
              <a:gd name="connsiteY299" fmla="*/ 5924413 h 6858000"/>
              <a:gd name="connsiteX300" fmla="*/ 5270512 w 7467600"/>
              <a:gd name="connsiteY300" fmla="*/ 6138975 h 6858000"/>
              <a:gd name="connsiteX301" fmla="*/ 5062409 w 7467600"/>
              <a:gd name="connsiteY301" fmla="*/ 6653544 h 6858000"/>
              <a:gd name="connsiteX302" fmla="*/ 5036628 w 7467600"/>
              <a:gd name="connsiteY302" fmla="*/ 6754247 h 6858000"/>
              <a:gd name="connsiteX303" fmla="*/ 5009112 w 7467600"/>
              <a:gd name="connsiteY303" fmla="*/ 6858000 h 6858000"/>
              <a:gd name="connsiteX304" fmla="*/ 4976679 w 7467600"/>
              <a:gd name="connsiteY304" fmla="*/ 6858000 h 6858000"/>
              <a:gd name="connsiteX305" fmla="*/ 5006537 w 7467600"/>
              <a:gd name="connsiteY305" fmla="*/ 6747068 h 6858000"/>
              <a:gd name="connsiteX306" fmla="*/ 5032723 w 7467600"/>
              <a:gd name="connsiteY306" fmla="*/ 6644957 h 6858000"/>
              <a:gd name="connsiteX307" fmla="*/ 5242949 w 7467600"/>
              <a:gd name="connsiteY307" fmla="*/ 6125175 h 6858000"/>
              <a:gd name="connsiteX308" fmla="*/ 5286321 w 7467600"/>
              <a:gd name="connsiteY308" fmla="*/ 6033555 h 6858000"/>
              <a:gd name="connsiteX309" fmla="*/ 5008210 w 7467600"/>
              <a:gd name="connsiteY309" fmla="*/ 6649194 h 6858000"/>
              <a:gd name="connsiteX310" fmla="*/ 4986321 w 7467600"/>
              <a:gd name="connsiteY310" fmla="*/ 6765687 h 6858000"/>
              <a:gd name="connsiteX311" fmla="*/ 4973474 w 7467600"/>
              <a:gd name="connsiteY311" fmla="*/ 6858000 h 6858000"/>
              <a:gd name="connsiteX312" fmla="*/ 4907178 w 7467600"/>
              <a:gd name="connsiteY312" fmla="*/ 6858000 h 6858000"/>
              <a:gd name="connsiteX313" fmla="*/ 4910810 w 7467600"/>
              <a:gd name="connsiteY313" fmla="*/ 6829660 h 6858000"/>
              <a:gd name="connsiteX314" fmla="*/ 4987461 w 7467600"/>
              <a:gd name="connsiteY314" fmla="*/ 6432994 h 6858000"/>
              <a:gd name="connsiteX315" fmla="*/ 5179262 w 7467600"/>
              <a:gd name="connsiteY315" fmla="*/ 6035044 h 6858000"/>
              <a:gd name="connsiteX316" fmla="*/ 4689678 w 7467600"/>
              <a:gd name="connsiteY316" fmla="*/ 6440241 h 6858000"/>
              <a:gd name="connsiteX317" fmla="*/ 4477543 w 7467600"/>
              <a:gd name="connsiteY317" fmla="*/ 6674836 h 6858000"/>
              <a:gd name="connsiteX318" fmla="*/ 4329957 w 7467600"/>
              <a:gd name="connsiteY318" fmla="*/ 6858000 h 6858000"/>
              <a:gd name="connsiteX319" fmla="*/ 4218595 w 7467600"/>
              <a:gd name="connsiteY319" fmla="*/ 6858000 h 6858000"/>
              <a:gd name="connsiteX320" fmla="*/ 4368888 w 7467600"/>
              <a:gd name="connsiteY320" fmla="*/ 6668412 h 6858000"/>
              <a:gd name="connsiteX321" fmla="*/ 4563091 w 7467600"/>
              <a:gd name="connsiteY321" fmla="*/ 6442508 h 6858000"/>
              <a:gd name="connsiteX322" fmla="*/ 5387324 w 7467600"/>
              <a:gd name="connsiteY322" fmla="*/ 5705830 h 6858000"/>
              <a:gd name="connsiteX323" fmla="*/ 5073620 w 7467600"/>
              <a:gd name="connsiteY323" fmla="*/ 5955437 h 6858000"/>
              <a:gd name="connsiteX324" fmla="*/ 4689789 w 7467600"/>
              <a:gd name="connsiteY324" fmla="*/ 6268382 h 6858000"/>
              <a:gd name="connsiteX325" fmla="*/ 4418722 w 7467600"/>
              <a:gd name="connsiteY325" fmla="*/ 6570886 h 6858000"/>
              <a:gd name="connsiteX326" fmla="*/ 4214944 w 7467600"/>
              <a:gd name="connsiteY326" fmla="*/ 6858000 h 6858000"/>
              <a:gd name="connsiteX327" fmla="*/ 4177898 w 7467600"/>
              <a:gd name="connsiteY327" fmla="*/ 6858000 h 6858000"/>
              <a:gd name="connsiteX328" fmla="*/ 4391597 w 7467600"/>
              <a:gd name="connsiteY328" fmla="*/ 6556370 h 6858000"/>
              <a:gd name="connsiteX329" fmla="*/ 4668889 w 7467600"/>
              <a:gd name="connsiteY329" fmla="*/ 6246399 h 6858000"/>
              <a:gd name="connsiteX330" fmla="*/ 5055427 w 7467600"/>
              <a:gd name="connsiteY330" fmla="*/ 5931476 h 6858000"/>
              <a:gd name="connsiteX331" fmla="*/ 5371814 w 7467600"/>
              <a:gd name="connsiteY331" fmla="*/ 5678975 h 6858000"/>
              <a:gd name="connsiteX332" fmla="*/ 4987918 w 7467600"/>
              <a:gd name="connsiteY332" fmla="*/ 5838701 h 6858000"/>
              <a:gd name="connsiteX333" fmla="*/ 4317146 w 7467600"/>
              <a:gd name="connsiteY333" fmla="*/ 6587716 h 6858000"/>
              <a:gd name="connsiteX334" fmla="*/ 4171627 w 7467600"/>
              <a:gd name="connsiteY334" fmla="*/ 6858000 h 6858000"/>
              <a:gd name="connsiteX335" fmla="*/ 4081585 w 7467600"/>
              <a:gd name="connsiteY335" fmla="*/ 6858000 h 6858000"/>
              <a:gd name="connsiteX336" fmla="*/ 4238603 w 7467600"/>
              <a:gd name="connsiteY336" fmla="*/ 6559341 h 6858000"/>
              <a:gd name="connsiteX337" fmla="*/ 4778333 w 7467600"/>
              <a:gd name="connsiteY337" fmla="*/ 5873626 h 6858000"/>
              <a:gd name="connsiteX338" fmla="*/ 5414185 w 7467600"/>
              <a:gd name="connsiteY338" fmla="*/ 5573882 h 6858000"/>
              <a:gd name="connsiteX339" fmla="*/ 5959648 w 7467600"/>
              <a:gd name="connsiteY339" fmla="*/ 4760797 h 6858000"/>
              <a:gd name="connsiteX340" fmla="*/ 5355019 w 7467600"/>
              <a:gd name="connsiteY340" fmla="*/ 4734672 h 6858000"/>
              <a:gd name="connsiteX341" fmla="*/ 5083565 w 7467600"/>
              <a:gd name="connsiteY341" fmla="*/ 5179121 h 6858000"/>
              <a:gd name="connsiteX342" fmla="*/ 4713577 w 7467600"/>
              <a:gd name="connsiteY342" fmla="*/ 5616803 h 6858000"/>
              <a:gd name="connsiteX343" fmla="*/ 3989559 w 7467600"/>
              <a:gd name="connsiteY343" fmla="*/ 6145945 h 6858000"/>
              <a:gd name="connsiteX344" fmla="*/ 3939824 w 7467600"/>
              <a:gd name="connsiteY344" fmla="*/ 6066900 h 6858000"/>
              <a:gd name="connsiteX345" fmla="*/ 4584537 w 7467600"/>
              <a:gd name="connsiteY345" fmla="*/ 5324826 h 6858000"/>
              <a:gd name="connsiteX346" fmla="*/ 5037105 w 7467600"/>
              <a:gd name="connsiteY346" fmla="*/ 5088765 h 6858000"/>
              <a:gd name="connsiteX347" fmla="*/ 5039930 w 7467600"/>
              <a:gd name="connsiteY347" fmla="*/ 5089585 h 6858000"/>
              <a:gd name="connsiteX348" fmla="*/ 5263764 w 7467600"/>
              <a:gd name="connsiteY348" fmla="*/ 4735525 h 6858000"/>
              <a:gd name="connsiteX349" fmla="*/ 4086300 w 7467600"/>
              <a:gd name="connsiteY349" fmla="*/ 4884599 h 6858000"/>
              <a:gd name="connsiteX350" fmla="*/ 4085485 w 7467600"/>
              <a:gd name="connsiteY350" fmla="*/ 4899070 h 6858000"/>
              <a:gd name="connsiteX351" fmla="*/ 3871915 w 7467600"/>
              <a:gd name="connsiteY351" fmla="*/ 5253645 h 6858000"/>
              <a:gd name="connsiteX352" fmla="*/ 3799374 w 7467600"/>
              <a:gd name="connsiteY352" fmla="*/ 5466127 h 6858000"/>
              <a:gd name="connsiteX353" fmla="*/ 3498850 w 7467600"/>
              <a:gd name="connsiteY353" fmla="*/ 6661888 h 6858000"/>
              <a:gd name="connsiteX354" fmla="*/ 3399216 w 7467600"/>
              <a:gd name="connsiteY354" fmla="*/ 6858000 h 6858000"/>
              <a:gd name="connsiteX355" fmla="*/ 3303688 w 7467600"/>
              <a:gd name="connsiteY355" fmla="*/ 6858000 h 6858000"/>
              <a:gd name="connsiteX356" fmla="*/ 3391774 w 7467600"/>
              <a:gd name="connsiteY356" fmla="*/ 6697181 h 6858000"/>
              <a:gd name="connsiteX357" fmla="*/ 3735540 w 7467600"/>
              <a:gd name="connsiteY357" fmla="*/ 5546923 h 6858000"/>
              <a:gd name="connsiteX358" fmla="*/ 3729438 w 7467600"/>
              <a:gd name="connsiteY358" fmla="*/ 5569058 h 6858000"/>
              <a:gd name="connsiteX359" fmla="*/ 3707782 w 7467600"/>
              <a:gd name="connsiteY359" fmla="*/ 5644908 h 6858000"/>
              <a:gd name="connsiteX360" fmla="*/ 3583827 w 7467600"/>
              <a:gd name="connsiteY360" fmla="*/ 6039215 h 6858000"/>
              <a:gd name="connsiteX361" fmla="*/ 3547861 w 7467600"/>
              <a:gd name="connsiteY361" fmla="*/ 6129609 h 6858000"/>
              <a:gd name="connsiteX362" fmla="*/ 3490905 w 7467600"/>
              <a:gd name="connsiteY362" fmla="*/ 6277660 h 6858000"/>
              <a:gd name="connsiteX363" fmla="*/ 3455859 w 7467600"/>
              <a:gd name="connsiteY363" fmla="*/ 6391301 h 6858000"/>
              <a:gd name="connsiteX364" fmla="*/ 3429112 w 7467600"/>
              <a:gd name="connsiteY364" fmla="*/ 6479469 h 6858000"/>
              <a:gd name="connsiteX365" fmla="*/ 3304862 w 7467600"/>
              <a:gd name="connsiteY365" fmla="*/ 6796476 h 6858000"/>
              <a:gd name="connsiteX366" fmla="*/ 3276071 w 7467600"/>
              <a:gd name="connsiteY366" fmla="*/ 6858000 h 6858000"/>
              <a:gd name="connsiteX367" fmla="*/ 3240805 w 7467600"/>
              <a:gd name="connsiteY367" fmla="*/ 6858000 h 6858000"/>
              <a:gd name="connsiteX368" fmla="*/ 3275917 w 7467600"/>
              <a:gd name="connsiteY368" fmla="*/ 6783192 h 6858000"/>
              <a:gd name="connsiteX369" fmla="*/ 3399358 w 7467600"/>
              <a:gd name="connsiteY369" fmla="*/ 6469011 h 6858000"/>
              <a:gd name="connsiteX370" fmla="*/ 3425650 w 7467600"/>
              <a:gd name="connsiteY370" fmla="*/ 6381333 h 6858000"/>
              <a:gd name="connsiteX371" fmla="*/ 3460661 w 7467600"/>
              <a:gd name="connsiteY371" fmla="*/ 6266763 h 6858000"/>
              <a:gd name="connsiteX372" fmla="*/ 3518021 w 7467600"/>
              <a:gd name="connsiteY372" fmla="*/ 6117298 h 6858000"/>
              <a:gd name="connsiteX373" fmla="*/ 3554035 w 7467600"/>
              <a:gd name="connsiteY373" fmla="*/ 6027832 h 6858000"/>
              <a:gd name="connsiteX374" fmla="*/ 3677174 w 7467600"/>
              <a:gd name="connsiteY374" fmla="*/ 5636351 h 6858000"/>
              <a:gd name="connsiteX375" fmla="*/ 3698819 w 7467600"/>
              <a:gd name="connsiteY375" fmla="*/ 5560503 h 6858000"/>
              <a:gd name="connsiteX376" fmla="*/ 3702094 w 7467600"/>
              <a:gd name="connsiteY376" fmla="*/ 5549194 h 6858000"/>
              <a:gd name="connsiteX377" fmla="*/ 3398355 w 7467600"/>
              <a:gd name="connsiteY377" fmla="*/ 6094603 h 6858000"/>
              <a:gd name="connsiteX378" fmla="*/ 3193941 w 7467600"/>
              <a:gd name="connsiteY378" fmla="*/ 6798775 h 6858000"/>
              <a:gd name="connsiteX379" fmla="*/ 3184140 w 7467600"/>
              <a:gd name="connsiteY379" fmla="*/ 6858000 h 6858000"/>
              <a:gd name="connsiteX380" fmla="*/ 3099978 w 7467600"/>
              <a:gd name="connsiteY380" fmla="*/ 6858000 h 6858000"/>
              <a:gd name="connsiteX381" fmla="*/ 3101556 w 7467600"/>
              <a:gd name="connsiteY381" fmla="*/ 6843337 h 6858000"/>
              <a:gd name="connsiteX382" fmla="*/ 3370162 w 7467600"/>
              <a:gd name="connsiteY382" fmla="*/ 5785550 h 6858000"/>
              <a:gd name="connsiteX383" fmla="*/ 3746477 w 7467600"/>
              <a:gd name="connsiteY383" fmla="*/ 5377889 h 6858000"/>
              <a:gd name="connsiteX384" fmla="*/ 3863399 w 7467600"/>
              <a:gd name="connsiteY384" fmla="*/ 5087257 h 6858000"/>
              <a:gd name="connsiteX385" fmla="*/ 3968712 w 7467600"/>
              <a:gd name="connsiteY385" fmla="*/ 4913989 h 6858000"/>
              <a:gd name="connsiteX386" fmla="*/ 2792390 w 7467600"/>
              <a:gd name="connsiteY386" fmla="*/ 5382974 h 6858000"/>
              <a:gd name="connsiteX387" fmla="*/ 2714982 w 7467600"/>
              <a:gd name="connsiteY387" fmla="*/ 5427051 h 6858000"/>
              <a:gd name="connsiteX388" fmla="*/ 2813361 w 7467600"/>
              <a:gd name="connsiteY388" fmla="*/ 6023912 h 6858000"/>
              <a:gd name="connsiteX389" fmla="*/ 2688430 w 7467600"/>
              <a:gd name="connsiteY389" fmla="*/ 6801564 h 6858000"/>
              <a:gd name="connsiteX390" fmla="*/ 2629626 w 7467600"/>
              <a:gd name="connsiteY390" fmla="*/ 6763394 h 6858000"/>
              <a:gd name="connsiteX391" fmla="*/ 2565328 w 7467600"/>
              <a:gd name="connsiteY391" fmla="*/ 5516399 h 6858000"/>
              <a:gd name="connsiteX392" fmla="*/ 1922999 w 7467600"/>
              <a:gd name="connsiteY392" fmla="*/ 5980343 h 6858000"/>
              <a:gd name="connsiteX393" fmla="*/ 1950261 w 7467600"/>
              <a:gd name="connsiteY393" fmla="*/ 6405858 h 6858000"/>
              <a:gd name="connsiteX394" fmla="*/ 2365554 w 7467600"/>
              <a:gd name="connsiteY394" fmla="*/ 6759107 h 6858000"/>
              <a:gd name="connsiteX395" fmla="*/ 2424142 w 7467600"/>
              <a:gd name="connsiteY395" fmla="*/ 6858000 h 6858000"/>
              <a:gd name="connsiteX396" fmla="*/ 2395994 w 7467600"/>
              <a:gd name="connsiteY396" fmla="*/ 6858000 h 6858000"/>
              <a:gd name="connsiteX397" fmla="*/ 2392863 w 7467600"/>
              <a:gd name="connsiteY397" fmla="*/ 6852964 h 6858000"/>
              <a:gd name="connsiteX398" fmla="*/ 2017589 w 7467600"/>
              <a:gd name="connsiteY398" fmla="*/ 6493982 h 6858000"/>
              <a:gd name="connsiteX399" fmla="*/ 2147336 w 7467600"/>
              <a:gd name="connsiteY399" fmla="*/ 6594052 h 6858000"/>
              <a:gd name="connsiteX400" fmla="*/ 2207047 w 7467600"/>
              <a:gd name="connsiteY400" fmla="*/ 6654540 h 6858000"/>
              <a:gd name="connsiteX401" fmla="*/ 2299106 w 7467600"/>
              <a:gd name="connsiteY401" fmla="*/ 6778931 h 6858000"/>
              <a:gd name="connsiteX402" fmla="*/ 2314430 w 7467600"/>
              <a:gd name="connsiteY402" fmla="*/ 6801144 h 6858000"/>
              <a:gd name="connsiteX403" fmla="*/ 2352406 w 7467600"/>
              <a:gd name="connsiteY403" fmla="*/ 6858000 h 6858000"/>
              <a:gd name="connsiteX404" fmla="*/ 2314492 w 7467600"/>
              <a:gd name="connsiteY404" fmla="*/ 6858000 h 6858000"/>
              <a:gd name="connsiteX405" fmla="*/ 2288095 w 7467600"/>
              <a:gd name="connsiteY405" fmla="*/ 6818030 h 6858000"/>
              <a:gd name="connsiteX406" fmla="*/ 2272768 w 7467600"/>
              <a:gd name="connsiteY406" fmla="*/ 6795822 h 6858000"/>
              <a:gd name="connsiteX407" fmla="*/ 2182715 w 7467600"/>
              <a:gd name="connsiteY407" fmla="*/ 6675071 h 6858000"/>
              <a:gd name="connsiteX408" fmla="*/ 2032061 w 7467600"/>
              <a:gd name="connsiteY408" fmla="*/ 6541380 h 6858000"/>
              <a:gd name="connsiteX409" fmla="*/ 2257220 w 7467600"/>
              <a:gd name="connsiteY409" fmla="*/ 6826257 h 6858000"/>
              <a:gd name="connsiteX410" fmla="*/ 2281324 w 7467600"/>
              <a:gd name="connsiteY410" fmla="*/ 6858000 h 6858000"/>
              <a:gd name="connsiteX411" fmla="*/ 2242860 w 7467600"/>
              <a:gd name="connsiteY411" fmla="*/ 6858000 h 6858000"/>
              <a:gd name="connsiteX412" fmla="*/ 2232818 w 7467600"/>
              <a:gd name="connsiteY412" fmla="*/ 6844926 h 6858000"/>
              <a:gd name="connsiteX413" fmla="*/ 1990172 w 7467600"/>
              <a:gd name="connsiteY413" fmla="*/ 6542121 h 6858000"/>
              <a:gd name="connsiteX414" fmla="*/ 2124090 w 7467600"/>
              <a:gd name="connsiteY414" fmla="*/ 6761017 h 6858000"/>
              <a:gd name="connsiteX415" fmla="*/ 2200380 w 7467600"/>
              <a:gd name="connsiteY415" fmla="*/ 6858000 h 6858000"/>
              <a:gd name="connsiteX416" fmla="*/ 2147507 w 7467600"/>
              <a:gd name="connsiteY416" fmla="*/ 6858000 h 6858000"/>
              <a:gd name="connsiteX417" fmla="*/ 2070668 w 7467600"/>
              <a:gd name="connsiteY417" fmla="*/ 6761520 h 6858000"/>
              <a:gd name="connsiteX418" fmla="*/ 1975142 w 7467600"/>
              <a:gd name="connsiteY418" fmla="*/ 6585570 h 6858000"/>
              <a:gd name="connsiteX419" fmla="*/ 2050035 w 7467600"/>
              <a:gd name="connsiteY419" fmla="*/ 6813345 h 6858000"/>
              <a:gd name="connsiteX420" fmla="*/ 2063025 w 7467600"/>
              <a:gd name="connsiteY420" fmla="*/ 6858000 h 6858000"/>
              <a:gd name="connsiteX421" fmla="*/ 2021675 w 7467600"/>
              <a:gd name="connsiteY421" fmla="*/ 6858000 h 6858000"/>
              <a:gd name="connsiteX422" fmla="*/ 2019308 w 7467600"/>
              <a:gd name="connsiteY422" fmla="*/ 6847118 h 6858000"/>
              <a:gd name="connsiteX423" fmla="*/ 1938835 w 7467600"/>
              <a:gd name="connsiteY423" fmla="*/ 6551160 h 6858000"/>
              <a:gd name="connsiteX424" fmla="*/ 1953230 w 7467600"/>
              <a:gd name="connsiteY424" fmla="*/ 6759699 h 6858000"/>
              <a:gd name="connsiteX425" fmla="*/ 1956763 w 7467600"/>
              <a:gd name="connsiteY425" fmla="*/ 6778191 h 6858000"/>
              <a:gd name="connsiteX426" fmla="*/ 1967925 w 7467600"/>
              <a:gd name="connsiteY426" fmla="*/ 6858000 h 6858000"/>
              <a:gd name="connsiteX427" fmla="*/ 1936622 w 7467600"/>
              <a:gd name="connsiteY427" fmla="*/ 6858000 h 6858000"/>
              <a:gd name="connsiteX428" fmla="*/ 1926261 w 7467600"/>
              <a:gd name="connsiteY428" fmla="*/ 6784064 h 6858000"/>
              <a:gd name="connsiteX429" fmla="*/ 1922724 w 7467600"/>
              <a:gd name="connsiteY429" fmla="*/ 6765577 h 6858000"/>
              <a:gd name="connsiteX430" fmla="*/ 1904650 w 7467600"/>
              <a:gd name="connsiteY430" fmla="*/ 6639616 h 6858000"/>
              <a:gd name="connsiteX431" fmla="*/ 1885273 w 7467600"/>
              <a:gd name="connsiteY431" fmla="*/ 6858000 h 6858000"/>
              <a:gd name="connsiteX432" fmla="*/ 1854363 w 7467600"/>
              <a:gd name="connsiteY432" fmla="*/ 6858000 h 6858000"/>
              <a:gd name="connsiteX433" fmla="*/ 1880391 w 7467600"/>
              <a:gd name="connsiteY433" fmla="*/ 6603796 h 6858000"/>
              <a:gd name="connsiteX434" fmla="*/ 1818273 w 7467600"/>
              <a:gd name="connsiteY434" fmla="*/ 6715729 h 6858000"/>
              <a:gd name="connsiteX435" fmla="*/ 1794691 w 7467600"/>
              <a:gd name="connsiteY435" fmla="*/ 6843239 h 6858000"/>
              <a:gd name="connsiteX436" fmla="*/ 1794914 w 7467600"/>
              <a:gd name="connsiteY436" fmla="*/ 6858000 h 6858000"/>
              <a:gd name="connsiteX437" fmla="*/ 1746128 w 7467600"/>
              <a:gd name="connsiteY437" fmla="*/ 6858000 h 6858000"/>
              <a:gd name="connsiteX438" fmla="*/ 1753934 w 7467600"/>
              <a:gd name="connsiteY438" fmla="*/ 6724796 h 6858000"/>
              <a:gd name="connsiteX439" fmla="*/ 1792053 w 7467600"/>
              <a:gd name="connsiteY439" fmla="*/ 6572396 h 6858000"/>
              <a:gd name="connsiteX440" fmla="*/ 1862248 w 7467600"/>
              <a:gd name="connsiteY440" fmla="*/ 6266397 h 6858000"/>
              <a:gd name="connsiteX441" fmla="*/ 1862250 w 7467600"/>
              <a:gd name="connsiteY441" fmla="*/ 6033531 h 6858000"/>
              <a:gd name="connsiteX442" fmla="*/ 1211999 w 7467600"/>
              <a:gd name="connsiteY442" fmla="*/ 6683610 h 6858000"/>
              <a:gd name="connsiteX443" fmla="*/ 1213266 w 7467600"/>
              <a:gd name="connsiteY443" fmla="*/ 6691947 h 6858000"/>
              <a:gd name="connsiteX444" fmla="*/ 1203370 w 7467600"/>
              <a:gd name="connsiteY444" fmla="*/ 6850676 h 6858000"/>
              <a:gd name="connsiteX445" fmla="*/ 1203671 w 7467600"/>
              <a:gd name="connsiteY445" fmla="*/ 6858000 h 6858000"/>
              <a:gd name="connsiteX446" fmla="*/ 1143180 w 7467600"/>
              <a:gd name="connsiteY446" fmla="*/ 6858000 h 6858000"/>
              <a:gd name="connsiteX447" fmla="*/ 1142176 w 7467600"/>
              <a:gd name="connsiteY447" fmla="*/ 6766045 h 6858000"/>
              <a:gd name="connsiteX448" fmla="*/ 1067484 w 7467600"/>
              <a:gd name="connsiteY448" fmla="*/ 6858000 h 6858000"/>
              <a:gd name="connsiteX449" fmla="*/ 953928 w 7467600"/>
              <a:gd name="connsiteY449" fmla="*/ 6858000 h 6858000"/>
              <a:gd name="connsiteX450" fmla="*/ 959715 w 7467600"/>
              <a:gd name="connsiteY450" fmla="*/ 6850185 h 6858000"/>
              <a:gd name="connsiteX451" fmla="*/ 1483788 w 7467600"/>
              <a:gd name="connsiteY451" fmla="*/ 6259174 h 6858000"/>
              <a:gd name="connsiteX452" fmla="*/ 1100671 w 7467600"/>
              <a:gd name="connsiteY452" fmla="*/ 6252137 h 6858000"/>
              <a:gd name="connsiteX453" fmla="*/ 1090144 w 7467600"/>
              <a:gd name="connsiteY453" fmla="*/ 6256748 h 6858000"/>
              <a:gd name="connsiteX454" fmla="*/ 1095872 w 7467600"/>
              <a:gd name="connsiteY454" fmla="*/ 6271892 h 6858000"/>
              <a:gd name="connsiteX455" fmla="*/ 262785 w 7467600"/>
              <a:gd name="connsiteY455" fmla="*/ 6845450 h 6858000"/>
              <a:gd name="connsiteX456" fmla="*/ 209968 w 7467600"/>
              <a:gd name="connsiteY456" fmla="*/ 6770713 h 6858000"/>
              <a:gd name="connsiteX457" fmla="*/ 873460 w 7467600"/>
              <a:gd name="connsiteY457" fmla="*/ 6253768 h 6858000"/>
              <a:gd name="connsiteX458" fmla="*/ 192686 w 7467600"/>
              <a:gd name="connsiteY458" fmla="*/ 5849257 h 6858000"/>
              <a:gd name="connsiteX459" fmla="*/ 4696 w 7467600"/>
              <a:gd name="connsiteY459" fmla="*/ 5697668 h 6858000"/>
              <a:gd name="connsiteX460" fmla="*/ 0 w 7467600"/>
              <a:gd name="connsiteY460" fmla="*/ 5689984 h 6858000"/>
              <a:gd name="connsiteX461" fmla="*/ 0 w 7467600"/>
              <a:gd name="connsiteY461" fmla="*/ 5513472 h 6858000"/>
              <a:gd name="connsiteX462" fmla="*/ 174101 w 7467600"/>
              <a:gd name="connsiteY462" fmla="*/ 5620277 h 6858000"/>
              <a:gd name="connsiteX463" fmla="*/ 891800 w 7467600"/>
              <a:gd name="connsiteY463" fmla="*/ 6036935 h 6858000"/>
              <a:gd name="connsiteX464" fmla="*/ 1072219 w 7467600"/>
              <a:gd name="connsiteY464" fmla="*/ 6169443 h 6858000"/>
              <a:gd name="connsiteX465" fmla="*/ 1074117 w 7467600"/>
              <a:gd name="connsiteY465" fmla="*/ 6170301 h 6858000"/>
              <a:gd name="connsiteX466" fmla="*/ 1083114 w 7467600"/>
              <a:gd name="connsiteY466" fmla="*/ 6174131 h 6858000"/>
              <a:gd name="connsiteX467" fmla="*/ 1543010 w 7467600"/>
              <a:gd name="connsiteY467" fmla="*/ 6191140 h 6858000"/>
              <a:gd name="connsiteX468" fmla="*/ 1551080 w 7467600"/>
              <a:gd name="connsiteY468" fmla="*/ 6195006 h 6858000"/>
              <a:gd name="connsiteX469" fmla="*/ 2345443 w 7467600"/>
              <a:gd name="connsiteY469" fmla="*/ 5549882 h 6858000"/>
              <a:gd name="connsiteX470" fmla="*/ 1721499 w 7467600"/>
              <a:gd name="connsiteY470" fmla="*/ 5599969 h 6858000"/>
              <a:gd name="connsiteX471" fmla="*/ 767716 w 7467600"/>
              <a:gd name="connsiteY471" fmla="*/ 5472768 h 6858000"/>
              <a:gd name="connsiteX472" fmla="*/ 722147 w 7467600"/>
              <a:gd name="connsiteY472" fmla="*/ 5393091 h 6858000"/>
              <a:gd name="connsiteX473" fmla="*/ 1485552 w 7467600"/>
              <a:gd name="connsiteY473" fmla="*/ 5313202 h 6858000"/>
              <a:gd name="connsiteX474" fmla="*/ 2143004 w 7467600"/>
              <a:gd name="connsiteY474" fmla="*/ 5402420 h 6858000"/>
              <a:gd name="connsiteX475" fmla="*/ 1933391 w 7467600"/>
              <a:gd name="connsiteY475" fmla="*/ 5156971 h 6858000"/>
              <a:gd name="connsiteX476" fmla="*/ 1827118 w 7467600"/>
              <a:gd name="connsiteY476" fmla="*/ 4968410 h 6858000"/>
              <a:gd name="connsiteX477" fmla="*/ 1837349 w 7467600"/>
              <a:gd name="connsiteY477" fmla="*/ 4956357 h 6858000"/>
              <a:gd name="connsiteX478" fmla="*/ 2162835 w 7467600"/>
              <a:gd name="connsiteY478" fmla="*/ 5187853 h 6858000"/>
              <a:gd name="connsiteX479" fmla="*/ 2257167 w 7467600"/>
              <a:gd name="connsiteY479" fmla="*/ 5462123 h 6858000"/>
              <a:gd name="connsiteX480" fmla="*/ 2261598 w 7467600"/>
              <a:gd name="connsiteY480" fmla="*/ 5467998 h 6858000"/>
              <a:gd name="connsiteX481" fmla="*/ 2437177 w 7467600"/>
              <a:gd name="connsiteY481" fmla="*/ 5479608 h 6858000"/>
              <a:gd name="connsiteX482" fmla="*/ 2445247 w 7467600"/>
              <a:gd name="connsiteY482" fmla="*/ 5483476 h 6858000"/>
              <a:gd name="connsiteX483" fmla="*/ 2743626 w 7467600"/>
              <a:gd name="connsiteY483" fmla="*/ 5304819 h 6858000"/>
              <a:gd name="connsiteX484" fmla="*/ 3048102 w 7467600"/>
              <a:gd name="connsiteY484" fmla="*/ 5150595 h 6858000"/>
              <a:gd name="connsiteX485" fmla="*/ 1799414 w 7467600"/>
              <a:gd name="connsiteY485" fmla="*/ 4694732 h 6858000"/>
              <a:gd name="connsiteX486" fmla="*/ 1771735 w 7467600"/>
              <a:gd name="connsiteY486" fmla="*/ 4619929 h 6858000"/>
              <a:gd name="connsiteX487" fmla="*/ 3104273 w 7467600"/>
              <a:gd name="connsiteY487" fmla="*/ 5076159 h 6858000"/>
              <a:gd name="connsiteX488" fmla="*/ 3113245 w 7467600"/>
              <a:gd name="connsiteY488" fmla="*/ 5090705 h 6858000"/>
              <a:gd name="connsiteX489" fmla="*/ 3126294 w 7467600"/>
              <a:gd name="connsiteY489" fmla="*/ 5114400 h 6858000"/>
              <a:gd name="connsiteX490" fmla="*/ 3937433 w 7467600"/>
              <a:gd name="connsiteY490" fmla="*/ 4830473 h 6858000"/>
              <a:gd name="connsiteX491" fmla="*/ 3590475 w 7467600"/>
              <a:gd name="connsiteY491" fmla="*/ 4597974 h 6858000"/>
              <a:gd name="connsiteX492" fmla="*/ 3100264 w 7467600"/>
              <a:gd name="connsiteY492" fmla="*/ 4579845 h 6858000"/>
              <a:gd name="connsiteX493" fmla="*/ 2183576 w 7467600"/>
              <a:gd name="connsiteY493" fmla="*/ 4227150 h 6858000"/>
              <a:gd name="connsiteX494" fmla="*/ 2151029 w 7467600"/>
              <a:gd name="connsiteY494" fmla="*/ 4146947 h 6858000"/>
              <a:gd name="connsiteX495" fmla="*/ 3563434 w 7467600"/>
              <a:gd name="connsiteY495" fmla="*/ 4469115 h 6858000"/>
              <a:gd name="connsiteX496" fmla="*/ 3177952 w 7467600"/>
              <a:gd name="connsiteY496" fmla="*/ 3657386 h 6858000"/>
              <a:gd name="connsiteX497" fmla="*/ 3189263 w 7467600"/>
              <a:gd name="connsiteY497" fmla="*/ 3625726 h 6858000"/>
              <a:gd name="connsiteX498" fmla="*/ 3560912 w 7467600"/>
              <a:gd name="connsiteY498" fmla="*/ 4079863 h 6858000"/>
              <a:gd name="connsiteX499" fmla="*/ 3626636 w 7467600"/>
              <a:gd name="connsiteY499" fmla="*/ 4512230 h 6858000"/>
              <a:gd name="connsiteX500" fmla="*/ 3653088 w 7467600"/>
              <a:gd name="connsiteY500" fmla="*/ 4521417 h 6858000"/>
              <a:gd name="connsiteX501" fmla="*/ 3988128 w 7467600"/>
              <a:gd name="connsiteY501" fmla="*/ 4817267 h 6858000"/>
              <a:gd name="connsiteX502" fmla="*/ 4830582 w 7467600"/>
              <a:gd name="connsiteY502" fmla="*/ 4676000 h 6858000"/>
              <a:gd name="connsiteX503" fmla="*/ 4830100 w 7467600"/>
              <a:gd name="connsiteY503" fmla="*/ 4675554 h 6858000"/>
              <a:gd name="connsiteX504" fmla="*/ 4036318 w 7467600"/>
              <a:gd name="connsiteY504" fmla="*/ 4147013 h 6858000"/>
              <a:gd name="connsiteX505" fmla="*/ 3432098 w 7467600"/>
              <a:gd name="connsiteY505" fmla="*/ 3537312 h 6858000"/>
              <a:gd name="connsiteX506" fmla="*/ 3446761 w 7467600"/>
              <a:gd name="connsiteY506" fmla="*/ 3461278 h 6858000"/>
              <a:gd name="connsiteX507" fmla="*/ 4419733 w 7467600"/>
              <a:gd name="connsiteY507" fmla="*/ 3963555 h 6858000"/>
              <a:gd name="connsiteX508" fmla="*/ 4781371 w 7467600"/>
              <a:gd name="connsiteY508" fmla="*/ 4458604 h 6858000"/>
              <a:gd name="connsiteX509" fmla="*/ 4780440 w 7467600"/>
              <a:gd name="connsiteY509" fmla="*/ 4470290 h 6858000"/>
              <a:gd name="connsiteX510" fmla="*/ 4898954 w 7467600"/>
              <a:gd name="connsiteY510" fmla="*/ 4662092 h 6858000"/>
              <a:gd name="connsiteX511" fmla="*/ 4900699 w 7467600"/>
              <a:gd name="connsiteY511" fmla="*/ 4670867 h 6858000"/>
              <a:gd name="connsiteX512" fmla="*/ 5714511 w 7467600"/>
              <a:gd name="connsiteY512" fmla="*/ 4663483 h 6858000"/>
              <a:gd name="connsiteX513" fmla="*/ 5464793 w 7467600"/>
              <a:gd name="connsiteY513" fmla="*/ 4393556 h 6858000"/>
              <a:gd name="connsiteX514" fmla="*/ 5461897 w 7467600"/>
              <a:gd name="connsiteY514" fmla="*/ 4390879 h 6858000"/>
              <a:gd name="connsiteX515" fmla="*/ 4294126 w 7467600"/>
              <a:gd name="connsiteY515" fmla="*/ 3303048 h 6858000"/>
              <a:gd name="connsiteX516" fmla="*/ 4305321 w 7467600"/>
              <a:gd name="connsiteY516" fmla="*/ 3256953 h 6858000"/>
              <a:gd name="connsiteX517" fmla="*/ 4949299 w 7467600"/>
              <a:gd name="connsiteY517" fmla="*/ 3766336 h 6858000"/>
              <a:gd name="connsiteX518" fmla="*/ 5291452 w 7467600"/>
              <a:gd name="connsiteY518" fmla="*/ 4076801 h 6858000"/>
              <a:gd name="connsiteX519" fmla="*/ 5434998 w 7467600"/>
              <a:gd name="connsiteY519" fmla="*/ 4254100 h 6858000"/>
              <a:gd name="connsiteX520" fmla="*/ 5351015 w 7467600"/>
              <a:gd name="connsiteY520" fmla="*/ 3760989 h 6858000"/>
              <a:gd name="connsiteX521" fmla="*/ 5413780 w 7467600"/>
              <a:gd name="connsiteY521" fmla="*/ 2966265 h 6858000"/>
              <a:gd name="connsiteX522" fmla="*/ 5425627 w 7467600"/>
              <a:gd name="connsiteY522" fmla="*/ 2954192 h 6858000"/>
              <a:gd name="connsiteX523" fmla="*/ 6604735 w 7467600"/>
              <a:gd name="connsiteY523" fmla="*/ 2041381 h 6858000"/>
              <a:gd name="connsiteX524" fmla="*/ 7204487 w 7467600"/>
              <a:gd name="connsiteY524" fmla="*/ 2742112 h 6858000"/>
              <a:gd name="connsiteX525" fmla="*/ 7131592 w 7467600"/>
              <a:gd name="connsiteY525" fmla="*/ 2672096 h 6858000"/>
              <a:gd name="connsiteX526" fmla="*/ 6996344 w 7467600"/>
              <a:gd name="connsiteY526" fmla="*/ 2518310 h 6858000"/>
              <a:gd name="connsiteX527" fmla="*/ 6735495 w 7467600"/>
              <a:gd name="connsiteY527" fmla="*/ 2196890 h 6858000"/>
              <a:gd name="connsiteX528" fmla="*/ 6721901 w 7467600"/>
              <a:gd name="connsiteY528" fmla="*/ 2179274 h 6858000"/>
              <a:gd name="connsiteX529" fmla="*/ 6604735 w 7467600"/>
              <a:gd name="connsiteY529" fmla="*/ 2041381 h 6858000"/>
              <a:gd name="connsiteX530" fmla="*/ 6591670 w 7467600"/>
              <a:gd name="connsiteY530" fmla="*/ 1988277 h 6858000"/>
              <a:gd name="connsiteX531" fmla="*/ 6747349 w 7467600"/>
              <a:gd name="connsiteY531" fmla="*/ 2160069 h 6858000"/>
              <a:gd name="connsiteX532" fmla="*/ 6760943 w 7467600"/>
              <a:gd name="connsiteY532" fmla="*/ 2177686 h 6858000"/>
              <a:gd name="connsiteX533" fmla="*/ 7021065 w 7467600"/>
              <a:gd name="connsiteY533" fmla="*/ 2498102 h 6858000"/>
              <a:gd name="connsiteX534" fmla="*/ 7155223 w 7467600"/>
              <a:gd name="connsiteY534" fmla="*/ 2650386 h 6858000"/>
              <a:gd name="connsiteX535" fmla="*/ 7203167 w 7467600"/>
              <a:gd name="connsiteY535" fmla="*/ 2697288 h 6858000"/>
              <a:gd name="connsiteX536" fmla="*/ 6937703 w 7467600"/>
              <a:gd name="connsiteY536" fmla="*/ 2321981 h 6858000"/>
              <a:gd name="connsiteX537" fmla="*/ 6591670 w 7467600"/>
              <a:gd name="connsiteY537" fmla="*/ 1988277 h 6858000"/>
              <a:gd name="connsiteX538" fmla="*/ 5798671 w 7467600"/>
              <a:gd name="connsiteY538" fmla="*/ 1981601 h 6858000"/>
              <a:gd name="connsiteX539" fmla="*/ 5754709 w 7467600"/>
              <a:gd name="connsiteY539" fmla="*/ 2071454 h 6858000"/>
              <a:gd name="connsiteX540" fmla="*/ 5763044 w 7467600"/>
              <a:gd name="connsiteY540" fmla="*/ 2842206 h 6858000"/>
              <a:gd name="connsiteX541" fmla="*/ 5764974 w 7467600"/>
              <a:gd name="connsiteY541" fmla="*/ 2799609 h 6858000"/>
              <a:gd name="connsiteX542" fmla="*/ 5767665 w 7467600"/>
              <a:gd name="connsiteY542" fmla="*/ 2666409 h 6858000"/>
              <a:gd name="connsiteX543" fmla="*/ 5763055 w 7467600"/>
              <a:gd name="connsiteY543" fmla="*/ 2579705 h 6858000"/>
              <a:gd name="connsiteX544" fmla="*/ 5758079 w 7467600"/>
              <a:gd name="connsiteY544" fmla="*/ 2492508 h 6858000"/>
              <a:gd name="connsiteX545" fmla="*/ 5779325 w 7467600"/>
              <a:gd name="connsiteY545" fmla="*/ 2197069 h 6858000"/>
              <a:gd name="connsiteX546" fmla="*/ 5798671 w 7467600"/>
              <a:gd name="connsiteY546" fmla="*/ 1981601 h 6858000"/>
              <a:gd name="connsiteX547" fmla="*/ 5829202 w 7467600"/>
              <a:gd name="connsiteY547" fmla="*/ 1971679 h 6858000"/>
              <a:gd name="connsiteX548" fmla="*/ 5809558 w 7467600"/>
              <a:gd name="connsiteY548" fmla="*/ 2198043 h 6858000"/>
              <a:gd name="connsiteX549" fmla="*/ 5788653 w 7467600"/>
              <a:gd name="connsiteY549" fmla="*/ 2489430 h 6858000"/>
              <a:gd name="connsiteX550" fmla="*/ 5793439 w 7467600"/>
              <a:gd name="connsiteY550" fmla="*/ 2575235 h 6858000"/>
              <a:gd name="connsiteX551" fmla="*/ 5796837 w 7467600"/>
              <a:gd name="connsiteY551" fmla="*/ 2637633 h 6858000"/>
              <a:gd name="connsiteX552" fmla="*/ 5818614 w 7467600"/>
              <a:gd name="connsiteY552" fmla="*/ 2473055 h 6858000"/>
              <a:gd name="connsiteX553" fmla="*/ 5829202 w 7467600"/>
              <a:gd name="connsiteY553" fmla="*/ 1971679 h 6858000"/>
              <a:gd name="connsiteX554" fmla="*/ 5911389 w 7467600"/>
              <a:gd name="connsiteY554" fmla="*/ 1898371 h 6858000"/>
              <a:gd name="connsiteX555" fmla="*/ 6237627 w 7467600"/>
              <a:gd name="connsiteY555" fmla="*/ 2231921 h 6858000"/>
              <a:gd name="connsiteX556" fmla="*/ 5911389 w 7467600"/>
              <a:gd name="connsiteY556" fmla="*/ 1898371 h 6858000"/>
              <a:gd name="connsiteX557" fmla="*/ 6944437 w 7467600"/>
              <a:gd name="connsiteY557" fmla="*/ 1575402 h 6858000"/>
              <a:gd name="connsiteX558" fmla="*/ 6304730 w 7467600"/>
              <a:gd name="connsiteY558" fmla="*/ 1766654 h 6858000"/>
              <a:gd name="connsiteX559" fmla="*/ 6944437 w 7467600"/>
              <a:gd name="connsiteY559" fmla="*/ 1575402 h 6858000"/>
              <a:gd name="connsiteX560" fmla="*/ 7019523 w 7467600"/>
              <a:gd name="connsiteY560" fmla="*/ 1519450 h 6858000"/>
              <a:gd name="connsiteX561" fmla="*/ 6298091 w 7467600"/>
              <a:gd name="connsiteY561" fmla="*/ 1737122 h 6858000"/>
              <a:gd name="connsiteX562" fmla="*/ 7019523 w 7467600"/>
              <a:gd name="connsiteY562" fmla="*/ 1519450 h 6858000"/>
              <a:gd name="connsiteX563" fmla="*/ 2399523 w 7467600"/>
              <a:gd name="connsiteY563" fmla="*/ 1428234 h 6858000"/>
              <a:gd name="connsiteX564" fmla="*/ 2224982 w 7467600"/>
              <a:gd name="connsiteY564" fmla="*/ 1826201 h 6858000"/>
              <a:gd name="connsiteX565" fmla="*/ 2096099 w 7467600"/>
              <a:gd name="connsiteY565" fmla="*/ 2345900 h 6858000"/>
              <a:gd name="connsiteX566" fmla="*/ 2283317 w 7467600"/>
              <a:gd name="connsiteY566" fmla="*/ 1796925 h 6858000"/>
              <a:gd name="connsiteX567" fmla="*/ 2399523 w 7467600"/>
              <a:gd name="connsiteY567" fmla="*/ 1428234 h 6858000"/>
              <a:gd name="connsiteX568" fmla="*/ 2448558 w 7467600"/>
              <a:gd name="connsiteY568" fmla="*/ 1373435 h 6858000"/>
              <a:gd name="connsiteX569" fmla="*/ 2312521 w 7467600"/>
              <a:gd name="connsiteY569" fmla="*/ 1806140 h 6858000"/>
              <a:gd name="connsiteX570" fmla="*/ 2127533 w 7467600"/>
              <a:gd name="connsiteY570" fmla="*/ 2348380 h 6858000"/>
              <a:gd name="connsiteX571" fmla="*/ 2358080 w 7467600"/>
              <a:gd name="connsiteY571" fmla="*/ 1866134 h 6858000"/>
              <a:gd name="connsiteX572" fmla="*/ 2407436 w 7467600"/>
              <a:gd name="connsiteY572" fmla="*/ 1651070 h 6858000"/>
              <a:gd name="connsiteX573" fmla="*/ 2448558 w 7467600"/>
              <a:gd name="connsiteY573" fmla="*/ 1373435 h 6858000"/>
              <a:gd name="connsiteX574" fmla="*/ 278707 w 7467600"/>
              <a:gd name="connsiteY574" fmla="*/ 1352270 h 6858000"/>
              <a:gd name="connsiteX575" fmla="*/ 321570 w 7467600"/>
              <a:gd name="connsiteY575" fmla="*/ 1861610 h 6858000"/>
              <a:gd name="connsiteX576" fmla="*/ 294281 w 7467600"/>
              <a:gd name="connsiteY576" fmla="*/ 1440658 h 6858000"/>
              <a:gd name="connsiteX577" fmla="*/ 278707 w 7467600"/>
              <a:gd name="connsiteY577" fmla="*/ 1352270 h 6858000"/>
              <a:gd name="connsiteX578" fmla="*/ 1423821 w 7467600"/>
              <a:gd name="connsiteY578" fmla="*/ 1351958 h 6858000"/>
              <a:gd name="connsiteX579" fmla="*/ 1638521 w 7467600"/>
              <a:gd name="connsiteY579" fmla="*/ 1908470 h 6858000"/>
              <a:gd name="connsiteX580" fmla="*/ 1754199 w 7467600"/>
              <a:gd name="connsiteY580" fmla="*/ 2149284 h 6858000"/>
              <a:gd name="connsiteX581" fmla="*/ 1908359 w 7467600"/>
              <a:gd name="connsiteY581" fmla="*/ 2364988 h 6858000"/>
              <a:gd name="connsiteX582" fmla="*/ 1647661 w 7467600"/>
              <a:gd name="connsiteY582" fmla="*/ 1825945 h 6858000"/>
              <a:gd name="connsiteX583" fmla="*/ 1423821 w 7467600"/>
              <a:gd name="connsiteY583" fmla="*/ 1351958 h 6858000"/>
              <a:gd name="connsiteX584" fmla="*/ 1431890 w 7467600"/>
              <a:gd name="connsiteY584" fmla="*/ 1306475 h 6858000"/>
              <a:gd name="connsiteX585" fmla="*/ 1507597 w 7467600"/>
              <a:gd name="connsiteY585" fmla="*/ 1446132 h 6858000"/>
              <a:gd name="connsiteX586" fmla="*/ 1674586 w 7467600"/>
              <a:gd name="connsiteY586" fmla="*/ 1813832 h 6858000"/>
              <a:gd name="connsiteX587" fmla="*/ 1815950 w 7467600"/>
              <a:gd name="connsiteY587" fmla="*/ 2128564 h 6858000"/>
              <a:gd name="connsiteX588" fmla="*/ 1984242 w 7467600"/>
              <a:gd name="connsiteY588" fmla="*/ 2430829 h 6858000"/>
              <a:gd name="connsiteX589" fmla="*/ 2014023 w 7467600"/>
              <a:gd name="connsiteY589" fmla="*/ 2450995 h 6858000"/>
              <a:gd name="connsiteX590" fmla="*/ 1747337 w 7467600"/>
              <a:gd name="connsiteY590" fmla="*/ 1855264 h 6858000"/>
              <a:gd name="connsiteX591" fmla="*/ 1533749 w 7467600"/>
              <a:gd name="connsiteY591" fmla="*/ 1478656 h 6858000"/>
              <a:gd name="connsiteX592" fmla="*/ 1431890 w 7467600"/>
              <a:gd name="connsiteY592" fmla="*/ 1306475 h 6858000"/>
              <a:gd name="connsiteX593" fmla="*/ 5052692 w 7467600"/>
              <a:gd name="connsiteY593" fmla="*/ 1292994 h 6858000"/>
              <a:gd name="connsiteX594" fmla="*/ 5200661 w 7467600"/>
              <a:gd name="connsiteY594" fmla="*/ 1635186 h 6858000"/>
              <a:gd name="connsiteX595" fmla="*/ 5297138 w 7467600"/>
              <a:gd name="connsiteY595" fmla="*/ 1906351 h 6858000"/>
              <a:gd name="connsiteX596" fmla="*/ 5052692 w 7467600"/>
              <a:gd name="connsiteY596" fmla="*/ 1292994 h 6858000"/>
              <a:gd name="connsiteX597" fmla="*/ 5009948 w 7467600"/>
              <a:gd name="connsiteY597" fmla="*/ 1273619 h 6858000"/>
              <a:gd name="connsiteX598" fmla="*/ 5121777 w 7467600"/>
              <a:gd name="connsiteY598" fmla="*/ 1654213 h 6858000"/>
              <a:gd name="connsiteX599" fmla="*/ 5293545 w 7467600"/>
              <a:gd name="connsiteY599" fmla="*/ 2072247 h 6858000"/>
              <a:gd name="connsiteX600" fmla="*/ 5294042 w 7467600"/>
              <a:gd name="connsiteY600" fmla="*/ 2065019 h 6858000"/>
              <a:gd name="connsiteX601" fmla="*/ 5171936 w 7467600"/>
              <a:gd name="connsiteY601" fmla="*/ 1647613 h 6858000"/>
              <a:gd name="connsiteX602" fmla="*/ 5009948 w 7467600"/>
              <a:gd name="connsiteY602" fmla="*/ 1273619 h 6858000"/>
              <a:gd name="connsiteX603" fmla="*/ 655236 w 7467600"/>
              <a:gd name="connsiteY603" fmla="*/ 1268632 h 6858000"/>
              <a:gd name="connsiteX604" fmla="*/ 839521 w 7467600"/>
              <a:gd name="connsiteY604" fmla="*/ 1685315 h 6858000"/>
              <a:gd name="connsiteX605" fmla="*/ 1109416 w 7467600"/>
              <a:gd name="connsiteY605" fmla="*/ 2061663 h 6858000"/>
              <a:gd name="connsiteX606" fmla="*/ 1298300 w 7467600"/>
              <a:gd name="connsiteY606" fmla="*/ 2247742 h 6858000"/>
              <a:gd name="connsiteX607" fmla="*/ 1125871 w 7467600"/>
              <a:gd name="connsiteY607" fmla="*/ 1989513 h 6858000"/>
              <a:gd name="connsiteX608" fmla="*/ 981574 w 7467600"/>
              <a:gd name="connsiteY608" fmla="*/ 1783157 h 6858000"/>
              <a:gd name="connsiteX609" fmla="*/ 922198 w 7467600"/>
              <a:gd name="connsiteY609" fmla="*/ 1677437 h 6858000"/>
              <a:gd name="connsiteX610" fmla="*/ 869293 w 7467600"/>
              <a:gd name="connsiteY610" fmla="*/ 1583214 h 6858000"/>
              <a:gd name="connsiteX611" fmla="*/ 751431 w 7467600"/>
              <a:gd name="connsiteY611" fmla="*/ 1405731 h 6858000"/>
              <a:gd name="connsiteX612" fmla="*/ 655236 w 7467600"/>
              <a:gd name="connsiteY612" fmla="*/ 1268632 h 6858000"/>
              <a:gd name="connsiteX613" fmla="*/ 6516292 w 7467600"/>
              <a:gd name="connsiteY613" fmla="*/ 1263064 h 6858000"/>
              <a:gd name="connsiteX614" fmla="*/ 5736320 w 7467600"/>
              <a:gd name="connsiteY614" fmla="*/ 1501803 h 6858000"/>
              <a:gd name="connsiteX615" fmla="*/ 6516292 w 7467600"/>
              <a:gd name="connsiteY615" fmla="*/ 1263064 h 6858000"/>
              <a:gd name="connsiteX616" fmla="*/ 291466 w 7467600"/>
              <a:gd name="connsiteY616" fmla="*/ 1250369 h 6858000"/>
              <a:gd name="connsiteX617" fmla="*/ 323180 w 7467600"/>
              <a:gd name="connsiteY617" fmla="*/ 1435283 h 6858000"/>
              <a:gd name="connsiteX618" fmla="*/ 349381 w 7467600"/>
              <a:gd name="connsiteY618" fmla="*/ 1875041 h 6858000"/>
              <a:gd name="connsiteX619" fmla="*/ 374363 w 7467600"/>
              <a:gd name="connsiteY619" fmla="*/ 1506494 h 6858000"/>
              <a:gd name="connsiteX620" fmla="*/ 302168 w 7467600"/>
              <a:gd name="connsiteY620" fmla="*/ 1274495 h 6858000"/>
              <a:gd name="connsiteX621" fmla="*/ 291466 w 7467600"/>
              <a:gd name="connsiteY621" fmla="*/ 1250369 h 6858000"/>
              <a:gd name="connsiteX622" fmla="*/ 678222 w 7467600"/>
              <a:gd name="connsiteY622" fmla="*/ 1248670 h 6858000"/>
              <a:gd name="connsiteX623" fmla="*/ 775536 w 7467600"/>
              <a:gd name="connsiteY623" fmla="*/ 1388015 h 6858000"/>
              <a:gd name="connsiteX624" fmla="*/ 894529 w 7467600"/>
              <a:gd name="connsiteY624" fmla="*/ 1567739 h 6858000"/>
              <a:gd name="connsiteX625" fmla="*/ 948000 w 7467600"/>
              <a:gd name="connsiteY625" fmla="*/ 1663088 h 6858000"/>
              <a:gd name="connsiteX626" fmla="*/ 1006812 w 7467600"/>
              <a:gd name="connsiteY626" fmla="*/ 1767683 h 6858000"/>
              <a:gd name="connsiteX627" fmla="*/ 1149133 w 7467600"/>
              <a:gd name="connsiteY627" fmla="*/ 1971513 h 6858000"/>
              <a:gd name="connsiteX628" fmla="*/ 1333952 w 7467600"/>
              <a:gd name="connsiteY628" fmla="*/ 2251620 h 6858000"/>
              <a:gd name="connsiteX629" fmla="*/ 1337329 w 7467600"/>
              <a:gd name="connsiteY629" fmla="*/ 2258350 h 6858000"/>
              <a:gd name="connsiteX630" fmla="*/ 1014726 w 7467600"/>
              <a:gd name="connsiteY630" fmla="*/ 1615556 h 6858000"/>
              <a:gd name="connsiteX631" fmla="*/ 678222 w 7467600"/>
              <a:gd name="connsiteY631" fmla="*/ 1248670 h 6858000"/>
              <a:gd name="connsiteX632" fmla="*/ 6691602 w 7467600"/>
              <a:gd name="connsiteY632" fmla="*/ 1140573 h 6858000"/>
              <a:gd name="connsiteX633" fmla="*/ 6571100 w 7467600"/>
              <a:gd name="connsiteY633" fmla="*/ 1183662 h 6858000"/>
              <a:gd name="connsiteX634" fmla="*/ 6241687 w 7467600"/>
              <a:gd name="connsiteY634" fmla="*/ 1257600 h 6858000"/>
              <a:gd name="connsiteX635" fmla="*/ 5693009 w 7467600"/>
              <a:gd name="connsiteY635" fmla="*/ 1478256 h 6858000"/>
              <a:gd name="connsiteX636" fmla="*/ 6548420 w 7467600"/>
              <a:gd name="connsiteY636" fmla="*/ 1214599 h 6858000"/>
              <a:gd name="connsiteX637" fmla="*/ 6605473 w 7467600"/>
              <a:gd name="connsiteY637" fmla="*/ 1184686 h 6858000"/>
              <a:gd name="connsiteX638" fmla="*/ 6691602 w 7467600"/>
              <a:gd name="connsiteY638" fmla="*/ 1140573 h 6858000"/>
              <a:gd name="connsiteX639" fmla="*/ 4002475 w 7467600"/>
              <a:gd name="connsiteY639" fmla="*/ 1037802 h 6858000"/>
              <a:gd name="connsiteX640" fmla="*/ 4000324 w 7467600"/>
              <a:gd name="connsiteY640" fmla="*/ 1039362 h 6858000"/>
              <a:gd name="connsiteX641" fmla="*/ 4002862 w 7467600"/>
              <a:gd name="connsiteY641" fmla="*/ 1042866 h 6858000"/>
              <a:gd name="connsiteX642" fmla="*/ 4002475 w 7467600"/>
              <a:gd name="connsiteY642" fmla="*/ 1037802 h 6858000"/>
              <a:gd name="connsiteX643" fmla="*/ 506322 w 7467600"/>
              <a:gd name="connsiteY643" fmla="*/ 1020997 h 6858000"/>
              <a:gd name="connsiteX644" fmla="*/ 533068 w 7467600"/>
              <a:gd name="connsiteY644" fmla="*/ 1029409 h 6858000"/>
              <a:gd name="connsiteX645" fmla="*/ 1232525 w 7467600"/>
              <a:gd name="connsiteY645" fmla="*/ 1804675 h 6858000"/>
              <a:gd name="connsiteX646" fmla="*/ 1388858 w 7467600"/>
              <a:gd name="connsiteY646" fmla="*/ 2368011 h 6858000"/>
              <a:gd name="connsiteX647" fmla="*/ 1384098 w 7467600"/>
              <a:gd name="connsiteY647" fmla="*/ 2378125 h 6858000"/>
              <a:gd name="connsiteX648" fmla="*/ 1425393 w 7467600"/>
              <a:gd name="connsiteY648" fmla="*/ 2589124 h 6858000"/>
              <a:gd name="connsiteX649" fmla="*/ 1424001 w 7467600"/>
              <a:gd name="connsiteY649" fmla="*/ 2597541 h 6858000"/>
              <a:gd name="connsiteX650" fmla="*/ 2152729 w 7467600"/>
              <a:gd name="connsiteY650" fmla="*/ 2864487 h 6858000"/>
              <a:gd name="connsiteX651" fmla="*/ 2020609 w 7467600"/>
              <a:gd name="connsiteY651" fmla="*/ 2539671 h 6858000"/>
              <a:gd name="connsiteX652" fmla="*/ 2018920 w 7467600"/>
              <a:gd name="connsiteY652" fmla="*/ 2536309 h 6858000"/>
              <a:gd name="connsiteX653" fmla="*/ 1342441 w 7467600"/>
              <a:gd name="connsiteY653" fmla="*/ 1173017 h 6858000"/>
              <a:gd name="connsiteX654" fmla="*/ 1367925 w 7467600"/>
              <a:gd name="connsiteY654" fmla="*/ 1135648 h 6858000"/>
              <a:gd name="connsiteX655" fmla="*/ 1771401 w 7467600"/>
              <a:gd name="connsiteY655" fmla="*/ 1806673 h 6858000"/>
              <a:gd name="connsiteX656" fmla="*/ 1972385 w 7467600"/>
              <a:gd name="connsiteY656" fmla="*/ 2198735 h 6858000"/>
              <a:gd name="connsiteX657" fmla="*/ 2040892 w 7467600"/>
              <a:gd name="connsiteY657" fmla="*/ 2405205 h 6858000"/>
              <a:gd name="connsiteX658" fmla="*/ 2131689 w 7467600"/>
              <a:gd name="connsiteY658" fmla="*/ 1936926 h 6858000"/>
              <a:gd name="connsiteX659" fmla="*/ 2454820 w 7467600"/>
              <a:gd name="connsiteY659" fmla="*/ 1248808 h 6858000"/>
              <a:gd name="connsiteX660" fmla="*/ 2492512 w 7467600"/>
              <a:gd name="connsiteY660" fmla="*/ 1302920 h 6858000"/>
              <a:gd name="connsiteX661" fmla="*/ 2081216 w 7467600"/>
              <a:gd name="connsiteY661" fmla="*/ 2527513 h 6858000"/>
              <a:gd name="connsiteX662" fmla="*/ 2081211 w 7467600"/>
              <a:gd name="connsiteY662" fmla="*/ 2528916 h 6858000"/>
              <a:gd name="connsiteX663" fmla="*/ 2199067 w 7467600"/>
              <a:gd name="connsiteY663" fmla="*/ 2884061 h 6858000"/>
              <a:gd name="connsiteX664" fmla="*/ 3192586 w 7467600"/>
              <a:gd name="connsiteY664" fmla="*/ 3411496 h 6858000"/>
              <a:gd name="connsiteX665" fmla="*/ 3182620 w 7467600"/>
              <a:gd name="connsiteY665" fmla="*/ 3483279 h 6858000"/>
              <a:gd name="connsiteX666" fmla="*/ 2435119 w 7467600"/>
              <a:gd name="connsiteY666" fmla="*/ 3080173 h 6858000"/>
              <a:gd name="connsiteX667" fmla="*/ 2410152 w 7467600"/>
              <a:gd name="connsiteY667" fmla="*/ 3063751 h 6858000"/>
              <a:gd name="connsiteX668" fmla="*/ 2408099 w 7467600"/>
              <a:gd name="connsiteY668" fmla="*/ 3064403 h 6858000"/>
              <a:gd name="connsiteX669" fmla="*/ 2407218 w 7467600"/>
              <a:gd name="connsiteY669" fmla="*/ 3070324 h 6858000"/>
              <a:gd name="connsiteX670" fmla="*/ 2380138 w 7467600"/>
              <a:gd name="connsiteY670" fmla="*/ 3099341 h 6858000"/>
              <a:gd name="connsiteX671" fmla="*/ 1765923 w 7467600"/>
              <a:gd name="connsiteY671" fmla="*/ 3581043 h 6858000"/>
              <a:gd name="connsiteX672" fmla="*/ 1702258 w 7467600"/>
              <a:gd name="connsiteY672" fmla="*/ 3612286 h 6858000"/>
              <a:gd name="connsiteX673" fmla="*/ 1538370 w 7467600"/>
              <a:gd name="connsiteY673" fmla="*/ 3811804 h 6858000"/>
              <a:gd name="connsiteX674" fmla="*/ 542867 w 7467600"/>
              <a:gd name="connsiteY674" fmla="*/ 4944092 h 6858000"/>
              <a:gd name="connsiteX675" fmla="*/ 515800 w 7467600"/>
              <a:gd name="connsiteY675" fmla="*/ 4862180 h 6858000"/>
              <a:gd name="connsiteX676" fmla="*/ 909145 w 7467600"/>
              <a:gd name="connsiteY676" fmla="*/ 4199225 h 6858000"/>
              <a:gd name="connsiteX677" fmla="*/ 1214067 w 7467600"/>
              <a:gd name="connsiteY677" fmla="*/ 3908561 h 6858000"/>
              <a:gd name="connsiteX678" fmla="*/ 640967 w 7467600"/>
              <a:gd name="connsiteY678" fmla="*/ 4105601 h 6858000"/>
              <a:gd name="connsiteX679" fmla="*/ 112563 w 7467600"/>
              <a:gd name="connsiteY679" fmla="*/ 4396952 h 6858000"/>
              <a:gd name="connsiteX680" fmla="*/ 0 w 7467600"/>
              <a:gd name="connsiteY680" fmla="*/ 4466006 h 6858000"/>
              <a:gd name="connsiteX681" fmla="*/ 0 w 7467600"/>
              <a:gd name="connsiteY681" fmla="*/ 4233763 h 6858000"/>
              <a:gd name="connsiteX682" fmla="*/ 36881 w 7467600"/>
              <a:gd name="connsiteY682" fmla="*/ 4200118 h 6858000"/>
              <a:gd name="connsiteX683" fmla="*/ 910534 w 7467600"/>
              <a:gd name="connsiteY683" fmla="*/ 3629753 h 6858000"/>
              <a:gd name="connsiteX684" fmla="*/ 1578717 w 7467600"/>
              <a:gd name="connsiteY684" fmla="*/ 3575982 h 6858000"/>
              <a:gd name="connsiteX685" fmla="*/ 2338780 w 7467600"/>
              <a:gd name="connsiteY685" fmla="*/ 3033725 h 6858000"/>
              <a:gd name="connsiteX686" fmla="*/ 1807991 w 7467600"/>
              <a:gd name="connsiteY686" fmla="*/ 2807184 h 6858000"/>
              <a:gd name="connsiteX687" fmla="*/ 1416358 w 7467600"/>
              <a:gd name="connsiteY687" fmla="*/ 3112571 h 6858000"/>
              <a:gd name="connsiteX688" fmla="*/ 939066 w 7467600"/>
              <a:gd name="connsiteY688" fmla="*/ 3378798 h 6858000"/>
              <a:gd name="connsiteX689" fmla="*/ 115099 w 7467600"/>
              <a:gd name="connsiteY689" fmla="*/ 3607650 h 6858000"/>
              <a:gd name="connsiteX690" fmla="*/ 97284 w 7467600"/>
              <a:gd name="connsiteY690" fmla="*/ 3520393 h 6858000"/>
              <a:gd name="connsiteX691" fmla="*/ 922050 w 7467600"/>
              <a:gd name="connsiteY691" fmla="*/ 3074867 h 6858000"/>
              <a:gd name="connsiteX692" fmla="*/ 1405265 w 7467600"/>
              <a:gd name="connsiteY692" fmla="*/ 3016319 h 6858000"/>
              <a:gd name="connsiteX693" fmla="*/ 1407512 w 7467600"/>
              <a:gd name="connsiteY693" fmla="*/ 3018001 h 6858000"/>
              <a:gd name="connsiteX694" fmla="*/ 1726266 w 7467600"/>
              <a:gd name="connsiteY694" fmla="*/ 2777274 h 6858000"/>
              <a:gd name="connsiteX695" fmla="*/ 625390 w 7467600"/>
              <a:gd name="connsiteY695" fmla="*/ 2514541 h 6858000"/>
              <a:gd name="connsiteX696" fmla="*/ 619799 w 7467600"/>
              <a:gd name="connsiteY696" fmla="*/ 2527180 h 6858000"/>
              <a:gd name="connsiteX697" fmla="*/ 310030 w 7467600"/>
              <a:gd name="connsiteY697" fmla="*/ 2771818 h 6858000"/>
              <a:gd name="connsiteX698" fmla="*/ 173877 w 7467600"/>
              <a:gd name="connsiteY698" fmla="*/ 2937056 h 6858000"/>
              <a:gd name="connsiteX699" fmla="*/ 77889 w 7467600"/>
              <a:gd name="connsiteY699" fmla="*/ 3138440 h 6858000"/>
              <a:gd name="connsiteX700" fmla="*/ 0 w 7467600"/>
              <a:gd name="connsiteY700" fmla="*/ 3271395 h 6858000"/>
              <a:gd name="connsiteX701" fmla="*/ 0 w 7467600"/>
              <a:gd name="connsiteY701" fmla="*/ 3153002 h 6858000"/>
              <a:gd name="connsiteX702" fmla="*/ 2386 w 7467600"/>
              <a:gd name="connsiteY702" fmla="*/ 3149203 h 6858000"/>
              <a:gd name="connsiteX703" fmla="*/ 89753 w 7467600"/>
              <a:gd name="connsiteY703" fmla="*/ 2987702 h 6858000"/>
              <a:gd name="connsiteX704" fmla="*/ 76869 w 7467600"/>
              <a:gd name="connsiteY704" fmla="*/ 3005404 h 6858000"/>
              <a:gd name="connsiteX705" fmla="*/ 32049 w 7467600"/>
              <a:gd name="connsiteY705" fmla="*/ 3065814 h 6858000"/>
              <a:gd name="connsiteX706" fmla="*/ 0 w 7467600"/>
              <a:gd name="connsiteY706" fmla="*/ 3108744 h 6858000"/>
              <a:gd name="connsiteX707" fmla="*/ 0 w 7467600"/>
              <a:gd name="connsiteY707" fmla="*/ 3058059 h 6858000"/>
              <a:gd name="connsiteX708" fmla="*/ 7610 w 7467600"/>
              <a:gd name="connsiteY708" fmla="*/ 3047889 h 6858000"/>
              <a:gd name="connsiteX709" fmla="*/ 52419 w 7467600"/>
              <a:gd name="connsiteY709" fmla="*/ 2987479 h 6858000"/>
              <a:gd name="connsiteX710" fmla="*/ 59142 w 7467600"/>
              <a:gd name="connsiteY710" fmla="*/ 2978488 h 6858000"/>
              <a:gd name="connsiteX711" fmla="*/ 0 w 7467600"/>
              <a:gd name="connsiteY711" fmla="*/ 3015334 h 6858000"/>
              <a:gd name="connsiteX712" fmla="*/ 0 w 7467600"/>
              <a:gd name="connsiteY712" fmla="*/ 2914286 h 6858000"/>
              <a:gd name="connsiteX713" fmla="*/ 36383 w 7467600"/>
              <a:gd name="connsiteY713" fmla="*/ 2901128 h 6858000"/>
              <a:gd name="connsiteX714" fmla="*/ 156329 w 7467600"/>
              <a:gd name="connsiteY714" fmla="*/ 2840533 h 6858000"/>
              <a:gd name="connsiteX715" fmla="*/ 358355 w 7467600"/>
              <a:gd name="connsiteY715" fmla="*/ 2620471 h 6858000"/>
              <a:gd name="connsiteX716" fmla="*/ 510577 w 7467600"/>
              <a:gd name="connsiteY716" fmla="*/ 2501244 h 6858000"/>
              <a:gd name="connsiteX717" fmla="*/ 211967 w 7467600"/>
              <a:gd name="connsiteY717" fmla="*/ 2479171 h 6858000"/>
              <a:gd name="connsiteX718" fmla="*/ 0 w 7467600"/>
              <a:gd name="connsiteY718" fmla="*/ 2476398 h 6858000"/>
              <a:gd name="connsiteX719" fmla="*/ 0 w 7467600"/>
              <a:gd name="connsiteY719" fmla="*/ 2389189 h 6858000"/>
              <a:gd name="connsiteX720" fmla="*/ 103062 w 7467600"/>
              <a:gd name="connsiteY720" fmla="*/ 2389518 h 6858000"/>
              <a:gd name="connsiteX721" fmla="*/ 510734 w 7467600"/>
              <a:gd name="connsiteY721" fmla="*/ 2416201 h 6858000"/>
              <a:gd name="connsiteX722" fmla="*/ 279257 w 7467600"/>
              <a:gd name="connsiteY722" fmla="*/ 2092102 h 6858000"/>
              <a:gd name="connsiteX723" fmla="*/ 65265 w 7467600"/>
              <a:gd name="connsiteY723" fmla="*/ 2006049 h 6858000"/>
              <a:gd name="connsiteX724" fmla="*/ 0 w 7467600"/>
              <a:gd name="connsiteY724" fmla="*/ 1982532 h 6858000"/>
              <a:gd name="connsiteX725" fmla="*/ 0 w 7467600"/>
              <a:gd name="connsiteY725" fmla="*/ 1912789 h 6858000"/>
              <a:gd name="connsiteX726" fmla="*/ 97460 w 7467600"/>
              <a:gd name="connsiteY726" fmla="*/ 1953725 h 6858000"/>
              <a:gd name="connsiteX727" fmla="*/ 221272 w 7467600"/>
              <a:gd name="connsiteY727" fmla="*/ 1980766 h 6858000"/>
              <a:gd name="connsiteX728" fmla="*/ 116765 w 7467600"/>
              <a:gd name="connsiteY728" fmla="*/ 1911033 h 6858000"/>
              <a:gd name="connsiteX729" fmla="*/ 16405 w 7467600"/>
              <a:gd name="connsiteY729" fmla="*/ 1803412 h 6858000"/>
              <a:gd name="connsiteX730" fmla="*/ 0 w 7467600"/>
              <a:gd name="connsiteY730" fmla="*/ 1784777 h 6858000"/>
              <a:gd name="connsiteX731" fmla="*/ 0 w 7467600"/>
              <a:gd name="connsiteY731" fmla="*/ 1740082 h 6858000"/>
              <a:gd name="connsiteX732" fmla="*/ 39394 w 7467600"/>
              <a:gd name="connsiteY732" fmla="*/ 1784856 h 6858000"/>
              <a:gd name="connsiteX733" fmla="*/ 135813 w 7467600"/>
              <a:gd name="connsiteY733" fmla="*/ 1888838 h 6858000"/>
              <a:gd name="connsiteX734" fmla="*/ 242575 w 7467600"/>
              <a:gd name="connsiteY734" fmla="*/ 1958841 h 6858000"/>
              <a:gd name="connsiteX735" fmla="*/ 82197 w 7467600"/>
              <a:gd name="connsiteY735" fmla="*/ 1754826 h 6858000"/>
              <a:gd name="connsiteX736" fmla="*/ 0 w 7467600"/>
              <a:gd name="connsiteY736" fmla="*/ 1679650 h 6858000"/>
              <a:gd name="connsiteX737" fmla="*/ 0 w 7467600"/>
              <a:gd name="connsiteY737" fmla="*/ 1602463 h 6858000"/>
              <a:gd name="connsiteX738" fmla="*/ 84689 w 7467600"/>
              <a:gd name="connsiteY738" fmla="*/ 1677442 h 6858000"/>
              <a:gd name="connsiteX739" fmla="*/ 298437 w 7467600"/>
              <a:gd name="connsiteY739" fmla="*/ 1968019 h 6858000"/>
              <a:gd name="connsiteX740" fmla="*/ 227269 w 7467600"/>
              <a:gd name="connsiteY740" fmla="*/ 1114064 h 6858000"/>
              <a:gd name="connsiteX741" fmla="*/ 248003 w 7467600"/>
              <a:gd name="connsiteY741" fmla="*/ 1089613 h 6858000"/>
              <a:gd name="connsiteX742" fmla="*/ 427020 w 7467600"/>
              <a:gd name="connsiteY742" fmla="*/ 1619803 h 6858000"/>
              <a:gd name="connsiteX743" fmla="*/ 340345 w 7467600"/>
              <a:gd name="connsiteY743" fmla="*/ 2027739 h 6858000"/>
              <a:gd name="connsiteX744" fmla="*/ 360865 w 7467600"/>
              <a:gd name="connsiteY744" fmla="*/ 2044827 h 6858000"/>
              <a:gd name="connsiteX745" fmla="*/ 560414 w 7467600"/>
              <a:gd name="connsiteY745" fmla="*/ 2421457 h 6858000"/>
              <a:gd name="connsiteX746" fmla="*/ 1359703 w 7467600"/>
              <a:gd name="connsiteY746" fmla="*/ 2578554 h 6858000"/>
              <a:gd name="connsiteX747" fmla="*/ 1359422 w 7467600"/>
              <a:gd name="connsiteY747" fmla="*/ 2577994 h 6858000"/>
              <a:gd name="connsiteX748" fmla="*/ 828701 w 7467600"/>
              <a:gd name="connsiteY748" fmla="*/ 1839520 h 6858000"/>
              <a:gd name="connsiteX749" fmla="*/ 494427 w 7467600"/>
              <a:gd name="connsiteY749" fmla="*/ 1092333 h 6858000"/>
              <a:gd name="connsiteX750" fmla="*/ 506322 w 7467600"/>
              <a:gd name="connsiteY750" fmla="*/ 1020997 h 6858000"/>
              <a:gd name="connsiteX751" fmla="*/ 4570198 w 7467600"/>
              <a:gd name="connsiteY751" fmla="*/ 978081 h 6858000"/>
              <a:gd name="connsiteX752" fmla="*/ 4523691 w 7467600"/>
              <a:gd name="connsiteY752" fmla="*/ 1127776 h 6858000"/>
              <a:gd name="connsiteX753" fmla="*/ 4509875 w 7467600"/>
              <a:gd name="connsiteY753" fmla="*/ 1167552 h 6858000"/>
              <a:gd name="connsiteX754" fmla="*/ 4478168 w 7467600"/>
              <a:gd name="connsiteY754" fmla="*/ 1260735 h 6858000"/>
              <a:gd name="connsiteX755" fmla="*/ 4409309 w 7467600"/>
              <a:gd name="connsiteY755" fmla="*/ 1666996 h 6858000"/>
              <a:gd name="connsiteX756" fmla="*/ 4370031 w 7467600"/>
              <a:gd name="connsiteY756" fmla="*/ 1955666 h 6858000"/>
              <a:gd name="connsiteX757" fmla="*/ 4570198 w 7467600"/>
              <a:gd name="connsiteY757" fmla="*/ 978081 h 6858000"/>
              <a:gd name="connsiteX758" fmla="*/ 4557898 w 7467600"/>
              <a:gd name="connsiteY758" fmla="*/ 900011 h 6858000"/>
              <a:gd name="connsiteX759" fmla="*/ 4344840 w 7467600"/>
              <a:gd name="connsiteY759" fmla="*/ 1922038 h 6858000"/>
              <a:gd name="connsiteX760" fmla="*/ 4378710 w 7467600"/>
              <a:gd name="connsiteY760" fmla="*/ 1665516 h 6858000"/>
              <a:gd name="connsiteX761" fmla="*/ 4448798 w 7467600"/>
              <a:gd name="connsiteY761" fmla="*/ 1253024 h 6858000"/>
              <a:gd name="connsiteX762" fmla="*/ 4480315 w 7467600"/>
              <a:gd name="connsiteY762" fmla="*/ 1158454 h 6858000"/>
              <a:gd name="connsiteX763" fmla="*/ 4494133 w 7467600"/>
              <a:gd name="connsiteY763" fmla="*/ 1118676 h 6858000"/>
              <a:gd name="connsiteX764" fmla="*/ 4557898 w 7467600"/>
              <a:gd name="connsiteY764" fmla="*/ 900011 h 6858000"/>
              <a:gd name="connsiteX765" fmla="*/ 5870151 w 7467600"/>
              <a:gd name="connsiteY765" fmla="*/ 898890 h 6858000"/>
              <a:gd name="connsiteX766" fmla="*/ 5861335 w 7467600"/>
              <a:gd name="connsiteY766" fmla="*/ 899177 h 6858000"/>
              <a:gd name="connsiteX767" fmla="*/ 5843702 w 7467600"/>
              <a:gd name="connsiteY767" fmla="*/ 899748 h 6858000"/>
              <a:gd name="connsiteX768" fmla="*/ 5651107 w 7467600"/>
              <a:gd name="connsiteY768" fmla="*/ 920306 h 6858000"/>
              <a:gd name="connsiteX769" fmla="*/ 5459407 w 7467600"/>
              <a:gd name="connsiteY769" fmla="*/ 940975 h 6858000"/>
              <a:gd name="connsiteX770" fmla="*/ 5374846 w 7467600"/>
              <a:gd name="connsiteY770" fmla="*/ 941988 h 6858000"/>
              <a:gd name="connsiteX771" fmla="*/ 5256105 w 7467600"/>
              <a:gd name="connsiteY771" fmla="*/ 945632 h 6858000"/>
              <a:gd name="connsiteX772" fmla="*/ 5107071 w 7467600"/>
              <a:gd name="connsiteY772" fmla="*/ 969720 h 6858000"/>
              <a:gd name="connsiteX773" fmla="*/ 4998681 w 7467600"/>
              <a:gd name="connsiteY773" fmla="*/ 988771 h 6858000"/>
              <a:gd name="connsiteX774" fmla="*/ 5870151 w 7467600"/>
              <a:gd name="connsiteY774" fmla="*/ 898890 h 6858000"/>
              <a:gd name="connsiteX775" fmla="*/ 5504425 w 7467600"/>
              <a:gd name="connsiteY775" fmla="*/ 848067 h 6858000"/>
              <a:gd name="connsiteX776" fmla="*/ 4968849 w 7467600"/>
              <a:gd name="connsiteY776" fmla="*/ 962318 h 6858000"/>
              <a:gd name="connsiteX777" fmla="*/ 5104039 w 7467600"/>
              <a:gd name="connsiteY777" fmla="*/ 940634 h 6858000"/>
              <a:gd name="connsiteX778" fmla="*/ 5256311 w 7467600"/>
              <a:gd name="connsiteY778" fmla="*/ 916490 h 6858000"/>
              <a:gd name="connsiteX779" fmla="*/ 5377381 w 7467600"/>
              <a:gd name="connsiteY779" fmla="*/ 912671 h 6858000"/>
              <a:gd name="connsiteX780" fmla="*/ 5460148 w 7467600"/>
              <a:gd name="connsiteY780" fmla="*/ 911442 h 6858000"/>
              <a:gd name="connsiteX781" fmla="*/ 5648971 w 7467600"/>
              <a:gd name="connsiteY781" fmla="*/ 891331 h 6858000"/>
              <a:gd name="connsiteX782" fmla="*/ 5844807 w 7467600"/>
              <a:gd name="connsiteY782" fmla="*/ 870718 h 6858000"/>
              <a:gd name="connsiteX783" fmla="*/ 5862975 w 7467600"/>
              <a:gd name="connsiteY783" fmla="*/ 869756 h 6858000"/>
              <a:gd name="connsiteX784" fmla="*/ 5920887 w 7467600"/>
              <a:gd name="connsiteY784" fmla="*/ 865929 h 6858000"/>
              <a:gd name="connsiteX785" fmla="*/ 5504425 w 7467600"/>
              <a:gd name="connsiteY785" fmla="*/ 848067 h 6858000"/>
              <a:gd name="connsiteX786" fmla="*/ 3607114 w 7467600"/>
              <a:gd name="connsiteY786" fmla="*/ 467441 h 6858000"/>
              <a:gd name="connsiteX787" fmla="*/ 3296242 w 7467600"/>
              <a:gd name="connsiteY787" fmla="*/ 807991 h 6858000"/>
              <a:gd name="connsiteX788" fmla="*/ 3174674 w 7467600"/>
              <a:gd name="connsiteY788" fmla="*/ 919759 h 6858000"/>
              <a:gd name="connsiteX789" fmla="*/ 3042978 w 7467600"/>
              <a:gd name="connsiteY789" fmla="*/ 1054894 h 6858000"/>
              <a:gd name="connsiteX790" fmla="*/ 2968914 w 7467600"/>
              <a:gd name="connsiteY790" fmla="*/ 1133756 h 6858000"/>
              <a:gd name="connsiteX791" fmla="*/ 3103823 w 7467600"/>
              <a:gd name="connsiteY791" fmla="*/ 1026814 h 6858000"/>
              <a:gd name="connsiteX792" fmla="*/ 3607114 w 7467600"/>
              <a:gd name="connsiteY792" fmla="*/ 467441 h 6858000"/>
              <a:gd name="connsiteX793" fmla="*/ 3744487 w 7467600"/>
              <a:gd name="connsiteY793" fmla="*/ 383136 h 6858000"/>
              <a:gd name="connsiteX794" fmla="*/ 3970213 w 7467600"/>
              <a:gd name="connsiteY794" fmla="*/ 995559 h 6858000"/>
              <a:gd name="connsiteX795" fmla="*/ 3744487 w 7467600"/>
              <a:gd name="connsiteY795" fmla="*/ 383136 h 6858000"/>
              <a:gd name="connsiteX796" fmla="*/ 3624562 w 7467600"/>
              <a:gd name="connsiteY796" fmla="*/ 367041 h 6858000"/>
              <a:gd name="connsiteX797" fmla="*/ 3489712 w 7467600"/>
              <a:gd name="connsiteY797" fmla="*/ 485386 h 6858000"/>
              <a:gd name="connsiteX798" fmla="*/ 3182994 w 7467600"/>
              <a:gd name="connsiteY798" fmla="*/ 828265 h 6858000"/>
              <a:gd name="connsiteX799" fmla="*/ 2892114 w 7467600"/>
              <a:gd name="connsiteY799" fmla="*/ 1172635 h 6858000"/>
              <a:gd name="connsiteX800" fmla="*/ 3021459 w 7467600"/>
              <a:gd name="connsiteY800" fmla="*/ 1035385 h 6858000"/>
              <a:gd name="connsiteX801" fmla="*/ 3153873 w 7467600"/>
              <a:gd name="connsiteY801" fmla="*/ 898971 h 6858000"/>
              <a:gd name="connsiteX802" fmla="*/ 3276511 w 7467600"/>
              <a:gd name="connsiteY802" fmla="*/ 786423 h 6858000"/>
              <a:gd name="connsiteX803" fmla="*/ 3584154 w 7467600"/>
              <a:gd name="connsiteY803" fmla="*/ 448218 h 6858000"/>
              <a:gd name="connsiteX804" fmla="*/ 3624562 w 7467600"/>
              <a:gd name="connsiteY804" fmla="*/ 367041 h 6858000"/>
              <a:gd name="connsiteX805" fmla="*/ 3766672 w 7467600"/>
              <a:gd name="connsiteY805" fmla="*/ 359429 h 6858000"/>
              <a:gd name="connsiteX806" fmla="*/ 3996338 w 7467600"/>
              <a:gd name="connsiteY806" fmla="*/ 968237 h 6858000"/>
              <a:gd name="connsiteX807" fmla="*/ 3766672 w 7467600"/>
              <a:gd name="connsiteY807" fmla="*/ 359429 h 6858000"/>
              <a:gd name="connsiteX808" fmla="*/ 5805386 w 7467600"/>
              <a:gd name="connsiteY808" fmla="*/ 239240 h 6858000"/>
              <a:gd name="connsiteX809" fmla="*/ 5736947 w 7467600"/>
              <a:gd name="connsiteY809" fmla="*/ 261367 h 6858000"/>
              <a:gd name="connsiteX810" fmla="*/ 5427012 w 7467600"/>
              <a:gd name="connsiteY810" fmla="*/ 311272 h 6858000"/>
              <a:gd name="connsiteX811" fmla="*/ 5147818 w 7467600"/>
              <a:gd name="connsiteY811" fmla="*/ 322112 h 6858000"/>
              <a:gd name="connsiteX812" fmla="*/ 5060854 w 7467600"/>
              <a:gd name="connsiteY812" fmla="*/ 311882 h 6858000"/>
              <a:gd name="connsiteX813" fmla="*/ 4945989 w 7467600"/>
              <a:gd name="connsiteY813" fmla="*/ 300516 h 6858000"/>
              <a:gd name="connsiteX814" fmla="*/ 5410479 w 7467600"/>
              <a:gd name="connsiteY814" fmla="*/ 348434 h 6858000"/>
              <a:gd name="connsiteX815" fmla="*/ 5805386 w 7467600"/>
              <a:gd name="connsiteY815" fmla="*/ 239240 h 6858000"/>
              <a:gd name="connsiteX816" fmla="*/ 5905192 w 7467600"/>
              <a:gd name="connsiteY816" fmla="*/ 163079 h 6858000"/>
              <a:gd name="connsiteX817" fmla="*/ 5865655 w 7467600"/>
              <a:gd name="connsiteY817" fmla="*/ 171901 h 6858000"/>
              <a:gd name="connsiteX818" fmla="*/ 5259740 w 7467600"/>
              <a:gd name="connsiteY818" fmla="*/ 257013 h 6858000"/>
              <a:gd name="connsiteX819" fmla="*/ 5208466 w 7467600"/>
              <a:gd name="connsiteY819" fmla="*/ 257550 h 6858000"/>
              <a:gd name="connsiteX820" fmla="*/ 4980204 w 7467600"/>
              <a:gd name="connsiteY820" fmla="*/ 271903 h 6858000"/>
              <a:gd name="connsiteX821" fmla="*/ 5068068 w 7467600"/>
              <a:gd name="connsiteY821" fmla="*/ 282244 h 6858000"/>
              <a:gd name="connsiteX822" fmla="*/ 5153231 w 7467600"/>
              <a:gd name="connsiteY822" fmla="*/ 292240 h 6858000"/>
              <a:gd name="connsiteX823" fmla="*/ 5426491 w 7467600"/>
              <a:gd name="connsiteY823" fmla="*/ 281128 h 6858000"/>
              <a:gd name="connsiteX824" fmla="*/ 5731212 w 7467600"/>
              <a:gd name="connsiteY824" fmla="*/ 231951 h 6858000"/>
              <a:gd name="connsiteX825" fmla="*/ 5905192 w 7467600"/>
              <a:gd name="connsiteY825" fmla="*/ 163079 h 6858000"/>
              <a:gd name="connsiteX826" fmla="*/ 5944437 w 7467600"/>
              <a:gd name="connsiteY826" fmla="*/ 113829 h 6858000"/>
              <a:gd name="connsiteX827" fmla="*/ 5825032 w 7467600"/>
              <a:gd name="connsiteY827" fmla="*/ 146405 h 6858000"/>
              <a:gd name="connsiteX828" fmla="*/ 4955599 w 7467600"/>
              <a:gd name="connsiteY828" fmla="*/ 247008 h 6858000"/>
              <a:gd name="connsiteX829" fmla="*/ 5210104 w 7467600"/>
              <a:gd name="connsiteY829" fmla="*/ 228123 h 6858000"/>
              <a:gd name="connsiteX830" fmla="*/ 5261015 w 7467600"/>
              <a:gd name="connsiteY830" fmla="*/ 227087 h 6858000"/>
              <a:gd name="connsiteX831" fmla="*/ 5861181 w 7467600"/>
              <a:gd name="connsiteY831" fmla="*/ 143093 h 6858000"/>
              <a:gd name="connsiteX832" fmla="*/ 5961252 w 7467600"/>
              <a:gd name="connsiteY832" fmla="*/ 114820 h 6858000"/>
              <a:gd name="connsiteX833" fmla="*/ 5944437 w 7467600"/>
              <a:gd name="connsiteY833" fmla="*/ 113829 h 6858000"/>
              <a:gd name="connsiteX834" fmla="*/ 3882765 w 7467600"/>
              <a:gd name="connsiteY834" fmla="*/ 0 h 6858000"/>
              <a:gd name="connsiteX835" fmla="*/ 3995099 w 7467600"/>
              <a:gd name="connsiteY835" fmla="*/ 0 h 6858000"/>
              <a:gd name="connsiteX836" fmla="*/ 4163818 w 7467600"/>
              <a:gd name="connsiteY836" fmla="*/ 234104 h 6858000"/>
              <a:gd name="connsiteX837" fmla="*/ 4172099 w 7467600"/>
              <a:gd name="connsiteY837" fmla="*/ 234207 h 6858000"/>
              <a:gd name="connsiteX838" fmla="*/ 4784282 w 7467600"/>
              <a:gd name="connsiteY838" fmla="*/ 276561 h 6858000"/>
              <a:gd name="connsiteX839" fmla="*/ 4801687 w 7467600"/>
              <a:gd name="connsiteY839" fmla="*/ 267764 h 6858000"/>
              <a:gd name="connsiteX840" fmla="*/ 6082788 w 7467600"/>
              <a:gd name="connsiteY840" fmla="*/ 64119 h 6858000"/>
              <a:gd name="connsiteX841" fmla="*/ 6099442 w 7467600"/>
              <a:gd name="connsiteY841" fmla="*/ 82568 h 6858000"/>
              <a:gd name="connsiteX842" fmla="*/ 4804137 w 7467600"/>
              <a:gd name="connsiteY842" fmla="*/ 320931 h 6858000"/>
              <a:gd name="connsiteX843" fmla="*/ 4227047 w 7467600"/>
              <a:gd name="connsiteY843" fmla="*/ 313415 h 6858000"/>
              <a:gd name="connsiteX844" fmla="*/ 4346041 w 7467600"/>
              <a:gd name="connsiteY844" fmla="*/ 456086 h 6858000"/>
              <a:gd name="connsiteX845" fmla="*/ 4870967 w 7467600"/>
              <a:gd name="connsiteY845" fmla="*/ 963061 h 6858000"/>
              <a:gd name="connsiteX846" fmla="*/ 4889647 w 7467600"/>
              <a:gd name="connsiteY846" fmla="*/ 957147 h 6858000"/>
              <a:gd name="connsiteX847" fmla="*/ 5422504 w 7467600"/>
              <a:gd name="connsiteY847" fmla="*/ 805191 h 6858000"/>
              <a:gd name="connsiteX848" fmla="*/ 6087656 w 7467600"/>
              <a:gd name="connsiteY848" fmla="*/ 826703 h 6858000"/>
              <a:gd name="connsiteX849" fmla="*/ 6058717 w 7467600"/>
              <a:gd name="connsiteY849" fmla="*/ 865992 h 6858000"/>
              <a:gd name="connsiteX850" fmla="*/ 4974153 w 7467600"/>
              <a:gd name="connsiteY850" fmla="*/ 1045456 h 6858000"/>
              <a:gd name="connsiteX851" fmla="*/ 5627835 w 7467600"/>
              <a:gd name="connsiteY851" fmla="*/ 1472077 h 6858000"/>
              <a:gd name="connsiteX852" fmla="*/ 5629817 w 7467600"/>
              <a:gd name="connsiteY852" fmla="*/ 1471412 h 6858000"/>
              <a:gd name="connsiteX853" fmla="*/ 5634124 w 7467600"/>
              <a:gd name="connsiteY853" fmla="*/ 1470572 h 6858000"/>
              <a:gd name="connsiteX854" fmla="*/ 5755832 w 7467600"/>
              <a:gd name="connsiteY854" fmla="*/ 1383886 h 6858000"/>
              <a:gd name="connsiteX855" fmla="*/ 6014186 w 7467600"/>
              <a:gd name="connsiteY855" fmla="*/ 1279799 h 6858000"/>
              <a:gd name="connsiteX856" fmla="*/ 6901619 w 7467600"/>
              <a:gd name="connsiteY856" fmla="*/ 1047874 h 6858000"/>
              <a:gd name="connsiteX857" fmla="*/ 6931566 w 7467600"/>
              <a:gd name="connsiteY857" fmla="*/ 1062034 h 6858000"/>
              <a:gd name="connsiteX858" fmla="*/ 5790982 w 7467600"/>
              <a:gd name="connsiteY858" fmla="*/ 1561380 h 6858000"/>
              <a:gd name="connsiteX859" fmla="*/ 6188971 w 7467600"/>
              <a:gd name="connsiteY859" fmla="*/ 1755168 h 6858000"/>
              <a:gd name="connsiteX860" fmla="*/ 6202446 w 7467600"/>
              <a:gd name="connsiteY860" fmla="*/ 1752268 h 6858000"/>
              <a:gd name="connsiteX861" fmla="*/ 7179560 w 7467600"/>
              <a:gd name="connsiteY861" fmla="*/ 1467551 h 6858000"/>
              <a:gd name="connsiteX862" fmla="*/ 7158730 w 7467600"/>
              <a:gd name="connsiteY862" fmla="*/ 1507835 h 6858000"/>
              <a:gd name="connsiteX863" fmla="*/ 6326959 w 7467600"/>
              <a:gd name="connsiteY863" fmla="*/ 1817686 h 6858000"/>
              <a:gd name="connsiteX864" fmla="*/ 6537433 w 7467600"/>
              <a:gd name="connsiteY864" fmla="*/ 1907790 h 6858000"/>
              <a:gd name="connsiteX865" fmla="*/ 6550221 w 7467600"/>
              <a:gd name="connsiteY865" fmla="*/ 1910729 h 6858000"/>
              <a:gd name="connsiteX866" fmla="*/ 6964438 w 7467600"/>
              <a:gd name="connsiteY866" fmla="*/ 2209505 h 6858000"/>
              <a:gd name="connsiteX867" fmla="*/ 7367862 w 7467600"/>
              <a:gd name="connsiteY867" fmla="*/ 2806833 h 6858000"/>
              <a:gd name="connsiteX868" fmla="*/ 7364329 w 7467600"/>
              <a:gd name="connsiteY868" fmla="*/ 2826907 h 6858000"/>
              <a:gd name="connsiteX869" fmla="*/ 7290545 w 7467600"/>
              <a:gd name="connsiteY869" fmla="*/ 2850663 h 6858000"/>
              <a:gd name="connsiteX870" fmla="*/ 6472036 w 7467600"/>
              <a:gd name="connsiteY870" fmla="*/ 1959003 h 6858000"/>
              <a:gd name="connsiteX871" fmla="*/ 5792897 w 7467600"/>
              <a:gd name="connsiteY871" fmla="*/ 1647747 h 6858000"/>
              <a:gd name="connsiteX872" fmla="*/ 5842751 w 7467600"/>
              <a:gd name="connsiteY872" fmla="*/ 1816112 h 6858000"/>
              <a:gd name="connsiteX873" fmla="*/ 5847424 w 7467600"/>
              <a:gd name="connsiteY873" fmla="*/ 1815776 h 6858000"/>
              <a:gd name="connsiteX874" fmla="*/ 6399821 w 7467600"/>
              <a:gd name="connsiteY874" fmla="*/ 2344799 h 6858000"/>
              <a:gd name="connsiteX875" fmla="*/ 6323232 w 7467600"/>
              <a:gd name="connsiteY875" fmla="*/ 2389634 h 6858000"/>
              <a:gd name="connsiteX876" fmla="*/ 5942958 w 7467600"/>
              <a:gd name="connsiteY876" fmla="*/ 2077708 h 6858000"/>
              <a:gd name="connsiteX877" fmla="*/ 5921559 w 7467600"/>
              <a:gd name="connsiteY877" fmla="*/ 2378596 h 6858000"/>
              <a:gd name="connsiteX878" fmla="*/ 5817651 w 7467600"/>
              <a:gd name="connsiteY878" fmla="*/ 3023919 h 6858000"/>
              <a:gd name="connsiteX879" fmla="*/ 5729634 w 7467600"/>
              <a:gd name="connsiteY879" fmla="*/ 3051849 h 6858000"/>
              <a:gd name="connsiteX880" fmla="*/ 5611018 w 7467600"/>
              <a:gd name="connsiteY880" fmla="*/ 2316769 h 6858000"/>
              <a:gd name="connsiteX881" fmla="*/ 5687608 w 7467600"/>
              <a:gd name="connsiteY881" fmla="*/ 2039972 h 6858000"/>
              <a:gd name="connsiteX882" fmla="*/ 5657554 w 7467600"/>
              <a:gd name="connsiteY882" fmla="*/ 1576445 h 6858000"/>
              <a:gd name="connsiteX883" fmla="*/ 5150475 w 7467600"/>
              <a:gd name="connsiteY883" fmla="*/ 1274012 h 6858000"/>
              <a:gd name="connsiteX884" fmla="*/ 5349142 w 7467600"/>
              <a:gd name="connsiteY884" fmla="*/ 2204405 h 6858000"/>
              <a:gd name="connsiteX885" fmla="*/ 5262214 w 7467600"/>
              <a:gd name="connsiteY885" fmla="*/ 2233836 h 6858000"/>
              <a:gd name="connsiteX886" fmla="*/ 4981539 w 7467600"/>
              <a:gd name="connsiteY886" fmla="*/ 1542201 h 6858000"/>
              <a:gd name="connsiteX887" fmla="*/ 4958461 w 7467600"/>
              <a:gd name="connsiteY887" fmla="*/ 1136957 h 6858000"/>
              <a:gd name="connsiteX888" fmla="*/ 4655015 w 7467600"/>
              <a:gd name="connsiteY888" fmla="*/ 891426 h 6858000"/>
              <a:gd name="connsiteX889" fmla="*/ 4348002 w 7467600"/>
              <a:gd name="connsiteY889" fmla="*/ 2205895 h 6858000"/>
              <a:gd name="connsiteX890" fmla="*/ 4262250 w 7467600"/>
              <a:gd name="connsiteY890" fmla="*/ 2219972 h 6858000"/>
              <a:gd name="connsiteX891" fmla="*/ 4550611 w 7467600"/>
              <a:gd name="connsiteY891" fmla="*/ 817540 h 6858000"/>
              <a:gd name="connsiteX892" fmla="*/ 4564418 w 7467600"/>
              <a:gd name="connsiteY892" fmla="*/ 808293 h 6858000"/>
              <a:gd name="connsiteX893" fmla="*/ 4266388 w 7467600"/>
              <a:gd name="connsiteY893" fmla="*/ 500083 h 6858000"/>
              <a:gd name="connsiteX894" fmla="*/ 4032842 w 7467600"/>
              <a:gd name="connsiteY894" fmla="*/ 211809 h 6858000"/>
              <a:gd name="connsiteX895" fmla="*/ 3882765 w 7467600"/>
              <a:gd name="connsiteY895" fmla="*/ 0 h 6858000"/>
              <a:gd name="connsiteX896" fmla="*/ 3721337 w 7467600"/>
              <a:gd name="connsiteY896" fmla="*/ 0 h 6858000"/>
              <a:gd name="connsiteX897" fmla="*/ 3797544 w 7467600"/>
              <a:gd name="connsiteY897" fmla="*/ 0 h 6858000"/>
              <a:gd name="connsiteX898" fmla="*/ 3775734 w 7467600"/>
              <a:gd name="connsiteY898" fmla="*/ 95131 h 6858000"/>
              <a:gd name="connsiteX899" fmla="*/ 3724807 w 7467600"/>
              <a:gd name="connsiteY899" fmla="*/ 272257 h 6858000"/>
              <a:gd name="connsiteX900" fmla="*/ 3726844 w 7467600"/>
              <a:gd name="connsiteY900" fmla="*/ 282988 h 6858000"/>
              <a:gd name="connsiteX901" fmla="*/ 3742664 w 7467600"/>
              <a:gd name="connsiteY901" fmla="*/ 279918 h 6858000"/>
              <a:gd name="connsiteX902" fmla="*/ 4103910 w 7467600"/>
              <a:gd name="connsiteY902" fmla="*/ 1161917 h 6858000"/>
              <a:gd name="connsiteX903" fmla="*/ 4020269 w 7467600"/>
              <a:gd name="connsiteY903" fmla="*/ 1200406 h 6858000"/>
              <a:gd name="connsiteX904" fmla="*/ 3674882 w 7467600"/>
              <a:gd name="connsiteY904" fmla="*/ 488524 h 6858000"/>
              <a:gd name="connsiteX905" fmla="*/ 3132682 w 7467600"/>
              <a:gd name="connsiteY905" fmla="*/ 1072284 h 6858000"/>
              <a:gd name="connsiteX906" fmla="*/ 2716346 w 7467600"/>
              <a:gd name="connsiteY906" fmla="*/ 1276376 h 6858000"/>
              <a:gd name="connsiteX907" fmla="*/ 2716772 w 7467600"/>
              <a:gd name="connsiteY907" fmla="*/ 1255462 h 6858000"/>
              <a:gd name="connsiteX908" fmla="*/ 3471096 w 7467600"/>
              <a:gd name="connsiteY908" fmla="*/ 437072 h 6858000"/>
              <a:gd name="connsiteX909" fmla="*/ 3639057 w 7467600"/>
              <a:gd name="connsiteY909" fmla="*/ 286334 h 6858000"/>
              <a:gd name="connsiteX910" fmla="*/ 3640309 w 7467600"/>
              <a:gd name="connsiteY910" fmla="*/ 284664 h 6858000"/>
              <a:gd name="connsiteX911" fmla="*/ 3646022 w 7467600"/>
              <a:gd name="connsiteY911" fmla="*/ 276711 h 6858000"/>
              <a:gd name="connsiteX912" fmla="*/ 3707943 w 7467600"/>
              <a:gd name="connsiteY912" fmla="*/ 65958 h 6858000"/>
              <a:gd name="connsiteX913" fmla="*/ 3721337 w 7467600"/>
              <a:gd name="connsiteY913" fmla="*/ 0 h 6858000"/>
              <a:gd name="connsiteX914" fmla="*/ 2867960 w 7467600"/>
              <a:gd name="connsiteY914" fmla="*/ 0 h 6858000"/>
              <a:gd name="connsiteX915" fmla="*/ 2926351 w 7467600"/>
              <a:gd name="connsiteY915" fmla="*/ 0 h 6858000"/>
              <a:gd name="connsiteX916" fmla="*/ 2902823 w 7467600"/>
              <a:gd name="connsiteY916" fmla="*/ 262929 h 6858000"/>
              <a:gd name="connsiteX917" fmla="*/ 2940663 w 7467600"/>
              <a:gd name="connsiteY917" fmla="*/ 140884 h 6858000"/>
              <a:gd name="connsiteX918" fmla="*/ 2947039 w 7467600"/>
              <a:gd name="connsiteY918" fmla="*/ 122524 h 6858000"/>
              <a:gd name="connsiteX919" fmla="*/ 2984316 w 7467600"/>
              <a:gd name="connsiteY919" fmla="*/ 0 h 6858000"/>
              <a:gd name="connsiteX920" fmla="*/ 3016114 w 7467600"/>
              <a:gd name="connsiteY920" fmla="*/ 0 h 6858000"/>
              <a:gd name="connsiteX921" fmla="*/ 2979949 w 7467600"/>
              <a:gd name="connsiteY921" fmla="*/ 119274 h 6858000"/>
              <a:gd name="connsiteX922" fmla="*/ 3023879 w 7467600"/>
              <a:gd name="connsiteY922" fmla="*/ 0 h 6858000"/>
              <a:gd name="connsiteX923" fmla="*/ 3105400 w 7467600"/>
              <a:gd name="connsiteY923" fmla="*/ 0 h 6858000"/>
              <a:gd name="connsiteX924" fmla="*/ 3094669 w 7467600"/>
              <a:gd name="connsiteY924" fmla="*/ 30308 h 6858000"/>
              <a:gd name="connsiteX925" fmla="*/ 2901945 w 7467600"/>
              <a:gd name="connsiteY925" fmla="*/ 466538 h 6858000"/>
              <a:gd name="connsiteX926" fmla="*/ 2815209 w 7467600"/>
              <a:gd name="connsiteY926" fmla="*/ 497361 h 6858000"/>
              <a:gd name="connsiteX927" fmla="*/ 2844845 w 7467600"/>
              <a:gd name="connsiteY927" fmla="*/ 127638 h 6858000"/>
              <a:gd name="connsiteX928" fmla="*/ 2867960 w 7467600"/>
              <a:gd name="connsiteY928" fmla="*/ 0 h 6858000"/>
              <a:gd name="connsiteX929" fmla="*/ 1057230 w 7467600"/>
              <a:gd name="connsiteY929" fmla="*/ 0 h 6858000"/>
              <a:gd name="connsiteX930" fmla="*/ 1111003 w 7467600"/>
              <a:gd name="connsiteY930" fmla="*/ 0 h 6858000"/>
              <a:gd name="connsiteX931" fmla="*/ 1125553 w 7467600"/>
              <a:gd name="connsiteY931" fmla="*/ 52588 h 6858000"/>
              <a:gd name="connsiteX932" fmla="*/ 1304276 w 7467600"/>
              <a:gd name="connsiteY932" fmla="*/ 476275 h 6858000"/>
              <a:gd name="connsiteX933" fmla="*/ 1492066 w 7467600"/>
              <a:gd name="connsiteY933" fmla="*/ 886333 h 6858000"/>
              <a:gd name="connsiteX934" fmla="*/ 1423698 w 7467600"/>
              <a:gd name="connsiteY934" fmla="*/ 710817 h 6858000"/>
              <a:gd name="connsiteX935" fmla="*/ 1357609 w 7467600"/>
              <a:gd name="connsiteY935" fmla="*/ 532892 h 6858000"/>
              <a:gd name="connsiteX936" fmla="*/ 1309550 w 7467600"/>
              <a:gd name="connsiteY936" fmla="*/ 374031 h 6858000"/>
              <a:gd name="connsiteX937" fmla="*/ 1193673 w 7467600"/>
              <a:gd name="connsiteY937" fmla="*/ 49533 h 6858000"/>
              <a:gd name="connsiteX938" fmla="*/ 1164391 w 7467600"/>
              <a:gd name="connsiteY938" fmla="*/ 0 h 6858000"/>
              <a:gd name="connsiteX939" fmla="*/ 1200666 w 7467600"/>
              <a:gd name="connsiteY939" fmla="*/ 0 h 6858000"/>
              <a:gd name="connsiteX940" fmla="*/ 1223408 w 7467600"/>
              <a:gd name="connsiteY940" fmla="*/ 38996 h 6858000"/>
              <a:gd name="connsiteX941" fmla="*/ 1339635 w 7467600"/>
              <a:gd name="connsiteY941" fmla="*/ 365517 h 6858000"/>
              <a:gd name="connsiteX942" fmla="*/ 1387469 w 7467600"/>
              <a:gd name="connsiteY942" fmla="*/ 523079 h 6858000"/>
              <a:gd name="connsiteX943" fmla="*/ 1452685 w 7467600"/>
              <a:gd name="connsiteY943" fmla="*/ 699806 h 6858000"/>
              <a:gd name="connsiteX944" fmla="*/ 1492092 w 7467600"/>
              <a:gd name="connsiteY944" fmla="*/ 800424 h 6858000"/>
              <a:gd name="connsiteX945" fmla="*/ 1455302 w 7467600"/>
              <a:gd name="connsiteY945" fmla="*/ 632913 h 6858000"/>
              <a:gd name="connsiteX946" fmla="*/ 1222336 w 7467600"/>
              <a:gd name="connsiteY946" fmla="*/ 9480 h 6858000"/>
              <a:gd name="connsiteX947" fmla="*/ 1214634 w 7467600"/>
              <a:gd name="connsiteY947" fmla="*/ 0 h 6858000"/>
              <a:gd name="connsiteX948" fmla="*/ 1289827 w 7467600"/>
              <a:gd name="connsiteY948" fmla="*/ 0 h 6858000"/>
              <a:gd name="connsiteX949" fmla="*/ 1321076 w 7467600"/>
              <a:gd name="connsiteY949" fmla="*/ 59722 h 6858000"/>
              <a:gd name="connsiteX950" fmla="*/ 1512579 w 7467600"/>
              <a:gd name="connsiteY950" fmla="*/ 626441 h 6858000"/>
              <a:gd name="connsiteX951" fmla="*/ 1506076 w 7467600"/>
              <a:gd name="connsiteY951" fmla="*/ 1089289 h 6858000"/>
              <a:gd name="connsiteX952" fmla="*/ 1486346 w 7467600"/>
              <a:gd name="connsiteY952" fmla="*/ 1079919 h 6858000"/>
              <a:gd name="connsiteX953" fmla="*/ 1070511 w 7467600"/>
              <a:gd name="connsiteY953" fmla="*/ 48609 h 6858000"/>
              <a:gd name="connsiteX954" fmla="*/ 1057230 w 7467600"/>
              <a:gd name="connsiteY954" fmla="*/ 0 h 6858000"/>
              <a:gd name="connsiteX955" fmla="*/ 43151 w 7467600"/>
              <a:gd name="connsiteY955" fmla="*/ 0 h 6858000"/>
              <a:gd name="connsiteX956" fmla="*/ 95283 w 7467600"/>
              <a:gd name="connsiteY956" fmla="*/ 0 h 6858000"/>
              <a:gd name="connsiteX957" fmla="*/ 300708 w 7467600"/>
              <a:gd name="connsiteY957" fmla="*/ 154571 h 6858000"/>
              <a:gd name="connsiteX958" fmla="*/ 530414 w 7467600"/>
              <a:gd name="connsiteY958" fmla="*/ 354673 h 6858000"/>
              <a:gd name="connsiteX959" fmla="*/ 333785 w 7467600"/>
              <a:gd name="connsiteY959" fmla="*/ 161564 h 6858000"/>
              <a:gd name="connsiteX960" fmla="*/ 147005 w 7467600"/>
              <a:gd name="connsiteY960" fmla="*/ 0 h 6858000"/>
              <a:gd name="connsiteX961" fmla="*/ 272509 w 7467600"/>
              <a:gd name="connsiteY961" fmla="*/ 0 h 6858000"/>
              <a:gd name="connsiteX962" fmla="*/ 326276 w 7467600"/>
              <a:gd name="connsiteY962" fmla="*/ 45847 h 6858000"/>
              <a:gd name="connsiteX963" fmla="*/ 823759 w 7467600"/>
              <a:gd name="connsiteY963" fmla="*/ 574145 h 6858000"/>
              <a:gd name="connsiteX964" fmla="*/ 811254 w 7467600"/>
              <a:gd name="connsiteY964" fmla="*/ 665546 h 6858000"/>
              <a:gd name="connsiteX965" fmla="*/ 154042 w 7467600"/>
              <a:gd name="connsiteY965" fmla="*/ 261522 h 6858000"/>
              <a:gd name="connsiteX966" fmla="*/ 13550 w 7467600"/>
              <a:gd name="connsiteY966" fmla="*/ 158423 h 6858000"/>
              <a:gd name="connsiteX967" fmla="*/ 0 w 7467600"/>
              <a:gd name="connsiteY967" fmla="*/ 146618 h 6858000"/>
              <a:gd name="connsiteX968" fmla="*/ 0 w 7467600"/>
              <a:gd name="connsiteY968" fmla="*/ 59161 h 6858000"/>
              <a:gd name="connsiteX969" fmla="*/ 45427 w 7467600"/>
              <a:gd name="connsiteY969" fmla="*/ 101078 h 6858000"/>
              <a:gd name="connsiteX970" fmla="*/ 630103 w 7467600"/>
              <a:gd name="connsiteY970" fmla="*/ 485885 h 6858000"/>
              <a:gd name="connsiteX971" fmla="*/ 532040 w 7467600"/>
              <a:gd name="connsiteY971" fmla="*/ 399359 h 6858000"/>
              <a:gd name="connsiteX972" fmla="*/ 517618 w 7467600"/>
              <a:gd name="connsiteY972" fmla="*/ 385726 h 6858000"/>
              <a:gd name="connsiteX973" fmla="*/ 285074 w 7467600"/>
              <a:gd name="connsiteY973" fmla="*/ 182755 h 6858000"/>
              <a:gd name="connsiteX974" fmla="*/ 43151 w 7467600"/>
              <a:gd name="connsiteY974"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7042773 w 7467600"/>
              <a:gd name="connsiteY74" fmla="*/ 5734011 h 6858000"/>
              <a:gd name="connsiteX75" fmla="*/ 6879594 w 7467600"/>
              <a:gd name="connsiteY75" fmla="*/ 5424547 h 6858000"/>
              <a:gd name="connsiteX76" fmla="*/ 7379510 w 7467600"/>
              <a:gd name="connsiteY76" fmla="*/ 5755454 h 6858000"/>
              <a:gd name="connsiteX77" fmla="*/ 7467600 w 7467600"/>
              <a:gd name="connsiteY77" fmla="*/ 5845526 h 6858000"/>
              <a:gd name="connsiteX78" fmla="*/ 7271900 w 7467600"/>
              <a:gd name="connsiteY78" fmla="*/ 5734551 h 6858000"/>
              <a:gd name="connsiteX79" fmla="*/ 7015907 w 7467600"/>
              <a:gd name="connsiteY79" fmla="*/ 5541548 h 6858000"/>
              <a:gd name="connsiteX80" fmla="*/ 7259646 w 7467600"/>
              <a:gd name="connsiteY80" fmla="*/ 5765985 h 6858000"/>
              <a:gd name="connsiteX81" fmla="*/ 7467600 w 7467600"/>
              <a:gd name="connsiteY81" fmla="*/ 6012219 h 6858000"/>
              <a:gd name="connsiteX82" fmla="*/ 6946849 w 7467600"/>
              <a:gd name="connsiteY82" fmla="*/ 5523271 h 6858000"/>
              <a:gd name="connsiteX83" fmla="*/ 7105827 w 7467600"/>
              <a:gd name="connsiteY83" fmla="*/ 5718700 h 6858000"/>
              <a:gd name="connsiteX84" fmla="*/ 7356878 w 7467600"/>
              <a:gd name="connsiteY84" fmla="*/ 5981332 h 6858000"/>
              <a:gd name="connsiteX85" fmla="*/ 7467600 w 7467600"/>
              <a:gd name="connsiteY85" fmla="*/ 6117703 h 6858000"/>
              <a:gd name="connsiteX86" fmla="*/ 7467600 w 7467600"/>
              <a:gd name="connsiteY86" fmla="*/ 6163634 h 6858000"/>
              <a:gd name="connsiteX87" fmla="*/ 7403637 w 7467600"/>
              <a:gd name="connsiteY87" fmla="*/ 6083957 h 6858000"/>
              <a:gd name="connsiteX88" fmla="*/ 7254615 w 7467600"/>
              <a:gd name="connsiteY88" fmla="*/ 5911918 h 6858000"/>
              <a:gd name="connsiteX89" fmla="*/ 7312589 w 7467600"/>
              <a:gd name="connsiteY89" fmla="*/ 5982309 h 6858000"/>
              <a:gd name="connsiteX90" fmla="*/ 7448321 w 7467600"/>
              <a:gd name="connsiteY90" fmla="*/ 6190991 h 6858000"/>
              <a:gd name="connsiteX91" fmla="*/ 7467600 w 7467600"/>
              <a:gd name="connsiteY91" fmla="*/ 6221686 h 6858000"/>
              <a:gd name="connsiteX92" fmla="*/ 7467600 w 7467600"/>
              <a:gd name="connsiteY92" fmla="*/ 6334256 h 6858000"/>
              <a:gd name="connsiteX93" fmla="*/ 7454976 w 7467600"/>
              <a:gd name="connsiteY93" fmla="*/ 6318297 h 6858000"/>
              <a:gd name="connsiteX94" fmla="*/ 7042773 w 7467600"/>
              <a:gd name="connsiteY94" fmla="*/ 5734011 h 6858000"/>
              <a:gd name="connsiteX95" fmla="*/ 1456157 w 7467600"/>
              <a:gd name="connsiteY95" fmla="*/ 5371404 h 6858000"/>
              <a:gd name="connsiteX96" fmla="*/ 1244432 w 7467600"/>
              <a:gd name="connsiteY96" fmla="*/ 5385601 h 6858000"/>
              <a:gd name="connsiteX97" fmla="*/ 973990 w 7467600"/>
              <a:gd name="connsiteY97" fmla="*/ 5424940 h 6858000"/>
              <a:gd name="connsiteX98" fmla="*/ 1103809 w 7467600"/>
              <a:gd name="connsiteY98" fmla="*/ 5433720 h 6858000"/>
              <a:gd name="connsiteX99" fmla="*/ 1123454 w 7467600"/>
              <a:gd name="connsiteY99" fmla="*/ 5435727 h 6858000"/>
              <a:gd name="connsiteX100" fmla="*/ 1737017 w 7467600"/>
              <a:gd name="connsiteY100" fmla="*/ 5452183 h 6858000"/>
              <a:gd name="connsiteX101" fmla="*/ 1824397 w 7467600"/>
              <a:gd name="connsiteY101" fmla="*/ 5447757 h 6858000"/>
              <a:gd name="connsiteX102" fmla="*/ 2070059 w 7467600"/>
              <a:gd name="connsiteY102" fmla="*/ 5441660 h 6858000"/>
              <a:gd name="connsiteX103" fmla="*/ 1456157 w 7467600"/>
              <a:gd name="connsiteY103" fmla="*/ 5371404 h 6858000"/>
              <a:gd name="connsiteX104" fmla="*/ 4988186 w 7467600"/>
              <a:gd name="connsiteY104" fmla="*/ 5216467 h 6858000"/>
              <a:gd name="connsiteX105" fmla="*/ 4777334 w 7467600"/>
              <a:gd name="connsiteY105" fmla="*/ 5406072 h 6858000"/>
              <a:gd name="connsiteX106" fmla="*/ 4718341 w 7467600"/>
              <a:gd name="connsiteY106" fmla="*/ 5468043 h 6858000"/>
              <a:gd name="connsiteX107" fmla="*/ 4604655 w 7467600"/>
              <a:gd name="connsiteY107" fmla="*/ 5583434 h 6858000"/>
              <a:gd name="connsiteX108" fmla="*/ 4565074 w 7467600"/>
              <a:gd name="connsiteY108" fmla="*/ 5618550 h 6858000"/>
              <a:gd name="connsiteX109" fmla="*/ 4988186 w 7467600"/>
              <a:gd name="connsiteY109" fmla="*/ 5216467 h 6858000"/>
              <a:gd name="connsiteX110" fmla="*/ 4978032 w 7467600"/>
              <a:gd name="connsiteY110" fmla="*/ 5183809 h 6858000"/>
              <a:gd name="connsiteX111" fmla="*/ 4463413 w 7467600"/>
              <a:gd name="connsiteY111" fmla="*/ 5615162 h 6858000"/>
              <a:gd name="connsiteX112" fmla="*/ 4358134 w 7467600"/>
              <a:gd name="connsiteY112" fmla="*/ 5742791 h 6858000"/>
              <a:gd name="connsiteX113" fmla="*/ 4376219 w 7467600"/>
              <a:gd name="connsiteY113" fmla="*/ 5729027 h 6858000"/>
              <a:gd name="connsiteX114" fmla="*/ 4582340 w 7467600"/>
              <a:gd name="connsiteY114" fmla="*/ 5561037 h 6858000"/>
              <a:gd name="connsiteX115" fmla="*/ 4694684 w 7467600"/>
              <a:gd name="connsiteY115" fmla="*/ 5447098 h 6858000"/>
              <a:gd name="connsiteX116" fmla="*/ 4754123 w 7467600"/>
              <a:gd name="connsiteY116" fmla="*/ 5384643 h 6858000"/>
              <a:gd name="connsiteX117" fmla="*/ 4978032 w 7467600"/>
              <a:gd name="connsiteY117" fmla="*/ 5183809 h 6858000"/>
              <a:gd name="connsiteX118" fmla="*/ 1903353 w 7467600"/>
              <a:gd name="connsiteY118" fmla="*/ 5044827 h 6858000"/>
              <a:gd name="connsiteX119" fmla="*/ 1936931 w 7467600"/>
              <a:gd name="connsiteY119" fmla="*/ 5093954 h 6858000"/>
              <a:gd name="connsiteX120" fmla="*/ 2195868 w 7467600"/>
              <a:gd name="connsiteY120" fmla="*/ 5396574 h 6858000"/>
              <a:gd name="connsiteX121" fmla="*/ 2088852 w 7467600"/>
              <a:gd name="connsiteY121" fmla="*/ 5166123 h 6858000"/>
              <a:gd name="connsiteX122" fmla="*/ 1958241 w 7467600"/>
              <a:gd name="connsiteY122" fmla="*/ 5067955 h 6858000"/>
              <a:gd name="connsiteX123" fmla="*/ 1903353 w 7467600"/>
              <a:gd name="connsiteY123" fmla="*/ 5044827 h 6858000"/>
              <a:gd name="connsiteX124" fmla="*/ 1979378 w 7467600"/>
              <a:gd name="connsiteY124" fmla="*/ 4769504 h 6858000"/>
              <a:gd name="connsiteX125" fmla="*/ 2882120 w 7467600"/>
              <a:gd name="connsiteY125" fmla="*/ 5064547 h 6858000"/>
              <a:gd name="connsiteX126" fmla="*/ 2793103 w 7467600"/>
              <a:gd name="connsiteY126" fmla="*/ 5039699 h 6858000"/>
              <a:gd name="connsiteX127" fmla="*/ 2770041 w 7467600"/>
              <a:gd name="connsiteY127" fmla="*/ 5033634 h 6858000"/>
              <a:gd name="connsiteX128" fmla="*/ 1979378 w 7467600"/>
              <a:gd name="connsiteY128" fmla="*/ 4769504 h 6858000"/>
              <a:gd name="connsiteX129" fmla="*/ 1927410 w 7467600"/>
              <a:gd name="connsiteY129" fmla="*/ 4716164 h 6858000"/>
              <a:gd name="connsiteX130" fmla="*/ 1959587 w 7467600"/>
              <a:gd name="connsiteY130" fmla="*/ 4728849 h 6858000"/>
              <a:gd name="connsiteX131" fmla="*/ 2777707 w 7467600"/>
              <a:gd name="connsiteY131" fmla="*/ 5003991 h 6858000"/>
              <a:gd name="connsiteX132" fmla="*/ 2800768 w 7467600"/>
              <a:gd name="connsiteY132" fmla="*/ 5010056 h 6858000"/>
              <a:gd name="connsiteX133" fmla="*/ 2879408 w 7467600"/>
              <a:gd name="connsiteY133" fmla="*/ 5031590 h 6858000"/>
              <a:gd name="connsiteX134" fmla="*/ 2862295 w 7467600"/>
              <a:gd name="connsiteY134" fmla="*/ 5022958 h 6858000"/>
              <a:gd name="connsiteX135" fmla="*/ 2813343 w 7467600"/>
              <a:gd name="connsiteY135" fmla="*/ 4998369 h 6858000"/>
              <a:gd name="connsiteX136" fmla="*/ 2646245 w 7467600"/>
              <a:gd name="connsiteY136" fmla="*/ 4930999 h 6858000"/>
              <a:gd name="connsiteX137" fmla="*/ 1999243 w 7467600"/>
              <a:gd name="connsiteY137" fmla="*/ 4730524 h 6858000"/>
              <a:gd name="connsiteX138" fmla="*/ 1979527 w 7467600"/>
              <a:gd name="connsiteY138" fmla="*/ 4726651 h 6858000"/>
              <a:gd name="connsiteX139" fmla="*/ 1927410 w 7467600"/>
              <a:gd name="connsiteY139" fmla="*/ 4716164 h 6858000"/>
              <a:gd name="connsiteX140" fmla="*/ 1997014 w 7467600"/>
              <a:gd name="connsiteY140" fmla="*/ 4698007 h 6858000"/>
              <a:gd name="connsiteX141" fmla="*/ 2005458 w 7467600"/>
              <a:gd name="connsiteY141" fmla="*/ 4699540 h 6858000"/>
              <a:gd name="connsiteX142" fmla="*/ 2657186 w 7467600"/>
              <a:gd name="connsiteY142" fmla="*/ 4901687 h 6858000"/>
              <a:gd name="connsiteX143" fmla="*/ 2826662 w 7467600"/>
              <a:gd name="connsiteY143" fmla="*/ 4970362 h 6858000"/>
              <a:gd name="connsiteX144" fmla="*/ 2876100 w 7467600"/>
              <a:gd name="connsiteY144" fmla="*/ 4995397 h 6858000"/>
              <a:gd name="connsiteX145" fmla="*/ 3042600 w 7467600"/>
              <a:gd name="connsiteY145" fmla="*/ 5059532 h 6858000"/>
              <a:gd name="connsiteX146" fmla="*/ 1997014 w 7467600"/>
              <a:gd name="connsiteY146" fmla="*/ 4698007 h 6858000"/>
              <a:gd name="connsiteX147" fmla="*/ 2305292 w 7467600"/>
              <a:gd name="connsiteY147" fmla="*/ 4219492 h 6858000"/>
              <a:gd name="connsiteX148" fmla="*/ 3360922 w 7467600"/>
              <a:gd name="connsiteY148" fmla="*/ 4529373 h 6858000"/>
              <a:gd name="connsiteX149" fmla="*/ 3492420 w 7467600"/>
              <a:gd name="connsiteY149" fmla="*/ 4510145 h 6858000"/>
              <a:gd name="connsiteX150" fmla="*/ 3364086 w 7467600"/>
              <a:gd name="connsiteY150" fmla="*/ 4480340 h 6858000"/>
              <a:gd name="connsiteX151" fmla="*/ 3225818 w 7467600"/>
              <a:gd name="connsiteY151" fmla="*/ 4411822 h 6858000"/>
              <a:gd name="connsiteX152" fmla="*/ 3129696 w 7467600"/>
              <a:gd name="connsiteY152" fmla="*/ 4360704 h 6858000"/>
              <a:gd name="connsiteX153" fmla="*/ 2814545 w 7467600"/>
              <a:gd name="connsiteY153" fmla="*/ 4282955 h 6858000"/>
              <a:gd name="connsiteX154" fmla="*/ 2305292 w 7467600"/>
              <a:gd name="connsiteY154" fmla="*/ 4219492 h 6858000"/>
              <a:gd name="connsiteX155" fmla="*/ 2626982 w 7467600"/>
              <a:gd name="connsiteY155" fmla="*/ 4206450 h 6858000"/>
              <a:gd name="connsiteX156" fmla="*/ 2490617 w 7467600"/>
              <a:gd name="connsiteY156" fmla="*/ 4206951 h 6858000"/>
              <a:gd name="connsiteX157" fmla="*/ 2819869 w 7467600"/>
              <a:gd name="connsiteY157" fmla="*/ 4252936 h 6858000"/>
              <a:gd name="connsiteX158" fmla="*/ 3143018 w 7467600"/>
              <a:gd name="connsiteY158" fmla="*/ 4332698 h 6858000"/>
              <a:gd name="connsiteX159" fmla="*/ 3241520 w 7467600"/>
              <a:gd name="connsiteY159" fmla="*/ 4385112 h 6858000"/>
              <a:gd name="connsiteX160" fmla="*/ 3374575 w 7467600"/>
              <a:gd name="connsiteY160" fmla="*/ 4451517 h 6858000"/>
              <a:gd name="connsiteX161" fmla="*/ 3505221 w 7467600"/>
              <a:gd name="connsiteY161" fmla="*/ 4480757 h 6858000"/>
              <a:gd name="connsiteX162" fmla="*/ 2626982 w 7467600"/>
              <a:gd name="connsiteY162" fmla="*/ 4206450 h 6858000"/>
              <a:gd name="connsiteX163" fmla="*/ 1310106 w 7467600"/>
              <a:gd name="connsiteY163" fmla="*/ 3943217 h 6858000"/>
              <a:gd name="connsiteX164" fmla="*/ 854994 w 7467600"/>
              <a:gd name="connsiteY164" fmla="*/ 4399136 h 6858000"/>
              <a:gd name="connsiteX165" fmla="*/ 742462 w 7467600"/>
              <a:gd name="connsiteY165" fmla="*/ 4594648 h 6858000"/>
              <a:gd name="connsiteX166" fmla="*/ 820602 w 7467600"/>
              <a:gd name="connsiteY166" fmla="*/ 4485915 h 6858000"/>
              <a:gd name="connsiteX167" fmla="*/ 878295 w 7467600"/>
              <a:gd name="connsiteY167" fmla="*/ 4403594 h 6858000"/>
              <a:gd name="connsiteX168" fmla="*/ 1240607 w 7467600"/>
              <a:gd name="connsiteY168" fmla="*/ 4010401 h 6858000"/>
              <a:gd name="connsiteX169" fmla="*/ 1310106 w 7467600"/>
              <a:gd name="connsiteY169" fmla="*/ 3943217 h 6858000"/>
              <a:gd name="connsiteX170" fmla="*/ 1423113 w 7467600"/>
              <a:gd name="connsiteY170" fmla="*/ 3874565 h 6858000"/>
              <a:gd name="connsiteX171" fmla="*/ 1260565 w 7467600"/>
              <a:gd name="connsiteY171" fmla="*/ 4031982 h 6858000"/>
              <a:gd name="connsiteX172" fmla="*/ 901900 w 7467600"/>
              <a:gd name="connsiteY172" fmla="*/ 4421236 h 6858000"/>
              <a:gd name="connsiteX173" fmla="*/ 845044 w 7467600"/>
              <a:gd name="connsiteY173" fmla="*/ 4502436 h 6858000"/>
              <a:gd name="connsiteX174" fmla="*/ 685926 w 7467600"/>
              <a:gd name="connsiteY174" fmla="*/ 4703069 h 6858000"/>
              <a:gd name="connsiteX175" fmla="*/ 684248 w 7467600"/>
              <a:gd name="connsiteY175" fmla="*/ 4706721 h 6858000"/>
              <a:gd name="connsiteX176" fmla="*/ 1423113 w 7467600"/>
              <a:gd name="connsiteY176" fmla="*/ 3874565 h 6858000"/>
              <a:gd name="connsiteX177" fmla="*/ 3316479 w 7467600"/>
              <a:gd name="connsiteY177" fmla="*/ 3872136 h 6858000"/>
              <a:gd name="connsiteX178" fmla="*/ 3546806 w 7467600"/>
              <a:gd name="connsiteY178" fmla="*/ 4356139 h 6858000"/>
              <a:gd name="connsiteX179" fmla="*/ 3364433 w 7467600"/>
              <a:gd name="connsiteY179" fmla="*/ 3953121 h 6858000"/>
              <a:gd name="connsiteX180" fmla="*/ 3316479 w 7467600"/>
              <a:gd name="connsiteY180" fmla="*/ 3872136 h 6858000"/>
              <a:gd name="connsiteX181" fmla="*/ 3291335 w 7467600"/>
              <a:gd name="connsiteY181" fmla="*/ 3767420 h 6858000"/>
              <a:gd name="connsiteX182" fmla="*/ 3390805 w 7467600"/>
              <a:gd name="connsiteY182" fmla="*/ 3937163 h 6858000"/>
              <a:gd name="connsiteX183" fmla="*/ 3579062 w 7467600"/>
              <a:gd name="connsiteY183" fmla="*/ 4359040 h 6858000"/>
              <a:gd name="connsiteX184" fmla="*/ 3467355 w 7467600"/>
              <a:gd name="connsiteY184" fmla="*/ 3988130 h 6858000"/>
              <a:gd name="connsiteX185" fmla="*/ 3310753 w 7467600"/>
              <a:gd name="connsiteY185" fmla="*/ 3787140 h 6858000"/>
              <a:gd name="connsiteX186" fmla="*/ 3291335 w 7467600"/>
              <a:gd name="connsiteY186" fmla="*/ 3767420 h 6858000"/>
              <a:gd name="connsiteX187" fmla="*/ 1635889 w 7467600"/>
              <a:gd name="connsiteY187" fmla="*/ 3709494 h 6858000"/>
              <a:gd name="connsiteX188" fmla="*/ 1634800 w 7467600"/>
              <a:gd name="connsiteY188" fmla="*/ 3731111 h 6858000"/>
              <a:gd name="connsiteX189" fmla="*/ 1635889 w 7467600"/>
              <a:gd name="connsiteY189" fmla="*/ 3709494 h 6858000"/>
              <a:gd name="connsiteX190" fmla="*/ 1510397 w 7467600"/>
              <a:gd name="connsiteY190" fmla="*/ 3684705 h 6858000"/>
              <a:gd name="connsiteX191" fmla="*/ 1146550 w 7467600"/>
              <a:gd name="connsiteY191" fmla="*/ 3802012 h 6858000"/>
              <a:gd name="connsiteX192" fmla="*/ 698834 w 7467600"/>
              <a:gd name="connsiteY192" fmla="*/ 3952272 h 6858000"/>
              <a:gd name="connsiteX193" fmla="*/ 34256 w 7467600"/>
              <a:gd name="connsiteY193" fmla="*/ 4347603 h 6858000"/>
              <a:gd name="connsiteX194" fmla="*/ 527241 w 7467600"/>
              <a:gd name="connsiteY194" fmla="*/ 4065078 h 6858000"/>
              <a:gd name="connsiteX195" fmla="*/ 1510397 w 7467600"/>
              <a:gd name="connsiteY195" fmla="*/ 3684705 h 6858000"/>
              <a:gd name="connsiteX196" fmla="*/ 1313114 w 7467600"/>
              <a:gd name="connsiteY196" fmla="*/ 3655216 h 6858000"/>
              <a:gd name="connsiteX197" fmla="*/ 1109304 w 7467600"/>
              <a:gd name="connsiteY197" fmla="*/ 3669030 h 6858000"/>
              <a:gd name="connsiteX198" fmla="*/ 8129 w 7467600"/>
              <a:gd name="connsiteY198" fmla="*/ 4330519 h 6858000"/>
              <a:gd name="connsiteX199" fmla="*/ 687572 w 7467600"/>
              <a:gd name="connsiteY199" fmla="*/ 3925629 h 6858000"/>
              <a:gd name="connsiteX200" fmla="*/ 1138365 w 7467600"/>
              <a:gd name="connsiteY200" fmla="*/ 3774515 h 6858000"/>
              <a:gd name="connsiteX201" fmla="*/ 1505579 w 7467600"/>
              <a:gd name="connsiteY201" fmla="*/ 3655526 h 6858000"/>
              <a:gd name="connsiteX202" fmla="*/ 1313114 w 7467600"/>
              <a:gd name="connsiteY202" fmla="*/ 3655216 h 6858000"/>
              <a:gd name="connsiteX203" fmla="*/ 3655073 w 7467600"/>
              <a:gd name="connsiteY203" fmla="*/ 3650884 h 6858000"/>
              <a:gd name="connsiteX204" fmla="*/ 3989938 w 7467600"/>
              <a:gd name="connsiteY204" fmla="*/ 3991685 h 6858000"/>
              <a:gd name="connsiteX205" fmla="*/ 4393907 w 7467600"/>
              <a:gd name="connsiteY205" fmla="*/ 4261258 h 6858000"/>
              <a:gd name="connsiteX206" fmla="*/ 4648051 w 7467600"/>
              <a:gd name="connsiteY206" fmla="*/ 4374051 h 6858000"/>
              <a:gd name="connsiteX207" fmla="*/ 4383389 w 7467600"/>
              <a:gd name="connsiteY207" fmla="*/ 4184369 h 6858000"/>
              <a:gd name="connsiteX208" fmla="*/ 4165508 w 7467600"/>
              <a:gd name="connsiteY208" fmla="*/ 4035196 h 6858000"/>
              <a:gd name="connsiteX209" fmla="*/ 4068162 w 7467600"/>
              <a:gd name="connsiteY209" fmla="*/ 3953394 h 6858000"/>
              <a:gd name="connsiteX210" fmla="*/ 3981416 w 7467600"/>
              <a:gd name="connsiteY210" fmla="*/ 3880482 h 6858000"/>
              <a:gd name="connsiteX211" fmla="*/ 3800147 w 7467600"/>
              <a:gd name="connsiteY211" fmla="*/ 3749872 h 6858000"/>
              <a:gd name="connsiteX212" fmla="*/ 3655073 w 7467600"/>
              <a:gd name="connsiteY212" fmla="*/ 3650884 h 6858000"/>
              <a:gd name="connsiteX213" fmla="*/ 3670252 w 7467600"/>
              <a:gd name="connsiteY213" fmla="*/ 3622798 h 6858000"/>
              <a:gd name="connsiteX214" fmla="*/ 3817258 w 7467600"/>
              <a:gd name="connsiteY214" fmla="*/ 3723577 h 6858000"/>
              <a:gd name="connsiteX215" fmla="*/ 4000461 w 7467600"/>
              <a:gd name="connsiteY215" fmla="*/ 3855966 h 6858000"/>
              <a:gd name="connsiteX216" fmla="*/ 4088180 w 7467600"/>
              <a:gd name="connsiteY216" fmla="*/ 3929774 h 6858000"/>
              <a:gd name="connsiteX217" fmla="*/ 4184555 w 7467600"/>
              <a:gd name="connsiteY217" fmla="*/ 4010683 h 6858000"/>
              <a:gd name="connsiteX218" fmla="*/ 4399563 w 7467600"/>
              <a:gd name="connsiteY218" fmla="*/ 4158106 h 6858000"/>
              <a:gd name="connsiteX219" fmla="*/ 4684469 w 7467600"/>
              <a:gd name="connsiteY219" fmla="*/ 4364680 h 6858000"/>
              <a:gd name="connsiteX220" fmla="*/ 4690271 w 7467600"/>
              <a:gd name="connsiteY220" fmla="*/ 4370034 h 6858000"/>
              <a:gd name="connsiteX221" fmla="*/ 4136093 w 7467600"/>
              <a:gd name="connsiteY221" fmla="*/ 3858466 h 6858000"/>
              <a:gd name="connsiteX222" fmla="*/ 3670252 w 7467600"/>
              <a:gd name="connsiteY222" fmla="*/ 3622798 h 6858000"/>
              <a:gd name="connsiteX223" fmla="*/ 4440129 w 7467600"/>
              <a:gd name="connsiteY223" fmla="*/ 3448571 h 6858000"/>
              <a:gd name="connsiteX224" fmla="*/ 4856525 w 7467600"/>
              <a:gd name="connsiteY224" fmla="*/ 3915351 h 6858000"/>
              <a:gd name="connsiteX225" fmla="*/ 5059055 w 7467600"/>
              <a:gd name="connsiteY225" fmla="*/ 4108918 h 6858000"/>
              <a:gd name="connsiteX226" fmla="*/ 5290070 w 7467600"/>
              <a:gd name="connsiteY226" fmla="*/ 4263619 h 6858000"/>
              <a:gd name="connsiteX227" fmla="*/ 4834991 w 7467600"/>
              <a:gd name="connsiteY227" fmla="*/ 3830985 h 6858000"/>
              <a:gd name="connsiteX228" fmla="*/ 4440129 w 7467600"/>
              <a:gd name="connsiteY228" fmla="*/ 3448571 h 6858000"/>
              <a:gd name="connsiteX229" fmla="*/ 4441737 w 7467600"/>
              <a:gd name="connsiteY229" fmla="*/ 3399734 h 6858000"/>
              <a:gd name="connsiteX230" fmla="*/ 4431236 w 7467600"/>
              <a:gd name="connsiteY230" fmla="*/ 3400954 h 6858000"/>
              <a:gd name="connsiteX231" fmla="*/ 4557150 w 7467600"/>
              <a:gd name="connsiteY231" fmla="*/ 3510023 h 6858000"/>
              <a:gd name="connsiteX232" fmla="*/ 4856936 w 7467600"/>
              <a:gd name="connsiteY232" fmla="*/ 3809146 h 6858000"/>
              <a:gd name="connsiteX233" fmla="*/ 5111996 w 7467600"/>
              <a:gd name="connsiteY233" fmla="*/ 4065759 h 6858000"/>
              <a:gd name="connsiteX234" fmla="*/ 5388878 w 7467600"/>
              <a:gd name="connsiteY234" fmla="*/ 4300185 h 6858000"/>
              <a:gd name="connsiteX235" fmla="*/ 5425556 w 7467600"/>
              <a:gd name="connsiteY235" fmla="*/ 4308967 h 6858000"/>
              <a:gd name="connsiteX236" fmla="*/ 4943646 w 7467600"/>
              <a:gd name="connsiteY236" fmla="*/ 3822916 h 6858000"/>
              <a:gd name="connsiteX237" fmla="*/ 4594837 w 7467600"/>
              <a:gd name="connsiteY237" fmla="*/ 3532274 h 6858000"/>
              <a:gd name="connsiteX238" fmla="*/ 4441737 w 7467600"/>
              <a:gd name="connsiteY238" fmla="*/ 3399734 h 6858000"/>
              <a:gd name="connsiteX239" fmla="*/ 5425834 w 7467600"/>
              <a:gd name="connsiteY239" fmla="*/ 3162785 h 6858000"/>
              <a:gd name="connsiteX240" fmla="*/ 5401644 w 7467600"/>
              <a:gd name="connsiteY240" fmla="*/ 3617847 h 6858000"/>
              <a:gd name="connsiteX241" fmla="*/ 5467256 w 7467600"/>
              <a:gd name="connsiteY241" fmla="*/ 4175494 h 6858000"/>
              <a:gd name="connsiteX242" fmla="*/ 5448069 w 7467600"/>
              <a:gd name="connsiteY242" fmla="*/ 3567554 h 6858000"/>
              <a:gd name="connsiteX243" fmla="*/ 5425834 w 7467600"/>
              <a:gd name="connsiteY243" fmla="*/ 3162785 h 6858000"/>
              <a:gd name="connsiteX244" fmla="*/ 1318687 w 7467600"/>
              <a:gd name="connsiteY244" fmla="*/ 3113840 h 6858000"/>
              <a:gd name="connsiteX245" fmla="*/ 1066793 w 7467600"/>
              <a:gd name="connsiteY245" fmla="*/ 3212171 h 6858000"/>
              <a:gd name="connsiteX246" fmla="*/ 993319 w 7467600"/>
              <a:gd name="connsiteY246" fmla="*/ 3247648 h 6858000"/>
              <a:gd name="connsiteX247" fmla="*/ 853081 w 7467600"/>
              <a:gd name="connsiteY247" fmla="*/ 3312410 h 6858000"/>
              <a:gd name="connsiteX248" fmla="*/ 805957 w 7467600"/>
              <a:gd name="connsiteY248" fmla="*/ 3330443 h 6858000"/>
              <a:gd name="connsiteX249" fmla="*/ 1318687 w 7467600"/>
              <a:gd name="connsiteY249" fmla="*/ 3113840 h 6858000"/>
              <a:gd name="connsiteX250" fmla="*/ 5453702 w 7467600"/>
              <a:gd name="connsiteY250" fmla="*/ 3090882 h 6858000"/>
              <a:gd name="connsiteX251" fmla="*/ 5480135 w 7467600"/>
              <a:gd name="connsiteY251" fmla="*/ 3565802 h 6858000"/>
              <a:gd name="connsiteX252" fmla="*/ 5499023 w 7467600"/>
              <a:gd name="connsiteY252" fmla="*/ 4166310 h 6858000"/>
              <a:gd name="connsiteX253" fmla="*/ 5547022 w 7467600"/>
              <a:gd name="connsiteY253" fmla="*/ 3607838 h 6858000"/>
              <a:gd name="connsiteX254" fmla="*/ 5515964 w 7467600"/>
              <a:gd name="connsiteY254" fmla="*/ 3378541 h 6858000"/>
              <a:gd name="connsiteX255" fmla="*/ 5453702 w 7467600"/>
              <a:gd name="connsiteY255" fmla="*/ 3090882 h 6858000"/>
              <a:gd name="connsiteX256" fmla="*/ 1238695 w 7467600"/>
              <a:gd name="connsiteY256" fmla="*/ 3076820 h 6858000"/>
              <a:gd name="connsiteX257" fmla="*/ 716371 w 7467600"/>
              <a:gd name="connsiteY257" fmla="*/ 3293249 h 6858000"/>
              <a:gd name="connsiteX258" fmla="*/ 579522 w 7467600"/>
              <a:gd name="connsiteY258" fmla="*/ 3371759 h 6858000"/>
              <a:gd name="connsiteX259" fmla="*/ 600288 w 7467600"/>
              <a:gd name="connsiteY259" fmla="*/ 3365555 h 6858000"/>
              <a:gd name="connsiteX260" fmla="*/ 840692 w 7467600"/>
              <a:gd name="connsiteY260" fmla="*/ 3284921 h 6858000"/>
              <a:gd name="connsiteX261" fmla="*/ 979248 w 7467600"/>
              <a:gd name="connsiteY261" fmla="*/ 3221003 h 6858000"/>
              <a:gd name="connsiteX262" fmla="*/ 1053282 w 7467600"/>
              <a:gd name="connsiteY262" fmla="*/ 3185247 h 6858000"/>
              <a:gd name="connsiteX263" fmla="*/ 1320603 w 7467600"/>
              <a:gd name="connsiteY263" fmla="*/ 3081281 h 6858000"/>
              <a:gd name="connsiteX264" fmla="*/ 1238695 w 7467600"/>
              <a:gd name="connsiteY264" fmla="*/ 3076820 h 6858000"/>
              <a:gd name="connsiteX265" fmla="*/ 5425627 w 7467600"/>
              <a:gd name="connsiteY265" fmla="*/ 2954192 h 6858000"/>
              <a:gd name="connsiteX266" fmla="*/ 5470770 w 7467600"/>
              <a:gd name="connsiteY266" fmla="*/ 3005435 h 6858000"/>
              <a:gd name="connsiteX267" fmla="*/ 5519779 w 7467600"/>
              <a:gd name="connsiteY267" fmla="*/ 4359223 h 6858000"/>
              <a:gd name="connsiteX268" fmla="*/ 5520293 w 7467600"/>
              <a:gd name="connsiteY268" fmla="*/ 4360602 h 6858000"/>
              <a:gd name="connsiteX269" fmla="*/ 5767221 w 7467600"/>
              <a:gd name="connsiteY269" fmla="*/ 4665564 h 6858000"/>
              <a:gd name="connsiteX270" fmla="*/ 6937169 w 7467600"/>
              <a:gd name="connsiteY270" fmla="*/ 4815941 h 6858000"/>
              <a:gd name="connsiteX271" fmla="*/ 6953922 w 7467600"/>
              <a:gd name="connsiteY271" fmla="*/ 4890068 h 6858000"/>
              <a:gd name="connsiteX272" fmla="*/ 6071359 w 7467600"/>
              <a:gd name="connsiteY272" fmla="*/ 4770770 h 6858000"/>
              <a:gd name="connsiteX273" fmla="*/ 6038839 w 7467600"/>
              <a:gd name="connsiteY273" fmla="*/ 4764474 h 6858000"/>
              <a:gd name="connsiteX274" fmla="*/ 6038706 w 7467600"/>
              <a:gd name="connsiteY274" fmla="*/ 4763847 h 6858000"/>
              <a:gd name="connsiteX275" fmla="*/ 6037784 w 7467600"/>
              <a:gd name="connsiteY275" fmla="*/ 4764270 h 6858000"/>
              <a:gd name="connsiteX276" fmla="*/ 6038839 w 7467600"/>
              <a:gd name="connsiteY276" fmla="*/ 4764474 h 6858000"/>
              <a:gd name="connsiteX277" fmla="*/ 6040338 w 7467600"/>
              <a:gd name="connsiteY277" fmla="*/ 4771418 h 6858000"/>
              <a:gd name="connsiteX278" fmla="*/ 6024488 w 7467600"/>
              <a:gd name="connsiteY278" fmla="*/ 4809903 h 6858000"/>
              <a:gd name="connsiteX279" fmla="*/ 5599771 w 7467600"/>
              <a:gd name="connsiteY279" fmla="*/ 5509652 h 6858000"/>
              <a:gd name="connsiteX280" fmla="*/ 5548843 w 7467600"/>
              <a:gd name="connsiteY280" fmla="*/ 5563845 h 6858000"/>
              <a:gd name="connsiteX281" fmla="*/ 5940952 w 7467600"/>
              <a:gd name="connsiteY281" fmla="*/ 6250028 h 6858000"/>
              <a:gd name="connsiteX282" fmla="*/ 6043441 w 7467600"/>
              <a:gd name="connsiteY282" fmla="*/ 6665847 h 6858000"/>
              <a:gd name="connsiteX283" fmla="*/ 6093432 w 7467600"/>
              <a:gd name="connsiteY283" fmla="*/ 6858000 h 6858000"/>
              <a:gd name="connsiteX284" fmla="*/ 6034344 w 7467600"/>
              <a:gd name="connsiteY284" fmla="*/ 6858000 h 6858000"/>
              <a:gd name="connsiteX285" fmla="*/ 6026679 w 7467600"/>
              <a:gd name="connsiteY285" fmla="*/ 6836959 h 6858000"/>
              <a:gd name="connsiteX286" fmla="*/ 5800441 w 7467600"/>
              <a:gd name="connsiteY286" fmla="*/ 6335286 h 6858000"/>
              <a:gd name="connsiteX287" fmla="*/ 5526562 w 7467600"/>
              <a:gd name="connsiteY287" fmla="*/ 5705388 h 6858000"/>
              <a:gd name="connsiteX288" fmla="*/ 5519640 w 7467600"/>
              <a:gd name="connsiteY288" fmla="*/ 5683774 h 6858000"/>
              <a:gd name="connsiteX289" fmla="*/ 5844559 w 7467600"/>
              <a:gd name="connsiteY289" fmla="*/ 6553349 h 6858000"/>
              <a:gd name="connsiteX290" fmla="*/ 5975994 w 7467600"/>
              <a:gd name="connsiteY290" fmla="*/ 6858000 h 6858000"/>
              <a:gd name="connsiteX291" fmla="*/ 5898547 w 7467600"/>
              <a:gd name="connsiteY291" fmla="*/ 6858000 h 6858000"/>
              <a:gd name="connsiteX292" fmla="*/ 5682041 w 7467600"/>
              <a:gd name="connsiteY292" fmla="*/ 6355860 h 6858000"/>
              <a:gd name="connsiteX293" fmla="*/ 5461758 w 7467600"/>
              <a:gd name="connsiteY293" fmla="*/ 5820220 h 6858000"/>
              <a:gd name="connsiteX294" fmla="*/ 5237282 w 7467600"/>
              <a:gd name="connsiteY294" fmla="*/ 6579086 h 6858000"/>
              <a:gd name="connsiteX295" fmla="*/ 5115009 w 7467600"/>
              <a:gd name="connsiteY295" fmla="*/ 6858000 h 6858000"/>
              <a:gd name="connsiteX296" fmla="*/ 5028074 w 7467600"/>
              <a:gd name="connsiteY296" fmla="*/ 6858000 h 6858000"/>
              <a:gd name="connsiteX297" fmla="*/ 5079508 w 7467600"/>
              <a:gd name="connsiteY297" fmla="*/ 6749074 h 6858000"/>
              <a:gd name="connsiteX298" fmla="*/ 5371846 w 7467600"/>
              <a:gd name="connsiteY298" fmla="*/ 5924413 h 6858000"/>
              <a:gd name="connsiteX299" fmla="*/ 5270512 w 7467600"/>
              <a:gd name="connsiteY299" fmla="*/ 6138975 h 6858000"/>
              <a:gd name="connsiteX300" fmla="*/ 5062409 w 7467600"/>
              <a:gd name="connsiteY300" fmla="*/ 6653544 h 6858000"/>
              <a:gd name="connsiteX301" fmla="*/ 5036628 w 7467600"/>
              <a:gd name="connsiteY301" fmla="*/ 6754247 h 6858000"/>
              <a:gd name="connsiteX302" fmla="*/ 5009112 w 7467600"/>
              <a:gd name="connsiteY302" fmla="*/ 6858000 h 6858000"/>
              <a:gd name="connsiteX303" fmla="*/ 4976679 w 7467600"/>
              <a:gd name="connsiteY303" fmla="*/ 6858000 h 6858000"/>
              <a:gd name="connsiteX304" fmla="*/ 5006537 w 7467600"/>
              <a:gd name="connsiteY304" fmla="*/ 6747068 h 6858000"/>
              <a:gd name="connsiteX305" fmla="*/ 5032723 w 7467600"/>
              <a:gd name="connsiteY305" fmla="*/ 6644957 h 6858000"/>
              <a:gd name="connsiteX306" fmla="*/ 5242949 w 7467600"/>
              <a:gd name="connsiteY306" fmla="*/ 6125175 h 6858000"/>
              <a:gd name="connsiteX307" fmla="*/ 5286321 w 7467600"/>
              <a:gd name="connsiteY307" fmla="*/ 6033555 h 6858000"/>
              <a:gd name="connsiteX308" fmla="*/ 5008210 w 7467600"/>
              <a:gd name="connsiteY308" fmla="*/ 6649194 h 6858000"/>
              <a:gd name="connsiteX309" fmla="*/ 4986321 w 7467600"/>
              <a:gd name="connsiteY309" fmla="*/ 6765687 h 6858000"/>
              <a:gd name="connsiteX310" fmla="*/ 4973474 w 7467600"/>
              <a:gd name="connsiteY310" fmla="*/ 6858000 h 6858000"/>
              <a:gd name="connsiteX311" fmla="*/ 4907178 w 7467600"/>
              <a:gd name="connsiteY311" fmla="*/ 6858000 h 6858000"/>
              <a:gd name="connsiteX312" fmla="*/ 4910810 w 7467600"/>
              <a:gd name="connsiteY312" fmla="*/ 6829660 h 6858000"/>
              <a:gd name="connsiteX313" fmla="*/ 4987461 w 7467600"/>
              <a:gd name="connsiteY313" fmla="*/ 6432994 h 6858000"/>
              <a:gd name="connsiteX314" fmla="*/ 5179262 w 7467600"/>
              <a:gd name="connsiteY314" fmla="*/ 6035044 h 6858000"/>
              <a:gd name="connsiteX315" fmla="*/ 4689678 w 7467600"/>
              <a:gd name="connsiteY315" fmla="*/ 6440241 h 6858000"/>
              <a:gd name="connsiteX316" fmla="*/ 4477543 w 7467600"/>
              <a:gd name="connsiteY316" fmla="*/ 6674836 h 6858000"/>
              <a:gd name="connsiteX317" fmla="*/ 4329957 w 7467600"/>
              <a:gd name="connsiteY317" fmla="*/ 6858000 h 6858000"/>
              <a:gd name="connsiteX318" fmla="*/ 4218595 w 7467600"/>
              <a:gd name="connsiteY318" fmla="*/ 6858000 h 6858000"/>
              <a:gd name="connsiteX319" fmla="*/ 4368888 w 7467600"/>
              <a:gd name="connsiteY319" fmla="*/ 6668412 h 6858000"/>
              <a:gd name="connsiteX320" fmla="*/ 4563091 w 7467600"/>
              <a:gd name="connsiteY320" fmla="*/ 6442508 h 6858000"/>
              <a:gd name="connsiteX321" fmla="*/ 5387324 w 7467600"/>
              <a:gd name="connsiteY321" fmla="*/ 5705830 h 6858000"/>
              <a:gd name="connsiteX322" fmla="*/ 5073620 w 7467600"/>
              <a:gd name="connsiteY322" fmla="*/ 5955437 h 6858000"/>
              <a:gd name="connsiteX323" fmla="*/ 4689789 w 7467600"/>
              <a:gd name="connsiteY323" fmla="*/ 6268382 h 6858000"/>
              <a:gd name="connsiteX324" fmla="*/ 4418722 w 7467600"/>
              <a:gd name="connsiteY324" fmla="*/ 6570886 h 6858000"/>
              <a:gd name="connsiteX325" fmla="*/ 4214944 w 7467600"/>
              <a:gd name="connsiteY325" fmla="*/ 6858000 h 6858000"/>
              <a:gd name="connsiteX326" fmla="*/ 4177898 w 7467600"/>
              <a:gd name="connsiteY326" fmla="*/ 6858000 h 6858000"/>
              <a:gd name="connsiteX327" fmla="*/ 4391597 w 7467600"/>
              <a:gd name="connsiteY327" fmla="*/ 6556370 h 6858000"/>
              <a:gd name="connsiteX328" fmla="*/ 4668889 w 7467600"/>
              <a:gd name="connsiteY328" fmla="*/ 6246399 h 6858000"/>
              <a:gd name="connsiteX329" fmla="*/ 5055427 w 7467600"/>
              <a:gd name="connsiteY329" fmla="*/ 5931476 h 6858000"/>
              <a:gd name="connsiteX330" fmla="*/ 5371814 w 7467600"/>
              <a:gd name="connsiteY330" fmla="*/ 5678975 h 6858000"/>
              <a:gd name="connsiteX331" fmla="*/ 4987918 w 7467600"/>
              <a:gd name="connsiteY331" fmla="*/ 5838701 h 6858000"/>
              <a:gd name="connsiteX332" fmla="*/ 4317146 w 7467600"/>
              <a:gd name="connsiteY332" fmla="*/ 6587716 h 6858000"/>
              <a:gd name="connsiteX333" fmla="*/ 4171627 w 7467600"/>
              <a:gd name="connsiteY333" fmla="*/ 6858000 h 6858000"/>
              <a:gd name="connsiteX334" fmla="*/ 4081585 w 7467600"/>
              <a:gd name="connsiteY334" fmla="*/ 6858000 h 6858000"/>
              <a:gd name="connsiteX335" fmla="*/ 4238603 w 7467600"/>
              <a:gd name="connsiteY335" fmla="*/ 6559341 h 6858000"/>
              <a:gd name="connsiteX336" fmla="*/ 4778333 w 7467600"/>
              <a:gd name="connsiteY336" fmla="*/ 5873626 h 6858000"/>
              <a:gd name="connsiteX337" fmla="*/ 5414185 w 7467600"/>
              <a:gd name="connsiteY337" fmla="*/ 5573882 h 6858000"/>
              <a:gd name="connsiteX338" fmla="*/ 5959648 w 7467600"/>
              <a:gd name="connsiteY338" fmla="*/ 4760797 h 6858000"/>
              <a:gd name="connsiteX339" fmla="*/ 5355019 w 7467600"/>
              <a:gd name="connsiteY339" fmla="*/ 4734672 h 6858000"/>
              <a:gd name="connsiteX340" fmla="*/ 5083565 w 7467600"/>
              <a:gd name="connsiteY340" fmla="*/ 5179121 h 6858000"/>
              <a:gd name="connsiteX341" fmla="*/ 4713577 w 7467600"/>
              <a:gd name="connsiteY341" fmla="*/ 5616803 h 6858000"/>
              <a:gd name="connsiteX342" fmla="*/ 3989559 w 7467600"/>
              <a:gd name="connsiteY342" fmla="*/ 6145945 h 6858000"/>
              <a:gd name="connsiteX343" fmla="*/ 3939824 w 7467600"/>
              <a:gd name="connsiteY343" fmla="*/ 6066900 h 6858000"/>
              <a:gd name="connsiteX344" fmla="*/ 4584537 w 7467600"/>
              <a:gd name="connsiteY344" fmla="*/ 5324826 h 6858000"/>
              <a:gd name="connsiteX345" fmla="*/ 5037105 w 7467600"/>
              <a:gd name="connsiteY345" fmla="*/ 5088765 h 6858000"/>
              <a:gd name="connsiteX346" fmla="*/ 5039930 w 7467600"/>
              <a:gd name="connsiteY346" fmla="*/ 5089585 h 6858000"/>
              <a:gd name="connsiteX347" fmla="*/ 5263764 w 7467600"/>
              <a:gd name="connsiteY347" fmla="*/ 4735525 h 6858000"/>
              <a:gd name="connsiteX348" fmla="*/ 4086300 w 7467600"/>
              <a:gd name="connsiteY348" fmla="*/ 4884599 h 6858000"/>
              <a:gd name="connsiteX349" fmla="*/ 4085485 w 7467600"/>
              <a:gd name="connsiteY349" fmla="*/ 4899070 h 6858000"/>
              <a:gd name="connsiteX350" fmla="*/ 3871915 w 7467600"/>
              <a:gd name="connsiteY350" fmla="*/ 5253645 h 6858000"/>
              <a:gd name="connsiteX351" fmla="*/ 3799374 w 7467600"/>
              <a:gd name="connsiteY351" fmla="*/ 5466127 h 6858000"/>
              <a:gd name="connsiteX352" fmla="*/ 3498850 w 7467600"/>
              <a:gd name="connsiteY352" fmla="*/ 6661888 h 6858000"/>
              <a:gd name="connsiteX353" fmla="*/ 3399216 w 7467600"/>
              <a:gd name="connsiteY353" fmla="*/ 6858000 h 6858000"/>
              <a:gd name="connsiteX354" fmla="*/ 3303688 w 7467600"/>
              <a:gd name="connsiteY354" fmla="*/ 6858000 h 6858000"/>
              <a:gd name="connsiteX355" fmla="*/ 3391774 w 7467600"/>
              <a:gd name="connsiteY355" fmla="*/ 6697181 h 6858000"/>
              <a:gd name="connsiteX356" fmla="*/ 3735540 w 7467600"/>
              <a:gd name="connsiteY356" fmla="*/ 5546923 h 6858000"/>
              <a:gd name="connsiteX357" fmla="*/ 3729438 w 7467600"/>
              <a:gd name="connsiteY357" fmla="*/ 5569058 h 6858000"/>
              <a:gd name="connsiteX358" fmla="*/ 3707782 w 7467600"/>
              <a:gd name="connsiteY358" fmla="*/ 5644908 h 6858000"/>
              <a:gd name="connsiteX359" fmla="*/ 3583827 w 7467600"/>
              <a:gd name="connsiteY359" fmla="*/ 6039215 h 6858000"/>
              <a:gd name="connsiteX360" fmla="*/ 3547861 w 7467600"/>
              <a:gd name="connsiteY360" fmla="*/ 6129609 h 6858000"/>
              <a:gd name="connsiteX361" fmla="*/ 3490905 w 7467600"/>
              <a:gd name="connsiteY361" fmla="*/ 6277660 h 6858000"/>
              <a:gd name="connsiteX362" fmla="*/ 3455859 w 7467600"/>
              <a:gd name="connsiteY362" fmla="*/ 6391301 h 6858000"/>
              <a:gd name="connsiteX363" fmla="*/ 3429112 w 7467600"/>
              <a:gd name="connsiteY363" fmla="*/ 6479469 h 6858000"/>
              <a:gd name="connsiteX364" fmla="*/ 3304862 w 7467600"/>
              <a:gd name="connsiteY364" fmla="*/ 6796476 h 6858000"/>
              <a:gd name="connsiteX365" fmla="*/ 3276071 w 7467600"/>
              <a:gd name="connsiteY365" fmla="*/ 6858000 h 6858000"/>
              <a:gd name="connsiteX366" fmla="*/ 3240805 w 7467600"/>
              <a:gd name="connsiteY366" fmla="*/ 6858000 h 6858000"/>
              <a:gd name="connsiteX367" fmla="*/ 3275917 w 7467600"/>
              <a:gd name="connsiteY367" fmla="*/ 6783192 h 6858000"/>
              <a:gd name="connsiteX368" fmla="*/ 3399358 w 7467600"/>
              <a:gd name="connsiteY368" fmla="*/ 6469011 h 6858000"/>
              <a:gd name="connsiteX369" fmla="*/ 3425650 w 7467600"/>
              <a:gd name="connsiteY369" fmla="*/ 6381333 h 6858000"/>
              <a:gd name="connsiteX370" fmla="*/ 3460661 w 7467600"/>
              <a:gd name="connsiteY370" fmla="*/ 6266763 h 6858000"/>
              <a:gd name="connsiteX371" fmla="*/ 3518021 w 7467600"/>
              <a:gd name="connsiteY371" fmla="*/ 6117298 h 6858000"/>
              <a:gd name="connsiteX372" fmla="*/ 3554035 w 7467600"/>
              <a:gd name="connsiteY372" fmla="*/ 6027832 h 6858000"/>
              <a:gd name="connsiteX373" fmla="*/ 3677174 w 7467600"/>
              <a:gd name="connsiteY373" fmla="*/ 5636351 h 6858000"/>
              <a:gd name="connsiteX374" fmla="*/ 3698819 w 7467600"/>
              <a:gd name="connsiteY374" fmla="*/ 5560503 h 6858000"/>
              <a:gd name="connsiteX375" fmla="*/ 3702094 w 7467600"/>
              <a:gd name="connsiteY375" fmla="*/ 5549194 h 6858000"/>
              <a:gd name="connsiteX376" fmla="*/ 3398355 w 7467600"/>
              <a:gd name="connsiteY376" fmla="*/ 6094603 h 6858000"/>
              <a:gd name="connsiteX377" fmla="*/ 3193941 w 7467600"/>
              <a:gd name="connsiteY377" fmla="*/ 6798775 h 6858000"/>
              <a:gd name="connsiteX378" fmla="*/ 3184140 w 7467600"/>
              <a:gd name="connsiteY378" fmla="*/ 6858000 h 6858000"/>
              <a:gd name="connsiteX379" fmla="*/ 3099978 w 7467600"/>
              <a:gd name="connsiteY379" fmla="*/ 6858000 h 6858000"/>
              <a:gd name="connsiteX380" fmla="*/ 3101556 w 7467600"/>
              <a:gd name="connsiteY380" fmla="*/ 6843337 h 6858000"/>
              <a:gd name="connsiteX381" fmla="*/ 3370162 w 7467600"/>
              <a:gd name="connsiteY381" fmla="*/ 5785550 h 6858000"/>
              <a:gd name="connsiteX382" fmla="*/ 3746477 w 7467600"/>
              <a:gd name="connsiteY382" fmla="*/ 5377889 h 6858000"/>
              <a:gd name="connsiteX383" fmla="*/ 3863399 w 7467600"/>
              <a:gd name="connsiteY383" fmla="*/ 5087257 h 6858000"/>
              <a:gd name="connsiteX384" fmla="*/ 3968712 w 7467600"/>
              <a:gd name="connsiteY384" fmla="*/ 4913989 h 6858000"/>
              <a:gd name="connsiteX385" fmla="*/ 2792390 w 7467600"/>
              <a:gd name="connsiteY385" fmla="*/ 5382974 h 6858000"/>
              <a:gd name="connsiteX386" fmla="*/ 2714982 w 7467600"/>
              <a:gd name="connsiteY386" fmla="*/ 5427051 h 6858000"/>
              <a:gd name="connsiteX387" fmla="*/ 2813361 w 7467600"/>
              <a:gd name="connsiteY387" fmla="*/ 6023912 h 6858000"/>
              <a:gd name="connsiteX388" fmla="*/ 2688430 w 7467600"/>
              <a:gd name="connsiteY388" fmla="*/ 6801564 h 6858000"/>
              <a:gd name="connsiteX389" fmla="*/ 2629626 w 7467600"/>
              <a:gd name="connsiteY389" fmla="*/ 6763394 h 6858000"/>
              <a:gd name="connsiteX390" fmla="*/ 2565328 w 7467600"/>
              <a:gd name="connsiteY390" fmla="*/ 5516399 h 6858000"/>
              <a:gd name="connsiteX391" fmla="*/ 1922999 w 7467600"/>
              <a:gd name="connsiteY391" fmla="*/ 5980343 h 6858000"/>
              <a:gd name="connsiteX392" fmla="*/ 1950261 w 7467600"/>
              <a:gd name="connsiteY392" fmla="*/ 6405858 h 6858000"/>
              <a:gd name="connsiteX393" fmla="*/ 2365554 w 7467600"/>
              <a:gd name="connsiteY393" fmla="*/ 6759107 h 6858000"/>
              <a:gd name="connsiteX394" fmla="*/ 2424142 w 7467600"/>
              <a:gd name="connsiteY394" fmla="*/ 6858000 h 6858000"/>
              <a:gd name="connsiteX395" fmla="*/ 2395994 w 7467600"/>
              <a:gd name="connsiteY395" fmla="*/ 6858000 h 6858000"/>
              <a:gd name="connsiteX396" fmla="*/ 2392863 w 7467600"/>
              <a:gd name="connsiteY396" fmla="*/ 6852964 h 6858000"/>
              <a:gd name="connsiteX397" fmla="*/ 2017589 w 7467600"/>
              <a:gd name="connsiteY397" fmla="*/ 6493982 h 6858000"/>
              <a:gd name="connsiteX398" fmla="*/ 2147336 w 7467600"/>
              <a:gd name="connsiteY398" fmla="*/ 6594052 h 6858000"/>
              <a:gd name="connsiteX399" fmla="*/ 2207047 w 7467600"/>
              <a:gd name="connsiteY399" fmla="*/ 6654540 h 6858000"/>
              <a:gd name="connsiteX400" fmla="*/ 2299106 w 7467600"/>
              <a:gd name="connsiteY400" fmla="*/ 6778931 h 6858000"/>
              <a:gd name="connsiteX401" fmla="*/ 2314430 w 7467600"/>
              <a:gd name="connsiteY401" fmla="*/ 6801144 h 6858000"/>
              <a:gd name="connsiteX402" fmla="*/ 2352406 w 7467600"/>
              <a:gd name="connsiteY402" fmla="*/ 6858000 h 6858000"/>
              <a:gd name="connsiteX403" fmla="*/ 2314492 w 7467600"/>
              <a:gd name="connsiteY403" fmla="*/ 6858000 h 6858000"/>
              <a:gd name="connsiteX404" fmla="*/ 2288095 w 7467600"/>
              <a:gd name="connsiteY404" fmla="*/ 6818030 h 6858000"/>
              <a:gd name="connsiteX405" fmla="*/ 2272768 w 7467600"/>
              <a:gd name="connsiteY405" fmla="*/ 6795822 h 6858000"/>
              <a:gd name="connsiteX406" fmla="*/ 2182715 w 7467600"/>
              <a:gd name="connsiteY406" fmla="*/ 6675071 h 6858000"/>
              <a:gd name="connsiteX407" fmla="*/ 2032061 w 7467600"/>
              <a:gd name="connsiteY407" fmla="*/ 6541380 h 6858000"/>
              <a:gd name="connsiteX408" fmla="*/ 2257220 w 7467600"/>
              <a:gd name="connsiteY408" fmla="*/ 6826257 h 6858000"/>
              <a:gd name="connsiteX409" fmla="*/ 2281324 w 7467600"/>
              <a:gd name="connsiteY409" fmla="*/ 6858000 h 6858000"/>
              <a:gd name="connsiteX410" fmla="*/ 2242860 w 7467600"/>
              <a:gd name="connsiteY410" fmla="*/ 6858000 h 6858000"/>
              <a:gd name="connsiteX411" fmla="*/ 2232818 w 7467600"/>
              <a:gd name="connsiteY411" fmla="*/ 6844926 h 6858000"/>
              <a:gd name="connsiteX412" fmla="*/ 1990172 w 7467600"/>
              <a:gd name="connsiteY412" fmla="*/ 6542121 h 6858000"/>
              <a:gd name="connsiteX413" fmla="*/ 2124090 w 7467600"/>
              <a:gd name="connsiteY413" fmla="*/ 6761017 h 6858000"/>
              <a:gd name="connsiteX414" fmla="*/ 2200380 w 7467600"/>
              <a:gd name="connsiteY414" fmla="*/ 6858000 h 6858000"/>
              <a:gd name="connsiteX415" fmla="*/ 2147507 w 7467600"/>
              <a:gd name="connsiteY415" fmla="*/ 6858000 h 6858000"/>
              <a:gd name="connsiteX416" fmla="*/ 2070668 w 7467600"/>
              <a:gd name="connsiteY416" fmla="*/ 6761520 h 6858000"/>
              <a:gd name="connsiteX417" fmla="*/ 1975142 w 7467600"/>
              <a:gd name="connsiteY417" fmla="*/ 6585570 h 6858000"/>
              <a:gd name="connsiteX418" fmla="*/ 2050035 w 7467600"/>
              <a:gd name="connsiteY418" fmla="*/ 6813345 h 6858000"/>
              <a:gd name="connsiteX419" fmla="*/ 2063025 w 7467600"/>
              <a:gd name="connsiteY419" fmla="*/ 6858000 h 6858000"/>
              <a:gd name="connsiteX420" fmla="*/ 2021675 w 7467600"/>
              <a:gd name="connsiteY420" fmla="*/ 6858000 h 6858000"/>
              <a:gd name="connsiteX421" fmla="*/ 2019308 w 7467600"/>
              <a:gd name="connsiteY421" fmla="*/ 6847118 h 6858000"/>
              <a:gd name="connsiteX422" fmla="*/ 1938835 w 7467600"/>
              <a:gd name="connsiteY422" fmla="*/ 6551160 h 6858000"/>
              <a:gd name="connsiteX423" fmla="*/ 1953230 w 7467600"/>
              <a:gd name="connsiteY423" fmla="*/ 6759699 h 6858000"/>
              <a:gd name="connsiteX424" fmla="*/ 1956763 w 7467600"/>
              <a:gd name="connsiteY424" fmla="*/ 6778191 h 6858000"/>
              <a:gd name="connsiteX425" fmla="*/ 1967925 w 7467600"/>
              <a:gd name="connsiteY425" fmla="*/ 6858000 h 6858000"/>
              <a:gd name="connsiteX426" fmla="*/ 1936622 w 7467600"/>
              <a:gd name="connsiteY426" fmla="*/ 6858000 h 6858000"/>
              <a:gd name="connsiteX427" fmla="*/ 1926261 w 7467600"/>
              <a:gd name="connsiteY427" fmla="*/ 6784064 h 6858000"/>
              <a:gd name="connsiteX428" fmla="*/ 1922724 w 7467600"/>
              <a:gd name="connsiteY428" fmla="*/ 6765577 h 6858000"/>
              <a:gd name="connsiteX429" fmla="*/ 1904650 w 7467600"/>
              <a:gd name="connsiteY429" fmla="*/ 6639616 h 6858000"/>
              <a:gd name="connsiteX430" fmla="*/ 1885273 w 7467600"/>
              <a:gd name="connsiteY430" fmla="*/ 6858000 h 6858000"/>
              <a:gd name="connsiteX431" fmla="*/ 1854363 w 7467600"/>
              <a:gd name="connsiteY431" fmla="*/ 6858000 h 6858000"/>
              <a:gd name="connsiteX432" fmla="*/ 1880391 w 7467600"/>
              <a:gd name="connsiteY432" fmla="*/ 6603796 h 6858000"/>
              <a:gd name="connsiteX433" fmla="*/ 1818273 w 7467600"/>
              <a:gd name="connsiteY433" fmla="*/ 6715729 h 6858000"/>
              <a:gd name="connsiteX434" fmla="*/ 1794691 w 7467600"/>
              <a:gd name="connsiteY434" fmla="*/ 6843239 h 6858000"/>
              <a:gd name="connsiteX435" fmla="*/ 1794914 w 7467600"/>
              <a:gd name="connsiteY435" fmla="*/ 6858000 h 6858000"/>
              <a:gd name="connsiteX436" fmla="*/ 1746128 w 7467600"/>
              <a:gd name="connsiteY436" fmla="*/ 6858000 h 6858000"/>
              <a:gd name="connsiteX437" fmla="*/ 1753934 w 7467600"/>
              <a:gd name="connsiteY437" fmla="*/ 6724796 h 6858000"/>
              <a:gd name="connsiteX438" fmla="*/ 1792053 w 7467600"/>
              <a:gd name="connsiteY438" fmla="*/ 6572396 h 6858000"/>
              <a:gd name="connsiteX439" fmla="*/ 1862248 w 7467600"/>
              <a:gd name="connsiteY439" fmla="*/ 6266397 h 6858000"/>
              <a:gd name="connsiteX440" fmla="*/ 1862250 w 7467600"/>
              <a:gd name="connsiteY440" fmla="*/ 6033531 h 6858000"/>
              <a:gd name="connsiteX441" fmla="*/ 1211999 w 7467600"/>
              <a:gd name="connsiteY441" fmla="*/ 6683610 h 6858000"/>
              <a:gd name="connsiteX442" fmla="*/ 1213266 w 7467600"/>
              <a:gd name="connsiteY442" fmla="*/ 6691947 h 6858000"/>
              <a:gd name="connsiteX443" fmla="*/ 1203370 w 7467600"/>
              <a:gd name="connsiteY443" fmla="*/ 6850676 h 6858000"/>
              <a:gd name="connsiteX444" fmla="*/ 1203671 w 7467600"/>
              <a:gd name="connsiteY444" fmla="*/ 6858000 h 6858000"/>
              <a:gd name="connsiteX445" fmla="*/ 1143180 w 7467600"/>
              <a:gd name="connsiteY445" fmla="*/ 6858000 h 6858000"/>
              <a:gd name="connsiteX446" fmla="*/ 1142176 w 7467600"/>
              <a:gd name="connsiteY446" fmla="*/ 6766045 h 6858000"/>
              <a:gd name="connsiteX447" fmla="*/ 1067484 w 7467600"/>
              <a:gd name="connsiteY447" fmla="*/ 6858000 h 6858000"/>
              <a:gd name="connsiteX448" fmla="*/ 953928 w 7467600"/>
              <a:gd name="connsiteY448" fmla="*/ 6858000 h 6858000"/>
              <a:gd name="connsiteX449" fmla="*/ 959715 w 7467600"/>
              <a:gd name="connsiteY449" fmla="*/ 6850185 h 6858000"/>
              <a:gd name="connsiteX450" fmla="*/ 1483788 w 7467600"/>
              <a:gd name="connsiteY450" fmla="*/ 6259174 h 6858000"/>
              <a:gd name="connsiteX451" fmla="*/ 1100671 w 7467600"/>
              <a:gd name="connsiteY451" fmla="*/ 6252137 h 6858000"/>
              <a:gd name="connsiteX452" fmla="*/ 1090144 w 7467600"/>
              <a:gd name="connsiteY452" fmla="*/ 6256748 h 6858000"/>
              <a:gd name="connsiteX453" fmla="*/ 1095872 w 7467600"/>
              <a:gd name="connsiteY453" fmla="*/ 6271892 h 6858000"/>
              <a:gd name="connsiteX454" fmla="*/ 262785 w 7467600"/>
              <a:gd name="connsiteY454" fmla="*/ 6845450 h 6858000"/>
              <a:gd name="connsiteX455" fmla="*/ 209968 w 7467600"/>
              <a:gd name="connsiteY455" fmla="*/ 6770713 h 6858000"/>
              <a:gd name="connsiteX456" fmla="*/ 873460 w 7467600"/>
              <a:gd name="connsiteY456" fmla="*/ 6253768 h 6858000"/>
              <a:gd name="connsiteX457" fmla="*/ 192686 w 7467600"/>
              <a:gd name="connsiteY457" fmla="*/ 5849257 h 6858000"/>
              <a:gd name="connsiteX458" fmla="*/ 4696 w 7467600"/>
              <a:gd name="connsiteY458" fmla="*/ 5697668 h 6858000"/>
              <a:gd name="connsiteX459" fmla="*/ 0 w 7467600"/>
              <a:gd name="connsiteY459" fmla="*/ 5689984 h 6858000"/>
              <a:gd name="connsiteX460" fmla="*/ 0 w 7467600"/>
              <a:gd name="connsiteY460" fmla="*/ 5513472 h 6858000"/>
              <a:gd name="connsiteX461" fmla="*/ 174101 w 7467600"/>
              <a:gd name="connsiteY461" fmla="*/ 5620277 h 6858000"/>
              <a:gd name="connsiteX462" fmla="*/ 891800 w 7467600"/>
              <a:gd name="connsiteY462" fmla="*/ 6036935 h 6858000"/>
              <a:gd name="connsiteX463" fmla="*/ 1072219 w 7467600"/>
              <a:gd name="connsiteY463" fmla="*/ 6169443 h 6858000"/>
              <a:gd name="connsiteX464" fmla="*/ 1074117 w 7467600"/>
              <a:gd name="connsiteY464" fmla="*/ 6170301 h 6858000"/>
              <a:gd name="connsiteX465" fmla="*/ 1083114 w 7467600"/>
              <a:gd name="connsiteY465" fmla="*/ 6174131 h 6858000"/>
              <a:gd name="connsiteX466" fmla="*/ 1543010 w 7467600"/>
              <a:gd name="connsiteY466" fmla="*/ 6191140 h 6858000"/>
              <a:gd name="connsiteX467" fmla="*/ 1551080 w 7467600"/>
              <a:gd name="connsiteY467" fmla="*/ 6195006 h 6858000"/>
              <a:gd name="connsiteX468" fmla="*/ 2345443 w 7467600"/>
              <a:gd name="connsiteY468" fmla="*/ 5549882 h 6858000"/>
              <a:gd name="connsiteX469" fmla="*/ 1721499 w 7467600"/>
              <a:gd name="connsiteY469" fmla="*/ 5599969 h 6858000"/>
              <a:gd name="connsiteX470" fmla="*/ 767716 w 7467600"/>
              <a:gd name="connsiteY470" fmla="*/ 5472768 h 6858000"/>
              <a:gd name="connsiteX471" fmla="*/ 722147 w 7467600"/>
              <a:gd name="connsiteY471" fmla="*/ 5393091 h 6858000"/>
              <a:gd name="connsiteX472" fmla="*/ 1485552 w 7467600"/>
              <a:gd name="connsiteY472" fmla="*/ 5313202 h 6858000"/>
              <a:gd name="connsiteX473" fmla="*/ 2143004 w 7467600"/>
              <a:gd name="connsiteY473" fmla="*/ 5402420 h 6858000"/>
              <a:gd name="connsiteX474" fmla="*/ 1933391 w 7467600"/>
              <a:gd name="connsiteY474" fmla="*/ 5156971 h 6858000"/>
              <a:gd name="connsiteX475" fmla="*/ 1827118 w 7467600"/>
              <a:gd name="connsiteY475" fmla="*/ 4968410 h 6858000"/>
              <a:gd name="connsiteX476" fmla="*/ 1837349 w 7467600"/>
              <a:gd name="connsiteY476" fmla="*/ 4956357 h 6858000"/>
              <a:gd name="connsiteX477" fmla="*/ 2162835 w 7467600"/>
              <a:gd name="connsiteY477" fmla="*/ 5187853 h 6858000"/>
              <a:gd name="connsiteX478" fmla="*/ 2257167 w 7467600"/>
              <a:gd name="connsiteY478" fmla="*/ 5462123 h 6858000"/>
              <a:gd name="connsiteX479" fmla="*/ 2261598 w 7467600"/>
              <a:gd name="connsiteY479" fmla="*/ 5467998 h 6858000"/>
              <a:gd name="connsiteX480" fmla="*/ 2437177 w 7467600"/>
              <a:gd name="connsiteY480" fmla="*/ 5479608 h 6858000"/>
              <a:gd name="connsiteX481" fmla="*/ 2445247 w 7467600"/>
              <a:gd name="connsiteY481" fmla="*/ 5483476 h 6858000"/>
              <a:gd name="connsiteX482" fmla="*/ 2743626 w 7467600"/>
              <a:gd name="connsiteY482" fmla="*/ 5304819 h 6858000"/>
              <a:gd name="connsiteX483" fmla="*/ 3048102 w 7467600"/>
              <a:gd name="connsiteY483" fmla="*/ 5150595 h 6858000"/>
              <a:gd name="connsiteX484" fmla="*/ 1799414 w 7467600"/>
              <a:gd name="connsiteY484" fmla="*/ 4694732 h 6858000"/>
              <a:gd name="connsiteX485" fmla="*/ 1771735 w 7467600"/>
              <a:gd name="connsiteY485" fmla="*/ 4619929 h 6858000"/>
              <a:gd name="connsiteX486" fmla="*/ 3104273 w 7467600"/>
              <a:gd name="connsiteY486" fmla="*/ 5076159 h 6858000"/>
              <a:gd name="connsiteX487" fmla="*/ 3113245 w 7467600"/>
              <a:gd name="connsiteY487" fmla="*/ 5090705 h 6858000"/>
              <a:gd name="connsiteX488" fmla="*/ 3126294 w 7467600"/>
              <a:gd name="connsiteY488" fmla="*/ 5114400 h 6858000"/>
              <a:gd name="connsiteX489" fmla="*/ 3937433 w 7467600"/>
              <a:gd name="connsiteY489" fmla="*/ 4830473 h 6858000"/>
              <a:gd name="connsiteX490" fmla="*/ 3590475 w 7467600"/>
              <a:gd name="connsiteY490" fmla="*/ 4597974 h 6858000"/>
              <a:gd name="connsiteX491" fmla="*/ 3100264 w 7467600"/>
              <a:gd name="connsiteY491" fmla="*/ 4579845 h 6858000"/>
              <a:gd name="connsiteX492" fmla="*/ 2183576 w 7467600"/>
              <a:gd name="connsiteY492" fmla="*/ 4227150 h 6858000"/>
              <a:gd name="connsiteX493" fmla="*/ 2151029 w 7467600"/>
              <a:gd name="connsiteY493" fmla="*/ 4146947 h 6858000"/>
              <a:gd name="connsiteX494" fmla="*/ 3563434 w 7467600"/>
              <a:gd name="connsiteY494" fmla="*/ 4469115 h 6858000"/>
              <a:gd name="connsiteX495" fmla="*/ 3177952 w 7467600"/>
              <a:gd name="connsiteY495" fmla="*/ 3657386 h 6858000"/>
              <a:gd name="connsiteX496" fmla="*/ 3189263 w 7467600"/>
              <a:gd name="connsiteY496" fmla="*/ 3625726 h 6858000"/>
              <a:gd name="connsiteX497" fmla="*/ 3560912 w 7467600"/>
              <a:gd name="connsiteY497" fmla="*/ 4079863 h 6858000"/>
              <a:gd name="connsiteX498" fmla="*/ 3626636 w 7467600"/>
              <a:gd name="connsiteY498" fmla="*/ 4512230 h 6858000"/>
              <a:gd name="connsiteX499" fmla="*/ 3653088 w 7467600"/>
              <a:gd name="connsiteY499" fmla="*/ 4521417 h 6858000"/>
              <a:gd name="connsiteX500" fmla="*/ 3988128 w 7467600"/>
              <a:gd name="connsiteY500" fmla="*/ 4817267 h 6858000"/>
              <a:gd name="connsiteX501" fmla="*/ 4830582 w 7467600"/>
              <a:gd name="connsiteY501" fmla="*/ 4676000 h 6858000"/>
              <a:gd name="connsiteX502" fmla="*/ 4830100 w 7467600"/>
              <a:gd name="connsiteY502" fmla="*/ 4675554 h 6858000"/>
              <a:gd name="connsiteX503" fmla="*/ 4036318 w 7467600"/>
              <a:gd name="connsiteY503" fmla="*/ 4147013 h 6858000"/>
              <a:gd name="connsiteX504" fmla="*/ 3432098 w 7467600"/>
              <a:gd name="connsiteY504" fmla="*/ 3537312 h 6858000"/>
              <a:gd name="connsiteX505" fmla="*/ 3446761 w 7467600"/>
              <a:gd name="connsiteY505" fmla="*/ 3461278 h 6858000"/>
              <a:gd name="connsiteX506" fmla="*/ 4419733 w 7467600"/>
              <a:gd name="connsiteY506" fmla="*/ 3963555 h 6858000"/>
              <a:gd name="connsiteX507" fmla="*/ 4781371 w 7467600"/>
              <a:gd name="connsiteY507" fmla="*/ 4458604 h 6858000"/>
              <a:gd name="connsiteX508" fmla="*/ 4780440 w 7467600"/>
              <a:gd name="connsiteY508" fmla="*/ 4470290 h 6858000"/>
              <a:gd name="connsiteX509" fmla="*/ 4898954 w 7467600"/>
              <a:gd name="connsiteY509" fmla="*/ 4662092 h 6858000"/>
              <a:gd name="connsiteX510" fmla="*/ 4900699 w 7467600"/>
              <a:gd name="connsiteY510" fmla="*/ 4670867 h 6858000"/>
              <a:gd name="connsiteX511" fmla="*/ 5714511 w 7467600"/>
              <a:gd name="connsiteY511" fmla="*/ 4663483 h 6858000"/>
              <a:gd name="connsiteX512" fmla="*/ 5464793 w 7467600"/>
              <a:gd name="connsiteY512" fmla="*/ 4393556 h 6858000"/>
              <a:gd name="connsiteX513" fmla="*/ 5461897 w 7467600"/>
              <a:gd name="connsiteY513" fmla="*/ 4390879 h 6858000"/>
              <a:gd name="connsiteX514" fmla="*/ 4294126 w 7467600"/>
              <a:gd name="connsiteY514" fmla="*/ 3303048 h 6858000"/>
              <a:gd name="connsiteX515" fmla="*/ 4305321 w 7467600"/>
              <a:gd name="connsiteY515" fmla="*/ 3256953 h 6858000"/>
              <a:gd name="connsiteX516" fmla="*/ 4949299 w 7467600"/>
              <a:gd name="connsiteY516" fmla="*/ 3766336 h 6858000"/>
              <a:gd name="connsiteX517" fmla="*/ 5291452 w 7467600"/>
              <a:gd name="connsiteY517" fmla="*/ 4076801 h 6858000"/>
              <a:gd name="connsiteX518" fmla="*/ 5434998 w 7467600"/>
              <a:gd name="connsiteY518" fmla="*/ 4254100 h 6858000"/>
              <a:gd name="connsiteX519" fmla="*/ 5351015 w 7467600"/>
              <a:gd name="connsiteY519" fmla="*/ 3760989 h 6858000"/>
              <a:gd name="connsiteX520" fmla="*/ 5413780 w 7467600"/>
              <a:gd name="connsiteY520" fmla="*/ 2966265 h 6858000"/>
              <a:gd name="connsiteX521" fmla="*/ 5425627 w 7467600"/>
              <a:gd name="connsiteY521" fmla="*/ 2954192 h 6858000"/>
              <a:gd name="connsiteX522" fmla="*/ 6604735 w 7467600"/>
              <a:gd name="connsiteY522" fmla="*/ 2041381 h 6858000"/>
              <a:gd name="connsiteX523" fmla="*/ 7204487 w 7467600"/>
              <a:gd name="connsiteY523" fmla="*/ 2742112 h 6858000"/>
              <a:gd name="connsiteX524" fmla="*/ 7131592 w 7467600"/>
              <a:gd name="connsiteY524" fmla="*/ 2672096 h 6858000"/>
              <a:gd name="connsiteX525" fmla="*/ 6996344 w 7467600"/>
              <a:gd name="connsiteY525" fmla="*/ 2518310 h 6858000"/>
              <a:gd name="connsiteX526" fmla="*/ 6735495 w 7467600"/>
              <a:gd name="connsiteY526" fmla="*/ 2196890 h 6858000"/>
              <a:gd name="connsiteX527" fmla="*/ 6721901 w 7467600"/>
              <a:gd name="connsiteY527" fmla="*/ 2179274 h 6858000"/>
              <a:gd name="connsiteX528" fmla="*/ 6604735 w 7467600"/>
              <a:gd name="connsiteY528" fmla="*/ 2041381 h 6858000"/>
              <a:gd name="connsiteX529" fmla="*/ 6591670 w 7467600"/>
              <a:gd name="connsiteY529" fmla="*/ 1988277 h 6858000"/>
              <a:gd name="connsiteX530" fmla="*/ 6747349 w 7467600"/>
              <a:gd name="connsiteY530" fmla="*/ 2160069 h 6858000"/>
              <a:gd name="connsiteX531" fmla="*/ 6760943 w 7467600"/>
              <a:gd name="connsiteY531" fmla="*/ 2177686 h 6858000"/>
              <a:gd name="connsiteX532" fmla="*/ 7021065 w 7467600"/>
              <a:gd name="connsiteY532" fmla="*/ 2498102 h 6858000"/>
              <a:gd name="connsiteX533" fmla="*/ 7155223 w 7467600"/>
              <a:gd name="connsiteY533" fmla="*/ 2650386 h 6858000"/>
              <a:gd name="connsiteX534" fmla="*/ 7203167 w 7467600"/>
              <a:gd name="connsiteY534" fmla="*/ 2697288 h 6858000"/>
              <a:gd name="connsiteX535" fmla="*/ 6937703 w 7467600"/>
              <a:gd name="connsiteY535" fmla="*/ 2321981 h 6858000"/>
              <a:gd name="connsiteX536" fmla="*/ 6591670 w 7467600"/>
              <a:gd name="connsiteY536" fmla="*/ 1988277 h 6858000"/>
              <a:gd name="connsiteX537" fmla="*/ 5798671 w 7467600"/>
              <a:gd name="connsiteY537" fmla="*/ 1981601 h 6858000"/>
              <a:gd name="connsiteX538" fmla="*/ 5754709 w 7467600"/>
              <a:gd name="connsiteY538" fmla="*/ 2071454 h 6858000"/>
              <a:gd name="connsiteX539" fmla="*/ 5763044 w 7467600"/>
              <a:gd name="connsiteY539" fmla="*/ 2842206 h 6858000"/>
              <a:gd name="connsiteX540" fmla="*/ 5764974 w 7467600"/>
              <a:gd name="connsiteY540" fmla="*/ 2799609 h 6858000"/>
              <a:gd name="connsiteX541" fmla="*/ 5767665 w 7467600"/>
              <a:gd name="connsiteY541" fmla="*/ 2666409 h 6858000"/>
              <a:gd name="connsiteX542" fmla="*/ 5763055 w 7467600"/>
              <a:gd name="connsiteY542" fmla="*/ 2579705 h 6858000"/>
              <a:gd name="connsiteX543" fmla="*/ 5758079 w 7467600"/>
              <a:gd name="connsiteY543" fmla="*/ 2492508 h 6858000"/>
              <a:gd name="connsiteX544" fmla="*/ 5779325 w 7467600"/>
              <a:gd name="connsiteY544" fmla="*/ 2197069 h 6858000"/>
              <a:gd name="connsiteX545" fmla="*/ 5798671 w 7467600"/>
              <a:gd name="connsiteY545" fmla="*/ 1981601 h 6858000"/>
              <a:gd name="connsiteX546" fmla="*/ 5829202 w 7467600"/>
              <a:gd name="connsiteY546" fmla="*/ 1971679 h 6858000"/>
              <a:gd name="connsiteX547" fmla="*/ 5809558 w 7467600"/>
              <a:gd name="connsiteY547" fmla="*/ 2198043 h 6858000"/>
              <a:gd name="connsiteX548" fmla="*/ 5788653 w 7467600"/>
              <a:gd name="connsiteY548" fmla="*/ 2489430 h 6858000"/>
              <a:gd name="connsiteX549" fmla="*/ 5793439 w 7467600"/>
              <a:gd name="connsiteY549" fmla="*/ 2575235 h 6858000"/>
              <a:gd name="connsiteX550" fmla="*/ 5796837 w 7467600"/>
              <a:gd name="connsiteY550" fmla="*/ 2637633 h 6858000"/>
              <a:gd name="connsiteX551" fmla="*/ 5818614 w 7467600"/>
              <a:gd name="connsiteY551" fmla="*/ 2473055 h 6858000"/>
              <a:gd name="connsiteX552" fmla="*/ 5829202 w 7467600"/>
              <a:gd name="connsiteY552" fmla="*/ 1971679 h 6858000"/>
              <a:gd name="connsiteX553" fmla="*/ 5911389 w 7467600"/>
              <a:gd name="connsiteY553" fmla="*/ 1898371 h 6858000"/>
              <a:gd name="connsiteX554" fmla="*/ 6237627 w 7467600"/>
              <a:gd name="connsiteY554" fmla="*/ 2231921 h 6858000"/>
              <a:gd name="connsiteX555" fmla="*/ 5911389 w 7467600"/>
              <a:gd name="connsiteY555" fmla="*/ 1898371 h 6858000"/>
              <a:gd name="connsiteX556" fmla="*/ 6944437 w 7467600"/>
              <a:gd name="connsiteY556" fmla="*/ 1575402 h 6858000"/>
              <a:gd name="connsiteX557" fmla="*/ 6304730 w 7467600"/>
              <a:gd name="connsiteY557" fmla="*/ 1766654 h 6858000"/>
              <a:gd name="connsiteX558" fmla="*/ 6944437 w 7467600"/>
              <a:gd name="connsiteY558" fmla="*/ 1575402 h 6858000"/>
              <a:gd name="connsiteX559" fmla="*/ 7019523 w 7467600"/>
              <a:gd name="connsiteY559" fmla="*/ 1519450 h 6858000"/>
              <a:gd name="connsiteX560" fmla="*/ 6298091 w 7467600"/>
              <a:gd name="connsiteY560" fmla="*/ 1737122 h 6858000"/>
              <a:gd name="connsiteX561" fmla="*/ 7019523 w 7467600"/>
              <a:gd name="connsiteY561" fmla="*/ 1519450 h 6858000"/>
              <a:gd name="connsiteX562" fmla="*/ 2399523 w 7467600"/>
              <a:gd name="connsiteY562" fmla="*/ 1428234 h 6858000"/>
              <a:gd name="connsiteX563" fmla="*/ 2224982 w 7467600"/>
              <a:gd name="connsiteY563" fmla="*/ 1826201 h 6858000"/>
              <a:gd name="connsiteX564" fmla="*/ 2096099 w 7467600"/>
              <a:gd name="connsiteY564" fmla="*/ 2345900 h 6858000"/>
              <a:gd name="connsiteX565" fmla="*/ 2283317 w 7467600"/>
              <a:gd name="connsiteY565" fmla="*/ 1796925 h 6858000"/>
              <a:gd name="connsiteX566" fmla="*/ 2399523 w 7467600"/>
              <a:gd name="connsiteY566" fmla="*/ 1428234 h 6858000"/>
              <a:gd name="connsiteX567" fmla="*/ 2448558 w 7467600"/>
              <a:gd name="connsiteY567" fmla="*/ 1373435 h 6858000"/>
              <a:gd name="connsiteX568" fmla="*/ 2312521 w 7467600"/>
              <a:gd name="connsiteY568" fmla="*/ 1806140 h 6858000"/>
              <a:gd name="connsiteX569" fmla="*/ 2127533 w 7467600"/>
              <a:gd name="connsiteY569" fmla="*/ 2348380 h 6858000"/>
              <a:gd name="connsiteX570" fmla="*/ 2358080 w 7467600"/>
              <a:gd name="connsiteY570" fmla="*/ 1866134 h 6858000"/>
              <a:gd name="connsiteX571" fmla="*/ 2407436 w 7467600"/>
              <a:gd name="connsiteY571" fmla="*/ 1651070 h 6858000"/>
              <a:gd name="connsiteX572" fmla="*/ 2448558 w 7467600"/>
              <a:gd name="connsiteY572" fmla="*/ 1373435 h 6858000"/>
              <a:gd name="connsiteX573" fmla="*/ 278707 w 7467600"/>
              <a:gd name="connsiteY573" fmla="*/ 1352270 h 6858000"/>
              <a:gd name="connsiteX574" fmla="*/ 321570 w 7467600"/>
              <a:gd name="connsiteY574" fmla="*/ 1861610 h 6858000"/>
              <a:gd name="connsiteX575" fmla="*/ 294281 w 7467600"/>
              <a:gd name="connsiteY575" fmla="*/ 1440658 h 6858000"/>
              <a:gd name="connsiteX576" fmla="*/ 278707 w 7467600"/>
              <a:gd name="connsiteY576" fmla="*/ 1352270 h 6858000"/>
              <a:gd name="connsiteX577" fmla="*/ 1423821 w 7467600"/>
              <a:gd name="connsiteY577" fmla="*/ 1351958 h 6858000"/>
              <a:gd name="connsiteX578" fmla="*/ 1638521 w 7467600"/>
              <a:gd name="connsiteY578" fmla="*/ 1908470 h 6858000"/>
              <a:gd name="connsiteX579" fmla="*/ 1754199 w 7467600"/>
              <a:gd name="connsiteY579" fmla="*/ 2149284 h 6858000"/>
              <a:gd name="connsiteX580" fmla="*/ 1908359 w 7467600"/>
              <a:gd name="connsiteY580" fmla="*/ 2364988 h 6858000"/>
              <a:gd name="connsiteX581" fmla="*/ 1647661 w 7467600"/>
              <a:gd name="connsiteY581" fmla="*/ 1825945 h 6858000"/>
              <a:gd name="connsiteX582" fmla="*/ 1423821 w 7467600"/>
              <a:gd name="connsiteY582" fmla="*/ 1351958 h 6858000"/>
              <a:gd name="connsiteX583" fmla="*/ 1431890 w 7467600"/>
              <a:gd name="connsiteY583" fmla="*/ 1306475 h 6858000"/>
              <a:gd name="connsiteX584" fmla="*/ 1507597 w 7467600"/>
              <a:gd name="connsiteY584" fmla="*/ 1446132 h 6858000"/>
              <a:gd name="connsiteX585" fmla="*/ 1674586 w 7467600"/>
              <a:gd name="connsiteY585" fmla="*/ 1813832 h 6858000"/>
              <a:gd name="connsiteX586" fmla="*/ 1815950 w 7467600"/>
              <a:gd name="connsiteY586" fmla="*/ 2128564 h 6858000"/>
              <a:gd name="connsiteX587" fmla="*/ 1984242 w 7467600"/>
              <a:gd name="connsiteY587" fmla="*/ 2430829 h 6858000"/>
              <a:gd name="connsiteX588" fmla="*/ 2014023 w 7467600"/>
              <a:gd name="connsiteY588" fmla="*/ 2450995 h 6858000"/>
              <a:gd name="connsiteX589" fmla="*/ 1747337 w 7467600"/>
              <a:gd name="connsiteY589" fmla="*/ 1855264 h 6858000"/>
              <a:gd name="connsiteX590" fmla="*/ 1533749 w 7467600"/>
              <a:gd name="connsiteY590" fmla="*/ 1478656 h 6858000"/>
              <a:gd name="connsiteX591" fmla="*/ 1431890 w 7467600"/>
              <a:gd name="connsiteY591" fmla="*/ 1306475 h 6858000"/>
              <a:gd name="connsiteX592" fmla="*/ 5052692 w 7467600"/>
              <a:gd name="connsiteY592" fmla="*/ 1292994 h 6858000"/>
              <a:gd name="connsiteX593" fmla="*/ 5200661 w 7467600"/>
              <a:gd name="connsiteY593" fmla="*/ 1635186 h 6858000"/>
              <a:gd name="connsiteX594" fmla="*/ 5297138 w 7467600"/>
              <a:gd name="connsiteY594" fmla="*/ 1906351 h 6858000"/>
              <a:gd name="connsiteX595" fmla="*/ 5052692 w 7467600"/>
              <a:gd name="connsiteY595" fmla="*/ 1292994 h 6858000"/>
              <a:gd name="connsiteX596" fmla="*/ 5009948 w 7467600"/>
              <a:gd name="connsiteY596" fmla="*/ 1273619 h 6858000"/>
              <a:gd name="connsiteX597" fmla="*/ 5121777 w 7467600"/>
              <a:gd name="connsiteY597" fmla="*/ 1654213 h 6858000"/>
              <a:gd name="connsiteX598" fmla="*/ 5293545 w 7467600"/>
              <a:gd name="connsiteY598" fmla="*/ 2072247 h 6858000"/>
              <a:gd name="connsiteX599" fmla="*/ 5294042 w 7467600"/>
              <a:gd name="connsiteY599" fmla="*/ 2065019 h 6858000"/>
              <a:gd name="connsiteX600" fmla="*/ 5171936 w 7467600"/>
              <a:gd name="connsiteY600" fmla="*/ 1647613 h 6858000"/>
              <a:gd name="connsiteX601" fmla="*/ 5009948 w 7467600"/>
              <a:gd name="connsiteY601" fmla="*/ 1273619 h 6858000"/>
              <a:gd name="connsiteX602" fmla="*/ 655236 w 7467600"/>
              <a:gd name="connsiteY602" fmla="*/ 1268632 h 6858000"/>
              <a:gd name="connsiteX603" fmla="*/ 839521 w 7467600"/>
              <a:gd name="connsiteY603" fmla="*/ 1685315 h 6858000"/>
              <a:gd name="connsiteX604" fmla="*/ 1109416 w 7467600"/>
              <a:gd name="connsiteY604" fmla="*/ 2061663 h 6858000"/>
              <a:gd name="connsiteX605" fmla="*/ 1298300 w 7467600"/>
              <a:gd name="connsiteY605" fmla="*/ 2247742 h 6858000"/>
              <a:gd name="connsiteX606" fmla="*/ 1125871 w 7467600"/>
              <a:gd name="connsiteY606" fmla="*/ 1989513 h 6858000"/>
              <a:gd name="connsiteX607" fmla="*/ 981574 w 7467600"/>
              <a:gd name="connsiteY607" fmla="*/ 1783157 h 6858000"/>
              <a:gd name="connsiteX608" fmla="*/ 922198 w 7467600"/>
              <a:gd name="connsiteY608" fmla="*/ 1677437 h 6858000"/>
              <a:gd name="connsiteX609" fmla="*/ 869293 w 7467600"/>
              <a:gd name="connsiteY609" fmla="*/ 1583214 h 6858000"/>
              <a:gd name="connsiteX610" fmla="*/ 751431 w 7467600"/>
              <a:gd name="connsiteY610" fmla="*/ 1405731 h 6858000"/>
              <a:gd name="connsiteX611" fmla="*/ 655236 w 7467600"/>
              <a:gd name="connsiteY611" fmla="*/ 1268632 h 6858000"/>
              <a:gd name="connsiteX612" fmla="*/ 6516292 w 7467600"/>
              <a:gd name="connsiteY612" fmla="*/ 1263064 h 6858000"/>
              <a:gd name="connsiteX613" fmla="*/ 5736320 w 7467600"/>
              <a:gd name="connsiteY613" fmla="*/ 1501803 h 6858000"/>
              <a:gd name="connsiteX614" fmla="*/ 6516292 w 7467600"/>
              <a:gd name="connsiteY614" fmla="*/ 1263064 h 6858000"/>
              <a:gd name="connsiteX615" fmla="*/ 291466 w 7467600"/>
              <a:gd name="connsiteY615" fmla="*/ 1250369 h 6858000"/>
              <a:gd name="connsiteX616" fmla="*/ 323180 w 7467600"/>
              <a:gd name="connsiteY616" fmla="*/ 1435283 h 6858000"/>
              <a:gd name="connsiteX617" fmla="*/ 349381 w 7467600"/>
              <a:gd name="connsiteY617" fmla="*/ 1875041 h 6858000"/>
              <a:gd name="connsiteX618" fmla="*/ 374363 w 7467600"/>
              <a:gd name="connsiteY618" fmla="*/ 1506494 h 6858000"/>
              <a:gd name="connsiteX619" fmla="*/ 302168 w 7467600"/>
              <a:gd name="connsiteY619" fmla="*/ 1274495 h 6858000"/>
              <a:gd name="connsiteX620" fmla="*/ 291466 w 7467600"/>
              <a:gd name="connsiteY620" fmla="*/ 1250369 h 6858000"/>
              <a:gd name="connsiteX621" fmla="*/ 678222 w 7467600"/>
              <a:gd name="connsiteY621" fmla="*/ 1248670 h 6858000"/>
              <a:gd name="connsiteX622" fmla="*/ 775536 w 7467600"/>
              <a:gd name="connsiteY622" fmla="*/ 1388015 h 6858000"/>
              <a:gd name="connsiteX623" fmla="*/ 894529 w 7467600"/>
              <a:gd name="connsiteY623" fmla="*/ 1567739 h 6858000"/>
              <a:gd name="connsiteX624" fmla="*/ 948000 w 7467600"/>
              <a:gd name="connsiteY624" fmla="*/ 1663088 h 6858000"/>
              <a:gd name="connsiteX625" fmla="*/ 1006812 w 7467600"/>
              <a:gd name="connsiteY625" fmla="*/ 1767683 h 6858000"/>
              <a:gd name="connsiteX626" fmla="*/ 1149133 w 7467600"/>
              <a:gd name="connsiteY626" fmla="*/ 1971513 h 6858000"/>
              <a:gd name="connsiteX627" fmla="*/ 1333952 w 7467600"/>
              <a:gd name="connsiteY627" fmla="*/ 2251620 h 6858000"/>
              <a:gd name="connsiteX628" fmla="*/ 1337329 w 7467600"/>
              <a:gd name="connsiteY628" fmla="*/ 2258350 h 6858000"/>
              <a:gd name="connsiteX629" fmla="*/ 1014726 w 7467600"/>
              <a:gd name="connsiteY629" fmla="*/ 1615556 h 6858000"/>
              <a:gd name="connsiteX630" fmla="*/ 678222 w 7467600"/>
              <a:gd name="connsiteY630" fmla="*/ 1248670 h 6858000"/>
              <a:gd name="connsiteX631" fmla="*/ 6691602 w 7467600"/>
              <a:gd name="connsiteY631" fmla="*/ 1140573 h 6858000"/>
              <a:gd name="connsiteX632" fmla="*/ 6571100 w 7467600"/>
              <a:gd name="connsiteY632" fmla="*/ 1183662 h 6858000"/>
              <a:gd name="connsiteX633" fmla="*/ 6241687 w 7467600"/>
              <a:gd name="connsiteY633" fmla="*/ 1257600 h 6858000"/>
              <a:gd name="connsiteX634" fmla="*/ 5693009 w 7467600"/>
              <a:gd name="connsiteY634" fmla="*/ 1478256 h 6858000"/>
              <a:gd name="connsiteX635" fmla="*/ 6548420 w 7467600"/>
              <a:gd name="connsiteY635" fmla="*/ 1214599 h 6858000"/>
              <a:gd name="connsiteX636" fmla="*/ 6605473 w 7467600"/>
              <a:gd name="connsiteY636" fmla="*/ 1184686 h 6858000"/>
              <a:gd name="connsiteX637" fmla="*/ 6691602 w 7467600"/>
              <a:gd name="connsiteY637" fmla="*/ 1140573 h 6858000"/>
              <a:gd name="connsiteX638" fmla="*/ 4002475 w 7467600"/>
              <a:gd name="connsiteY638" fmla="*/ 1037802 h 6858000"/>
              <a:gd name="connsiteX639" fmla="*/ 4000324 w 7467600"/>
              <a:gd name="connsiteY639" fmla="*/ 1039362 h 6858000"/>
              <a:gd name="connsiteX640" fmla="*/ 4002862 w 7467600"/>
              <a:gd name="connsiteY640" fmla="*/ 1042866 h 6858000"/>
              <a:gd name="connsiteX641" fmla="*/ 4002475 w 7467600"/>
              <a:gd name="connsiteY641" fmla="*/ 1037802 h 6858000"/>
              <a:gd name="connsiteX642" fmla="*/ 506322 w 7467600"/>
              <a:gd name="connsiteY642" fmla="*/ 1020997 h 6858000"/>
              <a:gd name="connsiteX643" fmla="*/ 533068 w 7467600"/>
              <a:gd name="connsiteY643" fmla="*/ 1029409 h 6858000"/>
              <a:gd name="connsiteX644" fmla="*/ 1232525 w 7467600"/>
              <a:gd name="connsiteY644" fmla="*/ 1804675 h 6858000"/>
              <a:gd name="connsiteX645" fmla="*/ 1388858 w 7467600"/>
              <a:gd name="connsiteY645" fmla="*/ 2368011 h 6858000"/>
              <a:gd name="connsiteX646" fmla="*/ 1384098 w 7467600"/>
              <a:gd name="connsiteY646" fmla="*/ 2378125 h 6858000"/>
              <a:gd name="connsiteX647" fmla="*/ 1425393 w 7467600"/>
              <a:gd name="connsiteY647" fmla="*/ 2589124 h 6858000"/>
              <a:gd name="connsiteX648" fmla="*/ 1424001 w 7467600"/>
              <a:gd name="connsiteY648" fmla="*/ 2597541 h 6858000"/>
              <a:gd name="connsiteX649" fmla="*/ 2152729 w 7467600"/>
              <a:gd name="connsiteY649" fmla="*/ 2864487 h 6858000"/>
              <a:gd name="connsiteX650" fmla="*/ 2020609 w 7467600"/>
              <a:gd name="connsiteY650" fmla="*/ 2539671 h 6858000"/>
              <a:gd name="connsiteX651" fmla="*/ 2018920 w 7467600"/>
              <a:gd name="connsiteY651" fmla="*/ 2536309 h 6858000"/>
              <a:gd name="connsiteX652" fmla="*/ 1342441 w 7467600"/>
              <a:gd name="connsiteY652" fmla="*/ 1173017 h 6858000"/>
              <a:gd name="connsiteX653" fmla="*/ 1367925 w 7467600"/>
              <a:gd name="connsiteY653" fmla="*/ 1135648 h 6858000"/>
              <a:gd name="connsiteX654" fmla="*/ 1771401 w 7467600"/>
              <a:gd name="connsiteY654" fmla="*/ 1806673 h 6858000"/>
              <a:gd name="connsiteX655" fmla="*/ 1972385 w 7467600"/>
              <a:gd name="connsiteY655" fmla="*/ 2198735 h 6858000"/>
              <a:gd name="connsiteX656" fmla="*/ 2040892 w 7467600"/>
              <a:gd name="connsiteY656" fmla="*/ 2405205 h 6858000"/>
              <a:gd name="connsiteX657" fmla="*/ 2131689 w 7467600"/>
              <a:gd name="connsiteY657" fmla="*/ 1936926 h 6858000"/>
              <a:gd name="connsiteX658" fmla="*/ 2454820 w 7467600"/>
              <a:gd name="connsiteY658" fmla="*/ 1248808 h 6858000"/>
              <a:gd name="connsiteX659" fmla="*/ 2492512 w 7467600"/>
              <a:gd name="connsiteY659" fmla="*/ 1302920 h 6858000"/>
              <a:gd name="connsiteX660" fmla="*/ 2081216 w 7467600"/>
              <a:gd name="connsiteY660" fmla="*/ 2527513 h 6858000"/>
              <a:gd name="connsiteX661" fmla="*/ 2081211 w 7467600"/>
              <a:gd name="connsiteY661" fmla="*/ 2528916 h 6858000"/>
              <a:gd name="connsiteX662" fmla="*/ 2199067 w 7467600"/>
              <a:gd name="connsiteY662" fmla="*/ 2884061 h 6858000"/>
              <a:gd name="connsiteX663" fmla="*/ 3192586 w 7467600"/>
              <a:gd name="connsiteY663" fmla="*/ 3411496 h 6858000"/>
              <a:gd name="connsiteX664" fmla="*/ 3182620 w 7467600"/>
              <a:gd name="connsiteY664" fmla="*/ 3483279 h 6858000"/>
              <a:gd name="connsiteX665" fmla="*/ 2435119 w 7467600"/>
              <a:gd name="connsiteY665" fmla="*/ 3080173 h 6858000"/>
              <a:gd name="connsiteX666" fmla="*/ 2410152 w 7467600"/>
              <a:gd name="connsiteY666" fmla="*/ 3063751 h 6858000"/>
              <a:gd name="connsiteX667" fmla="*/ 2408099 w 7467600"/>
              <a:gd name="connsiteY667" fmla="*/ 3064403 h 6858000"/>
              <a:gd name="connsiteX668" fmla="*/ 2407218 w 7467600"/>
              <a:gd name="connsiteY668" fmla="*/ 3070324 h 6858000"/>
              <a:gd name="connsiteX669" fmla="*/ 2380138 w 7467600"/>
              <a:gd name="connsiteY669" fmla="*/ 3099341 h 6858000"/>
              <a:gd name="connsiteX670" fmla="*/ 1765923 w 7467600"/>
              <a:gd name="connsiteY670" fmla="*/ 3581043 h 6858000"/>
              <a:gd name="connsiteX671" fmla="*/ 1702258 w 7467600"/>
              <a:gd name="connsiteY671" fmla="*/ 3612286 h 6858000"/>
              <a:gd name="connsiteX672" fmla="*/ 1538370 w 7467600"/>
              <a:gd name="connsiteY672" fmla="*/ 3811804 h 6858000"/>
              <a:gd name="connsiteX673" fmla="*/ 542867 w 7467600"/>
              <a:gd name="connsiteY673" fmla="*/ 4944092 h 6858000"/>
              <a:gd name="connsiteX674" fmla="*/ 515800 w 7467600"/>
              <a:gd name="connsiteY674" fmla="*/ 4862180 h 6858000"/>
              <a:gd name="connsiteX675" fmla="*/ 909145 w 7467600"/>
              <a:gd name="connsiteY675" fmla="*/ 4199225 h 6858000"/>
              <a:gd name="connsiteX676" fmla="*/ 1214067 w 7467600"/>
              <a:gd name="connsiteY676" fmla="*/ 3908561 h 6858000"/>
              <a:gd name="connsiteX677" fmla="*/ 640967 w 7467600"/>
              <a:gd name="connsiteY677" fmla="*/ 4105601 h 6858000"/>
              <a:gd name="connsiteX678" fmla="*/ 112563 w 7467600"/>
              <a:gd name="connsiteY678" fmla="*/ 4396952 h 6858000"/>
              <a:gd name="connsiteX679" fmla="*/ 0 w 7467600"/>
              <a:gd name="connsiteY679" fmla="*/ 4466006 h 6858000"/>
              <a:gd name="connsiteX680" fmla="*/ 0 w 7467600"/>
              <a:gd name="connsiteY680" fmla="*/ 4233763 h 6858000"/>
              <a:gd name="connsiteX681" fmla="*/ 36881 w 7467600"/>
              <a:gd name="connsiteY681" fmla="*/ 4200118 h 6858000"/>
              <a:gd name="connsiteX682" fmla="*/ 910534 w 7467600"/>
              <a:gd name="connsiteY682" fmla="*/ 3629753 h 6858000"/>
              <a:gd name="connsiteX683" fmla="*/ 1578717 w 7467600"/>
              <a:gd name="connsiteY683" fmla="*/ 3575982 h 6858000"/>
              <a:gd name="connsiteX684" fmla="*/ 2338780 w 7467600"/>
              <a:gd name="connsiteY684" fmla="*/ 3033725 h 6858000"/>
              <a:gd name="connsiteX685" fmla="*/ 1807991 w 7467600"/>
              <a:gd name="connsiteY685" fmla="*/ 2807184 h 6858000"/>
              <a:gd name="connsiteX686" fmla="*/ 1416358 w 7467600"/>
              <a:gd name="connsiteY686" fmla="*/ 3112571 h 6858000"/>
              <a:gd name="connsiteX687" fmla="*/ 939066 w 7467600"/>
              <a:gd name="connsiteY687" fmla="*/ 3378798 h 6858000"/>
              <a:gd name="connsiteX688" fmla="*/ 115099 w 7467600"/>
              <a:gd name="connsiteY688" fmla="*/ 3607650 h 6858000"/>
              <a:gd name="connsiteX689" fmla="*/ 97284 w 7467600"/>
              <a:gd name="connsiteY689" fmla="*/ 3520393 h 6858000"/>
              <a:gd name="connsiteX690" fmla="*/ 922050 w 7467600"/>
              <a:gd name="connsiteY690" fmla="*/ 3074867 h 6858000"/>
              <a:gd name="connsiteX691" fmla="*/ 1405265 w 7467600"/>
              <a:gd name="connsiteY691" fmla="*/ 3016319 h 6858000"/>
              <a:gd name="connsiteX692" fmla="*/ 1407512 w 7467600"/>
              <a:gd name="connsiteY692" fmla="*/ 3018001 h 6858000"/>
              <a:gd name="connsiteX693" fmla="*/ 1726266 w 7467600"/>
              <a:gd name="connsiteY693" fmla="*/ 2777274 h 6858000"/>
              <a:gd name="connsiteX694" fmla="*/ 625390 w 7467600"/>
              <a:gd name="connsiteY694" fmla="*/ 2514541 h 6858000"/>
              <a:gd name="connsiteX695" fmla="*/ 619799 w 7467600"/>
              <a:gd name="connsiteY695" fmla="*/ 2527180 h 6858000"/>
              <a:gd name="connsiteX696" fmla="*/ 310030 w 7467600"/>
              <a:gd name="connsiteY696" fmla="*/ 2771818 h 6858000"/>
              <a:gd name="connsiteX697" fmla="*/ 173877 w 7467600"/>
              <a:gd name="connsiteY697" fmla="*/ 2937056 h 6858000"/>
              <a:gd name="connsiteX698" fmla="*/ 77889 w 7467600"/>
              <a:gd name="connsiteY698" fmla="*/ 3138440 h 6858000"/>
              <a:gd name="connsiteX699" fmla="*/ 0 w 7467600"/>
              <a:gd name="connsiteY699" fmla="*/ 3271395 h 6858000"/>
              <a:gd name="connsiteX700" fmla="*/ 0 w 7467600"/>
              <a:gd name="connsiteY700" fmla="*/ 3153002 h 6858000"/>
              <a:gd name="connsiteX701" fmla="*/ 2386 w 7467600"/>
              <a:gd name="connsiteY701" fmla="*/ 3149203 h 6858000"/>
              <a:gd name="connsiteX702" fmla="*/ 89753 w 7467600"/>
              <a:gd name="connsiteY702" fmla="*/ 2987702 h 6858000"/>
              <a:gd name="connsiteX703" fmla="*/ 76869 w 7467600"/>
              <a:gd name="connsiteY703" fmla="*/ 3005404 h 6858000"/>
              <a:gd name="connsiteX704" fmla="*/ 32049 w 7467600"/>
              <a:gd name="connsiteY704" fmla="*/ 3065814 h 6858000"/>
              <a:gd name="connsiteX705" fmla="*/ 0 w 7467600"/>
              <a:gd name="connsiteY705" fmla="*/ 3108744 h 6858000"/>
              <a:gd name="connsiteX706" fmla="*/ 0 w 7467600"/>
              <a:gd name="connsiteY706" fmla="*/ 3058059 h 6858000"/>
              <a:gd name="connsiteX707" fmla="*/ 7610 w 7467600"/>
              <a:gd name="connsiteY707" fmla="*/ 3047889 h 6858000"/>
              <a:gd name="connsiteX708" fmla="*/ 52419 w 7467600"/>
              <a:gd name="connsiteY708" fmla="*/ 2987479 h 6858000"/>
              <a:gd name="connsiteX709" fmla="*/ 59142 w 7467600"/>
              <a:gd name="connsiteY709" fmla="*/ 2978488 h 6858000"/>
              <a:gd name="connsiteX710" fmla="*/ 0 w 7467600"/>
              <a:gd name="connsiteY710" fmla="*/ 3015334 h 6858000"/>
              <a:gd name="connsiteX711" fmla="*/ 0 w 7467600"/>
              <a:gd name="connsiteY711" fmla="*/ 2914286 h 6858000"/>
              <a:gd name="connsiteX712" fmla="*/ 36383 w 7467600"/>
              <a:gd name="connsiteY712" fmla="*/ 2901128 h 6858000"/>
              <a:gd name="connsiteX713" fmla="*/ 156329 w 7467600"/>
              <a:gd name="connsiteY713" fmla="*/ 2840533 h 6858000"/>
              <a:gd name="connsiteX714" fmla="*/ 358355 w 7467600"/>
              <a:gd name="connsiteY714" fmla="*/ 2620471 h 6858000"/>
              <a:gd name="connsiteX715" fmla="*/ 510577 w 7467600"/>
              <a:gd name="connsiteY715" fmla="*/ 2501244 h 6858000"/>
              <a:gd name="connsiteX716" fmla="*/ 211967 w 7467600"/>
              <a:gd name="connsiteY716" fmla="*/ 2479171 h 6858000"/>
              <a:gd name="connsiteX717" fmla="*/ 0 w 7467600"/>
              <a:gd name="connsiteY717" fmla="*/ 2476398 h 6858000"/>
              <a:gd name="connsiteX718" fmla="*/ 0 w 7467600"/>
              <a:gd name="connsiteY718" fmla="*/ 2389189 h 6858000"/>
              <a:gd name="connsiteX719" fmla="*/ 103062 w 7467600"/>
              <a:gd name="connsiteY719" fmla="*/ 2389518 h 6858000"/>
              <a:gd name="connsiteX720" fmla="*/ 510734 w 7467600"/>
              <a:gd name="connsiteY720" fmla="*/ 2416201 h 6858000"/>
              <a:gd name="connsiteX721" fmla="*/ 279257 w 7467600"/>
              <a:gd name="connsiteY721" fmla="*/ 2092102 h 6858000"/>
              <a:gd name="connsiteX722" fmla="*/ 65265 w 7467600"/>
              <a:gd name="connsiteY722" fmla="*/ 2006049 h 6858000"/>
              <a:gd name="connsiteX723" fmla="*/ 0 w 7467600"/>
              <a:gd name="connsiteY723" fmla="*/ 1982532 h 6858000"/>
              <a:gd name="connsiteX724" fmla="*/ 0 w 7467600"/>
              <a:gd name="connsiteY724" fmla="*/ 1912789 h 6858000"/>
              <a:gd name="connsiteX725" fmla="*/ 97460 w 7467600"/>
              <a:gd name="connsiteY725" fmla="*/ 1953725 h 6858000"/>
              <a:gd name="connsiteX726" fmla="*/ 221272 w 7467600"/>
              <a:gd name="connsiteY726" fmla="*/ 1980766 h 6858000"/>
              <a:gd name="connsiteX727" fmla="*/ 116765 w 7467600"/>
              <a:gd name="connsiteY727" fmla="*/ 1911033 h 6858000"/>
              <a:gd name="connsiteX728" fmla="*/ 16405 w 7467600"/>
              <a:gd name="connsiteY728" fmla="*/ 1803412 h 6858000"/>
              <a:gd name="connsiteX729" fmla="*/ 0 w 7467600"/>
              <a:gd name="connsiteY729" fmla="*/ 1784777 h 6858000"/>
              <a:gd name="connsiteX730" fmla="*/ 0 w 7467600"/>
              <a:gd name="connsiteY730" fmla="*/ 1740082 h 6858000"/>
              <a:gd name="connsiteX731" fmla="*/ 39394 w 7467600"/>
              <a:gd name="connsiteY731" fmla="*/ 1784856 h 6858000"/>
              <a:gd name="connsiteX732" fmla="*/ 135813 w 7467600"/>
              <a:gd name="connsiteY732" fmla="*/ 1888838 h 6858000"/>
              <a:gd name="connsiteX733" fmla="*/ 242575 w 7467600"/>
              <a:gd name="connsiteY733" fmla="*/ 1958841 h 6858000"/>
              <a:gd name="connsiteX734" fmla="*/ 82197 w 7467600"/>
              <a:gd name="connsiteY734" fmla="*/ 1754826 h 6858000"/>
              <a:gd name="connsiteX735" fmla="*/ 0 w 7467600"/>
              <a:gd name="connsiteY735" fmla="*/ 1679650 h 6858000"/>
              <a:gd name="connsiteX736" fmla="*/ 0 w 7467600"/>
              <a:gd name="connsiteY736" fmla="*/ 1602463 h 6858000"/>
              <a:gd name="connsiteX737" fmla="*/ 84689 w 7467600"/>
              <a:gd name="connsiteY737" fmla="*/ 1677442 h 6858000"/>
              <a:gd name="connsiteX738" fmla="*/ 298437 w 7467600"/>
              <a:gd name="connsiteY738" fmla="*/ 1968019 h 6858000"/>
              <a:gd name="connsiteX739" fmla="*/ 227269 w 7467600"/>
              <a:gd name="connsiteY739" fmla="*/ 1114064 h 6858000"/>
              <a:gd name="connsiteX740" fmla="*/ 248003 w 7467600"/>
              <a:gd name="connsiteY740" fmla="*/ 1089613 h 6858000"/>
              <a:gd name="connsiteX741" fmla="*/ 427020 w 7467600"/>
              <a:gd name="connsiteY741" fmla="*/ 1619803 h 6858000"/>
              <a:gd name="connsiteX742" fmla="*/ 340345 w 7467600"/>
              <a:gd name="connsiteY742" fmla="*/ 2027739 h 6858000"/>
              <a:gd name="connsiteX743" fmla="*/ 360865 w 7467600"/>
              <a:gd name="connsiteY743" fmla="*/ 2044827 h 6858000"/>
              <a:gd name="connsiteX744" fmla="*/ 560414 w 7467600"/>
              <a:gd name="connsiteY744" fmla="*/ 2421457 h 6858000"/>
              <a:gd name="connsiteX745" fmla="*/ 1359703 w 7467600"/>
              <a:gd name="connsiteY745" fmla="*/ 2578554 h 6858000"/>
              <a:gd name="connsiteX746" fmla="*/ 1359422 w 7467600"/>
              <a:gd name="connsiteY746" fmla="*/ 2577994 h 6858000"/>
              <a:gd name="connsiteX747" fmla="*/ 828701 w 7467600"/>
              <a:gd name="connsiteY747" fmla="*/ 1839520 h 6858000"/>
              <a:gd name="connsiteX748" fmla="*/ 494427 w 7467600"/>
              <a:gd name="connsiteY748" fmla="*/ 1092333 h 6858000"/>
              <a:gd name="connsiteX749" fmla="*/ 506322 w 7467600"/>
              <a:gd name="connsiteY749" fmla="*/ 1020997 h 6858000"/>
              <a:gd name="connsiteX750" fmla="*/ 4570198 w 7467600"/>
              <a:gd name="connsiteY750" fmla="*/ 978081 h 6858000"/>
              <a:gd name="connsiteX751" fmla="*/ 4523691 w 7467600"/>
              <a:gd name="connsiteY751" fmla="*/ 1127776 h 6858000"/>
              <a:gd name="connsiteX752" fmla="*/ 4509875 w 7467600"/>
              <a:gd name="connsiteY752" fmla="*/ 1167552 h 6858000"/>
              <a:gd name="connsiteX753" fmla="*/ 4478168 w 7467600"/>
              <a:gd name="connsiteY753" fmla="*/ 1260735 h 6858000"/>
              <a:gd name="connsiteX754" fmla="*/ 4409309 w 7467600"/>
              <a:gd name="connsiteY754" fmla="*/ 1666996 h 6858000"/>
              <a:gd name="connsiteX755" fmla="*/ 4370031 w 7467600"/>
              <a:gd name="connsiteY755" fmla="*/ 1955666 h 6858000"/>
              <a:gd name="connsiteX756" fmla="*/ 4570198 w 7467600"/>
              <a:gd name="connsiteY756" fmla="*/ 978081 h 6858000"/>
              <a:gd name="connsiteX757" fmla="*/ 4557898 w 7467600"/>
              <a:gd name="connsiteY757" fmla="*/ 900011 h 6858000"/>
              <a:gd name="connsiteX758" fmla="*/ 4344840 w 7467600"/>
              <a:gd name="connsiteY758" fmla="*/ 1922038 h 6858000"/>
              <a:gd name="connsiteX759" fmla="*/ 4378710 w 7467600"/>
              <a:gd name="connsiteY759" fmla="*/ 1665516 h 6858000"/>
              <a:gd name="connsiteX760" fmla="*/ 4448798 w 7467600"/>
              <a:gd name="connsiteY760" fmla="*/ 1253024 h 6858000"/>
              <a:gd name="connsiteX761" fmla="*/ 4480315 w 7467600"/>
              <a:gd name="connsiteY761" fmla="*/ 1158454 h 6858000"/>
              <a:gd name="connsiteX762" fmla="*/ 4494133 w 7467600"/>
              <a:gd name="connsiteY762" fmla="*/ 1118676 h 6858000"/>
              <a:gd name="connsiteX763" fmla="*/ 4557898 w 7467600"/>
              <a:gd name="connsiteY763" fmla="*/ 900011 h 6858000"/>
              <a:gd name="connsiteX764" fmla="*/ 5870151 w 7467600"/>
              <a:gd name="connsiteY764" fmla="*/ 898890 h 6858000"/>
              <a:gd name="connsiteX765" fmla="*/ 5861335 w 7467600"/>
              <a:gd name="connsiteY765" fmla="*/ 899177 h 6858000"/>
              <a:gd name="connsiteX766" fmla="*/ 5843702 w 7467600"/>
              <a:gd name="connsiteY766" fmla="*/ 899748 h 6858000"/>
              <a:gd name="connsiteX767" fmla="*/ 5651107 w 7467600"/>
              <a:gd name="connsiteY767" fmla="*/ 920306 h 6858000"/>
              <a:gd name="connsiteX768" fmla="*/ 5459407 w 7467600"/>
              <a:gd name="connsiteY768" fmla="*/ 940975 h 6858000"/>
              <a:gd name="connsiteX769" fmla="*/ 5374846 w 7467600"/>
              <a:gd name="connsiteY769" fmla="*/ 941988 h 6858000"/>
              <a:gd name="connsiteX770" fmla="*/ 5256105 w 7467600"/>
              <a:gd name="connsiteY770" fmla="*/ 945632 h 6858000"/>
              <a:gd name="connsiteX771" fmla="*/ 5107071 w 7467600"/>
              <a:gd name="connsiteY771" fmla="*/ 969720 h 6858000"/>
              <a:gd name="connsiteX772" fmla="*/ 4998681 w 7467600"/>
              <a:gd name="connsiteY772" fmla="*/ 988771 h 6858000"/>
              <a:gd name="connsiteX773" fmla="*/ 5870151 w 7467600"/>
              <a:gd name="connsiteY773" fmla="*/ 898890 h 6858000"/>
              <a:gd name="connsiteX774" fmla="*/ 5504425 w 7467600"/>
              <a:gd name="connsiteY774" fmla="*/ 848067 h 6858000"/>
              <a:gd name="connsiteX775" fmla="*/ 4968849 w 7467600"/>
              <a:gd name="connsiteY775" fmla="*/ 962318 h 6858000"/>
              <a:gd name="connsiteX776" fmla="*/ 5104039 w 7467600"/>
              <a:gd name="connsiteY776" fmla="*/ 940634 h 6858000"/>
              <a:gd name="connsiteX777" fmla="*/ 5256311 w 7467600"/>
              <a:gd name="connsiteY777" fmla="*/ 916490 h 6858000"/>
              <a:gd name="connsiteX778" fmla="*/ 5377381 w 7467600"/>
              <a:gd name="connsiteY778" fmla="*/ 912671 h 6858000"/>
              <a:gd name="connsiteX779" fmla="*/ 5460148 w 7467600"/>
              <a:gd name="connsiteY779" fmla="*/ 911442 h 6858000"/>
              <a:gd name="connsiteX780" fmla="*/ 5648971 w 7467600"/>
              <a:gd name="connsiteY780" fmla="*/ 891331 h 6858000"/>
              <a:gd name="connsiteX781" fmla="*/ 5844807 w 7467600"/>
              <a:gd name="connsiteY781" fmla="*/ 870718 h 6858000"/>
              <a:gd name="connsiteX782" fmla="*/ 5862975 w 7467600"/>
              <a:gd name="connsiteY782" fmla="*/ 869756 h 6858000"/>
              <a:gd name="connsiteX783" fmla="*/ 5920887 w 7467600"/>
              <a:gd name="connsiteY783" fmla="*/ 865929 h 6858000"/>
              <a:gd name="connsiteX784" fmla="*/ 5504425 w 7467600"/>
              <a:gd name="connsiteY784" fmla="*/ 848067 h 6858000"/>
              <a:gd name="connsiteX785" fmla="*/ 3607114 w 7467600"/>
              <a:gd name="connsiteY785" fmla="*/ 467441 h 6858000"/>
              <a:gd name="connsiteX786" fmla="*/ 3296242 w 7467600"/>
              <a:gd name="connsiteY786" fmla="*/ 807991 h 6858000"/>
              <a:gd name="connsiteX787" fmla="*/ 3174674 w 7467600"/>
              <a:gd name="connsiteY787" fmla="*/ 919759 h 6858000"/>
              <a:gd name="connsiteX788" fmla="*/ 3042978 w 7467600"/>
              <a:gd name="connsiteY788" fmla="*/ 1054894 h 6858000"/>
              <a:gd name="connsiteX789" fmla="*/ 2968914 w 7467600"/>
              <a:gd name="connsiteY789" fmla="*/ 1133756 h 6858000"/>
              <a:gd name="connsiteX790" fmla="*/ 3103823 w 7467600"/>
              <a:gd name="connsiteY790" fmla="*/ 1026814 h 6858000"/>
              <a:gd name="connsiteX791" fmla="*/ 3607114 w 7467600"/>
              <a:gd name="connsiteY791" fmla="*/ 467441 h 6858000"/>
              <a:gd name="connsiteX792" fmla="*/ 3744487 w 7467600"/>
              <a:gd name="connsiteY792" fmla="*/ 383136 h 6858000"/>
              <a:gd name="connsiteX793" fmla="*/ 3970213 w 7467600"/>
              <a:gd name="connsiteY793" fmla="*/ 995559 h 6858000"/>
              <a:gd name="connsiteX794" fmla="*/ 3744487 w 7467600"/>
              <a:gd name="connsiteY794" fmla="*/ 383136 h 6858000"/>
              <a:gd name="connsiteX795" fmla="*/ 3624562 w 7467600"/>
              <a:gd name="connsiteY795" fmla="*/ 367041 h 6858000"/>
              <a:gd name="connsiteX796" fmla="*/ 3489712 w 7467600"/>
              <a:gd name="connsiteY796" fmla="*/ 485386 h 6858000"/>
              <a:gd name="connsiteX797" fmla="*/ 3182994 w 7467600"/>
              <a:gd name="connsiteY797" fmla="*/ 828265 h 6858000"/>
              <a:gd name="connsiteX798" fmla="*/ 2892114 w 7467600"/>
              <a:gd name="connsiteY798" fmla="*/ 1172635 h 6858000"/>
              <a:gd name="connsiteX799" fmla="*/ 3021459 w 7467600"/>
              <a:gd name="connsiteY799" fmla="*/ 1035385 h 6858000"/>
              <a:gd name="connsiteX800" fmla="*/ 3153873 w 7467600"/>
              <a:gd name="connsiteY800" fmla="*/ 898971 h 6858000"/>
              <a:gd name="connsiteX801" fmla="*/ 3276511 w 7467600"/>
              <a:gd name="connsiteY801" fmla="*/ 786423 h 6858000"/>
              <a:gd name="connsiteX802" fmla="*/ 3584154 w 7467600"/>
              <a:gd name="connsiteY802" fmla="*/ 448218 h 6858000"/>
              <a:gd name="connsiteX803" fmla="*/ 3624562 w 7467600"/>
              <a:gd name="connsiteY803" fmla="*/ 367041 h 6858000"/>
              <a:gd name="connsiteX804" fmla="*/ 3766672 w 7467600"/>
              <a:gd name="connsiteY804" fmla="*/ 359429 h 6858000"/>
              <a:gd name="connsiteX805" fmla="*/ 3996338 w 7467600"/>
              <a:gd name="connsiteY805" fmla="*/ 968237 h 6858000"/>
              <a:gd name="connsiteX806" fmla="*/ 3766672 w 7467600"/>
              <a:gd name="connsiteY806" fmla="*/ 359429 h 6858000"/>
              <a:gd name="connsiteX807" fmla="*/ 5805386 w 7467600"/>
              <a:gd name="connsiteY807" fmla="*/ 239240 h 6858000"/>
              <a:gd name="connsiteX808" fmla="*/ 5736947 w 7467600"/>
              <a:gd name="connsiteY808" fmla="*/ 261367 h 6858000"/>
              <a:gd name="connsiteX809" fmla="*/ 5427012 w 7467600"/>
              <a:gd name="connsiteY809" fmla="*/ 311272 h 6858000"/>
              <a:gd name="connsiteX810" fmla="*/ 5147818 w 7467600"/>
              <a:gd name="connsiteY810" fmla="*/ 322112 h 6858000"/>
              <a:gd name="connsiteX811" fmla="*/ 5060854 w 7467600"/>
              <a:gd name="connsiteY811" fmla="*/ 311882 h 6858000"/>
              <a:gd name="connsiteX812" fmla="*/ 4945989 w 7467600"/>
              <a:gd name="connsiteY812" fmla="*/ 300516 h 6858000"/>
              <a:gd name="connsiteX813" fmla="*/ 5410479 w 7467600"/>
              <a:gd name="connsiteY813" fmla="*/ 348434 h 6858000"/>
              <a:gd name="connsiteX814" fmla="*/ 5805386 w 7467600"/>
              <a:gd name="connsiteY814" fmla="*/ 239240 h 6858000"/>
              <a:gd name="connsiteX815" fmla="*/ 5905192 w 7467600"/>
              <a:gd name="connsiteY815" fmla="*/ 163079 h 6858000"/>
              <a:gd name="connsiteX816" fmla="*/ 5865655 w 7467600"/>
              <a:gd name="connsiteY816" fmla="*/ 171901 h 6858000"/>
              <a:gd name="connsiteX817" fmla="*/ 5259740 w 7467600"/>
              <a:gd name="connsiteY817" fmla="*/ 257013 h 6858000"/>
              <a:gd name="connsiteX818" fmla="*/ 5208466 w 7467600"/>
              <a:gd name="connsiteY818" fmla="*/ 257550 h 6858000"/>
              <a:gd name="connsiteX819" fmla="*/ 4980204 w 7467600"/>
              <a:gd name="connsiteY819" fmla="*/ 271903 h 6858000"/>
              <a:gd name="connsiteX820" fmla="*/ 5068068 w 7467600"/>
              <a:gd name="connsiteY820" fmla="*/ 282244 h 6858000"/>
              <a:gd name="connsiteX821" fmla="*/ 5153231 w 7467600"/>
              <a:gd name="connsiteY821" fmla="*/ 292240 h 6858000"/>
              <a:gd name="connsiteX822" fmla="*/ 5426491 w 7467600"/>
              <a:gd name="connsiteY822" fmla="*/ 281128 h 6858000"/>
              <a:gd name="connsiteX823" fmla="*/ 5731212 w 7467600"/>
              <a:gd name="connsiteY823" fmla="*/ 231951 h 6858000"/>
              <a:gd name="connsiteX824" fmla="*/ 5905192 w 7467600"/>
              <a:gd name="connsiteY824" fmla="*/ 163079 h 6858000"/>
              <a:gd name="connsiteX825" fmla="*/ 5944437 w 7467600"/>
              <a:gd name="connsiteY825" fmla="*/ 113829 h 6858000"/>
              <a:gd name="connsiteX826" fmla="*/ 5825032 w 7467600"/>
              <a:gd name="connsiteY826" fmla="*/ 146405 h 6858000"/>
              <a:gd name="connsiteX827" fmla="*/ 4955599 w 7467600"/>
              <a:gd name="connsiteY827" fmla="*/ 247008 h 6858000"/>
              <a:gd name="connsiteX828" fmla="*/ 5210104 w 7467600"/>
              <a:gd name="connsiteY828" fmla="*/ 228123 h 6858000"/>
              <a:gd name="connsiteX829" fmla="*/ 5261015 w 7467600"/>
              <a:gd name="connsiteY829" fmla="*/ 227087 h 6858000"/>
              <a:gd name="connsiteX830" fmla="*/ 5861181 w 7467600"/>
              <a:gd name="connsiteY830" fmla="*/ 143093 h 6858000"/>
              <a:gd name="connsiteX831" fmla="*/ 5961252 w 7467600"/>
              <a:gd name="connsiteY831" fmla="*/ 114820 h 6858000"/>
              <a:gd name="connsiteX832" fmla="*/ 5944437 w 7467600"/>
              <a:gd name="connsiteY832" fmla="*/ 113829 h 6858000"/>
              <a:gd name="connsiteX833" fmla="*/ 3882765 w 7467600"/>
              <a:gd name="connsiteY833" fmla="*/ 0 h 6858000"/>
              <a:gd name="connsiteX834" fmla="*/ 3995099 w 7467600"/>
              <a:gd name="connsiteY834" fmla="*/ 0 h 6858000"/>
              <a:gd name="connsiteX835" fmla="*/ 4163818 w 7467600"/>
              <a:gd name="connsiteY835" fmla="*/ 234104 h 6858000"/>
              <a:gd name="connsiteX836" fmla="*/ 4172099 w 7467600"/>
              <a:gd name="connsiteY836" fmla="*/ 234207 h 6858000"/>
              <a:gd name="connsiteX837" fmla="*/ 4784282 w 7467600"/>
              <a:gd name="connsiteY837" fmla="*/ 276561 h 6858000"/>
              <a:gd name="connsiteX838" fmla="*/ 4801687 w 7467600"/>
              <a:gd name="connsiteY838" fmla="*/ 267764 h 6858000"/>
              <a:gd name="connsiteX839" fmla="*/ 6082788 w 7467600"/>
              <a:gd name="connsiteY839" fmla="*/ 64119 h 6858000"/>
              <a:gd name="connsiteX840" fmla="*/ 6099442 w 7467600"/>
              <a:gd name="connsiteY840" fmla="*/ 82568 h 6858000"/>
              <a:gd name="connsiteX841" fmla="*/ 4804137 w 7467600"/>
              <a:gd name="connsiteY841" fmla="*/ 320931 h 6858000"/>
              <a:gd name="connsiteX842" fmla="*/ 4227047 w 7467600"/>
              <a:gd name="connsiteY842" fmla="*/ 313415 h 6858000"/>
              <a:gd name="connsiteX843" fmla="*/ 4346041 w 7467600"/>
              <a:gd name="connsiteY843" fmla="*/ 456086 h 6858000"/>
              <a:gd name="connsiteX844" fmla="*/ 4870967 w 7467600"/>
              <a:gd name="connsiteY844" fmla="*/ 963061 h 6858000"/>
              <a:gd name="connsiteX845" fmla="*/ 4889647 w 7467600"/>
              <a:gd name="connsiteY845" fmla="*/ 957147 h 6858000"/>
              <a:gd name="connsiteX846" fmla="*/ 5422504 w 7467600"/>
              <a:gd name="connsiteY846" fmla="*/ 805191 h 6858000"/>
              <a:gd name="connsiteX847" fmla="*/ 6087656 w 7467600"/>
              <a:gd name="connsiteY847" fmla="*/ 826703 h 6858000"/>
              <a:gd name="connsiteX848" fmla="*/ 6058717 w 7467600"/>
              <a:gd name="connsiteY848" fmla="*/ 865992 h 6858000"/>
              <a:gd name="connsiteX849" fmla="*/ 4974153 w 7467600"/>
              <a:gd name="connsiteY849" fmla="*/ 1045456 h 6858000"/>
              <a:gd name="connsiteX850" fmla="*/ 5627835 w 7467600"/>
              <a:gd name="connsiteY850" fmla="*/ 1472077 h 6858000"/>
              <a:gd name="connsiteX851" fmla="*/ 5629817 w 7467600"/>
              <a:gd name="connsiteY851" fmla="*/ 1471412 h 6858000"/>
              <a:gd name="connsiteX852" fmla="*/ 5634124 w 7467600"/>
              <a:gd name="connsiteY852" fmla="*/ 1470572 h 6858000"/>
              <a:gd name="connsiteX853" fmla="*/ 5755832 w 7467600"/>
              <a:gd name="connsiteY853" fmla="*/ 1383886 h 6858000"/>
              <a:gd name="connsiteX854" fmla="*/ 6014186 w 7467600"/>
              <a:gd name="connsiteY854" fmla="*/ 1279799 h 6858000"/>
              <a:gd name="connsiteX855" fmla="*/ 6901619 w 7467600"/>
              <a:gd name="connsiteY855" fmla="*/ 1047874 h 6858000"/>
              <a:gd name="connsiteX856" fmla="*/ 6931566 w 7467600"/>
              <a:gd name="connsiteY856" fmla="*/ 1062034 h 6858000"/>
              <a:gd name="connsiteX857" fmla="*/ 5790982 w 7467600"/>
              <a:gd name="connsiteY857" fmla="*/ 1561380 h 6858000"/>
              <a:gd name="connsiteX858" fmla="*/ 6188971 w 7467600"/>
              <a:gd name="connsiteY858" fmla="*/ 1755168 h 6858000"/>
              <a:gd name="connsiteX859" fmla="*/ 6202446 w 7467600"/>
              <a:gd name="connsiteY859" fmla="*/ 1752268 h 6858000"/>
              <a:gd name="connsiteX860" fmla="*/ 7179560 w 7467600"/>
              <a:gd name="connsiteY860" fmla="*/ 1467551 h 6858000"/>
              <a:gd name="connsiteX861" fmla="*/ 7158730 w 7467600"/>
              <a:gd name="connsiteY861" fmla="*/ 1507835 h 6858000"/>
              <a:gd name="connsiteX862" fmla="*/ 6326959 w 7467600"/>
              <a:gd name="connsiteY862" fmla="*/ 1817686 h 6858000"/>
              <a:gd name="connsiteX863" fmla="*/ 6537433 w 7467600"/>
              <a:gd name="connsiteY863" fmla="*/ 1907790 h 6858000"/>
              <a:gd name="connsiteX864" fmla="*/ 6550221 w 7467600"/>
              <a:gd name="connsiteY864" fmla="*/ 1910729 h 6858000"/>
              <a:gd name="connsiteX865" fmla="*/ 6964438 w 7467600"/>
              <a:gd name="connsiteY865" fmla="*/ 2209505 h 6858000"/>
              <a:gd name="connsiteX866" fmla="*/ 7367862 w 7467600"/>
              <a:gd name="connsiteY866" fmla="*/ 2806833 h 6858000"/>
              <a:gd name="connsiteX867" fmla="*/ 7364329 w 7467600"/>
              <a:gd name="connsiteY867" fmla="*/ 2826907 h 6858000"/>
              <a:gd name="connsiteX868" fmla="*/ 7290545 w 7467600"/>
              <a:gd name="connsiteY868" fmla="*/ 2850663 h 6858000"/>
              <a:gd name="connsiteX869" fmla="*/ 6472036 w 7467600"/>
              <a:gd name="connsiteY869" fmla="*/ 1959003 h 6858000"/>
              <a:gd name="connsiteX870" fmla="*/ 5792897 w 7467600"/>
              <a:gd name="connsiteY870" fmla="*/ 1647747 h 6858000"/>
              <a:gd name="connsiteX871" fmla="*/ 5842751 w 7467600"/>
              <a:gd name="connsiteY871" fmla="*/ 1816112 h 6858000"/>
              <a:gd name="connsiteX872" fmla="*/ 5847424 w 7467600"/>
              <a:gd name="connsiteY872" fmla="*/ 1815776 h 6858000"/>
              <a:gd name="connsiteX873" fmla="*/ 6399821 w 7467600"/>
              <a:gd name="connsiteY873" fmla="*/ 2344799 h 6858000"/>
              <a:gd name="connsiteX874" fmla="*/ 6323232 w 7467600"/>
              <a:gd name="connsiteY874" fmla="*/ 2389634 h 6858000"/>
              <a:gd name="connsiteX875" fmla="*/ 5942958 w 7467600"/>
              <a:gd name="connsiteY875" fmla="*/ 2077708 h 6858000"/>
              <a:gd name="connsiteX876" fmla="*/ 5921559 w 7467600"/>
              <a:gd name="connsiteY876" fmla="*/ 2378596 h 6858000"/>
              <a:gd name="connsiteX877" fmla="*/ 5817651 w 7467600"/>
              <a:gd name="connsiteY877" fmla="*/ 3023919 h 6858000"/>
              <a:gd name="connsiteX878" fmla="*/ 5729634 w 7467600"/>
              <a:gd name="connsiteY878" fmla="*/ 3051849 h 6858000"/>
              <a:gd name="connsiteX879" fmla="*/ 5611018 w 7467600"/>
              <a:gd name="connsiteY879" fmla="*/ 2316769 h 6858000"/>
              <a:gd name="connsiteX880" fmla="*/ 5687608 w 7467600"/>
              <a:gd name="connsiteY880" fmla="*/ 2039972 h 6858000"/>
              <a:gd name="connsiteX881" fmla="*/ 5657554 w 7467600"/>
              <a:gd name="connsiteY881" fmla="*/ 1576445 h 6858000"/>
              <a:gd name="connsiteX882" fmla="*/ 5150475 w 7467600"/>
              <a:gd name="connsiteY882" fmla="*/ 1274012 h 6858000"/>
              <a:gd name="connsiteX883" fmla="*/ 5349142 w 7467600"/>
              <a:gd name="connsiteY883" fmla="*/ 2204405 h 6858000"/>
              <a:gd name="connsiteX884" fmla="*/ 5262214 w 7467600"/>
              <a:gd name="connsiteY884" fmla="*/ 2233836 h 6858000"/>
              <a:gd name="connsiteX885" fmla="*/ 4981539 w 7467600"/>
              <a:gd name="connsiteY885" fmla="*/ 1542201 h 6858000"/>
              <a:gd name="connsiteX886" fmla="*/ 4958461 w 7467600"/>
              <a:gd name="connsiteY886" fmla="*/ 1136957 h 6858000"/>
              <a:gd name="connsiteX887" fmla="*/ 4655015 w 7467600"/>
              <a:gd name="connsiteY887" fmla="*/ 891426 h 6858000"/>
              <a:gd name="connsiteX888" fmla="*/ 4348002 w 7467600"/>
              <a:gd name="connsiteY888" fmla="*/ 2205895 h 6858000"/>
              <a:gd name="connsiteX889" fmla="*/ 4262250 w 7467600"/>
              <a:gd name="connsiteY889" fmla="*/ 2219972 h 6858000"/>
              <a:gd name="connsiteX890" fmla="*/ 4550611 w 7467600"/>
              <a:gd name="connsiteY890" fmla="*/ 817540 h 6858000"/>
              <a:gd name="connsiteX891" fmla="*/ 4564418 w 7467600"/>
              <a:gd name="connsiteY891" fmla="*/ 808293 h 6858000"/>
              <a:gd name="connsiteX892" fmla="*/ 4266388 w 7467600"/>
              <a:gd name="connsiteY892" fmla="*/ 500083 h 6858000"/>
              <a:gd name="connsiteX893" fmla="*/ 4032842 w 7467600"/>
              <a:gd name="connsiteY893" fmla="*/ 211809 h 6858000"/>
              <a:gd name="connsiteX894" fmla="*/ 3882765 w 7467600"/>
              <a:gd name="connsiteY894" fmla="*/ 0 h 6858000"/>
              <a:gd name="connsiteX895" fmla="*/ 3721337 w 7467600"/>
              <a:gd name="connsiteY895" fmla="*/ 0 h 6858000"/>
              <a:gd name="connsiteX896" fmla="*/ 3797544 w 7467600"/>
              <a:gd name="connsiteY896" fmla="*/ 0 h 6858000"/>
              <a:gd name="connsiteX897" fmla="*/ 3775734 w 7467600"/>
              <a:gd name="connsiteY897" fmla="*/ 95131 h 6858000"/>
              <a:gd name="connsiteX898" fmla="*/ 3724807 w 7467600"/>
              <a:gd name="connsiteY898" fmla="*/ 272257 h 6858000"/>
              <a:gd name="connsiteX899" fmla="*/ 3726844 w 7467600"/>
              <a:gd name="connsiteY899" fmla="*/ 282988 h 6858000"/>
              <a:gd name="connsiteX900" fmla="*/ 3742664 w 7467600"/>
              <a:gd name="connsiteY900" fmla="*/ 279918 h 6858000"/>
              <a:gd name="connsiteX901" fmla="*/ 4103910 w 7467600"/>
              <a:gd name="connsiteY901" fmla="*/ 1161917 h 6858000"/>
              <a:gd name="connsiteX902" fmla="*/ 4020269 w 7467600"/>
              <a:gd name="connsiteY902" fmla="*/ 1200406 h 6858000"/>
              <a:gd name="connsiteX903" fmla="*/ 3674882 w 7467600"/>
              <a:gd name="connsiteY903" fmla="*/ 488524 h 6858000"/>
              <a:gd name="connsiteX904" fmla="*/ 3132682 w 7467600"/>
              <a:gd name="connsiteY904" fmla="*/ 1072284 h 6858000"/>
              <a:gd name="connsiteX905" fmla="*/ 2716346 w 7467600"/>
              <a:gd name="connsiteY905" fmla="*/ 1276376 h 6858000"/>
              <a:gd name="connsiteX906" fmla="*/ 2716772 w 7467600"/>
              <a:gd name="connsiteY906" fmla="*/ 1255462 h 6858000"/>
              <a:gd name="connsiteX907" fmla="*/ 3471096 w 7467600"/>
              <a:gd name="connsiteY907" fmla="*/ 437072 h 6858000"/>
              <a:gd name="connsiteX908" fmla="*/ 3639057 w 7467600"/>
              <a:gd name="connsiteY908" fmla="*/ 286334 h 6858000"/>
              <a:gd name="connsiteX909" fmla="*/ 3640309 w 7467600"/>
              <a:gd name="connsiteY909" fmla="*/ 284664 h 6858000"/>
              <a:gd name="connsiteX910" fmla="*/ 3646022 w 7467600"/>
              <a:gd name="connsiteY910" fmla="*/ 276711 h 6858000"/>
              <a:gd name="connsiteX911" fmla="*/ 3707943 w 7467600"/>
              <a:gd name="connsiteY911" fmla="*/ 65958 h 6858000"/>
              <a:gd name="connsiteX912" fmla="*/ 3721337 w 7467600"/>
              <a:gd name="connsiteY912" fmla="*/ 0 h 6858000"/>
              <a:gd name="connsiteX913" fmla="*/ 2867960 w 7467600"/>
              <a:gd name="connsiteY913" fmla="*/ 0 h 6858000"/>
              <a:gd name="connsiteX914" fmla="*/ 2926351 w 7467600"/>
              <a:gd name="connsiteY914" fmla="*/ 0 h 6858000"/>
              <a:gd name="connsiteX915" fmla="*/ 2902823 w 7467600"/>
              <a:gd name="connsiteY915" fmla="*/ 262929 h 6858000"/>
              <a:gd name="connsiteX916" fmla="*/ 2940663 w 7467600"/>
              <a:gd name="connsiteY916" fmla="*/ 140884 h 6858000"/>
              <a:gd name="connsiteX917" fmla="*/ 2947039 w 7467600"/>
              <a:gd name="connsiteY917" fmla="*/ 122524 h 6858000"/>
              <a:gd name="connsiteX918" fmla="*/ 2984316 w 7467600"/>
              <a:gd name="connsiteY918" fmla="*/ 0 h 6858000"/>
              <a:gd name="connsiteX919" fmla="*/ 3016114 w 7467600"/>
              <a:gd name="connsiteY919" fmla="*/ 0 h 6858000"/>
              <a:gd name="connsiteX920" fmla="*/ 2979949 w 7467600"/>
              <a:gd name="connsiteY920" fmla="*/ 119274 h 6858000"/>
              <a:gd name="connsiteX921" fmla="*/ 3023879 w 7467600"/>
              <a:gd name="connsiteY921" fmla="*/ 0 h 6858000"/>
              <a:gd name="connsiteX922" fmla="*/ 3105400 w 7467600"/>
              <a:gd name="connsiteY922" fmla="*/ 0 h 6858000"/>
              <a:gd name="connsiteX923" fmla="*/ 3094669 w 7467600"/>
              <a:gd name="connsiteY923" fmla="*/ 30308 h 6858000"/>
              <a:gd name="connsiteX924" fmla="*/ 2901945 w 7467600"/>
              <a:gd name="connsiteY924" fmla="*/ 466538 h 6858000"/>
              <a:gd name="connsiteX925" fmla="*/ 2815209 w 7467600"/>
              <a:gd name="connsiteY925" fmla="*/ 497361 h 6858000"/>
              <a:gd name="connsiteX926" fmla="*/ 2844845 w 7467600"/>
              <a:gd name="connsiteY926" fmla="*/ 127638 h 6858000"/>
              <a:gd name="connsiteX927" fmla="*/ 2867960 w 7467600"/>
              <a:gd name="connsiteY927" fmla="*/ 0 h 6858000"/>
              <a:gd name="connsiteX928" fmla="*/ 1057230 w 7467600"/>
              <a:gd name="connsiteY928" fmla="*/ 0 h 6858000"/>
              <a:gd name="connsiteX929" fmla="*/ 1111003 w 7467600"/>
              <a:gd name="connsiteY929" fmla="*/ 0 h 6858000"/>
              <a:gd name="connsiteX930" fmla="*/ 1125553 w 7467600"/>
              <a:gd name="connsiteY930" fmla="*/ 52588 h 6858000"/>
              <a:gd name="connsiteX931" fmla="*/ 1304276 w 7467600"/>
              <a:gd name="connsiteY931" fmla="*/ 476275 h 6858000"/>
              <a:gd name="connsiteX932" fmla="*/ 1492066 w 7467600"/>
              <a:gd name="connsiteY932" fmla="*/ 886333 h 6858000"/>
              <a:gd name="connsiteX933" fmla="*/ 1423698 w 7467600"/>
              <a:gd name="connsiteY933" fmla="*/ 710817 h 6858000"/>
              <a:gd name="connsiteX934" fmla="*/ 1357609 w 7467600"/>
              <a:gd name="connsiteY934" fmla="*/ 532892 h 6858000"/>
              <a:gd name="connsiteX935" fmla="*/ 1309550 w 7467600"/>
              <a:gd name="connsiteY935" fmla="*/ 374031 h 6858000"/>
              <a:gd name="connsiteX936" fmla="*/ 1193673 w 7467600"/>
              <a:gd name="connsiteY936" fmla="*/ 49533 h 6858000"/>
              <a:gd name="connsiteX937" fmla="*/ 1164391 w 7467600"/>
              <a:gd name="connsiteY937" fmla="*/ 0 h 6858000"/>
              <a:gd name="connsiteX938" fmla="*/ 1200666 w 7467600"/>
              <a:gd name="connsiteY938" fmla="*/ 0 h 6858000"/>
              <a:gd name="connsiteX939" fmla="*/ 1223408 w 7467600"/>
              <a:gd name="connsiteY939" fmla="*/ 38996 h 6858000"/>
              <a:gd name="connsiteX940" fmla="*/ 1339635 w 7467600"/>
              <a:gd name="connsiteY940" fmla="*/ 365517 h 6858000"/>
              <a:gd name="connsiteX941" fmla="*/ 1387469 w 7467600"/>
              <a:gd name="connsiteY941" fmla="*/ 523079 h 6858000"/>
              <a:gd name="connsiteX942" fmla="*/ 1452685 w 7467600"/>
              <a:gd name="connsiteY942" fmla="*/ 699806 h 6858000"/>
              <a:gd name="connsiteX943" fmla="*/ 1492092 w 7467600"/>
              <a:gd name="connsiteY943" fmla="*/ 800424 h 6858000"/>
              <a:gd name="connsiteX944" fmla="*/ 1455302 w 7467600"/>
              <a:gd name="connsiteY944" fmla="*/ 632913 h 6858000"/>
              <a:gd name="connsiteX945" fmla="*/ 1222336 w 7467600"/>
              <a:gd name="connsiteY945" fmla="*/ 9480 h 6858000"/>
              <a:gd name="connsiteX946" fmla="*/ 1214634 w 7467600"/>
              <a:gd name="connsiteY946" fmla="*/ 0 h 6858000"/>
              <a:gd name="connsiteX947" fmla="*/ 1289827 w 7467600"/>
              <a:gd name="connsiteY947" fmla="*/ 0 h 6858000"/>
              <a:gd name="connsiteX948" fmla="*/ 1321076 w 7467600"/>
              <a:gd name="connsiteY948" fmla="*/ 59722 h 6858000"/>
              <a:gd name="connsiteX949" fmla="*/ 1512579 w 7467600"/>
              <a:gd name="connsiteY949" fmla="*/ 626441 h 6858000"/>
              <a:gd name="connsiteX950" fmla="*/ 1506076 w 7467600"/>
              <a:gd name="connsiteY950" fmla="*/ 1089289 h 6858000"/>
              <a:gd name="connsiteX951" fmla="*/ 1486346 w 7467600"/>
              <a:gd name="connsiteY951" fmla="*/ 1079919 h 6858000"/>
              <a:gd name="connsiteX952" fmla="*/ 1070511 w 7467600"/>
              <a:gd name="connsiteY952" fmla="*/ 48609 h 6858000"/>
              <a:gd name="connsiteX953" fmla="*/ 1057230 w 7467600"/>
              <a:gd name="connsiteY953" fmla="*/ 0 h 6858000"/>
              <a:gd name="connsiteX954" fmla="*/ 43151 w 7467600"/>
              <a:gd name="connsiteY954" fmla="*/ 0 h 6858000"/>
              <a:gd name="connsiteX955" fmla="*/ 95283 w 7467600"/>
              <a:gd name="connsiteY955" fmla="*/ 0 h 6858000"/>
              <a:gd name="connsiteX956" fmla="*/ 300708 w 7467600"/>
              <a:gd name="connsiteY956" fmla="*/ 154571 h 6858000"/>
              <a:gd name="connsiteX957" fmla="*/ 530414 w 7467600"/>
              <a:gd name="connsiteY957" fmla="*/ 354673 h 6858000"/>
              <a:gd name="connsiteX958" fmla="*/ 333785 w 7467600"/>
              <a:gd name="connsiteY958" fmla="*/ 161564 h 6858000"/>
              <a:gd name="connsiteX959" fmla="*/ 147005 w 7467600"/>
              <a:gd name="connsiteY959" fmla="*/ 0 h 6858000"/>
              <a:gd name="connsiteX960" fmla="*/ 272509 w 7467600"/>
              <a:gd name="connsiteY960" fmla="*/ 0 h 6858000"/>
              <a:gd name="connsiteX961" fmla="*/ 326276 w 7467600"/>
              <a:gd name="connsiteY961" fmla="*/ 45847 h 6858000"/>
              <a:gd name="connsiteX962" fmla="*/ 823759 w 7467600"/>
              <a:gd name="connsiteY962" fmla="*/ 574145 h 6858000"/>
              <a:gd name="connsiteX963" fmla="*/ 811254 w 7467600"/>
              <a:gd name="connsiteY963" fmla="*/ 665546 h 6858000"/>
              <a:gd name="connsiteX964" fmla="*/ 154042 w 7467600"/>
              <a:gd name="connsiteY964" fmla="*/ 261522 h 6858000"/>
              <a:gd name="connsiteX965" fmla="*/ 13550 w 7467600"/>
              <a:gd name="connsiteY965" fmla="*/ 158423 h 6858000"/>
              <a:gd name="connsiteX966" fmla="*/ 0 w 7467600"/>
              <a:gd name="connsiteY966" fmla="*/ 146618 h 6858000"/>
              <a:gd name="connsiteX967" fmla="*/ 0 w 7467600"/>
              <a:gd name="connsiteY967" fmla="*/ 59161 h 6858000"/>
              <a:gd name="connsiteX968" fmla="*/ 45427 w 7467600"/>
              <a:gd name="connsiteY968" fmla="*/ 101078 h 6858000"/>
              <a:gd name="connsiteX969" fmla="*/ 630103 w 7467600"/>
              <a:gd name="connsiteY969" fmla="*/ 485885 h 6858000"/>
              <a:gd name="connsiteX970" fmla="*/ 532040 w 7467600"/>
              <a:gd name="connsiteY970" fmla="*/ 399359 h 6858000"/>
              <a:gd name="connsiteX971" fmla="*/ 517618 w 7467600"/>
              <a:gd name="connsiteY971" fmla="*/ 385726 h 6858000"/>
              <a:gd name="connsiteX972" fmla="*/ 285074 w 7467600"/>
              <a:gd name="connsiteY972" fmla="*/ 182755 h 6858000"/>
              <a:gd name="connsiteX973" fmla="*/ 43151 w 7467600"/>
              <a:gd name="connsiteY973"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7042773 w 7467600"/>
              <a:gd name="connsiteY74" fmla="*/ 5734011 h 6858000"/>
              <a:gd name="connsiteX75" fmla="*/ 7379510 w 7467600"/>
              <a:gd name="connsiteY75" fmla="*/ 5755454 h 6858000"/>
              <a:gd name="connsiteX76" fmla="*/ 7467600 w 7467600"/>
              <a:gd name="connsiteY76" fmla="*/ 5845526 h 6858000"/>
              <a:gd name="connsiteX77" fmla="*/ 7271900 w 7467600"/>
              <a:gd name="connsiteY77" fmla="*/ 5734551 h 6858000"/>
              <a:gd name="connsiteX78" fmla="*/ 7015907 w 7467600"/>
              <a:gd name="connsiteY78" fmla="*/ 5541548 h 6858000"/>
              <a:gd name="connsiteX79" fmla="*/ 7259646 w 7467600"/>
              <a:gd name="connsiteY79" fmla="*/ 5765985 h 6858000"/>
              <a:gd name="connsiteX80" fmla="*/ 7467600 w 7467600"/>
              <a:gd name="connsiteY80" fmla="*/ 6012219 h 6858000"/>
              <a:gd name="connsiteX81" fmla="*/ 6946849 w 7467600"/>
              <a:gd name="connsiteY81" fmla="*/ 5523271 h 6858000"/>
              <a:gd name="connsiteX82" fmla="*/ 7105827 w 7467600"/>
              <a:gd name="connsiteY82" fmla="*/ 5718700 h 6858000"/>
              <a:gd name="connsiteX83" fmla="*/ 7356878 w 7467600"/>
              <a:gd name="connsiteY83" fmla="*/ 5981332 h 6858000"/>
              <a:gd name="connsiteX84" fmla="*/ 7467600 w 7467600"/>
              <a:gd name="connsiteY84" fmla="*/ 6117703 h 6858000"/>
              <a:gd name="connsiteX85" fmla="*/ 7467600 w 7467600"/>
              <a:gd name="connsiteY85" fmla="*/ 6163634 h 6858000"/>
              <a:gd name="connsiteX86" fmla="*/ 7403637 w 7467600"/>
              <a:gd name="connsiteY86" fmla="*/ 6083957 h 6858000"/>
              <a:gd name="connsiteX87" fmla="*/ 7254615 w 7467600"/>
              <a:gd name="connsiteY87" fmla="*/ 5911918 h 6858000"/>
              <a:gd name="connsiteX88" fmla="*/ 7312589 w 7467600"/>
              <a:gd name="connsiteY88" fmla="*/ 5982309 h 6858000"/>
              <a:gd name="connsiteX89" fmla="*/ 7448321 w 7467600"/>
              <a:gd name="connsiteY89" fmla="*/ 6190991 h 6858000"/>
              <a:gd name="connsiteX90" fmla="*/ 7467600 w 7467600"/>
              <a:gd name="connsiteY90" fmla="*/ 6221686 h 6858000"/>
              <a:gd name="connsiteX91" fmla="*/ 7467600 w 7467600"/>
              <a:gd name="connsiteY91" fmla="*/ 6334256 h 6858000"/>
              <a:gd name="connsiteX92" fmla="*/ 7454976 w 7467600"/>
              <a:gd name="connsiteY92" fmla="*/ 6318297 h 6858000"/>
              <a:gd name="connsiteX93" fmla="*/ 7042773 w 7467600"/>
              <a:gd name="connsiteY93" fmla="*/ 5734011 h 6858000"/>
              <a:gd name="connsiteX94" fmla="*/ 1456157 w 7467600"/>
              <a:gd name="connsiteY94" fmla="*/ 5371404 h 6858000"/>
              <a:gd name="connsiteX95" fmla="*/ 1244432 w 7467600"/>
              <a:gd name="connsiteY95" fmla="*/ 5385601 h 6858000"/>
              <a:gd name="connsiteX96" fmla="*/ 973990 w 7467600"/>
              <a:gd name="connsiteY96" fmla="*/ 5424940 h 6858000"/>
              <a:gd name="connsiteX97" fmla="*/ 1103809 w 7467600"/>
              <a:gd name="connsiteY97" fmla="*/ 5433720 h 6858000"/>
              <a:gd name="connsiteX98" fmla="*/ 1123454 w 7467600"/>
              <a:gd name="connsiteY98" fmla="*/ 5435727 h 6858000"/>
              <a:gd name="connsiteX99" fmla="*/ 1737017 w 7467600"/>
              <a:gd name="connsiteY99" fmla="*/ 5452183 h 6858000"/>
              <a:gd name="connsiteX100" fmla="*/ 1824397 w 7467600"/>
              <a:gd name="connsiteY100" fmla="*/ 5447757 h 6858000"/>
              <a:gd name="connsiteX101" fmla="*/ 2070059 w 7467600"/>
              <a:gd name="connsiteY101" fmla="*/ 5441660 h 6858000"/>
              <a:gd name="connsiteX102" fmla="*/ 1456157 w 7467600"/>
              <a:gd name="connsiteY102" fmla="*/ 5371404 h 6858000"/>
              <a:gd name="connsiteX103" fmla="*/ 4988186 w 7467600"/>
              <a:gd name="connsiteY103" fmla="*/ 5216467 h 6858000"/>
              <a:gd name="connsiteX104" fmla="*/ 4777334 w 7467600"/>
              <a:gd name="connsiteY104" fmla="*/ 5406072 h 6858000"/>
              <a:gd name="connsiteX105" fmla="*/ 4718341 w 7467600"/>
              <a:gd name="connsiteY105" fmla="*/ 5468043 h 6858000"/>
              <a:gd name="connsiteX106" fmla="*/ 4604655 w 7467600"/>
              <a:gd name="connsiteY106" fmla="*/ 5583434 h 6858000"/>
              <a:gd name="connsiteX107" fmla="*/ 4565074 w 7467600"/>
              <a:gd name="connsiteY107" fmla="*/ 5618550 h 6858000"/>
              <a:gd name="connsiteX108" fmla="*/ 4988186 w 7467600"/>
              <a:gd name="connsiteY108" fmla="*/ 5216467 h 6858000"/>
              <a:gd name="connsiteX109" fmla="*/ 4978032 w 7467600"/>
              <a:gd name="connsiteY109" fmla="*/ 5183809 h 6858000"/>
              <a:gd name="connsiteX110" fmla="*/ 4463413 w 7467600"/>
              <a:gd name="connsiteY110" fmla="*/ 5615162 h 6858000"/>
              <a:gd name="connsiteX111" fmla="*/ 4358134 w 7467600"/>
              <a:gd name="connsiteY111" fmla="*/ 5742791 h 6858000"/>
              <a:gd name="connsiteX112" fmla="*/ 4376219 w 7467600"/>
              <a:gd name="connsiteY112" fmla="*/ 5729027 h 6858000"/>
              <a:gd name="connsiteX113" fmla="*/ 4582340 w 7467600"/>
              <a:gd name="connsiteY113" fmla="*/ 5561037 h 6858000"/>
              <a:gd name="connsiteX114" fmla="*/ 4694684 w 7467600"/>
              <a:gd name="connsiteY114" fmla="*/ 5447098 h 6858000"/>
              <a:gd name="connsiteX115" fmla="*/ 4754123 w 7467600"/>
              <a:gd name="connsiteY115" fmla="*/ 5384643 h 6858000"/>
              <a:gd name="connsiteX116" fmla="*/ 4978032 w 7467600"/>
              <a:gd name="connsiteY116" fmla="*/ 5183809 h 6858000"/>
              <a:gd name="connsiteX117" fmla="*/ 1903353 w 7467600"/>
              <a:gd name="connsiteY117" fmla="*/ 5044827 h 6858000"/>
              <a:gd name="connsiteX118" fmla="*/ 1936931 w 7467600"/>
              <a:gd name="connsiteY118" fmla="*/ 5093954 h 6858000"/>
              <a:gd name="connsiteX119" fmla="*/ 2195868 w 7467600"/>
              <a:gd name="connsiteY119" fmla="*/ 5396574 h 6858000"/>
              <a:gd name="connsiteX120" fmla="*/ 2088852 w 7467600"/>
              <a:gd name="connsiteY120" fmla="*/ 5166123 h 6858000"/>
              <a:gd name="connsiteX121" fmla="*/ 1958241 w 7467600"/>
              <a:gd name="connsiteY121" fmla="*/ 5067955 h 6858000"/>
              <a:gd name="connsiteX122" fmla="*/ 1903353 w 7467600"/>
              <a:gd name="connsiteY122" fmla="*/ 5044827 h 6858000"/>
              <a:gd name="connsiteX123" fmla="*/ 1979378 w 7467600"/>
              <a:gd name="connsiteY123" fmla="*/ 4769504 h 6858000"/>
              <a:gd name="connsiteX124" fmla="*/ 2882120 w 7467600"/>
              <a:gd name="connsiteY124" fmla="*/ 5064547 h 6858000"/>
              <a:gd name="connsiteX125" fmla="*/ 2793103 w 7467600"/>
              <a:gd name="connsiteY125" fmla="*/ 5039699 h 6858000"/>
              <a:gd name="connsiteX126" fmla="*/ 2770041 w 7467600"/>
              <a:gd name="connsiteY126" fmla="*/ 5033634 h 6858000"/>
              <a:gd name="connsiteX127" fmla="*/ 1979378 w 7467600"/>
              <a:gd name="connsiteY127" fmla="*/ 4769504 h 6858000"/>
              <a:gd name="connsiteX128" fmla="*/ 1927410 w 7467600"/>
              <a:gd name="connsiteY128" fmla="*/ 4716164 h 6858000"/>
              <a:gd name="connsiteX129" fmla="*/ 1959587 w 7467600"/>
              <a:gd name="connsiteY129" fmla="*/ 4728849 h 6858000"/>
              <a:gd name="connsiteX130" fmla="*/ 2777707 w 7467600"/>
              <a:gd name="connsiteY130" fmla="*/ 5003991 h 6858000"/>
              <a:gd name="connsiteX131" fmla="*/ 2800768 w 7467600"/>
              <a:gd name="connsiteY131" fmla="*/ 5010056 h 6858000"/>
              <a:gd name="connsiteX132" fmla="*/ 2879408 w 7467600"/>
              <a:gd name="connsiteY132" fmla="*/ 5031590 h 6858000"/>
              <a:gd name="connsiteX133" fmla="*/ 2862295 w 7467600"/>
              <a:gd name="connsiteY133" fmla="*/ 5022958 h 6858000"/>
              <a:gd name="connsiteX134" fmla="*/ 2813343 w 7467600"/>
              <a:gd name="connsiteY134" fmla="*/ 4998369 h 6858000"/>
              <a:gd name="connsiteX135" fmla="*/ 2646245 w 7467600"/>
              <a:gd name="connsiteY135" fmla="*/ 4930999 h 6858000"/>
              <a:gd name="connsiteX136" fmla="*/ 1999243 w 7467600"/>
              <a:gd name="connsiteY136" fmla="*/ 4730524 h 6858000"/>
              <a:gd name="connsiteX137" fmla="*/ 1979527 w 7467600"/>
              <a:gd name="connsiteY137" fmla="*/ 4726651 h 6858000"/>
              <a:gd name="connsiteX138" fmla="*/ 1927410 w 7467600"/>
              <a:gd name="connsiteY138" fmla="*/ 4716164 h 6858000"/>
              <a:gd name="connsiteX139" fmla="*/ 1997014 w 7467600"/>
              <a:gd name="connsiteY139" fmla="*/ 4698007 h 6858000"/>
              <a:gd name="connsiteX140" fmla="*/ 2005458 w 7467600"/>
              <a:gd name="connsiteY140" fmla="*/ 4699540 h 6858000"/>
              <a:gd name="connsiteX141" fmla="*/ 2657186 w 7467600"/>
              <a:gd name="connsiteY141" fmla="*/ 4901687 h 6858000"/>
              <a:gd name="connsiteX142" fmla="*/ 2826662 w 7467600"/>
              <a:gd name="connsiteY142" fmla="*/ 4970362 h 6858000"/>
              <a:gd name="connsiteX143" fmla="*/ 2876100 w 7467600"/>
              <a:gd name="connsiteY143" fmla="*/ 4995397 h 6858000"/>
              <a:gd name="connsiteX144" fmla="*/ 3042600 w 7467600"/>
              <a:gd name="connsiteY144" fmla="*/ 5059532 h 6858000"/>
              <a:gd name="connsiteX145" fmla="*/ 1997014 w 7467600"/>
              <a:gd name="connsiteY145" fmla="*/ 4698007 h 6858000"/>
              <a:gd name="connsiteX146" fmla="*/ 2305292 w 7467600"/>
              <a:gd name="connsiteY146" fmla="*/ 4219492 h 6858000"/>
              <a:gd name="connsiteX147" fmla="*/ 3360922 w 7467600"/>
              <a:gd name="connsiteY147" fmla="*/ 4529373 h 6858000"/>
              <a:gd name="connsiteX148" fmla="*/ 3492420 w 7467600"/>
              <a:gd name="connsiteY148" fmla="*/ 4510145 h 6858000"/>
              <a:gd name="connsiteX149" fmla="*/ 3364086 w 7467600"/>
              <a:gd name="connsiteY149" fmla="*/ 4480340 h 6858000"/>
              <a:gd name="connsiteX150" fmla="*/ 3225818 w 7467600"/>
              <a:gd name="connsiteY150" fmla="*/ 4411822 h 6858000"/>
              <a:gd name="connsiteX151" fmla="*/ 3129696 w 7467600"/>
              <a:gd name="connsiteY151" fmla="*/ 4360704 h 6858000"/>
              <a:gd name="connsiteX152" fmla="*/ 2814545 w 7467600"/>
              <a:gd name="connsiteY152" fmla="*/ 4282955 h 6858000"/>
              <a:gd name="connsiteX153" fmla="*/ 2305292 w 7467600"/>
              <a:gd name="connsiteY153" fmla="*/ 4219492 h 6858000"/>
              <a:gd name="connsiteX154" fmla="*/ 2626982 w 7467600"/>
              <a:gd name="connsiteY154" fmla="*/ 4206450 h 6858000"/>
              <a:gd name="connsiteX155" fmla="*/ 2490617 w 7467600"/>
              <a:gd name="connsiteY155" fmla="*/ 4206951 h 6858000"/>
              <a:gd name="connsiteX156" fmla="*/ 2819869 w 7467600"/>
              <a:gd name="connsiteY156" fmla="*/ 4252936 h 6858000"/>
              <a:gd name="connsiteX157" fmla="*/ 3143018 w 7467600"/>
              <a:gd name="connsiteY157" fmla="*/ 4332698 h 6858000"/>
              <a:gd name="connsiteX158" fmla="*/ 3241520 w 7467600"/>
              <a:gd name="connsiteY158" fmla="*/ 4385112 h 6858000"/>
              <a:gd name="connsiteX159" fmla="*/ 3374575 w 7467600"/>
              <a:gd name="connsiteY159" fmla="*/ 4451517 h 6858000"/>
              <a:gd name="connsiteX160" fmla="*/ 3505221 w 7467600"/>
              <a:gd name="connsiteY160" fmla="*/ 4480757 h 6858000"/>
              <a:gd name="connsiteX161" fmla="*/ 2626982 w 7467600"/>
              <a:gd name="connsiteY161" fmla="*/ 4206450 h 6858000"/>
              <a:gd name="connsiteX162" fmla="*/ 1310106 w 7467600"/>
              <a:gd name="connsiteY162" fmla="*/ 3943217 h 6858000"/>
              <a:gd name="connsiteX163" fmla="*/ 854994 w 7467600"/>
              <a:gd name="connsiteY163" fmla="*/ 4399136 h 6858000"/>
              <a:gd name="connsiteX164" fmla="*/ 742462 w 7467600"/>
              <a:gd name="connsiteY164" fmla="*/ 4594648 h 6858000"/>
              <a:gd name="connsiteX165" fmla="*/ 820602 w 7467600"/>
              <a:gd name="connsiteY165" fmla="*/ 4485915 h 6858000"/>
              <a:gd name="connsiteX166" fmla="*/ 878295 w 7467600"/>
              <a:gd name="connsiteY166" fmla="*/ 4403594 h 6858000"/>
              <a:gd name="connsiteX167" fmla="*/ 1240607 w 7467600"/>
              <a:gd name="connsiteY167" fmla="*/ 4010401 h 6858000"/>
              <a:gd name="connsiteX168" fmla="*/ 1310106 w 7467600"/>
              <a:gd name="connsiteY168" fmla="*/ 3943217 h 6858000"/>
              <a:gd name="connsiteX169" fmla="*/ 1423113 w 7467600"/>
              <a:gd name="connsiteY169" fmla="*/ 3874565 h 6858000"/>
              <a:gd name="connsiteX170" fmla="*/ 1260565 w 7467600"/>
              <a:gd name="connsiteY170" fmla="*/ 4031982 h 6858000"/>
              <a:gd name="connsiteX171" fmla="*/ 901900 w 7467600"/>
              <a:gd name="connsiteY171" fmla="*/ 4421236 h 6858000"/>
              <a:gd name="connsiteX172" fmla="*/ 845044 w 7467600"/>
              <a:gd name="connsiteY172" fmla="*/ 4502436 h 6858000"/>
              <a:gd name="connsiteX173" fmla="*/ 685926 w 7467600"/>
              <a:gd name="connsiteY173" fmla="*/ 4703069 h 6858000"/>
              <a:gd name="connsiteX174" fmla="*/ 684248 w 7467600"/>
              <a:gd name="connsiteY174" fmla="*/ 4706721 h 6858000"/>
              <a:gd name="connsiteX175" fmla="*/ 1423113 w 7467600"/>
              <a:gd name="connsiteY175" fmla="*/ 3874565 h 6858000"/>
              <a:gd name="connsiteX176" fmla="*/ 3316479 w 7467600"/>
              <a:gd name="connsiteY176" fmla="*/ 3872136 h 6858000"/>
              <a:gd name="connsiteX177" fmla="*/ 3546806 w 7467600"/>
              <a:gd name="connsiteY177" fmla="*/ 4356139 h 6858000"/>
              <a:gd name="connsiteX178" fmla="*/ 3364433 w 7467600"/>
              <a:gd name="connsiteY178" fmla="*/ 3953121 h 6858000"/>
              <a:gd name="connsiteX179" fmla="*/ 3316479 w 7467600"/>
              <a:gd name="connsiteY179" fmla="*/ 3872136 h 6858000"/>
              <a:gd name="connsiteX180" fmla="*/ 3291335 w 7467600"/>
              <a:gd name="connsiteY180" fmla="*/ 3767420 h 6858000"/>
              <a:gd name="connsiteX181" fmla="*/ 3390805 w 7467600"/>
              <a:gd name="connsiteY181" fmla="*/ 3937163 h 6858000"/>
              <a:gd name="connsiteX182" fmla="*/ 3579062 w 7467600"/>
              <a:gd name="connsiteY182" fmla="*/ 4359040 h 6858000"/>
              <a:gd name="connsiteX183" fmla="*/ 3467355 w 7467600"/>
              <a:gd name="connsiteY183" fmla="*/ 3988130 h 6858000"/>
              <a:gd name="connsiteX184" fmla="*/ 3310753 w 7467600"/>
              <a:gd name="connsiteY184" fmla="*/ 3787140 h 6858000"/>
              <a:gd name="connsiteX185" fmla="*/ 3291335 w 7467600"/>
              <a:gd name="connsiteY185" fmla="*/ 3767420 h 6858000"/>
              <a:gd name="connsiteX186" fmla="*/ 1635889 w 7467600"/>
              <a:gd name="connsiteY186" fmla="*/ 3709494 h 6858000"/>
              <a:gd name="connsiteX187" fmla="*/ 1634800 w 7467600"/>
              <a:gd name="connsiteY187" fmla="*/ 3731111 h 6858000"/>
              <a:gd name="connsiteX188" fmla="*/ 1635889 w 7467600"/>
              <a:gd name="connsiteY188" fmla="*/ 3709494 h 6858000"/>
              <a:gd name="connsiteX189" fmla="*/ 1510397 w 7467600"/>
              <a:gd name="connsiteY189" fmla="*/ 3684705 h 6858000"/>
              <a:gd name="connsiteX190" fmla="*/ 1146550 w 7467600"/>
              <a:gd name="connsiteY190" fmla="*/ 3802012 h 6858000"/>
              <a:gd name="connsiteX191" fmla="*/ 698834 w 7467600"/>
              <a:gd name="connsiteY191" fmla="*/ 3952272 h 6858000"/>
              <a:gd name="connsiteX192" fmla="*/ 34256 w 7467600"/>
              <a:gd name="connsiteY192" fmla="*/ 4347603 h 6858000"/>
              <a:gd name="connsiteX193" fmla="*/ 527241 w 7467600"/>
              <a:gd name="connsiteY193" fmla="*/ 4065078 h 6858000"/>
              <a:gd name="connsiteX194" fmla="*/ 1510397 w 7467600"/>
              <a:gd name="connsiteY194" fmla="*/ 3684705 h 6858000"/>
              <a:gd name="connsiteX195" fmla="*/ 1313114 w 7467600"/>
              <a:gd name="connsiteY195" fmla="*/ 3655216 h 6858000"/>
              <a:gd name="connsiteX196" fmla="*/ 1109304 w 7467600"/>
              <a:gd name="connsiteY196" fmla="*/ 3669030 h 6858000"/>
              <a:gd name="connsiteX197" fmla="*/ 8129 w 7467600"/>
              <a:gd name="connsiteY197" fmla="*/ 4330519 h 6858000"/>
              <a:gd name="connsiteX198" fmla="*/ 687572 w 7467600"/>
              <a:gd name="connsiteY198" fmla="*/ 3925629 h 6858000"/>
              <a:gd name="connsiteX199" fmla="*/ 1138365 w 7467600"/>
              <a:gd name="connsiteY199" fmla="*/ 3774515 h 6858000"/>
              <a:gd name="connsiteX200" fmla="*/ 1505579 w 7467600"/>
              <a:gd name="connsiteY200" fmla="*/ 3655526 h 6858000"/>
              <a:gd name="connsiteX201" fmla="*/ 1313114 w 7467600"/>
              <a:gd name="connsiteY201" fmla="*/ 3655216 h 6858000"/>
              <a:gd name="connsiteX202" fmla="*/ 3655073 w 7467600"/>
              <a:gd name="connsiteY202" fmla="*/ 3650884 h 6858000"/>
              <a:gd name="connsiteX203" fmla="*/ 3989938 w 7467600"/>
              <a:gd name="connsiteY203" fmla="*/ 3991685 h 6858000"/>
              <a:gd name="connsiteX204" fmla="*/ 4393907 w 7467600"/>
              <a:gd name="connsiteY204" fmla="*/ 4261258 h 6858000"/>
              <a:gd name="connsiteX205" fmla="*/ 4648051 w 7467600"/>
              <a:gd name="connsiteY205" fmla="*/ 4374051 h 6858000"/>
              <a:gd name="connsiteX206" fmla="*/ 4383389 w 7467600"/>
              <a:gd name="connsiteY206" fmla="*/ 4184369 h 6858000"/>
              <a:gd name="connsiteX207" fmla="*/ 4165508 w 7467600"/>
              <a:gd name="connsiteY207" fmla="*/ 4035196 h 6858000"/>
              <a:gd name="connsiteX208" fmla="*/ 4068162 w 7467600"/>
              <a:gd name="connsiteY208" fmla="*/ 3953394 h 6858000"/>
              <a:gd name="connsiteX209" fmla="*/ 3981416 w 7467600"/>
              <a:gd name="connsiteY209" fmla="*/ 3880482 h 6858000"/>
              <a:gd name="connsiteX210" fmla="*/ 3800147 w 7467600"/>
              <a:gd name="connsiteY210" fmla="*/ 3749872 h 6858000"/>
              <a:gd name="connsiteX211" fmla="*/ 3655073 w 7467600"/>
              <a:gd name="connsiteY211" fmla="*/ 3650884 h 6858000"/>
              <a:gd name="connsiteX212" fmla="*/ 3670252 w 7467600"/>
              <a:gd name="connsiteY212" fmla="*/ 3622798 h 6858000"/>
              <a:gd name="connsiteX213" fmla="*/ 3817258 w 7467600"/>
              <a:gd name="connsiteY213" fmla="*/ 3723577 h 6858000"/>
              <a:gd name="connsiteX214" fmla="*/ 4000461 w 7467600"/>
              <a:gd name="connsiteY214" fmla="*/ 3855966 h 6858000"/>
              <a:gd name="connsiteX215" fmla="*/ 4088180 w 7467600"/>
              <a:gd name="connsiteY215" fmla="*/ 3929774 h 6858000"/>
              <a:gd name="connsiteX216" fmla="*/ 4184555 w 7467600"/>
              <a:gd name="connsiteY216" fmla="*/ 4010683 h 6858000"/>
              <a:gd name="connsiteX217" fmla="*/ 4399563 w 7467600"/>
              <a:gd name="connsiteY217" fmla="*/ 4158106 h 6858000"/>
              <a:gd name="connsiteX218" fmla="*/ 4684469 w 7467600"/>
              <a:gd name="connsiteY218" fmla="*/ 4364680 h 6858000"/>
              <a:gd name="connsiteX219" fmla="*/ 4690271 w 7467600"/>
              <a:gd name="connsiteY219" fmla="*/ 4370034 h 6858000"/>
              <a:gd name="connsiteX220" fmla="*/ 4136093 w 7467600"/>
              <a:gd name="connsiteY220" fmla="*/ 3858466 h 6858000"/>
              <a:gd name="connsiteX221" fmla="*/ 3670252 w 7467600"/>
              <a:gd name="connsiteY221" fmla="*/ 3622798 h 6858000"/>
              <a:gd name="connsiteX222" fmla="*/ 4440129 w 7467600"/>
              <a:gd name="connsiteY222" fmla="*/ 3448571 h 6858000"/>
              <a:gd name="connsiteX223" fmla="*/ 4856525 w 7467600"/>
              <a:gd name="connsiteY223" fmla="*/ 3915351 h 6858000"/>
              <a:gd name="connsiteX224" fmla="*/ 5059055 w 7467600"/>
              <a:gd name="connsiteY224" fmla="*/ 4108918 h 6858000"/>
              <a:gd name="connsiteX225" fmla="*/ 5290070 w 7467600"/>
              <a:gd name="connsiteY225" fmla="*/ 4263619 h 6858000"/>
              <a:gd name="connsiteX226" fmla="*/ 4834991 w 7467600"/>
              <a:gd name="connsiteY226" fmla="*/ 3830985 h 6858000"/>
              <a:gd name="connsiteX227" fmla="*/ 4440129 w 7467600"/>
              <a:gd name="connsiteY227" fmla="*/ 3448571 h 6858000"/>
              <a:gd name="connsiteX228" fmla="*/ 4441737 w 7467600"/>
              <a:gd name="connsiteY228" fmla="*/ 3399734 h 6858000"/>
              <a:gd name="connsiteX229" fmla="*/ 4431236 w 7467600"/>
              <a:gd name="connsiteY229" fmla="*/ 3400954 h 6858000"/>
              <a:gd name="connsiteX230" fmla="*/ 4557150 w 7467600"/>
              <a:gd name="connsiteY230" fmla="*/ 3510023 h 6858000"/>
              <a:gd name="connsiteX231" fmla="*/ 4856936 w 7467600"/>
              <a:gd name="connsiteY231" fmla="*/ 3809146 h 6858000"/>
              <a:gd name="connsiteX232" fmla="*/ 5111996 w 7467600"/>
              <a:gd name="connsiteY232" fmla="*/ 4065759 h 6858000"/>
              <a:gd name="connsiteX233" fmla="*/ 5388878 w 7467600"/>
              <a:gd name="connsiteY233" fmla="*/ 4300185 h 6858000"/>
              <a:gd name="connsiteX234" fmla="*/ 5425556 w 7467600"/>
              <a:gd name="connsiteY234" fmla="*/ 4308967 h 6858000"/>
              <a:gd name="connsiteX235" fmla="*/ 4943646 w 7467600"/>
              <a:gd name="connsiteY235" fmla="*/ 3822916 h 6858000"/>
              <a:gd name="connsiteX236" fmla="*/ 4594837 w 7467600"/>
              <a:gd name="connsiteY236" fmla="*/ 3532274 h 6858000"/>
              <a:gd name="connsiteX237" fmla="*/ 4441737 w 7467600"/>
              <a:gd name="connsiteY237" fmla="*/ 3399734 h 6858000"/>
              <a:gd name="connsiteX238" fmla="*/ 5425834 w 7467600"/>
              <a:gd name="connsiteY238" fmla="*/ 3162785 h 6858000"/>
              <a:gd name="connsiteX239" fmla="*/ 5401644 w 7467600"/>
              <a:gd name="connsiteY239" fmla="*/ 3617847 h 6858000"/>
              <a:gd name="connsiteX240" fmla="*/ 5467256 w 7467600"/>
              <a:gd name="connsiteY240" fmla="*/ 4175494 h 6858000"/>
              <a:gd name="connsiteX241" fmla="*/ 5448069 w 7467600"/>
              <a:gd name="connsiteY241" fmla="*/ 3567554 h 6858000"/>
              <a:gd name="connsiteX242" fmla="*/ 5425834 w 7467600"/>
              <a:gd name="connsiteY242" fmla="*/ 3162785 h 6858000"/>
              <a:gd name="connsiteX243" fmla="*/ 1318687 w 7467600"/>
              <a:gd name="connsiteY243" fmla="*/ 3113840 h 6858000"/>
              <a:gd name="connsiteX244" fmla="*/ 1066793 w 7467600"/>
              <a:gd name="connsiteY244" fmla="*/ 3212171 h 6858000"/>
              <a:gd name="connsiteX245" fmla="*/ 993319 w 7467600"/>
              <a:gd name="connsiteY245" fmla="*/ 3247648 h 6858000"/>
              <a:gd name="connsiteX246" fmla="*/ 853081 w 7467600"/>
              <a:gd name="connsiteY246" fmla="*/ 3312410 h 6858000"/>
              <a:gd name="connsiteX247" fmla="*/ 805957 w 7467600"/>
              <a:gd name="connsiteY247" fmla="*/ 3330443 h 6858000"/>
              <a:gd name="connsiteX248" fmla="*/ 1318687 w 7467600"/>
              <a:gd name="connsiteY248" fmla="*/ 3113840 h 6858000"/>
              <a:gd name="connsiteX249" fmla="*/ 5453702 w 7467600"/>
              <a:gd name="connsiteY249" fmla="*/ 3090882 h 6858000"/>
              <a:gd name="connsiteX250" fmla="*/ 5480135 w 7467600"/>
              <a:gd name="connsiteY250" fmla="*/ 3565802 h 6858000"/>
              <a:gd name="connsiteX251" fmla="*/ 5499023 w 7467600"/>
              <a:gd name="connsiteY251" fmla="*/ 4166310 h 6858000"/>
              <a:gd name="connsiteX252" fmla="*/ 5547022 w 7467600"/>
              <a:gd name="connsiteY252" fmla="*/ 3607838 h 6858000"/>
              <a:gd name="connsiteX253" fmla="*/ 5515964 w 7467600"/>
              <a:gd name="connsiteY253" fmla="*/ 3378541 h 6858000"/>
              <a:gd name="connsiteX254" fmla="*/ 5453702 w 7467600"/>
              <a:gd name="connsiteY254" fmla="*/ 3090882 h 6858000"/>
              <a:gd name="connsiteX255" fmla="*/ 1238695 w 7467600"/>
              <a:gd name="connsiteY255" fmla="*/ 3076820 h 6858000"/>
              <a:gd name="connsiteX256" fmla="*/ 716371 w 7467600"/>
              <a:gd name="connsiteY256" fmla="*/ 3293249 h 6858000"/>
              <a:gd name="connsiteX257" fmla="*/ 579522 w 7467600"/>
              <a:gd name="connsiteY257" fmla="*/ 3371759 h 6858000"/>
              <a:gd name="connsiteX258" fmla="*/ 600288 w 7467600"/>
              <a:gd name="connsiteY258" fmla="*/ 3365555 h 6858000"/>
              <a:gd name="connsiteX259" fmla="*/ 840692 w 7467600"/>
              <a:gd name="connsiteY259" fmla="*/ 3284921 h 6858000"/>
              <a:gd name="connsiteX260" fmla="*/ 979248 w 7467600"/>
              <a:gd name="connsiteY260" fmla="*/ 3221003 h 6858000"/>
              <a:gd name="connsiteX261" fmla="*/ 1053282 w 7467600"/>
              <a:gd name="connsiteY261" fmla="*/ 3185247 h 6858000"/>
              <a:gd name="connsiteX262" fmla="*/ 1320603 w 7467600"/>
              <a:gd name="connsiteY262" fmla="*/ 3081281 h 6858000"/>
              <a:gd name="connsiteX263" fmla="*/ 1238695 w 7467600"/>
              <a:gd name="connsiteY263" fmla="*/ 3076820 h 6858000"/>
              <a:gd name="connsiteX264" fmla="*/ 5425627 w 7467600"/>
              <a:gd name="connsiteY264" fmla="*/ 2954192 h 6858000"/>
              <a:gd name="connsiteX265" fmla="*/ 5470770 w 7467600"/>
              <a:gd name="connsiteY265" fmla="*/ 3005435 h 6858000"/>
              <a:gd name="connsiteX266" fmla="*/ 5519779 w 7467600"/>
              <a:gd name="connsiteY266" fmla="*/ 4359223 h 6858000"/>
              <a:gd name="connsiteX267" fmla="*/ 5520293 w 7467600"/>
              <a:gd name="connsiteY267" fmla="*/ 4360602 h 6858000"/>
              <a:gd name="connsiteX268" fmla="*/ 5767221 w 7467600"/>
              <a:gd name="connsiteY268" fmla="*/ 4665564 h 6858000"/>
              <a:gd name="connsiteX269" fmla="*/ 6937169 w 7467600"/>
              <a:gd name="connsiteY269" fmla="*/ 4815941 h 6858000"/>
              <a:gd name="connsiteX270" fmla="*/ 6953922 w 7467600"/>
              <a:gd name="connsiteY270" fmla="*/ 4890068 h 6858000"/>
              <a:gd name="connsiteX271" fmla="*/ 6071359 w 7467600"/>
              <a:gd name="connsiteY271" fmla="*/ 4770770 h 6858000"/>
              <a:gd name="connsiteX272" fmla="*/ 6038839 w 7467600"/>
              <a:gd name="connsiteY272" fmla="*/ 4764474 h 6858000"/>
              <a:gd name="connsiteX273" fmla="*/ 6038706 w 7467600"/>
              <a:gd name="connsiteY273" fmla="*/ 4763847 h 6858000"/>
              <a:gd name="connsiteX274" fmla="*/ 6037784 w 7467600"/>
              <a:gd name="connsiteY274" fmla="*/ 4764270 h 6858000"/>
              <a:gd name="connsiteX275" fmla="*/ 6038839 w 7467600"/>
              <a:gd name="connsiteY275" fmla="*/ 4764474 h 6858000"/>
              <a:gd name="connsiteX276" fmla="*/ 6040338 w 7467600"/>
              <a:gd name="connsiteY276" fmla="*/ 4771418 h 6858000"/>
              <a:gd name="connsiteX277" fmla="*/ 6024488 w 7467600"/>
              <a:gd name="connsiteY277" fmla="*/ 4809903 h 6858000"/>
              <a:gd name="connsiteX278" fmla="*/ 5599771 w 7467600"/>
              <a:gd name="connsiteY278" fmla="*/ 5509652 h 6858000"/>
              <a:gd name="connsiteX279" fmla="*/ 5548843 w 7467600"/>
              <a:gd name="connsiteY279" fmla="*/ 5563845 h 6858000"/>
              <a:gd name="connsiteX280" fmla="*/ 5940952 w 7467600"/>
              <a:gd name="connsiteY280" fmla="*/ 6250028 h 6858000"/>
              <a:gd name="connsiteX281" fmla="*/ 6043441 w 7467600"/>
              <a:gd name="connsiteY281" fmla="*/ 6665847 h 6858000"/>
              <a:gd name="connsiteX282" fmla="*/ 6093432 w 7467600"/>
              <a:gd name="connsiteY282" fmla="*/ 6858000 h 6858000"/>
              <a:gd name="connsiteX283" fmla="*/ 6034344 w 7467600"/>
              <a:gd name="connsiteY283" fmla="*/ 6858000 h 6858000"/>
              <a:gd name="connsiteX284" fmla="*/ 6026679 w 7467600"/>
              <a:gd name="connsiteY284" fmla="*/ 6836959 h 6858000"/>
              <a:gd name="connsiteX285" fmla="*/ 5800441 w 7467600"/>
              <a:gd name="connsiteY285" fmla="*/ 6335286 h 6858000"/>
              <a:gd name="connsiteX286" fmla="*/ 5526562 w 7467600"/>
              <a:gd name="connsiteY286" fmla="*/ 5705388 h 6858000"/>
              <a:gd name="connsiteX287" fmla="*/ 5519640 w 7467600"/>
              <a:gd name="connsiteY287" fmla="*/ 5683774 h 6858000"/>
              <a:gd name="connsiteX288" fmla="*/ 5844559 w 7467600"/>
              <a:gd name="connsiteY288" fmla="*/ 6553349 h 6858000"/>
              <a:gd name="connsiteX289" fmla="*/ 5975994 w 7467600"/>
              <a:gd name="connsiteY289" fmla="*/ 6858000 h 6858000"/>
              <a:gd name="connsiteX290" fmla="*/ 5898547 w 7467600"/>
              <a:gd name="connsiteY290" fmla="*/ 6858000 h 6858000"/>
              <a:gd name="connsiteX291" fmla="*/ 5682041 w 7467600"/>
              <a:gd name="connsiteY291" fmla="*/ 6355860 h 6858000"/>
              <a:gd name="connsiteX292" fmla="*/ 5461758 w 7467600"/>
              <a:gd name="connsiteY292" fmla="*/ 5820220 h 6858000"/>
              <a:gd name="connsiteX293" fmla="*/ 5237282 w 7467600"/>
              <a:gd name="connsiteY293" fmla="*/ 6579086 h 6858000"/>
              <a:gd name="connsiteX294" fmla="*/ 5115009 w 7467600"/>
              <a:gd name="connsiteY294" fmla="*/ 6858000 h 6858000"/>
              <a:gd name="connsiteX295" fmla="*/ 5028074 w 7467600"/>
              <a:gd name="connsiteY295" fmla="*/ 6858000 h 6858000"/>
              <a:gd name="connsiteX296" fmla="*/ 5079508 w 7467600"/>
              <a:gd name="connsiteY296" fmla="*/ 6749074 h 6858000"/>
              <a:gd name="connsiteX297" fmla="*/ 5371846 w 7467600"/>
              <a:gd name="connsiteY297" fmla="*/ 5924413 h 6858000"/>
              <a:gd name="connsiteX298" fmla="*/ 5270512 w 7467600"/>
              <a:gd name="connsiteY298" fmla="*/ 6138975 h 6858000"/>
              <a:gd name="connsiteX299" fmla="*/ 5062409 w 7467600"/>
              <a:gd name="connsiteY299" fmla="*/ 6653544 h 6858000"/>
              <a:gd name="connsiteX300" fmla="*/ 5036628 w 7467600"/>
              <a:gd name="connsiteY300" fmla="*/ 6754247 h 6858000"/>
              <a:gd name="connsiteX301" fmla="*/ 5009112 w 7467600"/>
              <a:gd name="connsiteY301" fmla="*/ 6858000 h 6858000"/>
              <a:gd name="connsiteX302" fmla="*/ 4976679 w 7467600"/>
              <a:gd name="connsiteY302" fmla="*/ 6858000 h 6858000"/>
              <a:gd name="connsiteX303" fmla="*/ 5006537 w 7467600"/>
              <a:gd name="connsiteY303" fmla="*/ 6747068 h 6858000"/>
              <a:gd name="connsiteX304" fmla="*/ 5032723 w 7467600"/>
              <a:gd name="connsiteY304" fmla="*/ 6644957 h 6858000"/>
              <a:gd name="connsiteX305" fmla="*/ 5242949 w 7467600"/>
              <a:gd name="connsiteY305" fmla="*/ 6125175 h 6858000"/>
              <a:gd name="connsiteX306" fmla="*/ 5286321 w 7467600"/>
              <a:gd name="connsiteY306" fmla="*/ 6033555 h 6858000"/>
              <a:gd name="connsiteX307" fmla="*/ 5008210 w 7467600"/>
              <a:gd name="connsiteY307" fmla="*/ 6649194 h 6858000"/>
              <a:gd name="connsiteX308" fmla="*/ 4986321 w 7467600"/>
              <a:gd name="connsiteY308" fmla="*/ 6765687 h 6858000"/>
              <a:gd name="connsiteX309" fmla="*/ 4973474 w 7467600"/>
              <a:gd name="connsiteY309" fmla="*/ 6858000 h 6858000"/>
              <a:gd name="connsiteX310" fmla="*/ 4907178 w 7467600"/>
              <a:gd name="connsiteY310" fmla="*/ 6858000 h 6858000"/>
              <a:gd name="connsiteX311" fmla="*/ 4910810 w 7467600"/>
              <a:gd name="connsiteY311" fmla="*/ 6829660 h 6858000"/>
              <a:gd name="connsiteX312" fmla="*/ 4987461 w 7467600"/>
              <a:gd name="connsiteY312" fmla="*/ 6432994 h 6858000"/>
              <a:gd name="connsiteX313" fmla="*/ 5179262 w 7467600"/>
              <a:gd name="connsiteY313" fmla="*/ 6035044 h 6858000"/>
              <a:gd name="connsiteX314" fmla="*/ 4689678 w 7467600"/>
              <a:gd name="connsiteY314" fmla="*/ 6440241 h 6858000"/>
              <a:gd name="connsiteX315" fmla="*/ 4477543 w 7467600"/>
              <a:gd name="connsiteY315" fmla="*/ 6674836 h 6858000"/>
              <a:gd name="connsiteX316" fmla="*/ 4329957 w 7467600"/>
              <a:gd name="connsiteY316" fmla="*/ 6858000 h 6858000"/>
              <a:gd name="connsiteX317" fmla="*/ 4218595 w 7467600"/>
              <a:gd name="connsiteY317" fmla="*/ 6858000 h 6858000"/>
              <a:gd name="connsiteX318" fmla="*/ 4368888 w 7467600"/>
              <a:gd name="connsiteY318" fmla="*/ 6668412 h 6858000"/>
              <a:gd name="connsiteX319" fmla="*/ 4563091 w 7467600"/>
              <a:gd name="connsiteY319" fmla="*/ 6442508 h 6858000"/>
              <a:gd name="connsiteX320" fmla="*/ 5387324 w 7467600"/>
              <a:gd name="connsiteY320" fmla="*/ 5705830 h 6858000"/>
              <a:gd name="connsiteX321" fmla="*/ 5073620 w 7467600"/>
              <a:gd name="connsiteY321" fmla="*/ 5955437 h 6858000"/>
              <a:gd name="connsiteX322" fmla="*/ 4689789 w 7467600"/>
              <a:gd name="connsiteY322" fmla="*/ 6268382 h 6858000"/>
              <a:gd name="connsiteX323" fmla="*/ 4418722 w 7467600"/>
              <a:gd name="connsiteY323" fmla="*/ 6570886 h 6858000"/>
              <a:gd name="connsiteX324" fmla="*/ 4214944 w 7467600"/>
              <a:gd name="connsiteY324" fmla="*/ 6858000 h 6858000"/>
              <a:gd name="connsiteX325" fmla="*/ 4177898 w 7467600"/>
              <a:gd name="connsiteY325" fmla="*/ 6858000 h 6858000"/>
              <a:gd name="connsiteX326" fmla="*/ 4391597 w 7467600"/>
              <a:gd name="connsiteY326" fmla="*/ 6556370 h 6858000"/>
              <a:gd name="connsiteX327" fmla="*/ 4668889 w 7467600"/>
              <a:gd name="connsiteY327" fmla="*/ 6246399 h 6858000"/>
              <a:gd name="connsiteX328" fmla="*/ 5055427 w 7467600"/>
              <a:gd name="connsiteY328" fmla="*/ 5931476 h 6858000"/>
              <a:gd name="connsiteX329" fmla="*/ 5371814 w 7467600"/>
              <a:gd name="connsiteY329" fmla="*/ 5678975 h 6858000"/>
              <a:gd name="connsiteX330" fmla="*/ 4987918 w 7467600"/>
              <a:gd name="connsiteY330" fmla="*/ 5838701 h 6858000"/>
              <a:gd name="connsiteX331" fmla="*/ 4317146 w 7467600"/>
              <a:gd name="connsiteY331" fmla="*/ 6587716 h 6858000"/>
              <a:gd name="connsiteX332" fmla="*/ 4171627 w 7467600"/>
              <a:gd name="connsiteY332" fmla="*/ 6858000 h 6858000"/>
              <a:gd name="connsiteX333" fmla="*/ 4081585 w 7467600"/>
              <a:gd name="connsiteY333" fmla="*/ 6858000 h 6858000"/>
              <a:gd name="connsiteX334" fmla="*/ 4238603 w 7467600"/>
              <a:gd name="connsiteY334" fmla="*/ 6559341 h 6858000"/>
              <a:gd name="connsiteX335" fmla="*/ 4778333 w 7467600"/>
              <a:gd name="connsiteY335" fmla="*/ 5873626 h 6858000"/>
              <a:gd name="connsiteX336" fmla="*/ 5414185 w 7467600"/>
              <a:gd name="connsiteY336" fmla="*/ 5573882 h 6858000"/>
              <a:gd name="connsiteX337" fmla="*/ 5959648 w 7467600"/>
              <a:gd name="connsiteY337" fmla="*/ 4760797 h 6858000"/>
              <a:gd name="connsiteX338" fmla="*/ 5355019 w 7467600"/>
              <a:gd name="connsiteY338" fmla="*/ 4734672 h 6858000"/>
              <a:gd name="connsiteX339" fmla="*/ 5083565 w 7467600"/>
              <a:gd name="connsiteY339" fmla="*/ 5179121 h 6858000"/>
              <a:gd name="connsiteX340" fmla="*/ 4713577 w 7467600"/>
              <a:gd name="connsiteY340" fmla="*/ 5616803 h 6858000"/>
              <a:gd name="connsiteX341" fmla="*/ 3989559 w 7467600"/>
              <a:gd name="connsiteY341" fmla="*/ 6145945 h 6858000"/>
              <a:gd name="connsiteX342" fmla="*/ 3939824 w 7467600"/>
              <a:gd name="connsiteY342" fmla="*/ 6066900 h 6858000"/>
              <a:gd name="connsiteX343" fmla="*/ 4584537 w 7467600"/>
              <a:gd name="connsiteY343" fmla="*/ 5324826 h 6858000"/>
              <a:gd name="connsiteX344" fmla="*/ 5037105 w 7467600"/>
              <a:gd name="connsiteY344" fmla="*/ 5088765 h 6858000"/>
              <a:gd name="connsiteX345" fmla="*/ 5039930 w 7467600"/>
              <a:gd name="connsiteY345" fmla="*/ 5089585 h 6858000"/>
              <a:gd name="connsiteX346" fmla="*/ 5263764 w 7467600"/>
              <a:gd name="connsiteY346" fmla="*/ 4735525 h 6858000"/>
              <a:gd name="connsiteX347" fmla="*/ 4086300 w 7467600"/>
              <a:gd name="connsiteY347" fmla="*/ 4884599 h 6858000"/>
              <a:gd name="connsiteX348" fmla="*/ 4085485 w 7467600"/>
              <a:gd name="connsiteY348" fmla="*/ 4899070 h 6858000"/>
              <a:gd name="connsiteX349" fmla="*/ 3871915 w 7467600"/>
              <a:gd name="connsiteY349" fmla="*/ 5253645 h 6858000"/>
              <a:gd name="connsiteX350" fmla="*/ 3799374 w 7467600"/>
              <a:gd name="connsiteY350" fmla="*/ 5466127 h 6858000"/>
              <a:gd name="connsiteX351" fmla="*/ 3498850 w 7467600"/>
              <a:gd name="connsiteY351" fmla="*/ 6661888 h 6858000"/>
              <a:gd name="connsiteX352" fmla="*/ 3399216 w 7467600"/>
              <a:gd name="connsiteY352" fmla="*/ 6858000 h 6858000"/>
              <a:gd name="connsiteX353" fmla="*/ 3303688 w 7467600"/>
              <a:gd name="connsiteY353" fmla="*/ 6858000 h 6858000"/>
              <a:gd name="connsiteX354" fmla="*/ 3391774 w 7467600"/>
              <a:gd name="connsiteY354" fmla="*/ 6697181 h 6858000"/>
              <a:gd name="connsiteX355" fmla="*/ 3735540 w 7467600"/>
              <a:gd name="connsiteY355" fmla="*/ 5546923 h 6858000"/>
              <a:gd name="connsiteX356" fmla="*/ 3729438 w 7467600"/>
              <a:gd name="connsiteY356" fmla="*/ 5569058 h 6858000"/>
              <a:gd name="connsiteX357" fmla="*/ 3707782 w 7467600"/>
              <a:gd name="connsiteY357" fmla="*/ 5644908 h 6858000"/>
              <a:gd name="connsiteX358" fmla="*/ 3583827 w 7467600"/>
              <a:gd name="connsiteY358" fmla="*/ 6039215 h 6858000"/>
              <a:gd name="connsiteX359" fmla="*/ 3547861 w 7467600"/>
              <a:gd name="connsiteY359" fmla="*/ 6129609 h 6858000"/>
              <a:gd name="connsiteX360" fmla="*/ 3490905 w 7467600"/>
              <a:gd name="connsiteY360" fmla="*/ 6277660 h 6858000"/>
              <a:gd name="connsiteX361" fmla="*/ 3455859 w 7467600"/>
              <a:gd name="connsiteY361" fmla="*/ 6391301 h 6858000"/>
              <a:gd name="connsiteX362" fmla="*/ 3429112 w 7467600"/>
              <a:gd name="connsiteY362" fmla="*/ 6479469 h 6858000"/>
              <a:gd name="connsiteX363" fmla="*/ 3304862 w 7467600"/>
              <a:gd name="connsiteY363" fmla="*/ 6796476 h 6858000"/>
              <a:gd name="connsiteX364" fmla="*/ 3276071 w 7467600"/>
              <a:gd name="connsiteY364" fmla="*/ 6858000 h 6858000"/>
              <a:gd name="connsiteX365" fmla="*/ 3240805 w 7467600"/>
              <a:gd name="connsiteY365" fmla="*/ 6858000 h 6858000"/>
              <a:gd name="connsiteX366" fmla="*/ 3275917 w 7467600"/>
              <a:gd name="connsiteY366" fmla="*/ 6783192 h 6858000"/>
              <a:gd name="connsiteX367" fmla="*/ 3399358 w 7467600"/>
              <a:gd name="connsiteY367" fmla="*/ 6469011 h 6858000"/>
              <a:gd name="connsiteX368" fmla="*/ 3425650 w 7467600"/>
              <a:gd name="connsiteY368" fmla="*/ 6381333 h 6858000"/>
              <a:gd name="connsiteX369" fmla="*/ 3460661 w 7467600"/>
              <a:gd name="connsiteY369" fmla="*/ 6266763 h 6858000"/>
              <a:gd name="connsiteX370" fmla="*/ 3518021 w 7467600"/>
              <a:gd name="connsiteY370" fmla="*/ 6117298 h 6858000"/>
              <a:gd name="connsiteX371" fmla="*/ 3554035 w 7467600"/>
              <a:gd name="connsiteY371" fmla="*/ 6027832 h 6858000"/>
              <a:gd name="connsiteX372" fmla="*/ 3677174 w 7467600"/>
              <a:gd name="connsiteY372" fmla="*/ 5636351 h 6858000"/>
              <a:gd name="connsiteX373" fmla="*/ 3698819 w 7467600"/>
              <a:gd name="connsiteY373" fmla="*/ 5560503 h 6858000"/>
              <a:gd name="connsiteX374" fmla="*/ 3702094 w 7467600"/>
              <a:gd name="connsiteY374" fmla="*/ 5549194 h 6858000"/>
              <a:gd name="connsiteX375" fmla="*/ 3398355 w 7467600"/>
              <a:gd name="connsiteY375" fmla="*/ 6094603 h 6858000"/>
              <a:gd name="connsiteX376" fmla="*/ 3193941 w 7467600"/>
              <a:gd name="connsiteY376" fmla="*/ 6798775 h 6858000"/>
              <a:gd name="connsiteX377" fmla="*/ 3184140 w 7467600"/>
              <a:gd name="connsiteY377" fmla="*/ 6858000 h 6858000"/>
              <a:gd name="connsiteX378" fmla="*/ 3099978 w 7467600"/>
              <a:gd name="connsiteY378" fmla="*/ 6858000 h 6858000"/>
              <a:gd name="connsiteX379" fmla="*/ 3101556 w 7467600"/>
              <a:gd name="connsiteY379" fmla="*/ 6843337 h 6858000"/>
              <a:gd name="connsiteX380" fmla="*/ 3370162 w 7467600"/>
              <a:gd name="connsiteY380" fmla="*/ 5785550 h 6858000"/>
              <a:gd name="connsiteX381" fmla="*/ 3746477 w 7467600"/>
              <a:gd name="connsiteY381" fmla="*/ 5377889 h 6858000"/>
              <a:gd name="connsiteX382" fmla="*/ 3863399 w 7467600"/>
              <a:gd name="connsiteY382" fmla="*/ 5087257 h 6858000"/>
              <a:gd name="connsiteX383" fmla="*/ 3968712 w 7467600"/>
              <a:gd name="connsiteY383" fmla="*/ 4913989 h 6858000"/>
              <a:gd name="connsiteX384" fmla="*/ 2792390 w 7467600"/>
              <a:gd name="connsiteY384" fmla="*/ 5382974 h 6858000"/>
              <a:gd name="connsiteX385" fmla="*/ 2714982 w 7467600"/>
              <a:gd name="connsiteY385" fmla="*/ 5427051 h 6858000"/>
              <a:gd name="connsiteX386" fmla="*/ 2813361 w 7467600"/>
              <a:gd name="connsiteY386" fmla="*/ 6023912 h 6858000"/>
              <a:gd name="connsiteX387" fmla="*/ 2688430 w 7467600"/>
              <a:gd name="connsiteY387" fmla="*/ 6801564 h 6858000"/>
              <a:gd name="connsiteX388" fmla="*/ 2629626 w 7467600"/>
              <a:gd name="connsiteY388" fmla="*/ 6763394 h 6858000"/>
              <a:gd name="connsiteX389" fmla="*/ 2565328 w 7467600"/>
              <a:gd name="connsiteY389" fmla="*/ 5516399 h 6858000"/>
              <a:gd name="connsiteX390" fmla="*/ 1922999 w 7467600"/>
              <a:gd name="connsiteY390" fmla="*/ 5980343 h 6858000"/>
              <a:gd name="connsiteX391" fmla="*/ 1950261 w 7467600"/>
              <a:gd name="connsiteY391" fmla="*/ 6405858 h 6858000"/>
              <a:gd name="connsiteX392" fmla="*/ 2365554 w 7467600"/>
              <a:gd name="connsiteY392" fmla="*/ 6759107 h 6858000"/>
              <a:gd name="connsiteX393" fmla="*/ 2424142 w 7467600"/>
              <a:gd name="connsiteY393" fmla="*/ 6858000 h 6858000"/>
              <a:gd name="connsiteX394" fmla="*/ 2395994 w 7467600"/>
              <a:gd name="connsiteY394" fmla="*/ 6858000 h 6858000"/>
              <a:gd name="connsiteX395" fmla="*/ 2392863 w 7467600"/>
              <a:gd name="connsiteY395" fmla="*/ 6852964 h 6858000"/>
              <a:gd name="connsiteX396" fmla="*/ 2017589 w 7467600"/>
              <a:gd name="connsiteY396" fmla="*/ 6493982 h 6858000"/>
              <a:gd name="connsiteX397" fmla="*/ 2147336 w 7467600"/>
              <a:gd name="connsiteY397" fmla="*/ 6594052 h 6858000"/>
              <a:gd name="connsiteX398" fmla="*/ 2207047 w 7467600"/>
              <a:gd name="connsiteY398" fmla="*/ 6654540 h 6858000"/>
              <a:gd name="connsiteX399" fmla="*/ 2299106 w 7467600"/>
              <a:gd name="connsiteY399" fmla="*/ 6778931 h 6858000"/>
              <a:gd name="connsiteX400" fmla="*/ 2314430 w 7467600"/>
              <a:gd name="connsiteY400" fmla="*/ 6801144 h 6858000"/>
              <a:gd name="connsiteX401" fmla="*/ 2352406 w 7467600"/>
              <a:gd name="connsiteY401" fmla="*/ 6858000 h 6858000"/>
              <a:gd name="connsiteX402" fmla="*/ 2314492 w 7467600"/>
              <a:gd name="connsiteY402" fmla="*/ 6858000 h 6858000"/>
              <a:gd name="connsiteX403" fmla="*/ 2288095 w 7467600"/>
              <a:gd name="connsiteY403" fmla="*/ 6818030 h 6858000"/>
              <a:gd name="connsiteX404" fmla="*/ 2272768 w 7467600"/>
              <a:gd name="connsiteY404" fmla="*/ 6795822 h 6858000"/>
              <a:gd name="connsiteX405" fmla="*/ 2182715 w 7467600"/>
              <a:gd name="connsiteY405" fmla="*/ 6675071 h 6858000"/>
              <a:gd name="connsiteX406" fmla="*/ 2032061 w 7467600"/>
              <a:gd name="connsiteY406" fmla="*/ 6541380 h 6858000"/>
              <a:gd name="connsiteX407" fmla="*/ 2257220 w 7467600"/>
              <a:gd name="connsiteY407" fmla="*/ 6826257 h 6858000"/>
              <a:gd name="connsiteX408" fmla="*/ 2281324 w 7467600"/>
              <a:gd name="connsiteY408" fmla="*/ 6858000 h 6858000"/>
              <a:gd name="connsiteX409" fmla="*/ 2242860 w 7467600"/>
              <a:gd name="connsiteY409" fmla="*/ 6858000 h 6858000"/>
              <a:gd name="connsiteX410" fmla="*/ 2232818 w 7467600"/>
              <a:gd name="connsiteY410" fmla="*/ 6844926 h 6858000"/>
              <a:gd name="connsiteX411" fmla="*/ 1990172 w 7467600"/>
              <a:gd name="connsiteY411" fmla="*/ 6542121 h 6858000"/>
              <a:gd name="connsiteX412" fmla="*/ 2124090 w 7467600"/>
              <a:gd name="connsiteY412" fmla="*/ 6761017 h 6858000"/>
              <a:gd name="connsiteX413" fmla="*/ 2200380 w 7467600"/>
              <a:gd name="connsiteY413" fmla="*/ 6858000 h 6858000"/>
              <a:gd name="connsiteX414" fmla="*/ 2147507 w 7467600"/>
              <a:gd name="connsiteY414" fmla="*/ 6858000 h 6858000"/>
              <a:gd name="connsiteX415" fmla="*/ 2070668 w 7467600"/>
              <a:gd name="connsiteY415" fmla="*/ 6761520 h 6858000"/>
              <a:gd name="connsiteX416" fmla="*/ 1975142 w 7467600"/>
              <a:gd name="connsiteY416" fmla="*/ 6585570 h 6858000"/>
              <a:gd name="connsiteX417" fmla="*/ 2050035 w 7467600"/>
              <a:gd name="connsiteY417" fmla="*/ 6813345 h 6858000"/>
              <a:gd name="connsiteX418" fmla="*/ 2063025 w 7467600"/>
              <a:gd name="connsiteY418" fmla="*/ 6858000 h 6858000"/>
              <a:gd name="connsiteX419" fmla="*/ 2021675 w 7467600"/>
              <a:gd name="connsiteY419" fmla="*/ 6858000 h 6858000"/>
              <a:gd name="connsiteX420" fmla="*/ 2019308 w 7467600"/>
              <a:gd name="connsiteY420" fmla="*/ 6847118 h 6858000"/>
              <a:gd name="connsiteX421" fmla="*/ 1938835 w 7467600"/>
              <a:gd name="connsiteY421" fmla="*/ 6551160 h 6858000"/>
              <a:gd name="connsiteX422" fmla="*/ 1953230 w 7467600"/>
              <a:gd name="connsiteY422" fmla="*/ 6759699 h 6858000"/>
              <a:gd name="connsiteX423" fmla="*/ 1956763 w 7467600"/>
              <a:gd name="connsiteY423" fmla="*/ 6778191 h 6858000"/>
              <a:gd name="connsiteX424" fmla="*/ 1967925 w 7467600"/>
              <a:gd name="connsiteY424" fmla="*/ 6858000 h 6858000"/>
              <a:gd name="connsiteX425" fmla="*/ 1936622 w 7467600"/>
              <a:gd name="connsiteY425" fmla="*/ 6858000 h 6858000"/>
              <a:gd name="connsiteX426" fmla="*/ 1926261 w 7467600"/>
              <a:gd name="connsiteY426" fmla="*/ 6784064 h 6858000"/>
              <a:gd name="connsiteX427" fmla="*/ 1922724 w 7467600"/>
              <a:gd name="connsiteY427" fmla="*/ 6765577 h 6858000"/>
              <a:gd name="connsiteX428" fmla="*/ 1904650 w 7467600"/>
              <a:gd name="connsiteY428" fmla="*/ 6639616 h 6858000"/>
              <a:gd name="connsiteX429" fmla="*/ 1885273 w 7467600"/>
              <a:gd name="connsiteY429" fmla="*/ 6858000 h 6858000"/>
              <a:gd name="connsiteX430" fmla="*/ 1854363 w 7467600"/>
              <a:gd name="connsiteY430" fmla="*/ 6858000 h 6858000"/>
              <a:gd name="connsiteX431" fmla="*/ 1880391 w 7467600"/>
              <a:gd name="connsiteY431" fmla="*/ 6603796 h 6858000"/>
              <a:gd name="connsiteX432" fmla="*/ 1818273 w 7467600"/>
              <a:gd name="connsiteY432" fmla="*/ 6715729 h 6858000"/>
              <a:gd name="connsiteX433" fmla="*/ 1794691 w 7467600"/>
              <a:gd name="connsiteY433" fmla="*/ 6843239 h 6858000"/>
              <a:gd name="connsiteX434" fmla="*/ 1794914 w 7467600"/>
              <a:gd name="connsiteY434" fmla="*/ 6858000 h 6858000"/>
              <a:gd name="connsiteX435" fmla="*/ 1746128 w 7467600"/>
              <a:gd name="connsiteY435" fmla="*/ 6858000 h 6858000"/>
              <a:gd name="connsiteX436" fmla="*/ 1753934 w 7467600"/>
              <a:gd name="connsiteY436" fmla="*/ 6724796 h 6858000"/>
              <a:gd name="connsiteX437" fmla="*/ 1792053 w 7467600"/>
              <a:gd name="connsiteY437" fmla="*/ 6572396 h 6858000"/>
              <a:gd name="connsiteX438" fmla="*/ 1862248 w 7467600"/>
              <a:gd name="connsiteY438" fmla="*/ 6266397 h 6858000"/>
              <a:gd name="connsiteX439" fmla="*/ 1862250 w 7467600"/>
              <a:gd name="connsiteY439" fmla="*/ 6033531 h 6858000"/>
              <a:gd name="connsiteX440" fmla="*/ 1211999 w 7467600"/>
              <a:gd name="connsiteY440" fmla="*/ 6683610 h 6858000"/>
              <a:gd name="connsiteX441" fmla="*/ 1213266 w 7467600"/>
              <a:gd name="connsiteY441" fmla="*/ 6691947 h 6858000"/>
              <a:gd name="connsiteX442" fmla="*/ 1203370 w 7467600"/>
              <a:gd name="connsiteY442" fmla="*/ 6850676 h 6858000"/>
              <a:gd name="connsiteX443" fmla="*/ 1203671 w 7467600"/>
              <a:gd name="connsiteY443" fmla="*/ 6858000 h 6858000"/>
              <a:gd name="connsiteX444" fmla="*/ 1143180 w 7467600"/>
              <a:gd name="connsiteY444" fmla="*/ 6858000 h 6858000"/>
              <a:gd name="connsiteX445" fmla="*/ 1142176 w 7467600"/>
              <a:gd name="connsiteY445" fmla="*/ 6766045 h 6858000"/>
              <a:gd name="connsiteX446" fmla="*/ 1067484 w 7467600"/>
              <a:gd name="connsiteY446" fmla="*/ 6858000 h 6858000"/>
              <a:gd name="connsiteX447" fmla="*/ 953928 w 7467600"/>
              <a:gd name="connsiteY447" fmla="*/ 6858000 h 6858000"/>
              <a:gd name="connsiteX448" fmla="*/ 959715 w 7467600"/>
              <a:gd name="connsiteY448" fmla="*/ 6850185 h 6858000"/>
              <a:gd name="connsiteX449" fmla="*/ 1483788 w 7467600"/>
              <a:gd name="connsiteY449" fmla="*/ 6259174 h 6858000"/>
              <a:gd name="connsiteX450" fmla="*/ 1100671 w 7467600"/>
              <a:gd name="connsiteY450" fmla="*/ 6252137 h 6858000"/>
              <a:gd name="connsiteX451" fmla="*/ 1090144 w 7467600"/>
              <a:gd name="connsiteY451" fmla="*/ 6256748 h 6858000"/>
              <a:gd name="connsiteX452" fmla="*/ 1095872 w 7467600"/>
              <a:gd name="connsiteY452" fmla="*/ 6271892 h 6858000"/>
              <a:gd name="connsiteX453" fmla="*/ 262785 w 7467600"/>
              <a:gd name="connsiteY453" fmla="*/ 6845450 h 6858000"/>
              <a:gd name="connsiteX454" fmla="*/ 209968 w 7467600"/>
              <a:gd name="connsiteY454" fmla="*/ 6770713 h 6858000"/>
              <a:gd name="connsiteX455" fmla="*/ 873460 w 7467600"/>
              <a:gd name="connsiteY455" fmla="*/ 6253768 h 6858000"/>
              <a:gd name="connsiteX456" fmla="*/ 192686 w 7467600"/>
              <a:gd name="connsiteY456" fmla="*/ 5849257 h 6858000"/>
              <a:gd name="connsiteX457" fmla="*/ 4696 w 7467600"/>
              <a:gd name="connsiteY457" fmla="*/ 5697668 h 6858000"/>
              <a:gd name="connsiteX458" fmla="*/ 0 w 7467600"/>
              <a:gd name="connsiteY458" fmla="*/ 5689984 h 6858000"/>
              <a:gd name="connsiteX459" fmla="*/ 0 w 7467600"/>
              <a:gd name="connsiteY459" fmla="*/ 5513472 h 6858000"/>
              <a:gd name="connsiteX460" fmla="*/ 174101 w 7467600"/>
              <a:gd name="connsiteY460" fmla="*/ 5620277 h 6858000"/>
              <a:gd name="connsiteX461" fmla="*/ 891800 w 7467600"/>
              <a:gd name="connsiteY461" fmla="*/ 6036935 h 6858000"/>
              <a:gd name="connsiteX462" fmla="*/ 1072219 w 7467600"/>
              <a:gd name="connsiteY462" fmla="*/ 6169443 h 6858000"/>
              <a:gd name="connsiteX463" fmla="*/ 1074117 w 7467600"/>
              <a:gd name="connsiteY463" fmla="*/ 6170301 h 6858000"/>
              <a:gd name="connsiteX464" fmla="*/ 1083114 w 7467600"/>
              <a:gd name="connsiteY464" fmla="*/ 6174131 h 6858000"/>
              <a:gd name="connsiteX465" fmla="*/ 1543010 w 7467600"/>
              <a:gd name="connsiteY465" fmla="*/ 6191140 h 6858000"/>
              <a:gd name="connsiteX466" fmla="*/ 1551080 w 7467600"/>
              <a:gd name="connsiteY466" fmla="*/ 6195006 h 6858000"/>
              <a:gd name="connsiteX467" fmla="*/ 2345443 w 7467600"/>
              <a:gd name="connsiteY467" fmla="*/ 5549882 h 6858000"/>
              <a:gd name="connsiteX468" fmla="*/ 1721499 w 7467600"/>
              <a:gd name="connsiteY468" fmla="*/ 5599969 h 6858000"/>
              <a:gd name="connsiteX469" fmla="*/ 767716 w 7467600"/>
              <a:gd name="connsiteY469" fmla="*/ 5472768 h 6858000"/>
              <a:gd name="connsiteX470" fmla="*/ 722147 w 7467600"/>
              <a:gd name="connsiteY470" fmla="*/ 5393091 h 6858000"/>
              <a:gd name="connsiteX471" fmla="*/ 1485552 w 7467600"/>
              <a:gd name="connsiteY471" fmla="*/ 5313202 h 6858000"/>
              <a:gd name="connsiteX472" fmla="*/ 2143004 w 7467600"/>
              <a:gd name="connsiteY472" fmla="*/ 5402420 h 6858000"/>
              <a:gd name="connsiteX473" fmla="*/ 1933391 w 7467600"/>
              <a:gd name="connsiteY473" fmla="*/ 5156971 h 6858000"/>
              <a:gd name="connsiteX474" fmla="*/ 1827118 w 7467600"/>
              <a:gd name="connsiteY474" fmla="*/ 4968410 h 6858000"/>
              <a:gd name="connsiteX475" fmla="*/ 1837349 w 7467600"/>
              <a:gd name="connsiteY475" fmla="*/ 4956357 h 6858000"/>
              <a:gd name="connsiteX476" fmla="*/ 2162835 w 7467600"/>
              <a:gd name="connsiteY476" fmla="*/ 5187853 h 6858000"/>
              <a:gd name="connsiteX477" fmla="*/ 2257167 w 7467600"/>
              <a:gd name="connsiteY477" fmla="*/ 5462123 h 6858000"/>
              <a:gd name="connsiteX478" fmla="*/ 2261598 w 7467600"/>
              <a:gd name="connsiteY478" fmla="*/ 5467998 h 6858000"/>
              <a:gd name="connsiteX479" fmla="*/ 2437177 w 7467600"/>
              <a:gd name="connsiteY479" fmla="*/ 5479608 h 6858000"/>
              <a:gd name="connsiteX480" fmla="*/ 2445247 w 7467600"/>
              <a:gd name="connsiteY480" fmla="*/ 5483476 h 6858000"/>
              <a:gd name="connsiteX481" fmla="*/ 2743626 w 7467600"/>
              <a:gd name="connsiteY481" fmla="*/ 5304819 h 6858000"/>
              <a:gd name="connsiteX482" fmla="*/ 3048102 w 7467600"/>
              <a:gd name="connsiteY482" fmla="*/ 5150595 h 6858000"/>
              <a:gd name="connsiteX483" fmla="*/ 1799414 w 7467600"/>
              <a:gd name="connsiteY483" fmla="*/ 4694732 h 6858000"/>
              <a:gd name="connsiteX484" fmla="*/ 1771735 w 7467600"/>
              <a:gd name="connsiteY484" fmla="*/ 4619929 h 6858000"/>
              <a:gd name="connsiteX485" fmla="*/ 3104273 w 7467600"/>
              <a:gd name="connsiteY485" fmla="*/ 5076159 h 6858000"/>
              <a:gd name="connsiteX486" fmla="*/ 3113245 w 7467600"/>
              <a:gd name="connsiteY486" fmla="*/ 5090705 h 6858000"/>
              <a:gd name="connsiteX487" fmla="*/ 3126294 w 7467600"/>
              <a:gd name="connsiteY487" fmla="*/ 5114400 h 6858000"/>
              <a:gd name="connsiteX488" fmla="*/ 3937433 w 7467600"/>
              <a:gd name="connsiteY488" fmla="*/ 4830473 h 6858000"/>
              <a:gd name="connsiteX489" fmla="*/ 3590475 w 7467600"/>
              <a:gd name="connsiteY489" fmla="*/ 4597974 h 6858000"/>
              <a:gd name="connsiteX490" fmla="*/ 3100264 w 7467600"/>
              <a:gd name="connsiteY490" fmla="*/ 4579845 h 6858000"/>
              <a:gd name="connsiteX491" fmla="*/ 2183576 w 7467600"/>
              <a:gd name="connsiteY491" fmla="*/ 4227150 h 6858000"/>
              <a:gd name="connsiteX492" fmla="*/ 2151029 w 7467600"/>
              <a:gd name="connsiteY492" fmla="*/ 4146947 h 6858000"/>
              <a:gd name="connsiteX493" fmla="*/ 3563434 w 7467600"/>
              <a:gd name="connsiteY493" fmla="*/ 4469115 h 6858000"/>
              <a:gd name="connsiteX494" fmla="*/ 3177952 w 7467600"/>
              <a:gd name="connsiteY494" fmla="*/ 3657386 h 6858000"/>
              <a:gd name="connsiteX495" fmla="*/ 3189263 w 7467600"/>
              <a:gd name="connsiteY495" fmla="*/ 3625726 h 6858000"/>
              <a:gd name="connsiteX496" fmla="*/ 3560912 w 7467600"/>
              <a:gd name="connsiteY496" fmla="*/ 4079863 h 6858000"/>
              <a:gd name="connsiteX497" fmla="*/ 3626636 w 7467600"/>
              <a:gd name="connsiteY497" fmla="*/ 4512230 h 6858000"/>
              <a:gd name="connsiteX498" fmla="*/ 3653088 w 7467600"/>
              <a:gd name="connsiteY498" fmla="*/ 4521417 h 6858000"/>
              <a:gd name="connsiteX499" fmla="*/ 3988128 w 7467600"/>
              <a:gd name="connsiteY499" fmla="*/ 4817267 h 6858000"/>
              <a:gd name="connsiteX500" fmla="*/ 4830582 w 7467600"/>
              <a:gd name="connsiteY500" fmla="*/ 4676000 h 6858000"/>
              <a:gd name="connsiteX501" fmla="*/ 4830100 w 7467600"/>
              <a:gd name="connsiteY501" fmla="*/ 4675554 h 6858000"/>
              <a:gd name="connsiteX502" fmla="*/ 4036318 w 7467600"/>
              <a:gd name="connsiteY502" fmla="*/ 4147013 h 6858000"/>
              <a:gd name="connsiteX503" fmla="*/ 3432098 w 7467600"/>
              <a:gd name="connsiteY503" fmla="*/ 3537312 h 6858000"/>
              <a:gd name="connsiteX504" fmla="*/ 3446761 w 7467600"/>
              <a:gd name="connsiteY504" fmla="*/ 3461278 h 6858000"/>
              <a:gd name="connsiteX505" fmla="*/ 4419733 w 7467600"/>
              <a:gd name="connsiteY505" fmla="*/ 3963555 h 6858000"/>
              <a:gd name="connsiteX506" fmla="*/ 4781371 w 7467600"/>
              <a:gd name="connsiteY506" fmla="*/ 4458604 h 6858000"/>
              <a:gd name="connsiteX507" fmla="*/ 4780440 w 7467600"/>
              <a:gd name="connsiteY507" fmla="*/ 4470290 h 6858000"/>
              <a:gd name="connsiteX508" fmla="*/ 4898954 w 7467600"/>
              <a:gd name="connsiteY508" fmla="*/ 4662092 h 6858000"/>
              <a:gd name="connsiteX509" fmla="*/ 4900699 w 7467600"/>
              <a:gd name="connsiteY509" fmla="*/ 4670867 h 6858000"/>
              <a:gd name="connsiteX510" fmla="*/ 5714511 w 7467600"/>
              <a:gd name="connsiteY510" fmla="*/ 4663483 h 6858000"/>
              <a:gd name="connsiteX511" fmla="*/ 5464793 w 7467600"/>
              <a:gd name="connsiteY511" fmla="*/ 4393556 h 6858000"/>
              <a:gd name="connsiteX512" fmla="*/ 5461897 w 7467600"/>
              <a:gd name="connsiteY512" fmla="*/ 4390879 h 6858000"/>
              <a:gd name="connsiteX513" fmla="*/ 4294126 w 7467600"/>
              <a:gd name="connsiteY513" fmla="*/ 3303048 h 6858000"/>
              <a:gd name="connsiteX514" fmla="*/ 4305321 w 7467600"/>
              <a:gd name="connsiteY514" fmla="*/ 3256953 h 6858000"/>
              <a:gd name="connsiteX515" fmla="*/ 4949299 w 7467600"/>
              <a:gd name="connsiteY515" fmla="*/ 3766336 h 6858000"/>
              <a:gd name="connsiteX516" fmla="*/ 5291452 w 7467600"/>
              <a:gd name="connsiteY516" fmla="*/ 4076801 h 6858000"/>
              <a:gd name="connsiteX517" fmla="*/ 5434998 w 7467600"/>
              <a:gd name="connsiteY517" fmla="*/ 4254100 h 6858000"/>
              <a:gd name="connsiteX518" fmla="*/ 5351015 w 7467600"/>
              <a:gd name="connsiteY518" fmla="*/ 3760989 h 6858000"/>
              <a:gd name="connsiteX519" fmla="*/ 5413780 w 7467600"/>
              <a:gd name="connsiteY519" fmla="*/ 2966265 h 6858000"/>
              <a:gd name="connsiteX520" fmla="*/ 5425627 w 7467600"/>
              <a:gd name="connsiteY520" fmla="*/ 2954192 h 6858000"/>
              <a:gd name="connsiteX521" fmla="*/ 6604735 w 7467600"/>
              <a:gd name="connsiteY521" fmla="*/ 2041381 h 6858000"/>
              <a:gd name="connsiteX522" fmla="*/ 7204487 w 7467600"/>
              <a:gd name="connsiteY522" fmla="*/ 2742112 h 6858000"/>
              <a:gd name="connsiteX523" fmla="*/ 7131592 w 7467600"/>
              <a:gd name="connsiteY523" fmla="*/ 2672096 h 6858000"/>
              <a:gd name="connsiteX524" fmla="*/ 6996344 w 7467600"/>
              <a:gd name="connsiteY524" fmla="*/ 2518310 h 6858000"/>
              <a:gd name="connsiteX525" fmla="*/ 6735495 w 7467600"/>
              <a:gd name="connsiteY525" fmla="*/ 2196890 h 6858000"/>
              <a:gd name="connsiteX526" fmla="*/ 6721901 w 7467600"/>
              <a:gd name="connsiteY526" fmla="*/ 2179274 h 6858000"/>
              <a:gd name="connsiteX527" fmla="*/ 6604735 w 7467600"/>
              <a:gd name="connsiteY527" fmla="*/ 2041381 h 6858000"/>
              <a:gd name="connsiteX528" fmla="*/ 6591670 w 7467600"/>
              <a:gd name="connsiteY528" fmla="*/ 1988277 h 6858000"/>
              <a:gd name="connsiteX529" fmla="*/ 6747349 w 7467600"/>
              <a:gd name="connsiteY529" fmla="*/ 2160069 h 6858000"/>
              <a:gd name="connsiteX530" fmla="*/ 6760943 w 7467600"/>
              <a:gd name="connsiteY530" fmla="*/ 2177686 h 6858000"/>
              <a:gd name="connsiteX531" fmla="*/ 7021065 w 7467600"/>
              <a:gd name="connsiteY531" fmla="*/ 2498102 h 6858000"/>
              <a:gd name="connsiteX532" fmla="*/ 7155223 w 7467600"/>
              <a:gd name="connsiteY532" fmla="*/ 2650386 h 6858000"/>
              <a:gd name="connsiteX533" fmla="*/ 7203167 w 7467600"/>
              <a:gd name="connsiteY533" fmla="*/ 2697288 h 6858000"/>
              <a:gd name="connsiteX534" fmla="*/ 6937703 w 7467600"/>
              <a:gd name="connsiteY534" fmla="*/ 2321981 h 6858000"/>
              <a:gd name="connsiteX535" fmla="*/ 6591670 w 7467600"/>
              <a:gd name="connsiteY535" fmla="*/ 1988277 h 6858000"/>
              <a:gd name="connsiteX536" fmla="*/ 5798671 w 7467600"/>
              <a:gd name="connsiteY536" fmla="*/ 1981601 h 6858000"/>
              <a:gd name="connsiteX537" fmla="*/ 5754709 w 7467600"/>
              <a:gd name="connsiteY537" fmla="*/ 2071454 h 6858000"/>
              <a:gd name="connsiteX538" fmla="*/ 5763044 w 7467600"/>
              <a:gd name="connsiteY538" fmla="*/ 2842206 h 6858000"/>
              <a:gd name="connsiteX539" fmla="*/ 5764974 w 7467600"/>
              <a:gd name="connsiteY539" fmla="*/ 2799609 h 6858000"/>
              <a:gd name="connsiteX540" fmla="*/ 5767665 w 7467600"/>
              <a:gd name="connsiteY540" fmla="*/ 2666409 h 6858000"/>
              <a:gd name="connsiteX541" fmla="*/ 5763055 w 7467600"/>
              <a:gd name="connsiteY541" fmla="*/ 2579705 h 6858000"/>
              <a:gd name="connsiteX542" fmla="*/ 5758079 w 7467600"/>
              <a:gd name="connsiteY542" fmla="*/ 2492508 h 6858000"/>
              <a:gd name="connsiteX543" fmla="*/ 5779325 w 7467600"/>
              <a:gd name="connsiteY543" fmla="*/ 2197069 h 6858000"/>
              <a:gd name="connsiteX544" fmla="*/ 5798671 w 7467600"/>
              <a:gd name="connsiteY544" fmla="*/ 1981601 h 6858000"/>
              <a:gd name="connsiteX545" fmla="*/ 5829202 w 7467600"/>
              <a:gd name="connsiteY545" fmla="*/ 1971679 h 6858000"/>
              <a:gd name="connsiteX546" fmla="*/ 5809558 w 7467600"/>
              <a:gd name="connsiteY546" fmla="*/ 2198043 h 6858000"/>
              <a:gd name="connsiteX547" fmla="*/ 5788653 w 7467600"/>
              <a:gd name="connsiteY547" fmla="*/ 2489430 h 6858000"/>
              <a:gd name="connsiteX548" fmla="*/ 5793439 w 7467600"/>
              <a:gd name="connsiteY548" fmla="*/ 2575235 h 6858000"/>
              <a:gd name="connsiteX549" fmla="*/ 5796837 w 7467600"/>
              <a:gd name="connsiteY549" fmla="*/ 2637633 h 6858000"/>
              <a:gd name="connsiteX550" fmla="*/ 5818614 w 7467600"/>
              <a:gd name="connsiteY550" fmla="*/ 2473055 h 6858000"/>
              <a:gd name="connsiteX551" fmla="*/ 5829202 w 7467600"/>
              <a:gd name="connsiteY551" fmla="*/ 1971679 h 6858000"/>
              <a:gd name="connsiteX552" fmla="*/ 5911389 w 7467600"/>
              <a:gd name="connsiteY552" fmla="*/ 1898371 h 6858000"/>
              <a:gd name="connsiteX553" fmla="*/ 6237627 w 7467600"/>
              <a:gd name="connsiteY553" fmla="*/ 2231921 h 6858000"/>
              <a:gd name="connsiteX554" fmla="*/ 5911389 w 7467600"/>
              <a:gd name="connsiteY554" fmla="*/ 1898371 h 6858000"/>
              <a:gd name="connsiteX555" fmla="*/ 6944437 w 7467600"/>
              <a:gd name="connsiteY555" fmla="*/ 1575402 h 6858000"/>
              <a:gd name="connsiteX556" fmla="*/ 6304730 w 7467600"/>
              <a:gd name="connsiteY556" fmla="*/ 1766654 h 6858000"/>
              <a:gd name="connsiteX557" fmla="*/ 6944437 w 7467600"/>
              <a:gd name="connsiteY557" fmla="*/ 1575402 h 6858000"/>
              <a:gd name="connsiteX558" fmla="*/ 7019523 w 7467600"/>
              <a:gd name="connsiteY558" fmla="*/ 1519450 h 6858000"/>
              <a:gd name="connsiteX559" fmla="*/ 6298091 w 7467600"/>
              <a:gd name="connsiteY559" fmla="*/ 1737122 h 6858000"/>
              <a:gd name="connsiteX560" fmla="*/ 7019523 w 7467600"/>
              <a:gd name="connsiteY560" fmla="*/ 1519450 h 6858000"/>
              <a:gd name="connsiteX561" fmla="*/ 2399523 w 7467600"/>
              <a:gd name="connsiteY561" fmla="*/ 1428234 h 6858000"/>
              <a:gd name="connsiteX562" fmla="*/ 2224982 w 7467600"/>
              <a:gd name="connsiteY562" fmla="*/ 1826201 h 6858000"/>
              <a:gd name="connsiteX563" fmla="*/ 2096099 w 7467600"/>
              <a:gd name="connsiteY563" fmla="*/ 2345900 h 6858000"/>
              <a:gd name="connsiteX564" fmla="*/ 2283317 w 7467600"/>
              <a:gd name="connsiteY564" fmla="*/ 1796925 h 6858000"/>
              <a:gd name="connsiteX565" fmla="*/ 2399523 w 7467600"/>
              <a:gd name="connsiteY565" fmla="*/ 1428234 h 6858000"/>
              <a:gd name="connsiteX566" fmla="*/ 2448558 w 7467600"/>
              <a:gd name="connsiteY566" fmla="*/ 1373435 h 6858000"/>
              <a:gd name="connsiteX567" fmla="*/ 2312521 w 7467600"/>
              <a:gd name="connsiteY567" fmla="*/ 1806140 h 6858000"/>
              <a:gd name="connsiteX568" fmla="*/ 2127533 w 7467600"/>
              <a:gd name="connsiteY568" fmla="*/ 2348380 h 6858000"/>
              <a:gd name="connsiteX569" fmla="*/ 2358080 w 7467600"/>
              <a:gd name="connsiteY569" fmla="*/ 1866134 h 6858000"/>
              <a:gd name="connsiteX570" fmla="*/ 2407436 w 7467600"/>
              <a:gd name="connsiteY570" fmla="*/ 1651070 h 6858000"/>
              <a:gd name="connsiteX571" fmla="*/ 2448558 w 7467600"/>
              <a:gd name="connsiteY571" fmla="*/ 1373435 h 6858000"/>
              <a:gd name="connsiteX572" fmla="*/ 278707 w 7467600"/>
              <a:gd name="connsiteY572" fmla="*/ 1352270 h 6858000"/>
              <a:gd name="connsiteX573" fmla="*/ 321570 w 7467600"/>
              <a:gd name="connsiteY573" fmla="*/ 1861610 h 6858000"/>
              <a:gd name="connsiteX574" fmla="*/ 294281 w 7467600"/>
              <a:gd name="connsiteY574" fmla="*/ 1440658 h 6858000"/>
              <a:gd name="connsiteX575" fmla="*/ 278707 w 7467600"/>
              <a:gd name="connsiteY575" fmla="*/ 1352270 h 6858000"/>
              <a:gd name="connsiteX576" fmla="*/ 1423821 w 7467600"/>
              <a:gd name="connsiteY576" fmla="*/ 1351958 h 6858000"/>
              <a:gd name="connsiteX577" fmla="*/ 1638521 w 7467600"/>
              <a:gd name="connsiteY577" fmla="*/ 1908470 h 6858000"/>
              <a:gd name="connsiteX578" fmla="*/ 1754199 w 7467600"/>
              <a:gd name="connsiteY578" fmla="*/ 2149284 h 6858000"/>
              <a:gd name="connsiteX579" fmla="*/ 1908359 w 7467600"/>
              <a:gd name="connsiteY579" fmla="*/ 2364988 h 6858000"/>
              <a:gd name="connsiteX580" fmla="*/ 1647661 w 7467600"/>
              <a:gd name="connsiteY580" fmla="*/ 1825945 h 6858000"/>
              <a:gd name="connsiteX581" fmla="*/ 1423821 w 7467600"/>
              <a:gd name="connsiteY581" fmla="*/ 1351958 h 6858000"/>
              <a:gd name="connsiteX582" fmla="*/ 1431890 w 7467600"/>
              <a:gd name="connsiteY582" fmla="*/ 1306475 h 6858000"/>
              <a:gd name="connsiteX583" fmla="*/ 1507597 w 7467600"/>
              <a:gd name="connsiteY583" fmla="*/ 1446132 h 6858000"/>
              <a:gd name="connsiteX584" fmla="*/ 1674586 w 7467600"/>
              <a:gd name="connsiteY584" fmla="*/ 1813832 h 6858000"/>
              <a:gd name="connsiteX585" fmla="*/ 1815950 w 7467600"/>
              <a:gd name="connsiteY585" fmla="*/ 2128564 h 6858000"/>
              <a:gd name="connsiteX586" fmla="*/ 1984242 w 7467600"/>
              <a:gd name="connsiteY586" fmla="*/ 2430829 h 6858000"/>
              <a:gd name="connsiteX587" fmla="*/ 2014023 w 7467600"/>
              <a:gd name="connsiteY587" fmla="*/ 2450995 h 6858000"/>
              <a:gd name="connsiteX588" fmla="*/ 1747337 w 7467600"/>
              <a:gd name="connsiteY588" fmla="*/ 1855264 h 6858000"/>
              <a:gd name="connsiteX589" fmla="*/ 1533749 w 7467600"/>
              <a:gd name="connsiteY589" fmla="*/ 1478656 h 6858000"/>
              <a:gd name="connsiteX590" fmla="*/ 1431890 w 7467600"/>
              <a:gd name="connsiteY590" fmla="*/ 1306475 h 6858000"/>
              <a:gd name="connsiteX591" fmla="*/ 5052692 w 7467600"/>
              <a:gd name="connsiteY591" fmla="*/ 1292994 h 6858000"/>
              <a:gd name="connsiteX592" fmla="*/ 5200661 w 7467600"/>
              <a:gd name="connsiteY592" fmla="*/ 1635186 h 6858000"/>
              <a:gd name="connsiteX593" fmla="*/ 5297138 w 7467600"/>
              <a:gd name="connsiteY593" fmla="*/ 1906351 h 6858000"/>
              <a:gd name="connsiteX594" fmla="*/ 5052692 w 7467600"/>
              <a:gd name="connsiteY594" fmla="*/ 1292994 h 6858000"/>
              <a:gd name="connsiteX595" fmla="*/ 5009948 w 7467600"/>
              <a:gd name="connsiteY595" fmla="*/ 1273619 h 6858000"/>
              <a:gd name="connsiteX596" fmla="*/ 5121777 w 7467600"/>
              <a:gd name="connsiteY596" fmla="*/ 1654213 h 6858000"/>
              <a:gd name="connsiteX597" fmla="*/ 5293545 w 7467600"/>
              <a:gd name="connsiteY597" fmla="*/ 2072247 h 6858000"/>
              <a:gd name="connsiteX598" fmla="*/ 5294042 w 7467600"/>
              <a:gd name="connsiteY598" fmla="*/ 2065019 h 6858000"/>
              <a:gd name="connsiteX599" fmla="*/ 5171936 w 7467600"/>
              <a:gd name="connsiteY599" fmla="*/ 1647613 h 6858000"/>
              <a:gd name="connsiteX600" fmla="*/ 5009948 w 7467600"/>
              <a:gd name="connsiteY600" fmla="*/ 1273619 h 6858000"/>
              <a:gd name="connsiteX601" fmla="*/ 655236 w 7467600"/>
              <a:gd name="connsiteY601" fmla="*/ 1268632 h 6858000"/>
              <a:gd name="connsiteX602" fmla="*/ 839521 w 7467600"/>
              <a:gd name="connsiteY602" fmla="*/ 1685315 h 6858000"/>
              <a:gd name="connsiteX603" fmla="*/ 1109416 w 7467600"/>
              <a:gd name="connsiteY603" fmla="*/ 2061663 h 6858000"/>
              <a:gd name="connsiteX604" fmla="*/ 1298300 w 7467600"/>
              <a:gd name="connsiteY604" fmla="*/ 2247742 h 6858000"/>
              <a:gd name="connsiteX605" fmla="*/ 1125871 w 7467600"/>
              <a:gd name="connsiteY605" fmla="*/ 1989513 h 6858000"/>
              <a:gd name="connsiteX606" fmla="*/ 981574 w 7467600"/>
              <a:gd name="connsiteY606" fmla="*/ 1783157 h 6858000"/>
              <a:gd name="connsiteX607" fmla="*/ 922198 w 7467600"/>
              <a:gd name="connsiteY607" fmla="*/ 1677437 h 6858000"/>
              <a:gd name="connsiteX608" fmla="*/ 869293 w 7467600"/>
              <a:gd name="connsiteY608" fmla="*/ 1583214 h 6858000"/>
              <a:gd name="connsiteX609" fmla="*/ 751431 w 7467600"/>
              <a:gd name="connsiteY609" fmla="*/ 1405731 h 6858000"/>
              <a:gd name="connsiteX610" fmla="*/ 655236 w 7467600"/>
              <a:gd name="connsiteY610" fmla="*/ 1268632 h 6858000"/>
              <a:gd name="connsiteX611" fmla="*/ 6516292 w 7467600"/>
              <a:gd name="connsiteY611" fmla="*/ 1263064 h 6858000"/>
              <a:gd name="connsiteX612" fmla="*/ 5736320 w 7467600"/>
              <a:gd name="connsiteY612" fmla="*/ 1501803 h 6858000"/>
              <a:gd name="connsiteX613" fmla="*/ 6516292 w 7467600"/>
              <a:gd name="connsiteY613" fmla="*/ 1263064 h 6858000"/>
              <a:gd name="connsiteX614" fmla="*/ 291466 w 7467600"/>
              <a:gd name="connsiteY614" fmla="*/ 1250369 h 6858000"/>
              <a:gd name="connsiteX615" fmla="*/ 323180 w 7467600"/>
              <a:gd name="connsiteY615" fmla="*/ 1435283 h 6858000"/>
              <a:gd name="connsiteX616" fmla="*/ 349381 w 7467600"/>
              <a:gd name="connsiteY616" fmla="*/ 1875041 h 6858000"/>
              <a:gd name="connsiteX617" fmla="*/ 374363 w 7467600"/>
              <a:gd name="connsiteY617" fmla="*/ 1506494 h 6858000"/>
              <a:gd name="connsiteX618" fmla="*/ 302168 w 7467600"/>
              <a:gd name="connsiteY618" fmla="*/ 1274495 h 6858000"/>
              <a:gd name="connsiteX619" fmla="*/ 291466 w 7467600"/>
              <a:gd name="connsiteY619" fmla="*/ 1250369 h 6858000"/>
              <a:gd name="connsiteX620" fmla="*/ 678222 w 7467600"/>
              <a:gd name="connsiteY620" fmla="*/ 1248670 h 6858000"/>
              <a:gd name="connsiteX621" fmla="*/ 775536 w 7467600"/>
              <a:gd name="connsiteY621" fmla="*/ 1388015 h 6858000"/>
              <a:gd name="connsiteX622" fmla="*/ 894529 w 7467600"/>
              <a:gd name="connsiteY622" fmla="*/ 1567739 h 6858000"/>
              <a:gd name="connsiteX623" fmla="*/ 948000 w 7467600"/>
              <a:gd name="connsiteY623" fmla="*/ 1663088 h 6858000"/>
              <a:gd name="connsiteX624" fmla="*/ 1006812 w 7467600"/>
              <a:gd name="connsiteY624" fmla="*/ 1767683 h 6858000"/>
              <a:gd name="connsiteX625" fmla="*/ 1149133 w 7467600"/>
              <a:gd name="connsiteY625" fmla="*/ 1971513 h 6858000"/>
              <a:gd name="connsiteX626" fmla="*/ 1333952 w 7467600"/>
              <a:gd name="connsiteY626" fmla="*/ 2251620 h 6858000"/>
              <a:gd name="connsiteX627" fmla="*/ 1337329 w 7467600"/>
              <a:gd name="connsiteY627" fmla="*/ 2258350 h 6858000"/>
              <a:gd name="connsiteX628" fmla="*/ 1014726 w 7467600"/>
              <a:gd name="connsiteY628" fmla="*/ 1615556 h 6858000"/>
              <a:gd name="connsiteX629" fmla="*/ 678222 w 7467600"/>
              <a:gd name="connsiteY629" fmla="*/ 1248670 h 6858000"/>
              <a:gd name="connsiteX630" fmla="*/ 6691602 w 7467600"/>
              <a:gd name="connsiteY630" fmla="*/ 1140573 h 6858000"/>
              <a:gd name="connsiteX631" fmla="*/ 6571100 w 7467600"/>
              <a:gd name="connsiteY631" fmla="*/ 1183662 h 6858000"/>
              <a:gd name="connsiteX632" fmla="*/ 6241687 w 7467600"/>
              <a:gd name="connsiteY632" fmla="*/ 1257600 h 6858000"/>
              <a:gd name="connsiteX633" fmla="*/ 5693009 w 7467600"/>
              <a:gd name="connsiteY633" fmla="*/ 1478256 h 6858000"/>
              <a:gd name="connsiteX634" fmla="*/ 6548420 w 7467600"/>
              <a:gd name="connsiteY634" fmla="*/ 1214599 h 6858000"/>
              <a:gd name="connsiteX635" fmla="*/ 6605473 w 7467600"/>
              <a:gd name="connsiteY635" fmla="*/ 1184686 h 6858000"/>
              <a:gd name="connsiteX636" fmla="*/ 6691602 w 7467600"/>
              <a:gd name="connsiteY636" fmla="*/ 1140573 h 6858000"/>
              <a:gd name="connsiteX637" fmla="*/ 4002475 w 7467600"/>
              <a:gd name="connsiteY637" fmla="*/ 1037802 h 6858000"/>
              <a:gd name="connsiteX638" fmla="*/ 4000324 w 7467600"/>
              <a:gd name="connsiteY638" fmla="*/ 1039362 h 6858000"/>
              <a:gd name="connsiteX639" fmla="*/ 4002862 w 7467600"/>
              <a:gd name="connsiteY639" fmla="*/ 1042866 h 6858000"/>
              <a:gd name="connsiteX640" fmla="*/ 4002475 w 7467600"/>
              <a:gd name="connsiteY640" fmla="*/ 1037802 h 6858000"/>
              <a:gd name="connsiteX641" fmla="*/ 506322 w 7467600"/>
              <a:gd name="connsiteY641" fmla="*/ 1020997 h 6858000"/>
              <a:gd name="connsiteX642" fmla="*/ 533068 w 7467600"/>
              <a:gd name="connsiteY642" fmla="*/ 1029409 h 6858000"/>
              <a:gd name="connsiteX643" fmla="*/ 1232525 w 7467600"/>
              <a:gd name="connsiteY643" fmla="*/ 1804675 h 6858000"/>
              <a:gd name="connsiteX644" fmla="*/ 1388858 w 7467600"/>
              <a:gd name="connsiteY644" fmla="*/ 2368011 h 6858000"/>
              <a:gd name="connsiteX645" fmla="*/ 1384098 w 7467600"/>
              <a:gd name="connsiteY645" fmla="*/ 2378125 h 6858000"/>
              <a:gd name="connsiteX646" fmla="*/ 1425393 w 7467600"/>
              <a:gd name="connsiteY646" fmla="*/ 2589124 h 6858000"/>
              <a:gd name="connsiteX647" fmla="*/ 1424001 w 7467600"/>
              <a:gd name="connsiteY647" fmla="*/ 2597541 h 6858000"/>
              <a:gd name="connsiteX648" fmla="*/ 2152729 w 7467600"/>
              <a:gd name="connsiteY648" fmla="*/ 2864487 h 6858000"/>
              <a:gd name="connsiteX649" fmla="*/ 2020609 w 7467600"/>
              <a:gd name="connsiteY649" fmla="*/ 2539671 h 6858000"/>
              <a:gd name="connsiteX650" fmla="*/ 2018920 w 7467600"/>
              <a:gd name="connsiteY650" fmla="*/ 2536309 h 6858000"/>
              <a:gd name="connsiteX651" fmla="*/ 1342441 w 7467600"/>
              <a:gd name="connsiteY651" fmla="*/ 1173017 h 6858000"/>
              <a:gd name="connsiteX652" fmla="*/ 1367925 w 7467600"/>
              <a:gd name="connsiteY652" fmla="*/ 1135648 h 6858000"/>
              <a:gd name="connsiteX653" fmla="*/ 1771401 w 7467600"/>
              <a:gd name="connsiteY653" fmla="*/ 1806673 h 6858000"/>
              <a:gd name="connsiteX654" fmla="*/ 1972385 w 7467600"/>
              <a:gd name="connsiteY654" fmla="*/ 2198735 h 6858000"/>
              <a:gd name="connsiteX655" fmla="*/ 2040892 w 7467600"/>
              <a:gd name="connsiteY655" fmla="*/ 2405205 h 6858000"/>
              <a:gd name="connsiteX656" fmla="*/ 2131689 w 7467600"/>
              <a:gd name="connsiteY656" fmla="*/ 1936926 h 6858000"/>
              <a:gd name="connsiteX657" fmla="*/ 2454820 w 7467600"/>
              <a:gd name="connsiteY657" fmla="*/ 1248808 h 6858000"/>
              <a:gd name="connsiteX658" fmla="*/ 2492512 w 7467600"/>
              <a:gd name="connsiteY658" fmla="*/ 1302920 h 6858000"/>
              <a:gd name="connsiteX659" fmla="*/ 2081216 w 7467600"/>
              <a:gd name="connsiteY659" fmla="*/ 2527513 h 6858000"/>
              <a:gd name="connsiteX660" fmla="*/ 2081211 w 7467600"/>
              <a:gd name="connsiteY660" fmla="*/ 2528916 h 6858000"/>
              <a:gd name="connsiteX661" fmla="*/ 2199067 w 7467600"/>
              <a:gd name="connsiteY661" fmla="*/ 2884061 h 6858000"/>
              <a:gd name="connsiteX662" fmla="*/ 3192586 w 7467600"/>
              <a:gd name="connsiteY662" fmla="*/ 3411496 h 6858000"/>
              <a:gd name="connsiteX663" fmla="*/ 3182620 w 7467600"/>
              <a:gd name="connsiteY663" fmla="*/ 3483279 h 6858000"/>
              <a:gd name="connsiteX664" fmla="*/ 2435119 w 7467600"/>
              <a:gd name="connsiteY664" fmla="*/ 3080173 h 6858000"/>
              <a:gd name="connsiteX665" fmla="*/ 2410152 w 7467600"/>
              <a:gd name="connsiteY665" fmla="*/ 3063751 h 6858000"/>
              <a:gd name="connsiteX666" fmla="*/ 2408099 w 7467600"/>
              <a:gd name="connsiteY666" fmla="*/ 3064403 h 6858000"/>
              <a:gd name="connsiteX667" fmla="*/ 2407218 w 7467600"/>
              <a:gd name="connsiteY667" fmla="*/ 3070324 h 6858000"/>
              <a:gd name="connsiteX668" fmla="*/ 2380138 w 7467600"/>
              <a:gd name="connsiteY668" fmla="*/ 3099341 h 6858000"/>
              <a:gd name="connsiteX669" fmla="*/ 1765923 w 7467600"/>
              <a:gd name="connsiteY669" fmla="*/ 3581043 h 6858000"/>
              <a:gd name="connsiteX670" fmla="*/ 1702258 w 7467600"/>
              <a:gd name="connsiteY670" fmla="*/ 3612286 h 6858000"/>
              <a:gd name="connsiteX671" fmla="*/ 1538370 w 7467600"/>
              <a:gd name="connsiteY671" fmla="*/ 3811804 h 6858000"/>
              <a:gd name="connsiteX672" fmla="*/ 542867 w 7467600"/>
              <a:gd name="connsiteY672" fmla="*/ 4944092 h 6858000"/>
              <a:gd name="connsiteX673" fmla="*/ 515800 w 7467600"/>
              <a:gd name="connsiteY673" fmla="*/ 4862180 h 6858000"/>
              <a:gd name="connsiteX674" fmla="*/ 909145 w 7467600"/>
              <a:gd name="connsiteY674" fmla="*/ 4199225 h 6858000"/>
              <a:gd name="connsiteX675" fmla="*/ 1214067 w 7467600"/>
              <a:gd name="connsiteY675" fmla="*/ 3908561 h 6858000"/>
              <a:gd name="connsiteX676" fmla="*/ 640967 w 7467600"/>
              <a:gd name="connsiteY676" fmla="*/ 4105601 h 6858000"/>
              <a:gd name="connsiteX677" fmla="*/ 112563 w 7467600"/>
              <a:gd name="connsiteY677" fmla="*/ 4396952 h 6858000"/>
              <a:gd name="connsiteX678" fmla="*/ 0 w 7467600"/>
              <a:gd name="connsiteY678" fmla="*/ 4466006 h 6858000"/>
              <a:gd name="connsiteX679" fmla="*/ 0 w 7467600"/>
              <a:gd name="connsiteY679" fmla="*/ 4233763 h 6858000"/>
              <a:gd name="connsiteX680" fmla="*/ 36881 w 7467600"/>
              <a:gd name="connsiteY680" fmla="*/ 4200118 h 6858000"/>
              <a:gd name="connsiteX681" fmla="*/ 910534 w 7467600"/>
              <a:gd name="connsiteY681" fmla="*/ 3629753 h 6858000"/>
              <a:gd name="connsiteX682" fmla="*/ 1578717 w 7467600"/>
              <a:gd name="connsiteY682" fmla="*/ 3575982 h 6858000"/>
              <a:gd name="connsiteX683" fmla="*/ 2338780 w 7467600"/>
              <a:gd name="connsiteY683" fmla="*/ 3033725 h 6858000"/>
              <a:gd name="connsiteX684" fmla="*/ 1807991 w 7467600"/>
              <a:gd name="connsiteY684" fmla="*/ 2807184 h 6858000"/>
              <a:gd name="connsiteX685" fmla="*/ 1416358 w 7467600"/>
              <a:gd name="connsiteY685" fmla="*/ 3112571 h 6858000"/>
              <a:gd name="connsiteX686" fmla="*/ 939066 w 7467600"/>
              <a:gd name="connsiteY686" fmla="*/ 3378798 h 6858000"/>
              <a:gd name="connsiteX687" fmla="*/ 115099 w 7467600"/>
              <a:gd name="connsiteY687" fmla="*/ 3607650 h 6858000"/>
              <a:gd name="connsiteX688" fmla="*/ 97284 w 7467600"/>
              <a:gd name="connsiteY688" fmla="*/ 3520393 h 6858000"/>
              <a:gd name="connsiteX689" fmla="*/ 922050 w 7467600"/>
              <a:gd name="connsiteY689" fmla="*/ 3074867 h 6858000"/>
              <a:gd name="connsiteX690" fmla="*/ 1405265 w 7467600"/>
              <a:gd name="connsiteY690" fmla="*/ 3016319 h 6858000"/>
              <a:gd name="connsiteX691" fmla="*/ 1407512 w 7467600"/>
              <a:gd name="connsiteY691" fmla="*/ 3018001 h 6858000"/>
              <a:gd name="connsiteX692" fmla="*/ 1726266 w 7467600"/>
              <a:gd name="connsiteY692" fmla="*/ 2777274 h 6858000"/>
              <a:gd name="connsiteX693" fmla="*/ 625390 w 7467600"/>
              <a:gd name="connsiteY693" fmla="*/ 2514541 h 6858000"/>
              <a:gd name="connsiteX694" fmla="*/ 619799 w 7467600"/>
              <a:gd name="connsiteY694" fmla="*/ 2527180 h 6858000"/>
              <a:gd name="connsiteX695" fmla="*/ 310030 w 7467600"/>
              <a:gd name="connsiteY695" fmla="*/ 2771818 h 6858000"/>
              <a:gd name="connsiteX696" fmla="*/ 173877 w 7467600"/>
              <a:gd name="connsiteY696" fmla="*/ 2937056 h 6858000"/>
              <a:gd name="connsiteX697" fmla="*/ 77889 w 7467600"/>
              <a:gd name="connsiteY697" fmla="*/ 3138440 h 6858000"/>
              <a:gd name="connsiteX698" fmla="*/ 0 w 7467600"/>
              <a:gd name="connsiteY698" fmla="*/ 3271395 h 6858000"/>
              <a:gd name="connsiteX699" fmla="*/ 0 w 7467600"/>
              <a:gd name="connsiteY699" fmla="*/ 3153002 h 6858000"/>
              <a:gd name="connsiteX700" fmla="*/ 2386 w 7467600"/>
              <a:gd name="connsiteY700" fmla="*/ 3149203 h 6858000"/>
              <a:gd name="connsiteX701" fmla="*/ 89753 w 7467600"/>
              <a:gd name="connsiteY701" fmla="*/ 2987702 h 6858000"/>
              <a:gd name="connsiteX702" fmla="*/ 76869 w 7467600"/>
              <a:gd name="connsiteY702" fmla="*/ 3005404 h 6858000"/>
              <a:gd name="connsiteX703" fmla="*/ 32049 w 7467600"/>
              <a:gd name="connsiteY703" fmla="*/ 3065814 h 6858000"/>
              <a:gd name="connsiteX704" fmla="*/ 0 w 7467600"/>
              <a:gd name="connsiteY704" fmla="*/ 3108744 h 6858000"/>
              <a:gd name="connsiteX705" fmla="*/ 0 w 7467600"/>
              <a:gd name="connsiteY705" fmla="*/ 3058059 h 6858000"/>
              <a:gd name="connsiteX706" fmla="*/ 7610 w 7467600"/>
              <a:gd name="connsiteY706" fmla="*/ 3047889 h 6858000"/>
              <a:gd name="connsiteX707" fmla="*/ 52419 w 7467600"/>
              <a:gd name="connsiteY707" fmla="*/ 2987479 h 6858000"/>
              <a:gd name="connsiteX708" fmla="*/ 59142 w 7467600"/>
              <a:gd name="connsiteY708" fmla="*/ 2978488 h 6858000"/>
              <a:gd name="connsiteX709" fmla="*/ 0 w 7467600"/>
              <a:gd name="connsiteY709" fmla="*/ 3015334 h 6858000"/>
              <a:gd name="connsiteX710" fmla="*/ 0 w 7467600"/>
              <a:gd name="connsiteY710" fmla="*/ 2914286 h 6858000"/>
              <a:gd name="connsiteX711" fmla="*/ 36383 w 7467600"/>
              <a:gd name="connsiteY711" fmla="*/ 2901128 h 6858000"/>
              <a:gd name="connsiteX712" fmla="*/ 156329 w 7467600"/>
              <a:gd name="connsiteY712" fmla="*/ 2840533 h 6858000"/>
              <a:gd name="connsiteX713" fmla="*/ 358355 w 7467600"/>
              <a:gd name="connsiteY713" fmla="*/ 2620471 h 6858000"/>
              <a:gd name="connsiteX714" fmla="*/ 510577 w 7467600"/>
              <a:gd name="connsiteY714" fmla="*/ 2501244 h 6858000"/>
              <a:gd name="connsiteX715" fmla="*/ 211967 w 7467600"/>
              <a:gd name="connsiteY715" fmla="*/ 2479171 h 6858000"/>
              <a:gd name="connsiteX716" fmla="*/ 0 w 7467600"/>
              <a:gd name="connsiteY716" fmla="*/ 2476398 h 6858000"/>
              <a:gd name="connsiteX717" fmla="*/ 0 w 7467600"/>
              <a:gd name="connsiteY717" fmla="*/ 2389189 h 6858000"/>
              <a:gd name="connsiteX718" fmla="*/ 103062 w 7467600"/>
              <a:gd name="connsiteY718" fmla="*/ 2389518 h 6858000"/>
              <a:gd name="connsiteX719" fmla="*/ 510734 w 7467600"/>
              <a:gd name="connsiteY719" fmla="*/ 2416201 h 6858000"/>
              <a:gd name="connsiteX720" fmla="*/ 279257 w 7467600"/>
              <a:gd name="connsiteY720" fmla="*/ 2092102 h 6858000"/>
              <a:gd name="connsiteX721" fmla="*/ 65265 w 7467600"/>
              <a:gd name="connsiteY721" fmla="*/ 2006049 h 6858000"/>
              <a:gd name="connsiteX722" fmla="*/ 0 w 7467600"/>
              <a:gd name="connsiteY722" fmla="*/ 1982532 h 6858000"/>
              <a:gd name="connsiteX723" fmla="*/ 0 w 7467600"/>
              <a:gd name="connsiteY723" fmla="*/ 1912789 h 6858000"/>
              <a:gd name="connsiteX724" fmla="*/ 97460 w 7467600"/>
              <a:gd name="connsiteY724" fmla="*/ 1953725 h 6858000"/>
              <a:gd name="connsiteX725" fmla="*/ 221272 w 7467600"/>
              <a:gd name="connsiteY725" fmla="*/ 1980766 h 6858000"/>
              <a:gd name="connsiteX726" fmla="*/ 116765 w 7467600"/>
              <a:gd name="connsiteY726" fmla="*/ 1911033 h 6858000"/>
              <a:gd name="connsiteX727" fmla="*/ 16405 w 7467600"/>
              <a:gd name="connsiteY727" fmla="*/ 1803412 h 6858000"/>
              <a:gd name="connsiteX728" fmla="*/ 0 w 7467600"/>
              <a:gd name="connsiteY728" fmla="*/ 1784777 h 6858000"/>
              <a:gd name="connsiteX729" fmla="*/ 0 w 7467600"/>
              <a:gd name="connsiteY729" fmla="*/ 1740082 h 6858000"/>
              <a:gd name="connsiteX730" fmla="*/ 39394 w 7467600"/>
              <a:gd name="connsiteY730" fmla="*/ 1784856 h 6858000"/>
              <a:gd name="connsiteX731" fmla="*/ 135813 w 7467600"/>
              <a:gd name="connsiteY731" fmla="*/ 1888838 h 6858000"/>
              <a:gd name="connsiteX732" fmla="*/ 242575 w 7467600"/>
              <a:gd name="connsiteY732" fmla="*/ 1958841 h 6858000"/>
              <a:gd name="connsiteX733" fmla="*/ 82197 w 7467600"/>
              <a:gd name="connsiteY733" fmla="*/ 1754826 h 6858000"/>
              <a:gd name="connsiteX734" fmla="*/ 0 w 7467600"/>
              <a:gd name="connsiteY734" fmla="*/ 1679650 h 6858000"/>
              <a:gd name="connsiteX735" fmla="*/ 0 w 7467600"/>
              <a:gd name="connsiteY735" fmla="*/ 1602463 h 6858000"/>
              <a:gd name="connsiteX736" fmla="*/ 84689 w 7467600"/>
              <a:gd name="connsiteY736" fmla="*/ 1677442 h 6858000"/>
              <a:gd name="connsiteX737" fmla="*/ 298437 w 7467600"/>
              <a:gd name="connsiteY737" fmla="*/ 1968019 h 6858000"/>
              <a:gd name="connsiteX738" fmla="*/ 227269 w 7467600"/>
              <a:gd name="connsiteY738" fmla="*/ 1114064 h 6858000"/>
              <a:gd name="connsiteX739" fmla="*/ 248003 w 7467600"/>
              <a:gd name="connsiteY739" fmla="*/ 1089613 h 6858000"/>
              <a:gd name="connsiteX740" fmla="*/ 427020 w 7467600"/>
              <a:gd name="connsiteY740" fmla="*/ 1619803 h 6858000"/>
              <a:gd name="connsiteX741" fmla="*/ 340345 w 7467600"/>
              <a:gd name="connsiteY741" fmla="*/ 2027739 h 6858000"/>
              <a:gd name="connsiteX742" fmla="*/ 360865 w 7467600"/>
              <a:gd name="connsiteY742" fmla="*/ 2044827 h 6858000"/>
              <a:gd name="connsiteX743" fmla="*/ 560414 w 7467600"/>
              <a:gd name="connsiteY743" fmla="*/ 2421457 h 6858000"/>
              <a:gd name="connsiteX744" fmla="*/ 1359703 w 7467600"/>
              <a:gd name="connsiteY744" fmla="*/ 2578554 h 6858000"/>
              <a:gd name="connsiteX745" fmla="*/ 1359422 w 7467600"/>
              <a:gd name="connsiteY745" fmla="*/ 2577994 h 6858000"/>
              <a:gd name="connsiteX746" fmla="*/ 828701 w 7467600"/>
              <a:gd name="connsiteY746" fmla="*/ 1839520 h 6858000"/>
              <a:gd name="connsiteX747" fmla="*/ 494427 w 7467600"/>
              <a:gd name="connsiteY747" fmla="*/ 1092333 h 6858000"/>
              <a:gd name="connsiteX748" fmla="*/ 506322 w 7467600"/>
              <a:gd name="connsiteY748" fmla="*/ 1020997 h 6858000"/>
              <a:gd name="connsiteX749" fmla="*/ 4570198 w 7467600"/>
              <a:gd name="connsiteY749" fmla="*/ 978081 h 6858000"/>
              <a:gd name="connsiteX750" fmla="*/ 4523691 w 7467600"/>
              <a:gd name="connsiteY750" fmla="*/ 1127776 h 6858000"/>
              <a:gd name="connsiteX751" fmla="*/ 4509875 w 7467600"/>
              <a:gd name="connsiteY751" fmla="*/ 1167552 h 6858000"/>
              <a:gd name="connsiteX752" fmla="*/ 4478168 w 7467600"/>
              <a:gd name="connsiteY752" fmla="*/ 1260735 h 6858000"/>
              <a:gd name="connsiteX753" fmla="*/ 4409309 w 7467600"/>
              <a:gd name="connsiteY753" fmla="*/ 1666996 h 6858000"/>
              <a:gd name="connsiteX754" fmla="*/ 4370031 w 7467600"/>
              <a:gd name="connsiteY754" fmla="*/ 1955666 h 6858000"/>
              <a:gd name="connsiteX755" fmla="*/ 4570198 w 7467600"/>
              <a:gd name="connsiteY755" fmla="*/ 978081 h 6858000"/>
              <a:gd name="connsiteX756" fmla="*/ 4557898 w 7467600"/>
              <a:gd name="connsiteY756" fmla="*/ 900011 h 6858000"/>
              <a:gd name="connsiteX757" fmla="*/ 4344840 w 7467600"/>
              <a:gd name="connsiteY757" fmla="*/ 1922038 h 6858000"/>
              <a:gd name="connsiteX758" fmla="*/ 4378710 w 7467600"/>
              <a:gd name="connsiteY758" fmla="*/ 1665516 h 6858000"/>
              <a:gd name="connsiteX759" fmla="*/ 4448798 w 7467600"/>
              <a:gd name="connsiteY759" fmla="*/ 1253024 h 6858000"/>
              <a:gd name="connsiteX760" fmla="*/ 4480315 w 7467600"/>
              <a:gd name="connsiteY760" fmla="*/ 1158454 h 6858000"/>
              <a:gd name="connsiteX761" fmla="*/ 4494133 w 7467600"/>
              <a:gd name="connsiteY761" fmla="*/ 1118676 h 6858000"/>
              <a:gd name="connsiteX762" fmla="*/ 4557898 w 7467600"/>
              <a:gd name="connsiteY762" fmla="*/ 900011 h 6858000"/>
              <a:gd name="connsiteX763" fmla="*/ 5870151 w 7467600"/>
              <a:gd name="connsiteY763" fmla="*/ 898890 h 6858000"/>
              <a:gd name="connsiteX764" fmla="*/ 5861335 w 7467600"/>
              <a:gd name="connsiteY764" fmla="*/ 899177 h 6858000"/>
              <a:gd name="connsiteX765" fmla="*/ 5843702 w 7467600"/>
              <a:gd name="connsiteY765" fmla="*/ 899748 h 6858000"/>
              <a:gd name="connsiteX766" fmla="*/ 5651107 w 7467600"/>
              <a:gd name="connsiteY766" fmla="*/ 920306 h 6858000"/>
              <a:gd name="connsiteX767" fmla="*/ 5459407 w 7467600"/>
              <a:gd name="connsiteY767" fmla="*/ 940975 h 6858000"/>
              <a:gd name="connsiteX768" fmla="*/ 5374846 w 7467600"/>
              <a:gd name="connsiteY768" fmla="*/ 941988 h 6858000"/>
              <a:gd name="connsiteX769" fmla="*/ 5256105 w 7467600"/>
              <a:gd name="connsiteY769" fmla="*/ 945632 h 6858000"/>
              <a:gd name="connsiteX770" fmla="*/ 5107071 w 7467600"/>
              <a:gd name="connsiteY770" fmla="*/ 969720 h 6858000"/>
              <a:gd name="connsiteX771" fmla="*/ 4998681 w 7467600"/>
              <a:gd name="connsiteY771" fmla="*/ 988771 h 6858000"/>
              <a:gd name="connsiteX772" fmla="*/ 5870151 w 7467600"/>
              <a:gd name="connsiteY772" fmla="*/ 898890 h 6858000"/>
              <a:gd name="connsiteX773" fmla="*/ 5504425 w 7467600"/>
              <a:gd name="connsiteY773" fmla="*/ 848067 h 6858000"/>
              <a:gd name="connsiteX774" fmla="*/ 4968849 w 7467600"/>
              <a:gd name="connsiteY774" fmla="*/ 962318 h 6858000"/>
              <a:gd name="connsiteX775" fmla="*/ 5104039 w 7467600"/>
              <a:gd name="connsiteY775" fmla="*/ 940634 h 6858000"/>
              <a:gd name="connsiteX776" fmla="*/ 5256311 w 7467600"/>
              <a:gd name="connsiteY776" fmla="*/ 916490 h 6858000"/>
              <a:gd name="connsiteX777" fmla="*/ 5377381 w 7467600"/>
              <a:gd name="connsiteY777" fmla="*/ 912671 h 6858000"/>
              <a:gd name="connsiteX778" fmla="*/ 5460148 w 7467600"/>
              <a:gd name="connsiteY778" fmla="*/ 911442 h 6858000"/>
              <a:gd name="connsiteX779" fmla="*/ 5648971 w 7467600"/>
              <a:gd name="connsiteY779" fmla="*/ 891331 h 6858000"/>
              <a:gd name="connsiteX780" fmla="*/ 5844807 w 7467600"/>
              <a:gd name="connsiteY780" fmla="*/ 870718 h 6858000"/>
              <a:gd name="connsiteX781" fmla="*/ 5862975 w 7467600"/>
              <a:gd name="connsiteY781" fmla="*/ 869756 h 6858000"/>
              <a:gd name="connsiteX782" fmla="*/ 5920887 w 7467600"/>
              <a:gd name="connsiteY782" fmla="*/ 865929 h 6858000"/>
              <a:gd name="connsiteX783" fmla="*/ 5504425 w 7467600"/>
              <a:gd name="connsiteY783" fmla="*/ 848067 h 6858000"/>
              <a:gd name="connsiteX784" fmla="*/ 3607114 w 7467600"/>
              <a:gd name="connsiteY784" fmla="*/ 467441 h 6858000"/>
              <a:gd name="connsiteX785" fmla="*/ 3296242 w 7467600"/>
              <a:gd name="connsiteY785" fmla="*/ 807991 h 6858000"/>
              <a:gd name="connsiteX786" fmla="*/ 3174674 w 7467600"/>
              <a:gd name="connsiteY786" fmla="*/ 919759 h 6858000"/>
              <a:gd name="connsiteX787" fmla="*/ 3042978 w 7467600"/>
              <a:gd name="connsiteY787" fmla="*/ 1054894 h 6858000"/>
              <a:gd name="connsiteX788" fmla="*/ 2968914 w 7467600"/>
              <a:gd name="connsiteY788" fmla="*/ 1133756 h 6858000"/>
              <a:gd name="connsiteX789" fmla="*/ 3103823 w 7467600"/>
              <a:gd name="connsiteY789" fmla="*/ 1026814 h 6858000"/>
              <a:gd name="connsiteX790" fmla="*/ 3607114 w 7467600"/>
              <a:gd name="connsiteY790" fmla="*/ 467441 h 6858000"/>
              <a:gd name="connsiteX791" fmla="*/ 3744487 w 7467600"/>
              <a:gd name="connsiteY791" fmla="*/ 383136 h 6858000"/>
              <a:gd name="connsiteX792" fmla="*/ 3970213 w 7467600"/>
              <a:gd name="connsiteY792" fmla="*/ 995559 h 6858000"/>
              <a:gd name="connsiteX793" fmla="*/ 3744487 w 7467600"/>
              <a:gd name="connsiteY793" fmla="*/ 383136 h 6858000"/>
              <a:gd name="connsiteX794" fmla="*/ 3624562 w 7467600"/>
              <a:gd name="connsiteY794" fmla="*/ 367041 h 6858000"/>
              <a:gd name="connsiteX795" fmla="*/ 3489712 w 7467600"/>
              <a:gd name="connsiteY795" fmla="*/ 485386 h 6858000"/>
              <a:gd name="connsiteX796" fmla="*/ 3182994 w 7467600"/>
              <a:gd name="connsiteY796" fmla="*/ 828265 h 6858000"/>
              <a:gd name="connsiteX797" fmla="*/ 2892114 w 7467600"/>
              <a:gd name="connsiteY797" fmla="*/ 1172635 h 6858000"/>
              <a:gd name="connsiteX798" fmla="*/ 3021459 w 7467600"/>
              <a:gd name="connsiteY798" fmla="*/ 1035385 h 6858000"/>
              <a:gd name="connsiteX799" fmla="*/ 3153873 w 7467600"/>
              <a:gd name="connsiteY799" fmla="*/ 898971 h 6858000"/>
              <a:gd name="connsiteX800" fmla="*/ 3276511 w 7467600"/>
              <a:gd name="connsiteY800" fmla="*/ 786423 h 6858000"/>
              <a:gd name="connsiteX801" fmla="*/ 3584154 w 7467600"/>
              <a:gd name="connsiteY801" fmla="*/ 448218 h 6858000"/>
              <a:gd name="connsiteX802" fmla="*/ 3624562 w 7467600"/>
              <a:gd name="connsiteY802" fmla="*/ 367041 h 6858000"/>
              <a:gd name="connsiteX803" fmla="*/ 3766672 w 7467600"/>
              <a:gd name="connsiteY803" fmla="*/ 359429 h 6858000"/>
              <a:gd name="connsiteX804" fmla="*/ 3996338 w 7467600"/>
              <a:gd name="connsiteY804" fmla="*/ 968237 h 6858000"/>
              <a:gd name="connsiteX805" fmla="*/ 3766672 w 7467600"/>
              <a:gd name="connsiteY805" fmla="*/ 359429 h 6858000"/>
              <a:gd name="connsiteX806" fmla="*/ 5805386 w 7467600"/>
              <a:gd name="connsiteY806" fmla="*/ 239240 h 6858000"/>
              <a:gd name="connsiteX807" fmla="*/ 5736947 w 7467600"/>
              <a:gd name="connsiteY807" fmla="*/ 261367 h 6858000"/>
              <a:gd name="connsiteX808" fmla="*/ 5427012 w 7467600"/>
              <a:gd name="connsiteY808" fmla="*/ 311272 h 6858000"/>
              <a:gd name="connsiteX809" fmla="*/ 5147818 w 7467600"/>
              <a:gd name="connsiteY809" fmla="*/ 322112 h 6858000"/>
              <a:gd name="connsiteX810" fmla="*/ 5060854 w 7467600"/>
              <a:gd name="connsiteY810" fmla="*/ 311882 h 6858000"/>
              <a:gd name="connsiteX811" fmla="*/ 4945989 w 7467600"/>
              <a:gd name="connsiteY811" fmla="*/ 300516 h 6858000"/>
              <a:gd name="connsiteX812" fmla="*/ 5410479 w 7467600"/>
              <a:gd name="connsiteY812" fmla="*/ 348434 h 6858000"/>
              <a:gd name="connsiteX813" fmla="*/ 5805386 w 7467600"/>
              <a:gd name="connsiteY813" fmla="*/ 239240 h 6858000"/>
              <a:gd name="connsiteX814" fmla="*/ 5905192 w 7467600"/>
              <a:gd name="connsiteY814" fmla="*/ 163079 h 6858000"/>
              <a:gd name="connsiteX815" fmla="*/ 5865655 w 7467600"/>
              <a:gd name="connsiteY815" fmla="*/ 171901 h 6858000"/>
              <a:gd name="connsiteX816" fmla="*/ 5259740 w 7467600"/>
              <a:gd name="connsiteY816" fmla="*/ 257013 h 6858000"/>
              <a:gd name="connsiteX817" fmla="*/ 5208466 w 7467600"/>
              <a:gd name="connsiteY817" fmla="*/ 257550 h 6858000"/>
              <a:gd name="connsiteX818" fmla="*/ 4980204 w 7467600"/>
              <a:gd name="connsiteY818" fmla="*/ 271903 h 6858000"/>
              <a:gd name="connsiteX819" fmla="*/ 5068068 w 7467600"/>
              <a:gd name="connsiteY819" fmla="*/ 282244 h 6858000"/>
              <a:gd name="connsiteX820" fmla="*/ 5153231 w 7467600"/>
              <a:gd name="connsiteY820" fmla="*/ 292240 h 6858000"/>
              <a:gd name="connsiteX821" fmla="*/ 5426491 w 7467600"/>
              <a:gd name="connsiteY821" fmla="*/ 281128 h 6858000"/>
              <a:gd name="connsiteX822" fmla="*/ 5731212 w 7467600"/>
              <a:gd name="connsiteY822" fmla="*/ 231951 h 6858000"/>
              <a:gd name="connsiteX823" fmla="*/ 5905192 w 7467600"/>
              <a:gd name="connsiteY823" fmla="*/ 163079 h 6858000"/>
              <a:gd name="connsiteX824" fmla="*/ 5944437 w 7467600"/>
              <a:gd name="connsiteY824" fmla="*/ 113829 h 6858000"/>
              <a:gd name="connsiteX825" fmla="*/ 5825032 w 7467600"/>
              <a:gd name="connsiteY825" fmla="*/ 146405 h 6858000"/>
              <a:gd name="connsiteX826" fmla="*/ 4955599 w 7467600"/>
              <a:gd name="connsiteY826" fmla="*/ 247008 h 6858000"/>
              <a:gd name="connsiteX827" fmla="*/ 5210104 w 7467600"/>
              <a:gd name="connsiteY827" fmla="*/ 228123 h 6858000"/>
              <a:gd name="connsiteX828" fmla="*/ 5261015 w 7467600"/>
              <a:gd name="connsiteY828" fmla="*/ 227087 h 6858000"/>
              <a:gd name="connsiteX829" fmla="*/ 5861181 w 7467600"/>
              <a:gd name="connsiteY829" fmla="*/ 143093 h 6858000"/>
              <a:gd name="connsiteX830" fmla="*/ 5961252 w 7467600"/>
              <a:gd name="connsiteY830" fmla="*/ 114820 h 6858000"/>
              <a:gd name="connsiteX831" fmla="*/ 5944437 w 7467600"/>
              <a:gd name="connsiteY831" fmla="*/ 113829 h 6858000"/>
              <a:gd name="connsiteX832" fmla="*/ 3882765 w 7467600"/>
              <a:gd name="connsiteY832" fmla="*/ 0 h 6858000"/>
              <a:gd name="connsiteX833" fmla="*/ 3995099 w 7467600"/>
              <a:gd name="connsiteY833" fmla="*/ 0 h 6858000"/>
              <a:gd name="connsiteX834" fmla="*/ 4163818 w 7467600"/>
              <a:gd name="connsiteY834" fmla="*/ 234104 h 6858000"/>
              <a:gd name="connsiteX835" fmla="*/ 4172099 w 7467600"/>
              <a:gd name="connsiteY835" fmla="*/ 234207 h 6858000"/>
              <a:gd name="connsiteX836" fmla="*/ 4784282 w 7467600"/>
              <a:gd name="connsiteY836" fmla="*/ 276561 h 6858000"/>
              <a:gd name="connsiteX837" fmla="*/ 4801687 w 7467600"/>
              <a:gd name="connsiteY837" fmla="*/ 267764 h 6858000"/>
              <a:gd name="connsiteX838" fmla="*/ 6082788 w 7467600"/>
              <a:gd name="connsiteY838" fmla="*/ 64119 h 6858000"/>
              <a:gd name="connsiteX839" fmla="*/ 6099442 w 7467600"/>
              <a:gd name="connsiteY839" fmla="*/ 82568 h 6858000"/>
              <a:gd name="connsiteX840" fmla="*/ 4804137 w 7467600"/>
              <a:gd name="connsiteY840" fmla="*/ 320931 h 6858000"/>
              <a:gd name="connsiteX841" fmla="*/ 4227047 w 7467600"/>
              <a:gd name="connsiteY841" fmla="*/ 313415 h 6858000"/>
              <a:gd name="connsiteX842" fmla="*/ 4346041 w 7467600"/>
              <a:gd name="connsiteY842" fmla="*/ 456086 h 6858000"/>
              <a:gd name="connsiteX843" fmla="*/ 4870967 w 7467600"/>
              <a:gd name="connsiteY843" fmla="*/ 963061 h 6858000"/>
              <a:gd name="connsiteX844" fmla="*/ 4889647 w 7467600"/>
              <a:gd name="connsiteY844" fmla="*/ 957147 h 6858000"/>
              <a:gd name="connsiteX845" fmla="*/ 5422504 w 7467600"/>
              <a:gd name="connsiteY845" fmla="*/ 805191 h 6858000"/>
              <a:gd name="connsiteX846" fmla="*/ 6087656 w 7467600"/>
              <a:gd name="connsiteY846" fmla="*/ 826703 h 6858000"/>
              <a:gd name="connsiteX847" fmla="*/ 6058717 w 7467600"/>
              <a:gd name="connsiteY847" fmla="*/ 865992 h 6858000"/>
              <a:gd name="connsiteX848" fmla="*/ 4974153 w 7467600"/>
              <a:gd name="connsiteY848" fmla="*/ 1045456 h 6858000"/>
              <a:gd name="connsiteX849" fmla="*/ 5627835 w 7467600"/>
              <a:gd name="connsiteY849" fmla="*/ 1472077 h 6858000"/>
              <a:gd name="connsiteX850" fmla="*/ 5629817 w 7467600"/>
              <a:gd name="connsiteY850" fmla="*/ 1471412 h 6858000"/>
              <a:gd name="connsiteX851" fmla="*/ 5634124 w 7467600"/>
              <a:gd name="connsiteY851" fmla="*/ 1470572 h 6858000"/>
              <a:gd name="connsiteX852" fmla="*/ 5755832 w 7467600"/>
              <a:gd name="connsiteY852" fmla="*/ 1383886 h 6858000"/>
              <a:gd name="connsiteX853" fmla="*/ 6014186 w 7467600"/>
              <a:gd name="connsiteY853" fmla="*/ 1279799 h 6858000"/>
              <a:gd name="connsiteX854" fmla="*/ 6901619 w 7467600"/>
              <a:gd name="connsiteY854" fmla="*/ 1047874 h 6858000"/>
              <a:gd name="connsiteX855" fmla="*/ 6931566 w 7467600"/>
              <a:gd name="connsiteY855" fmla="*/ 1062034 h 6858000"/>
              <a:gd name="connsiteX856" fmla="*/ 5790982 w 7467600"/>
              <a:gd name="connsiteY856" fmla="*/ 1561380 h 6858000"/>
              <a:gd name="connsiteX857" fmla="*/ 6188971 w 7467600"/>
              <a:gd name="connsiteY857" fmla="*/ 1755168 h 6858000"/>
              <a:gd name="connsiteX858" fmla="*/ 6202446 w 7467600"/>
              <a:gd name="connsiteY858" fmla="*/ 1752268 h 6858000"/>
              <a:gd name="connsiteX859" fmla="*/ 7179560 w 7467600"/>
              <a:gd name="connsiteY859" fmla="*/ 1467551 h 6858000"/>
              <a:gd name="connsiteX860" fmla="*/ 7158730 w 7467600"/>
              <a:gd name="connsiteY860" fmla="*/ 1507835 h 6858000"/>
              <a:gd name="connsiteX861" fmla="*/ 6326959 w 7467600"/>
              <a:gd name="connsiteY861" fmla="*/ 1817686 h 6858000"/>
              <a:gd name="connsiteX862" fmla="*/ 6537433 w 7467600"/>
              <a:gd name="connsiteY862" fmla="*/ 1907790 h 6858000"/>
              <a:gd name="connsiteX863" fmla="*/ 6550221 w 7467600"/>
              <a:gd name="connsiteY863" fmla="*/ 1910729 h 6858000"/>
              <a:gd name="connsiteX864" fmla="*/ 6964438 w 7467600"/>
              <a:gd name="connsiteY864" fmla="*/ 2209505 h 6858000"/>
              <a:gd name="connsiteX865" fmla="*/ 7367862 w 7467600"/>
              <a:gd name="connsiteY865" fmla="*/ 2806833 h 6858000"/>
              <a:gd name="connsiteX866" fmla="*/ 7364329 w 7467600"/>
              <a:gd name="connsiteY866" fmla="*/ 2826907 h 6858000"/>
              <a:gd name="connsiteX867" fmla="*/ 7290545 w 7467600"/>
              <a:gd name="connsiteY867" fmla="*/ 2850663 h 6858000"/>
              <a:gd name="connsiteX868" fmla="*/ 6472036 w 7467600"/>
              <a:gd name="connsiteY868" fmla="*/ 1959003 h 6858000"/>
              <a:gd name="connsiteX869" fmla="*/ 5792897 w 7467600"/>
              <a:gd name="connsiteY869" fmla="*/ 1647747 h 6858000"/>
              <a:gd name="connsiteX870" fmla="*/ 5842751 w 7467600"/>
              <a:gd name="connsiteY870" fmla="*/ 1816112 h 6858000"/>
              <a:gd name="connsiteX871" fmla="*/ 5847424 w 7467600"/>
              <a:gd name="connsiteY871" fmla="*/ 1815776 h 6858000"/>
              <a:gd name="connsiteX872" fmla="*/ 6399821 w 7467600"/>
              <a:gd name="connsiteY872" fmla="*/ 2344799 h 6858000"/>
              <a:gd name="connsiteX873" fmla="*/ 6323232 w 7467600"/>
              <a:gd name="connsiteY873" fmla="*/ 2389634 h 6858000"/>
              <a:gd name="connsiteX874" fmla="*/ 5942958 w 7467600"/>
              <a:gd name="connsiteY874" fmla="*/ 2077708 h 6858000"/>
              <a:gd name="connsiteX875" fmla="*/ 5921559 w 7467600"/>
              <a:gd name="connsiteY875" fmla="*/ 2378596 h 6858000"/>
              <a:gd name="connsiteX876" fmla="*/ 5817651 w 7467600"/>
              <a:gd name="connsiteY876" fmla="*/ 3023919 h 6858000"/>
              <a:gd name="connsiteX877" fmla="*/ 5729634 w 7467600"/>
              <a:gd name="connsiteY877" fmla="*/ 3051849 h 6858000"/>
              <a:gd name="connsiteX878" fmla="*/ 5611018 w 7467600"/>
              <a:gd name="connsiteY878" fmla="*/ 2316769 h 6858000"/>
              <a:gd name="connsiteX879" fmla="*/ 5687608 w 7467600"/>
              <a:gd name="connsiteY879" fmla="*/ 2039972 h 6858000"/>
              <a:gd name="connsiteX880" fmla="*/ 5657554 w 7467600"/>
              <a:gd name="connsiteY880" fmla="*/ 1576445 h 6858000"/>
              <a:gd name="connsiteX881" fmla="*/ 5150475 w 7467600"/>
              <a:gd name="connsiteY881" fmla="*/ 1274012 h 6858000"/>
              <a:gd name="connsiteX882" fmla="*/ 5349142 w 7467600"/>
              <a:gd name="connsiteY882" fmla="*/ 2204405 h 6858000"/>
              <a:gd name="connsiteX883" fmla="*/ 5262214 w 7467600"/>
              <a:gd name="connsiteY883" fmla="*/ 2233836 h 6858000"/>
              <a:gd name="connsiteX884" fmla="*/ 4981539 w 7467600"/>
              <a:gd name="connsiteY884" fmla="*/ 1542201 h 6858000"/>
              <a:gd name="connsiteX885" fmla="*/ 4958461 w 7467600"/>
              <a:gd name="connsiteY885" fmla="*/ 1136957 h 6858000"/>
              <a:gd name="connsiteX886" fmla="*/ 4655015 w 7467600"/>
              <a:gd name="connsiteY886" fmla="*/ 891426 h 6858000"/>
              <a:gd name="connsiteX887" fmla="*/ 4348002 w 7467600"/>
              <a:gd name="connsiteY887" fmla="*/ 2205895 h 6858000"/>
              <a:gd name="connsiteX888" fmla="*/ 4262250 w 7467600"/>
              <a:gd name="connsiteY888" fmla="*/ 2219972 h 6858000"/>
              <a:gd name="connsiteX889" fmla="*/ 4550611 w 7467600"/>
              <a:gd name="connsiteY889" fmla="*/ 817540 h 6858000"/>
              <a:gd name="connsiteX890" fmla="*/ 4564418 w 7467600"/>
              <a:gd name="connsiteY890" fmla="*/ 808293 h 6858000"/>
              <a:gd name="connsiteX891" fmla="*/ 4266388 w 7467600"/>
              <a:gd name="connsiteY891" fmla="*/ 500083 h 6858000"/>
              <a:gd name="connsiteX892" fmla="*/ 4032842 w 7467600"/>
              <a:gd name="connsiteY892" fmla="*/ 211809 h 6858000"/>
              <a:gd name="connsiteX893" fmla="*/ 3882765 w 7467600"/>
              <a:gd name="connsiteY893" fmla="*/ 0 h 6858000"/>
              <a:gd name="connsiteX894" fmla="*/ 3721337 w 7467600"/>
              <a:gd name="connsiteY894" fmla="*/ 0 h 6858000"/>
              <a:gd name="connsiteX895" fmla="*/ 3797544 w 7467600"/>
              <a:gd name="connsiteY895" fmla="*/ 0 h 6858000"/>
              <a:gd name="connsiteX896" fmla="*/ 3775734 w 7467600"/>
              <a:gd name="connsiteY896" fmla="*/ 95131 h 6858000"/>
              <a:gd name="connsiteX897" fmla="*/ 3724807 w 7467600"/>
              <a:gd name="connsiteY897" fmla="*/ 272257 h 6858000"/>
              <a:gd name="connsiteX898" fmla="*/ 3726844 w 7467600"/>
              <a:gd name="connsiteY898" fmla="*/ 282988 h 6858000"/>
              <a:gd name="connsiteX899" fmla="*/ 3742664 w 7467600"/>
              <a:gd name="connsiteY899" fmla="*/ 279918 h 6858000"/>
              <a:gd name="connsiteX900" fmla="*/ 4103910 w 7467600"/>
              <a:gd name="connsiteY900" fmla="*/ 1161917 h 6858000"/>
              <a:gd name="connsiteX901" fmla="*/ 4020269 w 7467600"/>
              <a:gd name="connsiteY901" fmla="*/ 1200406 h 6858000"/>
              <a:gd name="connsiteX902" fmla="*/ 3674882 w 7467600"/>
              <a:gd name="connsiteY902" fmla="*/ 488524 h 6858000"/>
              <a:gd name="connsiteX903" fmla="*/ 3132682 w 7467600"/>
              <a:gd name="connsiteY903" fmla="*/ 1072284 h 6858000"/>
              <a:gd name="connsiteX904" fmla="*/ 2716346 w 7467600"/>
              <a:gd name="connsiteY904" fmla="*/ 1276376 h 6858000"/>
              <a:gd name="connsiteX905" fmla="*/ 2716772 w 7467600"/>
              <a:gd name="connsiteY905" fmla="*/ 1255462 h 6858000"/>
              <a:gd name="connsiteX906" fmla="*/ 3471096 w 7467600"/>
              <a:gd name="connsiteY906" fmla="*/ 437072 h 6858000"/>
              <a:gd name="connsiteX907" fmla="*/ 3639057 w 7467600"/>
              <a:gd name="connsiteY907" fmla="*/ 286334 h 6858000"/>
              <a:gd name="connsiteX908" fmla="*/ 3640309 w 7467600"/>
              <a:gd name="connsiteY908" fmla="*/ 284664 h 6858000"/>
              <a:gd name="connsiteX909" fmla="*/ 3646022 w 7467600"/>
              <a:gd name="connsiteY909" fmla="*/ 276711 h 6858000"/>
              <a:gd name="connsiteX910" fmla="*/ 3707943 w 7467600"/>
              <a:gd name="connsiteY910" fmla="*/ 65958 h 6858000"/>
              <a:gd name="connsiteX911" fmla="*/ 3721337 w 7467600"/>
              <a:gd name="connsiteY911" fmla="*/ 0 h 6858000"/>
              <a:gd name="connsiteX912" fmla="*/ 2867960 w 7467600"/>
              <a:gd name="connsiteY912" fmla="*/ 0 h 6858000"/>
              <a:gd name="connsiteX913" fmla="*/ 2926351 w 7467600"/>
              <a:gd name="connsiteY913" fmla="*/ 0 h 6858000"/>
              <a:gd name="connsiteX914" fmla="*/ 2902823 w 7467600"/>
              <a:gd name="connsiteY914" fmla="*/ 262929 h 6858000"/>
              <a:gd name="connsiteX915" fmla="*/ 2940663 w 7467600"/>
              <a:gd name="connsiteY915" fmla="*/ 140884 h 6858000"/>
              <a:gd name="connsiteX916" fmla="*/ 2947039 w 7467600"/>
              <a:gd name="connsiteY916" fmla="*/ 122524 h 6858000"/>
              <a:gd name="connsiteX917" fmla="*/ 2984316 w 7467600"/>
              <a:gd name="connsiteY917" fmla="*/ 0 h 6858000"/>
              <a:gd name="connsiteX918" fmla="*/ 3016114 w 7467600"/>
              <a:gd name="connsiteY918" fmla="*/ 0 h 6858000"/>
              <a:gd name="connsiteX919" fmla="*/ 2979949 w 7467600"/>
              <a:gd name="connsiteY919" fmla="*/ 119274 h 6858000"/>
              <a:gd name="connsiteX920" fmla="*/ 3023879 w 7467600"/>
              <a:gd name="connsiteY920" fmla="*/ 0 h 6858000"/>
              <a:gd name="connsiteX921" fmla="*/ 3105400 w 7467600"/>
              <a:gd name="connsiteY921" fmla="*/ 0 h 6858000"/>
              <a:gd name="connsiteX922" fmla="*/ 3094669 w 7467600"/>
              <a:gd name="connsiteY922" fmla="*/ 30308 h 6858000"/>
              <a:gd name="connsiteX923" fmla="*/ 2901945 w 7467600"/>
              <a:gd name="connsiteY923" fmla="*/ 466538 h 6858000"/>
              <a:gd name="connsiteX924" fmla="*/ 2815209 w 7467600"/>
              <a:gd name="connsiteY924" fmla="*/ 497361 h 6858000"/>
              <a:gd name="connsiteX925" fmla="*/ 2844845 w 7467600"/>
              <a:gd name="connsiteY925" fmla="*/ 127638 h 6858000"/>
              <a:gd name="connsiteX926" fmla="*/ 2867960 w 7467600"/>
              <a:gd name="connsiteY926" fmla="*/ 0 h 6858000"/>
              <a:gd name="connsiteX927" fmla="*/ 1057230 w 7467600"/>
              <a:gd name="connsiteY927" fmla="*/ 0 h 6858000"/>
              <a:gd name="connsiteX928" fmla="*/ 1111003 w 7467600"/>
              <a:gd name="connsiteY928" fmla="*/ 0 h 6858000"/>
              <a:gd name="connsiteX929" fmla="*/ 1125553 w 7467600"/>
              <a:gd name="connsiteY929" fmla="*/ 52588 h 6858000"/>
              <a:gd name="connsiteX930" fmla="*/ 1304276 w 7467600"/>
              <a:gd name="connsiteY930" fmla="*/ 476275 h 6858000"/>
              <a:gd name="connsiteX931" fmla="*/ 1492066 w 7467600"/>
              <a:gd name="connsiteY931" fmla="*/ 886333 h 6858000"/>
              <a:gd name="connsiteX932" fmla="*/ 1423698 w 7467600"/>
              <a:gd name="connsiteY932" fmla="*/ 710817 h 6858000"/>
              <a:gd name="connsiteX933" fmla="*/ 1357609 w 7467600"/>
              <a:gd name="connsiteY933" fmla="*/ 532892 h 6858000"/>
              <a:gd name="connsiteX934" fmla="*/ 1309550 w 7467600"/>
              <a:gd name="connsiteY934" fmla="*/ 374031 h 6858000"/>
              <a:gd name="connsiteX935" fmla="*/ 1193673 w 7467600"/>
              <a:gd name="connsiteY935" fmla="*/ 49533 h 6858000"/>
              <a:gd name="connsiteX936" fmla="*/ 1164391 w 7467600"/>
              <a:gd name="connsiteY936" fmla="*/ 0 h 6858000"/>
              <a:gd name="connsiteX937" fmla="*/ 1200666 w 7467600"/>
              <a:gd name="connsiteY937" fmla="*/ 0 h 6858000"/>
              <a:gd name="connsiteX938" fmla="*/ 1223408 w 7467600"/>
              <a:gd name="connsiteY938" fmla="*/ 38996 h 6858000"/>
              <a:gd name="connsiteX939" fmla="*/ 1339635 w 7467600"/>
              <a:gd name="connsiteY939" fmla="*/ 365517 h 6858000"/>
              <a:gd name="connsiteX940" fmla="*/ 1387469 w 7467600"/>
              <a:gd name="connsiteY940" fmla="*/ 523079 h 6858000"/>
              <a:gd name="connsiteX941" fmla="*/ 1452685 w 7467600"/>
              <a:gd name="connsiteY941" fmla="*/ 699806 h 6858000"/>
              <a:gd name="connsiteX942" fmla="*/ 1492092 w 7467600"/>
              <a:gd name="connsiteY942" fmla="*/ 800424 h 6858000"/>
              <a:gd name="connsiteX943" fmla="*/ 1455302 w 7467600"/>
              <a:gd name="connsiteY943" fmla="*/ 632913 h 6858000"/>
              <a:gd name="connsiteX944" fmla="*/ 1222336 w 7467600"/>
              <a:gd name="connsiteY944" fmla="*/ 9480 h 6858000"/>
              <a:gd name="connsiteX945" fmla="*/ 1214634 w 7467600"/>
              <a:gd name="connsiteY945" fmla="*/ 0 h 6858000"/>
              <a:gd name="connsiteX946" fmla="*/ 1289827 w 7467600"/>
              <a:gd name="connsiteY946" fmla="*/ 0 h 6858000"/>
              <a:gd name="connsiteX947" fmla="*/ 1321076 w 7467600"/>
              <a:gd name="connsiteY947" fmla="*/ 59722 h 6858000"/>
              <a:gd name="connsiteX948" fmla="*/ 1512579 w 7467600"/>
              <a:gd name="connsiteY948" fmla="*/ 626441 h 6858000"/>
              <a:gd name="connsiteX949" fmla="*/ 1506076 w 7467600"/>
              <a:gd name="connsiteY949" fmla="*/ 1089289 h 6858000"/>
              <a:gd name="connsiteX950" fmla="*/ 1486346 w 7467600"/>
              <a:gd name="connsiteY950" fmla="*/ 1079919 h 6858000"/>
              <a:gd name="connsiteX951" fmla="*/ 1070511 w 7467600"/>
              <a:gd name="connsiteY951" fmla="*/ 48609 h 6858000"/>
              <a:gd name="connsiteX952" fmla="*/ 1057230 w 7467600"/>
              <a:gd name="connsiteY952" fmla="*/ 0 h 6858000"/>
              <a:gd name="connsiteX953" fmla="*/ 43151 w 7467600"/>
              <a:gd name="connsiteY953" fmla="*/ 0 h 6858000"/>
              <a:gd name="connsiteX954" fmla="*/ 95283 w 7467600"/>
              <a:gd name="connsiteY954" fmla="*/ 0 h 6858000"/>
              <a:gd name="connsiteX955" fmla="*/ 300708 w 7467600"/>
              <a:gd name="connsiteY955" fmla="*/ 154571 h 6858000"/>
              <a:gd name="connsiteX956" fmla="*/ 530414 w 7467600"/>
              <a:gd name="connsiteY956" fmla="*/ 354673 h 6858000"/>
              <a:gd name="connsiteX957" fmla="*/ 333785 w 7467600"/>
              <a:gd name="connsiteY957" fmla="*/ 161564 h 6858000"/>
              <a:gd name="connsiteX958" fmla="*/ 147005 w 7467600"/>
              <a:gd name="connsiteY958" fmla="*/ 0 h 6858000"/>
              <a:gd name="connsiteX959" fmla="*/ 272509 w 7467600"/>
              <a:gd name="connsiteY959" fmla="*/ 0 h 6858000"/>
              <a:gd name="connsiteX960" fmla="*/ 326276 w 7467600"/>
              <a:gd name="connsiteY960" fmla="*/ 45847 h 6858000"/>
              <a:gd name="connsiteX961" fmla="*/ 823759 w 7467600"/>
              <a:gd name="connsiteY961" fmla="*/ 574145 h 6858000"/>
              <a:gd name="connsiteX962" fmla="*/ 811254 w 7467600"/>
              <a:gd name="connsiteY962" fmla="*/ 665546 h 6858000"/>
              <a:gd name="connsiteX963" fmla="*/ 154042 w 7467600"/>
              <a:gd name="connsiteY963" fmla="*/ 261522 h 6858000"/>
              <a:gd name="connsiteX964" fmla="*/ 13550 w 7467600"/>
              <a:gd name="connsiteY964" fmla="*/ 158423 h 6858000"/>
              <a:gd name="connsiteX965" fmla="*/ 0 w 7467600"/>
              <a:gd name="connsiteY965" fmla="*/ 146618 h 6858000"/>
              <a:gd name="connsiteX966" fmla="*/ 0 w 7467600"/>
              <a:gd name="connsiteY966" fmla="*/ 59161 h 6858000"/>
              <a:gd name="connsiteX967" fmla="*/ 45427 w 7467600"/>
              <a:gd name="connsiteY967" fmla="*/ 101078 h 6858000"/>
              <a:gd name="connsiteX968" fmla="*/ 630103 w 7467600"/>
              <a:gd name="connsiteY968" fmla="*/ 485885 h 6858000"/>
              <a:gd name="connsiteX969" fmla="*/ 532040 w 7467600"/>
              <a:gd name="connsiteY969" fmla="*/ 399359 h 6858000"/>
              <a:gd name="connsiteX970" fmla="*/ 517618 w 7467600"/>
              <a:gd name="connsiteY970" fmla="*/ 385726 h 6858000"/>
              <a:gd name="connsiteX971" fmla="*/ 285074 w 7467600"/>
              <a:gd name="connsiteY971" fmla="*/ 182755 h 6858000"/>
              <a:gd name="connsiteX972" fmla="*/ 43151 w 7467600"/>
              <a:gd name="connsiteY972"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7042773 w 7467600"/>
              <a:gd name="connsiteY74" fmla="*/ 5734011 h 6858000"/>
              <a:gd name="connsiteX75" fmla="*/ 7379510 w 7467600"/>
              <a:gd name="connsiteY75" fmla="*/ 5755454 h 6858000"/>
              <a:gd name="connsiteX76" fmla="*/ 7467600 w 7467600"/>
              <a:gd name="connsiteY76" fmla="*/ 5845526 h 6858000"/>
              <a:gd name="connsiteX77" fmla="*/ 7271900 w 7467600"/>
              <a:gd name="connsiteY77" fmla="*/ 5734551 h 6858000"/>
              <a:gd name="connsiteX78" fmla="*/ 7015907 w 7467600"/>
              <a:gd name="connsiteY78" fmla="*/ 5541548 h 6858000"/>
              <a:gd name="connsiteX79" fmla="*/ 7259646 w 7467600"/>
              <a:gd name="connsiteY79" fmla="*/ 5765985 h 6858000"/>
              <a:gd name="connsiteX80" fmla="*/ 7467600 w 7467600"/>
              <a:gd name="connsiteY80" fmla="*/ 6012219 h 6858000"/>
              <a:gd name="connsiteX81" fmla="*/ 7105827 w 7467600"/>
              <a:gd name="connsiteY81" fmla="*/ 5718700 h 6858000"/>
              <a:gd name="connsiteX82" fmla="*/ 7356878 w 7467600"/>
              <a:gd name="connsiteY82" fmla="*/ 5981332 h 6858000"/>
              <a:gd name="connsiteX83" fmla="*/ 7467600 w 7467600"/>
              <a:gd name="connsiteY83" fmla="*/ 6117703 h 6858000"/>
              <a:gd name="connsiteX84" fmla="*/ 7467600 w 7467600"/>
              <a:gd name="connsiteY84" fmla="*/ 6163634 h 6858000"/>
              <a:gd name="connsiteX85" fmla="*/ 7403637 w 7467600"/>
              <a:gd name="connsiteY85" fmla="*/ 6083957 h 6858000"/>
              <a:gd name="connsiteX86" fmla="*/ 7254615 w 7467600"/>
              <a:gd name="connsiteY86" fmla="*/ 5911918 h 6858000"/>
              <a:gd name="connsiteX87" fmla="*/ 7312589 w 7467600"/>
              <a:gd name="connsiteY87" fmla="*/ 5982309 h 6858000"/>
              <a:gd name="connsiteX88" fmla="*/ 7448321 w 7467600"/>
              <a:gd name="connsiteY88" fmla="*/ 6190991 h 6858000"/>
              <a:gd name="connsiteX89" fmla="*/ 7467600 w 7467600"/>
              <a:gd name="connsiteY89" fmla="*/ 6221686 h 6858000"/>
              <a:gd name="connsiteX90" fmla="*/ 7467600 w 7467600"/>
              <a:gd name="connsiteY90" fmla="*/ 6334256 h 6858000"/>
              <a:gd name="connsiteX91" fmla="*/ 7454976 w 7467600"/>
              <a:gd name="connsiteY91" fmla="*/ 6318297 h 6858000"/>
              <a:gd name="connsiteX92" fmla="*/ 7042773 w 7467600"/>
              <a:gd name="connsiteY92" fmla="*/ 5734011 h 6858000"/>
              <a:gd name="connsiteX93" fmla="*/ 1456157 w 7467600"/>
              <a:gd name="connsiteY93" fmla="*/ 5371404 h 6858000"/>
              <a:gd name="connsiteX94" fmla="*/ 1244432 w 7467600"/>
              <a:gd name="connsiteY94" fmla="*/ 5385601 h 6858000"/>
              <a:gd name="connsiteX95" fmla="*/ 973990 w 7467600"/>
              <a:gd name="connsiteY95" fmla="*/ 5424940 h 6858000"/>
              <a:gd name="connsiteX96" fmla="*/ 1103809 w 7467600"/>
              <a:gd name="connsiteY96" fmla="*/ 5433720 h 6858000"/>
              <a:gd name="connsiteX97" fmla="*/ 1123454 w 7467600"/>
              <a:gd name="connsiteY97" fmla="*/ 5435727 h 6858000"/>
              <a:gd name="connsiteX98" fmla="*/ 1737017 w 7467600"/>
              <a:gd name="connsiteY98" fmla="*/ 5452183 h 6858000"/>
              <a:gd name="connsiteX99" fmla="*/ 1824397 w 7467600"/>
              <a:gd name="connsiteY99" fmla="*/ 5447757 h 6858000"/>
              <a:gd name="connsiteX100" fmla="*/ 2070059 w 7467600"/>
              <a:gd name="connsiteY100" fmla="*/ 5441660 h 6858000"/>
              <a:gd name="connsiteX101" fmla="*/ 1456157 w 7467600"/>
              <a:gd name="connsiteY101" fmla="*/ 5371404 h 6858000"/>
              <a:gd name="connsiteX102" fmla="*/ 4988186 w 7467600"/>
              <a:gd name="connsiteY102" fmla="*/ 5216467 h 6858000"/>
              <a:gd name="connsiteX103" fmla="*/ 4777334 w 7467600"/>
              <a:gd name="connsiteY103" fmla="*/ 5406072 h 6858000"/>
              <a:gd name="connsiteX104" fmla="*/ 4718341 w 7467600"/>
              <a:gd name="connsiteY104" fmla="*/ 5468043 h 6858000"/>
              <a:gd name="connsiteX105" fmla="*/ 4604655 w 7467600"/>
              <a:gd name="connsiteY105" fmla="*/ 5583434 h 6858000"/>
              <a:gd name="connsiteX106" fmla="*/ 4565074 w 7467600"/>
              <a:gd name="connsiteY106" fmla="*/ 5618550 h 6858000"/>
              <a:gd name="connsiteX107" fmla="*/ 4988186 w 7467600"/>
              <a:gd name="connsiteY107" fmla="*/ 5216467 h 6858000"/>
              <a:gd name="connsiteX108" fmla="*/ 4978032 w 7467600"/>
              <a:gd name="connsiteY108" fmla="*/ 5183809 h 6858000"/>
              <a:gd name="connsiteX109" fmla="*/ 4463413 w 7467600"/>
              <a:gd name="connsiteY109" fmla="*/ 5615162 h 6858000"/>
              <a:gd name="connsiteX110" fmla="*/ 4358134 w 7467600"/>
              <a:gd name="connsiteY110" fmla="*/ 5742791 h 6858000"/>
              <a:gd name="connsiteX111" fmla="*/ 4376219 w 7467600"/>
              <a:gd name="connsiteY111" fmla="*/ 5729027 h 6858000"/>
              <a:gd name="connsiteX112" fmla="*/ 4582340 w 7467600"/>
              <a:gd name="connsiteY112" fmla="*/ 5561037 h 6858000"/>
              <a:gd name="connsiteX113" fmla="*/ 4694684 w 7467600"/>
              <a:gd name="connsiteY113" fmla="*/ 5447098 h 6858000"/>
              <a:gd name="connsiteX114" fmla="*/ 4754123 w 7467600"/>
              <a:gd name="connsiteY114" fmla="*/ 5384643 h 6858000"/>
              <a:gd name="connsiteX115" fmla="*/ 4978032 w 7467600"/>
              <a:gd name="connsiteY115" fmla="*/ 5183809 h 6858000"/>
              <a:gd name="connsiteX116" fmla="*/ 1903353 w 7467600"/>
              <a:gd name="connsiteY116" fmla="*/ 5044827 h 6858000"/>
              <a:gd name="connsiteX117" fmla="*/ 1936931 w 7467600"/>
              <a:gd name="connsiteY117" fmla="*/ 5093954 h 6858000"/>
              <a:gd name="connsiteX118" fmla="*/ 2195868 w 7467600"/>
              <a:gd name="connsiteY118" fmla="*/ 5396574 h 6858000"/>
              <a:gd name="connsiteX119" fmla="*/ 2088852 w 7467600"/>
              <a:gd name="connsiteY119" fmla="*/ 5166123 h 6858000"/>
              <a:gd name="connsiteX120" fmla="*/ 1958241 w 7467600"/>
              <a:gd name="connsiteY120" fmla="*/ 5067955 h 6858000"/>
              <a:gd name="connsiteX121" fmla="*/ 1903353 w 7467600"/>
              <a:gd name="connsiteY121" fmla="*/ 5044827 h 6858000"/>
              <a:gd name="connsiteX122" fmla="*/ 1979378 w 7467600"/>
              <a:gd name="connsiteY122" fmla="*/ 4769504 h 6858000"/>
              <a:gd name="connsiteX123" fmla="*/ 2882120 w 7467600"/>
              <a:gd name="connsiteY123" fmla="*/ 5064547 h 6858000"/>
              <a:gd name="connsiteX124" fmla="*/ 2793103 w 7467600"/>
              <a:gd name="connsiteY124" fmla="*/ 5039699 h 6858000"/>
              <a:gd name="connsiteX125" fmla="*/ 2770041 w 7467600"/>
              <a:gd name="connsiteY125" fmla="*/ 5033634 h 6858000"/>
              <a:gd name="connsiteX126" fmla="*/ 1979378 w 7467600"/>
              <a:gd name="connsiteY126" fmla="*/ 4769504 h 6858000"/>
              <a:gd name="connsiteX127" fmla="*/ 1927410 w 7467600"/>
              <a:gd name="connsiteY127" fmla="*/ 4716164 h 6858000"/>
              <a:gd name="connsiteX128" fmla="*/ 1959587 w 7467600"/>
              <a:gd name="connsiteY128" fmla="*/ 4728849 h 6858000"/>
              <a:gd name="connsiteX129" fmla="*/ 2777707 w 7467600"/>
              <a:gd name="connsiteY129" fmla="*/ 5003991 h 6858000"/>
              <a:gd name="connsiteX130" fmla="*/ 2800768 w 7467600"/>
              <a:gd name="connsiteY130" fmla="*/ 5010056 h 6858000"/>
              <a:gd name="connsiteX131" fmla="*/ 2879408 w 7467600"/>
              <a:gd name="connsiteY131" fmla="*/ 5031590 h 6858000"/>
              <a:gd name="connsiteX132" fmla="*/ 2862295 w 7467600"/>
              <a:gd name="connsiteY132" fmla="*/ 5022958 h 6858000"/>
              <a:gd name="connsiteX133" fmla="*/ 2813343 w 7467600"/>
              <a:gd name="connsiteY133" fmla="*/ 4998369 h 6858000"/>
              <a:gd name="connsiteX134" fmla="*/ 2646245 w 7467600"/>
              <a:gd name="connsiteY134" fmla="*/ 4930999 h 6858000"/>
              <a:gd name="connsiteX135" fmla="*/ 1999243 w 7467600"/>
              <a:gd name="connsiteY135" fmla="*/ 4730524 h 6858000"/>
              <a:gd name="connsiteX136" fmla="*/ 1979527 w 7467600"/>
              <a:gd name="connsiteY136" fmla="*/ 4726651 h 6858000"/>
              <a:gd name="connsiteX137" fmla="*/ 1927410 w 7467600"/>
              <a:gd name="connsiteY137" fmla="*/ 4716164 h 6858000"/>
              <a:gd name="connsiteX138" fmla="*/ 1997014 w 7467600"/>
              <a:gd name="connsiteY138" fmla="*/ 4698007 h 6858000"/>
              <a:gd name="connsiteX139" fmla="*/ 2005458 w 7467600"/>
              <a:gd name="connsiteY139" fmla="*/ 4699540 h 6858000"/>
              <a:gd name="connsiteX140" fmla="*/ 2657186 w 7467600"/>
              <a:gd name="connsiteY140" fmla="*/ 4901687 h 6858000"/>
              <a:gd name="connsiteX141" fmla="*/ 2826662 w 7467600"/>
              <a:gd name="connsiteY141" fmla="*/ 4970362 h 6858000"/>
              <a:gd name="connsiteX142" fmla="*/ 2876100 w 7467600"/>
              <a:gd name="connsiteY142" fmla="*/ 4995397 h 6858000"/>
              <a:gd name="connsiteX143" fmla="*/ 3042600 w 7467600"/>
              <a:gd name="connsiteY143" fmla="*/ 5059532 h 6858000"/>
              <a:gd name="connsiteX144" fmla="*/ 1997014 w 7467600"/>
              <a:gd name="connsiteY144" fmla="*/ 4698007 h 6858000"/>
              <a:gd name="connsiteX145" fmla="*/ 2305292 w 7467600"/>
              <a:gd name="connsiteY145" fmla="*/ 4219492 h 6858000"/>
              <a:gd name="connsiteX146" fmla="*/ 3360922 w 7467600"/>
              <a:gd name="connsiteY146" fmla="*/ 4529373 h 6858000"/>
              <a:gd name="connsiteX147" fmla="*/ 3492420 w 7467600"/>
              <a:gd name="connsiteY147" fmla="*/ 4510145 h 6858000"/>
              <a:gd name="connsiteX148" fmla="*/ 3364086 w 7467600"/>
              <a:gd name="connsiteY148" fmla="*/ 4480340 h 6858000"/>
              <a:gd name="connsiteX149" fmla="*/ 3225818 w 7467600"/>
              <a:gd name="connsiteY149" fmla="*/ 4411822 h 6858000"/>
              <a:gd name="connsiteX150" fmla="*/ 3129696 w 7467600"/>
              <a:gd name="connsiteY150" fmla="*/ 4360704 h 6858000"/>
              <a:gd name="connsiteX151" fmla="*/ 2814545 w 7467600"/>
              <a:gd name="connsiteY151" fmla="*/ 4282955 h 6858000"/>
              <a:gd name="connsiteX152" fmla="*/ 2305292 w 7467600"/>
              <a:gd name="connsiteY152" fmla="*/ 4219492 h 6858000"/>
              <a:gd name="connsiteX153" fmla="*/ 2626982 w 7467600"/>
              <a:gd name="connsiteY153" fmla="*/ 4206450 h 6858000"/>
              <a:gd name="connsiteX154" fmla="*/ 2490617 w 7467600"/>
              <a:gd name="connsiteY154" fmla="*/ 4206951 h 6858000"/>
              <a:gd name="connsiteX155" fmla="*/ 2819869 w 7467600"/>
              <a:gd name="connsiteY155" fmla="*/ 4252936 h 6858000"/>
              <a:gd name="connsiteX156" fmla="*/ 3143018 w 7467600"/>
              <a:gd name="connsiteY156" fmla="*/ 4332698 h 6858000"/>
              <a:gd name="connsiteX157" fmla="*/ 3241520 w 7467600"/>
              <a:gd name="connsiteY157" fmla="*/ 4385112 h 6858000"/>
              <a:gd name="connsiteX158" fmla="*/ 3374575 w 7467600"/>
              <a:gd name="connsiteY158" fmla="*/ 4451517 h 6858000"/>
              <a:gd name="connsiteX159" fmla="*/ 3505221 w 7467600"/>
              <a:gd name="connsiteY159" fmla="*/ 4480757 h 6858000"/>
              <a:gd name="connsiteX160" fmla="*/ 2626982 w 7467600"/>
              <a:gd name="connsiteY160" fmla="*/ 4206450 h 6858000"/>
              <a:gd name="connsiteX161" fmla="*/ 1310106 w 7467600"/>
              <a:gd name="connsiteY161" fmla="*/ 3943217 h 6858000"/>
              <a:gd name="connsiteX162" fmla="*/ 854994 w 7467600"/>
              <a:gd name="connsiteY162" fmla="*/ 4399136 h 6858000"/>
              <a:gd name="connsiteX163" fmla="*/ 742462 w 7467600"/>
              <a:gd name="connsiteY163" fmla="*/ 4594648 h 6858000"/>
              <a:gd name="connsiteX164" fmla="*/ 820602 w 7467600"/>
              <a:gd name="connsiteY164" fmla="*/ 4485915 h 6858000"/>
              <a:gd name="connsiteX165" fmla="*/ 878295 w 7467600"/>
              <a:gd name="connsiteY165" fmla="*/ 4403594 h 6858000"/>
              <a:gd name="connsiteX166" fmla="*/ 1240607 w 7467600"/>
              <a:gd name="connsiteY166" fmla="*/ 4010401 h 6858000"/>
              <a:gd name="connsiteX167" fmla="*/ 1310106 w 7467600"/>
              <a:gd name="connsiteY167" fmla="*/ 3943217 h 6858000"/>
              <a:gd name="connsiteX168" fmla="*/ 1423113 w 7467600"/>
              <a:gd name="connsiteY168" fmla="*/ 3874565 h 6858000"/>
              <a:gd name="connsiteX169" fmla="*/ 1260565 w 7467600"/>
              <a:gd name="connsiteY169" fmla="*/ 4031982 h 6858000"/>
              <a:gd name="connsiteX170" fmla="*/ 901900 w 7467600"/>
              <a:gd name="connsiteY170" fmla="*/ 4421236 h 6858000"/>
              <a:gd name="connsiteX171" fmla="*/ 845044 w 7467600"/>
              <a:gd name="connsiteY171" fmla="*/ 4502436 h 6858000"/>
              <a:gd name="connsiteX172" fmla="*/ 685926 w 7467600"/>
              <a:gd name="connsiteY172" fmla="*/ 4703069 h 6858000"/>
              <a:gd name="connsiteX173" fmla="*/ 684248 w 7467600"/>
              <a:gd name="connsiteY173" fmla="*/ 4706721 h 6858000"/>
              <a:gd name="connsiteX174" fmla="*/ 1423113 w 7467600"/>
              <a:gd name="connsiteY174" fmla="*/ 3874565 h 6858000"/>
              <a:gd name="connsiteX175" fmla="*/ 3316479 w 7467600"/>
              <a:gd name="connsiteY175" fmla="*/ 3872136 h 6858000"/>
              <a:gd name="connsiteX176" fmla="*/ 3546806 w 7467600"/>
              <a:gd name="connsiteY176" fmla="*/ 4356139 h 6858000"/>
              <a:gd name="connsiteX177" fmla="*/ 3364433 w 7467600"/>
              <a:gd name="connsiteY177" fmla="*/ 3953121 h 6858000"/>
              <a:gd name="connsiteX178" fmla="*/ 3316479 w 7467600"/>
              <a:gd name="connsiteY178" fmla="*/ 3872136 h 6858000"/>
              <a:gd name="connsiteX179" fmla="*/ 3291335 w 7467600"/>
              <a:gd name="connsiteY179" fmla="*/ 3767420 h 6858000"/>
              <a:gd name="connsiteX180" fmla="*/ 3390805 w 7467600"/>
              <a:gd name="connsiteY180" fmla="*/ 3937163 h 6858000"/>
              <a:gd name="connsiteX181" fmla="*/ 3579062 w 7467600"/>
              <a:gd name="connsiteY181" fmla="*/ 4359040 h 6858000"/>
              <a:gd name="connsiteX182" fmla="*/ 3467355 w 7467600"/>
              <a:gd name="connsiteY182" fmla="*/ 3988130 h 6858000"/>
              <a:gd name="connsiteX183" fmla="*/ 3310753 w 7467600"/>
              <a:gd name="connsiteY183" fmla="*/ 3787140 h 6858000"/>
              <a:gd name="connsiteX184" fmla="*/ 3291335 w 7467600"/>
              <a:gd name="connsiteY184" fmla="*/ 3767420 h 6858000"/>
              <a:gd name="connsiteX185" fmla="*/ 1635889 w 7467600"/>
              <a:gd name="connsiteY185" fmla="*/ 3709494 h 6858000"/>
              <a:gd name="connsiteX186" fmla="*/ 1634800 w 7467600"/>
              <a:gd name="connsiteY186" fmla="*/ 3731111 h 6858000"/>
              <a:gd name="connsiteX187" fmla="*/ 1635889 w 7467600"/>
              <a:gd name="connsiteY187" fmla="*/ 3709494 h 6858000"/>
              <a:gd name="connsiteX188" fmla="*/ 1510397 w 7467600"/>
              <a:gd name="connsiteY188" fmla="*/ 3684705 h 6858000"/>
              <a:gd name="connsiteX189" fmla="*/ 1146550 w 7467600"/>
              <a:gd name="connsiteY189" fmla="*/ 3802012 h 6858000"/>
              <a:gd name="connsiteX190" fmla="*/ 698834 w 7467600"/>
              <a:gd name="connsiteY190" fmla="*/ 3952272 h 6858000"/>
              <a:gd name="connsiteX191" fmla="*/ 34256 w 7467600"/>
              <a:gd name="connsiteY191" fmla="*/ 4347603 h 6858000"/>
              <a:gd name="connsiteX192" fmla="*/ 527241 w 7467600"/>
              <a:gd name="connsiteY192" fmla="*/ 4065078 h 6858000"/>
              <a:gd name="connsiteX193" fmla="*/ 1510397 w 7467600"/>
              <a:gd name="connsiteY193" fmla="*/ 3684705 h 6858000"/>
              <a:gd name="connsiteX194" fmla="*/ 1313114 w 7467600"/>
              <a:gd name="connsiteY194" fmla="*/ 3655216 h 6858000"/>
              <a:gd name="connsiteX195" fmla="*/ 1109304 w 7467600"/>
              <a:gd name="connsiteY195" fmla="*/ 3669030 h 6858000"/>
              <a:gd name="connsiteX196" fmla="*/ 8129 w 7467600"/>
              <a:gd name="connsiteY196" fmla="*/ 4330519 h 6858000"/>
              <a:gd name="connsiteX197" fmla="*/ 687572 w 7467600"/>
              <a:gd name="connsiteY197" fmla="*/ 3925629 h 6858000"/>
              <a:gd name="connsiteX198" fmla="*/ 1138365 w 7467600"/>
              <a:gd name="connsiteY198" fmla="*/ 3774515 h 6858000"/>
              <a:gd name="connsiteX199" fmla="*/ 1505579 w 7467600"/>
              <a:gd name="connsiteY199" fmla="*/ 3655526 h 6858000"/>
              <a:gd name="connsiteX200" fmla="*/ 1313114 w 7467600"/>
              <a:gd name="connsiteY200" fmla="*/ 3655216 h 6858000"/>
              <a:gd name="connsiteX201" fmla="*/ 3655073 w 7467600"/>
              <a:gd name="connsiteY201" fmla="*/ 3650884 h 6858000"/>
              <a:gd name="connsiteX202" fmla="*/ 3989938 w 7467600"/>
              <a:gd name="connsiteY202" fmla="*/ 3991685 h 6858000"/>
              <a:gd name="connsiteX203" fmla="*/ 4393907 w 7467600"/>
              <a:gd name="connsiteY203" fmla="*/ 4261258 h 6858000"/>
              <a:gd name="connsiteX204" fmla="*/ 4648051 w 7467600"/>
              <a:gd name="connsiteY204" fmla="*/ 4374051 h 6858000"/>
              <a:gd name="connsiteX205" fmla="*/ 4383389 w 7467600"/>
              <a:gd name="connsiteY205" fmla="*/ 4184369 h 6858000"/>
              <a:gd name="connsiteX206" fmla="*/ 4165508 w 7467600"/>
              <a:gd name="connsiteY206" fmla="*/ 4035196 h 6858000"/>
              <a:gd name="connsiteX207" fmla="*/ 4068162 w 7467600"/>
              <a:gd name="connsiteY207" fmla="*/ 3953394 h 6858000"/>
              <a:gd name="connsiteX208" fmla="*/ 3981416 w 7467600"/>
              <a:gd name="connsiteY208" fmla="*/ 3880482 h 6858000"/>
              <a:gd name="connsiteX209" fmla="*/ 3800147 w 7467600"/>
              <a:gd name="connsiteY209" fmla="*/ 3749872 h 6858000"/>
              <a:gd name="connsiteX210" fmla="*/ 3655073 w 7467600"/>
              <a:gd name="connsiteY210" fmla="*/ 3650884 h 6858000"/>
              <a:gd name="connsiteX211" fmla="*/ 3670252 w 7467600"/>
              <a:gd name="connsiteY211" fmla="*/ 3622798 h 6858000"/>
              <a:gd name="connsiteX212" fmla="*/ 3817258 w 7467600"/>
              <a:gd name="connsiteY212" fmla="*/ 3723577 h 6858000"/>
              <a:gd name="connsiteX213" fmla="*/ 4000461 w 7467600"/>
              <a:gd name="connsiteY213" fmla="*/ 3855966 h 6858000"/>
              <a:gd name="connsiteX214" fmla="*/ 4088180 w 7467600"/>
              <a:gd name="connsiteY214" fmla="*/ 3929774 h 6858000"/>
              <a:gd name="connsiteX215" fmla="*/ 4184555 w 7467600"/>
              <a:gd name="connsiteY215" fmla="*/ 4010683 h 6858000"/>
              <a:gd name="connsiteX216" fmla="*/ 4399563 w 7467600"/>
              <a:gd name="connsiteY216" fmla="*/ 4158106 h 6858000"/>
              <a:gd name="connsiteX217" fmla="*/ 4684469 w 7467600"/>
              <a:gd name="connsiteY217" fmla="*/ 4364680 h 6858000"/>
              <a:gd name="connsiteX218" fmla="*/ 4690271 w 7467600"/>
              <a:gd name="connsiteY218" fmla="*/ 4370034 h 6858000"/>
              <a:gd name="connsiteX219" fmla="*/ 4136093 w 7467600"/>
              <a:gd name="connsiteY219" fmla="*/ 3858466 h 6858000"/>
              <a:gd name="connsiteX220" fmla="*/ 3670252 w 7467600"/>
              <a:gd name="connsiteY220" fmla="*/ 3622798 h 6858000"/>
              <a:gd name="connsiteX221" fmla="*/ 4440129 w 7467600"/>
              <a:gd name="connsiteY221" fmla="*/ 3448571 h 6858000"/>
              <a:gd name="connsiteX222" fmla="*/ 4856525 w 7467600"/>
              <a:gd name="connsiteY222" fmla="*/ 3915351 h 6858000"/>
              <a:gd name="connsiteX223" fmla="*/ 5059055 w 7467600"/>
              <a:gd name="connsiteY223" fmla="*/ 4108918 h 6858000"/>
              <a:gd name="connsiteX224" fmla="*/ 5290070 w 7467600"/>
              <a:gd name="connsiteY224" fmla="*/ 4263619 h 6858000"/>
              <a:gd name="connsiteX225" fmla="*/ 4834991 w 7467600"/>
              <a:gd name="connsiteY225" fmla="*/ 3830985 h 6858000"/>
              <a:gd name="connsiteX226" fmla="*/ 4440129 w 7467600"/>
              <a:gd name="connsiteY226" fmla="*/ 3448571 h 6858000"/>
              <a:gd name="connsiteX227" fmla="*/ 4441737 w 7467600"/>
              <a:gd name="connsiteY227" fmla="*/ 3399734 h 6858000"/>
              <a:gd name="connsiteX228" fmla="*/ 4431236 w 7467600"/>
              <a:gd name="connsiteY228" fmla="*/ 3400954 h 6858000"/>
              <a:gd name="connsiteX229" fmla="*/ 4557150 w 7467600"/>
              <a:gd name="connsiteY229" fmla="*/ 3510023 h 6858000"/>
              <a:gd name="connsiteX230" fmla="*/ 4856936 w 7467600"/>
              <a:gd name="connsiteY230" fmla="*/ 3809146 h 6858000"/>
              <a:gd name="connsiteX231" fmla="*/ 5111996 w 7467600"/>
              <a:gd name="connsiteY231" fmla="*/ 4065759 h 6858000"/>
              <a:gd name="connsiteX232" fmla="*/ 5388878 w 7467600"/>
              <a:gd name="connsiteY232" fmla="*/ 4300185 h 6858000"/>
              <a:gd name="connsiteX233" fmla="*/ 5425556 w 7467600"/>
              <a:gd name="connsiteY233" fmla="*/ 4308967 h 6858000"/>
              <a:gd name="connsiteX234" fmla="*/ 4943646 w 7467600"/>
              <a:gd name="connsiteY234" fmla="*/ 3822916 h 6858000"/>
              <a:gd name="connsiteX235" fmla="*/ 4594837 w 7467600"/>
              <a:gd name="connsiteY235" fmla="*/ 3532274 h 6858000"/>
              <a:gd name="connsiteX236" fmla="*/ 4441737 w 7467600"/>
              <a:gd name="connsiteY236" fmla="*/ 3399734 h 6858000"/>
              <a:gd name="connsiteX237" fmla="*/ 5425834 w 7467600"/>
              <a:gd name="connsiteY237" fmla="*/ 3162785 h 6858000"/>
              <a:gd name="connsiteX238" fmla="*/ 5401644 w 7467600"/>
              <a:gd name="connsiteY238" fmla="*/ 3617847 h 6858000"/>
              <a:gd name="connsiteX239" fmla="*/ 5467256 w 7467600"/>
              <a:gd name="connsiteY239" fmla="*/ 4175494 h 6858000"/>
              <a:gd name="connsiteX240" fmla="*/ 5448069 w 7467600"/>
              <a:gd name="connsiteY240" fmla="*/ 3567554 h 6858000"/>
              <a:gd name="connsiteX241" fmla="*/ 5425834 w 7467600"/>
              <a:gd name="connsiteY241" fmla="*/ 3162785 h 6858000"/>
              <a:gd name="connsiteX242" fmla="*/ 1318687 w 7467600"/>
              <a:gd name="connsiteY242" fmla="*/ 3113840 h 6858000"/>
              <a:gd name="connsiteX243" fmla="*/ 1066793 w 7467600"/>
              <a:gd name="connsiteY243" fmla="*/ 3212171 h 6858000"/>
              <a:gd name="connsiteX244" fmla="*/ 993319 w 7467600"/>
              <a:gd name="connsiteY244" fmla="*/ 3247648 h 6858000"/>
              <a:gd name="connsiteX245" fmla="*/ 853081 w 7467600"/>
              <a:gd name="connsiteY245" fmla="*/ 3312410 h 6858000"/>
              <a:gd name="connsiteX246" fmla="*/ 805957 w 7467600"/>
              <a:gd name="connsiteY246" fmla="*/ 3330443 h 6858000"/>
              <a:gd name="connsiteX247" fmla="*/ 1318687 w 7467600"/>
              <a:gd name="connsiteY247" fmla="*/ 3113840 h 6858000"/>
              <a:gd name="connsiteX248" fmla="*/ 5453702 w 7467600"/>
              <a:gd name="connsiteY248" fmla="*/ 3090882 h 6858000"/>
              <a:gd name="connsiteX249" fmla="*/ 5480135 w 7467600"/>
              <a:gd name="connsiteY249" fmla="*/ 3565802 h 6858000"/>
              <a:gd name="connsiteX250" fmla="*/ 5499023 w 7467600"/>
              <a:gd name="connsiteY250" fmla="*/ 4166310 h 6858000"/>
              <a:gd name="connsiteX251" fmla="*/ 5547022 w 7467600"/>
              <a:gd name="connsiteY251" fmla="*/ 3607838 h 6858000"/>
              <a:gd name="connsiteX252" fmla="*/ 5515964 w 7467600"/>
              <a:gd name="connsiteY252" fmla="*/ 3378541 h 6858000"/>
              <a:gd name="connsiteX253" fmla="*/ 5453702 w 7467600"/>
              <a:gd name="connsiteY253" fmla="*/ 3090882 h 6858000"/>
              <a:gd name="connsiteX254" fmla="*/ 1238695 w 7467600"/>
              <a:gd name="connsiteY254" fmla="*/ 3076820 h 6858000"/>
              <a:gd name="connsiteX255" fmla="*/ 716371 w 7467600"/>
              <a:gd name="connsiteY255" fmla="*/ 3293249 h 6858000"/>
              <a:gd name="connsiteX256" fmla="*/ 579522 w 7467600"/>
              <a:gd name="connsiteY256" fmla="*/ 3371759 h 6858000"/>
              <a:gd name="connsiteX257" fmla="*/ 600288 w 7467600"/>
              <a:gd name="connsiteY257" fmla="*/ 3365555 h 6858000"/>
              <a:gd name="connsiteX258" fmla="*/ 840692 w 7467600"/>
              <a:gd name="connsiteY258" fmla="*/ 3284921 h 6858000"/>
              <a:gd name="connsiteX259" fmla="*/ 979248 w 7467600"/>
              <a:gd name="connsiteY259" fmla="*/ 3221003 h 6858000"/>
              <a:gd name="connsiteX260" fmla="*/ 1053282 w 7467600"/>
              <a:gd name="connsiteY260" fmla="*/ 3185247 h 6858000"/>
              <a:gd name="connsiteX261" fmla="*/ 1320603 w 7467600"/>
              <a:gd name="connsiteY261" fmla="*/ 3081281 h 6858000"/>
              <a:gd name="connsiteX262" fmla="*/ 1238695 w 7467600"/>
              <a:gd name="connsiteY262" fmla="*/ 3076820 h 6858000"/>
              <a:gd name="connsiteX263" fmla="*/ 5425627 w 7467600"/>
              <a:gd name="connsiteY263" fmla="*/ 2954192 h 6858000"/>
              <a:gd name="connsiteX264" fmla="*/ 5470770 w 7467600"/>
              <a:gd name="connsiteY264" fmla="*/ 3005435 h 6858000"/>
              <a:gd name="connsiteX265" fmla="*/ 5519779 w 7467600"/>
              <a:gd name="connsiteY265" fmla="*/ 4359223 h 6858000"/>
              <a:gd name="connsiteX266" fmla="*/ 5520293 w 7467600"/>
              <a:gd name="connsiteY266" fmla="*/ 4360602 h 6858000"/>
              <a:gd name="connsiteX267" fmla="*/ 5767221 w 7467600"/>
              <a:gd name="connsiteY267" fmla="*/ 4665564 h 6858000"/>
              <a:gd name="connsiteX268" fmla="*/ 6937169 w 7467600"/>
              <a:gd name="connsiteY268" fmla="*/ 4815941 h 6858000"/>
              <a:gd name="connsiteX269" fmla="*/ 6953922 w 7467600"/>
              <a:gd name="connsiteY269" fmla="*/ 4890068 h 6858000"/>
              <a:gd name="connsiteX270" fmla="*/ 6071359 w 7467600"/>
              <a:gd name="connsiteY270" fmla="*/ 4770770 h 6858000"/>
              <a:gd name="connsiteX271" fmla="*/ 6038839 w 7467600"/>
              <a:gd name="connsiteY271" fmla="*/ 4764474 h 6858000"/>
              <a:gd name="connsiteX272" fmla="*/ 6038706 w 7467600"/>
              <a:gd name="connsiteY272" fmla="*/ 4763847 h 6858000"/>
              <a:gd name="connsiteX273" fmla="*/ 6037784 w 7467600"/>
              <a:gd name="connsiteY273" fmla="*/ 4764270 h 6858000"/>
              <a:gd name="connsiteX274" fmla="*/ 6038839 w 7467600"/>
              <a:gd name="connsiteY274" fmla="*/ 4764474 h 6858000"/>
              <a:gd name="connsiteX275" fmla="*/ 6040338 w 7467600"/>
              <a:gd name="connsiteY275" fmla="*/ 4771418 h 6858000"/>
              <a:gd name="connsiteX276" fmla="*/ 6024488 w 7467600"/>
              <a:gd name="connsiteY276" fmla="*/ 4809903 h 6858000"/>
              <a:gd name="connsiteX277" fmla="*/ 5599771 w 7467600"/>
              <a:gd name="connsiteY277" fmla="*/ 5509652 h 6858000"/>
              <a:gd name="connsiteX278" fmla="*/ 5548843 w 7467600"/>
              <a:gd name="connsiteY278" fmla="*/ 5563845 h 6858000"/>
              <a:gd name="connsiteX279" fmla="*/ 5940952 w 7467600"/>
              <a:gd name="connsiteY279" fmla="*/ 6250028 h 6858000"/>
              <a:gd name="connsiteX280" fmla="*/ 6043441 w 7467600"/>
              <a:gd name="connsiteY280" fmla="*/ 6665847 h 6858000"/>
              <a:gd name="connsiteX281" fmla="*/ 6093432 w 7467600"/>
              <a:gd name="connsiteY281" fmla="*/ 6858000 h 6858000"/>
              <a:gd name="connsiteX282" fmla="*/ 6034344 w 7467600"/>
              <a:gd name="connsiteY282" fmla="*/ 6858000 h 6858000"/>
              <a:gd name="connsiteX283" fmla="*/ 6026679 w 7467600"/>
              <a:gd name="connsiteY283" fmla="*/ 6836959 h 6858000"/>
              <a:gd name="connsiteX284" fmla="*/ 5800441 w 7467600"/>
              <a:gd name="connsiteY284" fmla="*/ 6335286 h 6858000"/>
              <a:gd name="connsiteX285" fmla="*/ 5526562 w 7467600"/>
              <a:gd name="connsiteY285" fmla="*/ 5705388 h 6858000"/>
              <a:gd name="connsiteX286" fmla="*/ 5519640 w 7467600"/>
              <a:gd name="connsiteY286" fmla="*/ 5683774 h 6858000"/>
              <a:gd name="connsiteX287" fmla="*/ 5844559 w 7467600"/>
              <a:gd name="connsiteY287" fmla="*/ 6553349 h 6858000"/>
              <a:gd name="connsiteX288" fmla="*/ 5975994 w 7467600"/>
              <a:gd name="connsiteY288" fmla="*/ 6858000 h 6858000"/>
              <a:gd name="connsiteX289" fmla="*/ 5898547 w 7467600"/>
              <a:gd name="connsiteY289" fmla="*/ 6858000 h 6858000"/>
              <a:gd name="connsiteX290" fmla="*/ 5682041 w 7467600"/>
              <a:gd name="connsiteY290" fmla="*/ 6355860 h 6858000"/>
              <a:gd name="connsiteX291" fmla="*/ 5461758 w 7467600"/>
              <a:gd name="connsiteY291" fmla="*/ 5820220 h 6858000"/>
              <a:gd name="connsiteX292" fmla="*/ 5237282 w 7467600"/>
              <a:gd name="connsiteY292" fmla="*/ 6579086 h 6858000"/>
              <a:gd name="connsiteX293" fmla="*/ 5115009 w 7467600"/>
              <a:gd name="connsiteY293" fmla="*/ 6858000 h 6858000"/>
              <a:gd name="connsiteX294" fmla="*/ 5028074 w 7467600"/>
              <a:gd name="connsiteY294" fmla="*/ 6858000 h 6858000"/>
              <a:gd name="connsiteX295" fmla="*/ 5079508 w 7467600"/>
              <a:gd name="connsiteY295" fmla="*/ 6749074 h 6858000"/>
              <a:gd name="connsiteX296" fmla="*/ 5371846 w 7467600"/>
              <a:gd name="connsiteY296" fmla="*/ 5924413 h 6858000"/>
              <a:gd name="connsiteX297" fmla="*/ 5270512 w 7467600"/>
              <a:gd name="connsiteY297" fmla="*/ 6138975 h 6858000"/>
              <a:gd name="connsiteX298" fmla="*/ 5062409 w 7467600"/>
              <a:gd name="connsiteY298" fmla="*/ 6653544 h 6858000"/>
              <a:gd name="connsiteX299" fmla="*/ 5036628 w 7467600"/>
              <a:gd name="connsiteY299" fmla="*/ 6754247 h 6858000"/>
              <a:gd name="connsiteX300" fmla="*/ 5009112 w 7467600"/>
              <a:gd name="connsiteY300" fmla="*/ 6858000 h 6858000"/>
              <a:gd name="connsiteX301" fmla="*/ 4976679 w 7467600"/>
              <a:gd name="connsiteY301" fmla="*/ 6858000 h 6858000"/>
              <a:gd name="connsiteX302" fmla="*/ 5006537 w 7467600"/>
              <a:gd name="connsiteY302" fmla="*/ 6747068 h 6858000"/>
              <a:gd name="connsiteX303" fmla="*/ 5032723 w 7467600"/>
              <a:gd name="connsiteY303" fmla="*/ 6644957 h 6858000"/>
              <a:gd name="connsiteX304" fmla="*/ 5242949 w 7467600"/>
              <a:gd name="connsiteY304" fmla="*/ 6125175 h 6858000"/>
              <a:gd name="connsiteX305" fmla="*/ 5286321 w 7467600"/>
              <a:gd name="connsiteY305" fmla="*/ 6033555 h 6858000"/>
              <a:gd name="connsiteX306" fmla="*/ 5008210 w 7467600"/>
              <a:gd name="connsiteY306" fmla="*/ 6649194 h 6858000"/>
              <a:gd name="connsiteX307" fmla="*/ 4986321 w 7467600"/>
              <a:gd name="connsiteY307" fmla="*/ 6765687 h 6858000"/>
              <a:gd name="connsiteX308" fmla="*/ 4973474 w 7467600"/>
              <a:gd name="connsiteY308" fmla="*/ 6858000 h 6858000"/>
              <a:gd name="connsiteX309" fmla="*/ 4907178 w 7467600"/>
              <a:gd name="connsiteY309" fmla="*/ 6858000 h 6858000"/>
              <a:gd name="connsiteX310" fmla="*/ 4910810 w 7467600"/>
              <a:gd name="connsiteY310" fmla="*/ 6829660 h 6858000"/>
              <a:gd name="connsiteX311" fmla="*/ 4987461 w 7467600"/>
              <a:gd name="connsiteY311" fmla="*/ 6432994 h 6858000"/>
              <a:gd name="connsiteX312" fmla="*/ 5179262 w 7467600"/>
              <a:gd name="connsiteY312" fmla="*/ 6035044 h 6858000"/>
              <a:gd name="connsiteX313" fmla="*/ 4689678 w 7467600"/>
              <a:gd name="connsiteY313" fmla="*/ 6440241 h 6858000"/>
              <a:gd name="connsiteX314" fmla="*/ 4477543 w 7467600"/>
              <a:gd name="connsiteY314" fmla="*/ 6674836 h 6858000"/>
              <a:gd name="connsiteX315" fmla="*/ 4329957 w 7467600"/>
              <a:gd name="connsiteY315" fmla="*/ 6858000 h 6858000"/>
              <a:gd name="connsiteX316" fmla="*/ 4218595 w 7467600"/>
              <a:gd name="connsiteY316" fmla="*/ 6858000 h 6858000"/>
              <a:gd name="connsiteX317" fmla="*/ 4368888 w 7467600"/>
              <a:gd name="connsiteY317" fmla="*/ 6668412 h 6858000"/>
              <a:gd name="connsiteX318" fmla="*/ 4563091 w 7467600"/>
              <a:gd name="connsiteY318" fmla="*/ 6442508 h 6858000"/>
              <a:gd name="connsiteX319" fmla="*/ 5387324 w 7467600"/>
              <a:gd name="connsiteY319" fmla="*/ 5705830 h 6858000"/>
              <a:gd name="connsiteX320" fmla="*/ 5073620 w 7467600"/>
              <a:gd name="connsiteY320" fmla="*/ 5955437 h 6858000"/>
              <a:gd name="connsiteX321" fmla="*/ 4689789 w 7467600"/>
              <a:gd name="connsiteY321" fmla="*/ 6268382 h 6858000"/>
              <a:gd name="connsiteX322" fmla="*/ 4418722 w 7467600"/>
              <a:gd name="connsiteY322" fmla="*/ 6570886 h 6858000"/>
              <a:gd name="connsiteX323" fmla="*/ 4214944 w 7467600"/>
              <a:gd name="connsiteY323" fmla="*/ 6858000 h 6858000"/>
              <a:gd name="connsiteX324" fmla="*/ 4177898 w 7467600"/>
              <a:gd name="connsiteY324" fmla="*/ 6858000 h 6858000"/>
              <a:gd name="connsiteX325" fmla="*/ 4391597 w 7467600"/>
              <a:gd name="connsiteY325" fmla="*/ 6556370 h 6858000"/>
              <a:gd name="connsiteX326" fmla="*/ 4668889 w 7467600"/>
              <a:gd name="connsiteY326" fmla="*/ 6246399 h 6858000"/>
              <a:gd name="connsiteX327" fmla="*/ 5055427 w 7467600"/>
              <a:gd name="connsiteY327" fmla="*/ 5931476 h 6858000"/>
              <a:gd name="connsiteX328" fmla="*/ 5371814 w 7467600"/>
              <a:gd name="connsiteY328" fmla="*/ 5678975 h 6858000"/>
              <a:gd name="connsiteX329" fmla="*/ 4987918 w 7467600"/>
              <a:gd name="connsiteY329" fmla="*/ 5838701 h 6858000"/>
              <a:gd name="connsiteX330" fmla="*/ 4317146 w 7467600"/>
              <a:gd name="connsiteY330" fmla="*/ 6587716 h 6858000"/>
              <a:gd name="connsiteX331" fmla="*/ 4171627 w 7467600"/>
              <a:gd name="connsiteY331" fmla="*/ 6858000 h 6858000"/>
              <a:gd name="connsiteX332" fmla="*/ 4081585 w 7467600"/>
              <a:gd name="connsiteY332" fmla="*/ 6858000 h 6858000"/>
              <a:gd name="connsiteX333" fmla="*/ 4238603 w 7467600"/>
              <a:gd name="connsiteY333" fmla="*/ 6559341 h 6858000"/>
              <a:gd name="connsiteX334" fmla="*/ 4778333 w 7467600"/>
              <a:gd name="connsiteY334" fmla="*/ 5873626 h 6858000"/>
              <a:gd name="connsiteX335" fmla="*/ 5414185 w 7467600"/>
              <a:gd name="connsiteY335" fmla="*/ 5573882 h 6858000"/>
              <a:gd name="connsiteX336" fmla="*/ 5959648 w 7467600"/>
              <a:gd name="connsiteY336" fmla="*/ 4760797 h 6858000"/>
              <a:gd name="connsiteX337" fmla="*/ 5355019 w 7467600"/>
              <a:gd name="connsiteY337" fmla="*/ 4734672 h 6858000"/>
              <a:gd name="connsiteX338" fmla="*/ 5083565 w 7467600"/>
              <a:gd name="connsiteY338" fmla="*/ 5179121 h 6858000"/>
              <a:gd name="connsiteX339" fmla="*/ 4713577 w 7467600"/>
              <a:gd name="connsiteY339" fmla="*/ 5616803 h 6858000"/>
              <a:gd name="connsiteX340" fmla="*/ 3989559 w 7467600"/>
              <a:gd name="connsiteY340" fmla="*/ 6145945 h 6858000"/>
              <a:gd name="connsiteX341" fmla="*/ 3939824 w 7467600"/>
              <a:gd name="connsiteY341" fmla="*/ 6066900 h 6858000"/>
              <a:gd name="connsiteX342" fmla="*/ 4584537 w 7467600"/>
              <a:gd name="connsiteY342" fmla="*/ 5324826 h 6858000"/>
              <a:gd name="connsiteX343" fmla="*/ 5037105 w 7467600"/>
              <a:gd name="connsiteY343" fmla="*/ 5088765 h 6858000"/>
              <a:gd name="connsiteX344" fmla="*/ 5039930 w 7467600"/>
              <a:gd name="connsiteY344" fmla="*/ 5089585 h 6858000"/>
              <a:gd name="connsiteX345" fmla="*/ 5263764 w 7467600"/>
              <a:gd name="connsiteY345" fmla="*/ 4735525 h 6858000"/>
              <a:gd name="connsiteX346" fmla="*/ 4086300 w 7467600"/>
              <a:gd name="connsiteY346" fmla="*/ 4884599 h 6858000"/>
              <a:gd name="connsiteX347" fmla="*/ 4085485 w 7467600"/>
              <a:gd name="connsiteY347" fmla="*/ 4899070 h 6858000"/>
              <a:gd name="connsiteX348" fmla="*/ 3871915 w 7467600"/>
              <a:gd name="connsiteY348" fmla="*/ 5253645 h 6858000"/>
              <a:gd name="connsiteX349" fmla="*/ 3799374 w 7467600"/>
              <a:gd name="connsiteY349" fmla="*/ 5466127 h 6858000"/>
              <a:gd name="connsiteX350" fmla="*/ 3498850 w 7467600"/>
              <a:gd name="connsiteY350" fmla="*/ 6661888 h 6858000"/>
              <a:gd name="connsiteX351" fmla="*/ 3399216 w 7467600"/>
              <a:gd name="connsiteY351" fmla="*/ 6858000 h 6858000"/>
              <a:gd name="connsiteX352" fmla="*/ 3303688 w 7467600"/>
              <a:gd name="connsiteY352" fmla="*/ 6858000 h 6858000"/>
              <a:gd name="connsiteX353" fmla="*/ 3391774 w 7467600"/>
              <a:gd name="connsiteY353" fmla="*/ 6697181 h 6858000"/>
              <a:gd name="connsiteX354" fmla="*/ 3735540 w 7467600"/>
              <a:gd name="connsiteY354" fmla="*/ 5546923 h 6858000"/>
              <a:gd name="connsiteX355" fmla="*/ 3729438 w 7467600"/>
              <a:gd name="connsiteY355" fmla="*/ 5569058 h 6858000"/>
              <a:gd name="connsiteX356" fmla="*/ 3707782 w 7467600"/>
              <a:gd name="connsiteY356" fmla="*/ 5644908 h 6858000"/>
              <a:gd name="connsiteX357" fmla="*/ 3583827 w 7467600"/>
              <a:gd name="connsiteY357" fmla="*/ 6039215 h 6858000"/>
              <a:gd name="connsiteX358" fmla="*/ 3547861 w 7467600"/>
              <a:gd name="connsiteY358" fmla="*/ 6129609 h 6858000"/>
              <a:gd name="connsiteX359" fmla="*/ 3490905 w 7467600"/>
              <a:gd name="connsiteY359" fmla="*/ 6277660 h 6858000"/>
              <a:gd name="connsiteX360" fmla="*/ 3455859 w 7467600"/>
              <a:gd name="connsiteY360" fmla="*/ 6391301 h 6858000"/>
              <a:gd name="connsiteX361" fmla="*/ 3429112 w 7467600"/>
              <a:gd name="connsiteY361" fmla="*/ 6479469 h 6858000"/>
              <a:gd name="connsiteX362" fmla="*/ 3304862 w 7467600"/>
              <a:gd name="connsiteY362" fmla="*/ 6796476 h 6858000"/>
              <a:gd name="connsiteX363" fmla="*/ 3276071 w 7467600"/>
              <a:gd name="connsiteY363" fmla="*/ 6858000 h 6858000"/>
              <a:gd name="connsiteX364" fmla="*/ 3240805 w 7467600"/>
              <a:gd name="connsiteY364" fmla="*/ 6858000 h 6858000"/>
              <a:gd name="connsiteX365" fmla="*/ 3275917 w 7467600"/>
              <a:gd name="connsiteY365" fmla="*/ 6783192 h 6858000"/>
              <a:gd name="connsiteX366" fmla="*/ 3399358 w 7467600"/>
              <a:gd name="connsiteY366" fmla="*/ 6469011 h 6858000"/>
              <a:gd name="connsiteX367" fmla="*/ 3425650 w 7467600"/>
              <a:gd name="connsiteY367" fmla="*/ 6381333 h 6858000"/>
              <a:gd name="connsiteX368" fmla="*/ 3460661 w 7467600"/>
              <a:gd name="connsiteY368" fmla="*/ 6266763 h 6858000"/>
              <a:gd name="connsiteX369" fmla="*/ 3518021 w 7467600"/>
              <a:gd name="connsiteY369" fmla="*/ 6117298 h 6858000"/>
              <a:gd name="connsiteX370" fmla="*/ 3554035 w 7467600"/>
              <a:gd name="connsiteY370" fmla="*/ 6027832 h 6858000"/>
              <a:gd name="connsiteX371" fmla="*/ 3677174 w 7467600"/>
              <a:gd name="connsiteY371" fmla="*/ 5636351 h 6858000"/>
              <a:gd name="connsiteX372" fmla="*/ 3698819 w 7467600"/>
              <a:gd name="connsiteY372" fmla="*/ 5560503 h 6858000"/>
              <a:gd name="connsiteX373" fmla="*/ 3702094 w 7467600"/>
              <a:gd name="connsiteY373" fmla="*/ 5549194 h 6858000"/>
              <a:gd name="connsiteX374" fmla="*/ 3398355 w 7467600"/>
              <a:gd name="connsiteY374" fmla="*/ 6094603 h 6858000"/>
              <a:gd name="connsiteX375" fmla="*/ 3193941 w 7467600"/>
              <a:gd name="connsiteY375" fmla="*/ 6798775 h 6858000"/>
              <a:gd name="connsiteX376" fmla="*/ 3184140 w 7467600"/>
              <a:gd name="connsiteY376" fmla="*/ 6858000 h 6858000"/>
              <a:gd name="connsiteX377" fmla="*/ 3099978 w 7467600"/>
              <a:gd name="connsiteY377" fmla="*/ 6858000 h 6858000"/>
              <a:gd name="connsiteX378" fmla="*/ 3101556 w 7467600"/>
              <a:gd name="connsiteY378" fmla="*/ 6843337 h 6858000"/>
              <a:gd name="connsiteX379" fmla="*/ 3370162 w 7467600"/>
              <a:gd name="connsiteY379" fmla="*/ 5785550 h 6858000"/>
              <a:gd name="connsiteX380" fmla="*/ 3746477 w 7467600"/>
              <a:gd name="connsiteY380" fmla="*/ 5377889 h 6858000"/>
              <a:gd name="connsiteX381" fmla="*/ 3863399 w 7467600"/>
              <a:gd name="connsiteY381" fmla="*/ 5087257 h 6858000"/>
              <a:gd name="connsiteX382" fmla="*/ 3968712 w 7467600"/>
              <a:gd name="connsiteY382" fmla="*/ 4913989 h 6858000"/>
              <a:gd name="connsiteX383" fmla="*/ 2792390 w 7467600"/>
              <a:gd name="connsiteY383" fmla="*/ 5382974 h 6858000"/>
              <a:gd name="connsiteX384" fmla="*/ 2714982 w 7467600"/>
              <a:gd name="connsiteY384" fmla="*/ 5427051 h 6858000"/>
              <a:gd name="connsiteX385" fmla="*/ 2813361 w 7467600"/>
              <a:gd name="connsiteY385" fmla="*/ 6023912 h 6858000"/>
              <a:gd name="connsiteX386" fmla="*/ 2688430 w 7467600"/>
              <a:gd name="connsiteY386" fmla="*/ 6801564 h 6858000"/>
              <a:gd name="connsiteX387" fmla="*/ 2629626 w 7467600"/>
              <a:gd name="connsiteY387" fmla="*/ 6763394 h 6858000"/>
              <a:gd name="connsiteX388" fmla="*/ 2565328 w 7467600"/>
              <a:gd name="connsiteY388" fmla="*/ 5516399 h 6858000"/>
              <a:gd name="connsiteX389" fmla="*/ 1922999 w 7467600"/>
              <a:gd name="connsiteY389" fmla="*/ 5980343 h 6858000"/>
              <a:gd name="connsiteX390" fmla="*/ 1950261 w 7467600"/>
              <a:gd name="connsiteY390" fmla="*/ 6405858 h 6858000"/>
              <a:gd name="connsiteX391" fmla="*/ 2365554 w 7467600"/>
              <a:gd name="connsiteY391" fmla="*/ 6759107 h 6858000"/>
              <a:gd name="connsiteX392" fmla="*/ 2424142 w 7467600"/>
              <a:gd name="connsiteY392" fmla="*/ 6858000 h 6858000"/>
              <a:gd name="connsiteX393" fmla="*/ 2395994 w 7467600"/>
              <a:gd name="connsiteY393" fmla="*/ 6858000 h 6858000"/>
              <a:gd name="connsiteX394" fmla="*/ 2392863 w 7467600"/>
              <a:gd name="connsiteY394" fmla="*/ 6852964 h 6858000"/>
              <a:gd name="connsiteX395" fmla="*/ 2017589 w 7467600"/>
              <a:gd name="connsiteY395" fmla="*/ 6493982 h 6858000"/>
              <a:gd name="connsiteX396" fmla="*/ 2147336 w 7467600"/>
              <a:gd name="connsiteY396" fmla="*/ 6594052 h 6858000"/>
              <a:gd name="connsiteX397" fmla="*/ 2207047 w 7467600"/>
              <a:gd name="connsiteY397" fmla="*/ 6654540 h 6858000"/>
              <a:gd name="connsiteX398" fmla="*/ 2299106 w 7467600"/>
              <a:gd name="connsiteY398" fmla="*/ 6778931 h 6858000"/>
              <a:gd name="connsiteX399" fmla="*/ 2314430 w 7467600"/>
              <a:gd name="connsiteY399" fmla="*/ 6801144 h 6858000"/>
              <a:gd name="connsiteX400" fmla="*/ 2352406 w 7467600"/>
              <a:gd name="connsiteY400" fmla="*/ 6858000 h 6858000"/>
              <a:gd name="connsiteX401" fmla="*/ 2314492 w 7467600"/>
              <a:gd name="connsiteY401" fmla="*/ 6858000 h 6858000"/>
              <a:gd name="connsiteX402" fmla="*/ 2288095 w 7467600"/>
              <a:gd name="connsiteY402" fmla="*/ 6818030 h 6858000"/>
              <a:gd name="connsiteX403" fmla="*/ 2272768 w 7467600"/>
              <a:gd name="connsiteY403" fmla="*/ 6795822 h 6858000"/>
              <a:gd name="connsiteX404" fmla="*/ 2182715 w 7467600"/>
              <a:gd name="connsiteY404" fmla="*/ 6675071 h 6858000"/>
              <a:gd name="connsiteX405" fmla="*/ 2032061 w 7467600"/>
              <a:gd name="connsiteY405" fmla="*/ 6541380 h 6858000"/>
              <a:gd name="connsiteX406" fmla="*/ 2257220 w 7467600"/>
              <a:gd name="connsiteY406" fmla="*/ 6826257 h 6858000"/>
              <a:gd name="connsiteX407" fmla="*/ 2281324 w 7467600"/>
              <a:gd name="connsiteY407" fmla="*/ 6858000 h 6858000"/>
              <a:gd name="connsiteX408" fmla="*/ 2242860 w 7467600"/>
              <a:gd name="connsiteY408" fmla="*/ 6858000 h 6858000"/>
              <a:gd name="connsiteX409" fmla="*/ 2232818 w 7467600"/>
              <a:gd name="connsiteY409" fmla="*/ 6844926 h 6858000"/>
              <a:gd name="connsiteX410" fmla="*/ 1990172 w 7467600"/>
              <a:gd name="connsiteY410" fmla="*/ 6542121 h 6858000"/>
              <a:gd name="connsiteX411" fmla="*/ 2124090 w 7467600"/>
              <a:gd name="connsiteY411" fmla="*/ 6761017 h 6858000"/>
              <a:gd name="connsiteX412" fmla="*/ 2200380 w 7467600"/>
              <a:gd name="connsiteY412" fmla="*/ 6858000 h 6858000"/>
              <a:gd name="connsiteX413" fmla="*/ 2147507 w 7467600"/>
              <a:gd name="connsiteY413" fmla="*/ 6858000 h 6858000"/>
              <a:gd name="connsiteX414" fmla="*/ 2070668 w 7467600"/>
              <a:gd name="connsiteY414" fmla="*/ 6761520 h 6858000"/>
              <a:gd name="connsiteX415" fmla="*/ 1975142 w 7467600"/>
              <a:gd name="connsiteY415" fmla="*/ 6585570 h 6858000"/>
              <a:gd name="connsiteX416" fmla="*/ 2050035 w 7467600"/>
              <a:gd name="connsiteY416" fmla="*/ 6813345 h 6858000"/>
              <a:gd name="connsiteX417" fmla="*/ 2063025 w 7467600"/>
              <a:gd name="connsiteY417" fmla="*/ 6858000 h 6858000"/>
              <a:gd name="connsiteX418" fmla="*/ 2021675 w 7467600"/>
              <a:gd name="connsiteY418" fmla="*/ 6858000 h 6858000"/>
              <a:gd name="connsiteX419" fmla="*/ 2019308 w 7467600"/>
              <a:gd name="connsiteY419" fmla="*/ 6847118 h 6858000"/>
              <a:gd name="connsiteX420" fmla="*/ 1938835 w 7467600"/>
              <a:gd name="connsiteY420" fmla="*/ 6551160 h 6858000"/>
              <a:gd name="connsiteX421" fmla="*/ 1953230 w 7467600"/>
              <a:gd name="connsiteY421" fmla="*/ 6759699 h 6858000"/>
              <a:gd name="connsiteX422" fmla="*/ 1956763 w 7467600"/>
              <a:gd name="connsiteY422" fmla="*/ 6778191 h 6858000"/>
              <a:gd name="connsiteX423" fmla="*/ 1967925 w 7467600"/>
              <a:gd name="connsiteY423" fmla="*/ 6858000 h 6858000"/>
              <a:gd name="connsiteX424" fmla="*/ 1936622 w 7467600"/>
              <a:gd name="connsiteY424" fmla="*/ 6858000 h 6858000"/>
              <a:gd name="connsiteX425" fmla="*/ 1926261 w 7467600"/>
              <a:gd name="connsiteY425" fmla="*/ 6784064 h 6858000"/>
              <a:gd name="connsiteX426" fmla="*/ 1922724 w 7467600"/>
              <a:gd name="connsiteY426" fmla="*/ 6765577 h 6858000"/>
              <a:gd name="connsiteX427" fmla="*/ 1904650 w 7467600"/>
              <a:gd name="connsiteY427" fmla="*/ 6639616 h 6858000"/>
              <a:gd name="connsiteX428" fmla="*/ 1885273 w 7467600"/>
              <a:gd name="connsiteY428" fmla="*/ 6858000 h 6858000"/>
              <a:gd name="connsiteX429" fmla="*/ 1854363 w 7467600"/>
              <a:gd name="connsiteY429" fmla="*/ 6858000 h 6858000"/>
              <a:gd name="connsiteX430" fmla="*/ 1880391 w 7467600"/>
              <a:gd name="connsiteY430" fmla="*/ 6603796 h 6858000"/>
              <a:gd name="connsiteX431" fmla="*/ 1818273 w 7467600"/>
              <a:gd name="connsiteY431" fmla="*/ 6715729 h 6858000"/>
              <a:gd name="connsiteX432" fmla="*/ 1794691 w 7467600"/>
              <a:gd name="connsiteY432" fmla="*/ 6843239 h 6858000"/>
              <a:gd name="connsiteX433" fmla="*/ 1794914 w 7467600"/>
              <a:gd name="connsiteY433" fmla="*/ 6858000 h 6858000"/>
              <a:gd name="connsiteX434" fmla="*/ 1746128 w 7467600"/>
              <a:gd name="connsiteY434" fmla="*/ 6858000 h 6858000"/>
              <a:gd name="connsiteX435" fmla="*/ 1753934 w 7467600"/>
              <a:gd name="connsiteY435" fmla="*/ 6724796 h 6858000"/>
              <a:gd name="connsiteX436" fmla="*/ 1792053 w 7467600"/>
              <a:gd name="connsiteY436" fmla="*/ 6572396 h 6858000"/>
              <a:gd name="connsiteX437" fmla="*/ 1862248 w 7467600"/>
              <a:gd name="connsiteY437" fmla="*/ 6266397 h 6858000"/>
              <a:gd name="connsiteX438" fmla="*/ 1862250 w 7467600"/>
              <a:gd name="connsiteY438" fmla="*/ 6033531 h 6858000"/>
              <a:gd name="connsiteX439" fmla="*/ 1211999 w 7467600"/>
              <a:gd name="connsiteY439" fmla="*/ 6683610 h 6858000"/>
              <a:gd name="connsiteX440" fmla="*/ 1213266 w 7467600"/>
              <a:gd name="connsiteY440" fmla="*/ 6691947 h 6858000"/>
              <a:gd name="connsiteX441" fmla="*/ 1203370 w 7467600"/>
              <a:gd name="connsiteY441" fmla="*/ 6850676 h 6858000"/>
              <a:gd name="connsiteX442" fmla="*/ 1203671 w 7467600"/>
              <a:gd name="connsiteY442" fmla="*/ 6858000 h 6858000"/>
              <a:gd name="connsiteX443" fmla="*/ 1143180 w 7467600"/>
              <a:gd name="connsiteY443" fmla="*/ 6858000 h 6858000"/>
              <a:gd name="connsiteX444" fmla="*/ 1142176 w 7467600"/>
              <a:gd name="connsiteY444" fmla="*/ 6766045 h 6858000"/>
              <a:gd name="connsiteX445" fmla="*/ 1067484 w 7467600"/>
              <a:gd name="connsiteY445" fmla="*/ 6858000 h 6858000"/>
              <a:gd name="connsiteX446" fmla="*/ 953928 w 7467600"/>
              <a:gd name="connsiteY446" fmla="*/ 6858000 h 6858000"/>
              <a:gd name="connsiteX447" fmla="*/ 959715 w 7467600"/>
              <a:gd name="connsiteY447" fmla="*/ 6850185 h 6858000"/>
              <a:gd name="connsiteX448" fmla="*/ 1483788 w 7467600"/>
              <a:gd name="connsiteY448" fmla="*/ 6259174 h 6858000"/>
              <a:gd name="connsiteX449" fmla="*/ 1100671 w 7467600"/>
              <a:gd name="connsiteY449" fmla="*/ 6252137 h 6858000"/>
              <a:gd name="connsiteX450" fmla="*/ 1090144 w 7467600"/>
              <a:gd name="connsiteY450" fmla="*/ 6256748 h 6858000"/>
              <a:gd name="connsiteX451" fmla="*/ 1095872 w 7467600"/>
              <a:gd name="connsiteY451" fmla="*/ 6271892 h 6858000"/>
              <a:gd name="connsiteX452" fmla="*/ 262785 w 7467600"/>
              <a:gd name="connsiteY452" fmla="*/ 6845450 h 6858000"/>
              <a:gd name="connsiteX453" fmla="*/ 209968 w 7467600"/>
              <a:gd name="connsiteY453" fmla="*/ 6770713 h 6858000"/>
              <a:gd name="connsiteX454" fmla="*/ 873460 w 7467600"/>
              <a:gd name="connsiteY454" fmla="*/ 6253768 h 6858000"/>
              <a:gd name="connsiteX455" fmla="*/ 192686 w 7467600"/>
              <a:gd name="connsiteY455" fmla="*/ 5849257 h 6858000"/>
              <a:gd name="connsiteX456" fmla="*/ 4696 w 7467600"/>
              <a:gd name="connsiteY456" fmla="*/ 5697668 h 6858000"/>
              <a:gd name="connsiteX457" fmla="*/ 0 w 7467600"/>
              <a:gd name="connsiteY457" fmla="*/ 5689984 h 6858000"/>
              <a:gd name="connsiteX458" fmla="*/ 0 w 7467600"/>
              <a:gd name="connsiteY458" fmla="*/ 5513472 h 6858000"/>
              <a:gd name="connsiteX459" fmla="*/ 174101 w 7467600"/>
              <a:gd name="connsiteY459" fmla="*/ 5620277 h 6858000"/>
              <a:gd name="connsiteX460" fmla="*/ 891800 w 7467600"/>
              <a:gd name="connsiteY460" fmla="*/ 6036935 h 6858000"/>
              <a:gd name="connsiteX461" fmla="*/ 1072219 w 7467600"/>
              <a:gd name="connsiteY461" fmla="*/ 6169443 h 6858000"/>
              <a:gd name="connsiteX462" fmla="*/ 1074117 w 7467600"/>
              <a:gd name="connsiteY462" fmla="*/ 6170301 h 6858000"/>
              <a:gd name="connsiteX463" fmla="*/ 1083114 w 7467600"/>
              <a:gd name="connsiteY463" fmla="*/ 6174131 h 6858000"/>
              <a:gd name="connsiteX464" fmla="*/ 1543010 w 7467600"/>
              <a:gd name="connsiteY464" fmla="*/ 6191140 h 6858000"/>
              <a:gd name="connsiteX465" fmla="*/ 1551080 w 7467600"/>
              <a:gd name="connsiteY465" fmla="*/ 6195006 h 6858000"/>
              <a:gd name="connsiteX466" fmla="*/ 2345443 w 7467600"/>
              <a:gd name="connsiteY466" fmla="*/ 5549882 h 6858000"/>
              <a:gd name="connsiteX467" fmla="*/ 1721499 w 7467600"/>
              <a:gd name="connsiteY467" fmla="*/ 5599969 h 6858000"/>
              <a:gd name="connsiteX468" fmla="*/ 767716 w 7467600"/>
              <a:gd name="connsiteY468" fmla="*/ 5472768 h 6858000"/>
              <a:gd name="connsiteX469" fmla="*/ 722147 w 7467600"/>
              <a:gd name="connsiteY469" fmla="*/ 5393091 h 6858000"/>
              <a:gd name="connsiteX470" fmla="*/ 1485552 w 7467600"/>
              <a:gd name="connsiteY470" fmla="*/ 5313202 h 6858000"/>
              <a:gd name="connsiteX471" fmla="*/ 2143004 w 7467600"/>
              <a:gd name="connsiteY471" fmla="*/ 5402420 h 6858000"/>
              <a:gd name="connsiteX472" fmla="*/ 1933391 w 7467600"/>
              <a:gd name="connsiteY472" fmla="*/ 5156971 h 6858000"/>
              <a:gd name="connsiteX473" fmla="*/ 1827118 w 7467600"/>
              <a:gd name="connsiteY473" fmla="*/ 4968410 h 6858000"/>
              <a:gd name="connsiteX474" fmla="*/ 1837349 w 7467600"/>
              <a:gd name="connsiteY474" fmla="*/ 4956357 h 6858000"/>
              <a:gd name="connsiteX475" fmla="*/ 2162835 w 7467600"/>
              <a:gd name="connsiteY475" fmla="*/ 5187853 h 6858000"/>
              <a:gd name="connsiteX476" fmla="*/ 2257167 w 7467600"/>
              <a:gd name="connsiteY476" fmla="*/ 5462123 h 6858000"/>
              <a:gd name="connsiteX477" fmla="*/ 2261598 w 7467600"/>
              <a:gd name="connsiteY477" fmla="*/ 5467998 h 6858000"/>
              <a:gd name="connsiteX478" fmla="*/ 2437177 w 7467600"/>
              <a:gd name="connsiteY478" fmla="*/ 5479608 h 6858000"/>
              <a:gd name="connsiteX479" fmla="*/ 2445247 w 7467600"/>
              <a:gd name="connsiteY479" fmla="*/ 5483476 h 6858000"/>
              <a:gd name="connsiteX480" fmla="*/ 2743626 w 7467600"/>
              <a:gd name="connsiteY480" fmla="*/ 5304819 h 6858000"/>
              <a:gd name="connsiteX481" fmla="*/ 3048102 w 7467600"/>
              <a:gd name="connsiteY481" fmla="*/ 5150595 h 6858000"/>
              <a:gd name="connsiteX482" fmla="*/ 1799414 w 7467600"/>
              <a:gd name="connsiteY482" fmla="*/ 4694732 h 6858000"/>
              <a:gd name="connsiteX483" fmla="*/ 1771735 w 7467600"/>
              <a:gd name="connsiteY483" fmla="*/ 4619929 h 6858000"/>
              <a:gd name="connsiteX484" fmla="*/ 3104273 w 7467600"/>
              <a:gd name="connsiteY484" fmla="*/ 5076159 h 6858000"/>
              <a:gd name="connsiteX485" fmla="*/ 3113245 w 7467600"/>
              <a:gd name="connsiteY485" fmla="*/ 5090705 h 6858000"/>
              <a:gd name="connsiteX486" fmla="*/ 3126294 w 7467600"/>
              <a:gd name="connsiteY486" fmla="*/ 5114400 h 6858000"/>
              <a:gd name="connsiteX487" fmla="*/ 3937433 w 7467600"/>
              <a:gd name="connsiteY487" fmla="*/ 4830473 h 6858000"/>
              <a:gd name="connsiteX488" fmla="*/ 3590475 w 7467600"/>
              <a:gd name="connsiteY488" fmla="*/ 4597974 h 6858000"/>
              <a:gd name="connsiteX489" fmla="*/ 3100264 w 7467600"/>
              <a:gd name="connsiteY489" fmla="*/ 4579845 h 6858000"/>
              <a:gd name="connsiteX490" fmla="*/ 2183576 w 7467600"/>
              <a:gd name="connsiteY490" fmla="*/ 4227150 h 6858000"/>
              <a:gd name="connsiteX491" fmla="*/ 2151029 w 7467600"/>
              <a:gd name="connsiteY491" fmla="*/ 4146947 h 6858000"/>
              <a:gd name="connsiteX492" fmla="*/ 3563434 w 7467600"/>
              <a:gd name="connsiteY492" fmla="*/ 4469115 h 6858000"/>
              <a:gd name="connsiteX493" fmla="*/ 3177952 w 7467600"/>
              <a:gd name="connsiteY493" fmla="*/ 3657386 h 6858000"/>
              <a:gd name="connsiteX494" fmla="*/ 3189263 w 7467600"/>
              <a:gd name="connsiteY494" fmla="*/ 3625726 h 6858000"/>
              <a:gd name="connsiteX495" fmla="*/ 3560912 w 7467600"/>
              <a:gd name="connsiteY495" fmla="*/ 4079863 h 6858000"/>
              <a:gd name="connsiteX496" fmla="*/ 3626636 w 7467600"/>
              <a:gd name="connsiteY496" fmla="*/ 4512230 h 6858000"/>
              <a:gd name="connsiteX497" fmla="*/ 3653088 w 7467600"/>
              <a:gd name="connsiteY497" fmla="*/ 4521417 h 6858000"/>
              <a:gd name="connsiteX498" fmla="*/ 3988128 w 7467600"/>
              <a:gd name="connsiteY498" fmla="*/ 4817267 h 6858000"/>
              <a:gd name="connsiteX499" fmla="*/ 4830582 w 7467600"/>
              <a:gd name="connsiteY499" fmla="*/ 4676000 h 6858000"/>
              <a:gd name="connsiteX500" fmla="*/ 4830100 w 7467600"/>
              <a:gd name="connsiteY500" fmla="*/ 4675554 h 6858000"/>
              <a:gd name="connsiteX501" fmla="*/ 4036318 w 7467600"/>
              <a:gd name="connsiteY501" fmla="*/ 4147013 h 6858000"/>
              <a:gd name="connsiteX502" fmla="*/ 3432098 w 7467600"/>
              <a:gd name="connsiteY502" fmla="*/ 3537312 h 6858000"/>
              <a:gd name="connsiteX503" fmla="*/ 3446761 w 7467600"/>
              <a:gd name="connsiteY503" fmla="*/ 3461278 h 6858000"/>
              <a:gd name="connsiteX504" fmla="*/ 4419733 w 7467600"/>
              <a:gd name="connsiteY504" fmla="*/ 3963555 h 6858000"/>
              <a:gd name="connsiteX505" fmla="*/ 4781371 w 7467600"/>
              <a:gd name="connsiteY505" fmla="*/ 4458604 h 6858000"/>
              <a:gd name="connsiteX506" fmla="*/ 4780440 w 7467600"/>
              <a:gd name="connsiteY506" fmla="*/ 4470290 h 6858000"/>
              <a:gd name="connsiteX507" fmla="*/ 4898954 w 7467600"/>
              <a:gd name="connsiteY507" fmla="*/ 4662092 h 6858000"/>
              <a:gd name="connsiteX508" fmla="*/ 4900699 w 7467600"/>
              <a:gd name="connsiteY508" fmla="*/ 4670867 h 6858000"/>
              <a:gd name="connsiteX509" fmla="*/ 5714511 w 7467600"/>
              <a:gd name="connsiteY509" fmla="*/ 4663483 h 6858000"/>
              <a:gd name="connsiteX510" fmla="*/ 5464793 w 7467600"/>
              <a:gd name="connsiteY510" fmla="*/ 4393556 h 6858000"/>
              <a:gd name="connsiteX511" fmla="*/ 5461897 w 7467600"/>
              <a:gd name="connsiteY511" fmla="*/ 4390879 h 6858000"/>
              <a:gd name="connsiteX512" fmla="*/ 4294126 w 7467600"/>
              <a:gd name="connsiteY512" fmla="*/ 3303048 h 6858000"/>
              <a:gd name="connsiteX513" fmla="*/ 4305321 w 7467600"/>
              <a:gd name="connsiteY513" fmla="*/ 3256953 h 6858000"/>
              <a:gd name="connsiteX514" fmla="*/ 4949299 w 7467600"/>
              <a:gd name="connsiteY514" fmla="*/ 3766336 h 6858000"/>
              <a:gd name="connsiteX515" fmla="*/ 5291452 w 7467600"/>
              <a:gd name="connsiteY515" fmla="*/ 4076801 h 6858000"/>
              <a:gd name="connsiteX516" fmla="*/ 5434998 w 7467600"/>
              <a:gd name="connsiteY516" fmla="*/ 4254100 h 6858000"/>
              <a:gd name="connsiteX517" fmla="*/ 5351015 w 7467600"/>
              <a:gd name="connsiteY517" fmla="*/ 3760989 h 6858000"/>
              <a:gd name="connsiteX518" fmla="*/ 5413780 w 7467600"/>
              <a:gd name="connsiteY518" fmla="*/ 2966265 h 6858000"/>
              <a:gd name="connsiteX519" fmla="*/ 5425627 w 7467600"/>
              <a:gd name="connsiteY519" fmla="*/ 2954192 h 6858000"/>
              <a:gd name="connsiteX520" fmla="*/ 6604735 w 7467600"/>
              <a:gd name="connsiteY520" fmla="*/ 2041381 h 6858000"/>
              <a:gd name="connsiteX521" fmla="*/ 7204487 w 7467600"/>
              <a:gd name="connsiteY521" fmla="*/ 2742112 h 6858000"/>
              <a:gd name="connsiteX522" fmla="*/ 7131592 w 7467600"/>
              <a:gd name="connsiteY522" fmla="*/ 2672096 h 6858000"/>
              <a:gd name="connsiteX523" fmla="*/ 6996344 w 7467600"/>
              <a:gd name="connsiteY523" fmla="*/ 2518310 h 6858000"/>
              <a:gd name="connsiteX524" fmla="*/ 6735495 w 7467600"/>
              <a:gd name="connsiteY524" fmla="*/ 2196890 h 6858000"/>
              <a:gd name="connsiteX525" fmla="*/ 6721901 w 7467600"/>
              <a:gd name="connsiteY525" fmla="*/ 2179274 h 6858000"/>
              <a:gd name="connsiteX526" fmla="*/ 6604735 w 7467600"/>
              <a:gd name="connsiteY526" fmla="*/ 2041381 h 6858000"/>
              <a:gd name="connsiteX527" fmla="*/ 6591670 w 7467600"/>
              <a:gd name="connsiteY527" fmla="*/ 1988277 h 6858000"/>
              <a:gd name="connsiteX528" fmla="*/ 6747349 w 7467600"/>
              <a:gd name="connsiteY528" fmla="*/ 2160069 h 6858000"/>
              <a:gd name="connsiteX529" fmla="*/ 6760943 w 7467600"/>
              <a:gd name="connsiteY529" fmla="*/ 2177686 h 6858000"/>
              <a:gd name="connsiteX530" fmla="*/ 7021065 w 7467600"/>
              <a:gd name="connsiteY530" fmla="*/ 2498102 h 6858000"/>
              <a:gd name="connsiteX531" fmla="*/ 7155223 w 7467600"/>
              <a:gd name="connsiteY531" fmla="*/ 2650386 h 6858000"/>
              <a:gd name="connsiteX532" fmla="*/ 7203167 w 7467600"/>
              <a:gd name="connsiteY532" fmla="*/ 2697288 h 6858000"/>
              <a:gd name="connsiteX533" fmla="*/ 6937703 w 7467600"/>
              <a:gd name="connsiteY533" fmla="*/ 2321981 h 6858000"/>
              <a:gd name="connsiteX534" fmla="*/ 6591670 w 7467600"/>
              <a:gd name="connsiteY534" fmla="*/ 1988277 h 6858000"/>
              <a:gd name="connsiteX535" fmla="*/ 5798671 w 7467600"/>
              <a:gd name="connsiteY535" fmla="*/ 1981601 h 6858000"/>
              <a:gd name="connsiteX536" fmla="*/ 5754709 w 7467600"/>
              <a:gd name="connsiteY536" fmla="*/ 2071454 h 6858000"/>
              <a:gd name="connsiteX537" fmla="*/ 5763044 w 7467600"/>
              <a:gd name="connsiteY537" fmla="*/ 2842206 h 6858000"/>
              <a:gd name="connsiteX538" fmla="*/ 5764974 w 7467600"/>
              <a:gd name="connsiteY538" fmla="*/ 2799609 h 6858000"/>
              <a:gd name="connsiteX539" fmla="*/ 5767665 w 7467600"/>
              <a:gd name="connsiteY539" fmla="*/ 2666409 h 6858000"/>
              <a:gd name="connsiteX540" fmla="*/ 5763055 w 7467600"/>
              <a:gd name="connsiteY540" fmla="*/ 2579705 h 6858000"/>
              <a:gd name="connsiteX541" fmla="*/ 5758079 w 7467600"/>
              <a:gd name="connsiteY541" fmla="*/ 2492508 h 6858000"/>
              <a:gd name="connsiteX542" fmla="*/ 5779325 w 7467600"/>
              <a:gd name="connsiteY542" fmla="*/ 2197069 h 6858000"/>
              <a:gd name="connsiteX543" fmla="*/ 5798671 w 7467600"/>
              <a:gd name="connsiteY543" fmla="*/ 1981601 h 6858000"/>
              <a:gd name="connsiteX544" fmla="*/ 5829202 w 7467600"/>
              <a:gd name="connsiteY544" fmla="*/ 1971679 h 6858000"/>
              <a:gd name="connsiteX545" fmla="*/ 5809558 w 7467600"/>
              <a:gd name="connsiteY545" fmla="*/ 2198043 h 6858000"/>
              <a:gd name="connsiteX546" fmla="*/ 5788653 w 7467600"/>
              <a:gd name="connsiteY546" fmla="*/ 2489430 h 6858000"/>
              <a:gd name="connsiteX547" fmla="*/ 5793439 w 7467600"/>
              <a:gd name="connsiteY547" fmla="*/ 2575235 h 6858000"/>
              <a:gd name="connsiteX548" fmla="*/ 5796837 w 7467600"/>
              <a:gd name="connsiteY548" fmla="*/ 2637633 h 6858000"/>
              <a:gd name="connsiteX549" fmla="*/ 5818614 w 7467600"/>
              <a:gd name="connsiteY549" fmla="*/ 2473055 h 6858000"/>
              <a:gd name="connsiteX550" fmla="*/ 5829202 w 7467600"/>
              <a:gd name="connsiteY550" fmla="*/ 1971679 h 6858000"/>
              <a:gd name="connsiteX551" fmla="*/ 5911389 w 7467600"/>
              <a:gd name="connsiteY551" fmla="*/ 1898371 h 6858000"/>
              <a:gd name="connsiteX552" fmla="*/ 6237627 w 7467600"/>
              <a:gd name="connsiteY552" fmla="*/ 2231921 h 6858000"/>
              <a:gd name="connsiteX553" fmla="*/ 5911389 w 7467600"/>
              <a:gd name="connsiteY553" fmla="*/ 1898371 h 6858000"/>
              <a:gd name="connsiteX554" fmla="*/ 6944437 w 7467600"/>
              <a:gd name="connsiteY554" fmla="*/ 1575402 h 6858000"/>
              <a:gd name="connsiteX555" fmla="*/ 6304730 w 7467600"/>
              <a:gd name="connsiteY555" fmla="*/ 1766654 h 6858000"/>
              <a:gd name="connsiteX556" fmla="*/ 6944437 w 7467600"/>
              <a:gd name="connsiteY556" fmla="*/ 1575402 h 6858000"/>
              <a:gd name="connsiteX557" fmla="*/ 7019523 w 7467600"/>
              <a:gd name="connsiteY557" fmla="*/ 1519450 h 6858000"/>
              <a:gd name="connsiteX558" fmla="*/ 6298091 w 7467600"/>
              <a:gd name="connsiteY558" fmla="*/ 1737122 h 6858000"/>
              <a:gd name="connsiteX559" fmla="*/ 7019523 w 7467600"/>
              <a:gd name="connsiteY559" fmla="*/ 1519450 h 6858000"/>
              <a:gd name="connsiteX560" fmla="*/ 2399523 w 7467600"/>
              <a:gd name="connsiteY560" fmla="*/ 1428234 h 6858000"/>
              <a:gd name="connsiteX561" fmla="*/ 2224982 w 7467600"/>
              <a:gd name="connsiteY561" fmla="*/ 1826201 h 6858000"/>
              <a:gd name="connsiteX562" fmla="*/ 2096099 w 7467600"/>
              <a:gd name="connsiteY562" fmla="*/ 2345900 h 6858000"/>
              <a:gd name="connsiteX563" fmla="*/ 2283317 w 7467600"/>
              <a:gd name="connsiteY563" fmla="*/ 1796925 h 6858000"/>
              <a:gd name="connsiteX564" fmla="*/ 2399523 w 7467600"/>
              <a:gd name="connsiteY564" fmla="*/ 1428234 h 6858000"/>
              <a:gd name="connsiteX565" fmla="*/ 2448558 w 7467600"/>
              <a:gd name="connsiteY565" fmla="*/ 1373435 h 6858000"/>
              <a:gd name="connsiteX566" fmla="*/ 2312521 w 7467600"/>
              <a:gd name="connsiteY566" fmla="*/ 1806140 h 6858000"/>
              <a:gd name="connsiteX567" fmla="*/ 2127533 w 7467600"/>
              <a:gd name="connsiteY567" fmla="*/ 2348380 h 6858000"/>
              <a:gd name="connsiteX568" fmla="*/ 2358080 w 7467600"/>
              <a:gd name="connsiteY568" fmla="*/ 1866134 h 6858000"/>
              <a:gd name="connsiteX569" fmla="*/ 2407436 w 7467600"/>
              <a:gd name="connsiteY569" fmla="*/ 1651070 h 6858000"/>
              <a:gd name="connsiteX570" fmla="*/ 2448558 w 7467600"/>
              <a:gd name="connsiteY570" fmla="*/ 1373435 h 6858000"/>
              <a:gd name="connsiteX571" fmla="*/ 278707 w 7467600"/>
              <a:gd name="connsiteY571" fmla="*/ 1352270 h 6858000"/>
              <a:gd name="connsiteX572" fmla="*/ 321570 w 7467600"/>
              <a:gd name="connsiteY572" fmla="*/ 1861610 h 6858000"/>
              <a:gd name="connsiteX573" fmla="*/ 294281 w 7467600"/>
              <a:gd name="connsiteY573" fmla="*/ 1440658 h 6858000"/>
              <a:gd name="connsiteX574" fmla="*/ 278707 w 7467600"/>
              <a:gd name="connsiteY574" fmla="*/ 1352270 h 6858000"/>
              <a:gd name="connsiteX575" fmla="*/ 1423821 w 7467600"/>
              <a:gd name="connsiteY575" fmla="*/ 1351958 h 6858000"/>
              <a:gd name="connsiteX576" fmla="*/ 1638521 w 7467600"/>
              <a:gd name="connsiteY576" fmla="*/ 1908470 h 6858000"/>
              <a:gd name="connsiteX577" fmla="*/ 1754199 w 7467600"/>
              <a:gd name="connsiteY577" fmla="*/ 2149284 h 6858000"/>
              <a:gd name="connsiteX578" fmla="*/ 1908359 w 7467600"/>
              <a:gd name="connsiteY578" fmla="*/ 2364988 h 6858000"/>
              <a:gd name="connsiteX579" fmla="*/ 1647661 w 7467600"/>
              <a:gd name="connsiteY579" fmla="*/ 1825945 h 6858000"/>
              <a:gd name="connsiteX580" fmla="*/ 1423821 w 7467600"/>
              <a:gd name="connsiteY580" fmla="*/ 1351958 h 6858000"/>
              <a:gd name="connsiteX581" fmla="*/ 1431890 w 7467600"/>
              <a:gd name="connsiteY581" fmla="*/ 1306475 h 6858000"/>
              <a:gd name="connsiteX582" fmla="*/ 1507597 w 7467600"/>
              <a:gd name="connsiteY582" fmla="*/ 1446132 h 6858000"/>
              <a:gd name="connsiteX583" fmla="*/ 1674586 w 7467600"/>
              <a:gd name="connsiteY583" fmla="*/ 1813832 h 6858000"/>
              <a:gd name="connsiteX584" fmla="*/ 1815950 w 7467600"/>
              <a:gd name="connsiteY584" fmla="*/ 2128564 h 6858000"/>
              <a:gd name="connsiteX585" fmla="*/ 1984242 w 7467600"/>
              <a:gd name="connsiteY585" fmla="*/ 2430829 h 6858000"/>
              <a:gd name="connsiteX586" fmla="*/ 2014023 w 7467600"/>
              <a:gd name="connsiteY586" fmla="*/ 2450995 h 6858000"/>
              <a:gd name="connsiteX587" fmla="*/ 1747337 w 7467600"/>
              <a:gd name="connsiteY587" fmla="*/ 1855264 h 6858000"/>
              <a:gd name="connsiteX588" fmla="*/ 1533749 w 7467600"/>
              <a:gd name="connsiteY588" fmla="*/ 1478656 h 6858000"/>
              <a:gd name="connsiteX589" fmla="*/ 1431890 w 7467600"/>
              <a:gd name="connsiteY589" fmla="*/ 1306475 h 6858000"/>
              <a:gd name="connsiteX590" fmla="*/ 5052692 w 7467600"/>
              <a:gd name="connsiteY590" fmla="*/ 1292994 h 6858000"/>
              <a:gd name="connsiteX591" fmla="*/ 5200661 w 7467600"/>
              <a:gd name="connsiteY591" fmla="*/ 1635186 h 6858000"/>
              <a:gd name="connsiteX592" fmla="*/ 5297138 w 7467600"/>
              <a:gd name="connsiteY592" fmla="*/ 1906351 h 6858000"/>
              <a:gd name="connsiteX593" fmla="*/ 5052692 w 7467600"/>
              <a:gd name="connsiteY593" fmla="*/ 1292994 h 6858000"/>
              <a:gd name="connsiteX594" fmla="*/ 5009948 w 7467600"/>
              <a:gd name="connsiteY594" fmla="*/ 1273619 h 6858000"/>
              <a:gd name="connsiteX595" fmla="*/ 5121777 w 7467600"/>
              <a:gd name="connsiteY595" fmla="*/ 1654213 h 6858000"/>
              <a:gd name="connsiteX596" fmla="*/ 5293545 w 7467600"/>
              <a:gd name="connsiteY596" fmla="*/ 2072247 h 6858000"/>
              <a:gd name="connsiteX597" fmla="*/ 5294042 w 7467600"/>
              <a:gd name="connsiteY597" fmla="*/ 2065019 h 6858000"/>
              <a:gd name="connsiteX598" fmla="*/ 5171936 w 7467600"/>
              <a:gd name="connsiteY598" fmla="*/ 1647613 h 6858000"/>
              <a:gd name="connsiteX599" fmla="*/ 5009948 w 7467600"/>
              <a:gd name="connsiteY599" fmla="*/ 1273619 h 6858000"/>
              <a:gd name="connsiteX600" fmla="*/ 655236 w 7467600"/>
              <a:gd name="connsiteY600" fmla="*/ 1268632 h 6858000"/>
              <a:gd name="connsiteX601" fmla="*/ 839521 w 7467600"/>
              <a:gd name="connsiteY601" fmla="*/ 1685315 h 6858000"/>
              <a:gd name="connsiteX602" fmla="*/ 1109416 w 7467600"/>
              <a:gd name="connsiteY602" fmla="*/ 2061663 h 6858000"/>
              <a:gd name="connsiteX603" fmla="*/ 1298300 w 7467600"/>
              <a:gd name="connsiteY603" fmla="*/ 2247742 h 6858000"/>
              <a:gd name="connsiteX604" fmla="*/ 1125871 w 7467600"/>
              <a:gd name="connsiteY604" fmla="*/ 1989513 h 6858000"/>
              <a:gd name="connsiteX605" fmla="*/ 981574 w 7467600"/>
              <a:gd name="connsiteY605" fmla="*/ 1783157 h 6858000"/>
              <a:gd name="connsiteX606" fmla="*/ 922198 w 7467600"/>
              <a:gd name="connsiteY606" fmla="*/ 1677437 h 6858000"/>
              <a:gd name="connsiteX607" fmla="*/ 869293 w 7467600"/>
              <a:gd name="connsiteY607" fmla="*/ 1583214 h 6858000"/>
              <a:gd name="connsiteX608" fmla="*/ 751431 w 7467600"/>
              <a:gd name="connsiteY608" fmla="*/ 1405731 h 6858000"/>
              <a:gd name="connsiteX609" fmla="*/ 655236 w 7467600"/>
              <a:gd name="connsiteY609" fmla="*/ 1268632 h 6858000"/>
              <a:gd name="connsiteX610" fmla="*/ 6516292 w 7467600"/>
              <a:gd name="connsiteY610" fmla="*/ 1263064 h 6858000"/>
              <a:gd name="connsiteX611" fmla="*/ 5736320 w 7467600"/>
              <a:gd name="connsiteY611" fmla="*/ 1501803 h 6858000"/>
              <a:gd name="connsiteX612" fmla="*/ 6516292 w 7467600"/>
              <a:gd name="connsiteY612" fmla="*/ 1263064 h 6858000"/>
              <a:gd name="connsiteX613" fmla="*/ 291466 w 7467600"/>
              <a:gd name="connsiteY613" fmla="*/ 1250369 h 6858000"/>
              <a:gd name="connsiteX614" fmla="*/ 323180 w 7467600"/>
              <a:gd name="connsiteY614" fmla="*/ 1435283 h 6858000"/>
              <a:gd name="connsiteX615" fmla="*/ 349381 w 7467600"/>
              <a:gd name="connsiteY615" fmla="*/ 1875041 h 6858000"/>
              <a:gd name="connsiteX616" fmla="*/ 374363 w 7467600"/>
              <a:gd name="connsiteY616" fmla="*/ 1506494 h 6858000"/>
              <a:gd name="connsiteX617" fmla="*/ 302168 w 7467600"/>
              <a:gd name="connsiteY617" fmla="*/ 1274495 h 6858000"/>
              <a:gd name="connsiteX618" fmla="*/ 291466 w 7467600"/>
              <a:gd name="connsiteY618" fmla="*/ 1250369 h 6858000"/>
              <a:gd name="connsiteX619" fmla="*/ 678222 w 7467600"/>
              <a:gd name="connsiteY619" fmla="*/ 1248670 h 6858000"/>
              <a:gd name="connsiteX620" fmla="*/ 775536 w 7467600"/>
              <a:gd name="connsiteY620" fmla="*/ 1388015 h 6858000"/>
              <a:gd name="connsiteX621" fmla="*/ 894529 w 7467600"/>
              <a:gd name="connsiteY621" fmla="*/ 1567739 h 6858000"/>
              <a:gd name="connsiteX622" fmla="*/ 948000 w 7467600"/>
              <a:gd name="connsiteY622" fmla="*/ 1663088 h 6858000"/>
              <a:gd name="connsiteX623" fmla="*/ 1006812 w 7467600"/>
              <a:gd name="connsiteY623" fmla="*/ 1767683 h 6858000"/>
              <a:gd name="connsiteX624" fmla="*/ 1149133 w 7467600"/>
              <a:gd name="connsiteY624" fmla="*/ 1971513 h 6858000"/>
              <a:gd name="connsiteX625" fmla="*/ 1333952 w 7467600"/>
              <a:gd name="connsiteY625" fmla="*/ 2251620 h 6858000"/>
              <a:gd name="connsiteX626" fmla="*/ 1337329 w 7467600"/>
              <a:gd name="connsiteY626" fmla="*/ 2258350 h 6858000"/>
              <a:gd name="connsiteX627" fmla="*/ 1014726 w 7467600"/>
              <a:gd name="connsiteY627" fmla="*/ 1615556 h 6858000"/>
              <a:gd name="connsiteX628" fmla="*/ 678222 w 7467600"/>
              <a:gd name="connsiteY628" fmla="*/ 1248670 h 6858000"/>
              <a:gd name="connsiteX629" fmla="*/ 6691602 w 7467600"/>
              <a:gd name="connsiteY629" fmla="*/ 1140573 h 6858000"/>
              <a:gd name="connsiteX630" fmla="*/ 6571100 w 7467600"/>
              <a:gd name="connsiteY630" fmla="*/ 1183662 h 6858000"/>
              <a:gd name="connsiteX631" fmla="*/ 6241687 w 7467600"/>
              <a:gd name="connsiteY631" fmla="*/ 1257600 h 6858000"/>
              <a:gd name="connsiteX632" fmla="*/ 5693009 w 7467600"/>
              <a:gd name="connsiteY632" fmla="*/ 1478256 h 6858000"/>
              <a:gd name="connsiteX633" fmla="*/ 6548420 w 7467600"/>
              <a:gd name="connsiteY633" fmla="*/ 1214599 h 6858000"/>
              <a:gd name="connsiteX634" fmla="*/ 6605473 w 7467600"/>
              <a:gd name="connsiteY634" fmla="*/ 1184686 h 6858000"/>
              <a:gd name="connsiteX635" fmla="*/ 6691602 w 7467600"/>
              <a:gd name="connsiteY635" fmla="*/ 1140573 h 6858000"/>
              <a:gd name="connsiteX636" fmla="*/ 4002475 w 7467600"/>
              <a:gd name="connsiteY636" fmla="*/ 1037802 h 6858000"/>
              <a:gd name="connsiteX637" fmla="*/ 4000324 w 7467600"/>
              <a:gd name="connsiteY637" fmla="*/ 1039362 h 6858000"/>
              <a:gd name="connsiteX638" fmla="*/ 4002862 w 7467600"/>
              <a:gd name="connsiteY638" fmla="*/ 1042866 h 6858000"/>
              <a:gd name="connsiteX639" fmla="*/ 4002475 w 7467600"/>
              <a:gd name="connsiteY639" fmla="*/ 1037802 h 6858000"/>
              <a:gd name="connsiteX640" fmla="*/ 506322 w 7467600"/>
              <a:gd name="connsiteY640" fmla="*/ 1020997 h 6858000"/>
              <a:gd name="connsiteX641" fmla="*/ 533068 w 7467600"/>
              <a:gd name="connsiteY641" fmla="*/ 1029409 h 6858000"/>
              <a:gd name="connsiteX642" fmla="*/ 1232525 w 7467600"/>
              <a:gd name="connsiteY642" fmla="*/ 1804675 h 6858000"/>
              <a:gd name="connsiteX643" fmla="*/ 1388858 w 7467600"/>
              <a:gd name="connsiteY643" fmla="*/ 2368011 h 6858000"/>
              <a:gd name="connsiteX644" fmla="*/ 1384098 w 7467600"/>
              <a:gd name="connsiteY644" fmla="*/ 2378125 h 6858000"/>
              <a:gd name="connsiteX645" fmla="*/ 1425393 w 7467600"/>
              <a:gd name="connsiteY645" fmla="*/ 2589124 h 6858000"/>
              <a:gd name="connsiteX646" fmla="*/ 1424001 w 7467600"/>
              <a:gd name="connsiteY646" fmla="*/ 2597541 h 6858000"/>
              <a:gd name="connsiteX647" fmla="*/ 2152729 w 7467600"/>
              <a:gd name="connsiteY647" fmla="*/ 2864487 h 6858000"/>
              <a:gd name="connsiteX648" fmla="*/ 2020609 w 7467600"/>
              <a:gd name="connsiteY648" fmla="*/ 2539671 h 6858000"/>
              <a:gd name="connsiteX649" fmla="*/ 2018920 w 7467600"/>
              <a:gd name="connsiteY649" fmla="*/ 2536309 h 6858000"/>
              <a:gd name="connsiteX650" fmla="*/ 1342441 w 7467600"/>
              <a:gd name="connsiteY650" fmla="*/ 1173017 h 6858000"/>
              <a:gd name="connsiteX651" fmla="*/ 1367925 w 7467600"/>
              <a:gd name="connsiteY651" fmla="*/ 1135648 h 6858000"/>
              <a:gd name="connsiteX652" fmla="*/ 1771401 w 7467600"/>
              <a:gd name="connsiteY652" fmla="*/ 1806673 h 6858000"/>
              <a:gd name="connsiteX653" fmla="*/ 1972385 w 7467600"/>
              <a:gd name="connsiteY653" fmla="*/ 2198735 h 6858000"/>
              <a:gd name="connsiteX654" fmla="*/ 2040892 w 7467600"/>
              <a:gd name="connsiteY654" fmla="*/ 2405205 h 6858000"/>
              <a:gd name="connsiteX655" fmla="*/ 2131689 w 7467600"/>
              <a:gd name="connsiteY655" fmla="*/ 1936926 h 6858000"/>
              <a:gd name="connsiteX656" fmla="*/ 2454820 w 7467600"/>
              <a:gd name="connsiteY656" fmla="*/ 1248808 h 6858000"/>
              <a:gd name="connsiteX657" fmla="*/ 2492512 w 7467600"/>
              <a:gd name="connsiteY657" fmla="*/ 1302920 h 6858000"/>
              <a:gd name="connsiteX658" fmla="*/ 2081216 w 7467600"/>
              <a:gd name="connsiteY658" fmla="*/ 2527513 h 6858000"/>
              <a:gd name="connsiteX659" fmla="*/ 2081211 w 7467600"/>
              <a:gd name="connsiteY659" fmla="*/ 2528916 h 6858000"/>
              <a:gd name="connsiteX660" fmla="*/ 2199067 w 7467600"/>
              <a:gd name="connsiteY660" fmla="*/ 2884061 h 6858000"/>
              <a:gd name="connsiteX661" fmla="*/ 3192586 w 7467600"/>
              <a:gd name="connsiteY661" fmla="*/ 3411496 h 6858000"/>
              <a:gd name="connsiteX662" fmla="*/ 3182620 w 7467600"/>
              <a:gd name="connsiteY662" fmla="*/ 3483279 h 6858000"/>
              <a:gd name="connsiteX663" fmla="*/ 2435119 w 7467600"/>
              <a:gd name="connsiteY663" fmla="*/ 3080173 h 6858000"/>
              <a:gd name="connsiteX664" fmla="*/ 2410152 w 7467600"/>
              <a:gd name="connsiteY664" fmla="*/ 3063751 h 6858000"/>
              <a:gd name="connsiteX665" fmla="*/ 2408099 w 7467600"/>
              <a:gd name="connsiteY665" fmla="*/ 3064403 h 6858000"/>
              <a:gd name="connsiteX666" fmla="*/ 2407218 w 7467600"/>
              <a:gd name="connsiteY666" fmla="*/ 3070324 h 6858000"/>
              <a:gd name="connsiteX667" fmla="*/ 2380138 w 7467600"/>
              <a:gd name="connsiteY667" fmla="*/ 3099341 h 6858000"/>
              <a:gd name="connsiteX668" fmla="*/ 1765923 w 7467600"/>
              <a:gd name="connsiteY668" fmla="*/ 3581043 h 6858000"/>
              <a:gd name="connsiteX669" fmla="*/ 1702258 w 7467600"/>
              <a:gd name="connsiteY669" fmla="*/ 3612286 h 6858000"/>
              <a:gd name="connsiteX670" fmla="*/ 1538370 w 7467600"/>
              <a:gd name="connsiteY670" fmla="*/ 3811804 h 6858000"/>
              <a:gd name="connsiteX671" fmla="*/ 542867 w 7467600"/>
              <a:gd name="connsiteY671" fmla="*/ 4944092 h 6858000"/>
              <a:gd name="connsiteX672" fmla="*/ 515800 w 7467600"/>
              <a:gd name="connsiteY672" fmla="*/ 4862180 h 6858000"/>
              <a:gd name="connsiteX673" fmla="*/ 909145 w 7467600"/>
              <a:gd name="connsiteY673" fmla="*/ 4199225 h 6858000"/>
              <a:gd name="connsiteX674" fmla="*/ 1214067 w 7467600"/>
              <a:gd name="connsiteY674" fmla="*/ 3908561 h 6858000"/>
              <a:gd name="connsiteX675" fmla="*/ 640967 w 7467600"/>
              <a:gd name="connsiteY675" fmla="*/ 4105601 h 6858000"/>
              <a:gd name="connsiteX676" fmla="*/ 112563 w 7467600"/>
              <a:gd name="connsiteY676" fmla="*/ 4396952 h 6858000"/>
              <a:gd name="connsiteX677" fmla="*/ 0 w 7467600"/>
              <a:gd name="connsiteY677" fmla="*/ 4466006 h 6858000"/>
              <a:gd name="connsiteX678" fmla="*/ 0 w 7467600"/>
              <a:gd name="connsiteY678" fmla="*/ 4233763 h 6858000"/>
              <a:gd name="connsiteX679" fmla="*/ 36881 w 7467600"/>
              <a:gd name="connsiteY679" fmla="*/ 4200118 h 6858000"/>
              <a:gd name="connsiteX680" fmla="*/ 910534 w 7467600"/>
              <a:gd name="connsiteY680" fmla="*/ 3629753 h 6858000"/>
              <a:gd name="connsiteX681" fmla="*/ 1578717 w 7467600"/>
              <a:gd name="connsiteY681" fmla="*/ 3575982 h 6858000"/>
              <a:gd name="connsiteX682" fmla="*/ 2338780 w 7467600"/>
              <a:gd name="connsiteY682" fmla="*/ 3033725 h 6858000"/>
              <a:gd name="connsiteX683" fmla="*/ 1807991 w 7467600"/>
              <a:gd name="connsiteY683" fmla="*/ 2807184 h 6858000"/>
              <a:gd name="connsiteX684" fmla="*/ 1416358 w 7467600"/>
              <a:gd name="connsiteY684" fmla="*/ 3112571 h 6858000"/>
              <a:gd name="connsiteX685" fmla="*/ 939066 w 7467600"/>
              <a:gd name="connsiteY685" fmla="*/ 3378798 h 6858000"/>
              <a:gd name="connsiteX686" fmla="*/ 115099 w 7467600"/>
              <a:gd name="connsiteY686" fmla="*/ 3607650 h 6858000"/>
              <a:gd name="connsiteX687" fmla="*/ 97284 w 7467600"/>
              <a:gd name="connsiteY687" fmla="*/ 3520393 h 6858000"/>
              <a:gd name="connsiteX688" fmla="*/ 922050 w 7467600"/>
              <a:gd name="connsiteY688" fmla="*/ 3074867 h 6858000"/>
              <a:gd name="connsiteX689" fmla="*/ 1405265 w 7467600"/>
              <a:gd name="connsiteY689" fmla="*/ 3016319 h 6858000"/>
              <a:gd name="connsiteX690" fmla="*/ 1407512 w 7467600"/>
              <a:gd name="connsiteY690" fmla="*/ 3018001 h 6858000"/>
              <a:gd name="connsiteX691" fmla="*/ 1726266 w 7467600"/>
              <a:gd name="connsiteY691" fmla="*/ 2777274 h 6858000"/>
              <a:gd name="connsiteX692" fmla="*/ 625390 w 7467600"/>
              <a:gd name="connsiteY692" fmla="*/ 2514541 h 6858000"/>
              <a:gd name="connsiteX693" fmla="*/ 619799 w 7467600"/>
              <a:gd name="connsiteY693" fmla="*/ 2527180 h 6858000"/>
              <a:gd name="connsiteX694" fmla="*/ 310030 w 7467600"/>
              <a:gd name="connsiteY694" fmla="*/ 2771818 h 6858000"/>
              <a:gd name="connsiteX695" fmla="*/ 173877 w 7467600"/>
              <a:gd name="connsiteY695" fmla="*/ 2937056 h 6858000"/>
              <a:gd name="connsiteX696" fmla="*/ 77889 w 7467600"/>
              <a:gd name="connsiteY696" fmla="*/ 3138440 h 6858000"/>
              <a:gd name="connsiteX697" fmla="*/ 0 w 7467600"/>
              <a:gd name="connsiteY697" fmla="*/ 3271395 h 6858000"/>
              <a:gd name="connsiteX698" fmla="*/ 0 w 7467600"/>
              <a:gd name="connsiteY698" fmla="*/ 3153002 h 6858000"/>
              <a:gd name="connsiteX699" fmla="*/ 2386 w 7467600"/>
              <a:gd name="connsiteY699" fmla="*/ 3149203 h 6858000"/>
              <a:gd name="connsiteX700" fmla="*/ 89753 w 7467600"/>
              <a:gd name="connsiteY700" fmla="*/ 2987702 h 6858000"/>
              <a:gd name="connsiteX701" fmla="*/ 76869 w 7467600"/>
              <a:gd name="connsiteY701" fmla="*/ 3005404 h 6858000"/>
              <a:gd name="connsiteX702" fmla="*/ 32049 w 7467600"/>
              <a:gd name="connsiteY702" fmla="*/ 3065814 h 6858000"/>
              <a:gd name="connsiteX703" fmla="*/ 0 w 7467600"/>
              <a:gd name="connsiteY703" fmla="*/ 3108744 h 6858000"/>
              <a:gd name="connsiteX704" fmla="*/ 0 w 7467600"/>
              <a:gd name="connsiteY704" fmla="*/ 3058059 h 6858000"/>
              <a:gd name="connsiteX705" fmla="*/ 7610 w 7467600"/>
              <a:gd name="connsiteY705" fmla="*/ 3047889 h 6858000"/>
              <a:gd name="connsiteX706" fmla="*/ 52419 w 7467600"/>
              <a:gd name="connsiteY706" fmla="*/ 2987479 h 6858000"/>
              <a:gd name="connsiteX707" fmla="*/ 59142 w 7467600"/>
              <a:gd name="connsiteY707" fmla="*/ 2978488 h 6858000"/>
              <a:gd name="connsiteX708" fmla="*/ 0 w 7467600"/>
              <a:gd name="connsiteY708" fmla="*/ 3015334 h 6858000"/>
              <a:gd name="connsiteX709" fmla="*/ 0 w 7467600"/>
              <a:gd name="connsiteY709" fmla="*/ 2914286 h 6858000"/>
              <a:gd name="connsiteX710" fmla="*/ 36383 w 7467600"/>
              <a:gd name="connsiteY710" fmla="*/ 2901128 h 6858000"/>
              <a:gd name="connsiteX711" fmla="*/ 156329 w 7467600"/>
              <a:gd name="connsiteY711" fmla="*/ 2840533 h 6858000"/>
              <a:gd name="connsiteX712" fmla="*/ 358355 w 7467600"/>
              <a:gd name="connsiteY712" fmla="*/ 2620471 h 6858000"/>
              <a:gd name="connsiteX713" fmla="*/ 510577 w 7467600"/>
              <a:gd name="connsiteY713" fmla="*/ 2501244 h 6858000"/>
              <a:gd name="connsiteX714" fmla="*/ 211967 w 7467600"/>
              <a:gd name="connsiteY714" fmla="*/ 2479171 h 6858000"/>
              <a:gd name="connsiteX715" fmla="*/ 0 w 7467600"/>
              <a:gd name="connsiteY715" fmla="*/ 2476398 h 6858000"/>
              <a:gd name="connsiteX716" fmla="*/ 0 w 7467600"/>
              <a:gd name="connsiteY716" fmla="*/ 2389189 h 6858000"/>
              <a:gd name="connsiteX717" fmla="*/ 103062 w 7467600"/>
              <a:gd name="connsiteY717" fmla="*/ 2389518 h 6858000"/>
              <a:gd name="connsiteX718" fmla="*/ 510734 w 7467600"/>
              <a:gd name="connsiteY718" fmla="*/ 2416201 h 6858000"/>
              <a:gd name="connsiteX719" fmla="*/ 279257 w 7467600"/>
              <a:gd name="connsiteY719" fmla="*/ 2092102 h 6858000"/>
              <a:gd name="connsiteX720" fmla="*/ 65265 w 7467600"/>
              <a:gd name="connsiteY720" fmla="*/ 2006049 h 6858000"/>
              <a:gd name="connsiteX721" fmla="*/ 0 w 7467600"/>
              <a:gd name="connsiteY721" fmla="*/ 1982532 h 6858000"/>
              <a:gd name="connsiteX722" fmla="*/ 0 w 7467600"/>
              <a:gd name="connsiteY722" fmla="*/ 1912789 h 6858000"/>
              <a:gd name="connsiteX723" fmla="*/ 97460 w 7467600"/>
              <a:gd name="connsiteY723" fmla="*/ 1953725 h 6858000"/>
              <a:gd name="connsiteX724" fmla="*/ 221272 w 7467600"/>
              <a:gd name="connsiteY724" fmla="*/ 1980766 h 6858000"/>
              <a:gd name="connsiteX725" fmla="*/ 116765 w 7467600"/>
              <a:gd name="connsiteY725" fmla="*/ 1911033 h 6858000"/>
              <a:gd name="connsiteX726" fmla="*/ 16405 w 7467600"/>
              <a:gd name="connsiteY726" fmla="*/ 1803412 h 6858000"/>
              <a:gd name="connsiteX727" fmla="*/ 0 w 7467600"/>
              <a:gd name="connsiteY727" fmla="*/ 1784777 h 6858000"/>
              <a:gd name="connsiteX728" fmla="*/ 0 w 7467600"/>
              <a:gd name="connsiteY728" fmla="*/ 1740082 h 6858000"/>
              <a:gd name="connsiteX729" fmla="*/ 39394 w 7467600"/>
              <a:gd name="connsiteY729" fmla="*/ 1784856 h 6858000"/>
              <a:gd name="connsiteX730" fmla="*/ 135813 w 7467600"/>
              <a:gd name="connsiteY730" fmla="*/ 1888838 h 6858000"/>
              <a:gd name="connsiteX731" fmla="*/ 242575 w 7467600"/>
              <a:gd name="connsiteY731" fmla="*/ 1958841 h 6858000"/>
              <a:gd name="connsiteX732" fmla="*/ 82197 w 7467600"/>
              <a:gd name="connsiteY732" fmla="*/ 1754826 h 6858000"/>
              <a:gd name="connsiteX733" fmla="*/ 0 w 7467600"/>
              <a:gd name="connsiteY733" fmla="*/ 1679650 h 6858000"/>
              <a:gd name="connsiteX734" fmla="*/ 0 w 7467600"/>
              <a:gd name="connsiteY734" fmla="*/ 1602463 h 6858000"/>
              <a:gd name="connsiteX735" fmla="*/ 84689 w 7467600"/>
              <a:gd name="connsiteY735" fmla="*/ 1677442 h 6858000"/>
              <a:gd name="connsiteX736" fmla="*/ 298437 w 7467600"/>
              <a:gd name="connsiteY736" fmla="*/ 1968019 h 6858000"/>
              <a:gd name="connsiteX737" fmla="*/ 227269 w 7467600"/>
              <a:gd name="connsiteY737" fmla="*/ 1114064 h 6858000"/>
              <a:gd name="connsiteX738" fmla="*/ 248003 w 7467600"/>
              <a:gd name="connsiteY738" fmla="*/ 1089613 h 6858000"/>
              <a:gd name="connsiteX739" fmla="*/ 427020 w 7467600"/>
              <a:gd name="connsiteY739" fmla="*/ 1619803 h 6858000"/>
              <a:gd name="connsiteX740" fmla="*/ 340345 w 7467600"/>
              <a:gd name="connsiteY740" fmla="*/ 2027739 h 6858000"/>
              <a:gd name="connsiteX741" fmla="*/ 360865 w 7467600"/>
              <a:gd name="connsiteY741" fmla="*/ 2044827 h 6858000"/>
              <a:gd name="connsiteX742" fmla="*/ 560414 w 7467600"/>
              <a:gd name="connsiteY742" fmla="*/ 2421457 h 6858000"/>
              <a:gd name="connsiteX743" fmla="*/ 1359703 w 7467600"/>
              <a:gd name="connsiteY743" fmla="*/ 2578554 h 6858000"/>
              <a:gd name="connsiteX744" fmla="*/ 1359422 w 7467600"/>
              <a:gd name="connsiteY744" fmla="*/ 2577994 h 6858000"/>
              <a:gd name="connsiteX745" fmla="*/ 828701 w 7467600"/>
              <a:gd name="connsiteY745" fmla="*/ 1839520 h 6858000"/>
              <a:gd name="connsiteX746" fmla="*/ 494427 w 7467600"/>
              <a:gd name="connsiteY746" fmla="*/ 1092333 h 6858000"/>
              <a:gd name="connsiteX747" fmla="*/ 506322 w 7467600"/>
              <a:gd name="connsiteY747" fmla="*/ 1020997 h 6858000"/>
              <a:gd name="connsiteX748" fmla="*/ 4570198 w 7467600"/>
              <a:gd name="connsiteY748" fmla="*/ 978081 h 6858000"/>
              <a:gd name="connsiteX749" fmla="*/ 4523691 w 7467600"/>
              <a:gd name="connsiteY749" fmla="*/ 1127776 h 6858000"/>
              <a:gd name="connsiteX750" fmla="*/ 4509875 w 7467600"/>
              <a:gd name="connsiteY750" fmla="*/ 1167552 h 6858000"/>
              <a:gd name="connsiteX751" fmla="*/ 4478168 w 7467600"/>
              <a:gd name="connsiteY751" fmla="*/ 1260735 h 6858000"/>
              <a:gd name="connsiteX752" fmla="*/ 4409309 w 7467600"/>
              <a:gd name="connsiteY752" fmla="*/ 1666996 h 6858000"/>
              <a:gd name="connsiteX753" fmla="*/ 4370031 w 7467600"/>
              <a:gd name="connsiteY753" fmla="*/ 1955666 h 6858000"/>
              <a:gd name="connsiteX754" fmla="*/ 4570198 w 7467600"/>
              <a:gd name="connsiteY754" fmla="*/ 978081 h 6858000"/>
              <a:gd name="connsiteX755" fmla="*/ 4557898 w 7467600"/>
              <a:gd name="connsiteY755" fmla="*/ 900011 h 6858000"/>
              <a:gd name="connsiteX756" fmla="*/ 4344840 w 7467600"/>
              <a:gd name="connsiteY756" fmla="*/ 1922038 h 6858000"/>
              <a:gd name="connsiteX757" fmla="*/ 4378710 w 7467600"/>
              <a:gd name="connsiteY757" fmla="*/ 1665516 h 6858000"/>
              <a:gd name="connsiteX758" fmla="*/ 4448798 w 7467600"/>
              <a:gd name="connsiteY758" fmla="*/ 1253024 h 6858000"/>
              <a:gd name="connsiteX759" fmla="*/ 4480315 w 7467600"/>
              <a:gd name="connsiteY759" fmla="*/ 1158454 h 6858000"/>
              <a:gd name="connsiteX760" fmla="*/ 4494133 w 7467600"/>
              <a:gd name="connsiteY760" fmla="*/ 1118676 h 6858000"/>
              <a:gd name="connsiteX761" fmla="*/ 4557898 w 7467600"/>
              <a:gd name="connsiteY761" fmla="*/ 900011 h 6858000"/>
              <a:gd name="connsiteX762" fmla="*/ 5870151 w 7467600"/>
              <a:gd name="connsiteY762" fmla="*/ 898890 h 6858000"/>
              <a:gd name="connsiteX763" fmla="*/ 5861335 w 7467600"/>
              <a:gd name="connsiteY763" fmla="*/ 899177 h 6858000"/>
              <a:gd name="connsiteX764" fmla="*/ 5843702 w 7467600"/>
              <a:gd name="connsiteY764" fmla="*/ 899748 h 6858000"/>
              <a:gd name="connsiteX765" fmla="*/ 5651107 w 7467600"/>
              <a:gd name="connsiteY765" fmla="*/ 920306 h 6858000"/>
              <a:gd name="connsiteX766" fmla="*/ 5459407 w 7467600"/>
              <a:gd name="connsiteY766" fmla="*/ 940975 h 6858000"/>
              <a:gd name="connsiteX767" fmla="*/ 5374846 w 7467600"/>
              <a:gd name="connsiteY767" fmla="*/ 941988 h 6858000"/>
              <a:gd name="connsiteX768" fmla="*/ 5256105 w 7467600"/>
              <a:gd name="connsiteY768" fmla="*/ 945632 h 6858000"/>
              <a:gd name="connsiteX769" fmla="*/ 5107071 w 7467600"/>
              <a:gd name="connsiteY769" fmla="*/ 969720 h 6858000"/>
              <a:gd name="connsiteX770" fmla="*/ 4998681 w 7467600"/>
              <a:gd name="connsiteY770" fmla="*/ 988771 h 6858000"/>
              <a:gd name="connsiteX771" fmla="*/ 5870151 w 7467600"/>
              <a:gd name="connsiteY771" fmla="*/ 898890 h 6858000"/>
              <a:gd name="connsiteX772" fmla="*/ 5504425 w 7467600"/>
              <a:gd name="connsiteY772" fmla="*/ 848067 h 6858000"/>
              <a:gd name="connsiteX773" fmla="*/ 4968849 w 7467600"/>
              <a:gd name="connsiteY773" fmla="*/ 962318 h 6858000"/>
              <a:gd name="connsiteX774" fmla="*/ 5104039 w 7467600"/>
              <a:gd name="connsiteY774" fmla="*/ 940634 h 6858000"/>
              <a:gd name="connsiteX775" fmla="*/ 5256311 w 7467600"/>
              <a:gd name="connsiteY775" fmla="*/ 916490 h 6858000"/>
              <a:gd name="connsiteX776" fmla="*/ 5377381 w 7467600"/>
              <a:gd name="connsiteY776" fmla="*/ 912671 h 6858000"/>
              <a:gd name="connsiteX777" fmla="*/ 5460148 w 7467600"/>
              <a:gd name="connsiteY777" fmla="*/ 911442 h 6858000"/>
              <a:gd name="connsiteX778" fmla="*/ 5648971 w 7467600"/>
              <a:gd name="connsiteY778" fmla="*/ 891331 h 6858000"/>
              <a:gd name="connsiteX779" fmla="*/ 5844807 w 7467600"/>
              <a:gd name="connsiteY779" fmla="*/ 870718 h 6858000"/>
              <a:gd name="connsiteX780" fmla="*/ 5862975 w 7467600"/>
              <a:gd name="connsiteY780" fmla="*/ 869756 h 6858000"/>
              <a:gd name="connsiteX781" fmla="*/ 5920887 w 7467600"/>
              <a:gd name="connsiteY781" fmla="*/ 865929 h 6858000"/>
              <a:gd name="connsiteX782" fmla="*/ 5504425 w 7467600"/>
              <a:gd name="connsiteY782" fmla="*/ 848067 h 6858000"/>
              <a:gd name="connsiteX783" fmla="*/ 3607114 w 7467600"/>
              <a:gd name="connsiteY783" fmla="*/ 467441 h 6858000"/>
              <a:gd name="connsiteX784" fmla="*/ 3296242 w 7467600"/>
              <a:gd name="connsiteY784" fmla="*/ 807991 h 6858000"/>
              <a:gd name="connsiteX785" fmla="*/ 3174674 w 7467600"/>
              <a:gd name="connsiteY785" fmla="*/ 919759 h 6858000"/>
              <a:gd name="connsiteX786" fmla="*/ 3042978 w 7467600"/>
              <a:gd name="connsiteY786" fmla="*/ 1054894 h 6858000"/>
              <a:gd name="connsiteX787" fmla="*/ 2968914 w 7467600"/>
              <a:gd name="connsiteY787" fmla="*/ 1133756 h 6858000"/>
              <a:gd name="connsiteX788" fmla="*/ 3103823 w 7467600"/>
              <a:gd name="connsiteY788" fmla="*/ 1026814 h 6858000"/>
              <a:gd name="connsiteX789" fmla="*/ 3607114 w 7467600"/>
              <a:gd name="connsiteY789" fmla="*/ 467441 h 6858000"/>
              <a:gd name="connsiteX790" fmla="*/ 3744487 w 7467600"/>
              <a:gd name="connsiteY790" fmla="*/ 383136 h 6858000"/>
              <a:gd name="connsiteX791" fmla="*/ 3970213 w 7467600"/>
              <a:gd name="connsiteY791" fmla="*/ 995559 h 6858000"/>
              <a:gd name="connsiteX792" fmla="*/ 3744487 w 7467600"/>
              <a:gd name="connsiteY792" fmla="*/ 383136 h 6858000"/>
              <a:gd name="connsiteX793" fmla="*/ 3624562 w 7467600"/>
              <a:gd name="connsiteY793" fmla="*/ 367041 h 6858000"/>
              <a:gd name="connsiteX794" fmla="*/ 3489712 w 7467600"/>
              <a:gd name="connsiteY794" fmla="*/ 485386 h 6858000"/>
              <a:gd name="connsiteX795" fmla="*/ 3182994 w 7467600"/>
              <a:gd name="connsiteY795" fmla="*/ 828265 h 6858000"/>
              <a:gd name="connsiteX796" fmla="*/ 2892114 w 7467600"/>
              <a:gd name="connsiteY796" fmla="*/ 1172635 h 6858000"/>
              <a:gd name="connsiteX797" fmla="*/ 3021459 w 7467600"/>
              <a:gd name="connsiteY797" fmla="*/ 1035385 h 6858000"/>
              <a:gd name="connsiteX798" fmla="*/ 3153873 w 7467600"/>
              <a:gd name="connsiteY798" fmla="*/ 898971 h 6858000"/>
              <a:gd name="connsiteX799" fmla="*/ 3276511 w 7467600"/>
              <a:gd name="connsiteY799" fmla="*/ 786423 h 6858000"/>
              <a:gd name="connsiteX800" fmla="*/ 3584154 w 7467600"/>
              <a:gd name="connsiteY800" fmla="*/ 448218 h 6858000"/>
              <a:gd name="connsiteX801" fmla="*/ 3624562 w 7467600"/>
              <a:gd name="connsiteY801" fmla="*/ 367041 h 6858000"/>
              <a:gd name="connsiteX802" fmla="*/ 3766672 w 7467600"/>
              <a:gd name="connsiteY802" fmla="*/ 359429 h 6858000"/>
              <a:gd name="connsiteX803" fmla="*/ 3996338 w 7467600"/>
              <a:gd name="connsiteY803" fmla="*/ 968237 h 6858000"/>
              <a:gd name="connsiteX804" fmla="*/ 3766672 w 7467600"/>
              <a:gd name="connsiteY804" fmla="*/ 359429 h 6858000"/>
              <a:gd name="connsiteX805" fmla="*/ 5805386 w 7467600"/>
              <a:gd name="connsiteY805" fmla="*/ 239240 h 6858000"/>
              <a:gd name="connsiteX806" fmla="*/ 5736947 w 7467600"/>
              <a:gd name="connsiteY806" fmla="*/ 261367 h 6858000"/>
              <a:gd name="connsiteX807" fmla="*/ 5427012 w 7467600"/>
              <a:gd name="connsiteY807" fmla="*/ 311272 h 6858000"/>
              <a:gd name="connsiteX808" fmla="*/ 5147818 w 7467600"/>
              <a:gd name="connsiteY808" fmla="*/ 322112 h 6858000"/>
              <a:gd name="connsiteX809" fmla="*/ 5060854 w 7467600"/>
              <a:gd name="connsiteY809" fmla="*/ 311882 h 6858000"/>
              <a:gd name="connsiteX810" fmla="*/ 4945989 w 7467600"/>
              <a:gd name="connsiteY810" fmla="*/ 300516 h 6858000"/>
              <a:gd name="connsiteX811" fmla="*/ 5410479 w 7467600"/>
              <a:gd name="connsiteY811" fmla="*/ 348434 h 6858000"/>
              <a:gd name="connsiteX812" fmla="*/ 5805386 w 7467600"/>
              <a:gd name="connsiteY812" fmla="*/ 239240 h 6858000"/>
              <a:gd name="connsiteX813" fmla="*/ 5905192 w 7467600"/>
              <a:gd name="connsiteY813" fmla="*/ 163079 h 6858000"/>
              <a:gd name="connsiteX814" fmla="*/ 5865655 w 7467600"/>
              <a:gd name="connsiteY814" fmla="*/ 171901 h 6858000"/>
              <a:gd name="connsiteX815" fmla="*/ 5259740 w 7467600"/>
              <a:gd name="connsiteY815" fmla="*/ 257013 h 6858000"/>
              <a:gd name="connsiteX816" fmla="*/ 5208466 w 7467600"/>
              <a:gd name="connsiteY816" fmla="*/ 257550 h 6858000"/>
              <a:gd name="connsiteX817" fmla="*/ 4980204 w 7467600"/>
              <a:gd name="connsiteY817" fmla="*/ 271903 h 6858000"/>
              <a:gd name="connsiteX818" fmla="*/ 5068068 w 7467600"/>
              <a:gd name="connsiteY818" fmla="*/ 282244 h 6858000"/>
              <a:gd name="connsiteX819" fmla="*/ 5153231 w 7467600"/>
              <a:gd name="connsiteY819" fmla="*/ 292240 h 6858000"/>
              <a:gd name="connsiteX820" fmla="*/ 5426491 w 7467600"/>
              <a:gd name="connsiteY820" fmla="*/ 281128 h 6858000"/>
              <a:gd name="connsiteX821" fmla="*/ 5731212 w 7467600"/>
              <a:gd name="connsiteY821" fmla="*/ 231951 h 6858000"/>
              <a:gd name="connsiteX822" fmla="*/ 5905192 w 7467600"/>
              <a:gd name="connsiteY822" fmla="*/ 163079 h 6858000"/>
              <a:gd name="connsiteX823" fmla="*/ 5944437 w 7467600"/>
              <a:gd name="connsiteY823" fmla="*/ 113829 h 6858000"/>
              <a:gd name="connsiteX824" fmla="*/ 5825032 w 7467600"/>
              <a:gd name="connsiteY824" fmla="*/ 146405 h 6858000"/>
              <a:gd name="connsiteX825" fmla="*/ 4955599 w 7467600"/>
              <a:gd name="connsiteY825" fmla="*/ 247008 h 6858000"/>
              <a:gd name="connsiteX826" fmla="*/ 5210104 w 7467600"/>
              <a:gd name="connsiteY826" fmla="*/ 228123 h 6858000"/>
              <a:gd name="connsiteX827" fmla="*/ 5261015 w 7467600"/>
              <a:gd name="connsiteY827" fmla="*/ 227087 h 6858000"/>
              <a:gd name="connsiteX828" fmla="*/ 5861181 w 7467600"/>
              <a:gd name="connsiteY828" fmla="*/ 143093 h 6858000"/>
              <a:gd name="connsiteX829" fmla="*/ 5961252 w 7467600"/>
              <a:gd name="connsiteY829" fmla="*/ 114820 h 6858000"/>
              <a:gd name="connsiteX830" fmla="*/ 5944437 w 7467600"/>
              <a:gd name="connsiteY830" fmla="*/ 113829 h 6858000"/>
              <a:gd name="connsiteX831" fmla="*/ 3882765 w 7467600"/>
              <a:gd name="connsiteY831" fmla="*/ 0 h 6858000"/>
              <a:gd name="connsiteX832" fmla="*/ 3995099 w 7467600"/>
              <a:gd name="connsiteY832" fmla="*/ 0 h 6858000"/>
              <a:gd name="connsiteX833" fmla="*/ 4163818 w 7467600"/>
              <a:gd name="connsiteY833" fmla="*/ 234104 h 6858000"/>
              <a:gd name="connsiteX834" fmla="*/ 4172099 w 7467600"/>
              <a:gd name="connsiteY834" fmla="*/ 234207 h 6858000"/>
              <a:gd name="connsiteX835" fmla="*/ 4784282 w 7467600"/>
              <a:gd name="connsiteY835" fmla="*/ 276561 h 6858000"/>
              <a:gd name="connsiteX836" fmla="*/ 4801687 w 7467600"/>
              <a:gd name="connsiteY836" fmla="*/ 267764 h 6858000"/>
              <a:gd name="connsiteX837" fmla="*/ 6082788 w 7467600"/>
              <a:gd name="connsiteY837" fmla="*/ 64119 h 6858000"/>
              <a:gd name="connsiteX838" fmla="*/ 6099442 w 7467600"/>
              <a:gd name="connsiteY838" fmla="*/ 82568 h 6858000"/>
              <a:gd name="connsiteX839" fmla="*/ 4804137 w 7467600"/>
              <a:gd name="connsiteY839" fmla="*/ 320931 h 6858000"/>
              <a:gd name="connsiteX840" fmla="*/ 4227047 w 7467600"/>
              <a:gd name="connsiteY840" fmla="*/ 313415 h 6858000"/>
              <a:gd name="connsiteX841" fmla="*/ 4346041 w 7467600"/>
              <a:gd name="connsiteY841" fmla="*/ 456086 h 6858000"/>
              <a:gd name="connsiteX842" fmla="*/ 4870967 w 7467600"/>
              <a:gd name="connsiteY842" fmla="*/ 963061 h 6858000"/>
              <a:gd name="connsiteX843" fmla="*/ 4889647 w 7467600"/>
              <a:gd name="connsiteY843" fmla="*/ 957147 h 6858000"/>
              <a:gd name="connsiteX844" fmla="*/ 5422504 w 7467600"/>
              <a:gd name="connsiteY844" fmla="*/ 805191 h 6858000"/>
              <a:gd name="connsiteX845" fmla="*/ 6087656 w 7467600"/>
              <a:gd name="connsiteY845" fmla="*/ 826703 h 6858000"/>
              <a:gd name="connsiteX846" fmla="*/ 6058717 w 7467600"/>
              <a:gd name="connsiteY846" fmla="*/ 865992 h 6858000"/>
              <a:gd name="connsiteX847" fmla="*/ 4974153 w 7467600"/>
              <a:gd name="connsiteY847" fmla="*/ 1045456 h 6858000"/>
              <a:gd name="connsiteX848" fmla="*/ 5627835 w 7467600"/>
              <a:gd name="connsiteY848" fmla="*/ 1472077 h 6858000"/>
              <a:gd name="connsiteX849" fmla="*/ 5629817 w 7467600"/>
              <a:gd name="connsiteY849" fmla="*/ 1471412 h 6858000"/>
              <a:gd name="connsiteX850" fmla="*/ 5634124 w 7467600"/>
              <a:gd name="connsiteY850" fmla="*/ 1470572 h 6858000"/>
              <a:gd name="connsiteX851" fmla="*/ 5755832 w 7467600"/>
              <a:gd name="connsiteY851" fmla="*/ 1383886 h 6858000"/>
              <a:gd name="connsiteX852" fmla="*/ 6014186 w 7467600"/>
              <a:gd name="connsiteY852" fmla="*/ 1279799 h 6858000"/>
              <a:gd name="connsiteX853" fmla="*/ 6901619 w 7467600"/>
              <a:gd name="connsiteY853" fmla="*/ 1047874 h 6858000"/>
              <a:gd name="connsiteX854" fmla="*/ 6931566 w 7467600"/>
              <a:gd name="connsiteY854" fmla="*/ 1062034 h 6858000"/>
              <a:gd name="connsiteX855" fmla="*/ 5790982 w 7467600"/>
              <a:gd name="connsiteY855" fmla="*/ 1561380 h 6858000"/>
              <a:gd name="connsiteX856" fmla="*/ 6188971 w 7467600"/>
              <a:gd name="connsiteY856" fmla="*/ 1755168 h 6858000"/>
              <a:gd name="connsiteX857" fmla="*/ 6202446 w 7467600"/>
              <a:gd name="connsiteY857" fmla="*/ 1752268 h 6858000"/>
              <a:gd name="connsiteX858" fmla="*/ 7179560 w 7467600"/>
              <a:gd name="connsiteY858" fmla="*/ 1467551 h 6858000"/>
              <a:gd name="connsiteX859" fmla="*/ 7158730 w 7467600"/>
              <a:gd name="connsiteY859" fmla="*/ 1507835 h 6858000"/>
              <a:gd name="connsiteX860" fmla="*/ 6326959 w 7467600"/>
              <a:gd name="connsiteY860" fmla="*/ 1817686 h 6858000"/>
              <a:gd name="connsiteX861" fmla="*/ 6537433 w 7467600"/>
              <a:gd name="connsiteY861" fmla="*/ 1907790 h 6858000"/>
              <a:gd name="connsiteX862" fmla="*/ 6550221 w 7467600"/>
              <a:gd name="connsiteY862" fmla="*/ 1910729 h 6858000"/>
              <a:gd name="connsiteX863" fmla="*/ 6964438 w 7467600"/>
              <a:gd name="connsiteY863" fmla="*/ 2209505 h 6858000"/>
              <a:gd name="connsiteX864" fmla="*/ 7367862 w 7467600"/>
              <a:gd name="connsiteY864" fmla="*/ 2806833 h 6858000"/>
              <a:gd name="connsiteX865" fmla="*/ 7364329 w 7467600"/>
              <a:gd name="connsiteY865" fmla="*/ 2826907 h 6858000"/>
              <a:gd name="connsiteX866" fmla="*/ 7290545 w 7467600"/>
              <a:gd name="connsiteY866" fmla="*/ 2850663 h 6858000"/>
              <a:gd name="connsiteX867" fmla="*/ 6472036 w 7467600"/>
              <a:gd name="connsiteY867" fmla="*/ 1959003 h 6858000"/>
              <a:gd name="connsiteX868" fmla="*/ 5792897 w 7467600"/>
              <a:gd name="connsiteY868" fmla="*/ 1647747 h 6858000"/>
              <a:gd name="connsiteX869" fmla="*/ 5842751 w 7467600"/>
              <a:gd name="connsiteY869" fmla="*/ 1816112 h 6858000"/>
              <a:gd name="connsiteX870" fmla="*/ 5847424 w 7467600"/>
              <a:gd name="connsiteY870" fmla="*/ 1815776 h 6858000"/>
              <a:gd name="connsiteX871" fmla="*/ 6399821 w 7467600"/>
              <a:gd name="connsiteY871" fmla="*/ 2344799 h 6858000"/>
              <a:gd name="connsiteX872" fmla="*/ 6323232 w 7467600"/>
              <a:gd name="connsiteY872" fmla="*/ 2389634 h 6858000"/>
              <a:gd name="connsiteX873" fmla="*/ 5942958 w 7467600"/>
              <a:gd name="connsiteY873" fmla="*/ 2077708 h 6858000"/>
              <a:gd name="connsiteX874" fmla="*/ 5921559 w 7467600"/>
              <a:gd name="connsiteY874" fmla="*/ 2378596 h 6858000"/>
              <a:gd name="connsiteX875" fmla="*/ 5817651 w 7467600"/>
              <a:gd name="connsiteY875" fmla="*/ 3023919 h 6858000"/>
              <a:gd name="connsiteX876" fmla="*/ 5729634 w 7467600"/>
              <a:gd name="connsiteY876" fmla="*/ 3051849 h 6858000"/>
              <a:gd name="connsiteX877" fmla="*/ 5611018 w 7467600"/>
              <a:gd name="connsiteY877" fmla="*/ 2316769 h 6858000"/>
              <a:gd name="connsiteX878" fmla="*/ 5687608 w 7467600"/>
              <a:gd name="connsiteY878" fmla="*/ 2039972 h 6858000"/>
              <a:gd name="connsiteX879" fmla="*/ 5657554 w 7467600"/>
              <a:gd name="connsiteY879" fmla="*/ 1576445 h 6858000"/>
              <a:gd name="connsiteX880" fmla="*/ 5150475 w 7467600"/>
              <a:gd name="connsiteY880" fmla="*/ 1274012 h 6858000"/>
              <a:gd name="connsiteX881" fmla="*/ 5349142 w 7467600"/>
              <a:gd name="connsiteY881" fmla="*/ 2204405 h 6858000"/>
              <a:gd name="connsiteX882" fmla="*/ 5262214 w 7467600"/>
              <a:gd name="connsiteY882" fmla="*/ 2233836 h 6858000"/>
              <a:gd name="connsiteX883" fmla="*/ 4981539 w 7467600"/>
              <a:gd name="connsiteY883" fmla="*/ 1542201 h 6858000"/>
              <a:gd name="connsiteX884" fmla="*/ 4958461 w 7467600"/>
              <a:gd name="connsiteY884" fmla="*/ 1136957 h 6858000"/>
              <a:gd name="connsiteX885" fmla="*/ 4655015 w 7467600"/>
              <a:gd name="connsiteY885" fmla="*/ 891426 h 6858000"/>
              <a:gd name="connsiteX886" fmla="*/ 4348002 w 7467600"/>
              <a:gd name="connsiteY886" fmla="*/ 2205895 h 6858000"/>
              <a:gd name="connsiteX887" fmla="*/ 4262250 w 7467600"/>
              <a:gd name="connsiteY887" fmla="*/ 2219972 h 6858000"/>
              <a:gd name="connsiteX888" fmla="*/ 4550611 w 7467600"/>
              <a:gd name="connsiteY888" fmla="*/ 817540 h 6858000"/>
              <a:gd name="connsiteX889" fmla="*/ 4564418 w 7467600"/>
              <a:gd name="connsiteY889" fmla="*/ 808293 h 6858000"/>
              <a:gd name="connsiteX890" fmla="*/ 4266388 w 7467600"/>
              <a:gd name="connsiteY890" fmla="*/ 500083 h 6858000"/>
              <a:gd name="connsiteX891" fmla="*/ 4032842 w 7467600"/>
              <a:gd name="connsiteY891" fmla="*/ 211809 h 6858000"/>
              <a:gd name="connsiteX892" fmla="*/ 3882765 w 7467600"/>
              <a:gd name="connsiteY892" fmla="*/ 0 h 6858000"/>
              <a:gd name="connsiteX893" fmla="*/ 3721337 w 7467600"/>
              <a:gd name="connsiteY893" fmla="*/ 0 h 6858000"/>
              <a:gd name="connsiteX894" fmla="*/ 3797544 w 7467600"/>
              <a:gd name="connsiteY894" fmla="*/ 0 h 6858000"/>
              <a:gd name="connsiteX895" fmla="*/ 3775734 w 7467600"/>
              <a:gd name="connsiteY895" fmla="*/ 95131 h 6858000"/>
              <a:gd name="connsiteX896" fmla="*/ 3724807 w 7467600"/>
              <a:gd name="connsiteY896" fmla="*/ 272257 h 6858000"/>
              <a:gd name="connsiteX897" fmla="*/ 3726844 w 7467600"/>
              <a:gd name="connsiteY897" fmla="*/ 282988 h 6858000"/>
              <a:gd name="connsiteX898" fmla="*/ 3742664 w 7467600"/>
              <a:gd name="connsiteY898" fmla="*/ 279918 h 6858000"/>
              <a:gd name="connsiteX899" fmla="*/ 4103910 w 7467600"/>
              <a:gd name="connsiteY899" fmla="*/ 1161917 h 6858000"/>
              <a:gd name="connsiteX900" fmla="*/ 4020269 w 7467600"/>
              <a:gd name="connsiteY900" fmla="*/ 1200406 h 6858000"/>
              <a:gd name="connsiteX901" fmla="*/ 3674882 w 7467600"/>
              <a:gd name="connsiteY901" fmla="*/ 488524 h 6858000"/>
              <a:gd name="connsiteX902" fmla="*/ 3132682 w 7467600"/>
              <a:gd name="connsiteY902" fmla="*/ 1072284 h 6858000"/>
              <a:gd name="connsiteX903" fmla="*/ 2716346 w 7467600"/>
              <a:gd name="connsiteY903" fmla="*/ 1276376 h 6858000"/>
              <a:gd name="connsiteX904" fmla="*/ 2716772 w 7467600"/>
              <a:gd name="connsiteY904" fmla="*/ 1255462 h 6858000"/>
              <a:gd name="connsiteX905" fmla="*/ 3471096 w 7467600"/>
              <a:gd name="connsiteY905" fmla="*/ 437072 h 6858000"/>
              <a:gd name="connsiteX906" fmla="*/ 3639057 w 7467600"/>
              <a:gd name="connsiteY906" fmla="*/ 286334 h 6858000"/>
              <a:gd name="connsiteX907" fmla="*/ 3640309 w 7467600"/>
              <a:gd name="connsiteY907" fmla="*/ 284664 h 6858000"/>
              <a:gd name="connsiteX908" fmla="*/ 3646022 w 7467600"/>
              <a:gd name="connsiteY908" fmla="*/ 276711 h 6858000"/>
              <a:gd name="connsiteX909" fmla="*/ 3707943 w 7467600"/>
              <a:gd name="connsiteY909" fmla="*/ 65958 h 6858000"/>
              <a:gd name="connsiteX910" fmla="*/ 3721337 w 7467600"/>
              <a:gd name="connsiteY910" fmla="*/ 0 h 6858000"/>
              <a:gd name="connsiteX911" fmla="*/ 2867960 w 7467600"/>
              <a:gd name="connsiteY911" fmla="*/ 0 h 6858000"/>
              <a:gd name="connsiteX912" fmla="*/ 2926351 w 7467600"/>
              <a:gd name="connsiteY912" fmla="*/ 0 h 6858000"/>
              <a:gd name="connsiteX913" fmla="*/ 2902823 w 7467600"/>
              <a:gd name="connsiteY913" fmla="*/ 262929 h 6858000"/>
              <a:gd name="connsiteX914" fmla="*/ 2940663 w 7467600"/>
              <a:gd name="connsiteY914" fmla="*/ 140884 h 6858000"/>
              <a:gd name="connsiteX915" fmla="*/ 2947039 w 7467600"/>
              <a:gd name="connsiteY915" fmla="*/ 122524 h 6858000"/>
              <a:gd name="connsiteX916" fmla="*/ 2984316 w 7467600"/>
              <a:gd name="connsiteY916" fmla="*/ 0 h 6858000"/>
              <a:gd name="connsiteX917" fmla="*/ 3016114 w 7467600"/>
              <a:gd name="connsiteY917" fmla="*/ 0 h 6858000"/>
              <a:gd name="connsiteX918" fmla="*/ 2979949 w 7467600"/>
              <a:gd name="connsiteY918" fmla="*/ 119274 h 6858000"/>
              <a:gd name="connsiteX919" fmla="*/ 3023879 w 7467600"/>
              <a:gd name="connsiteY919" fmla="*/ 0 h 6858000"/>
              <a:gd name="connsiteX920" fmla="*/ 3105400 w 7467600"/>
              <a:gd name="connsiteY920" fmla="*/ 0 h 6858000"/>
              <a:gd name="connsiteX921" fmla="*/ 3094669 w 7467600"/>
              <a:gd name="connsiteY921" fmla="*/ 30308 h 6858000"/>
              <a:gd name="connsiteX922" fmla="*/ 2901945 w 7467600"/>
              <a:gd name="connsiteY922" fmla="*/ 466538 h 6858000"/>
              <a:gd name="connsiteX923" fmla="*/ 2815209 w 7467600"/>
              <a:gd name="connsiteY923" fmla="*/ 497361 h 6858000"/>
              <a:gd name="connsiteX924" fmla="*/ 2844845 w 7467600"/>
              <a:gd name="connsiteY924" fmla="*/ 127638 h 6858000"/>
              <a:gd name="connsiteX925" fmla="*/ 2867960 w 7467600"/>
              <a:gd name="connsiteY925" fmla="*/ 0 h 6858000"/>
              <a:gd name="connsiteX926" fmla="*/ 1057230 w 7467600"/>
              <a:gd name="connsiteY926" fmla="*/ 0 h 6858000"/>
              <a:gd name="connsiteX927" fmla="*/ 1111003 w 7467600"/>
              <a:gd name="connsiteY927" fmla="*/ 0 h 6858000"/>
              <a:gd name="connsiteX928" fmla="*/ 1125553 w 7467600"/>
              <a:gd name="connsiteY928" fmla="*/ 52588 h 6858000"/>
              <a:gd name="connsiteX929" fmla="*/ 1304276 w 7467600"/>
              <a:gd name="connsiteY929" fmla="*/ 476275 h 6858000"/>
              <a:gd name="connsiteX930" fmla="*/ 1492066 w 7467600"/>
              <a:gd name="connsiteY930" fmla="*/ 886333 h 6858000"/>
              <a:gd name="connsiteX931" fmla="*/ 1423698 w 7467600"/>
              <a:gd name="connsiteY931" fmla="*/ 710817 h 6858000"/>
              <a:gd name="connsiteX932" fmla="*/ 1357609 w 7467600"/>
              <a:gd name="connsiteY932" fmla="*/ 532892 h 6858000"/>
              <a:gd name="connsiteX933" fmla="*/ 1309550 w 7467600"/>
              <a:gd name="connsiteY933" fmla="*/ 374031 h 6858000"/>
              <a:gd name="connsiteX934" fmla="*/ 1193673 w 7467600"/>
              <a:gd name="connsiteY934" fmla="*/ 49533 h 6858000"/>
              <a:gd name="connsiteX935" fmla="*/ 1164391 w 7467600"/>
              <a:gd name="connsiteY935" fmla="*/ 0 h 6858000"/>
              <a:gd name="connsiteX936" fmla="*/ 1200666 w 7467600"/>
              <a:gd name="connsiteY936" fmla="*/ 0 h 6858000"/>
              <a:gd name="connsiteX937" fmla="*/ 1223408 w 7467600"/>
              <a:gd name="connsiteY937" fmla="*/ 38996 h 6858000"/>
              <a:gd name="connsiteX938" fmla="*/ 1339635 w 7467600"/>
              <a:gd name="connsiteY938" fmla="*/ 365517 h 6858000"/>
              <a:gd name="connsiteX939" fmla="*/ 1387469 w 7467600"/>
              <a:gd name="connsiteY939" fmla="*/ 523079 h 6858000"/>
              <a:gd name="connsiteX940" fmla="*/ 1452685 w 7467600"/>
              <a:gd name="connsiteY940" fmla="*/ 699806 h 6858000"/>
              <a:gd name="connsiteX941" fmla="*/ 1492092 w 7467600"/>
              <a:gd name="connsiteY941" fmla="*/ 800424 h 6858000"/>
              <a:gd name="connsiteX942" fmla="*/ 1455302 w 7467600"/>
              <a:gd name="connsiteY942" fmla="*/ 632913 h 6858000"/>
              <a:gd name="connsiteX943" fmla="*/ 1222336 w 7467600"/>
              <a:gd name="connsiteY943" fmla="*/ 9480 h 6858000"/>
              <a:gd name="connsiteX944" fmla="*/ 1214634 w 7467600"/>
              <a:gd name="connsiteY944" fmla="*/ 0 h 6858000"/>
              <a:gd name="connsiteX945" fmla="*/ 1289827 w 7467600"/>
              <a:gd name="connsiteY945" fmla="*/ 0 h 6858000"/>
              <a:gd name="connsiteX946" fmla="*/ 1321076 w 7467600"/>
              <a:gd name="connsiteY946" fmla="*/ 59722 h 6858000"/>
              <a:gd name="connsiteX947" fmla="*/ 1512579 w 7467600"/>
              <a:gd name="connsiteY947" fmla="*/ 626441 h 6858000"/>
              <a:gd name="connsiteX948" fmla="*/ 1506076 w 7467600"/>
              <a:gd name="connsiteY948" fmla="*/ 1089289 h 6858000"/>
              <a:gd name="connsiteX949" fmla="*/ 1486346 w 7467600"/>
              <a:gd name="connsiteY949" fmla="*/ 1079919 h 6858000"/>
              <a:gd name="connsiteX950" fmla="*/ 1070511 w 7467600"/>
              <a:gd name="connsiteY950" fmla="*/ 48609 h 6858000"/>
              <a:gd name="connsiteX951" fmla="*/ 1057230 w 7467600"/>
              <a:gd name="connsiteY951" fmla="*/ 0 h 6858000"/>
              <a:gd name="connsiteX952" fmla="*/ 43151 w 7467600"/>
              <a:gd name="connsiteY952" fmla="*/ 0 h 6858000"/>
              <a:gd name="connsiteX953" fmla="*/ 95283 w 7467600"/>
              <a:gd name="connsiteY953" fmla="*/ 0 h 6858000"/>
              <a:gd name="connsiteX954" fmla="*/ 300708 w 7467600"/>
              <a:gd name="connsiteY954" fmla="*/ 154571 h 6858000"/>
              <a:gd name="connsiteX955" fmla="*/ 530414 w 7467600"/>
              <a:gd name="connsiteY955" fmla="*/ 354673 h 6858000"/>
              <a:gd name="connsiteX956" fmla="*/ 333785 w 7467600"/>
              <a:gd name="connsiteY956" fmla="*/ 161564 h 6858000"/>
              <a:gd name="connsiteX957" fmla="*/ 147005 w 7467600"/>
              <a:gd name="connsiteY957" fmla="*/ 0 h 6858000"/>
              <a:gd name="connsiteX958" fmla="*/ 272509 w 7467600"/>
              <a:gd name="connsiteY958" fmla="*/ 0 h 6858000"/>
              <a:gd name="connsiteX959" fmla="*/ 326276 w 7467600"/>
              <a:gd name="connsiteY959" fmla="*/ 45847 h 6858000"/>
              <a:gd name="connsiteX960" fmla="*/ 823759 w 7467600"/>
              <a:gd name="connsiteY960" fmla="*/ 574145 h 6858000"/>
              <a:gd name="connsiteX961" fmla="*/ 811254 w 7467600"/>
              <a:gd name="connsiteY961" fmla="*/ 665546 h 6858000"/>
              <a:gd name="connsiteX962" fmla="*/ 154042 w 7467600"/>
              <a:gd name="connsiteY962" fmla="*/ 261522 h 6858000"/>
              <a:gd name="connsiteX963" fmla="*/ 13550 w 7467600"/>
              <a:gd name="connsiteY963" fmla="*/ 158423 h 6858000"/>
              <a:gd name="connsiteX964" fmla="*/ 0 w 7467600"/>
              <a:gd name="connsiteY964" fmla="*/ 146618 h 6858000"/>
              <a:gd name="connsiteX965" fmla="*/ 0 w 7467600"/>
              <a:gd name="connsiteY965" fmla="*/ 59161 h 6858000"/>
              <a:gd name="connsiteX966" fmla="*/ 45427 w 7467600"/>
              <a:gd name="connsiteY966" fmla="*/ 101078 h 6858000"/>
              <a:gd name="connsiteX967" fmla="*/ 630103 w 7467600"/>
              <a:gd name="connsiteY967" fmla="*/ 485885 h 6858000"/>
              <a:gd name="connsiteX968" fmla="*/ 532040 w 7467600"/>
              <a:gd name="connsiteY968" fmla="*/ 399359 h 6858000"/>
              <a:gd name="connsiteX969" fmla="*/ 517618 w 7467600"/>
              <a:gd name="connsiteY969" fmla="*/ 385726 h 6858000"/>
              <a:gd name="connsiteX970" fmla="*/ 285074 w 7467600"/>
              <a:gd name="connsiteY970" fmla="*/ 182755 h 6858000"/>
              <a:gd name="connsiteX971" fmla="*/ 43151 w 7467600"/>
              <a:gd name="connsiteY971"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7042773 w 7467600"/>
              <a:gd name="connsiteY74" fmla="*/ 5734011 h 6858000"/>
              <a:gd name="connsiteX75" fmla="*/ 7379510 w 7467600"/>
              <a:gd name="connsiteY75" fmla="*/ 5755454 h 6858000"/>
              <a:gd name="connsiteX76" fmla="*/ 7467600 w 7467600"/>
              <a:gd name="connsiteY76" fmla="*/ 5845526 h 6858000"/>
              <a:gd name="connsiteX77" fmla="*/ 7271900 w 7467600"/>
              <a:gd name="connsiteY77" fmla="*/ 5734551 h 6858000"/>
              <a:gd name="connsiteX78" fmla="*/ 7259646 w 7467600"/>
              <a:gd name="connsiteY78" fmla="*/ 5765985 h 6858000"/>
              <a:gd name="connsiteX79" fmla="*/ 7467600 w 7467600"/>
              <a:gd name="connsiteY79" fmla="*/ 6012219 h 6858000"/>
              <a:gd name="connsiteX80" fmla="*/ 7105827 w 7467600"/>
              <a:gd name="connsiteY80" fmla="*/ 5718700 h 6858000"/>
              <a:gd name="connsiteX81" fmla="*/ 7356878 w 7467600"/>
              <a:gd name="connsiteY81" fmla="*/ 5981332 h 6858000"/>
              <a:gd name="connsiteX82" fmla="*/ 7467600 w 7467600"/>
              <a:gd name="connsiteY82" fmla="*/ 6117703 h 6858000"/>
              <a:gd name="connsiteX83" fmla="*/ 7467600 w 7467600"/>
              <a:gd name="connsiteY83" fmla="*/ 6163634 h 6858000"/>
              <a:gd name="connsiteX84" fmla="*/ 7403637 w 7467600"/>
              <a:gd name="connsiteY84" fmla="*/ 6083957 h 6858000"/>
              <a:gd name="connsiteX85" fmla="*/ 7254615 w 7467600"/>
              <a:gd name="connsiteY85" fmla="*/ 5911918 h 6858000"/>
              <a:gd name="connsiteX86" fmla="*/ 7312589 w 7467600"/>
              <a:gd name="connsiteY86" fmla="*/ 5982309 h 6858000"/>
              <a:gd name="connsiteX87" fmla="*/ 7448321 w 7467600"/>
              <a:gd name="connsiteY87" fmla="*/ 6190991 h 6858000"/>
              <a:gd name="connsiteX88" fmla="*/ 7467600 w 7467600"/>
              <a:gd name="connsiteY88" fmla="*/ 6221686 h 6858000"/>
              <a:gd name="connsiteX89" fmla="*/ 7467600 w 7467600"/>
              <a:gd name="connsiteY89" fmla="*/ 6334256 h 6858000"/>
              <a:gd name="connsiteX90" fmla="*/ 7454976 w 7467600"/>
              <a:gd name="connsiteY90" fmla="*/ 6318297 h 6858000"/>
              <a:gd name="connsiteX91" fmla="*/ 7042773 w 7467600"/>
              <a:gd name="connsiteY91" fmla="*/ 5734011 h 6858000"/>
              <a:gd name="connsiteX92" fmla="*/ 1456157 w 7467600"/>
              <a:gd name="connsiteY92" fmla="*/ 5371404 h 6858000"/>
              <a:gd name="connsiteX93" fmla="*/ 1244432 w 7467600"/>
              <a:gd name="connsiteY93" fmla="*/ 5385601 h 6858000"/>
              <a:gd name="connsiteX94" fmla="*/ 973990 w 7467600"/>
              <a:gd name="connsiteY94" fmla="*/ 5424940 h 6858000"/>
              <a:gd name="connsiteX95" fmla="*/ 1103809 w 7467600"/>
              <a:gd name="connsiteY95" fmla="*/ 5433720 h 6858000"/>
              <a:gd name="connsiteX96" fmla="*/ 1123454 w 7467600"/>
              <a:gd name="connsiteY96" fmla="*/ 5435727 h 6858000"/>
              <a:gd name="connsiteX97" fmla="*/ 1737017 w 7467600"/>
              <a:gd name="connsiteY97" fmla="*/ 5452183 h 6858000"/>
              <a:gd name="connsiteX98" fmla="*/ 1824397 w 7467600"/>
              <a:gd name="connsiteY98" fmla="*/ 5447757 h 6858000"/>
              <a:gd name="connsiteX99" fmla="*/ 2070059 w 7467600"/>
              <a:gd name="connsiteY99" fmla="*/ 5441660 h 6858000"/>
              <a:gd name="connsiteX100" fmla="*/ 1456157 w 7467600"/>
              <a:gd name="connsiteY100" fmla="*/ 5371404 h 6858000"/>
              <a:gd name="connsiteX101" fmla="*/ 4988186 w 7467600"/>
              <a:gd name="connsiteY101" fmla="*/ 5216467 h 6858000"/>
              <a:gd name="connsiteX102" fmla="*/ 4777334 w 7467600"/>
              <a:gd name="connsiteY102" fmla="*/ 5406072 h 6858000"/>
              <a:gd name="connsiteX103" fmla="*/ 4718341 w 7467600"/>
              <a:gd name="connsiteY103" fmla="*/ 5468043 h 6858000"/>
              <a:gd name="connsiteX104" fmla="*/ 4604655 w 7467600"/>
              <a:gd name="connsiteY104" fmla="*/ 5583434 h 6858000"/>
              <a:gd name="connsiteX105" fmla="*/ 4565074 w 7467600"/>
              <a:gd name="connsiteY105" fmla="*/ 5618550 h 6858000"/>
              <a:gd name="connsiteX106" fmla="*/ 4988186 w 7467600"/>
              <a:gd name="connsiteY106" fmla="*/ 5216467 h 6858000"/>
              <a:gd name="connsiteX107" fmla="*/ 4978032 w 7467600"/>
              <a:gd name="connsiteY107" fmla="*/ 5183809 h 6858000"/>
              <a:gd name="connsiteX108" fmla="*/ 4463413 w 7467600"/>
              <a:gd name="connsiteY108" fmla="*/ 5615162 h 6858000"/>
              <a:gd name="connsiteX109" fmla="*/ 4358134 w 7467600"/>
              <a:gd name="connsiteY109" fmla="*/ 5742791 h 6858000"/>
              <a:gd name="connsiteX110" fmla="*/ 4376219 w 7467600"/>
              <a:gd name="connsiteY110" fmla="*/ 5729027 h 6858000"/>
              <a:gd name="connsiteX111" fmla="*/ 4582340 w 7467600"/>
              <a:gd name="connsiteY111" fmla="*/ 5561037 h 6858000"/>
              <a:gd name="connsiteX112" fmla="*/ 4694684 w 7467600"/>
              <a:gd name="connsiteY112" fmla="*/ 5447098 h 6858000"/>
              <a:gd name="connsiteX113" fmla="*/ 4754123 w 7467600"/>
              <a:gd name="connsiteY113" fmla="*/ 5384643 h 6858000"/>
              <a:gd name="connsiteX114" fmla="*/ 4978032 w 7467600"/>
              <a:gd name="connsiteY114" fmla="*/ 5183809 h 6858000"/>
              <a:gd name="connsiteX115" fmla="*/ 1903353 w 7467600"/>
              <a:gd name="connsiteY115" fmla="*/ 5044827 h 6858000"/>
              <a:gd name="connsiteX116" fmla="*/ 1936931 w 7467600"/>
              <a:gd name="connsiteY116" fmla="*/ 5093954 h 6858000"/>
              <a:gd name="connsiteX117" fmla="*/ 2195868 w 7467600"/>
              <a:gd name="connsiteY117" fmla="*/ 5396574 h 6858000"/>
              <a:gd name="connsiteX118" fmla="*/ 2088852 w 7467600"/>
              <a:gd name="connsiteY118" fmla="*/ 5166123 h 6858000"/>
              <a:gd name="connsiteX119" fmla="*/ 1958241 w 7467600"/>
              <a:gd name="connsiteY119" fmla="*/ 5067955 h 6858000"/>
              <a:gd name="connsiteX120" fmla="*/ 1903353 w 7467600"/>
              <a:gd name="connsiteY120" fmla="*/ 5044827 h 6858000"/>
              <a:gd name="connsiteX121" fmla="*/ 1979378 w 7467600"/>
              <a:gd name="connsiteY121" fmla="*/ 4769504 h 6858000"/>
              <a:gd name="connsiteX122" fmla="*/ 2882120 w 7467600"/>
              <a:gd name="connsiteY122" fmla="*/ 5064547 h 6858000"/>
              <a:gd name="connsiteX123" fmla="*/ 2793103 w 7467600"/>
              <a:gd name="connsiteY123" fmla="*/ 5039699 h 6858000"/>
              <a:gd name="connsiteX124" fmla="*/ 2770041 w 7467600"/>
              <a:gd name="connsiteY124" fmla="*/ 5033634 h 6858000"/>
              <a:gd name="connsiteX125" fmla="*/ 1979378 w 7467600"/>
              <a:gd name="connsiteY125" fmla="*/ 4769504 h 6858000"/>
              <a:gd name="connsiteX126" fmla="*/ 1927410 w 7467600"/>
              <a:gd name="connsiteY126" fmla="*/ 4716164 h 6858000"/>
              <a:gd name="connsiteX127" fmla="*/ 1959587 w 7467600"/>
              <a:gd name="connsiteY127" fmla="*/ 4728849 h 6858000"/>
              <a:gd name="connsiteX128" fmla="*/ 2777707 w 7467600"/>
              <a:gd name="connsiteY128" fmla="*/ 5003991 h 6858000"/>
              <a:gd name="connsiteX129" fmla="*/ 2800768 w 7467600"/>
              <a:gd name="connsiteY129" fmla="*/ 5010056 h 6858000"/>
              <a:gd name="connsiteX130" fmla="*/ 2879408 w 7467600"/>
              <a:gd name="connsiteY130" fmla="*/ 5031590 h 6858000"/>
              <a:gd name="connsiteX131" fmla="*/ 2862295 w 7467600"/>
              <a:gd name="connsiteY131" fmla="*/ 5022958 h 6858000"/>
              <a:gd name="connsiteX132" fmla="*/ 2813343 w 7467600"/>
              <a:gd name="connsiteY132" fmla="*/ 4998369 h 6858000"/>
              <a:gd name="connsiteX133" fmla="*/ 2646245 w 7467600"/>
              <a:gd name="connsiteY133" fmla="*/ 4930999 h 6858000"/>
              <a:gd name="connsiteX134" fmla="*/ 1999243 w 7467600"/>
              <a:gd name="connsiteY134" fmla="*/ 4730524 h 6858000"/>
              <a:gd name="connsiteX135" fmla="*/ 1979527 w 7467600"/>
              <a:gd name="connsiteY135" fmla="*/ 4726651 h 6858000"/>
              <a:gd name="connsiteX136" fmla="*/ 1927410 w 7467600"/>
              <a:gd name="connsiteY136" fmla="*/ 4716164 h 6858000"/>
              <a:gd name="connsiteX137" fmla="*/ 1997014 w 7467600"/>
              <a:gd name="connsiteY137" fmla="*/ 4698007 h 6858000"/>
              <a:gd name="connsiteX138" fmla="*/ 2005458 w 7467600"/>
              <a:gd name="connsiteY138" fmla="*/ 4699540 h 6858000"/>
              <a:gd name="connsiteX139" fmla="*/ 2657186 w 7467600"/>
              <a:gd name="connsiteY139" fmla="*/ 4901687 h 6858000"/>
              <a:gd name="connsiteX140" fmla="*/ 2826662 w 7467600"/>
              <a:gd name="connsiteY140" fmla="*/ 4970362 h 6858000"/>
              <a:gd name="connsiteX141" fmla="*/ 2876100 w 7467600"/>
              <a:gd name="connsiteY141" fmla="*/ 4995397 h 6858000"/>
              <a:gd name="connsiteX142" fmla="*/ 3042600 w 7467600"/>
              <a:gd name="connsiteY142" fmla="*/ 5059532 h 6858000"/>
              <a:gd name="connsiteX143" fmla="*/ 1997014 w 7467600"/>
              <a:gd name="connsiteY143" fmla="*/ 4698007 h 6858000"/>
              <a:gd name="connsiteX144" fmla="*/ 2305292 w 7467600"/>
              <a:gd name="connsiteY144" fmla="*/ 4219492 h 6858000"/>
              <a:gd name="connsiteX145" fmla="*/ 3360922 w 7467600"/>
              <a:gd name="connsiteY145" fmla="*/ 4529373 h 6858000"/>
              <a:gd name="connsiteX146" fmla="*/ 3492420 w 7467600"/>
              <a:gd name="connsiteY146" fmla="*/ 4510145 h 6858000"/>
              <a:gd name="connsiteX147" fmla="*/ 3364086 w 7467600"/>
              <a:gd name="connsiteY147" fmla="*/ 4480340 h 6858000"/>
              <a:gd name="connsiteX148" fmla="*/ 3225818 w 7467600"/>
              <a:gd name="connsiteY148" fmla="*/ 4411822 h 6858000"/>
              <a:gd name="connsiteX149" fmla="*/ 3129696 w 7467600"/>
              <a:gd name="connsiteY149" fmla="*/ 4360704 h 6858000"/>
              <a:gd name="connsiteX150" fmla="*/ 2814545 w 7467600"/>
              <a:gd name="connsiteY150" fmla="*/ 4282955 h 6858000"/>
              <a:gd name="connsiteX151" fmla="*/ 2305292 w 7467600"/>
              <a:gd name="connsiteY151" fmla="*/ 4219492 h 6858000"/>
              <a:gd name="connsiteX152" fmla="*/ 2626982 w 7467600"/>
              <a:gd name="connsiteY152" fmla="*/ 4206450 h 6858000"/>
              <a:gd name="connsiteX153" fmla="*/ 2490617 w 7467600"/>
              <a:gd name="connsiteY153" fmla="*/ 4206951 h 6858000"/>
              <a:gd name="connsiteX154" fmla="*/ 2819869 w 7467600"/>
              <a:gd name="connsiteY154" fmla="*/ 4252936 h 6858000"/>
              <a:gd name="connsiteX155" fmla="*/ 3143018 w 7467600"/>
              <a:gd name="connsiteY155" fmla="*/ 4332698 h 6858000"/>
              <a:gd name="connsiteX156" fmla="*/ 3241520 w 7467600"/>
              <a:gd name="connsiteY156" fmla="*/ 4385112 h 6858000"/>
              <a:gd name="connsiteX157" fmla="*/ 3374575 w 7467600"/>
              <a:gd name="connsiteY157" fmla="*/ 4451517 h 6858000"/>
              <a:gd name="connsiteX158" fmla="*/ 3505221 w 7467600"/>
              <a:gd name="connsiteY158" fmla="*/ 4480757 h 6858000"/>
              <a:gd name="connsiteX159" fmla="*/ 2626982 w 7467600"/>
              <a:gd name="connsiteY159" fmla="*/ 4206450 h 6858000"/>
              <a:gd name="connsiteX160" fmla="*/ 1310106 w 7467600"/>
              <a:gd name="connsiteY160" fmla="*/ 3943217 h 6858000"/>
              <a:gd name="connsiteX161" fmla="*/ 854994 w 7467600"/>
              <a:gd name="connsiteY161" fmla="*/ 4399136 h 6858000"/>
              <a:gd name="connsiteX162" fmla="*/ 742462 w 7467600"/>
              <a:gd name="connsiteY162" fmla="*/ 4594648 h 6858000"/>
              <a:gd name="connsiteX163" fmla="*/ 820602 w 7467600"/>
              <a:gd name="connsiteY163" fmla="*/ 4485915 h 6858000"/>
              <a:gd name="connsiteX164" fmla="*/ 878295 w 7467600"/>
              <a:gd name="connsiteY164" fmla="*/ 4403594 h 6858000"/>
              <a:gd name="connsiteX165" fmla="*/ 1240607 w 7467600"/>
              <a:gd name="connsiteY165" fmla="*/ 4010401 h 6858000"/>
              <a:gd name="connsiteX166" fmla="*/ 1310106 w 7467600"/>
              <a:gd name="connsiteY166" fmla="*/ 3943217 h 6858000"/>
              <a:gd name="connsiteX167" fmla="*/ 1423113 w 7467600"/>
              <a:gd name="connsiteY167" fmla="*/ 3874565 h 6858000"/>
              <a:gd name="connsiteX168" fmla="*/ 1260565 w 7467600"/>
              <a:gd name="connsiteY168" fmla="*/ 4031982 h 6858000"/>
              <a:gd name="connsiteX169" fmla="*/ 901900 w 7467600"/>
              <a:gd name="connsiteY169" fmla="*/ 4421236 h 6858000"/>
              <a:gd name="connsiteX170" fmla="*/ 845044 w 7467600"/>
              <a:gd name="connsiteY170" fmla="*/ 4502436 h 6858000"/>
              <a:gd name="connsiteX171" fmla="*/ 685926 w 7467600"/>
              <a:gd name="connsiteY171" fmla="*/ 4703069 h 6858000"/>
              <a:gd name="connsiteX172" fmla="*/ 684248 w 7467600"/>
              <a:gd name="connsiteY172" fmla="*/ 4706721 h 6858000"/>
              <a:gd name="connsiteX173" fmla="*/ 1423113 w 7467600"/>
              <a:gd name="connsiteY173" fmla="*/ 3874565 h 6858000"/>
              <a:gd name="connsiteX174" fmla="*/ 3316479 w 7467600"/>
              <a:gd name="connsiteY174" fmla="*/ 3872136 h 6858000"/>
              <a:gd name="connsiteX175" fmla="*/ 3546806 w 7467600"/>
              <a:gd name="connsiteY175" fmla="*/ 4356139 h 6858000"/>
              <a:gd name="connsiteX176" fmla="*/ 3364433 w 7467600"/>
              <a:gd name="connsiteY176" fmla="*/ 3953121 h 6858000"/>
              <a:gd name="connsiteX177" fmla="*/ 3316479 w 7467600"/>
              <a:gd name="connsiteY177" fmla="*/ 3872136 h 6858000"/>
              <a:gd name="connsiteX178" fmla="*/ 3291335 w 7467600"/>
              <a:gd name="connsiteY178" fmla="*/ 3767420 h 6858000"/>
              <a:gd name="connsiteX179" fmla="*/ 3390805 w 7467600"/>
              <a:gd name="connsiteY179" fmla="*/ 3937163 h 6858000"/>
              <a:gd name="connsiteX180" fmla="*/ 3579062 w 7467600"/>
              <a:gd name="connsiteY180" fmla="*/ 4359040 h 6858000"/>
              <a:gd name="connsiteX181" fmla="*/ 3467355 w 7467600"/>
              <a:gd name="connsiteY181" fmla="*/ 3988130 h 6858000"/>
              <a:gd name="connsiteX182" fmla="*/ 3310753 w 7467600"/>
              <a:gd name="connsiteY182" fmla="*/ 3787140 h 6858000"/>
              <a:gd name="connsiteX183" fmla="*/ 3291335 w 7467600"/>
              <a:gd name="connsiteY183" fmla="*/ 3767420 h 6858000"/>
              <a:gd name="connsiteX184" fmla="*/ 1635889 w 7467600"/>
              <a:gd name="connsiteY184" fmla="*/ 3709494 h 6858000"/>
              <a:gd name="connsiteX185" fmla="*/ 1634800 w 7467600"/>
              <a:gd name="connsiteY185" fmla="*/ 3731111 h 6858000"/>
              <a:gd name="connsiteX186" fmla="*/ 1635889 w 7467600"/>
              <a:gd name="connsiteY186" fmla="*/ 3709494 h 6858000"/>
              <a:gd name="connsiteX187" fmla="*/ 1510397 w 7467600"/>
              <a:gd name="connsiteY187" fmla="*/ 3684705 h 6858000"/>
              <a:gd name="connsiteX188" fmla="*/ 1146550 w 7467600"/>
              <a:gd name="connsiteY188" fmla="*/ 3802012 h 6858000"/>
              <a:gd name="connsiteX189" fmla="*/ 698834 w 7467600"/>
              <a:gd name="connsiteY189" fmla="*/ 3952272 h 6858000"/>
              <a:gd name="connsiteX190" fmla="*/ 34256 w 7467600"/>
              <a:gd name="connsiteY190" fmla="*/ 4347603 h 6858000"/>
              <a:gd name="connsiteX191" fmla="*/ 527241 w 7467600"/>
              <a:gd name="connsiteY191" fmla="*/ 4065078 h 6858000"/>
              <a:gd name="connsiteX192" fmla="*/ 1510397 w 7467600"/>
              <a:gd name="connsiteY192" fmla="*/ 3684705 h 6858000"/>
              <a:gd name="connsiteX193" fmla="*/ 1313114 w 7467600"/>
              <a:gd name="connsiteY193" fmla="*/ 3655216 h 6858000"/>
              <a:gd name="connsiteX194" fmla="*/ 1109304 w 7467600"/>
              <a:gd name="connsiteY194" fmla="*/ 3669030 h 6858000"/>
              <a:gd name="connsiteX195" fmla="*/ 8129 w 7467600"/>
              <a:gd name="connsiteY195" fmla="*/ 4330519 h 6858000"/>
              <a:gd name="connsiteX196" fmla="*/ 687572 w 7467600"/>
              <a:gd name="connsiteY196" fmla="*/ 3925629 h 6858000"/>
              <a:gd name="connsiteX197" fmla="*/ 1138365 w 7467600"/>
              <a:gd name="connsiteY197" fmla="*/ 3774515 h 6858000"/>
              <a:gd name="connsiteX198" fmla="*/ 1505579 w 7467600"/>
              <a:gd name="connsiteY198" fmla="*/ 3655526 h 6858000"/>
              <a:gd name="connsiteX199" fmla="*/ 1313114 w 7467600"/>
              <a:gd name="connsiteY199" fmla="*/ 3655216 h 6858000"/>
              <a:gd name="connsiteX200" fmla="*/ 3655073 w 7467600"/>
              <a:gd name="connsiteY200" fmla="*/ 3650884 h 6858000"/>
              <a:gd name="connsiteX201" fmla="*/ 3989938 w 7467600"/>
              <a:gd name="connsiteY201" fmla="*/ 3991685 h 6858000"/>
              <a:gd name="connsiteX202" fmla="*/ 4393907 w 7467600"/>
              <a:gd name="connsiteY202" fmla="*/ 4261258 h 6858000"/>
              <a:gd name="connsiteX203" fmla="*/ 4648051 w 7467600"/>
              <a:gd name="connsiteY203" fmla="*/ 4374051 h 6858000"/>
              <a:gd name="connsiteX204" fmla="*/ 4383389 w 7467600"/>
              <a:gd name="connsiteY204" fmla="*/ 4184369 h 6858000"/>
              <a:gd name="connsiteX205" fmla="*/ 4165508 w 7467600"/>
              <a:gd name="connsiteY205" fmla="*/ 4035196 h 6858000"/>
              <a:gd name="connsiteX206" fmla="*/ 4068162 w 7467600"/>
              <a:gd name="connsiteY206" fmla="*/ 3953394 h 6858000"/>
              <a:gd name="connsiteX207" fmla="*/ 3981416 w 7467600"/>
              <a:gd name="connsiteY207" fmla="*/ 3880482 h 6858000"/>
              <a:gd name="connsiteX208" fmla="*/ 3800147 w 7467600"/>
              <a:gd name="connsiteY208" fmla="*/ 3749872 h 6858000"/>
              <a:gd name="connsiteX209" fmla="*/ 3655073 w 7467600"/>
              <a:gd name="connsiteY209" fmla="*/ 3650884 h 6858000"/>
              <a:gd name="connsiteX210" fmla="*/ 3670252 w 7467600"/>
              <a:gd name="connsiteY210" fmla="*/ 3622798 h 6858000"/>
              <a:gd name="connsiteX211" fmla="*/ 3817258 w 7467600"/>
              <a:gd name="connsiteY211" fmla="*/ 3723577 h 6858000"/>
              <a:gd name="connsiteX212" fmla="*/ 4000461 w 7467600"/>
              <a:gd name="connsiteY212" fmla="*/ 3855966 h 6858000"/>
              <a:gd name="connsiteX213" fmla="*/ 4088180 w 7467600"/>
              <a:gd name="connsiteY213" fmla="*/ 3929774 h 6858000"/>
              <a:gd name="connsiteX214" fmla="*/ 4184555 w 7467600"/>
              <a:gd name="connsiteY214" fmla="*/ 4010683 h 6858000"/>
              <a:gd name="connsiteX215" fmla="*/ 4399563 w 7467600"/>
              <a:gd name="connsiteY215" fmla="*/ 4158106 h 6858000"/>
              <a:gd name="connsiteX216" fmla="*/ 4684469 w 7467600"/>
              <a:gd name="connsiteY216" fmla="*/ 4364680 h 6858000"/>
              <a:gd name="connsiteX217" fmla="*/ 4690271 w 7467600"/>
              <a:gd name="connsiteY217" fmla="*/ 4370034 h 6858000"/>
              <a:gd name="connsiteX218" fmla="*/ 4136093 w 7467600"/>
              <a:gd name="connsiteY218" fmla="*/ 3858466 h 6858000"/>
              <a:gd name="connsiteX219" fmla="*/ 3670252 w 7467600"/>
              <a:gd name="connsiteY219" fmla="*/ 3622798 h 6858000"/>
              <a:gd name="connsiteX220" fmla="*/ 4440129 w 7467600"/>
              <a:gd name="connsiteY220" fmla="*/ 3448571 h 6858000"/>
              <a:gd name="connsiteX221" fmla="*/ 4856525 w 7467600"/>
              <a:gd name="connsiteY221" fmla="*/ 3915351 h 6858000"/>
              <a:gd name="connsiteX222" fmla="*/ 5059055 w 7467600"/>
              <a:gd name="connsiteY222" fmla="*/ 4108918 h 6858000"/>
              <a:gd name="connsiteX223" fmla="*/ 5290070 w 7467600"/>
              <a:gd name="connsiteY223" fmla="*/ 4263619 h 6858000"/>
              <a:gd name="connsiteX224" fmla="*/ 4834991 w 7467600"/>
              <a:gd name="connsiteY224" fmla="*/ 3830985 h 6858000"/>
              <a:gd name="connsiteX225" fmla="*/ 4440129 w 7467600"/>
              <a:gd name="connsiteY225" fmla="*/ 3448571 h 6858000"/>
              <a:gd name="connsiteX226" fmla="*/ 4441737 w 7467600"/>
              <a:gd name="connsiteY226" fmla="*/ 3399734 h 6858000"/>
              <a:gd name="connsiteX227" fmla="*/ 4431236 w 7467600"/>
              <a:gd name="connsiteY227" fmla="*/ 3400954 h 6858000"/>
              <a:gd name="connsiteX228" fmla="*/ 4557150 w 7467600"/>
              <a:gd name="connsiteY228" fmla="*/ 3510023 h 6858000"/>
              <a:gd name="connsiteX229" fmla="*/ 4856936 w 7467600"/>
              <a:gd name="connsiteY229" fmla="*/ 3809146 h 6858000"/>
              <a:gd name="connsiteX230" fmla="*/ 5111996 w 7467600"/>
              <a:gd name="connsiteY230" fmla="*/ 4065759 h 6858000"/>
              <a:gd name="connsiteX231" fmla="*/ 5388878 w 7467600"/>
              <a:gd name="connsiteY231" fmla="*/ 4300185 h 6858000"/>
              <a:gd name="connsiteX232" fmla="*/ 5425556 w 7467600"/>
              <a:gd name="connsiteY232" fmla="*/ 4308967 h 6858000"/>
              <a:gd name="connsiteX233" fmla="*/ 4943646 w 7467600"/>
              <a:gd name="connsiteY233" fmla="*/ 3822916 h 6858000"/>
              <a:gd name="connsiteX234" fmla="*/ 4594837 w 7467600"/>
              <a:gd name="connsiteY234" fmla="*/ 3532274 h 6858000"/>
              <a:gd name="connsiteX235" fmla="*/ 4441737 w 7467600"/>
              <a:gd name="connsiteY235" fmla="*/ 3399734 h 6858000"/>
              <a:gd name="connsiteX236" fmla="*/ 5425834 w 7467600"/>
              <a:gd name="connsiteY236" fmla="*/ 3162785 h 6858000"/>
              <a:gd name="connsiteX237" fmla="*/ 5401644 w 7467600"/>
              <a:gd name="connsiteY237" fmla="*/ 3617847 h 6858000"/>
              <a:gd name="connsiteX238" fmla="*/ 5467256 w 7467600"/>
              <a:gd name="connsiteY238" fmla="*/ 4175494 h 6858000"/>
              <a:gd name="connsiteX239" fmla="*/ 5448069 w 7467600"/>
              <a:gd name="connsiteY239" fmla="*/ 3567554 h 6858000"/>
              <a:gd name="connsiteX240" fmla="*/ 5425834 w 7467600"/>
              <a:gd name="connsiteY240" fmla="*/ 3162785 h 6858000"/>
              <a:gd name="connsiteX241" fmla="*/ 1318687 w 7467600"/>
              <a:gd name="connsiteY241" fmla="*/ 3113840 h 6858000"/>
              <a:gd name="connsiteX242" fmla="*/ 1066793 w 7467600"/>
              <a:gd name="connsiteY242" fmla="*/ 3212171 h 6858000"/>
              <a:gd name="connsiteX243" fmla="*/ 993319 w 7467600"/>
              <a:gd name="connsiteY243" fmla="*/ 3247648 h 6858000"/>
              <a:gd name="connsiteX244" fmla="*/ 853081 w 7467600"/>
              <a:gd name="connsiteY244" fmla="*/ 3312410 h 6858000"/>
              <a:gd name="connsiteX245" fmla="*/ 805957 w 7467600"/>
              <a:gd name="connsiteY245" fmla="*/ 3330443 h 6858000"/>
              <a:gd name="connsiteX246" fmla="*/ 1318687 w 7467600"/>
              <a:gd name="connsiteY246" fmla="*/ 3113840 h 6858000"/>
              <a:gd name="connsiteX247" fmla="*/ 5453702 w 7467600"/>
              <a:gd name="connsiteY247" fmla="*/ 3090882 h 6858000"/>
              <a:gd name="connsiteX248" fmla="*/ 5480135 w 7467600"/>
              <a:gd name="connsiteY248" fmla="*/ 3565802 h 6858000"/>
              <a:gd name="connsiteX249" fmla="*/ 5499023 w 7467600"/>
              <a:gd name="connsiteY249" fmla="*/ 4166310 h 6858000"/>
              <a:gd name="connsiteX250" fmla="*/ 5547022 w 7467600"/>
              <a:gd name="connsiteY250" fmla="*/ 3607838 h 6858000"/>
              <a:gd name="connsiteX251" fmla="*/ 5515964 w 7467600"/>
              <a:gd name="connsiteY251" fmla="*/ 3378541 h 6858000"/>
              <a:gd name="connsiteX252" fmla="*/ 5453702 w 7467600"/>
              <a:gd name="connsiteY252" fmla="*/ 3090882 h 6858000"/>
              <a:gd name="connsiteX253" fmla="*/ 1238695 w 7467600"/>
              <a:gd name="connsiteY253" fmla="*/ 3076820 h 6858000"/>
              <a:gd name="connsiteX254" fmla="*/ 716371 w 7467600"/>
              <a:gd name="connsiteY254" fmla="*/ 3293249 h 6858000"/>
              <a:gd name="connsiteX255" fmla="*/ 579522 w 7467600"/>
              <a:gd name="connsiteY255" fmla="*/ 3371759 h 6858000"/>
              <a:gd name="connsiteX256" fmla="*/ 600288 w 7467600"/>
              <a:gd name="connsiteY256" fmla="*/ 3365555 h 6858000"/>
              <a:gd name="connsiteX257" fmla="*/ 840692 w 7467600"/>
              <a:gd name="connsiteY257" fmla="*/ 3284921 h 6858000"/>
              <a:gd name="connsiteX258" fmla="*/ 979248 w 7467600"/>
              <a:gd name="connsiteY258" fmla="*/ 3221003 h 6858000"/>
              <a:gd name="connsiteX259" fmla="*/ 1053282 w 7467600"/>
              <a:gd name="connsiteY259" fmla="*/ 3185247 h 6858000"/>
              <a:gd name="connsiteX260" fmla="*/ 1320603 w 7467600"/>
              <a:gd name="connsiteY260" fmla="*/ 3081281 h 6858000"/>
              <a:gd name="connsiteX261" fmla="*/ 1238695 w 7467600"/>
              <a:gd name="connsiteY261" fmla="*/ 3076820 h 6858000"/>
              <a:gd name="connsiteX262" fmla="*/ 5425627 w 7467600"/>
              <a:gd name="connsiteY262" fmla="*/ 2954192 h 6858000"/>
              <a:gd name="connsiteX263" fmla="*/ 5470770 w 7467600"/>
              <a:gd name="connsiteY263" fmla="*/ 3005435 h 6858000"/>
              <a:gd name="connsiteX264" fmla="*/ 5519779 w 7467600"/>
              <a:gd name="connsiteY264" fmla="*/ 4359223 h 6858000"/>
              <a:gd name="connsiteX265" fmla="*/ 5520293 w 7467600"/>
              <a:gd name="connsiteY265" fmla="*/ 4360602 h 6858000"/>
              <a:gd name="connsiteX266" fmla="*/ 5767221 w 7467600"/>
              <a:gd name="connsiteY266" fmla="*/ 4665564 h 6858000"/>
              <a:gd name="connsiteX267" fmla="*/ 6937169 w 7467600"/>
              <a:gd name="connsiteY267" fmla="*/ 4815941 h 6858000"/>
              <a:gd name="connsiteX268" fmla="*/ 6953922 w 7467600"/>
              <a:gd name="connsiteY268" fmla="*/ 4890068 h 6858000"/>
              <a:gd name="connsiteX269" fmla="*/ 6071359 w 7467600"/>
              <a:gd name="connsiteY269" fmla="*/ 4770770 h 6858000"/>
              <a:gd name="connsiteX270" fmla="*/ 6038839 w 7467600"/>
              <a:gd name="connsiteY270" fmla="*/ 4764474 h 6858000"/>
              <a:gd name="connsiteX271" fmla="*/ 6038706 w 7467600"/>
              <a:gd name="connsiteY271" fmla="*/ 4763847 h 6858000"/>
              <a:gd name="connsiteX272" fmla="*/ 6037784 w 7467600"/>
              <a:gd name="connsiteY272" fmla="*/ 4764270 h 6858000"/>
              <a:gd name="connsiteX273" fmla="*/ 6038839 w 7467600"/>
              <a:gd name="connsiteY273" fmla="*/ 4764474 h 6858000"/>
              <a:gd name="connsiteX274" fmla="*/ 6040338 w 7467600"/>
              <a:gd name="connsiteY274" fmla="*/ 4771418 h 6858000"/>
              <a:gd name="connsiteX275" fmla="*/ 6024488 w 7467600"/>
              <a:gd name="connsiteY275" fmla="*/ 4809903 h 6858000"/>
              <a:gd name="connsiteX276" fmla="*/ 5599771 w 7467600"/>
              <a:gd name="connsiteY276" fmla="*/ 5509652 h 6858000"/>
              <a:gd name="connsiteX277" fmla="*/ 5548843 w 7467600"/>
              <a:gd name="connsiteY277" fmla="*/ 5563845 h 6858000"/>
              <a:gd name="connsiteX278" fmla="*/ 5940952 w 7467600"/>
              <a:gd name="connsiteY278" fmla="*/ 6250028 h 6858000"/>
              <a:gd name="connsiteX279" fmla="*/ 6043441 w 7467600"/>
              <a:gd name="connsiteY279" fmla="*/ 6665847 h 6858000"/>
              <a:gd name="connsiteX280" fmla="*/ 6093432 w 7467600"/>
              <a:gd name="connsiteY280" fmla="*/ 6858000 h 6858000"/>
              <a:gd name="connsiteX281" fmla="*/ 6034344 w 7467600"/>
              <a:gd name="connsiteY281" fmla="*/ 6858000 h 6858000"/>
              <a:gd name="connsiteX282" fmla="*/ 6026679 w 7467600"/>
              <a:gd name="connsiteY282" fmla="*/ 6836959 h 6858000"/>
              <a:gd name="connsiteX283" fmla="*/ 5800441 w 7467600"/>
              <a:gd name="connsiteY283" fmla="*/ 6335286 h 6858000"/>
              <a:gd name="connsiteX284" fmla="*/ 5526562 w 7467600"/>
              <a:gd name="connsiteY284" fmla="*/ 5705388 h 6858000"/>
              <a:gd name="connsiteX285" fmla="*/ 5519640 w 7467600"/>
              <a:gd name="connsiteY285" fmla="*/ 5683774 h 6858000"/>
              <a:gd name="connsiteX286" fmla="*/ 5844559 w 7467600"/>
              <a:gd name="connsiteY286" fmla="*/ 6553349 h 6858000"/>
              <a:gd name="connsiteX287" fmla="*/ 5975994 w 7467600"/>
              <a:gd name="connsiteY287" fmla="*/ 6858000 h 6858000"/>
              <a:gd name="connsiteX288" fmla="*/ 5898547 w 7467600"/>
              <a:gd name="connsiteY288" fmla="*/ 6858000 h 6858000"/>
              <a:gd name="connsiteX289" fmla="*/ 5682041 w 7467600"/>
              <a:gd name="connsiteY289" fmla="*/ 6355860 h 6858000"/>
              <a:gd name="connsiteX290" fmla="*/ 5461758 w 7467600"/>
              <a:gd name="connsiteY290" fmla="*/ 5820220 h 6858000"/>
              <a:gd name="connsiteX291" fmla="*/ 5237282 w 7467600"/>
              <a:gd name="connsiteY291" fmla="*/ 6579086 h 6858000"/>
              <a:gd name="connsiteX292" fmla="*/ 5115009 w 7467600"/>
              <a:gd name="connsiteY292" fmla="*/ 6858000 h 6858000"/>
              <a:gd name="connsiteX293" fmla="*/ 5028074 w 7467600"/>
              <a:gd name="connsiteY293" fmla="*/ 6858000 h 6858000"/>
              <a:gd name="connsiteX294" fmla="*/ 5079508 w 7467600"/>
              <a:gd name="connsiteY294" fmla="*/ 6749074 h 6858000"/>
              <a:gd name="connsiteX295" fmla="*/ 5371846 w 7467600"/>
              <a:gd name="connsiteY295" fmla="*/ 5924413 h 6858000"/>
              <a:gd name="connsiteX296" fmla="*/ 5270512 w 7467600"/>
              <a:gd name="connsiteY296" fmla="*/ 6138975 h 6858000"/>
              <a:gd name="connsiteX297" fmla="*/ 5062409 w 7467600"/>
              <a:gd name="connsiteY297" fmla="*/ 6653544 h 6858000"/>
              <a:gd name="connsiteX298" fmla="*/ 5036628 w 7467600"/>
              <a:gd name="connsiteY298" fmla="*/ 6754247 h 6858000"/>
              <a:gd name="connsiteX299" fmla="*/ 5009112 w 7467600"/>
              <a:gd name="connsiteY299" fmla="*/ 6858000 h 6858000"/>
              <a:gd name="connsiteX300" fmla="*/ 4976679 w 7467600"/>
              <a:gd name="connsiteY300" fmla="*/ 6858000 h 6858000"/>
              <a:gd name="connsiteX301" fmla="*/ 5006537 w 7467600"/>
              <a:gd name="connsiteY301" fmla="*/ 6747068 h 6858000"/>
              <a:gd name="connsiteX302" fmla="*/ 5032723 w 7467600"/>
              <a:gd name="connsiteY302" fmla="*/ 6644957 h 6858000"/>
              <a:gd name="connsiteX303" fmla="*/ 5242949 w 7467600"/>
              <a:gd name="connsiteY303" fmla="*/ 6125175 h 6858000"/>
              <a:gd name="connsiteX304" fmla="*/ 5286321 w 7467600"/>
              <a:gd name="connsiteY304" fmla="*/ 6033555 h 6858000"/>
              <a:gd name="connsiteX305" fmla="*/ 5008210 w 7467600"/>
              <a:gd name="connsiteY305" fmla="*/ 6649194 h 6858000"/>
              <a:gd name="connsiteX306" fmla="*/ 4986321 w 7467600"/>
              <a:gd name="connsiteY306" fmla="*/ 6765687 h 6858000"/>
              <a:gd name="connsiteX307" fmla="*/ 4973474 w 7467600"/>
              <a:gd name="connsiteY307" fmla="*/ 6858000 h 6858000"/>
              <a:gd name="connsiteX308" fmla="*/ 4907178 w 7467600"/>
              <a:gd name="connsiteY308" fmla="*/ 6858000 h 6858000"/>
              <a:gd name="connsiteX309" fmla="*/ 4910810 w 7467600"/>
              <a:gd name="connsiteY309" fmla="*/ 6829660 h 6858000"/>
              <a:gd name="connsiteX310" fmla="*/ 4987461 w 7467600"/>
              <a:gd name="connsiteY310" fmla="*/ 6432994 h 6858000"/>
              <a:gd name="connsiteX311" fmla="*/ 5179262 w 7467600"/>
              <a:gd name="connsiteY311" fmla="*/ 6035044 h 6858000"/>
              <a:gd name="connsiteX312" fmla="*/ 4689678 w 7467600"/>
              <a:gd name="connsiteY312" fmla="*/ 6440241 h 6858000"/>
              <a:gd name="connsiteX313" fmla="*/ 4477543 w 7467600"/>
              <a:gd name="connsiteY313" fmla="*/ 6674836 h 6858000"/>
              <a:gd name="connsiteX314" fmla="*/ 4329957 w 7467600"/>
              <a:gd name="connsiteY314" fmla="*/ 6858000 h 6858000"/>
              <a:gd name="connsiteX315" fmla="*/ 4218595 w 7467600"/>
              <a:gd name="connsiteY315" fmla="*/ 6858000 h 6858000"/>
              <a:gd name="connsiteX316" fmla="*/ 4368888 w 7467600"/>
              <a:gd name="connsiteY316" fmla="*/ 6668412 h 6858000"/>
              <a:gd name="connsiteX317" fmla="*/ 4563091 w 7467600"/>
              <a:gd name="connsiteY317" fmla="*/ 6442508 h 6858000"/>
              <a:gd name="connsiteX318" fmla="*/ 5387324 w 7467600"/>
              <a:gd name="connsiteY318" fmla="*/ 5705830 h 6858000"/>
              <a:gd name="connsiteX319" fmla="*/ 5073620 w 7467600"/>
              <a:gd name="connsiteY319" fmla="*/ 5955437 h 6858000"/>
              <a:gd name="connsiteX320" fmla="*/ 4689789 w 7467600"/>
              <a:gd name="connsiteY320" fmla="*/ 6268382 h 6858000"/>
              <a:gd name="connsiteX321" fmla="*/ 4418722 w 7467600"/>
              <a:gd name="connsiteY321" fmla="*/ 6570886 h 6858000"/>
              <a:gd name="connsiteX322" fmla="*/ 4214944 w 7467600"/>
              <a:gd name="connsiteY322" fmla="*/ 6858000 h 6858000"/>
              <a:gd name="connsiteX323" fmla="*/ 4177898 w 7467600"/>
              <a:gd name="connsiteY323" fmla="*/ 6858000 h 6858000"/>
              <a:gd name="connsiteX324" fmla="*/ 4391597 w 7467600"/>
              <a:gd name="connsiteY324" fmla="*/ 6556370 h 6858000"/>
              <a:gd name="connsiteX325" fmla="*/ 4668889 w 7467600"/>
              <a:gd name="connsiteY325" fmla="*/ 6246399 h 6858000"/>
              <a:gd name="connsiteX326" fmla="*/ 5055427 w 7467600"/>
              <a:gd name="connsiteY326" fmla="*/ 5931476 h 6858000"/>
              <a:gd name="connsiteX327" fmla="*/ 5371814 w 7467600"/>
              <a:gd name="connsiteY327" fmla="*/ 5678975 h 6858000"/>
              <a:gd name="connsiteX328" fmla="*/ 4987918 w 7467600"/>
              <a:gd name="connsiteY328" fmla="*/ 5838701 h 6858000"/>
              <a:gd name="connsiteX329" fmla="*/ 4317146 w 7467600"/>
              <a:gd name="connsiteY329" fmla="*/ 6587716 h 6858000"/>
              <a:gd name="connsiteX330" fmla="*/ 4171627 w 7467600"/>
              <a:gd name="connsiteY330" fmla="*/ 6858000 h 6858000"/>
              <a:gd name="connsiteX331" fmla="*/ 4081585 w 7467600"/>
              <a:gd name="connsiteY331" fmla="*/ 6858000 h 6858000"/>
              <a:gd name="connsiteX332" fmla="*/ 4238603 w 7467600"/>
              <a:gd name="connsiteY332" fmla="*/ 6559341 h 6858000"/>
              <a:gd name="connsiteX333" fmla="*/ 4778333 w 7467600"/>
              <a:gd name="connsiteY333" fmla="*/ 5873626 h 6858000"/>
              <a:gd name="connsiteX334" fmla="*/ 5414185 w 7467600"/>
              <a:gd name="connsiteY334" fmla="*/ 5573882 h 6858000"/>
              <a:gd name="connsiteX335" fmla="*/ 5959648 w 7467600"/>
              <a:gd name="connsiteY335" fmla="*/ 4760797 h 6858000"/>
              <a:gd name="connsiteX336" fmla="*/ 5355019 w 7467600"/>
              <a:gd name="connsiteY336" fmla="*/ 4734672 h 6858000"/>
              <a:gd name="connsiteX337" fmla="*/ 5083565 w 7467600"/>
              <a:gd name="connsiteY337" fmla="*/ 5179121 h 6858000"/>
              <a:gd name="connsiteX338" fmla="*/ 4713577 w 7467600"/>
              <a:gd name="connsiteY338" fmla="*/ 5616803 h 6858000"/>
              <a:gd name="connsiteX339" fmla="*/ 3989559 w 7467600"/>
              <a:gd name="connsiteY339" fmla="*/ 6145945 h 6858000"/>
              <a:gd name="connsiteX340" fmla="*/ 3939824 w 7467600"/>
              <a:gd name="connsiteY340" fmla="*/ 6066900 h 6858000"/>
              <a:gd name="connsiteX341" fmla="*/ 4584537 w 7467600"/>
              <a:gd name="connsiteY341" fmla="*/ 5324826 h 6858000"/>
              <a:gd name="connsiteX342" fmla="*/ 5037105 w 7467600"/>
              <a:gd name="connsiteY342" fmla="*/ 5088765 h 6858000"/>
              <a:gd name="connsiteX343" fmla="*/ 5039930 w 7467600"/>
              <a:gd name="connsiteY343" fmla="*/ 5089585 h 6858000"/>
              <a:gd name="connsiteX344" fmla="*/ 5263764 w 7467600"/>
              <a:gd name="connsiteY344" fmla="*/ 4735525 h 6858000"/>
              <a:gd name="connsiteX345" fmla="*/ 4086300 w 7467600"/>
              <a:gd name="connsiteY345" fmla="*/ 4884599 h 6858000"/>
              <a:gd name="connsiteX346" fmla="*/ 4085485 w 7467600"/>
              <a:gd name="connsiteY346" fmla="*/ 4899070 h 6858000"/>
              <a:gd name="connsiteX347" fmla="*/ 3871915 w 7467600"/>
              <a:gd name="connsiteY347" fmla="*/ 5253645 h 6858000"/>
              <a:gd name="connsiteX348" fmla="*/ 3799374 w 7467600"/>
              <a:gd name="connsiteY348" fmla="*/ 5466127 h 6858000"/>
              <a:gd name="connsiteX349" fmla="*/ 3498850 w 7467600"/>
              <a:gd name="connsiteY349" fmla="*/ 6661888 h 6858000"/>
              <a:gd name="connsiteX350" fmla="*/ 3399216 w 7467600"/>
              <a:gd name="connsiteY350" fmla="*/ 6858000 h 6858000"/>
              <a:gd name="connsiteX351" fmla="*/ 3303688 w 7467600"/>
              <a:gd name="connsiteY351" fmla="*/ 6858000 h 6858000"/>
              <a:gd name="connsiteX352" fmla="*/ 3391774 w 7467600"/>
              <a:gd name="connsiteY352" fmla="*/ 6697181 h 6858000"/>
              <a:gd name="connsiteX353" fmla="*/ 3735540 w 7467600"/>
              <a:gd name="connsiteY353" fmla="*/ 5546923 h 6858000"/>
              <a:gd name="connsiteX354" fmla="*/ 3729438 w 7467600"/>
              <a:gd name="connsiteY354" fmla="*/ 5569058 h 6858000"/>
              <a:gd name="connsiteX355" fmla="*/ 3707782 w 7467600"/>
              <a:gd name="connsiteY355" fmla="*/ 5644908 h 6858000"/>
              <a:gd name="connsiteX356" fmla="*/ 3583827 w 7467600"/>
              <a:gd name="connsiteY356" fmla="*/ 6039215 h 6858000"/>
              <a:gd name="connsiteX357" fmla="*/ 3547861 w 7467600"/>
              <a:gd name="connsiteY357" fmla="*/ 6129609 h 6858000"/>
              <a:gd name="connsiteX358" fmla="*/ 3490905 w 7467600"/>
              <a:gd name="connsiteY358" fmla="*/ 6277660 h 6858000"/>
              <a:gd name="connsiteX359" fmla="*/ 3455859 w 7467600"/>
              <a:gd name="connsiteY359" fmla="*/ 6391301 h 6858000"/>
              <a:gd name="connsiteX360" fmla="*/ 3429112 w 7467600"/>
              <a:gd name="connsiteY360" fmla="*/ 6479469 h 6858000"/>
              <a:gd name="connsiteX361" fmla="*/ 3304862 w 7467600"/>
              <a:gd name="connsiteY361" fmla="*/ 6796476 h 6858000"/>
              <a:gd name="connsiteX362" fmla="*/ 3276071 w 7467600"/>
              <a:gd name="connsiteY362" fmla="*/ 6858000 h 6858000"/>
              <a:gd name="connsiteX363" fmla="*/ 3240805 w 7467600"/>
              <a:gd name="connsiteY363" fmla="*/ 6858000 h 6858000"/>
              <a:gd name="connsiteX364" fmla="*/ 3275917 w 7467600"/>
              <a:gd name="connsiteY364" fmla="*/ 6783192 h 6858000"/>
              <a:gd name="connsiteX365" fmla="*/ 3399358 w 7467600"/>
              <a:gd name="connsiteY365" fmla="*/ 6469011 h 6858000"/>
              <a:gd name="connsiteX366" fmla="*/ 3425650 w 7467600"/>
              <a:gd name="connsiteY366" fmla="*/ 6381333 h 6858000"/>
              <a:gd name="connsiteX367" fmla="*/ 3460661 w 7467600"/>
              <a:gd name="connsiteY367" fmla="*/ 6266763 h 6858000"/>
              <a:gd name="connsiteX368" fmla="*/ 3518021 w 7467600"/>
              <a:gd name="connsiteY368" fmla="*/ 6117298 h 6858000"/>
              <a:gd name="connsiteX369" fmla="*/ 3554035 w 7467600"/>
              <a:gd name="connsiteY369" fmla="*/ 6027832 h 6858000"/>
              <a:gd name="connsiteX370" fmla="*/ 3677174 w 7467600"/>
              <a:gd name="connsiteY370" fmla="*/ 5636351 h 6858000"/>
              <a:gd name="connsiteX371" fmla="*/ 3698819 w 7467600"/>
              <a:gd name="connsiteY371" fmla="*/ 5560503 h 6858000"/>
              <a:gd name="connsiteX372" fmla="*/ 3702094 w 7467600"/>
              <a:gd name="connsiteY372" fmla="*/ 5549194 h 6858000"/>
              <a:gd name="connsiteX373" fmla="*/ 3398355 w 7467600"/>
              <a:gd name="connsiteY373" fmla="*/ 6094603 h 6858000"/>
              <a:gd name="connsiteX374" fmla="*/ 3193941 w 7467600"/>
              <a:gd name="connsiteY374" fmla="*/ 6798775 h 6858000"/>
              <a:gd name="connsiteX375" fmla="*/ 3184140 w 7467600"/>
              <a:gd name="connsiteY375" fmla="*/ 6858000 h 6858000"/>
              <a:gd name="connsiteX376" fmla="*/ 3099978 w 7467600"/>
              <a:gd name="connsiteY376" fmla="*/ 6858000 h 6858000"/>
              <a:gd name="connsiteX377" fmla="*/ 3101556 w 7467600"/>
              <a:gd name="connsiteY377" fmla="*/ 6843337 h 6858000"/>
              <a:gd name="connsiteX378" fmla="*/ 3370162 w 7467600"/>
              <a:gd name="connsiteY378" fmla="*/ 5785550 h 6858000"/>
              <a:gd name="connsiteX379" fmla="*/ 3746477 w 7467600"/>
              <a:gd name="connsiteY379" fmla="*/ 5377889 h 6858000"/>
              <a:gd name="connsiteX380" fmla="*/ 3863399 w 7467600"/>
              <a:gd name="connsiteY380" fmla="*/ 5087257 h 6858000"/>
              <a:gd name="connsiteX381" fmla="*/ 3968712 w 7467600"/>
              <a:gd name="connsiteY381" fmla="*/ 4913989 h 6858000"/>
              <a:gd name="connsiteX382" fmla="*/ 2792390 w 7467600"/>
              <a:gd name="connsiteY382" fmla="*/ 5382974 h 6858000"/>
              <a:gd name="connsiteX383" fmla="*/ 2714982 w 7467600"/>
              <a:gd name="connsiteY383" fmla="*/ 5427051 h 6858000"/>
              <a:gd name="connsiteX384" fmla="*/ 2813361 w 7467600"/>
              <a:gd name="connsiteY384" fmla="*/ 6023912 h 6858000"/>
              <a:gd name="connsiteX385" fmla="*/ 2688430 w 7467600"/>
              <a:gd name="connsiteY385" fmla="*/ 6801564 h 6858000"/>
              <a:gd name="connsiteX386" fmla="*/ 2629626 w 7467600"/>
              <a:gd name="connsiteY386" fmla="*/ 6763394 h 6858000"/>
              <a:gd name="connsiteX387" fmla="*/ 2565328 w 7467600"/>
              <a:gd name="connsiteY387" fmla="*/ 5516399 h 6858000"/>
              <a:gd name="connsiteX388" fmla="*/ 1922999 w 7467600"/>
              <a:gd name="connsiteY388" fmla="*/ 5980343 h 6858000"/>
              <a:gd name="connsiteX389" fmla="*/ 1950261 w 7467600"/>
              <a:gd name="connsiteY389" fmla="*/ 6405858 h 6858000"/>
              <a:gd name="connsiteX390" fmla="*/ 2365554 w 7467600"/>
              <a:gd name="connsiteY390" fmla="*/ 6759107 h 6858000"/>
              <a:gd name="connsiteX391" fmla="*/ 2424142 w 7467600"/>
              <a:gd name="connsiteY391" fmla="*/ 6858000 h 6858000"/>
              <a:gd name="connsiteX392" fmla="*/ 2395994 w 7467600"/>
              <a:gd name="connsiteY392" fmla="*/ 6858000 h 6858000"/>
              <a:gd name="connsiteX393" fmla="*/ 2392863 w 7467600"/>
              <a:gd name="connsiteY393" fmla="*/ 6852964 h 6858000"/>
              <a:gd name="connsiteX394" fmla="*/ 2017589 w 7467600"/>
              <a:gd name="connsiteY394" fmla="*/ 6493982 h 6858000"/>
              <a:gd name="connsiteX395" fmla="*/ 2147336 w 7467600"/>
              <a:gd name="connsiteY395" fmla="*/ 6594052 h 6858000"/>
              <a:gd name="connsiteX396" fmla="*/ 2207047 w 7467600"/>
              <a:gd name="connsiteY396" fmla="*/ 6654540 h 6858000"/>
              <a:gd name="connsiteX397" fmla="*/ 2299106 w 7467600"/>
              <a:gd name="connsiteY397" fmla="*/ 6778931 h 6858000"/>
              <a:gd name="connsiteX398" fmla="*/ 2314430 w 7467600"/>
              <a:gd name="connsiteY398" fmla="*/ 6801144 h 6858000"/>
              <a:gd name="connsiteX399" fmla="*/ 2352406 w 7467600"/>
              <a:gd name="connsiteY399" fmla="*/ 6858000 h 6858000"/>
              <a:gd name="connsiteX400" fmla="*/ 2314492 w 7467600"/>
              <a:gd name="connsiteY400" fmla="*/ 6858000 h 6858000"/>
              <a:gd name="connsiteX401" fmla="*/ 2288095 w 7467600"/>
              <a:gd name="connsiteY401" fmla="*/ 6818030 h 6858000"/>
              <a:gd name="connsiteX402" fmla="*/ 2272768 w 7467600"/>
              <a:gd name="connsiteY402" fmla="*/ 6795822 h 6858000"/>
              <a:gd name="connsiteX403" fmla="*/ 2182715 w 7467600"/>
              <a:gd name="connsiteY403" fmla="*/ 6675071 h 6858000"/>
              <a:gd name="connsiteX404" fmla="*/ 2032061 w 7467600"/>
              <a:gd name="connsiteY404" fmla="*/ 6541380 h 6858000"/>
              <a:gd name="connsiteX405" fmla="*/ 2257220 w 7467600"/>
              <a:gd name="connsiteY405" fmla="*/ 6826257 h 6858000"/>
              <a:gd name="connsiteX406" fmla="*/ 2281324 w 7467600"/>
              <a:gd name="connsiteY406" fmla="*/ 6858000 h 6858000"/>
              <a:gd name="connsiteX407" fmla="*/ 2242860 w 7467600"/>
              <a:gd name="connsiteY407" fmla="*/ 6858000 h 6858000"/>
              <a:gd name="connsiteX408" fmla="*/ 2232818 w 7467600"/>
              <a:gd name="connsiteY408" fmla="*/ 6844926 h 6858000"/>
              <a:gd name="connsiteX409" fmla="*/ 1990172 w 7467600"/>
              <a:gd name="connsiteY409" fmla="*/ 6542121 h 6858000"/>
              <a:gd name="connsiteX410" fmla="*/ 2124090 w 7467600"/>
              <a:gd name="connsiteY410" fmla="*/ 6761017 h 6858000"/>
              <a:gd name="connsiteX411" fmla="*/ 2200380 w 7467600"/>
              <a:gd name="connsiteY411" fmla="*/ 6858000 h 6858000"/>
              <a:gd name="connsiteX412" fmla="*/ 2147507 w 7467600"/>
              <a:gd name="connsiteY412" fmla="*/ 6858000 h 6858000"/>
              <a:gd name="connsiteX413" fmla="*/ 2070668 w 7467600"/>
              <a:gd name="connsiteY413" fmla="*/ 6761520 h 6858000"/>
              <a:gd name="connsiteX414" fmla="*/ 1975142 w 7467600"/>
              <a:gd name="connsiteY414" fmla="*/ 6585570 h 6858000"/>
              <a:gd name="connsiteX415" fmla="*/ 2050035 w 7467600"/>
              <a:gd name="connsiteY415" fmla="*/ 6813345 h 6858000"/>
              <a:gd name="connsiteX416" fmla="*/ 2063025 w 7467600"/>
              <a:gd name="connsiteY416" fmla="*/ 6858000 h 6858000"/>
              <a:gd name="connsiteX417" fmla="*/ 2021675 w 7467600"/>
              <a:gd name="connsiteY417" fmla="*/ 6858000 h 6858000"/>
              <a:gd name="connsiteX418" fmla="*/ 2019308 w 7467600"/>
              <a:gd name="connsiteY418" fmla="*/ 6847118 h 6858000"/>
              <a:gd name="connsiteX419" fmla="*/ 1938835 w 7467600"/>
              <a:gd name="connsiteY419" fmla="*/ 6551160 h 6858000"/>
              <a:gd name="connsiteX420" fmla="*/ 1953230 w 7467600"/>
              <a:gd name="connsiteY420" fmla="*/ 6759699 h 6858000"/>
              <a:gd name="connsiteX421" fmla="*/ 1956763 w 7467600"/>
              <a:gd name="connsiteY421" fmla="*/ 6778191 h 6858000"/>
              <a:gd name="connsiteX422" fmla="*/ 1967925 w 7467600"/>
              <a:gd name="connsiteY422" fmla="*/ 6858000 h 6858000"/>
              <a:gd name="connsiteX423" fmla="*/ 1936622 w 7467600"/>
              <a:gd name="connsiteY423" fmla="*/ 6858000 h 6858000"/>
              <a:gd name="connsiteX424" fmla="*/ 1926261 w 7467600"/>
              <a:gd name="connsiteY424" fmla="*/ 6784064 h 6858000"/>
              <a:gd name="connsiteX425" fmla="*/ 1922724 w 7467600"/>
              <a:gd name="connsiteY425" fmla="*/ 6765577 h 6858000"/>
              <a:gd name="connsiteX426" fmla="*/ 1904650 w 7467600"/>
              <a:gd name="connsiteY426" fmla="*/ 6639616 h 6858000"/>
              <a:gd name="connsiteX427" fmla="*/ 1885273 w 7467600"/>
              <a:gd name="connsiteY427" fmla="*/ 6858000 h 6858000"/>
              <a:gd name="connsiteX428" fmla="*/ 1854363 w 7467600"/>
              <a:gd name="connsiteY428" fmla="*/ 6858000 h 6858000"/>
              <a:gd name="connsiteX429" fmla="*/ 1880391 w 7467600"/>
              <a:gd name="connsiteY429" fmla="*/ 6603796 h 6858000"/>
              <a:gd name="connsiteX430" fmla="*/ 1818273 w 7467600"/>
              <a:gd name="connsiteY430" fmla="*/ 6715729 h 6858000"/>
              <a:gd name="connsiteX431" fmla="*/ 1794691 w 7467600"/>
              <a:gd name="connsiteY431" fmla="*/ 6843239 h 6858000"/>
              <a:gd name="connsiteX432" fmla="*/ 1794914 w 7467600"/>
              <a:gd name="connsiteY432" fmla="*/ 6858000 h 6858000"/>
              <a:gd name="connsiteX433" fmla="*/ 1746128 w 7467600"/>
              <a:gd name="connsiteY433" fmla="*/ 6858000 h 6858000"/>
              <a:gd name="connsiteX434" fmla="*/ 1753934 w 7467600"/>
              <a:gd name="connsiteY434" fmla="*/ 6724796 h 6858000"/>
              <a:gd name="connsiteX435" fmla="*/ 1792053 w 7467600"/>
              <a:gd name="connsiteY435" fmla="*/ 6572396 h 6858000"/>
              <a:gd name="connsiteX436" fmla="*/ 1862248 w 7467600"/>
              <a:gd name="connsiteY436" fmla="*/ 6266397 h 6858000"/>
              <a:gd name="connsiteX437" fmla="*/ 1862250 w 7467600"/>
              <a:gd name="connsiteY437" fmla="*/ 6033531 h 6858000"/>
              <a:gd name="connsiteX438" fmla="*/ 1211999 w 7467600"/>
              <a:gd name="connsiteY438" fmla="*/ 6683610 h 6858000"/>
              <a:gd name="connsiteX439" fmla="*/ 1213266 w 7467600"/>
              <a:gd name="connsiteY439" fmla="*/ 6691947 h 6858000"/>
              <a:gd name="connsiteX440" fmla="*/ 1203370 w 7467600"/>
              <a:gd name="connsiteY440" fmla="*/ 6850676 h 6858000"/>
              <a:gd name="connsiteX441" fmla="*/ 1203671 w 7467600"/>
              <a:gd name="connsiteY441" fmla="*/ 6858000 h 6858000"/>
              <a:gd name="connsiteX442" fmla="*/ 1143180 w 7467600"/>
              <a:gd name="connsiteY442" fmla="*/ 6858000 h 6858000"/>
              <a:gd name="connsiteX443" fmla="*/ 1142176 w 7467600"/>
              <a:gd name="connsiteY443" fmla="*/ 6766045 h 6858000"/>
              <a:gd name="connsiteX444" fmla="*/ 1067484 w 7467600"/>
              <a:gd name="connsiteY444" fmla="*/ 6858000 h 6858000"/>
              <a:gd name="connsiteX445" fmla="*/ 953928 w 7467600"/>
              <a:gd name="connsiteY445" fmla="*/ 6858000 h 6858000"/>
              <a:gd name="connsiteX446" fmla="*/ 959715 w 7467600"/>
              <a:gd name="connsiteY446" fmla="*/ 6850185 h 6858000"/>
              <a:gd name="connsiteX447" fmla="*/ 1483788 w 7467600"/>
              <a:gd name="connsiteY447" fmla="*/ 6259174 h 6858000"/>
              <a:gd name="connsiteX448" fmla="*/ 1100671 w 7467600"/>
              <a:gd name="connsiteY448" fmla="*/ 6252137 h 6858000"/>
              <a:gd name="connsiteX449" fmla="*/ 1090144 w 7467600"/>
              <a:gd name="connsiteY449" fmla="*/ 6256748 h 6858000"/>
              <a:gd name="connsiteX450" fmla="*/ 1095872 w 7467600"/>
              <a:gd name="connsiteY450" fmla="*/ 6271892 h 6858000"/>
              <a:gd name="connsiteX451" fmla="*/ 262785 w 7467600"/>
              <a:gd name="connsiteY451" fmla="*/ 6845450 h 6858000"/>
              <a:gd name="connsiteX452" fmla="*/ 209968 w 7467600"/>
              <a:gd name="connsiteY452" fmla="*/ 6770713 h 6858000"/>
              <a:gd name="connsiteX453" fmla="*/ 873460 w 7467600"/>
              <a:gd name="connsiteY453" fmla="*/ 6253768 h 6858000"/>
              <a:gd name="connsiteX454" fmla="*/ 192686 w 7467600"/>
              <a:gd name="connsiteY454" fmla="*/ 5849257 h 6858000"/>
              <a:gd name="connsiteX455" fmla="*/ 4696 w 7467600"/>
              <a:gd name="connsiteY455" fmla="*/ 5697668 h 6858000"/>
              <a:gd name="connsiteX456" fmla="*/ 0 w 7467600"/>
              <a:gd name="connsiteY456" fmla="*/ 5689984 h 6858000"/>
              <a:gd name="connsiteX457" fmla="*/ 0 w 7467600"/>
              <a:gd name="connsiteY457" fmla="*/ 5513472 h 6858000"/>
              <a:gd name="connsiteX458" fmla="*/ 174101 w 7467600"/>
              <a:gd name="connsiteY458" fmla="*/ 5620277 h 6858000"/>
              <a:gd name="connsiteX459" fmla="*/ 891800 w 7467600"/>
              <a:gd name="connsiteY459" fmla="*/ 6036935 h 6858000"/>
              <a:gd name="connsiteX460" fmla="*/ 1072219 w 7467600"/>
              <a:gd name="connsiteY460" fmla="*/ 6169443 h 6858000"/>
              <a:gd name="connsiteX461" fmla="*/ 1074117 w 7467600"/>
              <a:gd name="connsiteY461" fmla="*/ 6170301 h 6858000"/>
              <a:gd name="connsiteX462" fmla="*/ 1083114 w 7467600"/>
              <a:gd name="connsiteY462" fmla="*/ 6174131 h 6858000"/>
              <a:gd name="connsiteX463" fmla="*/ 1543010 w 7467600"/>
              <a:gd name="connsiteY463" fmla="*/ 6191140 h 6858000"/>
              <a:gd name="connsiteX464" fmla="*/ 1551080 w 7467600"/>
              <a:gd name="connsiteY464" fmla="*/ 6195006 h 6858000"/>
              <a:gd name="connsiteX465" fmla="*/ 2345443 w 7467600"/>
              <a:gd name="connsiteY465" fmla="*/ 5549882 h 6858000"/>
              <a:gd name="connsiteX466" fmla="*/ 1721499 w 7467600"/>
              <a:gd name="connsiteY466" fmla="*/ 5599969 h 6858000"/>
              <a:gd name="connsiteX467" fmla="*/ 767716 w 7467600"/>
              <a:gd name="connsiteY467" fmla="*/ 5472768 h 6858000"/>
              <a:gd name="connsiteX468" fmla="*/ 722147 w 7467600"/>
              <a:gd name="connsiteY468" fmla="*/ 5393091 h 6858000"/>
              <a:gd name="connsiteX469" fmla="*/ 1485552 w 7467600"/>
              <a:gd name="connsiteY469" fmla="*/ 5313202 h 6858000"/>
              <a:gd name="connsiteX470" fmla="*/ 2143004 w 7467600"/>
              <a:gd name="connsiteY470" fmla="*/ 5402420 h 6858000"/>
              <a:gd name="connsiteX471" fmla="*/ 1933391 w 7467600"/>
              <a:gd name="connsiteY471" fmla="*/ 5156971 h 6858000"/>
              <a:gd name="connsiteX472" fmla="*/ 1827118 w 7467600"/>
              <a:gd name="connsiteY472" fmla="*/ 4968410 h 6858000"/>
              <a:gd name="connsiteX473" fmla="*/ 1837349 w 7467600"/>
              <a:gd name="connsiteY473" fmla="*/ 4956357 h 6858000"/>
              <a:gd name="connsiteX474" fmla="*/ 2162835 w 7467600"/>
              <a:gd name="connsiteY474" fmla="*/ 5187853 h 6858000"/>
              <a:gd name="connsiteX475" fmla="*/ 2257167 w 7467600"/>
              <a:gd name="connsiteY475" fmla="*/ 5462123 h 6858000"/>
              <a:gd name="connsiteX476" fmla="*/ 2261598 w 7467600"/>
              <a:gd name="connsiteY476" fmla="*/ 5467998 h 6858000"/>
              <a:gd name="connsiteX477" fmla="*/ 2437177 w 7467600"/>
              <a:gd name="connsiteY477" fmla="*/ 5479608 h 6858000"/>
              <a:gd name="connsiteX478" fmla="*/ 2445247 w 7467600"/>
              <a:gd name="connsiteY478" fmla="*/ 5483476 h 6858000"/>
              <a:gd name="connsiteX479" fmla="*/ 2743626 w 7467600"/>
              <a:gd name="connsiteY479" fmla="*/ 5304819 h 6858000"/>
              <a:gd name="connsiteX480" fmla="*/ 3048102 w 7467600"/>
              <a:gd name="connsiteY480" fmla="*/ 5150595 h 6858000"/>
              <a:gd name="connsiteX481" fmla="*/ 1799414 w 7467600"/>
              <a:gd name="connsiteY481" fmla="*/ 4694732 h 6858000"/>
              <a:gd name="connsiteX482" fmla="*/ 1771735 w 7467600"/>
              <a:gd name="connsiteY482" fmla="*/ 4619929 h 6858000"/>
              <a:gd name="connsiteX483" fmla="*/ 3104273 w 7467600"/>
              <a:gd name="connsiteY483" fmla="*/ 5076159 h 6858000"/>
              <a:gd name="connsiteX484" fmla="*/ 3113245 w 7467600"/>
              <a:gd name="connsiteY484" fmla="*/ 5090705 h 6858000"/>
              <a:gd name="connsiteX485" fmla="*/ 3126294 w 7467600"/>
              <a:gd name="connsiteY485" fmla="*/ 5114400 h 6858000"/>
              <a:gd name="connsiteX486" fmla="*/ 3937433 w 7467600"/>
              <a:gd name="connsiteY486" fmla="*/ 4830473 h 6858000"/>
              <a:gd name="connsiteX487" fmla="*/ 3590475 w 7467600"/>
              <a:gd name="connsiteY487" fmla="*/ 4597974 h 6858000"/>
              <a:gd name="connsiteX488" fmla="*/ 3100264 w 7467600"/>
              <a:gd name="connsiteY488" fmla="*/ 4579845 h 6858000"/>
              <a:gd name="connsiteX489" fmla="*/ 2183576 w 7467600"/>
              <a:gd name="connsiteY489" fmla="*/ 4227150 h 6858000"/>
              <a:gd name="connsiteX490" fmla="*/ 2151029 w 7467600"/>
              <a:gd name="connsiteY490" fmla="*/ 4146947 h 6858000"/>
              <a:gd name="connsiteX491" fmla="*/ 3563434 w 7467600"/>
              <a:gd name="connsiteY491" fmla="*/ 4469115 h 6858000"/>
              <a:gd name="connsiteX492" fmla="*/ 3177952 w 7467600"/>
              <a:gd name="connsiteY492" fmla="*/ 3657386 h 6858000"/>
              <a:gd name="connsiteX493" fmla="*/ 3189263 w 7467600"/>
              <a:gd name="connsiteY493" fmla="*/ 3625726 h 6858000"/>
              <a:gd name="connsiteX494" fmla="*/ 3560912 w 7467600"/>
              <a:gd name="connsiteY494" fmla="*/ 4079863 h 6858000"/>
              <a:gd name="connsiteX495" fmla="*/ 3626636 w 7467600"/>
              <a:gd name="connsiteY495" fmla="*/ 4512230 h 6858000"/>
              <a:gd name="connsiteX496" fmla="*/ 3653088 w 7467600"/>
              <a:gd name="connsiteY496" fmla="*/ 4521417 h 6858000"/>
              <a:gd name="connsiteX497" fmla="*/ 3988128 w 7467600"/>
              <a:gd name="connsiteY497" fmla="*/ 4817267 h 6858000"/>
              <a:gd name="connsiteX498" fmla="*/ 4830582 w 7467600"/>
              <a:gd name="connsiteY498" fmla="*/ 4676000 h 6858000"/>
              <a:gd name="connsiteX499" fmla="*/ 4830100 w 7467600"/>
              <a:gd name="connsiteY499" fmla="*/ 4675554 h 6858000"/>
              <a:gd name="connsiteX500" fmla="*/ 4036318 w 7467600"/>
              <a:gd name="connsiteY500" fmla="*/ 4147013 h 6858000"/>
              <a:gd name="connsiteX501" fmla="*/ 3432098 w 7467600"/>
              <a:gd name="connsiteY501" fmla="*/ 3537312 h 6858000"/>
              <a:gd name="connsiteX502" fmla="*/ 3446761 w 7467600"/>
              <a:gd name="connsiteY502" fmla="*/ 3461278 h 6858000"/>
              <a:gd name="connsiteX503" fmla="*/ 4419733 w 7467600"/>
              <a:gd name="connsiteY503" fmla="*/ 3963555 h 6858000"/>
              <a:gd name="connsiteX504" fmla="*/ 4781371 w 7467600"/>
              <a:gd name="connsiteY504" fmla="*/ 4458604 h 6858000"/>
              <a:gd name="connsiteX505" fmla="*/ 4780440 w 7467600"/>
              <a:gd name="connsiteY505" fmla="*/ 4470290 h 6858000"/>
              <a:gd name="connsiteX506" fmla="*/ 4898954 w 7467600"/>
              <a:gd name="connsiteY506" fmla="*/ 4662092 h 6858000"/>
              <a:gd name="connsiteX507" fmla="*/ 4900699 w 7467600"/>
              <a:gd name="connsiteY507" fmla="*/ 4670867 h 6858000"/>
              <a:gd name="connsiteX508" fmla="*/ 5714511 w 7467600"/>
              <a:gd name="connsiteY508" fmla="*/ 4663483 h 6858000"/>
              <a:gd name="connsiteX509" fmla="*/ 5464793 w 7467600"/>
              <a:gd name="connsiteY509" fmla="*/ 4393556 h 6858000"/>
              <a:gd name="connsiteX510" fmla="*/ 5461897 w 7467600"/>
              <a:gd name="connsiteY510" fmla="*/ 4390879 h 6858000"/>
              <a:gd name="connsiteX511" fmla="*/ 4294126 w 7467600"/>
              <a:gd name="connsiteY511" fmla="*/ 3303048 h 6858000"/>
              <a:gd name="connsiteX512" fmla="*/ 4305321 w 7467600"/>
              <a:gd name="connsiteY512" fmla="*/ 3256953 h 6858000"/>
              <a:gd name="connsiteX513" fmla="*/ 4949299 w 7467600"/>
              <a:gd name="connsiteY513" fmla="*/ 3766336 h 6858000"/>
              <a:gd name="connsiteX514" fmla="*/ 5291452 w 7467600"/>
              <a:gd name="connsiteY514" fmla="*/ 4076801 h 6858000"/>
              <a:gd name="connsiteX515" fmla="*/ 5434998 w 7467600"/>
              <a:gd name="connsiteY515" fmla="*/ 4254100 h 6858000"/>
              <a:gd name="connsiteX516" fmla="*/ 5351015 w 7467600"/>
              <a:gd name="connsiteY516" fmla="*/ 3760989 h 6858000"/>
              <a:gd name="connsiteX517" fmla="*/ 5413780 w 7467600"/>
              <a:gd name="connsiteY517" fmla="*/ 2966265 h 6858000"/>
              <a:gd name="connsiteX518" fmla="*/ 5425627 w 7467600"/>
              <a:gd name="connsiteY518" fmla="*/ 2954192 h 6858000"/>
              <a:gd name="connsiteX519" fmla="*/ 6604735 w 7467600"/>
              <a:gd name="connsiteY519" fmla="*/ 2041381 h 6858000"/>
              <a:gd name="connsiteX520" fmla="*/ 7204487 w 7467600"/>
              <a:gd name="connsiteY520" fmla="*/ 2742112 h 6858000"/>
              <a:gd name="connsiteX521" fmla="*/ 7131592 w 7467600"/>
              <a:gd name="connsiteY521" fmla="*/ 2672096 h 6858000"/>
              <a:gd name="connsiteX522" fmla="*/ 6996344 w 7467600"/>
              <a:gd name="connsiteY522" fmla="*/ 2518310 h 6858000"/>
              <a:gd name="connsiteX523" fmla="*/ 6735495 w 7467600"/>
              <a:gd name="connsiteY523" fmla="*/ 2196890 h 6858000"/>
              <a:gd name="connsiteX524" fmla="*/ 6721901 w 7467600"/>
              <a:gd name="connsiteY524" fmla="*/ 2179274 h 6858000"/>
              <a:gd name="connsiteX525" fmla="*/ 6604735 w 7467600"/>
              <a:gd name="connsiteY525" fmla="*/ 2041381 h 6858000"/>
              <a:gd name="connsiteX526" fmla="*/ 6591670 w 7467600"/>
              <a:gd name="connsiteY526" fmla="*/ 1988277 h 6858000"/>
              <a:gd name="connsiteX527" fmla="*/ 6747349 w 7467600"/>
              <a:gd name="connsiteY527" fmla="*/ 2160069 h 6858000"/>
              <a:gd name="connsiteX528" fmla="*/ 6760943 w 7467600"/>
              <a:gd name="connsiteY528" fmla="*/ 2177686 h 6858000"/>
              <a:gd name="connsiteX529" fmla="*/ 7021065 w 7467600"/>
              <a:gd name="connsiteY529" fmla="*/ 2498102 h 6858000"/>
              <a:gd name="connsiteX530" fmla="*/ 7155223 w 7467600"/>
              <a:gd name="connsiteY530" fmla="*/ 2650386 h 6858000"/>
              <a:gd name="connsiteX531" fmla="*/ 7203167 w 7467600"/>
              <a:gd name="connsiteY531" fmla="*/ 2697288 h 6858000"/>
              <a:gd name="connsiteX532" fmla="*/ 6937703 w 7467600"/>
              <a:gd name="connsiteY532" fmla="*/ 2321981 h 6858000"/>
              <a:gd name="connsiteX533" fmla="*/ 6591670 w 7467600"/>
              <a:gd name="connsiteY533" fmla="*/ 1988277 h 6858000"/>
              <a:gd name="connsiteX534" fmla="*/ 5798671 w 7467600"/>
              <a:gd name="connsiteY534" fmla="*/ 1981601 h 6858000"/>
              <a:gd name="connsiteX535" fmla="*/ 5754709 w 7467600"/>
              <a:gd name="connsiteY535" fmla="*/ 2071454 h 6858000"/>
              <a:gd name="connsiteX536" fmla="*/ 5763044 w 7467600"/>
              <a:gd name="connsiteY536" fmla="*/ 2842206 h 6858000"/>
              <a:gd name="connsiteX537" fmla="*/ 5764974 w 7467600"/>
              <a:gd name="connsiteY537" fmla="*/ 2799609 h 6858000"/>
              <a:gd name="connsiteX538" fmla="*/ 5767665 w 7467600"/>
              <a:gd name="connsiteY538" fmla="*/ 2666409 h 6858000"/>
              <a:gd name="connsiteX539" fmla="*/ 5763055 w 7467600"/>
              <a:gd name="connsiteY539" fmla="*/ 2579705 h 6858000"/>
              <a:gd name="connsiteX540" fmla="*/ 5758079 w 7467600"/>
              <a:gd name="connsiteY540" fmla="*/ 2492508 h 6858000"/>
              <a:gd name="connsiteX541" fmla="*/ 5779325 w 7467600"/>
              <a:gd name="connsiteY541" fmla="*/ 2197069 h 6858000"/>
              <a:gd name="connsiteX542" fmla="*/ 5798671 w 7467600"/>
              <a:gd name="connsiteY542" fmla="*/ 1981601 h 6858000"/>
              <a:gd name="connsiteX543" fmla="*/ 5829202 w 7467600"/>
              <a:gd name="connsiteY543" fmla="*/ 1971679 h 6858000"/>
              <a:gd name="connsiteX544" fmla="*/ 5809558 w 7467600"/>
              <a:gd name="connsiteY544" fmla="*/ 2198043 h 6858000"/>
              <a:gd name="connsiteX545" fmla="*/ 5788653 w 7467600"/>
              <a:gd name="connsiteY545" fmla="*/ 2489430 h 6858000"/>
              <a:gd name="connsiteX546" fmla="*/ 5793439 w 7467600"/>
              <a:gd name="connsiteY546" fmla="*/ 2575235 h 6858000"/>
              <a:gd name="connsiteX547" fmla="*/ 5796837 w 7467600"/>
              <a:gd name="connsiteY547" fmla="*/ 2637633 h 6858000"/>
              <a:gd name="connsiteX548" fmla="*/ 5818614 w 7467600"/>
              <a:gd name="connsiteY548" fmla="*/ 2473055 h 6858000"/>
              <a:gd name="connsiteX549" fmla="*/ 5829202 w 7467600"/>
              <a:gd name="connsiteY549" fmla="*/ 1971679 h 6858000"/>
              <a:gd name="connsiteX550" fmla="*/ 5911389 w 7467600"/>
              <a:gd name="connsiteY550" fmla="*/ 1898371 h 6858000"/>
              <a:gd name="connsiteX551" fmla="*/ 6237627 w 7467600"/>
              <a:gd name="connsiteY551" fmla="*/ 2231921 h 6858000"/>
              <a:gd name="connsiteX552" fmla="*/ 5911389 w 7467600"/>
              <a:gd name="connsiteY552" fmla="*/ 1898371 h 6858000"/>
              <a:gd name="connsiteX553" fmla="*/ 6944437 w 7467600"/>
              <a:gd name="connsiteY553" fmla="*/ 1575402 h 6858000"/>
              <a:gd name="connsiteX554" fmla="*/ 6304730 w 7467600"/>
              <a:gd name="connsiteY554" fmla="*/ 1766654 h 6858000"/>
              <a:gd name="connsiteX555" fmla="*/ 6944437 w 7467600"/>
              <a:gd name="connsiteY555" fmla="*/ 1575402 h 6858000"/>
              <a:gd name="connsiteX556" fmla="*/ 7019523 w 7467600"/>
              <a:gd name="connsiteY556" fmla="*/ 1519450 h 6858000"/>
              <a:gd name="connsiteX557" fmla="*/ 6298091 w 7467600"/>
              <a:gd name="connsiteY557" fmla="*/ 1737122 h 6858000"/>
              <a:gd name="connsiteX558" fmla="*/ 7019523 w 7467600"/>
              <a:gd name="connsiteY558" fmla="*/ 1519450 h 6858000"/>
              <a:gd name="connsiteX559" fmla="*/ 2399523 w 7467600"/>
              <a:gd name="connsiteY559" fmla="*/ 1428234 h 6858000"/>
              <a:gd name="connsiteX560" fmla="*/ 2224982 w 7467600"/>
              <a:gd name="connsiteY560" fmla="*/ 1826201 h 6858000"/>
              <a:gd name="connsiteX561" fmla="*/ 2096099 w 7467600"/>
              <a:gd name="connsiteY561" fmla="*/ 2345900 h 6858000"/>
              <a:gd name="connsiteX562" fmla="*/ 2283317 w 7467600"/>
              <a:gd name="connsiteY562" fmla="*/ 1796925 h 6858000"/>
              <a:gd name="connsiteX563" fmla="*/ 2399523 w 7467600"/>
              <a:gd name="connsiteY563" fmla="*/ 1428234 h 6858000"/>
              <a:gd name="connsiteX564" fmla="*/ 2448558 w 7467600"/>
              <a:gd name="connsiteY564" fmla="*/ 1373435 h 6858000"/>
              <a:gd name="connsiteX565" fmla="*/ 2312521 w 7467600"/>
              <a:gd name="connsiteY565" fmla="*/ 1806140 h 6858000"/>
              <a:gd name="connsiteX566" fmla="*/ 2127533 w 7467600"/>
              <a:gd name="connsiteY566" fmla="*/ 2348380 h 6858000"/>
              <a:gd name="connsiteX567" fmla="*/ 2358080 w 7467600"/>
              <a:gd name="connsiteY567" fmla="*/ 1866134 h 6858000"/>
              <a:gd name="connsiteX568" fmla="*/ 2407436 w 7467600"/>
              <a:gd name="connsiteY568" fmla="*/ 1651070 h 6858000"/>
              <a:gd name="connsiteX569" fmla="*/ 2448558 w 7467600"/>
              <a:gd name="connsiteY569" fmla="*/ 1373435 h 6858000"/>
              <a:gd name="connsiteX570" fmla="*/ 278707 w 7467600"/>
              <a:gd name="connsiteY570" fmla="*/ 1352270 h 6858000"/>
              <a:gd name="connsiteX571" fmla="*/ 321570 w 7467600"/>
              <a:gd name="connsiteY571" fmla="*/ 1861610 h 6858000"/>
              <a:gd name="connsiteX572" fmla="*/ 294281 w 7467600"/>
              <a:gd name="connsiteY572" fmla="*/ 1440658 h 6858000"/>
              <a:gd name="connsiteX573" fmla="*/ 278707 w 7467600"/>
              <a:gd name="connsiteY573" fmla="*/ 1352270 h 6858000"/>
              <a:gd name="connsiteX574" fmla="*/ 1423821 w 7467600"/>
              <a:gd name="connsiteY574" fmla="*/ 1351958 h 6858000"/>
              <a:gd name="connsiteX575" fmla="*/ 1638521 w 7467600"/>
              <a:gd name="connsiteY575" fmla="*/ 1908470 h 6858000"/>
              <a:gd name="connsiteX576" fmla="*/ 1754199 w 7467600"/>
              <a:gd name="connsiteY576" fmla="*/ 2149284 h 6858000"/>
              <a:gd name="connsiteX577" fmla="*/ 1908359 w 7467600"/>
              <a:gd name="connsiteY577" fmla="*/ 2364988 h 6858000"/>
              <a:gd name="connsiteX578" fmla="*/ 1647661 w 7467600"/>
              <a:gd name="connsiteY578" fmla="*/ 1825945 h 6858000"/>
              <a:gd name="connsiteX579" fmla="*/ 1423821 w 7467600"/>
              <a:gd name="connsiteY579" fmla="*/ 1351958 h 6858000"/>
              <a:gd name="connsiteX580" fmla="*/ 1431890 w 7467600"/>
              <a:gd name="connsiteY580" fmla="*/ 1306475 h 6858000"/>
              <a:gd name="connsiteX581" fmla="*/ 1507597 w 7467600"/>
              <a:gd name="connsiteY581" fmla="*/ 1446132 h 6858000"/>
              <a:gd name="connsiteX582" fmla="*/ 1674586 w 7467600"/>
              <a:gd name="connsiteY582" fmla="*/ 1813832 h 6858000"/>
              <a:gd name="connsiteX583" fmla="*/ 1815950 w 7467600"/>
              <a:gd name="connsiteY583" fmla="*/ 2128564 h 6858000"/>
              <a:gd name="connsiteX584" fmla="*/ 1984242 w 7467600"/>
              <a:gd name="connsiteY584" fmla="*/ 2430829 h 6858000"/>
              <a:gd name="connsiteX585" fmla="*/ 2014023 w 7467600"/>
              <a:gd name="connsiteY585" fmla="*/ 2450995 h 6858000"/>
              <a:gd name="connsiteX586" fmla="*/ 1747337 w 7467600"/>
              <a:gd name="connsiteY586" fmla="*/ 1855264 h 6858000"/>
              <a:gd name="connsiteX587" fmla="*/ 1533749 w 7467600"/>
              <a:gd name="connsiteY587" fmla="*/ 1478656 h 6858000"/>
              <a:gd name="connsiteX588" fmla="*/ 1431890 w 7467600"/>
              <a:gd name="connsiteY588" fmla="*/ 1306475 h 6858000"/>
              <a:gd name="connsiteX589" fmla="*/ 5052692 w 7467600"/>
              <a:gd name="connsiteY589" fmla="*/ 1292994 h 6858000"/>
              <a:gd name="connsiteX590" fmla="*/ 5200661 w 7467600"/>
              <a:gd name="connsiteY590" fmla="*/ 1635186 h 6858000"/>
              <a:gd name="connsiteX591" fmla="*/ 5297138 w 7467600"/>
              <a:gd name="connsiteY591" fmla="*/ 1906351 h 6858000"/>
              <a:gd name="connsiteX592" fmla="*/ 5052692 w 7467600"/>
              <a:gd name="connsiteY592" fmla="*/ 1292994 h 6858000"/>
              <a:gd name="connsiteX593" fmla="*/ 5009948 w 7467600"/>
              <a:gd name="connsiteY593" fmla="*/ 1273619 h 6858000"/>
              <a:gd name="connsiteX594" fmla="*/ 5121777 w 7467600"/>
              <a:gd name="connsiteY594" fmla="*/ 1654213 h 6858000"/>
              <a:gd name="connsiteX595" fmla="*/ 5293545 w 7467600"/>
              <a:gd name="connsiteY595" fmla="*/ 2072247 h 6858000"/>
              <a:gd name="connsiteX596" fmla="*/ 5294042 w 7467600"/>
              <a:gd name="connsiteY596" fmla="*/ 2065019 h 6858000"/>
              <a:gd name="connsiteX597" fmla="*/ 5171936 w 7467600"/>
              <a:gd name="connsiteY597" fmla="*/ 1647613 h 6858000"/>
              <a:gd name="connsiteX598" fmla="*/ 5009948 w 7467600"/>
              <a:gd name="connsiteY598" fmla="*/ 1273619 h 6858000"/>
              <a:gd name="connsiteX599" fmla="*/ 655236 w 7467600"/>
              <a:gd name="connsiteY599" fmla="*/ 1268632 h 6858000"/>
              <a:gd name="connsiteX600" fmla="*/ 839521 w 7467600"/>
              <a:gd name="connsiteY600" fmla="*/ 1685315 h 6858000"/>
              <a:gd name="connsiteX601" fmla="*/ 1109416 w 7467600"/>
              <a:gd name="connsiteY601" fmla="*/ 2061663 h 6858000"/>
              <a:gd name="connsiteX602" fmla="*/ 1298300 w 7467600"/>
              <a:gd name="connsiteY602" fmla="*/ 2247742 h 6858000"/>
              <a:gd name="connsiteX603" fmla="*/ 1125871 w 7467600"/>
              <a:gd name="connsiteY603" fmla="*/ 1989513 h 6858000"/>
              <a:gd name="connsiteX604" fmla="*/ 981574 w 7467600"/>
              <a:gd name="connsiteY604" fmla="*/ 1783157 h 6858000"/>
              <a:gd name="connsiteX605" fmla="*/ 922198 w 7467600"/>
              <a:gd name="connsiteY605" fmla="*/ 1677437 h 6858000"/>
              <a:gd name="connsiteX606" fmla="*/ 869293 w 7467600"/>
              <a:gd name="connsiteY606" fmla="*/ 1583214 h 6858000"/>
              <a:gd name="connsiteX607" fmla="*/ 751431 w 7467600"/>
              <a:gd name="connsiteY607" fmla="*/ 1405731 h 6858000"/>
              <a:gd name="connsiteX608" fmla="*/ 655236 w 7467600"/>
              <a:gd name="connsiteY608" fmla="*/ 1268632 h 6858000"/>
              <a:gd name="connsiteX609" fmla="*/ 6516292 w 7467600"/>
              <a:gd name="connsiteY609" fmla="*/ 1263064 h 6858000"/>
              <a:gd name="connsiteX610" fmla="*/ 5736320 w 7467600"/>
              <a:gd name="connsiteY610" fmla="*/ 1501803 h 6858000"/>
              <a:gd name="connsiteX611" fmla="*/ 6516292 w 7467600"/>
              <a:gd name="connsiteY611" fmla="*/ 1263064 h 6858000"/>
              <a:gd name="connsiteX612" fmla="*/ 291466 w 7467600"/>
              <a:gd name="connsiteY612" fmla="*/ 1250369 h 6858000"/>
              <a:gd name="connsiteX613" fmla="*/ 323180 w 7467600"/>
              <a:gd name="connsiteY613" fmla="*/ 1435283 h 6858000"/>
              <a:gd name="connsiteX614" fmla="*/ 349381 w 7467600"/>
              <a:gd name="connsiteY614" fmla="*/ 1875041 h 6858000"/>
              <a:gd name="connsiteX615" fmla="*/ 374363 w 7467600"/>
              <a:gd name="connsiteY615" fmla="*/ 1506494 h 6858000"/>
              <a:gd name="connsiteX616" fmla="*/ 302168 w 7467600"/>
              <a:gd name="connsiteY616" fmla="*/ 1274495 h 6858000"/>
              <a:gd name="connsiteX617" fmla="*/ 291466 w 7467600"/>
              <a:gd name="connsiteY617" fmla="*/ 1250369 h 6858000"/>
              <a:gd name="connsiteX618" fmla="*/ 678222 w 7467600"/>
              <a:gd name="connsiteY618" fmla="*/ 1248670 h 6858000"/>
              <a:gd name="connsiteX619" fmla="*/ 775536 w 7467600"/>
              <a:gd name="connsiteY619" fmla="*/ 1388015 h 6858000"/>
              <a:gd name="connsiteX620" fmla="*/ 894529 w 7467600"/>
              <a:gd name="connsiteY620" fmla="*/ 1567739 h 6858000"/>
              <a:gd name="connsiteX621" fmla="*/ 948000 w 7467600"/>
              <a:gd name="connsiteY621" fmla="*/ 1663088 h 6858000"/>
              <a:gd name="connsiteX622" fmla="*/ 1006812 w 7467600"/>
              <a:gd name="connsiteY622" fmla="*/ 1767683 h 6858000"/>
              <a:gd name="connsiteX623" fmla="*/ 1149133 w 7467600"/>
              <a:gd name="connsiteY623" fmla="*/ 1971513 h 6858000"/>
              <a:gd name="connsiteX624" fmla="*/ 1333952 w 7467600"/>
              <a:gd name="connsiteY624" fmla="*/ 2251620 h 6858000"/>
              <a:gd name="connsiteX625" fmla="*/ 1337329 w 7467600"/>
              <a:gd name="connsiteY625" fmla="*/ 2258350 h 6858000"/>
              <a:gd name="connsiteX626" fmla="*/ 1014726 w 7467600"/>
              <a:gd name="connsiteY626" fmla="*/ 1615556 h 6858000"/>
              <a:gd name="connsiteX627" fmla="*/ 678222 w 7467600"/>
              <a:gd name="connsiteY627" fmla="*/ 1248670 h 6858000"/>
              <a:gd name="connsiteX628" fmla="*/ 6691602 w 7467600"/>
              <a:gd name="connsiteY628" fmla="*/ 1140573 h 6858000"/>
              <a:gd name="connsiteX629" fmla="*/ 6571100 w 7467600"/>
              <a:gd name="connsiteY629" fmla="*/ 1183662 h 6858000"/>
              <a:gd name="connsiteX630" fmla="*/ 6241687 w 7467600"/>
              <a:gd name="connsiteY630" fmla="*/ 1257600 h 6858000"/>
              <a:gd name="connsiteX631" fmla="*/ 5693009 w 7467600"/>
              <a:gd name="connsiteY631" fmla="*/ 1478256 h 6858000"/>
              <a:gd name="connsiteX632" fmla="*/ 6548420 w 7467600"/>
              <a:gd name="connsiteY632" fmla="*/ 1214599 h 6858000"/>
              <a:gd name="connsiteX633" fmla="*/ 6605473 w 7467600"/>
              <a:gd name="connsiteY633" fmla="*/ 1184686 h 6858000"/>
              <a:gd name="connsiteX634" fmla="*/ 6691602 w 7467600"/>
              <a:gd name="connsiteY634" fmla="*/ 1140573 h 6858000"/>
              <a:gd name="connsiteX635" fmla="*/ 4002475 w 7467600"/>
              <a:gd name="connsiteY635" fmla="*/ 1037802 h 6858000"/>
              <a:gd name="connsiteX636" fmla="*/ 4000324 w 7467600"/>
              <a:gd name="connsiteY636" fmla="*/ 1039362 h 6858000"/>
              <a:gd name="connsiteX637" fmla="*/ 4002862 w 7467600"/>
              <a:gd name="connsiteY637" fmla="*/ 1042866 h 6858000"/>
              <a:gd name="connsiteX638" fmla="*/ 4002475 w 7467600"/>
              <a:gd name="connsiteY638" fmla="*/ 1037802 h 6858000"/>
              <a:gd name="connsiteX639" fmla="*/ 506322 w 7467600"/>
              <a:gd name="connsiteY639" fmla="*/ 1020997 h 6858000"/>
              <a:gd name="connsiteX640" fmla="*/ 533068 w 7467600"/>
              <a:gd name="connsiteY640" fmla="*/ 1029409 h 6858000"/>
              <a:gd name="connsiteX641" fmla="*/ 1232525 w 7467600"/>
              <a:gd name="connsiteY641" fmla="*/ 1804675 h 6858000"/>
              <a:gd name="connsiteX642" fmla="*/ 1388858 w 7467600"/>
              <a:gd name="connsiteY642" fmla="*/ 2368011 h 6858000"/>
              <a:gd name="connsiteX643" fmla="*/ 1384098 w 7467600"/>
              <a:gd name="connsiteY643" fmla="*/ 2378125 h 6858000"/>
              <a:gd name="connsiteX644" fmla="*/ 1425393 w 7467600"/>
              <a:gd name="connsiteY644" fmla="*/ 2589124 h 6858000"/>
              <a:gd name="connsiteX645" fmla="*/ 1424001 w 7467600"/>
              <a:gd name="connsiteY645" fmla="*/ 2597541 h 6858000"/>
              <a:gd name="connsiteX646" fmla="*/ 2152729 w 7467600"/>
              <a:gd name="connsiteY646" fmla="*/ 2864487 h 6858000"/>
              <a:gd name="connsiteX647" fmla="*/ 2020609 w 7467600"/>
              <a:gd name="connsiteY647" fmla="*/ 2539671 h 6858000"/>
              <a:gd name="connsiteX648" fmla="*/ 2018920 w 7467600"/>
              <a:gd name="connsiteY648" fmla="*/ 2536309 h 6858000"/>
              <a:gd name="connsiteX649" fmla="*/ 1342441 w 7467600"/>
              <a:gd name="connsiteY649" fmla="*/ 1173017 h 6858000"/>
              <a:gd name="connsiteX650" fmla="*/ 1367925 w 7467600"/>
              <a:gd name="connsiteY650" fmla="*/ 1135648 h 6858000"/>
              <a:gd name="connsiteX651" fmla="*/ 1771401 w 7467600"/>
              <a:gd name="connsiteY651" fmla="*/ 1806673 h 6858000"/>
              <a:gd name="connsiteX652" fmla="*/ 1972385 w 7467600"/>
              <a:gd name="connsiteY652" fmla="*/ 2198735 h 6858000"/>
              <a:gd name="connsiteX653" fmla="*/ 2040892 w 7467600"/>
              <a:gd name="connsiteY653" fmla="*/ 2405205 h 6858000"/>
              <a:gd name="connsiteX654" fmla="*/ 2131689 w 7467600"/>
              <a:gd name="connsiteY654" fmla="*/ 1936926 h 6858000"/>
              <a:gd name="connsiteX655" fmla="*/ 2454820 w 7467600"/>
              <a:gd name="connsiteY655" fmla="*/ 1248808 h 6858000"/>
              <a:gd name="connsiteX656" fmla="*/ 2492512 w 7467600"/>
              <a:gd name="connsiteY656" fmla="*/ 1302920 h 6858000"/>
              <a:gd name="connsiteX657" fmla="*/ 2081216 w 7467600"/>
              <a:gd name="connsiteY657" fmla="*/ 2527513 h 6858000"/>
              <a:gd name="connsiteX658" fmla="*/ 2081211 w 7467600"/>
              <a:gd name="connsiteY658" fmla="*/ 2528916 h 6858000"/>
              <a:gd name="connsiteX659" fmla="*/ 2199067 w 7467600"/>
              <a:gd name="connsiteY659" fmla="*/ 2884061 h 6858000"/>
              <a:gd name="connsiteX660" fmla="*/ 3192586 w 7467600"/>
              <a:gd name="connsiteY660" fmla="*/ 3411496 h 6858000"/>
              <a:gd name="connsiteX661" fmla="*/ 3182620 w 7467600"/>
              <a:gd name="connsiteY661" fmla="*/ 3483279 h 6858000"/>
              <a:gd name="connsiteX662" fmla="*/ 2435119 w 7467600"/>
              <a:gd name="connsiteY662" fmla="*/ 3080173 h 6858000"/>
              <a:gd name="connsiteX663" fmla="*/ 2410152 w 7467600"/>
              <a:gd name="connsiteY663" fmla="*/ 3063751 h 6858000"/>
              <a:gd name="connsiteX664" fmla="*/ 2408099 w 7467600"/>
              <a:gd name="connsiteY664" fmla="*/ 3064403 h 6858000"/>
              <a:gd name="connsiteX665" fmla="*/ 2407218 w 7467600"/>
              <a:gd name="connsiteY665" fmla="*/ 3070324 h 6858000"/>
              <a:gd name="connsiteX666" fmla="*/ 2380138 w 7467600"/>
              <a:gd name="connsiteY666" fmla="*/ 3099341 h 6858000"/>
              <a:gd name="connsiteX667" fmla="*/ 1765923 w 7467600"/>
              <a:gd name="connsiteY667" fmla="*/ 3581043 h 6858000"/>
              <a:gd name="connsiteX668" fmla="*/ 1702258 w 7467600"/>
              <a:gd name="connsiteY668" fmla="*/ 3612286 h 6858000"/>
              <a:gd name="connsiteX669" fmla="*/ 1538370 w 7467600"/>
              <a:gd name="connsiteY669" fmla="*/ 3811804 h 6858000"/>
              <a:gd name="connsiteX670" fmla="*/ 542867 w 7467600"/>
              <a:gd name="connsiteY670" fmla="*/ 4944092 h 6858000"/>
              <a:gd name="connsiteX671" fmla="*/ 515800 w 7467600"/>
              <a:gd name="connsiteY671" fmla="*/ 4862180 h 6858000"/>
              <a:gd name="connsiteX672" fmla="*/ 909145 w 7467600"/>
              <a:gd name="connsiteY672" fmla="*/ 4199225 h 6858000"/>
              <a:gd name="connsiteX673" fmla="*/ 1214067 w 7467600"/>
              <a:gd name="connsiteY673" fmla="*/ 3908561 h 6858000"/>
              <a:gd name="connsiteX674" fmla="*/ 640967 w 7467600"/>
              <a:gd name="connsiteY674" fmla="*/ 4105601 h 6858000"/>
              <a:gd name="connsiteX675" fmla="*/ 112563 w 7467600"/>
              <a:gd name="connsiteY675" fmla="*/ 4396952 h 6858000"/>
              <a:gd name="connsiteX676" fmla="*/ 0 w 7467600"/>
              <a:gd name="connsiteY676" fmla="*/ 4466006 h 6858000"/>
              <a:gd name="connsiteX677" fmla="*/ 0 w 7467600"/>
              <a:gd name="connsiteY677" fmla="*/ 4233763 h 6858000"/>
              <a:gd name="connsiteX678" fmla="*/ 36881 w 7467600"/>
              <a:gd name="connsiteY678" fmla="*/ 4200118 h 6858000"/>
              <a:gd name="connsiteX679" fmla="*/ 910534 w 7467600"/>
              <a:gd name="connsiteY679" fmla="*/ 3629753 h 6858000"/>
              <a:gd name="connsiteX680" fmla="*/ 1578717 w 7467600"/>
              <a:gd name="connsiteY680" fmla="*/ 3575982 h 6858000"/>
              <a:gd name="connsiteX681" fmla="*/ 2338780 w 7467600"/>
              <a:gd name="connsiteY681" fmla="*/ 3033725 h 6858000"/>
              <a:gd name="connsiteX682" fmla="*/ 1807991 w 7467600"/>
              <a:gd name="connsiteY682" fmla="*/ 2807184 h 6858000"/>
              <a:gd name="connsiteX683" fmla="*/ 1416358 w 7467600"/>
              <a:gd name="connsiteY683" fmla="*/ 3112571 h 6858000"/>
              <a:gd name="connsiteX684" fmla="*/ 939066 w 7467600"/>
              <a:gd name="connsiteY684" fmla="*/ 3378798 h 6858000"/>
              <a:gd name="connsiteX685" fmla="*/ 115099 w 7467600"/>
              <a:gd name="connsiteY685" fmla="*/ 3607650 h 6858000"/>
              <a:gd name="connsiteX686" fmla="*/ 97284 w 7467600"/>
              <a:gd name="connsiteY686" fmla="*/ 3520393 h 6858000"/>
              <a:gd name="connsiteX687" fmla="*/ 922050 w 7467600"/>
              <a:gd name="connsiteY687" fmla="*/ 3074867 h 6858000"/>
              <a:gd name="connsiteX688" fmla="*/ 1405265 w 7467600"/>
              <a:gd name="connsiteY688" fmla="*/ 3016319 h 6858000"/>
              <a:gd name="connsiteX689" fmla="*/ 1407512 w 7467600"/>
              <a:gd name="connsiteY689" fmla="*/ 3018001 h 6858000"/>
              <a:gd name="connsiteX690" fmla="*/ 1726266 w 7467600"/>
              <a:gd name="connsiteY690" fmla="*/ 2777274 h 6858000"/>
              <a:gd name="connsiteX691" fmla="*/ 625390 w 7467600"/>
              <a:gd name="connsiteY691" fmla="*/ 2514541 h 6858000"/>
              <a:gd name="connsiteX692" fmla="*/ 619799 w 7467600"/>
              <a:gd name="connsiteY692" fmla="*/ 2527180 h 6858000"/>
              <a:gd name="connsiteX693" fmla="*/ 310030 w 7467600"/>
              <a:gd name="connsiteY693" fmla="*/ 2771818 h 6858000"/>
              <a:gd name="connsiteX694" fmla="*/ 173877 w 7467600"/>
              <a:gd name="connsiteY694" fmla="*/ 2937056 h 6858000"/>
              <a:gd name="connsiteX695" fmla="*/ 77889 w 7467600"/>
              <a:gd name="connsiteY695" fmla="*/ 3138440 h 6858000"/>
              <a:gd name="connsiteX696" fmla="*/ 0 w 7467600"/>
              <a:gd name="connsiteY696" fmla="*/ 3271395 h 6858000"/>
              <a:gd name="connsiteX697" fmla="*/ 0 w 7467600"/>
              <a:gd name="connsiteY697" fmla="*/ 3153002 h 6858000"/>
              <a:gd name="connsiteX698" fmla="*/ 2386 w 7467600"/>
              <a:gd name="connsiteY698" fmla="*/ 3149203 h 6858000"/>
              <a:gd name="connsiteX699" fmla="*/ 89753 w 7467600"/>
              <a:gd name="connsiteY699" fmla="*/ 2987702 h 6858000"/>
              <a:gd name="connsiteX700" fmla="*/ 76869 w 7467600"/>
              <a:gd name="connsiteY700" fmla="*/ 3005404 h 6858000"/>
              <a:gd name="connsiteX701" fmla="*/ 32049 w 7467600"/>
              <a:gd name="connsiteY701" fmla="*/ 3065814 h 6858000"/>
              <a:gd name="connsiteX702" fmla="*/ 0 w 7467600"/>
              <a:gd name="connsiteY702" fmla="*/ 3108744 h 6858000"/>
              <a:gd name="connsiteX703" fmla="*/ 0 w 7467600"/>
              <a:gd name="connsiteY703" fmla="*/ 3058059 h 6858000"/>
              <a:gd name="connsiteX704" fmla="*/ 7610 w 7467600"/>
              <a:gd name="connsiteY704" fmla="*/ 3047889 h 6858000"/>
              <a:gd name="connsiteX705" fmla="*/ 52419 w 7467600"/>
              <a:gd name="connsiteY705" fmla="*/ 2987479 h 6858000"/>
              <a:gd name="connsiteX706" fmla="*/ 59142 w 7467600"/>
              <a:gd name="connsiteY706" fmla="*/ 2978488 h 6858000"/>
              <a:gd name="connsiteX707" fmla="*/ 0 w 7467600"/>
              <a:gd name="connsiteY707" fmla="*/ 3015334 h 6858000"/>
              <a:gd name="connsiteX708" fmla="*/ 0 w 7467600"/>
              <a:gd name="connsiteY708" fmla="*/ 2914286 h 6858000"/>
              <a:gd name="connsiteX709" fmla="*/ 36383 w 7467600"/>
              <a:gd name="connsiteY709" fmla="*/ 2901128 h 6858000"/>
              <a:gd name="connsiteX710" fmla="*/ 156329 w 7467600"/>
              <a:gd name="connsiteY710" fmla="*/ 2840533 h 6858000"/>
              <a:gd name="connsiteX711" fmla="*/ 358355 w 7467600"/>
              <a:gd name="connsiteY711" fmla="*/ 2620471 h 6858000"/>
              <a:gd name="connsiteX712" fmla="*/ 510577 w 7467600"/>
              <a:gd name="connsiteY712" fmla="*/ 2501244 h 6858000"/>
              <a:gd name="connsiteX713" fmla="*/ 211967 w 7467600"/>
              <a:gd name="connsiteY713" fmla="*/ 2479171 h 6858000"/>
              <a:gd name="connsiteX714" fmla="*/ 0 w 7467600"/>
              <a:gd name="connsiteY714" fmla="*/ 2476398 h 6858000"/>
              <a:gd name="connsiteX715" fmla="*/ 0 w 7467600"/>
              <a:gd name="connsiteY715" fmla="*/ 2389189 h 6858000"/>
              <a:gd name="connsiteX716" fmla="*/ 103062 w 7467600"/>
              <a:gd name="connsiteY716" fmla="*/ 2389518 h 6858000"/>
              <a:gd name="connsiteX717" fmla="*/ 510734 w 7467600"/>
              <a:gd name="connsiteY717" fmla="*/ 2416201 h 6858000"/>
              <a:gd name="connsiteX718" fmla="*/ 279257 w 7467600"/>
              <a:gd name="connsiteY718" fmla="*/ 2092102 h 6858000"/>
              <a:gd name="connsiteX719" fmla="*/ 65265 w 7467600"/>
              <a:gd name="connsiteY719" fmla="*/ 2006049 h 6858000"/>
              <a:gd name="connsiteX720" fmla="*/ 0 w 7467600"/>
              <a:gd name="connsiteY720" fmla="*/ 1982532 h 6858000"/>
              <a:gd name="connsiteX721" fmla="*/ 0 w 7467600"/>
              <a:gd name="connsiteY721" fmla="*/ 1912789 h 6858000"/>
              <a:gd name="connsiteX722" fmla="*/ 97460 w 7467600"/>
              <a:gd name="connsiteY722" fmla="*/ 1953725 h 6858000"/>
              <a:gd name="connsiteX723" fmla="*/ 221272 w 7467600"/>
              <a:gd name="connsiteY723" fmla="*/ 1980766 h 6858000"/>
              <a:gd name="connsiteX724" fmla="*/ 116765 w 7467600"/>
              <a:gd name="connsiteY724" fmla="*/ 1911033 h 6858000"/>
              <a:gd name="connsiteX725" fmla="*/ 16405 w 7467600"/>
              <a:gd name="connsiteY725" fmla="*/ 1803412 h 6858000"/>
              <a:gd name="connsiteX726" fmla="*/ 0 w 7467600"/>
              <a:gd name="connsiteY726" fmla="*/ 1784777 h 6858000"/>
              <a:gd name="connsiteX727" fmla="*/ 0 w 7467600"/>
              <a:gd name="connsiteY727" fmla="*/ 1740082 h 6858000"/>
              <a:gd name="connsiteX728" fmla="*/ 39394 w 7467600"/>
              <a:gd name="connsiteY728" fmla="*/ 1784856 h 6858000"/>
              <a:gd name="connsiteX729" fmla="*/ 135813 w 7467600"/>
              <a:gd name="connsiteY729" fmla="*/ 1888838 h 6858000"/>
              <a:gd name="connsiteX730" fmla="*/ 242575 w 7467600"/>
              <a:gd name="connsiteY730" fmla="*/ 1958841 h 6858000"/>
              <a:gd name="connsiteX731" fmla="*/ 82197 w 7467600"/>
              <a:gd name="connsiteY731" fmla="*/ 1754826 h 6858000"/>
              <a:gd name="connsiteX732" fmla="*/ 0 w 7467600"/>
              <a:gd name="connsiteY732" fmla="*/ 1679650 h 6858000"/>
              <a:gd name="connsiteX733" fmla="*/ 0 w 7467600"/>
              <a:gd name="connsiteY733" fmla="*/ 1602463 h 6858000"/>
              <a:gd name="connsiteX734" fmla="*/ 84689 w 7467600"/>
              <a:gd name="connsiteY734" fmla="*/ 1677442 h 6858000"/>
              <a:gd name="connsiteX735" fmla="*/ 298437 w 7467600"/>
              <a:gd name="connsiteY735" fmla="*/ 1968019 h 6858000"/>
              <a:gd name="connsiteX736" fmla="*/ 227269 w 7467600"/>
              <a:gd name="connsiteY736" fmla="*/ 1114064 h 6858000"/>
              <a:gd name="connsiteX737" fmla="*/ 248003 w 7467600"/>
              <a:gd name="connsiteY737" fmla="*/ 1089613 h 6858000"/>
              <a:gd name="connsiteX738" fmla="*/ 427020 w 7467600"/>
              <a:gd name="connsiteY738" fmla="*/ 1619803 h 6858000"/>
              <a:gd name="connsiteX739" fmla="*/ 340345 w 7467600"/>
              <a:gd name="connsiteY739" fmla="*/ 2027739 h 6858000"/>
              <a:gd name="connsiteX740" fmla="*/ 360865 w 7467600"/>
              <a:gd name="connsiteY740" fmla="*/ 2044827 h 6858000"/>
              <a:gd name="connsiteX741" fmla="*/ 560414 w 7467600"/>
              <a:gd name="connsiteY741" fmla="*/ 2421457 h 6858000"/>
              <a:gd name="connsiteX742" fmla="*/ 1359703 w 7467600"/>
              <a:gd name="connsiteY742" fmla="*/ 2578554 h 6858000"/>
              <a:gd name="connsiteX743" fmla="*/ 1359422 w 7467600"/>
              <a:gd name="connsiteY743" fmla="*/ 2577994 h 6858000"/>
              <a:gd name="connsiteX744" fmla="*/ 828701 w 7467600"/>
              <a:gd name="connsiteY744" fmla="*/ 1839520 h 6858000"/>
              <a:gd name="connsiteX745" fmla="*/ 494427 w 7467600"/>
              <a:gd name="connsiteY745" fmla="*/ 1092333 h 6858000"/>
              <a:gd name="connsiteX746" fmla="*/ 506322 w 7467600"/>
              <a:gd name="connsiteY746" fmla="*/ 1020997 h 6858000"/>
              <a:gd name="connsiteX747" fmla="*/ 4570198 w 7467600"/>
              <a:gd name="connsiteY747" fmla="*/ 978081 h 6858000"/>
              <a:gd name="connsiteX748" fmla="*/ 4523691 w 7467600"/>
              <a:gd name="connsiteY748" fmla="*/ 1127776 h 6858000"/>
              <a:gd name="connsiteX749" fmla="*/ 4509875 w 7467600"/>
              <a:gd name="connsiteY749" fmla="*/ 1167552 h 6858000"/>
              <a:gd name="connsiteX750" fmla="*/ 4478168 w 7467600"/>
              <a:gd name="connsiteY750" fmla="*/ 1260735 h 6858000"/>
              <a:gd name="connsiteX751" fmla="*/ 4409309 w 7467600"/>
              <a:gd name="connsiteY751" fmla="*/ 1666996 h 6858000"/>
              <a:gd name="connsiteX752" fmla="*/ 4370031 w 7467600"/>
              <a:gd name="connsiteY752" fmla="*/ 1955666 h 6858000"/>
              <a:gd name="connsiteX753" fmla="*/ 4570198 w 7467600"/>
              <a:gd name="connsiteY753" fmla="*/ 978081 h 6858000"/>
              <a:gd name="connsiteX754" fmla="*/ 4557898 w 7467600"/>
              <a:gd name="connsiteY754" fmla="*/ 900011 h 6858000"/>
              <a:gd name="connsiteX755" fmla="*/ 4344840 w 7467600"/>
              <a:gd name="connsiteY755" fmla="*/ 1922038 h 6858000"/>
              <a:gd name="connsiteX756" fmla="*/ 4378710 w 7467600"/>
              <a:gd name="connsiteY756" fmla="*/ 1665516 h 6858000"/>
              <a:gd name="connsiteX757" fmla="*/ 4448798 w 7467600"/>
              <a:gd name="connsiteY757" fmla="*/ 1253024 h 6858000"/>
              <a:gd name="connsiteX758" fmla="*/ 4480315 w 7467600"/>
              <a:gd name="connsiteY758" fmla="*/ 1158454 h 6858000"/>
              <a:gd name="connsiteX759" fmla="*/ 4494133 w 7467600"/>
              <a:gd name="connsiteY759" fmla="*/ 1118676 h 6858000"/>
              <a:gd name="connsiteX760" fmla="*/ 4557898 w 7467600"/>
              <a:gd name="connsiteY760" fmla="*/ 900011 h 6858000"/>
              <a:gd name="connsiteX761" fmla="*/ 5870151 w 7467600"/>
              <a:gd name="connsiteY761" fmla="*/ 898890 h 6858000"/>
              <a:gd name="connsiteX762" fmla="*/ 5861335 w 7467600"/>
              <a:gd name="connsiteY762" fmla="*/ 899177 h 6858000"/>
              <a:gd name="connsiteX763" fmla="*/ 5843702 w 7467600"/>
              <a:gd name="connsiteY763" fmla="*/ 899748 h 6858000"/>
              <a:gd name="connsiteX764" fmla="*/ 5651107 w 7467600"/>
              <a:gd name="connsiteY764" fmla="*/ 920306 h 6858000"/>
              <a:gd name="connsiteX765" fmla="*/ 5459407 w 7467600"/>
              <a:gd name="connsiteY765" fmla="*/ 940975 h 6858000"/>
              <a:gd name="connsiteX766" fmla="*/ 5374846 w 7467600"/>
              <a:gd name="connsiteY766" fmla="*/ 941988 h 6858000"/>
              <a:gd name="connsiteX767" fmla="*/ 5256105 w 7467600"/>
              <a:gd name="connsiteY767" fmla="*/ 945632 h 6858000"/>
              <a:gd name="connsiteX768" fmla="*/ 5107071 w 7467600"/>
              <a:gd name="connsiteY768" fmla="*/ 969720 h 6858000"/>
              <a:gd name="connsiteX769" fmla="*/ 4998681 w 7467600"/>
              <a:gd name="connsiteY769" fmla="*/ 988771 h 6858000"/>
              <a:gd name="connsiteX770" fmla="*/ 5870151 w 7467600"/>
              <a:gd name="connsiteY770" fmla="*/ 898890 h 6858000"/>
              <a:gd name="connsiteX771" fmla="*/ 5504425 w 7467600"/>
              <a:gd name="connsiteY771" fmla="*/ 848067 h 6858000"/>
              <a:gd name="connsiteX772" fmla="*/ 4968849 w 7467600"/>
              <a:gd name="connsiteY772" fmla="*/ 962318 h 6858000"/>
              <a:gd name="connsiteX773" fmla="*/ 5104039 w 7467600"/>
              <a:gd name="connsiteY773" fmla="*/ 940634 h 6858000"/>
              <a:gd name="connsiteX774" fmla="*/ 5256311 w 7467600"/>
              <a:gd name="connsiteY774" fmla="*/ 916490 h 6858000"/>
              <a:gd name="connsiteX775" fmla="*/ 5377381 w 7467600"/>
              <a:gd name="connsiteY775" fmla="*/ 912671 h 6858000"/>
              <a:gd name="connsiteX776" fmla="*/ 5460148 w 7467600"/>
              <a:gd name="connsiteY776" fmla="*/ 911442 h 6858000"/>
              <a:gd name="connsiteX777" fmla="*/ 5648971 w 7467600"/>
              <a:gd name="connsiteY777" fmla="*/ 891331 h 6858000"/>
              <a:gd name="connsiteX778" fmla="*/ 5844807 w 7467600"/>
              <a:gd name="connsiteY778" fmla="*/ 870718 h 6858000"/>
              <a:gd name="connsiteX779" fmla="*/ 5862975 w 7467600"/>
              <a:gd name="connsiteY779" fmla="*/ 869756 h 6858000"/>
              <a:gd name="connsiteX780" fmla="*/ 5920887 w 7467600"/>
              <a:gd name="connsiteY780" fmla="*/ 865929 h 6858000"/>
              <a:gd name="connsiteX781" fmla="*/ 5504425 w 7467600"/>
              <a:gd name="connsiteY781" fmla="*/ 848067 h 6858000"/>
              <a:gd name="connsiteX782" fmla="*/ 3607114 w 7467600"/>
              <a:gd name="connsiteY782" fmla="*/ 467441 h 6858000"/>
              <a:gd name="connsiteX783" fmla="*/ 3296242 w 7467600"/>
              <a:gd name="connsiteY783" fmla="*/ 807991 h 6858000"/>
              <a:gd name="connsiteX784" fmla="*/ 3174674 w 7467600"/>
              <a:gd name="connsiteY784" fmla="*/ 919759 h 6858000"/>
              <a:gd name="connsiteX785" fmla="*/ 3042978 w 7467600"/>
              <a:gd name="connsiteY785" fmla="*/ 1054894 h 6858000"/>
              <a:gd name="connsiteX786" fmla="*/ 2968914 w 7467600"/>
              <a:gd name="connsiteY786" fmla="*/ 1133756 h 6858000"/>
              <a:gd name="connsiteX787" fmla="*/ 3103823 w 7467600"/>
              <a:gd name="connsiteY787" fmla="*/ 1026814 h 6858000"/>
              <a:gd name="connsiteX788" fmla="*/ 3607114 w 7467600"/>
              <a:gd name="connsiteY788" fmla="*/ 467441 h 6858000"/>
              <a:gd name="connsiteX789" fmla="*/ 3744487 w 7467600"/>
              <a:gd name="connsiteY789" fmla="*/ 383136 h 6858000"/>
              <a:gd name="connsiteX790" fmla="*/ 3970213 w 7467600"/>
              <a:gd name="connsiteY790" fmla="*/ 995559 h 6858000"/>
              <a:gd name="connsiteX791" fmla="*/ 3744487 w 7467600"/>
              <a:gd name="connsiteY791" fmla="*/ 383136 h 6858000"/>
              <a:gd name="connsiteX792" fmla="*/ 3624562 w 7467600"/>
              <a:gd name="connsiteY792" fmla="*/ 367041 h 6858000"/>
              <a:gd name="connsiteX793" fmla="*/ 3489712 w 7467600"/>
              <a:gd name="connsiteY793" fmla="*/ 485386 h 6858000"/>
              <a:gd name="connsiteX794" fmla="*/ 3182994 w 7467600"/>
              <a:gd name="connsiteY794" fmla="*/ 828265 h 6858000"/>
              <a:gd name="connsiteX795" fmla="*/ 2892114 w 7467600"/>
              <a:gd name="connsiteY795" fmla="*/ 1172635 h 6858000"/>
              <a:gd name="connsiteX796" fmla="*/ 3021459 w 7467600"/>
              <a:gd name="connsiteY796" fmla="*/ 1035385 h 6858000"/>
              <a:gd name="connsiteX797" fmla="*/ 3153873 w 7467600"/>
              <a:gd name="connsiteY797" fmla="*/ 898971 h 6858000"/>
              <a:gd name="connsiteX798" fmla="*/ 3276511 w 7467600"/>
              <a:gd name="connsiteY798" fmla="*/ 786423 h 6858000"/>
              <a:gd name="connsiteX799" fmla="*/ 3584154 w 7467600"/>
              <a:gd name="connsiteY799" fmla="*/ 448218 h 6858000"/>
              <a:gd name="connsiteX800" fmla="*/ 3624562 w 7467600"/>
              <a:gd name="connsiteY800" fmla="*/ 367041 h 6858000"/>
              <a:gd name="connsiteX801" fmla="*/ 3766672 w 7467600"/>
              <a:gd name="connsiteY801" fmla="*/ 359429 h 6858000"/>
              <a:gd name="connsiteX802" fmla="*/ 3996338 w 7467600"/>
              <a:gd name="connsiteY802" fmla="*/ 968237 h 6858000"/>
              <a:gd name="connsiteX803" fmla="*/ 3766672 w 7467600"/>
              <a:gd name="connsiteY803" fmla="*/ 359429 h 6858000"/>
              <a:gd name="connsiteX804" fmla="*/ 5805386 w 7467600"/>
              <a:gd name="connsiteY804" fmla="*/ 239240 h 6858000"/>
              <a:gd name="connsiteX805" fmla="*/ 5736947 w 7467600"/>
              <a:gd name="connsiteY805" fmla="*/ 261367 h 6858000"/>
              <a:gd name="connsiteX806" fmla="*/ 5427012 w 7467600"/>
              <a:gd name="connsiteY806" fmla="*/ 311272 h 6858000"/>
              <a:gd name="connsiteX807" fmla="*/ 5147818 w 7467600"/>
              <a:gd name="connsiteY807" fmla="*/ 322112 h 6858000"/>
              <a:gd name="connsiteX808" fmla="*/ 5060854 w 7467600"/>
              <a:gd name="connsiteY808" fmla="*/ 311882 h 6858000"/>
              <a:gd name="connsiteX809" fmla="*/ 4945989 w 7467600"/>
              <a:gd name="connsiteY809" fmla="*/ 300516 h 6858000"/>
              <a:gd name="connsiteX810" fmla="*/ 5410479 w 7467600"/>
              <a:gd name="connsiteY810" fmla="*/ 348434 h 6858000"/>
              <a:gd name="connsiteX811" fmla="*/ 5805386 w 7467600"/>
              <a:gd name="connsiteY811" fmla="*/ 239240 h 6858000"/>
              <a:gd name="connsiteX812" fmla="*/ 5905192 w 7467600"/>
              <a:gd name="connsiteY812" fmla="*/ 163079 h 6858000"/>
              <a:gd name="connsiteX813" fmla="*/ 5865655 w 7467600"/>
              <a:gd name="connsiteY813" fmla="*/ 171901 h 6858000"/>
              <a:gd name="connsiteX814" fmla="*/ 5259740 w 7467600"/>
              <a:gd name="connsiteY814" fmla="*/ 257013 h 6858000"/>
              <a:gd name="connsiteX815" fmla="*/ 5208466 w 7467600"/>
              <a:gd name="connsiteY815" fmla="*/ 257550 h 6858000"/>
              <a:gd name="connsiteX816" fmla="*/ 4980204 w 7467600"/>
              <a:gd name="connsiteY816" fmla="*/ 271903 h 6858000"/>
              <a:gd name="connsiteX817" fmla="*/ 5068068 w 7467600"/>
              <a:gd name="connsiteY817" fmla="*/ 282244 h 6858000"/>
              <a:gd name="connsiteX818" fmla="*/ 5153231 w 7467600"/>
              <a:gd name="connsiteY818" fmla="*/ 292240 h 6858000"/>
              <a:gd name="connsiteX819" fmla="*/ 5426491 w 7467600"/>
              <a:gd name="connsiteY819" fmla="*/ 281128 h 6858000"/>
              <a:gd name="connsiteX820" fmla="*/ 5731212 w 7467600"/>
              <a:gd name="connsiteY820" fmla="*/ 231951 h 6858000"/>
              <a:gd name="connsiteX821" fmla="*/ 5905192 w 7467600"/>
              <a:gd name="connsiteY821" fmla="*/ 163079 h 6858000"/>
              <a:gd name="connsiteX822" fmla="*/ 5944437 w 7467600"/>
              <a:gd name="connsiteY822" fmla="*/ 113829 h 6858000"/>
              <a:gd name="connsiteX823" fmla="*/ 5825032 w 7467600"/>
              <a:gd name="connsiteY823" fmla="*/ 146405 h 6858000"/>
              <a:gd name="connsiteX824" fmla="*/ 4955599 w 7467600"/>
              <a:gd name="connsiteY824" fmla="*/ 247008 h 6858000"/>
              <a:gd name="connsiteX825" fmla="*/ 5210104 w 7467600"/>
              <a:gd name="connsiteY825" fmla="*/ 228123 h 6858000"/>
              <a:gd name="connsiteX826" fmla="*/ 5261015 w 7467600"/>
              <a:gd name="connsiteY826" fmla="*/ 227087 h 6858000"/>
              <a:gd name="connsiteX827" fmla="*/ 5861181 w 7467600"/>
              <a:gd name="connsiteY827" fmla="*/ 143093 h 6858000"/>
              <a:gd name="connsiteX828" fmla="*/ 5961252 w 7467600"/>
              <a:gd name="connsiteY828" fmla="*/ 114820 h 6858000"/>
              <a:gd name="connsiteX829" fmla="*/ 5944437 w 7467600"/>
              <a:gd name="connsiteY829" fmla="*/ 113829 h 6858000"/>
              <a:gd name="connsiteX830" fmla="*/ 3882765 w 7467600"/>
              <a:gd name="connsiteY830" fmla="*/ 0 h 6858000"/>
              <a:gd name="connsiteX831" fmla="*/ 3995099 w 7467600"/>
              <a:gd name="connsiteY831" fmla="*/ 0 h 6858000"/>
              <a:gd name="connsiteX832" fmla="*/ 4163818 w 7467600"/>
              <a:gd name="connsiteY832" fmla="*/ 234104 h 6858000"/>
              <a:gd name="connsiteX833" fmla="*/ 4172099 w 7467600"/>
              <a:gd name="connsiteY833" fmla="*/ 234207 h 6858000"/>
              <a:gd name="connsiteX834" fmla="*/ 4784282 w 7467600"/>
              <a:gd name="connsiteY834" fmla="*/ 276561 h 6858000"/>
              <a:gd name="connsiteX835" fmla="*/ 4801687 w 7467600"/>
              <a:gd name="connsiteY835" fmla="*/ 267764 h 6858000"/>
              <a:gd name="connsiteX836" fmla="*/ 6082788 w 7467600"/>
              <a:gd name="connsiteY836" fmla="*/ 64119 h 6858000"/>
              <a:gd name="connsiteX837" fmla="*/ 6099442 w 7467600"/>
              <a:gd name="connsiteY837" fmla="*/ 82568 h 6858000"/>
              <a:gd name="connsiteX838" fmla="*/ 4804137 w 7467600"/>
              <a:gd name="connsiteY838" fmla="*/ 320931 h 6858000"/>
              <a:gd name="connsiteX839" fmla="*/ 4227047 w 7467600"/>
              <a:gd name="connsiteY839" fmla="*/ 313415 h 6858000"/>
              <a:gd name="connsiteX840" fmla="*/ 4346041 w 7467600"/>
              <a:gd name="connsiteY840" fmla="*/ 456086 h 6858000"/>
              <a:gd name="connsiteX841" fmla="*/ 4870967 w 7467600"/>
              <a:gd name="connsiteY841" fmla="*/ 963061 h 6858000"/>
              <a:gd name="connsiteX842" fmla="*/ 4889647 w 7467600"/>
              <a:gd name="connsiteY842" fmla="*/ 957147 h 6858000"/>
              <a:gd name="connsiteX843" fmla="*/ 5422504 w 7467600"/>
              <a:gd name="connsiteY843" fmla="*/ 805191 h 6858000"/>
              <a:gd name="connsiteX844" fmla="*/ 6087656 w 7467600"/>
              <a:gd name="connsiteY844" fmla="*/ 826703 h 6858000"/>
              <a:gd name="connsiteX845" fmla="*/ 6058717 w 7467600"/>
              <a:gd name="connsiteY845" fmla="*/ 865992 h 6858000"/>
              <a:gd name="connsiteX846" fmla="*/ 4974153 w 7467600"/>
              <a:gd name="connsiteY846" fmla="*/ 1045456 h 6858000"/>
              <a:gd name="connsiteX847" fmla="*/ 5627835 w 7467600"/>
              <a:gd name="connsiteY847" fmla="*/ 1472077 h 6858000"/>
              <a:gd name="connsiteX848" fmla="*/ 5629817 w 7467600"/>
              <a:gd name="connsiteY848" fmla="*/ 1471412 h 6858000"/>
              <a:gd name="connsiteX849" fmla="*/ 5634124 w 7467600"/>
              <a:gd name="connsiteY849" fmla="*/ 1470572 h 6858000"/>
              <a:gd name="connsiteX850" fmla="*/ 5755832 w 7467600"/>
              <a:gd name="connsiteY850" fmla="*/ 1383886 h 6858000"/>
              <a:gd name="connsiteX851" fmla="*/ 6014186 w 7467600"/>
              <a:gd name="connsiteY851" fmla="*/ 1279799 h 6858000"/>
              <a:gd name="connsiteX852" fmla="*/ 6901619 w 7467600"/>
              <a:gd name="connsiteY852" fmla="*/ 1047874 h 6858000"/>
              <a:gd name="connsiteX853" fmla="*/ 6931566 w 7467600"/>
              <a:gd name="connsiteY853" fmla="*/ 1062034 h 6858000"/>
              <a:gd name="connsiteX854" fmla="*/ 5790982 w 7467600"/>
              <a:gd name="connsiteY854" fmla="*/ 1561380 h 6858000"/>
              <a:gd name="connsiteX855" fmla="*/ 6188971 w 7467600"/>
              <a:gd name="connsiteY855" fmla="*/ 1755168 h 6858000"/>
              <a:gd name="connsiteX856" fmla="*/ 6202446 w 7467600"/>
              <a:gd name="connsiteY856" fmla="*/ 1752268 h 6858000"/>
              <a:gd name="connsiteX857" fmla="*/ 7179560 w 7467600"/>
              <a:gd name="connsiteY857" fmla="*/ 1467551 h 6858000"/>
              <a:gd name="connsiteX858" fmla="*/ 7158730 w 7467600"/>
              <a:gd name="connsiteY858" fmla="*/ 1507835 h 6858000"/>
              <a:gd name="connsiteX859" fmla="*/ 6326959 w 7467600"/>
              <a:gd name="connsiteY859" fmla="*/ 1817686 h 6858000"/>
              <a:gd name="connsiteX860" fmla="*/ 6537433 w 7467600"/>
              <a:gd name="connsiteY860" fmla="*/ 1907790 h 6858000"/>
              <a:gd name="connsiteX861" fmla="*/ 6550221 w 7467600"/>
              <a:gd name="connsiteY861" fmla="*/ 1910729 h 6858000"/>
              <a:gd name="connsiteX862" fmla="*/ 6964438 w 7467600"/>
              <a:gd name="connsiteY862" fmla="*/ 2209505 h 6858000"/>
              <a:gd name="connsiteX863" fmla="*/ 7367862 w 7467600"/>
              <a:gd name="connsiteY863" fmla="*/ 2806833 h 6858000"/>
              <a:gd name="connsiteX864" fmla="*/ 7364329 w 7467600"/>
              <a:gd name="connsiteY864" fmla="*/ 2826907 h 6858000"/>
              <a:gd name="connsiteX865" fmla="*/ 7290545 w 7467600"/>
              <a:gd name="connsiteY865" fmla="*/ 2850663 h 6858000"/>
              <a:gd name="connsiteX866" fmla="*/ 6472036 w 7467600"/>
              <a:gd name="connsiteY866" fmla="*/ 1959003 h 6858000"/>
              <a:gd name="connsiteX867" fmla="*/ 5792897 w 7467600"/>
              <a:gd name="connsiteY867" fmla="*/ 1647747 h 6858000"/>
              <a:gd name="connsiteX868" fmla="*/ 5842751 w 7467600"/>
              <a:gd name="connsiteY868" fmla="*/ 1816112 h 6858000"/>
              <a:gd name="connsiteX869" fmla="*/ 5847424 w 7467600"/>
              <a:gd name="connsiteY869" fmla="*/ 1815776 h 6858000"/>
              <a:gd name="connsiteX870" fmla="*/ 6399821 w 7467600"/>
              <a:gd name="connsiteY870" fmla="*/ 2344799 h 6858000"/>
              <a:gd name="connsiteX871" fmla="*/ 6323232 w 7467600"/>
              <a:gd name="connsiteY871" fmla="*/ 2389634 h 6858000"/>
              <a:gd name="connsiteX872" fmla="*/ 5942958 w 7467600"/>
              <a:gd name="connsiteY872" fmla="*/ 2077708 h 6858000"/>
              <a:gd name="connsiteX873" fmla="*/ 5921559 w 7467600"/>
              <a:gd name="connsiteY873" fmla="*/ 2378596 h 6858000"/>
              <a:gd name="connsiteX874" fmla="*/ 5817651 w 7467600"/>
              <a:gd name="connsiteY874" fmla="*/ 3023919 h 6858000"/>
              <a:gd name="connsiteX875" fmla="*/ 5729634 w 7467600"/>
              <a:gd name="connsiteY875" fmla="*/ 3051849 h 6858000"/>
              <a:gd name="connsiteX876" fmla="*/ 5611018 w 7467600"/>
              <a:gd name="connsiteY876" fmla="*/ 2316769 h 6858000"/>
              <a:gd name="connsiteX877" fmla="*/ 5687608 w 7467600"/>
              <a:gd name="connsiteY877" fmla="*/ 2039972 h 6858000"/>
              <a:gd name="connsiteX878" fmla="*/ 5657554 w 7467600"/>
              <a:gd name="connsiteY878" fmla="*/ 1576445 h 6858000"/>
              <a:gd name="connsiteX879" fmla="*/ 5150475 w 7467600"/>
              <a:gd name="connsiteY879" fmla="*/ 1274012 h 6858000"/>
              <a:gd name="connsiteX880" fmla="*/ 5349142 w 7467600"/>
              <a:gd name="connsiteY880" fmla="*/ 2204405 h 6858000"/>
              <a:gd name="connsiteX881" fmla="*/ 5262214 w 7467600"/>
              <a:gd name="connsiteY881" fmla="*/ 2233836 h 6858000"/>
              <a:gd name="connsiteX882" fmla="*/ 4981539 w 7467600"/>
              <a:gd name="connsiteY882" fmla="*/ 1542201 h 6858000"/>
              <a:gd name="connsiteX883" fmla="*/ 4958461 w 7467600"/>
              <a:gd name="connsiteY883" fmla="*/ 1136957 h 6858000"/>
              <a:gd name="connsiteX884" fmla="*/ 4655015 w 7467600"/>
              <a:gd name="connsiteY884" fmla="*/ 891426 h 6858000"/>
              <a:gd name="connsiteX885" fmla="*/ 4348002 w 7467600"/>
              <a:gd name="connsiteY885" fmla="*/ 2205895 h 6858000"/>
              <a:gd name="connsiteX886" fmla="*/ 4262250 w 7467600"/>
              <a:gd name="connsiteY886" fmla="*/ 2219972 h 6858000"/>
              <a:gd name="connsiteX887" fmla="*/ 4550611 w 7467600"/>
              <a:gd name="connsiteY887" fmla="*/ 817540 h 6858000"/>
              <a:gd name="connsiteX888" fmla="*/ 4564418 w 7467600"/>
              <a:gd name="connsiteY888" fmla="*/ 808293 h 6858000"/>
              <a:gd name="connsiteX889" fmla="*/ 4266388 w 7467600"/>
              <a:gd name="connsiteY889" fmla="*/ 500083 h 6858000"/>
              <a:gd name="connsiteX890" fmla="*/ 4032842 w 7467600"/>
              <a:gd name="connsiteY890" fmla="*/ 211809 h 6858000"/>
              <a:gd name="connsiteX891" fmla="*/ 3882765 w 7467600"/>
              <a:gd name="connsiteY891" fmla="*/ 0 h 6858000"/>
              <a:gd name="connsiteX892" fmla="*/ 3721337 w 7467600"/>
              <a:gd name="connsiteY892" fmla="*/ 0 h 6858000"/>
              <a:gd name="connsiteX893" fmla="*/ 3797544 w 7467600"/>
              <a:gd name="connsiteY893" fmla="*/ 0 h 6858000"/>
              <a:gd name="connsiteX894" fmla="*/ 3775734 w 7467600"/>
              <a:gd name="connsiteY894" fmla="*/ 95131 h 6858000"/>
              <a:gd name="connsiteX895" fmla="*/ 3724807 w 7467600"/>
              <a:gd name="connsiteY895" fmla="*/ 272257 h 6858000"/>
              <a:gd name="connsiteX896" fmla="*/ 3726844 w 7467600"/>
              <a:gd name="connsiteY896" fmla="*/ 282988 h 6858000"/>
              <a:gd name="connsiteX897" fmla="*/ 3742664 w 7467600"/>
              <a:gd name="connsiteY897" fmla="*/ 279918 h 6858000"/>
              <a:gd name="connsiteX898" fmla="*/ 4103910 w 7467600"/>
              <a:gd name="connsiteY898" fmla="*/ 1161917 h 6858000"/>
              <a:gd name="connsiteX899" fmla="*/ 4020269 w 7467600"/>
              <a:gd name="connsiteY899" fmla="*/ 1200406 h 6858000"/>
              <a:gd name="connsiteX900" fmla="*/ 3674882 w 7467600"/>
              <a:gd name="connsiteY900" fmla="*/ 488524 h 6858000"/>
              <a:gd name="connsiteX901" fmla="*/ 3132682 w 7467600"/>
              <a:gd name="connsiteY901" fmla="*/ 1072284 h 6858000"/>
              <a:gd name="connsiteX902" fmla="*/ 2716346 w 7467600"/>
              <a:gd name="connsiteY902" fmla="*/ 1276376 h 6858000"/>
              <a:gd name="connsiteX903" fmla="*/ 2716772 w 7467600"/>
              <a:gd name="connsiteY903" fmla="*/ 1255462 h 6858000"/>
              <a:gd name="connsiteX904" fmla="*/ 3471096 w 7467600"/>
              <a:gd name="connsiteY904" fmla="*/ 437072 h 6858000"/>
              <a:gd name="connsiteX905" fmla="*/ 3639057 w 7467600"/>
              <a:gd name="connsiteY905" fmla="*/ 286334 h 6858000"/>
              <a:gd name="connsiteX906" fmla="*/ 3640309 w 7467600"/>
              <a:gd name="connsiteY906" fmla="*/ 284664 h 6858000"/>
              <a:gd name="connsiteX907" fmla="*/ 3646022 w 7467600"/>
              <a:gd name="connsiteY907" fmla="*/ 276711 h 6858000"/>
              <a:gd name="connsiteX908" fmla="*/ 3707943 w 7467600"/>
              <a:gd name="connsiteY908" fmla="*/ 65958 h 6858000"/>
              <a:gd name="connsiteX909" fmla="*/ 3721337 w 7467600"/>
              <a:gd name="connsiteY909" fmla="*/ 0 h 6858000"/>
              <a:gd name="connsiteX910" fmla="*/ 2867960 w 7467600"/>
              <a:gd name="connsiteY910" fmla="*/ 0 h 6858000"/>
              <a:gd name="connsiteX911" fmla="*/ 2926351 w 7467600"/>
              <a:gd name="connsiteY911" fmla="*/ 0 h 6858000"/>
              <a:gd name="connsiteX912" fmla="*/ 2902823 w 7467600"/>
              <a:gd name="connsiteY912" fmla="*/ 262929 h 6858000"/>
              <a:gd name="connsiteX913" fmla="*/ 2940663 w 7467600"/>
              <a:gd name="connsiteY913" fmla="*/ 140884 h 6858000"/>
              <a:gd name="connsiteX914" fmla="*/ 2947039 w 7467600"/>
              <a:gd name="connsiteY914" fmla="*/ 122524 h 6858000"/>
              <a:gd name="connsiteX915" fmla="*/ 2984316 w 7467600"/>
              <a:gd name="connsiteY915" fmla="*/ 0 h 6858000"/>
              <a:gd name="connsiteX916" fmla="*/ 3016114 w 7467600"/>
              <a:gd name="connsiteY916" fmla="*/ 0 h 6858000"/>
              <a:gd name="connsiteX917" fmla="*/ 2979949 w 7467600"/>
              <a:gd name="connsiteY917" fmla="*/ 119274 h 6858000"/>
              <a:gd name="connsiteX918" fmla="*/ 3023879 w 7467600"/>
              <a:gd name="connsiteY918" fmla="*/ 0 h 6858000"/>
              <a:gd name="connsiteX919" fmla="*/ 3105400 w 7467600"/>
              <a:gd name="connsiteY919" fmla="*/ 0 h 6858000"/>
              <a:gd name="connsiteX920" fmla="*/ 3094669 w 7467600"/>
              <a:gd name="connsiteY920" fmla="*/ 30308 h 6858000"/>
              <a:gd name="connsiteX921" fmla="*/ 2901945 w 7467600"/>
              <a:gd name="connsiteY921" fmla="*/ 466538 h 6858000"/>
              <a:gd name="connsiteX922" fmla="*/ 2815209 w 7467600"/>
              <a:gd name="connsiteY922" fmla="*/ 497361 h 6858000"/>
              <a:gd name="connsiteX923" fmla="*/ 2844845 w 7467600"/>
              <a:gd name="connsiteY923" fmla="*/ 127638 h 6858000"/>
              <a:gd name="connsiteX924" fmla="*/ 2867960 w 7467600"/>
              <a:gd name="connsiteY924" fmla="*/ 0 h 6858000"/>
              <a:gd name="connsiteX925" fmla="*/ 1057230 w 7467600"/>
              <a:gd name="connsiteY925" fmla="*/ 0 h 6858000"/>
              <a:gd name="connsiteX926" fmla="*/ 1111003 w 7467600"/>
              <a:gd name="connsiteY926" fmla="*/ 0 h 6858000"/>
              <a:gd name="connsiteX927" fmla="*/ 1125553 w 7467600"/>
              <a:gd name="connsiteY927" fmla="*/ 52588 h 6858000"/>
              <a:gd name="connsiteX928" fmla="*/ 1304276 w 7467600"/>
              <a:gd name="connsiteY928" fmla="*/ 476275 h 6858000"/>
              <a:gd name="connsiteX929" fmla="*/ 1492066 w 7467600"/>
              <a:gd name="connsiteY929" fmla="*/ 886333 h 6858000"/>
              <a:gd name="connsiteX930" fmla="*/ 1423698 w 7467600"/>
              <a:gd name="connsiteY930" fmla="*/ 710817 h 6858000"/>
              <a:gd name="connsiteX931" fmla="*/ 1357609 w 7467600"/>
              <a:gd name="connsiteY931" fmla="*/ 532892 h 6858000"/>
              <a:gd name="connsiteX932" fmla="*/ 1309550 w 7467600"/>
              <a:gd name="connsiteY932" fmla="*/ 374031 h 6858000"/>
              <a:gd name="connsiteX933" fmla="*/ 1193673 w 7467600"/>
              <a:gd name="connsiteY933" fmla="*/ 49533 h 6858000"/>
              <a:gd name="connsiteX934" fmla="*/ 1164391 w 7467600"/>
              <a:gd name="connsiteY934" fmla="*/ 0 h 6858000"/>
              <a:gd name="connsiteX935" fmla="*/ 1200666 w 7467600"/>
              <a:gd name="connsiteY935" fmla="*/ 0 h 6858000"/>
              <a:gd name="connsiteX936" fmla="*/ 1223408 w 7467600"/>
              <a:gd name="connsiteY936" fmla="*/ 38996 h 6858000"/>
              <a:gd name="connsiteX937" fmla="*/ 1339635 w 7467600"/>
              <a:gd name="connsiteY937" fmla="*/ 365517 h 6858000"/>
              <a:gd name="connsiteX938" fmla="*/ 1387469 w 7467600"/>
              <a:gd name="connsiteY938" fmla="*/ 523079 h 6858000"/>
              <a:gd name="connsiteX939" fmla="*/ 1452685 w 7467600"/>
              <a:gd name="connsiteY939" fmla="*/ 699806 h 6858000"/>
              <a:gd name="connsiteX940" fmla="*/ 1492092 w 7467600"/>
              <a:gd name="connsiteY940" fmla="*/ 800424 h 6858000"/>
              <a:gd name="connsiteX941" fmla="*/ 1455302 w 7467600"/>
              <a:gd name="connsiteY941" fmla="*/ 632913 h 6858000"/>
              <a:gd name="connsiteX942" fmla="*/ 1222336 w 7467600"/>
              <a:gd name="connsiteY942" fmla="*/ 9480 h 6858000"/>
              <a:gd name="connsiteX943" fmla="*/ 1214634 w 7467600"/>
              <a:gd name="connsiteY943" fmla="*/ 0 h 6858000"/>
              <a:gd name="connsiteX944" fmla="*/ 1289827 w 7467600"/>
              <a:gd name="connsiteY944" fmla="*/ 0 h 6858000"/>
              <a:gd name="connsiteX945" fmla="*/ 1321076 w 7467600"/>
              <a:gd name="connsiteY945" fmla="*/ 59722 h 6858000"/>
              <a:gd name="connsiteX946" fmla="*/ 1512579 w 7467600"/>
              <a:gd name="connsiteY946" fmla="*/ 626441 h 6858000"/>
              <a:gd name="connsiteX947" fmla="*/ 1506076 w 7467600"/>
              <a:gd name="connsiteY947" fmla="*/ 1089289 h 6858000"/>
              <a:gd name="connsiteX948" fmla="*/ 1486346 w 7467600"/>
              <a:gd name="connsiteY948" fmla="*/ 1079919 h 6858000"/>
              <a:gd name="connsiteX949" fmla="*/ 1070511 w 7467600"/>
              <a:gd name="connsiteY949" fmla="*/ 48609 h 6858000"/>
              <a:gd name="connsiteX950" fmla="*/ 1057230 w 7467600"/>
              <a:gd name="connsiteY950" fmla="*/ 0 h 6858000"/>
              <a:gd name="connsiteX951" fmla="*/ 43151 w 7467600"/>
              <a:gd name="connsiteY951" fmla="*/ 0 h 6858000"/>
              <a:gd name="connsiteX952" fmla="*/ 95283 w 7467600"/>
              <a:gd name="connsiteY952" fmla="*/ 0 h 6858000"/>
              <a:gd name="connsiteX953" fmla="*/ 300708 w 7467600"/>
              <a:gd name="connsiteY953" fmla="*/ 154571 h 6858000"/>
              <a:gd name="connsiteX954" fmla="*/ 530414 w 7467600"/>
              <a:gd name="connsiteY954" fmla="*/ 354673 h 6858000"/>
              <a:gd name="connsiteX955" fmla="*/ 333785 w 7467600"/>
              <a:gd name="connsiteY955" fmla="*/ 161564 h 6858000"/>
              <a:gd name="connsiteX956" fmla="*/ 147005 w 7467600"/>
              <a:gd name="connsiteY956" fmla="*/ 0 h 6858000"/>
              <a:gd name="connsiteX957" fmla="*/ 272509 w 7467600"/>
              <a:gd name="connsiteY957" fmla="*/ 0 h 6858000"/>
              <a:gd name="connsiteX958" fmla="*/ 326276 w 7467600"/>
              <a:gd name="connsiteY958" fmla="*/ 45847 h 6858000"/>
              <a:gd name="connsiteX959" fmla="*/ 823759 w 7467600"/>
              <a:gd name="connsiteY959" fmla="*/ 574145 h 6858000"/>
              <a:gd name="connsiteX960" fmla="*/ 811254 w 7467600"/>
              <a:gd name="connsiteY960" fmla="*/ 665546 h 6858000"/>
              <a:gd name="connsiteX961" fmla="*/ 154042 w 7467600"/>
              <a:gd name="connsiteY961" fmla="*/ 261522 h 6858000"/>
              <a:gd name="connsiteX962" fmla="*/ 13550 w 7467600"/>
              <a:gd name="connsiteY962" fmla="*/ 158423 h 6858000"/>
              <a:gd name="connsiteX963" fmla="*/ 0 w 7467600"/>
              <a:gd name="connsiteY963" fmla="*/ 146618 h 6858000"/>
              <a:gd name="connsiteX964" fmla="*/ 0 w 7467600"/>
              <a:gd name="connsiteY964" fmla="*/ 59161 h 6858000"/>
              <a:gd name="connsiteX965" fmla="*/ 45427 w 7467600"/>
              <a:gd name="connsiteY965" fmla="*/ 101078 h 6858000"/>
              <a:gd name="connsiteX966" fmla="*/ 630103 w 7467600"/>
              <a:gd name="connsiteY966" fmla="*/ 485885 h 6858000"/>
              <a:gd name="connsiteX967" fmla="*/ 532040 w 7467600"/>
              <a:gd name="connsiteY967" fmla="*/ 399359 h 6858000"/>
              <a:gd name="connsiteX968" fmla="*/ 517618 w 7467600"/>
              <a:gd name="connsiteY968" fmla="*/ 385726 h 6858000"/>
              <a:gd name="connsiteX969" fmla="*/ 285074 w 7467600"/>
              <a:gd name="connsiteY969" fmla="*/ 182755 h 6858000"/>
              <a:gd name="connsiteX970" fmla="*/ 43151 w 7467600"/>
              <a:gd name="connsiteY970"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7454976 w 7467600"/>
              <a:gd name="connsiteY74" fmla="*/ 6318297 h 6858000"/>
              <a:gd name="connsiteX75" fmla="*/ 7379510 w 7467600"/>
              <a:gd name="connsiteY75" fmla="*/ 5755454 h 6858000"/>
              <a:gd name="connsiteX76" fmla="*/ 7467600 w 7467600"/>
              <a:gd name="connsiteY76" fmla="*/ 5845526 h 6858000"/>
              <a:gd name="connsiteX77" fmla="*/ 7271900 w 7467600"/>
              <a:gd name="connsiteY77" fmla="*/ 5734551 h 6858000"/>
              <a:gd name="connsiteX78" fmla="*/ 7259646 w 7467600"/>
              <a:gd name="connsiteY78" fmla="*/ 5765985 h 6858000"/>
              <a:gd name="connsiteX79" fmla="*/ 7467600 w 7467600"/>
              <a:gd name="connsiteY79" fmla="*/ 6012219 h 6858000"/>
              <a:gd name="connsiteX80" fmla="*/ 7105827 w 7467600"/>
              <a:gd name="connsiteY80" fmla="*/ 5718700 h 6858000"/>
              <a:gd name="connsiteX81" fmla="*/ 7356878 w 7467600"/>
              <a:gd name="connsiteY81" fmla="*/ 5981332 h 6858000"/>
              <a:gd name="connsiteX82" fmla="*/ 7467600 w 7467600"/>
              <a:gd name="connsiteY82" fmla="*/ 6117703 h 6858000"/>
              <a:gd name="connsiteX83" fmla="*/ 7467600 w 7467600"/>
              <a:gd name="connsiteY83" fmla="*/ 6163634 h 6858000"/>
              <a:gd name="connsiteX84" fmla="*/ 7403637 w 7467600"/>
              <a:gd name="connsiteY84" fmla="*/ 6083957 h 6858000"/>
              <a:gd name="connsiteX85" fmla="*/ 7254615 w 7467600"/>
              <a:gd name="connsiteY85" fmla="*/ 5911918 h 6858000"/>
              <a:gd name="connsiteX86" fmla="*/ 7312589 w 7467600"/>
              <a:gd name="connsiteY86" fmla="*/ 5982309 h 6858000"/>
              <a:gd name="connsiteX87" fmla="*/ 7448321 w 7467600"/>
              <a:gd name="connsiteY87" fmla="*/ 6190991 h 6858000"/>
              <a:gd name="connsiteX88" fmla="*/ 7467600 w 7467600"/>
              <a:gd name="connsiteY88" fmla="*/ 6221686 h 6858000"/>
              <a:gd name="connsiteX89" fmla="*/ 7467600 w 7467600"/>
              <a:gd name="connsiteY89" fmla="*/ 6334256 h 6858000"/>
              <a:gd name="connsiteX90" fmla="*/ 7454976 w 7467600"/>
              <a:gd name="connsiteY90" fmla="*/ 6318297 h 6858000"/>
              <a:gd name="connsiteX91" fmla="*/ 1456157 w 7467600"/>
              <a:gd name="connsiteY91" fmla="*/ 5371404 h 6858000"/>
              <a:gd name="connsiteX92" fmla="*/ 1244432 w 7467600"/>
              <a:gd name="connsiteY92" fmla="*/ 5385601 h 6858000"/>
              <a:gd name="connsiteX93" fmla="*/ 973990 w 7467600"/>
              <a:gd name="connsiteY93" fmla="*/ 5424940 h 6858000"/>
              <a:gd name="connsiteX94" fmla="*/ 1103809 w 7467600"/>
              <a:gd name="connsiteY94" fmla="*/ 5433720 h 6858000"/>
              <a:gd name="connsiteX95" fmla="*/ 1123454 w 7467600"/>
              <a:gd name="connsiteY95" fmla="*/ 5435727 h 6858000"/>
              <a:gd name="connsiteX96" fmla="*/ 1737017 w 7467600"/>
              <a:gd name="connsiteY96" fmla="*/ 5452183 h 6858000"/>
              <a:gd name="connsiteX97" fmla="*/ 1824397 w 7467600"/>
              <a:gd name="connsiteY97" fmla="*/ 5447757 h 6858000"/>
              <a:gd name="connsiteX98" fmla="*/ 2070059 w 7467600"/>
              <a:gd name="connsiteY98" fmla="*/ 5441660 h 6858000"/>
              <a:gd name="connsiteX99" fmla="*/ 1456157 w 7467600"/>
              <a:gd name="connsiteY99" fmla="*/ 5371404 h 6858000"/>
              <a:gd name="connsiteX100" fmla="*/ 4988186 w 7467600"/>
              <a:gd name="connsiteY100" fmla="*/ 5216467 h 6858000"/>
              <a:gd name="connsiteX101" fmla="*/ 4777334 w 7467600"/>
              <a:gd name="connsiteY101" fmla="*/ 5406072 h 6858000"/>
              <a:gd name="connsiteX102" fmla="*/ 4718341 w 7467600"/>
              <a:gd name="connsiteY102" fmla="*/ 5468043 h 6858000"/>
              <a:gd name="connsiteX103" fmla="*/ 4604655 w 7467600"/>
              <a:gd name="connsiteY103" fmla="*/ 5583434 h 6858000"/>
              <a:gd name="connsiteX104" fmla="*/ 4565074 w 7467600"/>
              <a:gd name="connsiteY104" fmla="*/ 5618550 h 6858000"/>
              <a:gd name="connsiteX105" fmla="*/ 4988186 w 7467600"/>
              <a:gd name="connsiteY105" fmla="*/ 5216467 h 6858000"/>
              <a:gd name="connsiteX106" fmla="*/ 4978032 w 7467600"/>
              <a:gd name="connsiteY106" fmla="*/ 5183809 h 6858000"/>
              <a:gd name="connsiteX107" fmla="*/ 4463413 w 7467600"/>
              <a:gd name="connsiteY107" fmla="*/ 5615162 h 6858000"/>
              <a:gd name="connsiteX108" fmla="*/ 4358134 w 7467600"/>
              <a:gd name="connsiteY108" fmla="*/ 5742791 h 6858000"/>
              <a:gd name="connsiteX109" fmla="*/ 4376219 w 7467600"/>
              <a:gd name="connsiteY109" fmla="*/ 5729027 h 6858000"/>
              <a:gd name="connsiteX110" fmla="*/ 4582340 w 7467600"/>
              <a:gd name="connsiteY110" fmla="*/ 5561037 h 6858000"/>
              <a:gd name="connsiteX111" fmla="*/ 4694684 w 7467600"/>
              <a:gd name="connsiteY111" fmla="*/ 5447098 h 6858000"/>
              <a:gd name="connsiteX112" fmla="*/ 4754123 w 7467600"/>
              <a:gd name="connsiteY112" fmla="*/ 5384643 h 6858000"/>
              <a:gd name="connsiteX113" fmla="*/ 4978032 w 7467600"/>
              <a:gd name="connsiteY113" fmla="*/ 5183809 h 6858000"/>
              <a:gd name="connsiteX114" fmla="*/ 1903353 w 7467600"/>
              <a:gd name="connsiteY114" fmla="*/ 5044827 h 6858000"/>
              <a:gd name="connsiteX115" fmla="*/ 1936931 w 7467600"/>
              <a:gd name="connsiteY115" fmla="*/ 5093954 h 6858000"/>
              <a:gd name="connsiteX116" fmla="*/ 2195868 w 7467600"/>
              <a:gd name="connsiteY116" fmla="*/ 5396574 h 6858000"/>
              <a:gd name="connsiteX117" fmla="*/ 2088852 w 7467600"/>
              <a:gd name="connsiteY117" fmla="*/ 5166123 h 6858000"/>
              <a:gd name="connsiteX118" fmla="*/ 1958241 w 7467600"/>
              <a:gd name="connsiteY118" fmla="*/ 5067955 h 6858000"/>
              <a:gd name="connsiteX119" fmla="*/ 1903353 w 7467600"/>
              <a:gd name="connsiteY119" fmla="*/ 5044827 h 6858000"/>
              <a:gd name="connsiteX120" fmla="*/ 1979378 w 7467600"/>
              <a:gd name="connsiteY120" fmla="*/ 4769504 h 6858000"/>
              <a:gd name="connsiteX121" fmla="*/ 2882120 w 7467600"/>
              <a:gd name="connsiteY121" fmla="*/ 5064547 h 6858000"/>
              <a:gd name="connsiteX122" fmla="*/ 2793103 w 7467600"/>
              <a:gd name="connsiteY122" fmla="*/ 5039699 h 6858000"/>
              <a:gd name="connsiteX123" fmla="*/ 2770041 w 7467600"/>
              <a:gd name="connsiteY123" fmla="*/ 5033634 h 6858000"/>
              <a:gd name="connsiteX124" fmla="*/ 1979378 w 7467600"/>
              <a:gd name="connsiteY124" fmla="*/ 4769504 h 6858000"/>
              <a:gd name="connsiteX125" fmla="*/ 1927410 w 7467600"/>
              <a:gd name="connsiteY125" fmla="*/ 4716164 h 6858000"/>
              <a:gd name="connsiteX126" fmla="*/ 1959587 w 7467600"/>
              <a:gd name="connsiteY126" fmla="*/ 4728849 h 6858000"/>
              <a:gd name="connsiteX127" fmla="*/ 2777707 w 7467600"/>
              <a:gd name="connsiteY127" fmla="*/ 5003991 h 6858000"/>
              <a:gd name="connsiteX128" fmla="*/ 2800768 w 7467600"/>
              <a:gd name="connsiteY128" fmla="*/ 5010056 h 6858000"/>
              <a:gd name="connsiteX129" fmla="*/ 2879408 w 7467600"/>
              <a:gd name="connsiteY129" fmla="*/ 5031590 h 6858000"/>
              <a:gd name="connsiteX130" fmla="*/ 2862295 w 7467600"/>
              <a:gd name="connsiteY130" fmla="*/ 5022958 h 6858000"/>
              <a:gd name="connsiteX131" fmla="*/ 2813343 w 7467600"/>
              <a:gd name="connsiteY131" fmla="*/ 4998369 h 6858000"/>
              <a:gd name="connsiteX132" fmla="*/ 2646245 w 7467600"/>
              <a:gd name="connsiteY132" fmla="*/ 4930999 h 6858000"/>
              <a:gd name="connsiteX133" fmla="*/ 1999243 w 7467600"/>
              <a:gd name="connsiteY133" fmla="*/ 4730524 h 6858000"/>
              <a:gd name="connsiteX134" fmla="*/ 1979527 w 7467600"/>
              <a:gd name="connsiteY134" fmla="*/ 4726651 h 6858000"/>
              <a:gd name="connsiteX135" fmla="*/ 1927410 w 7467600"/>
              <a:gd name="connsiteY135" fmla="*/ 4716164 h 6858000"/>
              <a:gd name="connsiteX136" fmla="*/ 1997014 w 7467600"/>
              <a:gd name="connsiteY136" fmla="*/ 4698007 h 6858000"/>
              <a:gd name="connsiteX137" fmla="*/ 2005458 w 7467600"/>
              <a:gd name="connsiteY137" fmla="*/ 4699540 h 6858000"/>
              <a:gd name="connsiteX138" fmla="*/ 2657186 w 7467600"/>
              <a:gd name="connsiteY138" fmla="*/ 4901687 h 6858000"/>
              <a:gd name="connsiteX139" fmla="*/ 2826662 w 7467600"/>
              <a:gd name="connsiteY139" fmla="*/ 4970362 h 6858000"/>
              <a:gd name="connsiteX140" fmla="*/ 2876100 w 7467600"/>
              <a:gd name="connsiteY140" fmla="*/ 4995397 h 6858000"/>
              <a:gd name="connsiteX141" fmla="*/ 3042600 w 7467600"/>
              <a:gd name="connsiteY141" fmla="*/ 5059532 h 6858000"/>
              <a:gd name="connsiteX142" fmla="*/ 1997014 w 7467600"/>
              <a:gd name="connsiteY142" fmla="*/ 4698007 h 6858000"/>
              <a:gd name="connsiteX143" fmla="*/ 2305292 w 7467600"/>
              <a:gd name="connsiteY143" fmla="*/ 4219492 h 6858000"/>
              <a:gd name="connsiteX144" fmla="*/ 3360922 w 7467600"/>
              <a:gd name="connsiteY144" fmla="*/ 4529373 h 6858000"/>
              <a:gd name="connsiteX145" fmla="*/ 3492420 w 7467600"/>
              <a:gd name="connsiteY145" fmla="*/ 4510145 h 6858000"/>
              <a:gd name="connsiteX146" fmla="*/ 3364086 w 7467600"/>
              <a:gd name="connsiteY146" fmla="*/ 4480340 h 6858000"/>
              <a:gd name="connsiteX147" fmla="*/ 3225818 w 7467600"/>
              <a:gd name="connsiteY147" fmla="*/ 4411822 h 6858000"/>
              <a:gd name="connsiteX148" fmla="*/ 3129696 w 7467600"/>
              <a:gd name="connsiteY148" fmla="*/ 4360704 h 6858000"/>
              <a:gd name="connsiteX149" fmla="*/ 2814545 w 7467600"/>
              <a:gd name="connsiteY149" fmla="*/ 4282955 h 6858000"/>
              <a:gd name="connsiteX150" fmla="*/ 2305292 w 7467600"/>
              <a:gd name="connsiteY150" fmla="*/ 4219492 h 6858000"/>
              <a:gd name="connsiteX151" fmla="*/ 2626982 w 7467600"/>
              <a:gd name="connsiteY151" fmla="*/ 4206450 h 6858000"/>
              <a:gd name="connsiteX152" fmla="*/ 2490617 w 7467600"/>
              <a:gd name="connsiteY152" fmla="*/ 4206951 h 6858000"/>
              <a:gd name="connsiteX153" fmla="*/ 2819869 w 7467600"/>
              <a:gd name="connsiteY153" fmla="*/ 4252936 h 6858000"/>
              <a:gd name="connsiteX154" fmla="*/ 3143018 w 7467600"/>
              <a:gd name="connsiteY154" fmla="*/ 4332698 h 6858000"/>
              <a:gd name="connsiteX155" fmla="*/ 3241520 w 7467600"/>
              <a:gd name="connsiteY155" fmla="*/ 4385112 h 6858000"/>
              <a:gd name="connsiteX156" fmla="*/ 3374575 w 7467600"/>
              <a:gd name="connsiteY156" fmla="*/ 4451517 h 6858000"/>
              <a:gd name="connsiteX157" fmla="*/ 3505221 w 7467600"/>
              <a:gd name="connsiteY157" fmla="*/ 4480757 h 6858000"/>
              <a:gd name="connsiteX158" fmla="*/ 2626982 w 7467600"/>
              <a:gd name="connsiteY158" fmla="*/ 4206450 h 6858000"/>
              <a:gd name="connsiteX159" fmla="*/ 1310106 w 7467600"/>
              <a:gd name="connsiteY159" fmla="*/ 3943217 h 6858000"/>
              <a:gd name="connsiteX160" fmla="*/ 854994 w 7467600"/>
              <a:gd name="connsiteY160" fmla="*/ 4399136 h 6858000"/>
              <a:gd name="connsiteX161" fmla="*/ 742462 w 7467600"/>
              <a:gd name="connsiteY161" fmla="*/ 4594648 h 6858000"/>
              <a:gd name="connsiteX162" fmla="*/ 820602 w 7467600"/>
              <a:gd name="connsiteY162" fmla="*/ 4485915 h 6858000"/>
              <a:gd name="connsiteX163" fmla="*/ 878295 w 7467600"/>
              <a:gd name="connsiteY163" fmla="*/ 4403594 h 6858000"/>
              <a:gd name="connsiteX164" fmla="*/ 1240607 w 7467600"/>
              <a:gd name="connsiteY164" fmla="*/ 4010401 h 6858000"/>
              <a:gd name="connsiteX165" fmla="*/ 1310106 w 7467600"/>
              <a:gd name="connsiteY165" fmla="*/ 3943217 h 6858000"/>
              <a:gd name="connsiteX166" fmla="*/ 1423113 w 7467600"/>
              <a:gd name="connsiteY166" fmla="*/ 3874565 h 6858000"/>
              <a:gd name="connsiteX167" fmla="*/ 1260565 w 7467600"/>
              <a:gd name="connsiteY167" fmla="*/ 4031982 h 6858000"/>
              <a:gd name="connsiteX168" fmla="*/ 901900 w 7467600"/>
              <a:gd name="connsiteY168" fmla="*/ 4421236 h 6858000"/>
              <a:gd name="connsiteX169" fmla="*/ 845044 w 7467600"/>
              <a:gd name="connsiteY169" fmla="*/ 4502436 h 6858000"/>
              <a:gd name="connsiteX170" fmla="*/ 685926 w 7467600"/>
              <a:gd name="connsiteY170" fmla="*/ 4703069 h 6858000"/>
              <a:gd name="connsiteX171" fmla="*/ 684248 w 7467600"/>
              <a:gd name="connsiteY171" fmla="*/ 4706721 h 6858000"/>
              <a:gd name="connsiteX172" fmla="*/ 1423113 w 7467600"/>
              <a:gd name="connsiteY172" fmla="*/ 3874565 h 6858000"/>
              <a:gd name="connsiteX173" fmla="*/ 3316479 w 7467600"/>
              <a:gd name="connsiteY173" fmla="*/ 3872136 h 6858000"/>
              <a:gd name="connsiteX174" fmla="*/ 3546806 w 7467600"/>
              <a:gd name="connsiteY174" fmla="*/ 4356139 h 6858000"/>
              <a:gd name="connsiteX175" fmla="*/ 3364433 w 7467600"/>
              <a:gd name="connsiteY175" fmla="*/ 3953121 h 6858000"/>
              <a:gd name="connsiteX176" fmla="*/ 3316479 w 7467600"/>
              <a:gd name="connsiteY176" fmla="*/ 3872136 h 6858000"/>
              <a:gd name="connsiteX177" fmla="*/ 3291335 w 7467600"/>
              <a:gd name="connsiteY177" fmla="*/ 3767420 h 6858000"/>
              <a:gd name="connsiteX178" fmla="*/ 3390805 w 7467600"/>
              <a:gd name="connsiteY178" fmla="*/ 3937163 h 6858000"/>
              <a:gd name="connsiteX179" fmla="*/ 3579062 w 7467600"/>
              <a:gd name="connsiteY179" fmla="*/ 4359040 h 6858000"/>
              <a:gd name="connsiteX180" fmla="*/ 3467355 w 7467600"/>
              <a:gd name="connsiteY180" fmla="*/ 3988130 h 6858000"/>
              <a:gd name="connsiteX181" fmla="*/ 3310753 w 7467600"/>
              <a:gd name="connsiteY181" fmla="*/ 3787140 h 6858000"/>
              <a:gd name="connsiteX182" fmla="*/ 3291335 w 7467600"/>
              <a:gd name="connsiteY182" fmla="*/ 3767420 h 6858000"/>
              <a:gd name="connsiteX183" fmla="*/ 1635889 w 7467600"/>
              <a:gd name="connsiteY183" fmla="*/ 3709494 h 6858000"/>
              <a:gd name="connsiteX184" fmla="*/ 1634800 w 7467600"/>
              <a:gd name="connsiteY184" fmla="*/ 3731111 h 6858000"/>
              <a:gd name="connsiteX185" fmla="*/ 1635889 w 7467600"/>
              <a:gd name="connsiteY185" fmla="*/ 3709494 h 6858000"/>
              <a:gd name="connsiteX186" fmla="*/ 1510397 w 7467600"/>
              <a:gd name="connsiteY186" fmla="*/ 3684705 h 6858000"/>
              <a:gd name="connsiteX187" fmla="*/ 1146550 w 7467600"/>
              <a:gd name="connsiteY187" fmla="*/ 3802012 h 6858000"/>
              <a:gd name="connsiteX188" fmla="*/ 698834 w 7467600"/>
              <a:gd name="connsiteY188" fmla="*/ 3952272 h 6858000"/>
              <a:gd name="connsiteX189" fmla="*/ 34256 w 7467600"/>
              <a:gd name="connsiteY189" fmla="*/ 4347603 h 6858000"/>
              <a:gd name="connsiteX190" fmla="*/ 527241 w 7467600"/>
              <a:gd name="connsiteY190" fmla="*/ 4065078 h 6858000"/>
              <a:gd name="connsiteX191" fmla="*/ 1510397 w 7467600"/>
              <a:gd name="connsiteY191" fmla="*/ 3684705 h 6858000"/>
              <a:gd name="connsiteX192" fmla="*/ 1313114 w 7467600"/>
              <a:gd name="connsiteY192" fmla="*/ 3655216 h 6858000"/>
              <a:gd name="connsiteX193" fmla="*/ 1109304 w 7467600"/>
              <a:gd name="connsiteY193" fmla="*/ 3669030 h 6858000"/>
              <a:gd name="connsiteX194" fmla="*/ 8129 w 7467600"/>
              <a:gd name="connsiteY194" fmla="*/ 4330519 h 6858000"/>
              <a:gd name="connsiteX195" fmla="*/ 687572 w 7467600"/>
              <a:gd name="connsiteY195" fmla="*/ 3925629 h 6858000"/>
              <a:gd name="connsiteX196" fmla="*/ 1138365 w 7467600"/>
              <a:gd name="connsiteY196" fmla="*/ 3774515 h 6858000"/>
              <a:gd name="connsiteX197" fmla="*/ 1505579 w 7467600"/>
              <a:gd name="connsiteY197" fmla="*/ 3655526 h 6858000"/>
              <a:gd name="connsiteX198" fmla="*/ 1313114 w 7467600"/>
              <a:gd name="connsiteY198" fmla="*/ 3655216 h 6858000"/>
              <a:gd name="connsiteX199" fmla="*/ 3655073 w 7467600"/>
              <a:gd name="connsiteY199" fmla="*/ 3650884 h 6858000"/>
              <a:gd name="connsiteX200" fmla="*/ 3989938 w 7467600"/>
              <a:gd name="connsiteY200" fmla="*/ 3991685 h 6858000"/>
              <a:gd name="connsiteX201" fmla="*/ 4393907 w 7467600"/>
              <a:gd name="connsiteY201" fmla="*/ 4261258 h 6858000"/>
              <a:gd name="connsiteX202" fmla="*/ 4648051 w 7467600"/>
              <a:gd name="connsiteY202" fmla="*/ 4374051 h 6858000"/>
              <a:gd name="connsiteX203" fmla="*/ 4383389 w 7467600"/>
              <a:gd name="connsiteY203" fmla="*/ 4184369 h 6858000"/>
              <a:gd name="connsiteX204" fmla="*/ 4165508 w 7467600"/>
              <a:gd name="connsiteY204" fmla="*/ 4035196 h 6858000"/>
              <a:gd name="connsiteX205" fmla="*/ 4068162 w 7467600"/>
              <a:gd name="connsiteY205" fmla="*/ 3953394 h 6858000"/>
              <a:gd name="connsiteX206" fmla="*/ 3981416 w 7467600"/>
              <a:gd name="connsiteY206" fmla="*/ 3880482 h 6858000"/>
              <a:gd name="connsiteX207" fmla="*/ 3800147 w 7467600"/>
              <a:gd name="connsiteY207" fmla="*/ 3749872 h 6858000"/>
              <a:gd name="connsiteX208" fmla="*/ 3655073 w 7467600"/>
              <a:gd name="connsiteY208" fmla="*/ 3650884 h 6858000"/>
              <a:gd name="connsiteX209" fmla="*/ 3670252 w 7467600"/>
              <a:gd name="connsiteY209" fmla="*/ 3622798 h 6858000"/>
              <a:gd name="connsiteX210" fmla="*/ 3817258 w 7467600"/>
              <a:gd name="connsiteY210" fmla="*/ 3723577 h 6858000"/>
              <a:gd name="connsiteX211" fmla="*/ 4000461 w 7467600"/>
              <a:gd name="connsiteY211" fmla="*/ 3855966 h 6858000"/>
              <a:gd name="connsiteX212" fmla="*/ 4088180 w 7467600"/>
              <a:gd name="connsiteY212" fmla="*/ 3929774 h 6858000"/>
              <a:gd name="connsiteX213" fmla="*/ 4184555 w 7467600"/>
              <a:gd name="connsiteY213" fmla="*/ 4010683 h 6858000"/>
              <a:gd name="connsiteX214" fmla="*/ 4399563 w 7467600"/>
              <a:gd name="connsiteY214" fmla="*/ 4158106 h 6858000"/>
              <a:gd name="connsiteX215" fmla="*/ 4684469 w 7467600"/>
              <a:gd name="connsiteY215" fmla="*/ 4364680 h 6858000"/>
              <a:gd name="connsiteX216" fmla="*/ 4690271 w 7467600"/>
              <a:gd name="connsiteY216" fmla="*/ 4370034 h 6858000"/>
              <a:gd name="connsiteX217" fmla="*/ 4136093 w 7467600"/>
              <a:gd name="connsiteY217" fmla="*/ 3858466 h 6858000"/>
              <a:gd name="connsiteX218" fmla="*/ 3670252 w 7467600"/>
              <a:gd name="connsiteY218" fmla="*/ 3622798 h 6858000"/>
              <a:gd name="connsiteX219" fmla="*/ 4440129 w 7467600"/>
              <a:gd name="connsiteY219" fmla="*/ 3448571 h 6858000"/>
              <a:gd name="connsiteX220" fmla="*/ 4856525 w 7467600"/>
              <a:gd name="connsiteY220" fmla="*/ 3915351 h 6858000"/>
              <a:gd name="connsiteX221" fmla="*/ 5059055 w 7467600"/>
              <a:gd name="connsiteY221" fmla="*/ 4108918 h 6858000"/>
              <a:gd name="connsiteX222" fmla="*/ 5290070 w 7467600"/>
              <a:gd name="connsiteY222" fmla="*/ 4263619 h 6858000"/>
              <a:gd name="connsiteX223" fmla="*/ 4834991 w 7467600"/>
              <a:gd name="connsiteY223" fmla="*/ 3830985 h 6858000"/>
              <a:gd name="connsiteX224" fmla="*/ 4440129 w 7467600"/>
              <a:gd name="connsiteY224" fmla="*/ 3448571 h 6858000"/>
              <a:gd name="connsiteX225" fmla="*/ 4441737 w 7467600"/>
              <a:gd name="connsiteY225" fmla="*/ 3399734 h 6858000"/>
              <a:gd name="connsiteX226" fmla="*/ 4431236 w 7467600"/>
              <a:gd name="connsiteY226" fmla="*/ 3400954 h 6858000"/>
              <a:gd name="connsiteX227" fmla="*/ 4557150 w 7467600"/>
              <a:gd name="connsiteY227" fmla="*/ 3510023 h 6858000"/>
              <a:gd name="connsiteX228" fmla="*/ 4856936 w 7467600"/>
              <a:gd name="connsiteY228" fmla="*/ 3809146 h 6858000"/>
              <a:gd name="connsiteX229" fmla="*/ 5111996 w 7467600"/>
              <a:gd name="connsiteY229" fmla="*/ 4065759 h 6858000"/>
              <a:gd name="connsiteX230" fmla="*/ 5388878 w 7467600"/>
              <a:gd name="connsiteY230" fmla="*/ 4300185 h 6858000"/>
              <a:gd name="connsiteX231" fmla="*/ 5425556 w 7467600"/>
              <a:gd name="connsiteY231" fmla="*/ 4308967 h 6858000"/>
              <a:gd name="connsiteX232" fmla="*/ 4943646 w 7467600"/>
              <a:gd name="connsiteY232" fmla="*/ 3822916 h 6858000"/>
              <a:gd name="connsiteX233" fmla="*/ 4594837 w 7467600"/>
              <a:gd name="connsiteY233" fmla="*/ 3532274 h 6858000"/>
              <a:gd name="connsiteX234" fmla="*/ 4441737 w 7467600"/>
              <a:gd name="connsiteY234" fmla="*/ 3399734 h 6858000"/>
              <a:gd name="connsiteX235" fmla="*/ 5425834 w 7467600"/>
              <a:gd name="connsiteY235" fmla="*/ 3162785 h 6858000"/>
              <a:gd name="connsiteX236" fmla="*/ 5401644 w 7467600"/>
              <a:gd name="connsiteY236" fmla="*/ 3617847 h 6858000"/>
              <a:gd name="connsiteX237" fmla="*/ 5467256 w 7467600"/>
              <a:gd name="connsiteY237" fmla="*/ 4175494 h 6858000"/>
              <a:gd name="connsiteX238" fmla="*/ 5448069 w 7467600"/>
              <a:gd name="connsiteY238" fmla="*/ 3567554 h 6858000"/>
              <a:gd name="connsiteX239" fmla="*/ 5425834 w 7467600"/>
              <a:gd name="connsiteY239" fmla="*/ 3162785 h 6858000"/>
              <a:gd name="connsiteX240" fmla="*/ 1318687 w 7467600"/>
              <a:gd name="connsiteY240" fmla="*/ 3113840 h 6858000"/>
              <a:gd name="connsiteX241" fmla="*/ 1066793 w 7467600"/>
              <a:gd name="connsiteY241" fmla="*/ 3212171 h 6858000"/>
              <a:gd name="connsiteX242" fmla="*/ 993319 w 7467600"/>
              <a:gd name="connsiteY242" fmla="*/ 3247648 h 6858000"/>
              <a:gd name="connsiteX243" fmla="*/ 853081 w 7467600"/>
              <a:gd name="connsiteY243" fmla="*/ 3312410 h 6858000"/>
              <a:gd name="connsiteX244" fmla="*/ 805957 w 7467600"/>
              <a:gd name="connsiteY244" fmla="*/ 3330443 h 6858000"/>
              <a:gd name="connsiteX245" fmla="*/ 1318687 w 7467600"/>
              <a:gd name="connsiteY245" fmla="*/ 3113840 h 6858000"/>
              <a:gd name="connsiteX246" fmla="*/ 5453702 w 7467600"/>
              <a:gd name="connsiteY246" fmla="*/ 3090882 h 6858000"/>
              <a:gd name="connsiteX247" fmla="*/ 5480135 w 7467600"/>
              <a:gd name="connsiteY247" fmla="*/ 3565802 h 6858000"/>
              <a:gd name="connsiteX248" fmla="*/ 5499023 w 7467600"/>
              <a:gd name="connsiteY248" fmla="*/ 4166310 h 6858000"/>
              <a:gd name="connsiteX249" fmla="*/ 5547022 w 7467600"/>
              <a:gd name="connsiteY249" fmla="*/ 3607838 h 6858000"/>
              <a:gd name="connsiteX250" fmla="*/ 5515964 w 7467600"/>
              <a:gd name="connsiteY250" fmla="*/ 3378541 h 6858000"/>
              <a:gd name="connsiteX251" fmla="*/ 5453702 w 7467600"/>
              <a:gd name="connsiteY251" fmla="*/ 3090882 h 6858000"/>
              <a:gd name="connsiteX252" fmla="*/ 1238695 w 7467600"/>
              <a:gd name="connsiteY252" fmla="*/ 3076820 h 6858000"/>
              <a:gd name="connsiteX253" fmla="*/ 716371 w 7467600"/>
              <a:gd name="connsiteY253" fmla="*/ 3293249 h 6858000"/>
              <a:gd name="connsiteX254" fmla="*/ 579522 w 7467600"/>
              <a:gd name="connsiteY254" fmla="*/ 3371759 h 6858000"/>
              <a:gd name="connsiteX255" fmla="*/ 600288 w 7467600"/>
              <a:gd name="connsiteY255" fmla="*/ 3365555 h 6858000"/>
              <a:gd name="connsiteX256" fmla="*/ 840692 w 7467600"/>
              <a:gd name="connsiteY256" fmla="*/ 3284921 h 6858000"/>
              <a:gd name="connsiteX257" fmla="*/ 979248 w 7467600"/>
              <a:gd name="connsiteY257" fmla="*/ 3221003 h 6858000"/>
              <a:gd name="connsiteX258" fmla="*/ 1053282 w 7467600"/>
              <a:gd name="connsiteY258" fmla="*/ 3185247 h 6858000"/>
              <a:gd name="connsiteX259" fmla="*/ 1320603 w 7467600"/>
              <a:gd name="connsiteY259" fmla="*/ 3081281 h 6858000"/>
              <a:gd name="connsiteX260" fmla="*/ 1238695 w 7467600"/>
              <a:gd name="connsiteY260" fmla="*/ 3076820 h 6858000"/>
              <a:gd name="connsiteX261" fmla="*/ 5425627 w 7467600"/>
              <a:gd name="connsiteY261" fmla="*/ 2954192 h 6858000"/>
              <a:gd name="connsiteX262" fmla="*/ 5470770 w 7467600"/>
              <a:gd name="connsiteY262" fmla="*/ 3005435 h 6858000"/>
              <a:gd name="connsiteX263" fmla="*/ 5519779 w 7467600"/>
              <a:gd name="connsiteY263" fmla="*/ 4359223 h 6858000"/>
              <a:gd name="connsiteX264" fmla="*/ 5520293 w 7467600"/>
              <a:gd name="connsiteY264" fmla="*/ 4360602 h 6858000"/>
              <a:gd name="connsiteX265" fmla="*/ 5767221 w 7467600"/>
              <a:gd name="connsiteY265" fmla="*/ 4665564 h 6858000"/>
              <a:gd name="connsiteX266" fmla="*/ 6937169 w 7467600"/>
              <a:gd name="connsiteY266" fmla="*/ 4815941 h 6858000"/>
              <a:gd name="connsiteX267" fmla="*/ 6953922 w 7467600"/>
              <a:gd name="connsiteY267" fmla="*/ 4890068 h 6858000"/>
              <a:gd name="connsiteX268" fmla="*/ 6071359 w 7467600"/>
              <a:gd name="connsiteY268" fmla="*/ 4770770 h 6858000"/>
              <a:gd name="connsiteX269" fmla="*/ 6038839 w 7467600"/>
              <a:gd name="connsiteY269" fmla="*/ 4764474 h 6858000"/>
              <a:gd name="connsiteX270" fmla="*/ 6038706 w 7467600"/>
              <a:gd name="connsiteY270" fmla="*/ 4763847 h 6858000"/>
              <a:gd name="connsiteX271" fmla="*/ 6037784 w 7467600"/>
              <a:gd name="connsiteY271" fmla="*/ 4764270 h 6858000"/>
              <a:gd name="connsiteX272" fmla="*/ 6038839 w 7467600"/>
              <a:gd name="connsiteY272" fmla="*/ 4764474 h 6858000"/>
              <a:gd name="connsiteX273" fmla="*/ 6040338 w 7467600"/>
              <a:gd name="connsiteY273" fmla="*/ 4771418 h 6858000"/>
              <a:gd name="connsiteX274" fmla="*/ 6024488 w 7467600"/>
              <a:gd name="connsiteY274" fmla="*/ 4809903 h 6858000"/>
              <a:gd name="connsiteX275" fmla="*/ 5599771 w 7467600"/>
              <a:gd name="connsiteY275" fmla="*/ 5509652 h 6858000"/>
              <a:gd name="connsiteX276" fmla="*/ 5548843 w 7467600"/>
              <a:gd name="connsiteY276" fmla="*/ 5563845 h 6858000"/>
              <a:gd name="connsiteX277" fmla="*/ 5940952 w 7467600"/>
              <a:gd name="connsiteY277" fmla="*/ 6250028 h 6858000"/>
              <a:gd name="connsiteX278" fmla="*/ 6043441 w 7467600"/>
              <a:gd name="connsiteY278" fmla="*/ 6665847 h 6858000"/>
              <a:gd name="connsiteX279" fmla="*/ 6093432 w 7467600"/>
              <a:gd name="connsiteY279" fmla="*/ 6858000 h 6858000"/>
              <a:gd name="connsiteX280" fmla="*/ 6034344 w 7467600"/>
              <a:gd name="connsiteY280" fmla="*/ 6858000 h 6858000"/>
              <a:gd name="connsiteX281" fmla="*/ 6026679 w 7467600"/>
              <a:gd name="connsiteY281" fmla="*/ 6836959 h 6858000"/>
              <a:gd name="connsiteX282" fmla="*/ 5800441 w 7467600"/>
              <a:gd name="connsiteY282" fmla="*/ 6335286 h 6858000"/>
              <a:gd name="connsiteX283" fmla="*/ 5526562 w 7467600"/>
              <a:gd name="connsiteY283" fmla="*/ 5705388 h 6858000"/>
              <a:gd name="connsiteX284" fmla="*/ 5519640 w 7467600"/>
              <a:gd name="connsiteY284" fmla="*/ 5683774 h 6858000"/>
              <a:gd name="connsiteX285" fmla="*/ 5844559 w 7467600"/>
              <a:gd name="connsiteY285" fmla="*/ 6553349 h 6858000"/>
              <a:gd name="connsiteX286" fmla="*/ 5975994 w 7467600"/>
              <a:gd name="connsiteY286" fmla="*/ 6858000 h 6858000"/>
              <a:gd name="connsiteX287" fmla="*/ 5898547 w 7467600"/>
              <a:gd name="connsiteY287" fmla="*/ 6858000 h 6858000"/>
              <a:gd name="connsiteX288" fmla="*/ 5682041 w 7467600"/>
              <a:gd name="connsiteY288" fmla="*/ 6355860 h 6858000"/>
              <a:gd name="connsiteX289" fmla="*/ 5461758 w 7467600"/>
              <a:gd name="connsiteY289" fmla="*/ 5820220 h 6858000"/>
              <a:gd name="connsiteX290" fmla="*/ 5237282 w 7467600"/>
              <a:gd name="connsiteY290" fmla="*/ 6579086 h 6858000"/>
              <a:gd name="connsiteX291" fmla="*/ 5115009 w 7467600"/>
              <a:gd name="connsiteY291" fmla="*/ 6858000 h 6858000"/>
              <a:gd name="connsiteX292" fmla="*/ 5028074 w 7467600"/>
              <a:gd name="connsiteY292" fmla="*/ 6858000 h 6858000"/>
              <a:gd name="connsiteX293" fmla="*/ 5079508 w 7467600"/>
              <a:gd name="connsiteY293" fmla="*/ 6749074 h 6858000"/>
              <a:gd name="connsiteX294" fmla="*/ 5371846 w 7467600"/>
              <a:gd name="connsiteY294" fmla="*/ 5924413 h 6858000"/>
              <a:gd name="connsiteX295" fmla="*/ 5270512 w 7467600"/>
              <a:gd name="connsiteY295" fmla="*/ 6138975 h 6858000"/>
              <a:gd name="connsiteX296" fmla="*/ 5062409 w 7467600"/>
              <a:gd name="connsiteY296" fmla="*/ 6653544 h 6858000"/>
              <a:gd name="connsiteX297" fmla="*/ 5036628 w 7467600"/>
              <a:gd name="connsiteY297" fmla="*/ 6754247 h 6858000"/>
              <a:gd name="connsiteX298" fmla="*/ 5009112 w 7467600"/>
              <a:gd name="connsiteY298" fmla="*/ 6858000 h 6858000"/>
              <a:gd name="connsiteX299" fmla="*/ 4976679 w 7467600"/>
              <a:gd name="connsiteY299" fmla="*/ 6858000 h 6858000"/>
              <a:gd name="connsiteX300" fmla="*/ 5006537 w 7467600"/>
              <a:gd name="connsiteY300" fmla="*/ 6747068 h 6858000"/>
              <a:gd name="connsiteX301" fmla="*/ 5032723 w 7467600"/>
              <a:gd name="connsiteY301" fmla="*/ 6644957 h 6858000"/>
              <a:gd name="connsiteX302" fmla="*/ 5242949 w 7467600"/>
              <a:gd name="connsiteY302" fmla="*/ 6125175 h 6858000"/>
              <a:gd name="connsiteX303" fmla="*/ 5286321 w 7467600"/>
              <a:gd name="connsiteY303" fmla="*/ 6033555 h 6858000"/>
              <a:gd name="connsiteX304" fmla="*/ 5008210 w 7467600"/>
              <a:gd name="connsiteY304" fmla="*/ 6649194 h 6858000"/>
              <a:gd name="connsiteX305" fmla="*/ 4986321 w 7467600"/>
              <a:gd name="connsiteY305" fmla="*/ 6765687 h 6858000"/>
              <a:gd name="connsiteX306" fmla="*/ 4973474 w 7467600"/>
              <a:gd name="connsiteY306" fmla="*/ 6858000 h 6858000"/>
              <a:gd name="connsiteX307" fmla="*/ 4907178 w 7467600"/>
              <a:gd name="connsiteY307" fmla="*/ 6858000 h 6858000"/>
              <a:gd name="connsiteX308" fmla="*/ 4910810 w 7467600"/>
              <a:gd name="connsiteY308" fmla="*/ 6829660 h 6858000"/>
              <a:gd name="connsiteX309" fmla="*/ 4987461 w 7467600"/>
              <a:gd name="connsiteY309" fmla="*/ 6432994 h 6858000"/>
              <a:gd name="connsiteX310" fmla="*/ 5179262 w 7467600"/>
              <a:gd name="connsiteY310" fmla="*/ 6035044 h 6858000"/>
              <a:gd name="connsiteX311" fmla="*/ 4689678 w 7467600"/>
              <a:gd name="connsiteY311" fmla="*/ 6440241 h 6858000"/>
              <a:gd name="connsiteX312" fmla="*/ 4477543 w 7467600"/>
              <a:gd name="connsiteY312" fmla="*/ 6674836 h 6858000"/>
              <a:gd name="connsiteX313" fmla="*/ 4329957 w 7467600"/>
              <a:gd name="connsiteY313" fmla="*/ 6858000 h 6858000"/>
              <a:gd name="connsiteX314" fmla="*/ 4218595 w 7467600"/>
              <a:gd name="connsiteY314" fmla="*/ 6858000 h 6858000"/>
              <a:gd name="connsiteX315" fmla="*/ 4368888 w 7467600"/>
              <a:gd name="connsiteY315" fmla="*/ 6668412 h 6858000"/>
              <a:gd name="connsiteX316" fmla="*/ 4563091 w 7467600"/>
              <a:gd name="connsiteY316" fmla="*/ 6442508 h 6858000"/>
              <a:gd name="connsiteX317" fmla="*/ 5387324 w 7467600"/>
              <a:gd name="connsiteY317" fmla="*/ 5705830 h 6858000"/>
              <a:gd name="connsiteX318" fmla="*/ 5073620 w 7467600"/>
              <a:gd name="connsiteY318" fmla="*/ 5955437 h 6858000"/>
              <a:gd name="connsiteX319" fmla="*/ 4689789 w 7467600"/>
              <a:gd name="connsiteY319" fmla="*/ 6268382 h 6858000"/>
              <a:gd name="connsiteX320" fmla="*/ 4418722 w 7467600"/>
              <a:gd name="connsiteY320" fmla="*/ 6570886 h 6858000"/>
              <a:gd name="connsiteX321" fmla="*/ 4214944 w 7467600"/>
              <a:gd name="connsiteY321" fmla="*/ 6858000 h 6858000"/>
              <a:gd name="connsiteX322" fmla="*/ 4177898 w 7467600"/>
              <a:gd name="connsiteY322" fmla="*/ 6858000 h 6858000"/>
              <a:gd name="connsiteX323" fmla="*/ 4391597 w 7467600"/>
              <a:gd name="connsiteY323" fmla="*/ 6556370 h 6858000"/>
              <a:gd name="connsiteX324" fmla="*/ 4668889 w 7467600"/>
              <a:gd name="connsiteY324" fmla="*/ 6246399 h 6858000"/>
              <a:gd name="connsiteX325" fmla="*/ 5055427 w 7467600"/>
              <a:gd name="connsiteY325" fmla="*/ 5931476 h 6858000"/>
              <a:gd name="connsiteX326" fmla="*/ 5371814 w 7467600"/>
              <a:gd name="connsiteY326" fmla="*/ 5678975 h 6858000"/>
              <a:gd name="connsiteX327" fmla="*/ 4987918 w 7467600"/>
              <a:gd name="connsiteY327" fmla="*/ 5838701 h 6858000"/>
              <a:gd name="connsiteX328" fmla="*/ 4317146 w 7467600"/>
              <a:gd name="connsiteY328" fmla="*/ 6587716 h 6858000"/>
              <a:gd name="connsiteX329" fmla="*/ 4171627 w 7467600"/>
              <a:gd name="connsiteY329" fmla="*/ 6858000 h 6858000"/>
              <a:gd name="connsiteX330" fmla="*/ 4081585 w 7467600"/>
              <a:gd name="connsiteY330" fmla="*/ 6858000 h 6858000"/>
              <a:gd name="connsiteX331" fmla="*/ 4238603 w 7467600"/>
              <a:gd name="connsiteY331" fmla="*/ 6559341 h 6858000"/>
              <a:gd name="connsiteX332" fmla="*/ 4778333 w 7467600"/>
              <a:gd name="connsiteY332" fmla="*/ 5873626 h 6858000"/>
              <a:gd name="connsiteX333" fmla="*/ 5414185 w 7467600"/>
              <a:gd name="connsiteY333" fmla="*/ 5573882 h 6858000"/>
              <a:gd name="connsiteX334" fmla="*/ 5959648 w 7467600"/>
              <a:gd name="connsiteY334" fmla="*/ 4760797 h 6858000"/>
              <a:gd name="connsiteX335" fmla="*/ 5355019 w 7467600"/>
              <a:gd name="connsiteY335" fmla="*/ 4734672 h 6858000"/>
              <a:gd name="connsiteX336" fmla="*/ 5083565 w 7467600"/>
              <a:gd name="connsiteY336" fmla="*/ 5179121 h 6858000"/>
              <a:gd name="connsiteX337" fmla="*/ 4713577 w 7467600"/>
              <a:gd name="connsiteY337" fmla="*/ 5616803 h 6858000"/>
              <a:gd name="connsiteX338" fmla="*/ 3989559 w 7467600"/>
              <a:gd name="connsiteY338" fmla="*/ 6145945 h 6858000"/>
              <a:gd name="connsiteX339" fmla="*/ 3939824 w 7467600"/>
              <a:gd name="connsiteY339" fmla="*/ 6066900 h 6858000"/>
              <a:gd name="connsiteX340" fmla="*/ 4584537 w 7467600"/>
              <a:gd name="connsiteY340" fmla="*/ 5324826 h 6858000"/>
              <a:gd name="connsiteX341" fmla="*/ 5037105 w 7467600"/>
              <a:gd name="connsiteY341" fmla="*/ 5088765 h 6858000"/>
              <a:gd name="connsiteX342" fmla="*/ 5039930 w 7467600"/>
              <a:gd name="connsiteY342" fmla="*/ 5089585 h 6858000"/>
              <a:gd name="connsiteX343" fmla="*/ 5263764 w 7467600"/>
              <a:gd name="connsiteY343" fmla="*/ 4735525 h 6858000"/>
              <a:gd name="connsiteX344" fmla="*/ 4086300 w 7467600"/>
              <a:gd name="connsiteY344" fmla="*/ 4884599 h 6858000"/>
              <a:gd name="connsiteX345" fmla="*/ 4085485 w 7467600"/>
              <a:gd name="connsiteY345" fmla="*/ 4899070 h 6858000"/>
              <a:gd name="connsiteX346" fmla="*/ 3871915 w 7467600"/>
              <a:gd name="connsiteY346" fmla="*/ 5253645 h 6858000"/>
              <a:gd name="connsiteX347" fmla="*/ 3799374 w 7467600"/>
              <a:gd name="connsiteY347" fmla="*/ 5466127 h 6858000"/>
              <a:gd name="connsiteX348" fmla="*/ 3498850 w 7467600"/>
              <a:gd name="connsiteY348" fmla="*/ 6661888 h 6858000"/>
              <a:gd name="connsiteX349" fmla="*/ 3399216 w 7467600"/>
              <a:gd name="connsiteY349" fmla="*/ 6858000 h 6858000"/>
              <a:gd name="connsiteX350" fmla="*/ 3303688 w 7467600"/>
              <a:gd name="connsiteY350" fmla="*/ 6858000 h 6858000"/>
              <a:gd name="connsiteX351" fmla="*/ 3391774 w 7467600"/>
              <a:gd name="connsiteY351" fmla="*/ 6697181 h 6858000"/>
              <a:gd name="connsiteX352" fmla="*/ 3735540 w 7467600"/>
              <a:gd name="connsiteY352" fmla="*/ 5546923 h 6858000"/>
              <a:gd name="connsiteX353" fmla="*/ 3729438 w 7467600"/>
              <a:gd name="connsiteY353" fmla="*/ 5569058 h 6858000"/>
              <a:gd name="connsiteX354" fmla="*/ 3707782 w 7467600"/>
              <a:gd name="connsiteY354" fmla="*/ 5644908 h 6858000"/>
              <a:gd name="connsiteX355" fmla="*/ 3583827 w 7467600"/>
              <a:gd name="connsiteY355" fmla="*/ 6039215 h 6858000"/>
              <a:gd name="connsiteX356" fmla="*/ 3547861 w 7467600"/>
              <a:gd name="connsiteY356" fmla="*/ 6129609 h 6858000"/>
              <a:gd name="connsiteX357" fmla="*/ 3490905 w 7467600"/>
              <a:gd name="connsiteY357" fmla="*/ 6277660 h 6858000"/>
              <a:gd name="connsiteX358" fmla="*/ 3455859 w 7467600"/>
              <a:gd name="connsiteY358" fmla="*/ 6391301 h 6858000"/>
              <a:gd name="connsiteX359" fmla="*/ 3429112 w 7467600"/>
              <a:gd name="connsiteY359" fmla="*/ 6479469 h 6858000"/>
              <a:gd name="connsiteX360" fmla="*/ 3304862 w 7467600"/>
              <a:gd name="connsiteY360" fmla="*/ 6796476 h 6858000"/>
              <a:gd name="connsiteX361" fmla="*/ 3276071 w 7467600"/>
              <a:gd name="connsiteY361" fmla="*/ 6858000 h 6858000"/>
              <a:gd name="connsiteX362" fmla="*/ 3240805 w 7467600"/>
              <a:gd name="connsiteY362" fmla="*/ 6858000 h 6858000"/>
              <a:gd name="connsiteX363" fmla="*/ 3275917 w 7467600"/>
              <a:gd name="connsiteY363" fmla="*/ 6783192 h 6858000"/>
              <a:gd name="connsiteX364" fmla="*/ 3399358 w 7467600"/>
              <a:gd name="connsiteY364" fmla="*/ 6469011 h 6858000"/>
              <a:gd name="connsiteX365" fmla="*/ 3425650 w 7467600"/>
              <a:gd name="connsiteY365" fmla="*/ 6381333 h 6858000"/>
              <a:gd name="connsiteX366" fmla="*/ 3460661 w 7467600"/>
              <a:gd name="connsiteY366" fmla="*/ 6266763 h 6858000"/>
              <a:gd name="connsiteX367" fmla="*/ 3518021 w 7467600"/>
              <a:gd name="connsiteY367" fmla="*/ 6117298 h 6858000"/>
              <a:gd name="connsiteX368" fmla="*/ 3554035 w 7467600"/>
              <a:gd name="connsiteY368" fmla="*/ 6027832 h 6858000"/>
              <a:gd name="connsiteX369" fmla="*/ 3677174 w 7467600"/>
              <a:gd name="connsiteY369" fmla="*/ 5636351 h 6858000"/>
              <a:gd name="connsiteX370" fmla="*/ 3698819 w 7467600"/>
              <a:gd name="connsiteY370" fmla="*/ 5560503 h 6858000"/>
              <a:gd name="connsiteX371" fmla="*/ 3702094 w 7467600"/>
              <a:gd name="connsiteY371" fmla="*/ 5549194 h 6858000"/>
              <a:gd name="connsiteX372" fmla="*/ 3398355 w 7467600"/>
              <a:gd name="connsiteY372" fmla="*/ 6094603 h 6858000"/>
              <a:gd name="connsiteX373" fmla="*/ 3193941 w 7467600"/>
              <a:gd name="connsiteY373" fmla="*/ 6798775 h 6858000"/>
              <a:gd name="connsiteX374" fmla="*/ 3184140 w 7467600"/>
              <a:gd name="connsiteY374" fmla="*/ 6858000 h 6858000"/>
              <a:gd name="connsiteX375" fmla="*/ 3099978 w 7467600"/>
              <a:gd name="connsiteY375" fmla="*/ 6858000 h 6858000"/>
              <a:gd name="connsiteX376" fmla="*/ 3101556 w 7467600"/>
              <a:gd name="connsiteY376" fmla="*/ 6843337 h 6858000"/>
              <a:gd name="connsiteX377" fmla="*/ 3370162 w 7467600"/>
              <a:gd name="connsiteY377" fmla="*/ 5785550 h 6858000"/>
              <a:gd name="connsiteX378" fmla="*/ 3746477 w 7467600"/>
              <a:gd name="connsiteY378" fmla="*/ 5377889 h 6858000"/>
              <a:gd name="connsiteX379" fmla="*/ 3863399 w 7467600"/>
              <a:gd name="connsiteY379" fmla="*/ 5087257 h 6858000"/>
              <a:gd name="connsiteX380" fmla="*/ 3968712 w 7467600"/>
              <a:gd name="connsiteY380" fmla="*/ 4913989 h 6858000"/>
              <a:gd name="connsiteX381" fmla="*/ 2792390 w 7467600"/>
              <a:gd name="connsiteY381" fmla="*/ 5382974 h 6858000"/>
              <a:gd name="connsiteX382" fmla="*/ 2714982 w 7467600"/>
              <a:gd name="connsiteY382" fmla="*/ 5427051 h 6858000"/>
              <a:gd name="connsiteX383" fmla="*/ 2813361 w 7467600"/>
              <a:gd name="connsiteY383" fmla="*/ 6023912 h 6858000"/>
              <a:gd name="connsiteX384" fmla="*/ 2688430 w 7467600"/>
              <a:gd name="connsiteY384" fmla="*/ 6801564 h 6858000"/>
              <a:gd name="connsiteX385" fmla="*/ 2629626 w 7467600"/>
              <a:gd name="connsiteY385" fmla="*/ 6763394 h 6858000"/>
              <a:gd name="connsiteX386" fmla="*/ 2565328 w 7467600"/>
              <a:gd name="connsiteY386" fmla="*/ 5516399 h 6858000"/>
              <a:gd name="connsiteX387" fmla="*/ 1922999 w 7467600"/>
              <a:gd name="connsiteY387" fmla="*/ 5980343 h 6858000"/>
              <a:gd name="connsiteX388" fmla="*/ 1950261 w 7467600"/>
              <a:gd name="connsiteY388" fmla="*/ 6405858 h 6858000"/>
              <a:gd name="connsiteX389" fmla="*/ 2365554 w 7467600"/>
              <a:gd name="connsiteY389" fmla="*/ 6759107 h 6858000"/>
              <a:gd name="connsiteX390" fmla="*/ 2424142 w 7467600"/>
              <a:gd name="connsiteY390" fmla="*/ 6858000 h 6858000"/>
              <a:gd name="connsiteX391" fmla="*/ 2395994 w 7467600"/>
              <a:gd name="connsiteY391" fmla="*/ 6858000 h 6858000"/>
              <a:gd name="connsiteX392" fmla="*/ 2392863 w 7467600"/>
              <a:gd name="connsiteY392" fmla="*/ 6852964 h 6858000"/>
              <a:gd name="connsiteX393" fmla="*/ 2017589 w 7467600"/>
              <a:gd name="connsiteY393" fmla="*/ 6493982 h 6858000"/>
              <a:gd name="connsiteX394" fmla="*/ 2147336 w 7467600"/>
              <a:gd name="connsiteY394" fmla="*/ 6594052 h 6858000"/>
              <a:gd name="connsiteX395" fmla="*/ 2207047 w 7467600"/>
              <a:gd name="connsiteY395" fmla="*/ 6654540 h 6858000"/>
              <a:gd name="connsiteX396" fmla="*/ 2299106 w 7467600"/>
              <a:gd name="connsiteY396" fmla="*/ 6778931 h 6858000"/>
              <a:gd name="connsiteX397" fmla="*/ 2314430 w 7467600"/>
              <a:gd name="connsiteY397" fmla="*/ 6801144 h 6858000"/>
              <a:gd name="connsiteX398" fmla="*/ 2352406 w 7467600"/>
              <a:gd name="connsiteY398" fmla="*/ 6858000 h 6858000"/>
              <a:gd name="connsiteX399" fmla="*/ 2314492 w 7467600"/>
              <a:gd name="connsiteY399" fmla="*/ 6858000 h 6858000"/>
              <a:gd name="connsiteX400" fmla="*/ 2288095 w 7467600"/>
              <a:gd name="connsiteY400" fmla="*/ 6818030 h 6858000"/>
              <a:gd name="connsiteX401" fmla="*/ 2272768 w 7467600"/>
              <a:gd name="connsiteY401" fmla="*/ 6795822 h 6858000"/>
              <a:gd name="connsiteX402" fmla="*/ 2182715 w 7467600"/>
              <a:gd name="connsiteY402" fmla="*/ 6675071 h 6858000"/>
              <a:gd name="connsiteX403" fmla="*/ 2032061 w 7467600"/>
              <a:gd name="connsiteY403" fmla="*/ 6541380 h 6858000"/>
              <a:gd name="connsiteX404" fmla="*/ 2257220 w 7467600"/>
              <a:gd name="connsiteY404" fmla="*/ 6826257 h 6858000"/>
              <a:gd name="connsiteX405" fmla="*/ 2281324 w 7467600"/>
              <a:gd name="connsiteY405" fmla="*/ 6858000 h 6858000"/>
              <a:gd name="connsiteX406" fmla="*/ 2242860 w 7467600"/>
              <a:gd name="connsiteY406" fmla="*/ 6858000 h 6858000"/>
              <a:gd name="connsiteX407" fmla="*/ 2232818 w 7467600"/>
              <a:gd name="connsiteY407" fmla="*/ 6844926 h 6858000"/>
              <a:gd name="connsiteX408" fmla="*/ 1990172 w 7467600"/>
              <a:gd name="connsiteY408" fmla="*/ 6542121 h 6858000"/>
              <a:gd name="connsiteX409" fmla="*/ 2124090 w 7467600"/>
              <a:gd name="connsiteY409" fmla="*/ 6761017 h 6858000"/>
              <a:gd name="connsiteX410" fmla="*/ 2200380 w 7467600"/>
              <a:gd name="connsiteY410" fmla="*/ 6858000 h 6858000"/>
              <a:gd name="connsiteX411" fmla="*/ 2147507 w 7467600"/>
              <a:gd name="connsiteY411" fmla="*/ 6858000 h 6858000"/>
              <a:gd name="connsiteX412" fmla="*/ 2070668 w 7467600"/>
              <a:gd name="connsiteY412" fmla="*/ 6761520 h 6858000"/>
              <a:gd name="connsiteX413" fmla="*/ 1975142 w 7467600"/>
              <a:gd name="connsiteY413" fmla="*/ 6585570 h 6858000"/>
              <a:gd name="connsiteX414" fmla="*/ 2050035 w 7467600"/>
              <a:gd name="connsiteY414" fmla="*/ 6813345 h 6858000"/>
              <a:gd name="connsiteX415" fmla="*/ 2063025 w 7467600"/>
              <a:gd name="connsiteY415" fmla="*/ 6858000 h 6858000"/>
              <a:gd name="connsiteX416" fmla="*/ 2021675 w 7467600"/>
              <a:gd name="connsiteY416" fmla="*/ 6858000 h 6858000"/>
              <a:gd name="connsiteX417" fmla="*/ 2019308 w 7467600"/>
              <a:gd name="connsiteY417" fmla="*/ 6847118 h 6858000"/>
              <a:gd name="connsiteX418" fmla="*/ 1938835 w 7467600"/>
              <a:gd name="connsiteY418" fmla="*/ 6551160 h 6858000"/>
              <a:gd name="connsiteX419" fmla="*/ 1953230 w 7467600"/>
              <a:gd name="connsiteY419" fmla="*/ 6759699 h 6858000"/>
              <a:gd name="connsiteX420" fmla="*/ 1956763 w 7467600"/>
              <a:gd name="connsiteY420" fmla="*/ 6778191 h 6858000"/>
              <a:gd name="connsiteX421" fmla="*/ 1967925 w 7467600"/>
              <a:gd name="connsiteY421" fmla="*/ 6858000 h 6858000"/>
              <a:gd name="connsiteX422" fmla="*/ 1936622 w 7467600"/>
              <a:gd name="connsiteY422" fmla="*/ 6858000 h 6858000"/>
              <a:gd name="connsiteX423" fmla="*/ 1926261 w 7467600"/>
              <a:gd name="connsiteY423" fmla="*/ 6784064 h 6858000"/>
              <a:gd name="connsiteX424" fmla="*/ 1922724 w 7467600"/>
              <a:gd name="connsiteY424" fmla="*/ 6765577 h 6858000"/>
              <a:gd name="connsiteX425" fmla="*/ 1904650 w 7467600"/>
              <a:gd name="connsiteY425" fmla="*/ 6639616 h 6858000"/>
              <a:gd name="connsiteX426" fmla="*/ 1885273 w 7467600"/>
              <a:gd name="connsiteY426" fmla="*/ 6858000 h 6858000"/>
              <a:gd name="connsiteX427" fmla="*/ 1854363 w 7467600"/>
              <a:gd name="connsiteY427" fmla="*/ 6858000 h 6858000"/>
              <a:gd name="connsiteX428" fmla="*/ 1880391 w 7467600"/>
              <a:gd name="connsiteY428" fmla="*/ 6603796 h 6858000"/>
              <a:gd name="connsiteX429" fmla="*/ 1818273 w 7467600"/>
              <a:gd name="connsiteY429" fmla="*/ 6715729 h 6858000"/>
              <a:gd name="connsiteX430" fmla="*/ 1794691 w 7467600"/>
              <a:gd name="connsiteY430" fmla="*/ 6843239 h 6858000"/>
              <a:gd name="connsiteX431" fmla="*/ 1794914 w 7467600"/>
              <a:gd name="connsiteY431" fmla="*/ 6858000 h 6858000"/>
              <a:gd name="connsiteX432" fmla="*/ 1746128 w 7467600"/>
              <a:gd name="connsiteY432" fmla="*/ 6858000 h 6858000"/>
              <a:gd name="connsiteX433" fmla="*/ 1753934 w 7467600"/>
              <a:gd name="connsiteY433" fmla="*/ 6724796 h 6858000"/>
              <a:gd name="connsiteX434" fmla="*/ 1792053 w 7467600"/>
              <a:gd name="connsiteY434" fmla="*/ 6572396 h 6858000"/>
              <a:gd name="connsiteX435" fmla="*/ 1862248 w 7467600"/>
              <a:gd name="connsiteY435" fmla="*/ 6266397 h 6858000"/>
              <a:gd name="connsiteX436" fmla="*/ 1862250 w 7467600"/>
              <a:gd name="connsiteY436" fmla="*/ 6033531 h 6858000"/>
              <a:gd name="connsiteX437" fmla="*/ 1211999 w 7467600"/>
              <a:gd name="connsiteY437" fmla="*/ 6683610 h 6858000"/>
              <a:gd name="connsiteX438" fmla="*/ 1213266 w 7467600"/>
              <a:gd name="connsiteY438" fmla="*/ 6691947 h 6858000"/>
              <a:gd name="connsiteX439" fmla="*/ 1203370 w 7467600"/>
              <a:gd name="connsiteY439" fmla="*/ 6850676 h 6858000"/>
              <a:gd name="connsiteX440" fmla="*/ 1203671 w 7467600"/>
              <a:gd name="connsiteY440" fmla="*/ 6858000 h 6858000"/>
              <a:gd name="connsiteX441" fmla="*/ 1143180 w 7467600"/>
              <a:gd name="connsiteY441" fmla="*/ 6858000 h 6858000"/>
              <a:gd name="connsiteX442" fmla="*/ 1142176 w 7467600"/>
              <a:gd name="connsiteY442" fmla="*/ 6766045 h 6858000"/>
              <a:gd name="connsiteX443" fmla="*/ 1067484 w 7467600"/>
              <a:gd name="connsiteY443" fmla="*/ 6858000 h 6858000"/>
              <a:gd name="connsiteX444" fmla="*/ 953928 w 7467600"/>
              <a:gd name="connsiteY444" fmla="*/ 6858000 h 6858000"/>
              <a:gd name="connsiteX445" fmla="*/ 959715 w 7467600"/>
              <a:gd name="connsiteY445" fmla="*/ 6850185 h 6858000"/>
              <a:gd name="connsiteX446" fmla="*/ 1483788 w 7467600"/>
              <a:gd name="connsiteY446" fmla="*/ 6259174 h 6858000"/>
              <a:gd name="connsiteX447" fmla="*/ 1100671 w 7467600"/>
              <a:gd name="connsiteY447" fmla="*/ 6252137 h 6858000"/>
              <a:gd name="connsiteX448" fmla="*/ 1090144 w 7467600"/>
              <a:gd name="connsiteY448" fmla="*/ 6256748 h 6858000"/>
              <a:gd name="connsiteX449" fmla="*/ 1095872 w 7467600"/>
              <a:gd name="connsiteY449" fmla="*/ 6271892 h 6858000"/>
              <a:gd name="connsiteX450" fmla="*/ 262785 w 7467600"/>
              <a:gd name="connsiteY450" fmla="*/ 6845450 h 6858000"/>
              <a:gd name="connsiteX451" fmla="*/ 209968 w 7467600"/>
              <a:gd name="connsiteY451" fmla="*/ 6770713 h 6858000"/>
              <a:gd name="connsiteX452" fmla="*/ 873460 w 7467600"/>
              <a:gd name="connsiteY452" fmla="*/ 6253768 h 6858000"/>
              <a:gd name="connsiteX453" fmla="*/ 192686 w 7467600"/>
              <a:gd name="connsiteY453" fmla="*/ 5849257 h 6858000"/>
              <a:gd name="connsiteX454" fmla="*/ 4696 w 7467600"/>
              <a:gd name="connsiteY454" fmla="*/ 5697668 h 6858000"/>
              <a:gd name="connsiteX455" fmla="*/ 0 w 7467600"/>
              <a:gd name="connsiteY455" fmla="*/ 5689984 h 6858000"/>
              <a:gd name="connsiteX456" fmla="*/ 0 w 7467600"/>
              <a:gd name="connsiteY456" fmla="*/ 5513472 h 6858000"/>
              <a:gd name="connsiteX457" fmla="*/ 174101 w 7467600"/>
              <a:gd name="connsiteY457" fmla="*/ 5620277 h 6858000"/>
              <a:gd name="connsiteX458" fmla="*/ 891800 w 7467600"/>
              <a:gd name="connsiteY458" fmla="*/ 6036935 h 6858000"/>
              <a:gd name="connsiteX459" fmla="*/ 1072219 w 7467600"/>
              <a:gd name="connsiteY459" fmla="*/ 6169443 h 6858000"/>
              <a:gd name="connsiteX460" fmla="*/ 1074117 w 7467600"/>
              <a:gd name="connsiteY460" fmla="*/ 6170301 h 6858000"/>
              <a:gd name="connsiteX461" fmla="*/ 1083114 w 7467600"/>
              <a:gd name="connsiteY461" fmla="*/ 6174131 h 6858000"/>
              <a:gd name="connsiteX462" fmla="*/ 1543010 w 7467600"/>
              <a:gd name="connsiteY462" fmla="*/ 6191140 h 6858000"/>
              <a:gd name="connsiteX463" fmla="*/ 1551080 w 7467600"/>
              <a:gd name="connsiteY463" fmla="*/ 6195006 h 6858000"/>
              <a:gd name="connsiteX464" fmla="*/ 2345443 w 7467600"/>
              <a:gd name="connsiteY464" fmla="*/ 5549882 h 6858000"/>
              <a:gd name="connsiteX465" fmla="*/ 1721499 w 7467600"/>
              <a:gd name="connsiteY465" fmla="*/ 5599969 h 6858000"/>
              <a:gd name="connsiteX466" fmla="*/ 767716 w 7467600"/>
              <a:gd name="connsiteY466" fmla="*/ 5472768 h 6858000"/>
              <a:gd name="connsiteX467" fmla="*/ 722147 w 7467600"/>
              <a:gd name="connsiteY467" fmla="*/ 5393091 h 6858000"/>
              <a:gd name="connsiteX468" fmla="*/ 1485552 w 7467600"/>
              <a:gd name="connsiteY468" fmla="*/ 5313202 h 6858000"/>
              <a:gd name="connsiteX469" fmla="*/ 2143004 w 7467600"/>
              <a:gd name="connsiteY469" fmla="*/ 5402420 h 6858000"/>
              <a:gd name="connsiteX470" fmla="*/ 1933391 w 7467600"/>
              <a:gd name="connsiteY470" fmla="*/ 5156971 h 6858000"/>
              <a:gd name="connsiteX471" fmla="*/ 1827118 w 7467600"/>
              <a:gd name="connsiteY471" fmla="*/ 4968410 h 6858000"/>
              <a:gd name="connsiteX472" fmla="*/ 1837349 w 7467600"/>
              <a:gd name="connsiteY472" fmla="*/ 4956357 h 6858000"/>
              <a:gd name="connsiteX473" fmla="*/ 2162835 w 7467600"/>
              <a:gd name="connsiteY473" fmla="*/ 5187853 h 6858000"/>
              <a:gd name="connsiteX474" fmla="*/ 2257167 w 7467600"/>
              <a:gd name="connsiteY474" fmla="*/ 5462123 h 6858000"/>
              <a:gd name="connsiteX475" fmla="*/ 2261598 w 7467600"/>
              <a:gd name="connsiteY475" fmla="*/ 5467998 h 6858000"/>
              <a:gd name="connsiteX476" fmla="*/ 2437177 w 7467600"/>
              <a:gd name="connsiteY476" fmla="*/ 5479608 h 6858000"/>
              <a:gd name="connsiteX477" fmla="*/ 2445247 w 7467600"/>
              <a:gd name="connsiteY477" fmla="*/ 5483476 h 6858000"/>
              <a:gd name="connsiteX478" fmla="*/ 2743626 w 7467600"/>
              <a:gd name="connsiteY478" fmla="*/ 5304819 h 6858000"/>
              <a:gd name="connsiteX479" fmla="*/ 3048102 w 7467600"/>
              <a:gd name="connsiteY479" fmla="*/ 5150595 h 6858000"/>
              <a:gd name="connsiteX480" fmla="*/ 1799414 w 7467600"/>
              <a:gd name="connsiteY480" fmla="*/ 4694732 h 6858000"/>
              <a:gd name="connsiteX481" fmla="*/ 1771735 w 7467600"/>
              <a:gd name="connsiteY481" fmla="*/ 4619929 h 6858000"/>
              <a:gd name="connsiteX482" fmla="*/ 3104273 w 7467600"/>
              <a:gd name="connsiteY482" fmla="*/ 5076159 h 6858000"/>
              <a:gd name="connsiteX483" fmla="*/ 3113245 w 7467600"/>
              <a:gd name="connsiteY483" fmla="*/ 5090705 h 6858000"/>
              <a:gd name="connsiteX484" fmla="*/ 3126294 w 7467600"/>
              <a:gd name="connsiteY484" fmla="*/ 5114400 h 6858000"/>
              <a:gd name="connsiteX485" fmla="*/ 3937433 w 7467600"/>
              <a:gd name="connsiteY485" fmla="*/ 4830473 h 6858000"/>
              <a:gd name="connsiteX486" fmla="*/ 3590475 w 7467600"/>
              <a:gd name="connsiteY486" fmla="*/ 4597974 h 6858000"/>
              <a:gd name="connsiteX487" fmla="*/ 3100264 w 7467600"/>
              <a:gd name="connsiteY487" fmla="*/ 4579845 h 6858000"/>
              <a:gd name="connsiteX488" fmla="*/ 2183576 w 7467600"/>
              <a:gd name="connsiteY488" fmla="*/ 4227150 h 6858000"/>
              <a:gd name="connsiteX489" fmla="*/ 2151029 w 7467600"/>
              <a:gd name="connsiteY489" fmla="*/ 4146947 h 6858000"/>
              <a:gd name="connsiteX490" fmla="*/ 3563434 w 7467600"/>
              <a:gd name="connsiteY490" fmla="*/ 4469115 h 6858000"/>
              <a:gd name="connsiteX491" fmla="*/ 3177952 w 7467600"/>
              <a:gd name="connsiteY491" fmla="*/ 3657386 h 6858000"/>
              <a:gd name="connsiteX492" fmla="*/ 3189263 w 7467600"/>
              <a:gd name="connsiteY492" fmla="*/ 3625726 h 6858000"/>
              <a:gd name="connsiteX493" fmla="*/ 3560912 w 7467600"/>
              <a:gd name="connsiteY493" fmla="*/ 4079863 h 6858000"/>
              <a:gd name="connsiteX494" fmla="*/ 3626636 w 7467600"/>
              <a:gd name="connsiteY494" fmla="*/ 4512230 h 6858000"/>
              <a:gd name="connsiteX495" fmla="*/ 3653088 w 7467600"/>
              <a:gd name="connsiteY495" fmla="*/ 4521417 h 6858000"/>
              <a:gd name="connsiteX496" fmla="*/ 3988128 w 7467600"/>
              <a:gd name="connsiteY496" fmla="*/ 4817267 h 6858000"/>
              <a:gd name="connsiteX497" fmla="*/ 4830582 w 7467600"/>
              <a:gd name="connsiteY497" fmla="*/ 4676000 h 6858000"/>
              <a:gd name="connsiteX498" fmla="*/ 4830100 w 7467600"/>
              <a:gd name="connsiteY498" fmla="*/ 4675554 h 6858000"/>
              <a:gd name="connsiteX499" fmla="*/ 4036318 w 7467600"/>
              <a:gd name="connsiteY499" fmla="*/ 4147013 h 6858000"/>
              <a:gd name="connsiteX500" fmla="*/ 3432098 w 7467600"/>
              <a:gd name="connsiteY500" fmla="*/ 3537312 h 6858000"/>
              <a:gd name="connsiteX501" fmla="*/ 3446761 w 7467600"/>
              <a:gd name="connsiteY501" fmla="*/ 3461278 h 6858000"/>
              <a:gd name="connsiteX502" fmla="*/ 4419733 w 7467600"/>
              <a:gd name="connsiteY502" fmla="*/ 3963555 h 6858000"/>
              <a:gd name="connsiteX503" fmla="*/ 4781371 w 7467600"/>
              <a:gd name="connsiteY503" fmla="*/ 4458604 h 6858000"/>
              <a:gd name="connsiteX504" fmla="*/ 4780440 w 7467600"/>
              <a:gd name="connsiteY504" fmla="*/ 4470290 h 6858000"/>
              <a:gd name="connsiteX505" fmla="*/ 4898954 w 7467600"/>
              <a:gd name="connsiteY505" fmla="*/ 4662092 h 6858000"/>
              <a:gd name="connsiteX506" fmla="*/ 4900699 w 7467600"/>
              <a:gd name="connsiteY506" fmla="*/ 4670867 h 6858000"/>
              <a:gd name="connsiteX507" fmla="*/ 5714511 w 7467600"/>
              <a:gd name="connsiteY507" fmla="*/ 4663483 h 6858000"/>
              <a:gd name="connsiteX508" fmla="*/ 5464793 w 7467600"/>
              <a:gd name="connsiteY508" fmla="*/ 4393556 h 6858000"/>
              <a:gd name="connsiteX509" fmla="*/ 5461897 w 7467600"/>
              <a:gd name="connsiteY509" fmla="*/ 4390879 h 6858000"/>
              <a:gd name="connsiteX510" fmla="*/ 4294126 w 7467600"/>
              <a:gd name="connsiteY510" fmla="*/ 3303048 h 6858000"/>
              <a:gd name="connsiteX511" fmla="*/ 4305321 w 7467600"/>
              <a:gd name="connsiteY511" fmla="*/ 3256953 h 6858000"/>
              <a:gd name="connsiteX512" fmla="*/ 4949299 w 7467600"/>
              <a:gd name="connsiteY512" fmla="*/ 3766336 h 6858000"/>
              <a:gd name="connsiteX513" fmla="*/ 5291452 w 7467600"/>
              <a:gd name="connsiteY513" fmla="*/ 4076801 h 6858000"/>
              <a:gd name="connsiteX514" fmla="*/ 5434998 w 7467600"/>
              <a:gd name="connsiteY514" fmla="*/ 4254100 h 6858000"/>
              <a:gd name="connsiteX515" fmla="*/ 5351015 w 7467600"/>
              <a:gd name="connsiteY515" fmla="*/ 3760989 h 6858000"/>
              <a:gd name="connsiteX516" fmla="*/ 5413780 w 7467600"/>
              <a:gd name="connsiteY516" fmla="*/ 2966265 h 6858000"/>
              <a:gd name="connsiteX517" fmla="*/ 5425627 w 7467600"/>
              <a:gd name="connsiteY517" fmla="*/ 2954192 h 6858000"/>
              <a:gd name="connsiteX518" fmla="*/ 6604735 w 7467600"/>
              <a:gd name="connsiteY518" fmla="*/ 2041381 h 6858000"/>
              <a:gd name="connsiteX519" fmla="*/ 7204487 w 7467600"/>
              <a:gd name="connsiteY519" fmla="*/ 2742112 h 6858000"/>
              <a:gd name="connsiteX520" fmla="*/ 7131592 w 7467600"/>
              <a:gd name="connsiteY520" fmla="*/ 2672096 h 6858000"/>
              <a:gd name="connsiteX521" fmla="*/ 6996344 w 7467600"/>
              <a:gd name="connsiteY521" fmla="*/ 2518310 h 6858000"/>
              <a:gd name="connsiteX522" fmla="*/ 6735495 w 7467600"/>
              <a:gd name="connsiteY522" fmla="*/ 2196890 h 6858000"/>
              <a:gd name="connsiteX523" fmla="*/ 6721901 w 7467600"/>
              <a:gd name="connsiteY523" fmla="*/ 2179274 h 6858000"/>
              <a:gd name="connsiteX524" fmla="*/ 6604735 w 7467600"/>
              <a:gd name="connsiteY524" fmla="*/ 2041381 h 6858000"/>
              <a:gd name="connsiteX525" fmla="*/ 6591670 w 7467600"/>
              <a:gd name="connsiteY525" fmla="*/ 1988277 h 6858000"/>
              <a:gd name="connsiteX526" fmla="*/ 6747349 w 7467600"/>
              <a:gd name="connsiteY526" fmla="*/ 2160069 h 6858000"/>
              <a:gd name="connsiteX527" fmla="*/ 6760943 w 7467600"/>
              <a:gd name="connsiteY527" fmla="*/ 2177686 h 6858000"/>
              <a:gd name="connsiteX528" fmla="*/ 7021065 w 7467600"/>
              <a:gd name="connsiteY528" fmla="*/ 2498102 h 6858000"/>
              <a:gd name="connsiteX529" fmla="*/ 7155223 w 7467600"/>
              <a:gd name="connsiteY529" fmla="*/ 2650386 h 6858000"/>
              <a:gd name="connsiteX530" fmla="*/ 7203167 w 7467600"/>
              <a:gd name="connsiteY530" fmla="*/ 2697288 h 6858000"/>
              <a:gd name="connsiteX531" fmla="*/ 6937703 w 7467600"/>
              <a:gd name="connsiteY531" fmla="*/ 2321981 h 6858000"/>
              <a:gd name="connsiteX532" fmla="*/ 6591670 w 7467600"/>
              <a:gd name="connsiteY532" fmla="*/ 1988277 h 6858000"/>
              <a:gd name="connsiteX533" fmla="*/ 5798671 w 7467600"/>
              <a:gd name="connsiteY533" fmla="*/ 1981601 h 6858000"/>
              <a:gd name="connsiteX534" fmla="*/ 5754709 w 7467600"/>
              <a:gd name="connsiteY534" fmla="*/ 2071454 h 6858000"/>
              <a:gd name="connsiteX535" fmla="*/ 5763044 w 7467600"/>
              <a:gd name="connsiteY535" fmla="*/ 2842206 h 6858000"/>
              <a:gd name="connsiteX536" fmla="*/ 5764974 w 7467600"/>
              <a:gd name="connsiteY536" fmla="*/ 2799609 h 6858000"/>
              <a:gd name="connsiteX537" fmla="*/ 5767665 w 7467600"/>
              <a:gd name="connsiteY537" fmla="*/ 2666409 h 6858000"/>
              <a:gd name="connsiteX538" fmla="*/ 5763055 w 7467600"/>
              <a:gd name="connsiteY538" fmla="*/ 2579705 h 6858000"/>
              <a:gd name="connsiteX539" fmla="*/ 5758079 w 7467600"/>
              <a:gd name="connsiteY539" fmla="*/ 2492508 h 6858000"/>
              <a:gd name="connsiteX540" fmla="*/ 5779325 w 7467600"/>
              <a:gd name="connsiteY540" fmla="*/ 2197069 h 6858000"/>
              <a:gd name="connsiteX541" fmla="*/ 5798671 w 7467600"/>
              <a:gd name="connsiteY541" fmla="*/ 1981601 h 6858000"/>
              <a:gd name="connsiteX542" fmla="*/ 5829202 w 7467600"/>
              <a:gd name="connsiteY542" fmla="*/ 1971679 h 6858000"/>
              <a:gd name="connsiteX543" fmla="*/ 5809558 w 7467600"/>
              <a:gd name="connsiteY543" fmla="*/ 2198043 h 6858000"/>
              <a:gd name="connsiteX544" fmla="*/ 5788653 w 7467600"/>
              <a:gd name="connsiteY544" fmla="*/ 2489430 h 6858000"/>
              <a:gd name="connsiteX545" fmla="*/ 5793439 w 7467600"/>
              <a:gd name="connsiteY545" fmla="*/ 2575235 h 6858000"/>
              <a:gd name="connsiteX546" fmla="*/ 5796837 w 7467600"/>
              <a:gd name="connsiteY546" fmla="*/ 2637633 h 6858000"/>
              <a:gd name="connsiteX547" fmla="*/ 5818614 w 7467600"/>
              <a:gd name="connsiteY547" fmla="*/ 2473055 h 6858000"/>
              <a:gd name="connsiteX548" fmla="*/ 5829202 w 7467600"/>
              <a:gd name="connsiteY548" fmla="*/ 1971679 h 6858000"/>
              <a:gd name="connsiteX549" fmla="*/ 5911389 w 7467600"/>
              <a:gd name="connsiteY549" fmla="*/ 1898371 h 6858000"/>
              <a:gd name="connsiteX550" fmla="*/ 6237627 w 7467600"/>
              <a:gd name="connsiteY550" fmla="*/ 2231921 h 6858000"/>
              <a:gd name="connsiteX551" fmla="*/ 5911389 w 7467600"/>
              <a:gd name="connsiteY551" fmla="*/ 1898371 h 6858000"/>
              <a:gd name="connsiteX552" fmla="*/ 6944437 w 7467600"/>
              <a:gd name="connsiteY552" fmla="*/ 1575402 h 6858000"/>
              <a:gd name="connsiteX553" fmla="*/ 6304730 w 7467600"/>
              <a:gd name="connsiteY553" fmla="*/ 1766654 h 6858000"/>
              <a:gd name="connsiteX554" fmla="*/ 6944437 w 7467600"/>
              <a:gd name="connsiteY554" fmla="*/ 1575402 h 6858000"/>
              <a:gd name="connsiteX555" fmla="*/ 7019523 w 7467600"/>
              <a:gd name="connsiteY555" fmla="*/ 1519450 h 6858000"/>
              <a:gd name="connsiteX556" fmla="*/ 6298091 w 7467600"/>
              <a:gd name="connsiteY556" fmla="*/ 1737122 h 6858000"/>
              <a:gd name="connsiteX557" fmla="*/ 7019523 w 7467600"/>
              <a:gd name="connsiteY557" fmla="*/ 1519450 h 6858000"/>
              <a:gd name="connsiteX558" fmla="*/ 2399523 w 7467600"/>
              <a:gd name="connsiteY558" fmla="*/ 1428234 h 6858000"/>
              <a:gd name="connsiteX559" fmla="*/ 2224982 w 7467600"/>
              <a:gd name="connsiteY559" fmla="*/ 1826201 h 6858000"/>
              <a:gd name="connsiteX560" fmla="*/ 2096099 w 7467600"/>
              <a:gd name="connsiteY560" fmla="*/ 2345900 h 6858000"/>
              <a:gd name="connsiteX561" fmla="*/ 2283317 w 7467600"/>
              <a:gd name="connsiteY561" fmla="*/ 1796925 h 6858000"/>
              <a:gd name="connsiteX562" fmla="*/ 2399523 w 7467600"/>
              <a:gd name="connsiteY562" fmla="*/ 1428234 h 6858000"/>
              <a:gd name="connsiteX563" fmla="*/ 2448558 w 7467600"/>
              <a:gd name="connsiteY563" fmla="*/ 1373435 h 6858000"/>
              <a:gd name="connsiteX564" fmla="*/ 2312521 w 7467600"/>
              <a:gd name="connsiteY564" fmla="*/ 1806140 h 6858000"/>
              <a:gd name="connsiteX565" fmla="*/ 2127533 w 7467600"/>
              <a:gd name="connsiteY565" fmla="*/ 2348380 h 6858000"/>
              <a:gd name="connsiteX566" fmla="*/ 2358080 w 7467600"/>
              <a:gd name="connsiteY566" fmla="*/ 1866134 h 6858000"/>
              <a:gd name="connsiteX567" fmla="*/ 2407436 w 7467600"/>
              <a:gd name="connsiteY567" fmla="*/ 1651070 h 6858000"/>
              <a:gd name="connsiteX568" fmla="*/ 2448558 w 7467600"/>
              <a:gd name="connsiteY568" fmla="*/ 1373435 h 6858000"/>
              <a:gd name="connsiteX569" fmla="*/ 278707 w 7467600"/>
              <a:gd name="connsiteY569" fmla="*/ 1352270 h 6858000"/>
              <a:gd name="connsiteX570" fmla="*/ 321570 w 7467600"/>
              <a:gd name="connsiteY570" fmla="*/ 1861610 h 6858000"/>
              <a:gd name="connsiteX571" fmla="*/ 294281 w 7467600"/>
              <a:gd name="connsiteY571" fmla="*/ 1440658 h 6858000"/>
              <a:gd name="connsiteX572" fmla="*/ 278707 w 7467600"/>
              <a:gd name="connsiteY572" fmla="*/ 1352270 h 6858000"/>
              <a:gd name="connsiteX573" fmla="*/ 1423821 w 7467600"/>
              <a:gd name="connsiteY573" fmla="*/ 1351958 h 6858000"/>
              <a:gd name="connsiteX574" fmla="*/ 1638521 w 7467600"/>
              <a:gd name="connsiteY574" fmla="*/ 1908470 h 6858000"/>
              <a:gd name="connsiteX575" fmla="*/ 1754199 w 7467600"/>
              <a:gd name="connsiteY575" fmla="*/ 2149284 h 6858000"/>
              <a:gd name="connsiteX576" fmla="*/ 1908359 w 7467600"/>
              <a:gd name="connsiteY576" fmla="*/ 2364988 h 6858000"/>
              <a:gd name="connsiteX577" fmla="*/ 1647661 w 7467600"/>
              <a:gd name="connsiteY577" fmla="*/ 1825945 h 6858000"/>
              <a:gd name="connsiteX578" fmla="*/ 1423821 w 7467600"/>
              <a:gd name="connsiteY578" fmla="*/ 1351958 h 6858000"/>
              <a:gd name="connsiteX579" fmla="*/ 1431890 w 7467600"/>
              <a:gd name="connsiteY579" fmla="*/ 1306475 h 6858000"/>
              <a:gd name="connsiteX580" fmla="*/ 1507597 w 7467600"/>
              <a:gd name="connsiteY580" fmla="*/ 1446132 h 6858000"/>
              <a:gd name="connsiteX581" fmla="*/ 1674586 w 7467600"/>
              <a:gd name="connsiteY581" fmla="*/ 1813832 h 6858000"/>
              <a:gd name="connsiteX582" fmla="*/ 1815950 w 7467600"/>
              <a:gd name="connsiteY582" fmla="*/ 2128564 h 6858000"/>
              <a:gd name="connsiteX583" fmla="*/ 1984242 w 7467600"/>
              <a:gd name="connsiteY583" fmla="*/ 2430829 h 6858000"/>
              <a:gd name="connsiteX584" fmla="*/ 2014023 w 7467600"/>
              <a:gd name="connsiteY584" fmla="*/ 2450995 h 6858000"/>
              <a:gd name="connsiteX585" fmla="*/ 1747337 w 7467600"/>
              <a:gd name="connsiteY585" fmla="*/ 1855264 h 6858000"/>
              <a:gd name="connsiteX586" fmla="*/ 1533749 w 7467600"/>
              <a:gd name="connsiteY586" fmla="*/ 1478656 h 6858000"/>
              <a:gd name="connsiteX587" fmla="*/ 1431890 w 7467600"/>
              <a:gd name="connsiteY587" fmla="*/ 1306475 h 6858000"/>
              <a:gd name="connsiteX588" fmla="*/ 5052692 w 7467600"/>
              <a:gd name="connsiteY588" fmla="*/ 1292994 h 6858000"/>
              <a:gd name="connsiteX589" fmla="*/ 5200661 w 7467600"/>
              <a:gd name="connsiteY589" fmla="*/ 1635186 h 6858000"/>
              <a:gd name="connsiteX590" fmla="*/ 5297138 w 7467600"/>
              <a:gd name="connsiteY590" fmla="*/ 1906351 h 6858000"/>
              <a:gd name="connsiteX591" fmla="*/ 5052692 w 7467600"/>
              <a:gd name="connsiteY591" fmla="*/ 1292994 h 6858000"/>
              <a:gd name="connsiteX592" fmla="*/ 5009948 w 7467600"/>
              <a:gd name="connsiteY592" fmla="*/ 1273619 h 6858000"/>
              <a:gd name="connsiteX593" fmla="*/ 5121777 w 7467600"/>
              <a:gd name="connsiteY593" fmla="*/ 1654213 h 6858000"/>
              <a:gd name="connsiteX594" fmla="*/ 5293545 w 7467600"/>
              <a:gd name="connsiteY594" fmla="*/ 2072247 h 6858000"/>
              <a:gd name="connsiteX595" fmla="*/ 5294042 w 7467600"/>
              <a:gd name="connsiteY595" fmla="*/ 2065019 h 6858000"/>
              <a:gd name="connsiteX596" fmla="*/ 5171936 w 7467600"/>
              <a:gd name="connsiteY596" fmla="*/ 1647613 h 6858000"/>
              <a:gd name="connsiteX597" fmla="*/ 5009948 w 7467600"/>
              <a:gd name="connsiteY597" fmla="*/ 1273619 h 6858000"/>
              <a:gd name="connsiteX598" fmla="*/ 655236 w 7467600"/>
              <a:gd name="connsiteY598" fmla="*/ 1268632 h 6858000"/>
              <a:gd name="connsiteX599" fmla="*/ 839521 w 7467600"/>
              <a:gd name="connsiteY599" fmla="*/ 1685315 h 6858000"/>
              <a:gd name="connsiteX600" fmla="*/ 1109416 w 7467600"/>
              <a:gd name="connsiteY600" fmla="*/ 2061663 h 6858000"/>
              <a:gd name="connsiteX601" fmla="*/ 1298300 w 7467600"/>
              <a:gd name="connsiteY601" fmla="*/ 2247742 h 6858000"/>
              <a:gd name="connsiteX602" fmla="*/ 1125871 w 7467600"/>
              <a:gd name="connsiteY602" fmla="*/ 1989513 h 6858000"/>
              <a:gd name="connsiteX603" fmla="*/ 981574 w 7467600"/>
              <a:gd name="connsiteY603" fmla="*/ 1783157 h 6858000"/>
              <a:gd name="connsiteX604" fmla="*/ 922198 w 7467600"/>
              <a:gd name="connsiteY604" fmla="*/ 1677437 h 6858000"/>
              <a:gd name="connsiteX605" fmla="*/ 869293 w 7467600"/>
              <a:gd name="connsiteY605" fmla="*/ 1583214 h 6858000"/>
              <a:gd name="connsiteX606" fmla="*/ 751431 w 7467600"/>
              <a:gd name="connsiteY606" fmla="*/ 1405731 h 6858000"/>
              <a:gd name="connsiteX607" fmla="*/ 655236 w 7467600"/>
              <a:gd name="connsiteY607" fmla="*/ 1268632 h 6858000"/>
              <a:gd name="connsiteX608" fmla="*/ 6516292 w 7467600"/>
              <a:gd name="connsiteY608" fmla="*/ 1263064 h 6858000"/>
              <a:gd name="connsiteX609" fmla="*/ 5736320 w 7467600"/>
              <a:gd name="connsiteY609" fmla="*/ 1501803 h 6858000"/>
              <a:gd name="connsiteX610" fmla="*/ 6516292 w 7467600"/>
              <a:gd name="connsiteY610" fmla="*/ 1263064 h 6858000"/>
              <a:gd name="connsiteX611" fmla="*/ 291466 w 7467600"/>
              <a:gd name="connsiteY611" fmla="*/ 1250369 h 6858000"/>
              <a:gd name="connsiteX612" fmla="*/ 323180 w 7467600"/>
              <a:gd name="connsiteY612" fmla="*/ 1435283 h 6858000"/>
              <a:gd name="connsiteX613" fmla="*/ 349381 w 7467600"/>
              <a:gd name="connsiteY613" fmla="*/ 1875041 h 6858000"/>
              <a:gd name="connsiteX614" fmla="*/ 374363 w 7467600"/>
              <a:gd name="connsiteY614" fmla="*/ 1506494 h 6858000"/>
              <a:gd name="connsiteX615" fmla="*/ 302168 w 7467600"/>
              <a:gd name="connsiteY615" fmla="*/ 1274495 h 6858000"/>
              <a:gd name="connsiteX616" fmla="*/ 291466 w 7467600"/>
              <a:gd name="connsiteY616" fmla="*/ 1250369 h 6858000"/>
              <a:gd name="connsiteX617" fmla="*/ 678222 w 7467600"/>
              <a:gd name="connsiteY617" fmla="*/ 1248670 h 6858000"/>
              <a:gd name="connsiteX618" fmla="*/ 775536 w 7467600"/>
              <a:gd name="connsiteY618" fmla="*/ 1388015 h 6858000"/>
              <a:gd name="connsiteX619" fmla="*/ 894529 w 7467600"/>
              <a:gd name="connsiteY619" fmla="*/ 1567739 h 6858000"/>
              <a:gd name="connsiteX620" fmla="*/ 948000 w 7467600"/>
              <a:gd name="connsiteY620" fmla="*/ 1663088 h 6858000"/>
              <a:gd name="connsiteX621" fmla="*/ 1006812 w 7467600"/>
              <a:gd name="connsiteY621" fmla="*/ 1767683 h 6858000"/>
              <a:gd name="connsiteX622" fmla="*/ 1149133 w 7467600"/>
              <a:gd name="connsiteY622" fmla="*/ 1971513 h 6858000"/>
              <a:gd name="connsiteX623" fmla="*/ 1333952 w 7467600"/>
              <a:gd name="connsiteY623" fmla="*/ 2251620 h 6858000"/>
              <a:gd name="connsiteX624" fmla="*/ 1337329 w 7467600"/>
              <a:gd name="connsiteY624" fmla="*/ 2258350 h 6858000"/>
              <a:gd name="connsiteX625" fmla="*/ 1014726 w 7467600"/>
              <a:gd name="connsiteY625" fmla="*/ 1615556 h 6858000"/>
              <a:gd name="connsiteX626" fmla="*/ 678222 w 7467600"/>
              <a:gd name="connsiteY626" fmla="*/ 1248670 h 6858000"/>
              <a:gd name="connsiteX627" fmla="*/ 6691602 w 7467600"/>
              <a:gd name="connsiteY627" fmla="*/ 1140573 h 6858000"/>
              <a:gd name="connsiteX628" fmla="*/ 6571100 w 7467600"/>
              <a:gd name="connsiteY628" fmla="*/ 1183662 h 6858000"/>
              <a:gd name="connsiteX629" fmla="*/ 6241687 w 7467600"/>
              <a:gd name="connsiteY629" fmla="*/ 1257600 h 6858000"/>
              <a:gd name="connsiteX630" fmla="*/ 5693009 w 7467600"/>
              <a:gd name="connsiteY630" fmla="*/ 1478256 h 6858000"/>
              <a:gd name="connsiteX631" fmla="*/ 6548420 w 7467600"/>
              <a:gd name="connsiteY631" fmla="*/ 1214599 h 6858000"/>
              <a:gd name="connsiteX632" fmla="*/ 6605473 w 7467600"/>
              <a:gd name="connsiteY632" fmla="*/ 1184686 h 6858000"/>
              <a:gd name="connsiteX633" fmla="*/ 6691602 w 7467600"/>
              <a:gd name="connsiteY633" fmla="*/ 1140573 h 6858000"/>
              <a:gd name="connsiteX634" fmla="*/ 4002475 w 7467600"/>
              <a:gd name="connsiteY634" fmla="*/ 1037802 h 6858000"/>
              <a:gd name="connsiteX635" fmla="*/ 4000324 w 7467600"/>
              <a:gd name="connsiteY635" fmla="*/ 1039362 h 6858000"/>
              <a:gd name="connsiteX636" fmla="*/ 4002862 w 7467600"/>
              <a:gd name="connsiteY636" fmla="*/ 1042866 h 6858000"/>
              <a:gd name="connsiteX637" fmla="*/ 4002475 w 7467600"/>
              <a:gd name="connsiteY637" fmla="*/ 1037802 h 6858000"/>
              <a:gd name="connsiteX638" fmla="*/ 506322 w 7467600"/>
              <a:gd name="connsiteY638" fmla="*/ 1020997 h 6858000"/>
              <a:gd name="connsiteX639" fmla="*/ 533068 w 7467600"/>
              <a:gd name="connsiteY639" fmla="*/ 1029409 h 6858000"/>
              <a:gd name="connsiteX640" fmla="*/ 1232525 w 7467600"/>
              <a:gd name="connsiteY640" fmla="*/ 1804675 h 6858000"/>
              <a:gd name="connsiteX641" fmla="*/ 1388858 w 7467600"/>
              <a:gd name="connsiteY641" fmla="*/ 2368011 h 6858000"/>
              <a:gd name="connsiteX642" fmla="*/ 1384098 w 7467600"/>
              <a:gd name="connsiteY642" fmla="*/ 2378125 h 6858000"/>
              <a:gd name="connsiteX643" fmla="*/ 1425393 w 7467600"/>
              <a:gd name="connsiteY643" fmla="*/ 2589124 h 6858000"/>
              <a:gd name="connsiteX644" fmla="*/ 1424001 w 7467600"/>
              <a:gd name="connsiteY644" fmla="*/ 2597541 h 6858000"/>
              <a:gd name="connsiteX645" fmla="*/ 2152729 w 7467600"/>
              <a:gd name="connsiteY645" fmla="*/ 2864487 h 6858000"/>
              <a:gd name="connsiteX646" fmla="*/ 2020609 w 7467600"/>
              <a:gd name="connsiteY646" fmla="*/ 2539671 h 6858000"/>
              <a:gd name="connsiteX647" fmla="*/ 2018920 w 7467600"/>
              <a:gd name="connsiteY647" fmla="*/ 2536309 h 6858000"/>
              <a:gd name="connsiteX648" fmla="*/ 1342441 w 7467600"/>
              <a:gd name="connsiteY648" fmla="*/ 1173017 h 6858000"/>
              <a:gd name="connsiteX649" fmla="*/ 1367925 w 7467600"/>
              <a:gd name="connsiteY649" fmla="*/ 1135648 h 6858000"/>
              <a:gd name="connsiteX650" fmla="*/ 1771401 w 7467600"/>
              <a:gd name="connsiteY650" fmla="*/ 1806673 h 6858000"/>
              <a:gd name="connsiteX651" fmla="*/ 1972385 w 7467600"/>
              <a:gd name="connsiteY651" fmla="*/ 2198735 h 6858000"/>
              <a:gd name="connsiteX652" fmla="*/ 2040892 w 7467600"/>
              <a:gd name="connsiteY652" fmla="*/ 2405205 h 6858000"/>
              <a:gd name="connsiteX653" fmla="*/ 2131689 w 7467600"/>
              <a:gd name="connsiteY653" fmla="*/ 1936926 h 6858000"/>
              <a:gd name="connsiteX654" fmla="*/ 2454820 w 7467600"/>
              <a:gd name="connsiteY654" fmla="*/ 1248808 h 6858000"/>
              <a:gd name="connsiteX655" fmla="*/ 2492512 w 7467600"/>
              <a:gd name="connsiteY655" fmla="*/ 1302920 h 6858000"/>
              <a:gd name="connsiteX656" fmla="*/ 2081216 w 7467600"/>
              <a:gd name="connsiteY656" fmla="*/ 2527513 h 6858000"/>
              <a:gd name="connsiteX657" fmla="*/ 2081211 w 7467600"/>
              <a:gd name="connsiteY657" fmla="*/ 2528916 h 6858000"/>
              <a:gd name="connsiteX658" fmla="*/ 2199067 w 7467600"/>
              <a:gd name="connsiteY658" fmla="*/ 2884061 h 6858000"/>
              <a:gd name="connsiteX659" fmla="*/ 3192586 w 7467600"/>
              <a:gd name="connsiteY659" fmla="*/ 3411496 h 6858000"/>
              <a:gd name="connsiteX660" fmla="*/ 3182620 w 7467600"/>
              <a:gd name="connsiteY660" fmla="*/ 3483279 h 6858000"/>
              <a:gd name="connsiteX661" fmla="*/ 2435119 w 7467600"/>
              <a:gd name="connsiteY661" fmla="*/ 3080173 h 6858000"/>
              <a:gd name="connsiteX662" fmla="*/ 2410152 w 7467600"/>
              <a:gd name="connsiteY662" fmla="*/ 3063751 h 6858000"/>
              <a:gd name="connsiteX663" fmla="*/ 2408099 w 7467600"/>
              <a:gd name="connsiteY663" fmla="*/ 3064403 h 6858000"/>
              <a:gd name="connsiteX664" fmla="*/ 2407218 w 7467600"/>
              <a:gd name="connsiteY664" fmla="*/ 3070324 h 6858000"/>
              <a:gd name="connsiteX665" fmla="*/ 2380138 w 7467600"/>
              <a:gd name="connsiteY665" fmla="*/ 3099341 h 6858000"/>
              <a:gd name="connsiteX666" fmla="*/ 1765923 w 7467600"/>
              <a:gd name="connsiteY666" fmla="*/ 3581043 h 6858000"/>
              <a:gd name="connsiteX667" fmla="*/ 1702258 w 7467600"/>
              <a:gd name="connsiteY667" fmla="*/ 3612286 h 6858000"/>
              <a:gd name="connsiteX668" fmla="*/ 1538370 w 7467600"/>
              <a:gd name="connsiteY668" fmla="*/ 3811804 h 6858000"/>
              <a:gd name="connsiteX669" fmla="*/ 542867 w 7467600"/>
              <a:gd name="connsiteY669" fmla="*/ 4944092 h 6858000"/>
              <a:gd name="connsiteX670" fmla="*/ 515800 w 7467600"/>
              <a:gd name="connsiteY670" fmla="*/ 4862180 h 6858000"/>
              <a:gd name="connsiteX671" fmla="*/ 909145 w 7467600"/>
              <a:gd name="connsiteY671" fmla="*/ 4199225 h 6858000"/>
              <a:gd name="connsiteX672" fmla="*/ 1214067 w 7467600"/>
              <a:gd name="connsiteY672" fmla="*/ 3908561 h 6858000"/>
              <a:gd name="connsiteX673" fmla="*/ 640967 w 7467600"/>
              <a:gd name="connsiteY673" fmla="*/ 4105601 h 6858000"/>
              <a:gd name="connsiteX674" fmla="*/ 112563 w 7467600"/>
              <a:gd name="connsiteY674" fmla="*/ 4396952 h 6858000"/>
              <a:gd name="connsiteX675" fmla="*/ 0 w 7467600"/>
              <a:gd name="connsiteY675" fmla="*/ 4466006 h 6858000"/>
              <a:gd name="connsiteX676" fmla="*/ 0 w 7467600"/>
              <a:gd name="connsiteY676" fmla="*/ 4233763 h 6858000"/>
              <a:gd name="connsiteX677" fmla="*/ 36881 w 7467600"/>
              <a:gd name="connsiteY677" fmla="*/ 4200118 h 6858000"/>
              <a:gd name="connsiteX678" fmla="*/ 910534 w 7467600"/>
              <a:gd name="connsiteY678" fmla="*/ 3629753 h 6858000"/>
              <a:gd name="connsiteX679" fmla="*/ 1578717 w 7467600"/>
              <a:gd name="connsiteY679" fmla="*/ 3575982 h 6858000"/>
              <a:gd name="connsiteX680" fmla="*/ 2338780 w 7467600"/>
              <a:gd name="connsiteY680" fmla="*/ 3033725 h 6858000"/>
              <a:gd name="connsiteX681" fmla="*/ 1807991 w 7467600"/>
              <a:gd name="connsiteY681" fmla="*/ 2807184 h 6858000"/>
              <a:gd name="connsiteX682" fmla="*/ 1416358 w 7467600"/>
              <a:gd name="connsiteY682" fmla="*/ 3112571 h 6858000"/>
              <a:gd name="connsiteX683" fmla="*/ 939066 w 7467600"/>
              <a:gd name="connsiteY683" fmla="*/ 3378798 h 6858000"/>
              <a:gd name="connsiteX684" fmla="*/ 115099 w 7467600"/>
              <a:gd name="connsiteY684" fmla="*/ 3607650 h 6858000"/>
              <a:gd name="connsiteX685" fmla="*/ 97284 w 7467600"/>
              <a:gd name="connsiteY685" fmla="*/ 3520393 h 6858000"/>
              <a:gd name="connsiteX686" fmla="*/ 922050 w 7467600"/>
              <a:gd name="connsiteY686" fmla="*/ 3074867 h 6858000"/>
              <a:gd name="connsiteX687" fmla="*/ 1405265 w 7467600"/>
              <a:gd name="connsiteY687" fmla="*/ 3016319 h 6858000"/>
              <a:gd name="connsiteX688" fmla="*/ 1407512 w 7467600"/>
              <a:gd name="connsiteY688" fmla="*/ 3018001 h 6858000"/>
              <a:gd name="connsiteX689" fmla="*/ 1726266 w 7467600"/>
              <a:gd name="connsiteY689" fmla="*/ 2777274 h 6858000"/>
              <a:gd name="connsiteX690" fmla="*/ 625390 w 7467600"/>
              <a:gd name="connsiteY690" fmla="*/ 2514541 h 6858000"/>
              <a:gd name="connsiteX691" fmla="*/ 619799 w 7467600"/>
              <a:gd name="connsiteY691" fmla="*/ 2527180 h 6858000"/>
              <a:gd name="connsiteX692" fmla="*/ 310030 w 7467600"/>
              <a:gd name="connsiteY692" fmla="*/ 2771818 h 6858000"/>
              <a:gd name="connsiteX693" fmla="*/ 173877 w 7467600"/>
              <a:gd name="connsiteY693" fmla="*/ 2937056 h 6858000"/>
              <a:gd name="connsiteX694" fmla="*/ 77889 w 7467600"/>
              <a:gd name="connsiteY694" fmla="*/ 3138440 h 6858000"/>
              <a:gd name="connsiteX695" fmla="*/ 0 w 7467600"/>
              <a:gd name="connsiteY695" fmla="*/ 3271395 h 6858000"/>
              <a:gd name="connsiteX696" fmla="*/ 0 w 7467600"/>
              <a:gd name="connsiteY696" fmla="*/ 3153002 h 6858000"/>
              <a:gd name="connsiteX697" fmla="*/ 2386 w 7467600"/>
              <a:gd name="connsiteY697" fmla="*/ 3149203 h 6858000"/>
              <a:gd name="connsiteX698" fmla="*/ 89753 w 7467600"/>
              <a:gd name="connsiteY698" fmla="*/ 2987702 h 6858000"/>
              <a:gd name="connsiteX699" fmla="*/ 76869 w 7467600"/>
              <a:gd name="connsiteY699" fmla="*/ 3005404 h 6858000"/>
              <a:gd name="connsiteX700" fmla="*/ 32049 w 7467600"/>
              <a:gd name="connsiteY700" fmla="*/ 3065814 h 6858000"/>
              <a:gd name="connsiteX701" fmla="*/ 0 w 7467600"/>
              <a:gd name="connsiteY701" fmla="*/ 3108744 h 6858000"/>
              <a:gd name="connsiteX702" fmla="*/ 0 w 7467600"/>
              <a:gd name="connsiteY702" fmla="*/ 3058059 h 6858000"/>
              <a:gd name="connsiteX703" fmla="*/ 7610 w 7467600"/>
              <a:gd name="connsiteY703" fmla="*/ 3047889 h 6858000"/>
              <a:gd name="connsiteX704" fmla="*/ 52419 w 7467600"/>
              <a:gd name="connsiteY704" fmla="*/ 2987479 h 6858000"/>
              <a:gd name="connsiteX705" fmla="*/ 59142 w 7467600"/>
              <a:gd name="connsiteY705" fmla="*/ 2978488 h 6858000"/>
              <a:gd name="connsiteX706" fmla="*/ 0 w 7467600"/>
              <a:gd name="connsiteY706" fmla="*/ 3015334 h 6858000"/>
              <a:gd name="connsiteX707" fmla="*/ 0 w 7467600"/>
              <a:gd name="connsiteY707" fmla="*/ 2914286 h 6858000"/>
              <a:gd name="connsiteX708" fmla="*/ 36383 w 7467600"/>
              <a:gd name="connsiteY708" fmla="*/ 2901128 h 6858000"/>
              <a:gd name="connsiteX709" fmla="*/ 156329 w 7467600"/>
              <a:gd name="connsiteY709" fmla="*/ 2840533 h 6858000"/>
              <a:gd name="connsiteX710" fmla="*/ 358355 w 7467600"/>
              <a:gd name="connsiteY710" fmla="*/ 2620471 h 6858000"/>
              <a:gd name="connsiteX711" fmla="*/ 510577 w 7467600"/>
              <a:gd name="connsiteY711" fmla="*/ 2501244 h 6858000"/>
              <a:gd name="connsiteX712" fmla="*/ 211967 w 7467600"/>
              <a:gd name="connsiteY712" fmla="*/ 2479171 h 6858000"/>
              <a:gd name="connsiteX713" fmla="*/ 0 w 7467600"/>
              <a:gd name="connsiteY713" fmla="*/ 2476398 h 6858000"/>
              <a:gd name="connsiteX714" fmla="*/ 0 w 7467600"/>
              <a:gd name="connsiteY714" fmla="*/ 2389189 h 6858000"/>
              <a:gd name="connsiteX715" fmla="*/ 103062 w 7467600"/>
              <a:gd name="connsiteY715" fmla="*/ 2389518 h 6858000"/>
              <a:gd name="connsiteX716" fmla="*/ 510734 w 7467600"/>
              <a:gd name="connsiteY716" fmla="*/ 2416201 h 6858000"/>
              <a:gd name="connsiteX717" fmla="*/ 279257 w 7467600"/>
              <a:gd name="connsiteY717" fmla="*/ 2092102 h 6858000"/>
              <a:gd name="connsiteX718" fmla="*/ 65265 w 7467600"/>
              <a:gd name="connsiteY718" fmla="*/ 2006049 h 6858000"/>
              <a:gd name="connsiteX719" fmla="*/ 0 w 7467600"/>
              <a:gd name="connsiteY719" fmla="*/ 1982532 h 6858000"/>
              <a:gd name="connsiteX720" fmla="*/ 0 w 7467600"/>
              <a:gd name="connsiteY720" fmla="*/ 1912789 h 6858000"/>
              <a:gd name="connsiteX721" fmla="*/ 97460 w 7467600"/>
              <a:gd name="connsiteY721" fmla="*/ 1953725 h 6858000"/>
              <a:gd name="connsiteX722" fmla="*/ 221272 w 7467600"/>
              <a:gd name="connsiteY722" fmla="*/ 1980766 h 6858000"/>
              <a:gd name="connsiteX723" fmla="*/ 116765 w 7467600"/>
              <a:gd name="connsiteY723" fmla="*/ 1911033 h 6858000"/>
              <a:gd name="connsiteX724" fmla="*/ 16405 w 7467600"/>
              <a:gd name="connsiteY724" fmla="*/ 1803412 h 6858000"/>
              <a:gd name="connsiteX725" fmla="*/ 0 w 7467600"/>
              <a:gd name="connsiteY725" fmla="*/ 1784777 h 6858000"/>
              <a:gd name="connsiteX726" fmla="*/ 0 w 7467600"/>
              <a:gd name="connsiteY726" fmla="*/ 1740082 h 6858000"/>
              <a:gd name="connsiteX727" fmla="*/ 39394 w 7467600"/>
              <a:gd name="connsiteY727" fmla="*/ 1784856 h 6858000"/>
              <a:gd name="connsiteX728" fmla="*/ 135813 w 7467600"/>
              <a:gd name="connsiteY728" fmla="*/ 1888838 h 6858000"/>
              <a:gd name="connsiteX729" fmla="*/ 242575 w 7467600"/>
              <a:gd name="connsiteY729" fmla="*/ 1958841 h 6858000"/>
              <a:gd name="connsiteX730" fmla="*/ 82197 w 7467600"/>
              <a:gd name="connsiteY730" fmla="*/ 1754826 h 6858000"/>
              <a:gd name="connsiteX731" fmla="*/ 0 w 7467600"/>
              <a:gd name="connsiteY731" fmla="*/ 1679650 h 6858000"/>
              <a:gd name="connsiteX732" fmla="*/ 0 w 7467600"/>
              <a:gd name="connsiteY732" fmla="*/ 1602463 h 6858000"/>
              <a:gd name="connsiteX733" fmla="*/ 84689 w 7467600"/>
              <a:gd name="connsiteY733" fmla="*/ 1677442 h 6858000"/>
              <a:gd name="connsiteX734" fmla="*/ 298437 w 7467600"/>
              <a:gd name="connsiteY734" fmla="*/ 1968019 h 6858000"/>
              <a:gd name="connsiteX735" fmla="*/ 227269 w 7467600"/>
              <a:gd name="connsiteY735" fmla="*/ 1114064 h 6858000"/>
              <a:gd name="connsiteX736" fmla="*/ 248003 w 7467600"/>
              <a:gd name="connsiteY736" fmla="*/ 1089613 h 6858000"/>
              <a:gd name="connsiteX737" fmla="*/ 427020 w 7467600"/>
              <a:gd name="connsiteY737" fmla="*/ 1619803 h 6858000"/>
              <a:gd name="connsiteX738" fmla="*/ 340345 w 7467600"/>
              <a:gd name="connsiteY738" fmla="*/ 2027739 h 6858000"/>
              <a:gd name="connsiteX739" fmla="*/ 360865 w 7467600"/>
              <a:gd name="connsiteY739" fmla="*/ 2044827 h 6858000"/>
              <a:gd name="connsiteX740" fmla="*/ 560414 w 7467600"/>
              <a:gd name="connsiteY740" fmla="*/ 2421457 h 6858000"/>
              <a:gd name="connsiteX741" fmla="*/ 1359703 w 7467600"/>
              <a:gd name="connsiteY741" fmla="*/ 2578554 h 6858000"/>
              <a:gd name="connsiteX742" fmla="*/ 1359422 w 7467600"/>
              <a:gd name="connsiteY742" fmla="*/ 2577994 h 6858000"/>
              <a:gd name="connsiteX743" fmla="*/ 828701 w 7467600"/>
              <a:gd name="connsiteY743" fmla="*/ 1839520 h 6858000"/>
              <a:gd name="connsiteX744" fmla="*/ 494427 w 7467600"/>
              <a:gd name="connsiteY744" fmla="*/ 1092333 h 6858000"/>
              <a:gd name="connsiteX745" fmla="*/ 506322 w 7467600"/>
              <a:gd name="connsiteY745" fmla="*/ 1020997 h 6858000"/>
              <a:gd name="connsiteX746" fmla="*/ 4570198 w 7467600"/>
              <a:gd name="connsiteY746" fmla="*/ 978081 h 6858000"/>
              <a:gd name="connsiteX747" fmla="*/ 4523691 w 7467600"/>
              <a:gd name="connsiteY747" fmla="*/ 1127776 h 6858000"/>
              <a:gd name="connsiteX748" fmla="*/ 4509875 w 7467600"/>
              <a:gd name="connsiteY748" fmla="*/ 1167552 h 6858000"/>
              <a:gd name="connsiteX749" fmla="*/ 4478168 w 7467600"/>
              <a:gd name="connsiteY749" fmla="*/ 1260735 h 6858000"/>
              <a:gd name="connsiteX750" fmla="*/ 4409309 w 7467600"/>
              <a:gd name="connsiteY750" fmla="*/ 1666996 h 6858000"/>
              <a:gd name="connsiteX751" fmla="*/ 4370031 w 7467600"/>
              <a:gd name="connsiteY751" fmla="*/ 1955666 h 6858000"/>
              <a:gd name="connsiteX752" fmla="*/ 4570198 w 7467600"/>
              <a:gd name="connsiteY752" fmla="*/ 978081 h 6858000"/>
              <a:gd name="connsiteX753" fmla="*/ 4557898 w 7467600"/>
              <a:gd name="connsiteY753" fmla="*/ 900011 h 6858000"/>
              <a:gd name="connsiteX754" fmla="*/ 4344840 w 7467600"/>
              <a:gd name="connsiteY754" fmla="*/ 1922038 h 6858000"/>
              <a:gd name="connsiteX755" fmla="*/ 4378710 w 7467600"/>
              <a:gd name="connsiteY755" fmla="*/ 1665516 h 6858000"/>
              <a:gd name="connsiteX756" fmla="*/ 4448798 w 7467600"/>
              <a:gd name="connsiteY756" fmla="*/ 1253024 h 6858000"/>
              <a:gd name="connsiteX757" fmla="*/ 4480315 w 7467600"/>
              <a:gd name="connsiteY757" fmla="*/ 1158454 h 6858000"/>
              <a:gd name="connsiteX758" fmla="*/ 4494133 w 7467600"/>
              <a:gd name="connsiteY758" fmla="*/ 1118676 h 6858000"/>
              <a:gd name="connsiteX759" fmla="*/ 4557898 w 7467600"/>
              <a:gd name="connsiteY759" fmla="*/ 900011 h 6858000"/>
              <a:gd name="connsiteX760" fmla="*/ 5870151 w 7467600"/>
              <a:gd name="connsiteY760" fmla="*/ 898890 h 6858000"/>
              <a:gd name="connsiteX761" fmla="*/ 5861335 w 7467600"/>
              <a:gd name="connsiteY761" fmla="*/ 899177 h 6858000"/>
              <a:gd name="connsiteX762" fmla="*/ 5843702 w 7467600"/>
              <a:gd name="connsiteY762" fmla="*/ 899748 h 6858000"/>
              <a:gd name="connsiteX763" fmla="*/ 5651107 w 7467600"/>
              <a:gd name="connsiteY763" fmla="*/ 920306 h 6858000"/>
              <a:gd name="connsiteX764" fmla="*/ 5459407 w 7467600"/>
              <a:gd name="connsiteY764" fmla="*/ 940975 h 6858000"/>
              <a:gd name="connsiteX765" fmla="*/ 5374846 w 7467600"/>
              <a:gd name="connsiteY765" fmla="*/ 941988 h 6858000"/>
              <a:gd name="connsiteX766" fmla="*/ 5256105 w 7467600"/>
              <a:gd name="connsiteY766" fmla="*/ 945632 h 6858000"/>
              <a:gd name="connsiteX767" fmla="*/ 5107071 w 7467600"/>
              <a:gd name="connsiteY767" fmla="*/ 969720 h 6858000"/>
              <a:gd name="connsiteX768" fmla="*/ 4998681 w 7467600"/>
              <a:gd name="connsiteY768" fmla="*/ 988771 h 6858000"/>
              <a:gd name="connsiteX769" fmla="*/ 5870151 w 7467600"/>
              <a:gd name="connsiteY769" fmla="*/ 898890 h 6858000"/>
              <a:gd name="connsiteX770" fmla="*/ 5504425 w 7467600"/>
              <a:gd name="connsiteY770" fmla="*/ 848067 h 6858000"/>
              <a:gd name="connsiteX771" fmla="*/ 4968849 w 7467600"/>
              <a:gd name="connsiteY771" fmla="*/ 962318 h 6858000"/>
              <a:gd name="connsiteX772" fmla="*/ 5104039 w 7467600"/>
              <a:gd name="connsiteY772" fmla="*/ 940634 h 6858000"/>
              <a:gd name="connsiteX773" fmla="*/ 5256311 w 7467600"/>
              <a:gd name="connsiteY773" fmla="*/ 916490 h 6858000"/>
              <a:gd name="connsiteX774" fmla="*/ 5377381 w 7467600"/>
              <a:gd name="connsiteY774" fmla="*/ 912671 h 6858000"/>
              <a:gd name="connsiteX775" fmla="*/ 5460148 w 7467600"/>
              <a:gd name="connsiteY775" fmla="*/ 911442 h 6858000"/>
              <a:gd name="connsiteX776" fmla="*/ 5648971 w 7467600"/>
              <a:gd name="connsiteY776" fmla="*/ 891331 h 6858000"/>
              <a:gd name="connsiteX777" fmla="*/ 5844807 w 7467600"/>
              <a:gd name="connsiteY777" fmla="*/ 870718 h 6858000"/>
              <a:gd name="connsiteX778" fmla="*/ 5862975 w 7467600"/>
              <a:gd name="connsiteY778" fmla="*/ 869756 h 6858000"/>
              <a:gd name="connsiteX779" fmla="*/ 5920887 w 7467600"/>
              <a:gd name="connsiteY779" fmla="*/ 865929 h 6858000"/>
              <a:gd name="connsiteX780" fmla="*/ 5504425 w 7467600"/>
              <a:gd name="connsiteY780" fmla="*/ 848067 h 6858000"/>
              <a:gd name="connsiteX781" fmla="*/ 3607114 w 7467600"/>
              <a:gd name="connsiteY781" fmla="*/ 467441 h 6858000"/>
              <a:gd name="connsiteX782" fmla="*/ 3296242 w 7467600"/>
              <a:gd name="connsiteY782" fmla="*/ 807991 h 6858000"/>
              <a:gd name="connsiteX783" fmla="*/ 3174674 w 7467600"/>
              <a:gd name="connsiteY783" fmla="*/ 919759 h 6858000"/>
              <a:gd name="connsiteX784" fmla="*/ 3042978 w 7467600"/>
              <a:gd name="connsiteY784" fmla="*/ 1054894 h 6858000"/>
              <a:gd name="connsiteX785" fmla="*/ 2968914 w 7467600"/>
              <a:gd name="connsiteY785" fmla="*/ 1133756 h 6858000"/>
              <a:gd name="connsiteX786" fmla="*/ 3103823 w 7467600"/>
              <a:gd name="connsiteY786" fmla="*/ 1026814 h 6858000"/>
              <a:gd name="connsiteX787" fmla="*/ 3607114 w 7467600"/>
              <a:gd name="connsiteY787" fmla="*/ 467441 h 6858000"/>
              <a:gd name="connsiteX788" fmla="*/ 3744487 w 7467600"/>
              <a:gd name="connsiteY788" fmla="*/ 383136 h 6858000"/>
              <a:gd name="connsiteX789" fmla="*/ 3970213 w 7467600"/>
              <a:gd name="connsiteY789" fmla="*/ 995559 h 6858000"/>
              <a:gd name="connsiteX790" fmla="*/ 3744487 w 7467600"/>
              <a:gd name="connsiteY790" fmla="*/ 383136 h 6858000"/>
              <a:gd name="connsiteX791" fmla="*/ 3624562 w 7467600"/>
              <a:gd name="connsiteY791" fmla="*/ 367041 h 6858000"/>
              <a:gd name="connsiteX792" fmla="*/ 3489712 w 7467600"/>
              <a:gd name="connsiteY792" fmla="*/ 485386 h 6858000"/>
              <a:gd name="connsiteX793" fmla="*/ 3182994 w 7467600"/>
              <a:gd name="connsiteY793" fmla="*/ 828265 h 6858000"/>
              <a:gd name="connsiteX794" fmla="*/ 2892114 w 7467600"/>
              <a:gd name="connsiteY794" fmla="*/ 1172635 h 6858000"/>
              <a:gd name="connsiteX795" fmla="*/ 3021459 w 7467600"/>
              <a:gd name="connsiteY795" fmla="*/ 1035385 h 6858000"/>
              <a:gd name="connsiteX796" fmla="*/ 3153873 w 7467600"/>
              <a:gd name="connsiteY796" fmla="*/ 898971 h 6858000"/>
              <a:gd name="connsiteX797" fmla="*/ 3276511 w 7467600"/>
              <a:gd name="connsiteY797" fmla="*/ 786423 h 6858000"/>
              <a:gd name="connsiteX798" fmla="*/ 3584154 w 7467600"/>
              <a:gd name="connsiteY798" fmla="*/ 448218 h 6858000"/>
              <a:gd name="connsiteX799" fmla="*/ 3624562 w 7467600"/>
              <a:gd name="connsiteY799" fmla="*/ 367041 h 6858000"/>
              <a:gd name="connsiteX800" fmla="*/ 3766672 w 7467600"/>
              <a:gd name="connsiteY800" fmla="*/ 359429 h 6858000"/>
              <a:gd name="connsiteX801" fmla="*/ 3996338 w 7467600"/>
              <a:gd name="connsiteY801" fmla="*/ 968237 h 6858000"/>
              <a:gd name="connsiteX802" fmla="*/ 3766672 w 7467600"/>
              <a:gd name="connsiteY802" fmla="*/ 359429 h 6858000"/>
              <a:gd name="connsiteX803" fmla="*/ 5805386 w 7467600"/>
              <a:gd name="connsiteY803" fmla="*/ 239240 h 6858000"/>
              <a:gd name="connsiteX804" fmla="*/ 5736947 w 7467600"/>
              <a:gd name="connsiteY804" fmla="*/ 261367 h 6858000"/>
              <a:gd name="connsiteX805" fmla="*/ 5427012 w 7467600"/>
              <a:gd name="connsiteY805" fmla="*/ 311272 h 6858000"/>
              <a:gd name="connsiteX806" fmla="*/ 5147818 w 7467600"/>
              <a:gd name="connsiteY806" fmla="*/ 322112 h 6858000"/>
              <a:gd name="connsiteX807" fmla="*/ 5060854 w 7467600"/>
              <a:gd name="connsiteY807" fmla="*/ 311882 h 6858000"/>
              <a:gd name="connsiteX808" fmla="*/ 4945989 w 7467600"/>
              <a:gd name="connsiteY808" fmla="*/ 300516 h 6858000"/>
              <a:gd name="connsiteX809" fmla="*/ 5410479 w 7467600"/>
              <a:gd name="connsiteY809" fmla="*/ 348434 h 6858000"/>
              <a:gd name="connsiteX810" fmla="*/ 5805386 w 7467600"/>
              <a:gd name="connsiteY810" fmla="*/ 239240 h 6858000"/>
              <a:gd name="connsiteX811" fmla="*/ 5905192 w 7467600"/>
              <a:gd name="connsiteY811" fmla="*/ 163079 h 6858000"/>
              <a:gd name="connsiteX812" fmla="*/ 5865655 w 7467600"/>
              <a:gd name="connsiteY812" fmla="*/ 171901 h 6858000"/>
              <a:gd name="connsiteX813" fmla="*/ 5259740 w 7467600"/>
              <a:gd name="connsiteY813" fmla="*/ 257013 h 6858000"/>
              <a:gd name="connsiteX814" fmla="*/ 5208466 w 7467600"/>
              <a:gd name="connsiteY814" fmla="*/ 257550 h 6858000"/>
              <a:gd name="connsiteX815" fmla="*/ 4980204 w 7467600"/>
              <a:gd name="connsiteY815" fmla="*/ 271903 h 6858000"/>
              <a:gd name="connsiteX816" fmla="*/ 5068068 w 7467600"/>
              <a:gd name="connsiteY816" fmla="*/ 282244 h 6858000"/>
              <a:gd name="connsiteX817" fmla="*/ 5153231 w 7467600"/>
              <a:gd name="connsiteY817" fmla="*/ 292240 h 6858000"/>
              <a:gd name="connsiteX818" fmla="*/ 5426491 w 7467600"/>
              <a:gd name="connsiteY818" fmla="*/ 281128 h 6858000"/>
              <a:gd name="connsiteX819" fmla="*/ 5731212 w 7467600"/>
              <a:gd name="connsiteY819" fmla="*/ 231951 h 6858000"/>
              <a:gd name="connsiteX820" fmla="*/ 5905192 w 7467600"/>
              <a:gd name="connsiteY820" fmla="*/ 163079 h 6858000"/>
              <a:gd name="connsiteX821" fmla="*/ 5944437 w 7467600"/>
              <a:gd name="connsiteY821" fmla="*/ 113829 h 6858000"/>
              <a:gd name="connsiteX822" fmla="*/ 5825032 w 7467600"/>
              <a:gd name="connsiteY822" fmla="*/ 146405 h 6858000"/>
              <a:gd name="connsiteX823" fmla="*/ 4955599 w 7467600"/>
              <a:gd name="connsiteY823" fmla="*/ 247008 h 6858000"/>
              <a:gd name="connsiteX824" fmla="*/ 5210104 w 7467600"/>
              <a:gd name="connsiteY824" fmla="*/ 228123 h 6858000"/>
              <a:gd name="connsiteX825" fmla="*/ 5261015 w 7467600"/>
              <a:gd name="connsiteY825" fmla="*/ 227087 h 6858000"/>
              <a:gd name="connsiteX826" fmla="*/ 5861181 w 7467600"/>
              <a:gd name="connsiteY826" fmla="*/ 143093 h 6858000"/>
              <a:gd name="connsiteX827" fmla="*/ 5961252 w 7467600"/>
              <a:gd name="connsiteY827" fmla="*/ 114820 h 6858000"/>
              <a:gd name="connsiteX828" fmla="*/ 5944437 w 7467600"/>
              <a:gd name="connsiteY828" fmla="*/ 113829 h 6858000"/>
              <a:gd name="connsiteX829" fmla="*/ 3882765 w 7467600"/>
              <a:gd name="connsiteY829" fmla="*/ 0 h 6858000"/>
              <a:gd name="connsiteX830" fmla="*/ 3995099 w 7467600"/>
              <a:gd name="connsiteY830" fmla="*/ 0 h 6858000"/>
              <a:gd name="connsiteX831" fmla="*/ 4163818 w 7467600"/>
              <a:gd name="connsiteY831" fmla="*/ 234104 h 6858000"/>
              <a:gd name="connsiteX832" fmla="*/ 4172099 w 7467600"/>
              <a:gd name="connsiteY832" fmla="*/ 234207 h 6858000"/>
              <a:gd name="connsiteX833" fmla="*/ 4784282 w 7467600"/>
              <a:gd name="connsiteY833" fmla="*/ 276561 h 6858000"/>
              <a:gd name="connsiteX834" fmla="*/ 4801687 w 7467600"/>
              <a:gd name="connsiteY834" fmla="*/ 267764 h 6858000"/>
              <a:gd name="connsiteX835" fmla="*/ 6082788 w 7467600"/>
              <a:gd name="connsiteY835" fmla="*/ 64119 h 6858000"/>
              <a:gd name="connsiteX836" fmla="*/ 6099442 w 7467600"/>
              <a:gd name="connsiteY836" fmla="*/ 82568 h 6858000"/>
              <a:gd name="connsiteX837" fmla="*/ 4804137 w 7467600"/>
              <a:gd name="connsiteY837" fmla="*/ 320931 h 6858000"/>
              <a:gd name="connsiteX838" fmla="*/ 4227047 w 7467600"/>
              <a:gd name="connsiteY838" fmla="*/ 313415 h 6858000"/>
              <a:gd name="connsiteX839" fmla="*/ 4346041 w 7467600"/>
              <a:gd name="connsiteY839" fmla="*/ 456086 h 6858000"/>
              <a:gd name="connsiteX840" fmla="*/ 4870967 w 7467600"/>
              <a:gd name="connsiteY840" fmla="*/ 963061 h 6858000"/>
              <a:gd name="connsiteX841" fmla="*/ 4889647 w 7467600"/>
              <a:gd name="connsiteY841" fmla="*/ 957147 h 6858000"/>
              <a:gd name="connsiteX842" fmla="*/ 5422504 w 7467600"/>
              <a:gd name="connsiteY842" fmla="*/ 805191 h 6858000"/>
              <a:gd name="connsiteX843" fmla="*/ 6087656 w 7467600"/>
              <a:gd name="connsiteY843" fmla="*/ 826703 h 6858000"/>
              <a:gd name="connsiteX844" fmla="*/ 6058717 w 7467600"/>
              <a:gd name="connsiteY844" fmla="*/ 865992 h 6858000"/>
              <a:gd name="connsiteX845" fmla="*/ 4974153 w 7467600"/>
              <a:gd name="connsiteY845" fmla="*/ 1045456 h 6858000"/>
              <a:gd name="connsiteX846" fmla="*/ 5627835 w 7467600"/>
              <a:gd name="connsiteY846" fmla="*/ 1472077 h 6858000"/>
              <a:gd name="connsiteX847" fmla="*/ 5629817 w 7467600"/>
              <a:gd name="connsiteY847" fmla="*/ 1471412 h 6858000"/>
              <a:gd name="connsiteX848" fmla="*/ 5634124 w 7467600"/>
              <a:gd name="connsiteY848" fmla="*/ 1470572 h 6858000"/>
              <a:gd name="connsiteX849" fmla="*/ 5755832 w 7467600"/>
              <a:gd name="connsiteY849" fmla="*/ 1383886 h 6858000"/>
              <a:gd name="connsiteX850" fmla="*/ 6014186 w 7467600"/>
              <a:gd name="connsiteY850" fmla="*/ 1279799 h 6858000"/>
              <a:gd name="connsiteX851" fmla="*/ 6901619 w 7467600"/>
              <a:gd name="connsiteY851" fmla="*/ 1047874 h 6858000"/>
              <a:gd name="connsiteX852" fmla="*/ 6931566 w 7467600"/>
              <a:gd name="connsiteY852" fmla="*/ 1062034 h 6858000"/>
              <a:gd name="connsiteX853" fmla="*/ 5790982 w 7467600"/>
              <a:gd name="connsiteY853" fmla="*/ 1561380 h 6858000"/>
              <a:gd name="connsiteX854" fmla="*/ 6188971 w 7467600"/>
              <a:gd name="connsiteY854" fmla="*/ 1755168 h 6858000"/>
              <a:gd name="connsiteX855" fmla="*/ 6202446 w 7467600"/>
              <a:gd name="connsiteY855" fmla="*/ 1752268 h 6858000"/>
              <a:gd name="connsiteX856" fmla="*/ 7179560 w 7467600"/>
              <a:gd name="connsiteY856" fmla="*/ 1467551 h 6858000"/>
              <a:gd name="connsiteX857" fmla="*/ 7158730 w 7467600"/>
              <a:gd name="connsiteY857" fmla="*/ 1507835 h 6858000"/>
              <a:gd name="connsiteX858" fmla="*/ 6326959 w 7467600"/>
              <a:gd name="connsiteY858" fmla="*/ 1817686 h 6858000"/>
              <a:gd name="connsiteX859" fmla="*/ 6537433 w 7467600"/>
              <a:gd name="connsiteY859" fmla="*/ 1907790 h 6858000"/>
              <a:gd name="connsiteX860" fmla="*/ 6550221 w 7467600"/>
              <a:gd name="connsiteY860" fmla="*/ 1910729 h 6858000"/>
              <a:gd name="connsiteX861" fmla="*/ 6964438 w 7467600"/>
              <a:gd name="connsiteY861" fmla="*/ 2209505 h 6858000"/>
              <a:gd name="connsiteX862" fmla="*/ 7367862 w 7467600"/>
              <a:gd name="connsiteY862" fmla="*/ 2806833 h 6858000"/>
              <a:gd name="connsiteX863" fmla="*/ 7364329 w 7467600"/>
              <a:gd name="connsiteY863" fmla="*/ 2826907 h 6858000"/>
              <a:gd name="connsiteX864" fmla="*/ 7290545 w 7467600"/>
              <a:gd name="connsiteY864" fmla="*/ 2850663 h 6858000"/>
              <a:gd name="connsiteX865" fmla="*/ 6472036 w 7467600"/>
              <a:gd name="connsiteY865" fmla="*/ 1959003 h 6858000"/>
              <a:gd name="connsiteX866" fmla="*/ 5792897 w 7467600"/>
              <a:gd name="connsiteY866" fmla="*/ 1647747 h 6858000"/>
              <a:gd name="connsiteX867" fmla="*/ 5842751 w 7467600"/>
              <a:gd name="connsiteY867" fmla="*/ 1816112 h 6858000"/>
              <a:gd name="connsiteX868" fmla="*/ 5847424 w 7467600"/>
              <a:gd name="connsiteY868" fmla="*/ 1815776 h 6858000"/>
              <a:gd name="connsiteX869" fmla="*/ 6399821 w 7467600"/>
              <a:gd name="connsiteY869" fmla="*/ 2344799 h 6858000"/>
              <a:gd name="connsiteX870" fmla="*/ 6323232 w 7467600"/>
              <a:gd name="connsiteY870" fmla="*/ 2389634 h 6858000"/>
              <a:gd name="connsiteX871" fmla="*/ 5942958 w 7467600"/>
              <a:gd name="connsiteY871" fmla="*/ 2077708 h 6858000"/>
              <a:gd name="connsiteX872" fmla="*/ 5921559 w 7467600"/>
              <a:gd name="connsiteY872" fmla="*/ 2378596 h 6858000"/>
              <a:gd name="connsiteX873" fmla="*/ 5817651 w 7467600"/>
              <a:gd name="connsiteY873" fmla="*/ 3023919 h 6858000"/>
              <a:gd name="connsiteX874" fmla="*/ 5729634 w 7467600"/>
              <a:gd name="connsiteY874" fmla="*/ 3051849 h 6858000"/>
              <a:gd name="connsiteX875" fmla="*/ 5611018 w 7467600"/>
              <a:gd name="connsiteY875" fmla="*/ 2316769 h 6858000"/>
              <a:gd name="connsiteX876" fmla="*/ 5687608 w 7467600"/>
              <a:gd name="connsiteY876" fmla="*/ 2039972 h 6858000"/>
              <a:gd name="connsiteX877" fmla="*/ 5657554 w 7467600"/>
              <a:gd name="connsiteY877" fmla="*/ 1576445 h 6858000"/>
              <a:gd name="connsiteX878" fmla="*/ 5150475 w 7467600"/>
              <a:gd name="connsiteY878" fmla="*/ 1274012 h 6858000"/>
              <a:gd name="connsiteX879" fmla="*/ 5349142 w 7467600"/>
              <a:gd name="connsiteY879" fmla="*/ 2204405 h 6858000"/>
              <a:gd name="connsiteX880" fmla="*/ 5262214 w 7467600"/>
              <a:gd name="connsiteY880" fmla="*/ 2233836 h 6858000"/>
              <a:gd name="connsiteX881" fmla="*/ 4981539 w 7467600"/>
              <a:gd name="connsiteY881" fmla="*/ 1542201 h 6858000"/>
              <a:gd name="connsiteX882" fmla="*/ 4958461 w 7467600"/>
              <a:gd name="connsiteY882" fmla="*/ 1136957 h 6858000"/>
              <a:gd name="connsiteX883" fmla="*/ 4655015 w 7467600"/>
              <a:gd name="connsiteY883" fmla="*/ 891426 h 6858000"/>
              <a:gd name="connsiteX884" fmla="*/ 4348002 w 7467600"/>
              <a:gd name="connsiteY884" fmla="*/ 2205895 h 6858000"/>
              <a:gd name="connsiteX885" fmla="*/ 4262250 w 7467600"/>
              <a:gd name="connsiteY885" fmla="*/ 2219972 h 6858000"/>
              <a:gd name="connsiteX886" fmla="*/ 4550611 w 7467600"/>
              <a:gd name="connsiteY886" fmla="*/ 817540 h 6858000"/>
              <a:gd name="connsiteX887" fmla="*/ 4564418 w 7467600"/>
              <a:gd name="connsiteY887" fmla="*/ 808293 h 6858000"/>
              <a:gd name="connsiteX888" fmla="*/ 4266388 w 7467600"/>
              <a:gd name="connsiteY888" fmla="*/ 500083 h 6858000"/>
              <a:gd name="connsiteX889" fmla="*/ 4032842 w 7467600"/>
              <a:gd name="connsiteY889" fmla="*/ 211809 h 6858000"/>
              <a:gd name="connsiteX890" fmla="*/ 3882765 w 7467600"/>
              <a:gd name="connsiteY890" fmla="*/ 0 h 6858000"/>
              <a:gd name="connsiteX891" fmla="*/ 3721337 w 7467600"/>
              <a:gd name="connsiteY891" fmla="*/ 0 h 6858000"/>
              <a:gd name="connsiteX892" fmla="*/ 3797544 w 7467600"/>
              <a:gd name="connsiteY892" fmla="*/ 0 h 6858000"/>
              <a:gd name="connsiteX893" fmla="*/ 3775734 w 7467600"/>
              <a:gd name="connsiteY893" fmla="*/ 95131 h 6858000"/>
              <a:gd name="connsiteX894" fmla="*/ 3724807 w 7467600"/>
              <a:gd name="connsiteY894" fmla="*/ 272257 h 6858000"/>
              <a:gd name="connsiteX895" fmla="*/ 3726844 w 7467600"/>
              <a:gd name="connsiteY895" fmla="*/ 282988 h 6858000"/>
              <a:gd name="connsiteX896" fmla="*/ 3742664 w 7467600"/>
              <a:gd name="connsiteY896" fmla="*/ 279918 h 6858000"/>
              <a:gd name="connsiteX897" fmla="*/ 4103910 w 7467600"/>
              <a:gd name="connsiteY897" fmla="*/ 1161917 h 6858000"/>
              <a:gd name="connsiteX898" fmla="*/ 4020269 w 7467600"/>
              <a:gd name="connsiteY898" fmla="*/ 1200406 h 6858000"/>
              <a:gd name="connsiteX899" fmla="*/ 3674882 w 7467600"/>
              <a:gd name="connsiteY899" fmla="*/ 488524 h 6858000"/>
              <a:gd name="connsiteX900" fmla="*/ 3132682 w 7467600"/>
              <a:gd name="connsiteY900" fmla="*/ 1072284 h 6858000"/>
              <a:gd name="connsiteX901" fmla="*/ 2716346 w 7467600"/>
              <a:gd name="connsiteY901" fmla="*/ 1276376 h 6858000"/>
              <a:gd name="connsiteX902" fmla="*/ 2716772 w 7467600"/>
              <a:gd name="connsiteY902" fmla="*/ 1255462 h 6858000"/>
              <a:gd name="connsiteX903" fmla="*/ 3471096 w 7467600"/>
              <a:gd name="connsiteY903" fmla="*/ 437072 h 6858000"/>
              <a:gd name="connsiteX904" fmla="*/ 3639057 w 7467600"/>
              <a:gd name="connsiteY904" fmla="*/ 286334 h 6858000"/>
              <a:gd name="connsiteX905" fmla="*/ 3640309 w 7467600"/>
              <a:gd name="connsiteY905" fmla="*/ 284664 h 6858000"/>
              <a:gd name="connsiteX906" fmla="*/ 3646022 w 7467600"/>
              <a:gd name="connsiteY906" fmla="*/ 276711 h 6858000"/>
              <a:gd name="connsiteX907" fmla="*/ 3707943 w 7467600"/>
              <a:gd name="connsiteY907" fmla="*/ 65958 h 6858000"/>
              <a:gd name="connsiteX908" fmla="*/ 3721337 w 7467600"/>
              <a:gd name="connsiteY908" fmla="*/ 0 h 6858000"/>
              <a:gd name="connsiteX909" fmla="*/ 2867960 w 7467600"/>
              <a:gd name="connsiteY909" fmla="*/ 0 h 6858000"/>
              <a:gd name="connsiteX910" fmla="*/ 2926351 w 7467600"/>
              <a:gd name="connsiteY910" fmla="*/ 0 h 6858000"/>
              <a:gd name="connsiteX911" fmla="*/ 2902823 w 7467600"/>
              <a:gd name="connsiteY911" fmla="*/ 262929 h 6858000"/>
              <a:gd name="connsiteX912" fmla="*/ 2940663 w 7467600"/>
              <a:gd name="connsiteY912" fmla="*/ 140884 h 6858000"/>
              <a:gd name="connsiteX913" fmla="*/ 2947039 w 7467600"/>
              <a:gd name="connsiteY913" fmla="*/ 122524 h 6858000"/>
              <a:gd name="connsiteX914" fmla="*/ 2984316 w 7467600"/>
              <a:gd name="connsiteY914" fmla="*/ 0 h 6858000"/>
              <a:gd name="connsiteX915" fmla="*/ 3016114 w 7467600"/>
              <a:gd name="connsiteY915" fmla="*/ 0 h 6858000"/>
              <a:gd name="connsiteX916" fmla="*/ 2979949 w 7467600"/>
              <a:gd name="connsiteY916" fmla="*/ 119274 h 6858000"/>
              <a:gd name="connsiteX917" fmla="*/ 3023879 w 7467600"/>
              <a:gd name="connsiteY917" fmla="*/ 0 h 6858000"/>
              <a:gd name="connsiteX918" fmla="*/ 3105400 w 7467600"/>
              <a:gd name="connsiteY918" fmla="*/ 0 h 6858000"/>
              <a:gd name="connsiteX919" fmla="*/ 3094669 w 7467600"/>
              <a:gd name="connsiteY919" fmla="*/ 30308 h 6858000"/>
              <a:gd name="connsiteX920" fmla="*/ 2901945 w 7467600"/>
              <a:gd name="connsiteY920" fmla="*/ 466538 h 6858000"/>
              <a:gd name="connsiteX921" fmla="*/ 2815209 w 7467600"/>
              <a:gd name="connsiteY921" fmla="*/ 497361 h 6858000"/>
              <a:gd name="connsiteX922" fmla="*/ 2844845 w 7467600"/>
              <a:gd name="connsiteY922" fmla="*/ 127638 h 6858000"/>
              <a:gd name="connsiteX923" fmla="*/ 2867960 w 7467600"/>
              <a:gd name="connsiteY923" fmla="*/ 0 h 6858000"/>
              <a:gd name="connsiteX924" fmla="*/ 1057230 w 7467600"/>
              <a:gd name="connsiteY924" fmla="*/ 0 h 6858000"/>
              <a:gd name="connsiteX925" fmla="*/ 1111003 w 7467600"/>
              <a:gd name="connsiteY925" fmla="*/ 0 h 6858000"/>
              <a:gd name="connsiteX926" fmla="*/ 1125553 w 7467600"/>
              <a:gd name="connsiteY926" fmla="*/ 52588 h 6858000"/>
              <a:gd name="connsiteX927" fmla="*/ 1304276 w 7467600"/>
              <a:gd name="connsiteY927" fmla="*/ 476275 h 6858000"/>
              <a:gd name="connsiteX928" fmla="*/ 1492066 w 7467600"/>
              <a:gd name="connsiteY928" fmla="*/ 886333 h 6858000"/>
              <a:gd name="connsiteX929" fmla="*/ 1423698 w 7467600"/>
              <a:gd name="connsiteY929" fmla="*/ 710817 h 6858000"/>
              <a:gd name="connsiteX930" fmla="*/ 1357609 w 7467600"/>
              <a:gd name="connsiteY930" fmla="*/ 532892 h 6858000"/>
              <a:gd name="connsiteX931" fmla="*/ 1309550 w 7467600"/>
              <a:gd name="connsiteY931" fmla="*/ 374031 h 6858000"/>
              <a:gd name="connsiteX932" fmla="*/ 1193673 w 7467600"/>
              <a:gd name="connsiteY932" fmla="*/ 49533 h 6858000"/>
              <a:gd name="connsiteX933" fmla="*/ 1164391 w 7467600"/>
              <a:gd name="connsiteY933" fmla="*/ 0 h 6858000"/>
              <a:gd name="connsiteX934" fmla="*/ 1200666 w 7467600"/>
              <a:gd name="connsiteY934" fmla="*/ 0 h 6858000"/>
              <a:gd name="connsiteX935" fmla="*/ 1223408 w 7467600"/>
              <a:gd name="connsiteY935" fmla="*/ 38996 h 6858000"/>
              <a:gd name="connsiteX936" fmla="*/ 1339635 w 7467600"/>
              <a:gd name="connsiteY936" fmla="*/ 365517 h 6858000"/>
              <a:gd name="connsiteX937" fmla="*/ 1387469 w 7467600"/>
              <a:gd name="connsiteY937" fmla="*/ 523079 h 6858000"/>
              <a:gd name="connsiteX938" fmla="*/ 1452685 w 7467600"/>
              <a:gd name="connsiteY938" fmla="*/ 699806 h 6858000"/>
              <a:gd name="connsiteX939" fmla="*/ 1492092 w 7467600"/>
              <a:gd name="connsiteY939" fmla="*/ 800424 h 6858000"/>
              <a:gd name="connsiteX940" fmla="*/ 1455302 w 7467600"/>
              <a:gd name="connsiteY940" fmla="*/ 632913 h 6858000"/>
              <a:gd name="connsiteX941" fmla="*/ 1222336 w 7467600"/>
              <a:gd name="connsiteY941" fmla="*/ 9480 h 6858000"/>
              <a:gd name="connsiteX942" fmla="*/ 1214634 w 7467600"/>
              <a:gd name="connsiteY942" fmla="*/ 0 h 6858000"/>
              <a:gd name="connsiteX943" fmla="*/ 1289827 w 7467600"/>
              <a:gd name="connsiteY943" fmla="*/ 0 h 6858000"/>
              <a:gd name="connsiteX944" fmla="*/ 1321076 w 7467600"/>
              <a:gd name="connsiteY944" fmla="*/ 59722 h 6858000"/>
              <a:gd name="connsiteX945" fmla="*/ 1512579 w 7467600"/>
              <a:gd name="connsiteY945" fmla="*/ 626441 h 6858000"/>
              <a:gd name="connsiteX946" fmla="*/ 1506076 w 7467600"/>
              <a:gd name="connsiteY946" fmla="*/ 1089289 h 6858000"/>
              <a:gd name="connsiteX947" fmla="*/ 1486346 w 7467600"/>
              <a:gd name="connsiteY947" fmla="*/ 1079919 h 6858000"/>
              <a:gd name="connsiteX948" fmla="*/ 1070511 w 7467600"/>
              <a:gd name="connsiteY948" fmla="*/ 48609 h 6858000"/>
              <a:gd name="connsiteX949" fmla="*/ 1057230 w 7467600"/>
              <a:gd name="connsiteY949" fmla="*/ 0 h 6858000"/>
              <a:gd name="connsiteX950" fmla="*/ 43151 w 7467600"/>
              <a:gd name="connsiteY950" fmla="*/ 0 h 6858000"/>
              <a:gd name="connsiteX951" fmla="*/ 95283 w 7467600"/>
              <a:gd name="connsiteY951" fmla="*/ 0 h 6858000"/>
              <a:gd name="connsiteX952" fmla="*/ 300708 w 7467600"/>
              <a:gd name="connsiteY952" fmla="*/ 154571 h 6858000"/>
              <a:gd name="connsiteX953" fmla="*/ 530414 w 7467600"/>
              <a:gd name="connsiteY953" fmla="*/ 354673 h 6858000"/>
              <a:gd name="connsiteX954" fmla="*/ 333785 w 7467600"/>
              <a:gd name="connsiteY954" fmla="*/ 161564 h 6858000"/>
              <a:gd name="connsiteX955" fmla="*/ 147005 w 7467600"/>
              <a:gd name="connsiteY955" fmla="*/ 0 h 6858000"/>
              <a:gd name="connsiteX956" fmla="*/ 272509 w 7467600"/>
              <a:gd name="connsiteY956" fmla="*/ 0 h 6858000"/>
              <a:gd name="connsiteX957" fmla="*/ 326276 w 7467600"/>
              <a:gd name="connsiteY957" fmla="*/ 45847 h 6858000"/>
              <a:gd name="connsiteX958" fmla="*/ 823759 w 7467600"/>
              <a:gd name="connsiteY958" fmla="*/ 574145 h 6858000"/>
              <a:gd name="connsiteX959" fmla="*/ 811254 w 7467600"/>
              <a:gd name="connsiteY959" fmla="*/ 665546 h 6858000"/>
              <a:gd name="connsiteX960" fmla="*/ 154042 w 7467600"/>
              <a:gd name="connsiteY960" fmla="*/ 261522 h 6858000"/>
              <a:gd name="connsiteX961" fmla="*/ 13550 w 7467600"/>
              <a:gd name="connsiteY961" fmla="*/ 158423 h 6858000"/>
              <a:gd name="connsiteX962" fmla="*/ 0 w 7467600"/>
              <a:gd name="connsiteY962" fmla="*/ 146618 h 6858000"/>
              <a:gd name="connsiteX963" fmla="*/ 0 w 7467600"/>
              <a:gd name="connsiteY963" fmla="*/ 59161 h 6858000"/>
              <a:gd name="connsiteX964" fmla="*/ 45427 w 7467600"/>
              <a:gd name="connsiteY964" fmla="*/ 101078 h 6858000"/>
              <a:gd name="connsiteX965" fmla="*/ 630103 w 7467600"/>
              <a:gd name="connsiteY965" fmla="*/ 485885 h 6858000"/>
              <a:gd name="connsiteX966" fmla="*/ 532040 w 7467600"/>
              <a:gd name="connsiteY966" fmla="*/ 399359 h 6858000"/>
              <a:gd name="connsiteX967" fmla="*/ 517618 w 7467600"/>
              <a:gd name="connsiteY967" fmla="*/ 385726 h 6858000"/>
              <a:gd name="connsiteX968" fmla="*/ 285074 w 7467600"/>
              <a:gd name="connsiteY968" fmla="*/ 182755 h 6858000"/>
              <a:gd name="connsiteX969" fmla="*/ 43151 w 7467600"/>
              <a:gd name="connsiteY969"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7454976 w 7467600"/>
              <a:gd name="connsiteY74" fmla="*/ 6318297 h 6858000"/>
              <a:gd name="connsiteX75" fmla="*/ 7379510 w 7467600"/>
              <a:gd name="connsiteY75" fmla="*/ 5755454 h 6858000"/>
              <a:gd name="connsiteX76" fmla="*/ 7467600 w 7467600"/>
              <a:gd name="connsiteY76" fmla="*/ 5845526 h 6858000"/>
              <a:gd name="connsiteX77" fmla="*/ 7271900 w 7467600"/>
              <a:gd name="connsiteY77" fmla="*/ 5734551 h 6858000"/>
              <a:gd name="connsiteX78" fmla="*/ 7259646 w 7467600"/>
              <a:gd name="connsiteY78" fmla="*/ 5765985 h 6858000"/>
              <a:gd name="connsiteX79" fmla="*/ 7467600 w 7467600"/>
              <a:gd name="connsiteY79" fmla="*/ 6012219 h 6858000"/>
              <a:gd name="connsiteX80" fmla="*/ 7356878 w 7467600"/>
              <a:gd name="connsiteY80" fmla="*/ 5981332 h 6858000"/>
              <a:gd name="connsiteX81" fmla="*/ 7467600 w 7467600"/>
              <a:gd name="connsiteY81" fmla="*/ 6117703 h 6858000"/>
              <a:gd name="connsiteX82" fmla="*/ 7467600 w 7467600"/>
              <a:gd name="connsiteY82" fmla="*/ 6163634 h 6858000"/>
              <a:gd name="connsiteX83" fmla="*/ 7403637 w 7467600"/>
              <a:gd name="connsiteY83" fmla="*/ 6083957 h 6858000"/>
              <a:gd name="connsiteX84" fmla="*/ 7254615 w 7467600"/>
              <a:gd name="connsiteY84" fmla="*/ 5911918 h 6858000"/>
              <a:gd name="connsiteX85" fmla="*/ 7312589 w 7467600"/>
              <a:gd name="connsiteY85" fmla="*/ 5982309 h 6858000"/>
              <a:gd name="connsiteX86" fmla="*/ 7448321 w 7467600"/>
              <a:gd name="connsiteY86" fmla="*/ 6190991 h 6858000"/>
              <a:gd name="connsiteX87" fmla="*/ 7467600 w 7467600"/>
              <a:gd name="connsiteY87" fmla="*/ 6221686 h 6858000"/>
              <a:gd name="connsiteX88" fmla="*/ 7467600 w 7467600"/>
              <a:gd name="connsiteY88" fmla="*/ 6334256 h 6858000"/>
              <a:gd name="connsiteX89" fmla="*/ 7454976 w 7467600"/>
              <a:gd name="connsiteY89" fmla="*/ 6318297 h 6858000"/>
              <a:gd name="connsiteX90" fmla="*/ 1456157 w 7467600"/>
              <a:gd name="connsiteY90" fmla="*/ 5371404 h 6858000"/>
              <a:gd name="connsiteX91" fmla="*/ 1244432 w 7467600"/>
              <a:gd name="connsiteY91" fmla="*/ 5385601 h 6858000"/>
              <a:gd name="connsiteX92" fmla="*/ 973990 w 7467600"/>
              <a:gd name="connsiteY92" fmla="*/ 5424940 h 6858000"/>
              <a:gd name="connsiteX93" fmla="*/ 1103809 w 7467600"/>
              <a:gd name="connsiteY93" fmla="*/ 5433720 h 6858000"/>
              <a:gd name="connsiteX94" fmla="*/ 1123454 w 7467600"/>
              <a:gd name="connsiteY94" fmla="*/ 5435727 h 6858000"/>
              <a:gd name="connsiteX95" fmla="*/ 1737017 w 7467600"/>
              <a:gd name="connsiteY95" fmla="*/ 5452183 h 6858000"/>
              <a:gd name="connsiteX96" fmla="*/ 1824397 w 7467600"/>
              <a:gd name="connsiteY96" fmla="*/ 5447757 h 6858000"/>
              <a:gd name="connsiteX97" fmla="*/ 2070059 w 7467600"/>
              <a:gd name="connsiteY97" fmla="*/ 5441660 h 6858000"/>
              <a:gd name="connsiteX98" fmla="*/ 1456157 w 7467600"/>
              <a:gd name="connsiteY98" fmla="*/ 5371404 h 6858000"/>
              <a:gd name="connsiteX99" fmla="*/ 4988186 w 7467600"/>
              <a:gd name="connsiteY99" fmla="*/ 5216467 h 6858000"/>
              <a:gd name="connsiteX100" fmla="*/ 4777334 w 7467600"/>
              <a:gd name="connsiteY100" fmla="*/ 5406072 h 6858000"/>
              <a:gd name="connsiteX101" fmla="*/ 4718341 w 7467600"/>
              <a:gd name="connsiteY101" fmla="*/ 5468043 h 6858000"/>
              <a:gd name="connsiteX102" fmla="*/ 4604655 w 7467600"/>
              <a:gd name="connsiteY102" fmla="*/ 5583434 h 6858000"/>
              <a:gd name="connsiteX103" fmla="*/ 4565074 w 7467600"/>
              <a:gd name="connsiteY103" fmla="*/ 5618550 h 6858000"/>
              <a:gd name="connsiteX104" fmla="*/ 4988186 w 7467600"/>
              <a:gd name="connsiteY104" fmla="*/ 5216467 h 6858000"/>
              <a:gd name="connsiteX105" fmla="*/ 4978032 w 7467600"/>
              <a:gd name="connsiteY105" fmla="*/ 5183809 h 6858000"/>
              <a:gd name="connsiteX106" fmla="*/ 4463413 w 7467600"/>
              <a:gd name="connsiteY106" fmla="*/ 5615162 h 6858000"/>
              <a:gd name="connsiteX107" fmla="*/ 4358134 w 7467600"/>
              <a:gd name="connsiteY107" fmla="*/ 5742791 h 6858000"/>
              <a:gd name="connsiteX108" fmla="*/ 4376219 w 7467600"/>
              <a:gd name="connsiteY108" fmla="*/ 5729027 h 6858000"/>
              <a:gd name="connsiteX109" fmla="*/ 4582340 w 7467600"/>
              <a:gd name="connsiteY109" fmla="*/ 5561037 h 6858000"/>
              <a:gd name="connsiteX110" fmla="*/ 4694684 w 7467600"/>
              <a:gd name="connsiteY110" fmla="*/ 5447098 h 6858000"/>
              <a:gd name="connsiteX111" fmla="*/ 4754123 w 7467600"/>
              <a:gd name="connsiteY111" fmla="*/ 5384643 h 6858000"/>
              <a:gd name="connsiteX112" fmla="*/ 4978032 w 7467600"/>
              <a:gd name="connsiteY112" fmla="*/ 5183809 h 6858000"/>
              <a:gd name="connsiteX113" fmla="*/ 1903353 w 7467600"/>
              <a:gd name="connsiteY113" fmla="*/ 5044827 h 6858000"/>
              <a:gd name="connsiteX114" fmla="*/ 1936931 w 7467600"/>
              <a:gd name="connsiteY114" fmla="*/ 5093954 h 6858000"/>
              <a:gd name="connsiteX115" fmla="*/ 2195868 w 7467600"/>
              <a:gd name="connsiteY115" fmla="*/ 5396574 h 6858000"/>
              <a:gd name="connsiteX116" fmla="*/ 2088852 w 7467600"/>
              <a:gd name="connsiteY116" fmla="*/ 5166123 h 6858000"/>
              <a:gd name="connsiteX117" fmla="*/ 1958241 w 7467600"/>
              <a:gd name="connsiteY117" fmla="*/ 5067955 h 6858000"/>
              <a:gd name="connsiteX118" fmla="*/ 1903353 w 7467600"/>
              <a:gd name="connsiteY118" fmla="*/ 5044827 h 6858000"/>
              <a:gd name="connsiteX119" fmla="*/ 1979378 w 7467600"/>
              <a:gd name="connsiteY119" fmla="*/ 4769504 h 6858000"/>
              <a:gd name="connsiteX120" fmla="*/ 2882120 w 7467600"/>
              <a:gd name="connsiteY120" fmla="*/ 5064547 h 6858000"/>
              <a:gd name="connsiteX121" fmla="*/ 2793103 w 7467600"/>
              <a:gd name="connsiteY121" fmla="*/ 5039699 h 6858000"/>
              <a:gd name="connsiteX122" fmla="*/ 2770041 w 7467600"/>
              <a:gd name="connsiteY122" fmla="*/ 5033634 h 6858000"/>
              <a:gd name="connsiteX123" fmla="*/ 1979378 w 7467600"/>
              <a:gd name="connsiteY123" fmla="*/ 4769504 h 6858000"/>
              <a:gd name="connsiteX124" fmla="*/ 1927410 w 7467600"/>
              <a:gd name="connsiteY124" fmla="*/ 4716164 h 6858000"/>
              <a:gd name="connsiteX125" fmla="*/ 1959587 w 7467600"/>
              <a:gd name="connsiteY125" fmla="*/ 4728849 h 6858000"/>
              <a:gd name="connsiteX126" fmla="*/ 2777707 w 7467600"/>
              <a:gd name="connsiteY126" fmla="*/ 5003991 h 6858000"/>
              <a:gd name="connsiteX127" fmla="*/ 2800768 w 7467600"/>
              <a:gd name="connsiteY127" fmla="*/ 5010056 h 6858000"/>
              <a:gd name="connsiteX128" fmla="*/ 2879408 w 7467600"/>
              <a:gd name="connsiteY128" fmla="*/ 5031590 h 6858000"/>
              <a:gd name="connsiteX129" fmla="*/ 2862295 w 7467600"/>
              <a:gd name="connsiteY129" fmla="*/ 5022958 h 6858000"/>
              <a:gd name="connsiteX130" fmla="*/ 2813343 w 7467600"/>
              <a:gd name="connsiteY130" fmla="*/ 4998369 h 6858000"/>
              <a:gd name="connsiteX131" fmla="*/ 2646245 w 7467600"/>
              <a:gd name="connsiteY131" fmla="*/ 4930999 h 6858000"/>
              <a:gd name="connsiteX132" fmla="*/ 1999243 w 7467600"/>
              <a:gd name="connsiteY132" fmla="*/ 4730524 h 6858000"/>
              <a:gd name="connsiteX133" fmla="*/ 1979527 w 7467600"/>
              <a:gd name="connsiteY133" fmla="*/ 4726651 h 6858000"/>
              <a:gd name="connsiteX134" fmla="*/ 1927410 w 7467600"/>
              <a:gd name="connsiteY134" fmla="*/ 4716164 h 6858000"/>
              <a:gd name="connsiteX135" fmla="*/ 1997014 w 7467600"/>
              <a:gd name="connsiteY135" fmla="*/ 4698007 h 6858000"/>
              <a:gd name="connsiteX136" fmla="*/ 2005458 w 7467600"/>
              <a:gd name="connsiteY136" fmla="*/ 4699540 h 6858000"/>
              <a:gd name="connsiteX137" fmla="*/ 2657186 w 7467600"/>
              <a:gd name="connsiteY137" fmla="*/ 4901687 h 6858000"/>
              <a:gd name="connsiteX138" fmla="*/ 2826662 w 7467600"/>
              <a:gd name="connsiteY138" fmla="*/ 4970362 h 6858000"/>
              <a:gd name="connsiteX139" fmla="*/ 2876100 w 7467600"/>
              <a:gd name="connsiteY139" fmla="*/ 4995397 h 6858000"/>
              <a:gd name="connsiteX140" fmla="*/ 3042600 w 7467600"/>
              <a:gd name="connsiteY140" fmla="*/ 5059532 h 6858000"/>
              <a:gd name="connsiteX141" fmla="*/ 1997014 w 7467600"/>
              <a:gd name="connsiteY141" fmla="*/ 4698007 h 6858000"/>
              <a:gd name="connsiteX142" fmla="*/ 2305292 w 7467600"/>
              <a:gd name="connsiteY142" fmla="*/ 4219492 h 6858000"/>
              <a:gd name="connsiteX143" fmla="*/ 3360922 w 7467600"/>
              <a:gd name="connsiteY143" fmla="*/ 4529373 h 6858000"/>
              <a:gd name="connsiteX144" fmla="*/ 3492420 w 7467600"/>
              <a:gd name="connsiteY144" fmla="*/ 4510145 h 6858000"/>
              <a:gd name="connsiteX145" fmla="*/ 3364086 w 7467600"/>
              <a:gd name="connsiteY145" fmla="*/ 4480340 h 6858000"/>
              <a:gd name="connsiteX146" fmla="*/ 3225818 w 7467600"/>
              <a:gd name="connsiteY146" fmla="*/ 4411822 h 6858000"/>
              <a:gd name="connsiteX147" fmla="*/ 3129696 w 7467600"/>
              <a:gd name="connsiteY147" fmla="*/ 4360704 h 6858000"/>
              <a:gd name="connsiteX148" fmla="*/ 2814545 w 7467600"/>
              <a:gd name="connsiteY148" fmla="*/ 4282955 h 6858000"/>
              <a:gd name="connsiteX149" fmla="*/ 2305292 w 7467600"/>
              <a:gd name="connsiteY149" fmla="*/ 4219492 h 6858000"/>
              <a:gd name="connsiteX150" fmla="*/ 2626982 w 7467600"/>
              <a:gd name="connsiteY150" fmla="*/ 4206450 h 6858000"/>
              <a:gd name="connsiteX151" fmla="*/ 2490617 w 7467600"/>
              <a:gd name="connsiteY151" fmla="*/ 4206951 h 6858000"/>
              <a:gd name="connsiteX152" fmla="*/ 2819869 w 7467600"/>
              <a:gd name="connsiteY152" fmla="*/ 4252936 h 6858000"/>
              <a:gd name="connsiteX153" fmla="*/ 3143018 w 7467600"/>
              <a:gd name="connsiteY153" fmla="*/ 4332698 h 6858000"/>
              <a:gd name="connsiteX154" fmla="*/ 3241520 w 7467600"/>
              <a:gd name="connsiteY154" fmla="*/ 4385112 h 6858000"/>
              <a:gd name="connsiteX155" fmla="*/ 3374575 w 7467600"/>
              <a:gd name="connsiteY155" fmla="*/ 4451517 h 6858000"/>
              <a:gd name="connsiteX156" fmla="*/ 3505221 w 7467600"/>
              <a:gd name="connsiteY156" fmla="*/ 4480757 h 6858000"/>
              <a:gd name="connsiteX157" fmla="*/ 2626982 w 7467600"/>
              <a:gd name="connsiteY157" fmla="*/ 4206450 h 6858000"/>
              <a:gd name="connsiteX158" fmla="*/ 1310106 w 7467600"/>
              <a:gd name="connsiteY158" fmla="*/ 3943217 h 6858000"/>
              <a:gd name="connsiteX159" fmla="*/ 854994 w 7467600"/>
              <a:gd name="connsiteY159" fmla="*/ 4399136 h 6858000"/>
              <a:gd name="connsiteX160" fmla="*/ 742462 w 7467600"/>
              <a:gd name="connsiteY160" fmla="*/ 4594648 h 6858000"/>
              <a:gd name="connsiteX161" fmla="*/ 820602 w 7467600"/>
              <a:gd name="connsiteY161" fmla="*/ 4485915 h 6858000"/>
              <a:gd name="connsiteX162" fmla="*/ 878295 w 7467600"/>
              <a:gd name="connsiteY162" fmla="*/ 4403594 h 6858000"/>
              <a:gd name="connsiteX163" fmla="*/ 1240607 w 7467600"/>
              <a:gd name="connsiteY163" fmla="*/ 4010401 h 6858000"/>
              <a:gd name="connsiteX164" fmla="*/ 1310106 w 7467600"/>
              <a:gd name="connsiteY164" fmla="*/ 3943217 h 6858000"/>
              <a:gd name="connsiteX165" fmla="*/ 1423113 w 7467600"/>
              <a:gd name="connsiteY165" fmla="*/ 3874565 h 6858000"/>
              <a:gd name="connsiteX166" fmla="*/ 1260565 w 7467600"/>
              <a:gd name="connsiteY166" fmla="*/ 4031982 h 6858000"/>
              <a:gd name="connsiteX167" fmla="*/ 901900 w 7467600"/>
              <a:gd name="connsiteY167" fmla="*/ 4421236 h 6858000"/>
              <a:gd name="connsiteX168" fmla="*/ 845044 w 7467600"/>
              <a:gd name="connsiteY168" fmla="*/ 4502436 h 6858000"/>
              <a:gd name="connsiteX169" fmla="*/ 685926 w 7467600"/>
              <a:gd name="connsiteY169" fmla="*/ 4703069 h 6858000"/>
              <a:gd name="connsiteX170" fmla="*/ 684248 w 7467600"/>
              <a:gd name="connsiteY170" fmla="*/ 4706721 h 6858000"/>
              <a:gd name="connsiteX171" fmla="*/ 1423113 w 7467600"/>
              <a:gd name="connsiteY171" fmla="*/ 3874565 h 6858000"/>
              <a:gd name="connsiteX172" fmla="*/ 3316479 w 7467600"/>
              <a:gd name="connsiteY172" fmla="*/ 3872136 h 6858000"/>
              <a:gd name="connsiteX173" fmla="*/ 3546806 w 7467600"/>
              <a:gd name="connsiteY173" fmla="*/ 4356139 h 6858000"/>
              <a:gd name="connsiteX174" fmla="*/ 3364433 w 7467600"/>
              <a:gd name="connsiteY174" fmla="*/ 3953121 h 6858000"/>
              <a:gd name="connsiteX175" fmla="*/ 3316479 w 7467600"/>
              <a:gd name="connsiteY175" fmla="*/ 3872136 h 6858000"/>
              <a:gd name="connsiteX176" fmla="*/ 3291335 w 7467600"/>
              <a:gd name="connsiteY176" fmla="*/ 3767420 h 6858000"/>
              <a:gd name="connsiteX177" fmla="*/ 3390805 w 7467600"/>
              <a:gd name="connsiteY177" fmla="*/ 3937163 h 6858000"/>
              <a:gd name="connsiteX178" fmla="*/ 3579062 w 7467600"/>
              <a:gd name="connsiteY178" fmla="*/ 4359040 h 6858000"/>
              <a:gd name="connsiteX179" fmla="*/ 3467355 w 7467600"/>
              <a:gd name="connsiteY179" fmla="*/ 3988130 h 6858000"/>
              <a:gd name="connsiteX180" fmla="*/ 3310753 w 7467600"/>
              <a:gd name="connsiteY180" fmla="*/ 3787140 h 6858000"/>
              <a:gd name="connsiteX181" fmla="*/ 3291335 w 7467600"/>
              <a:gd name="connsiteY181" fmla="*/ 3767420 h 6858000"/>
              <a:gd name="connsiteX182" fmla="*/ 1635889 w 7467600"/>
              <a:gd name="connsiteY182" fmla="*/ 3709494 h 6858000"/>
              <a:gd name="connsiteX183" fmla="*/ 1634800 w 7467600"/>
              <a:gd name="connsiteY183" fmla="*/ 3731111 h 6858000"/>
              <a:gd name="connsiteX184" fmla="*/ 1635889 w 7467600"/>
              <a:gd name="connsiteY184" fmla="*/ 3709494 h 6858000"/>
              <a:gd name="connsiteX185" fmla="*/ 1510397 w 7467600"/>
              <a:gd name="connsiteY185" fmla="*/ 3684705 h 6858000"/>
              <a:gd name="connsiteX186" fmla="*/ 1146550 w 7467600"/>
              <a:gd name="connsiteY186" fmla="*/ 3802012 h 6858000"/>
              <a:gd name="connsiteX187" fmla="*/ 698834 w 7467600"/>
              <a:gd name="connsiteY187" fmla="*/ 3952272 h 6858000"/>
              <a:gd name="connsiteX188" fmla="*/ 34256 w 7467600"/>
              <a:gd name="connsiteY188" fmla="*/ 4347603 h 6858000"/>
              <a:gd name="connsiteX189" fmla="*/ 527241 w 7467600"/>
              <a:gd name="connsiteY189" fmla="*/ 4065078 h 6858000"/>
              <a:gd name="connsiteX190" fmla="*/ 1510397 w 7467600"/>
              <a:gd name="connsiteY190" fmla="*/ 3684705 h 6858000"/>
              <a:gd name="connsiteX191" fmla="*/ 1313114 w 7467600"/>
              <a:gd name="connsiteY191" fmla="*/ 3655216 h 6858000"/>
              <a:gd name="connsiteX192" fmla="*/ 1109304 w 7467600"/>
              <a:gd name="connsiteY192" fmla="*/ 3669030 h 6858000"/>
              <a:gd name="connsiteX193" fmla="*/ 8129 w 7467600"/>
              <a:gd name="connsiteY193" fmla="*/ 4330519 h 6858000"/>
              <a:gd name="connsiteX194" fmla="*/ 687572 w 7467600"/>
              <a:gd name="connsiteY194" fmla="*/ 3925629 h 6858000"/>
              <a:gd name="connsiteX195" fmla="*/ 1138365 w 7467600"/>
              <a:gd name="connsiteY195" fmla="*/ 3774515 h 6858000"/>
              <a:gd name="connsiteX196" fmla="*/ 1505579 w 7467600"/>
              <a:gd name="connsiteY196" fmla="*/ 3655526 h 6858000"/>
              <a:gd name="connsiteX197" fmla="*/ 1313114 w 7467600"/>
              <a:gd name="connsiteY197" fmla="*/ 3655216 h 6858000"/>
              <a:gd name="connsiteX198" fmla="*/ 3655073 w 7467600"/>
              <a:gd name="connsiteY198" fmla="*/ 3650884 h 6858000"/>
              <a:gd name="connsiteX199" fmla="*/ 3989938 w 7467600"/>
              <a:gd name="connsiteY199" fmla="*/ 3991685 h 6858000"/>
              <a:gd name="connsiteX200" fmla="*/ 4393907 w 7467600"/>
              <a:gd name="connsiteY200" fmla="*/ 4261258 h 6858000"/>
              <a:gd name="connsiteX201" fmla="*/ 4648051 w 7467600"/>
              <a:gd name="connsiteY201" fmla="*/ 4374051 h 6858000"/>
              <a:gd name="connsiteX202" fmla="*/ 4383389 w 7467600"/>
              <a:gd name="connsiteY202" fmla="*/ 4184369 h 6858000"/>
              <a:gd name="connsiteX203" fmla="*/ 4165508 w 7467600"/>
              <a:gd name="connsiteY203" fmla="*/ 4035196 h 6858000"/>
              <a:gd name="connsiteX204" fmla="*/ 4068162 w 7467600"/>
              <a:gd name="connsiteY204" fmla="*/ 3953394 h 6858000"/>
              <a:gd name="connsiteX205" fmla="*/ 3981416 w 7467600"/>
              <a:gd name="connsiteY205" fmla="*/ 3880482 h 6858000"/>
              <a:gd name="connsiteX206" fmla="*/ 3800147 w 7467600"/>
              <a:gd name="connsiteY206" fmla="*/ 3749872 h 6858000"/>
              <a:gd name="connsiteX207" fmla="*/ 3655073 w 7467600"/>
              <a:gd name="connsiteY207" fmla="*/ 3650884 h 6858000"/>
              <a:gd name="connsiteX208" fmla="*/ 3670252 w 7467600"/>
              <a:gd name="connsiteY208" fmla="*/ 3622798 h 6858000"/>
              <a:gd name="connsiteX209" fmla="*/ 3817258 w 7467600"/>
              <a:gd name="connsiteY209" fmla="*/ 3723577 h 6858000"/>
              <a:gd name="connsiteX210" fmla="*/ 4000461 w 7467600"/>
              <a:gd name="connsiteY210" fmla="*/ 3855966 h 6858000"/>
              <a:gd name="connsiteX211" fmla="*/ 4088180 w 7467600"/>
              <a:gd name="connsiteY211" fmla="*/ 3929774 h 6858000"/>
              <a:gd name="connsiteX212" fmla="*/ 4184555 w 7467600"/>
              <a:gd name="connsiteY212" fmla="*/ 4010683 h 6858000"/>
              <a:gd name="connsiteX213" fmla="*/ 4399563 w 7467600"/>
              <a:gd name="connsiteY213" fmla="*/ 4158106 h 6858000"/>
              <a:gd name="connsiteX214" fmla="*/ 4684469 w 7467600"/>
              <a:gd name="connsiteY214" fmla="*/ 4364680 h 6858000"/>
              <a:gd name="connsiteX215" fmla="*/ 4690271 w 7467600"/>
              <a:gd name="connsiteY215" fmla="*/ 4370034 h 6858000"/>
              <a:gd name="connsiteX216" fmla="*/ 4136093 w 7467600"/>
              <a:gd name="connsiteY216" fmla="*/ 3858466 h 6858000"/>
              <a:gd name="connsiteX217" fmla="*/ 3670252 w 7467600"/>
              <a:gd name="connsiteY217" fmla="*/ 3622798 h 6858000"/>
              <a:gd name="connsiteX218" fmla="*/ 4440129 w 7467600"/>
              <a:gd name="connsiteY218" fmla="*/ 3448571 h 6858000"/>
              <a:gd name="connsiteX219" fmla="*/ 4856525 w 7467600"/>
              <a:gd name="connsiteY219" fmla="*/ 3915351 h 6858000"/>
              <a:gd name="connsiteX220" fmla="*/ 5059055 w 7467600"/>
              <a:gd name="connsiteY220" fmla="*/ 4108918 h 6858000"/>
              <a:gd name="connsiteX221" fmla="*/ 5290070 w 7467600"/>
              <a:gd name="connsiteY221" fmla="*/ 4263619 h 6858000"/>
              <a:gd name="connsiteX222" fmla="*/ 4834991 w 7467600"/>
              <a:gd name="connsiteY222" fmla="*/ 3830985 h 6858000"/>
              <a:gd name="connsiteX223" fmla="*/ 4440129 w 7467600"/>
              <a:gd name="connsiteY223" fmla="*/ 3448571 h 6858000"/>
              <a:gd name="connsiteX224" fmla="*/ 4441737 w 7467600"/>
              <a:gd name="connsiteY224" fmla="*/ 3399734 h 6858000"/>
              <a:gd name="connsiteX225" fmla="*/ 4431236 w 7467600"/>
              <a:gd name="connsiteY225" fmla="*/ 3400954 h 6858000"/>
              <a:gd name="connsiteX226" fmla="*/ 4557150 w 7467600"/>
              <a:gd name="connsiteY226" fmla="*/ 3510023 h 6858000"/>
              <a:gd name="connsiteX227" fmla="*/ 4856936 w 7467600"/>
              <a:gd name="connsiteY227" fmla="*/ 3809146 h 6858000"/>
              <a:gd name="connsiteX228" fmla="*/ 5111996 w 7467600"/>
              <a:gd name="connsiteY228" fmla="*/ 4065759 h 6858000"/>
              <a:gd name="connsiteX229" fmla="*/ 5388878 w 7467600"/>
              <a:gd name="connsiteY229" fmla="*/ 4300185 h 6858000"/>
              <a:gd name="connsiteX230" fmla="*/ 5425556 w 7467600"/>
              <a:gd name="connsiteY230" fmla="*/ 4308967 h 6858000"/>
              <a:gd name="connsiteX231" fmla="*/ 4943646 w 7467600"/>
              <a:gd name="connsiteY231" fmla="*/ 3822916 h 6858000"/>
              <a:gd name="connsiteX232" fmla="*/ 4594837 w 7467600"/>
              <a:gd name="connsiteY232" fmla="*/ 3532274 h 6858000"/>
              <a:gd name="connsiteX233" fmla="*/ 4441737 w 7467600"/>
              <a:gd name="connsiteY233" fmla="*/ 3399734 h 6858000"/>
              <a:gd name="connsiteX234" fmla="*/ 5425834 w 7467600"/>
              <a:gd name="connsiteY234" fmla="*/ 3162785 h 6858000"/>
              <a:gd name="connsiteX235" fmla="*/ 5401644 w 7467600"/>
              <a:gd name="connsiteY235" fmla="*/ 3617847 h 6858000"/>
              <a:gd name="connsiteX236" fmla="*/ 5467256 w 7467600"/>
              <a:gd name="connsiteY236" fmla="*/ 4175494 h 6858000"/>
              <a:gd name="connsiteX237" fmla="*/ 5448069 w 7467600"/>
              <a:gd name="connsiteY237" fmla="*/ 3567554 h 6858000"/>
              <a:gd name="connsiteX238" fmla="*/ 5425834 w 7467600"/>
              <a:gd name="connsiteY238" fmla="*/ 3162785 h 6858000"/>
              <a:gd name="connsiteX239" fmla="*/ 1318687 w 7467600"/>
              <a:gd name="connsiteY239" fmla="*/ 3113840 h 6858000"/>
              <a:gd name="connsiteX240" fmla="*/ 1066793 w 7467600"/>
              <a:gd name="connsiteY240" fmla="*/ 3212171 h 6858000"/>
              <a:gd name="connsiteX241" fmla="*/ 993319 w 7467600"/>
              <a:gd name="connsiteY241" fmla="*/ 3247648 h 6858000"/>
              <a:gd name="connsiteX242" fmla="*/ 853081 w 7467600"/>
              <a:gd name="connsiteY242" fmla="*/ 3312410 h 6858000"/>
              <a:gd name="connsiteX243" fmla="*/ 805957 w 7467600"/>
              <a:gd name="connsiteY243" fmla="*/ 3330443 h 6858000"/>
              <a:gd name="connsiteX244" fmla="*/ 1318687 w 7467600"/>
              <a:gd name="connsiteY244" fmla="*/ 3113840 h 6858000"/>
              <a:gd name="connsiteX245" fmla="*/ 5453702 w 7467600"/>
              <a:gd name="connsiteY245" fmla="*/ 3090882 h 6858000"/>
              <a:gd name="connsiteX246" fmla="*/ 5480135 w 7467600"/>
              <a:gd name="connsiteY246" fmla="*/ 3565802 h 6858000"/>
              <a:gd name="connsiteX247" fmla="*/ 5499023 w 7467600"/>
              <a:gd name="connsiteY247" fmla="*/ 4166310 h 6858000"/>
              <a:gd name="connsiteX248" fmla="*/ 5547022 w 7467600"/>
              <a:gd name="connsiteY248" fmla="*/ 3607838 h 6858000"/>
              <a:gd name="connsiteX249" fmla="*/ 5515964 w 7467600"/>
              <a:gd name="connsiteY249" fmla="*/ 3378541 h 6858000"/>
              <a:gd name="connsiteX250" fmla="*/ 5453702 w 7467600"/>
              <a:gd name="connsiteY250" fmla="*/ 3090882 h 6858000"/>
              <a:gd name="connsiteX251" fmla="*/ 1238695 w 7467600"/>
              <a:gd name="connsiteY251" fmla="*/ 3076820 h 6858000"/>
              <a:gd name="connsiteX252" fmla="*/ 716371 w 7467600"/>
              <a:gd name="connsiteY252" fmla="*/ 3293249 h 6858000"/>
              <a:gd name="connsiteX253" fmla="*/ 579522 w 7467600"/>
              <a:gd name="connsiteY253" fmla="*/ 3371759 h 6858000"/>
              <a:gd name="connsiteX254" fmla="*/ 600288 w 7467600"/>
              <a:gd name="connsiteY254" fmla="*/ 3365555 h 6858000"/>
              <a:gd name="connsiteX255" fmla="*/ 840692 w 7467600"/>
              <a:gd name="connsiteY255" fmla="*/ 3284921 h 6858000"/>
              <a:gd name="connsiteX256" fmla="*/ 979248 w 7467600"/>
              <a:gd name="connsiteY256" fmla="*/ 3221003 h 6858000"/>
              <a:gd name="connsiteX257" fmla="*/ 1053282 w 7467600"/>
              <a:gd name="connsiteY257" fmla="*/ 3185247 h 6858000"/>
              <a:gd name="connsiteX258" fmla="*/ 1320603 w 7467600"/>
              <a:gd name="connsiteY258" fmla="*/ 3081281 h 6858000"/>
              <a:gd name="connsiteX259" fmla="*/ 1238695 w 7467600"/>
              <a:gd name="connsiteY259" fmla="*/ 3076820 h 6858000"/>
              <a:gd name="connsiteX260" fmla="*/ 5425627 w 7467600"/>
              <a:gd name="connsiteY260" fmla="*/ 2954192 h 6858000"/>
              <a:gd name="connsiteX261" fmla="*/ 5470770 w 7467600"/>
              <a:gd name="connsiteY261" fmla="*/ 3005435 h 6858000"/>
              <a:gd name="connsiteX262" fmla="*/ 5519779 w 7467600"/>
              <a:gd name="connsiteY262" fmla="*/ 4359223 h 6858000"/>
              <a:gd name="connsiteX263" fmla="*/ 5520293 w 7467600"/>
              <a:gd name="connsiteY263" fmla="*/ 4360602 h 6858000"/>
              <a:gd name="connsiteX264" fmla="*/ 5767221 w 7467600"/>
              <a:gd name="connsiteY264" fmla="*/ 4665564 h 6858000"/>
              <a:gd name="connsiteX265" fmla="*/ 6937169 w 7467600"/>
              <a:gd name="connsiteY265" fmla="*/ 4815941 h 6858000"/>
              <a:gd name="connsiteX266" fmla="*/ 6953922 w 7467600"/>
              <a:gd name="connsiteY266" fmla="*/ 4890068 h 6858000"/>
              <a:gd name="connsiteX267" fmla="*/ 6071359 w 7467600"/>
              <a:gd name="connsiteY267" fmla="*/ 4770770 h 6858000"/>
              <a:gd name="connsiteX268" fmla="*/ 6038839 w 7467600"/>
              <a:gd name="connsiteY268" fmla="*/ 4764474 h 6858000"/>
              <a:gd name="connsiteX269" fmla="*/ 6038706 w 7467600"/>
              <a:gd name="connsiteY269" fmla="*/ 4763847 h 6858000"/>
              <a:gd name="connsiteX270" fmla="*/ 6037784 w 7467600"/>
              <a:gd name="connsiteY270" fmla="*/ 4764270 h 6858000"/>
              <a:gd name="connsiteX271" fmla="*/ 6038839 w 7467600"/>
              <a:gd name="connsiteY271" fmla="*/ 4764474 h 6858000"/>
              <a:gd name="connsiteX272" fmla="*/ 6040338 w 7467600"/>
              <a:gd name="connsiteY272" fmla="*/ 4771418 h 6858000"/>
              <a:gd name="connsiteX273" fmla="*/ 6024488 w 7467600"/>
              <a:gd name="connsiteY273" fmla="*/ 4809903 h 6858000"/>
              <a:gd name="connsiteX274" fmla="*/ 5599771 w 7467600"/>
              <a:gd name="connsiteY274" fmla="*/ 5509652 h 6858000"/>
              <a:gd name="connsiteX275" fmla="*/ 5548843 w 7467600"/>
              <a:gd name="connsiteY275" fmla="*/ 5563845 h 6858000"/>
              <a:gd name="connsiteX276" fmla="*/ 5940952 w 7467600"/>
              <a:gd name="connsiteY276" fmla="*/ 6250028 h 6858000"/>
              <a:gd name="connsiteX277" fmla="*/ 6043441 w 7467600"/>
              <a:gd name="connsiteY277" fmla="*/ 6665847 h 6858000"/>
              <a:gd name="connsiteX278" fmla="*/ 6093432 w 7467600"/>
              <a:gd name="connsiteY278" fmla="*/ 6858000 h 6858000"/>
              <a:gd name="connsiteX279" fmla="*/ 6034344 w 7467600"/>
              <a:gd name="connsiteY279" fmla="*/ 6858000 h 6858000"/>
              <a:gd name="connsiteX280" fmla="*/ 6026679 w 7467600"/>
              <a:gd name="connsiteY280" fmla="*/ 6836959 h 6858000"/>
              <a:gd name="connsiteX281" fmla="*/ 5800441 w 7467600"/>
              <a:gd name="connsiteY281" fmla="*/ 6335286 h 6858000"/>
              <a:gd name="connsiteX282" fmla="*/ 5526562 w 7467600"/>
              <a:gd name="connsiteY282" fmla="*/ 5705388 h 6858000"/>
              <a:gd name="connsiteX283" fmla="*/ 5519640 w 7467600"/>
              <a:gd name="connsiteY283" fmla="*/ 5683774 h 6858000"/>
              <a:gd name="connsiteX284" fmla="*/ 5844559 w 7467600"/>
              <a:gd name="connsiteY284" fmla="*/ 6553349 h 6858000"/>
              <a:gd name="connsiteX285" fmla="*/ 5975994 w 7467600"/>
              <a:gd name="connsiteY285" fmla="*/ 6858000 h 6858000"/>
              <a:gd name="connsiteX286" fmla="*/ 5898547 w 7467600"/>
              <a:gd name="connsiteY286" fmla="*/ 6858000 h 6858000"/>
              <a:gd name="connsiteX287" fmla="*/ 5682041 w 7467600"/>
              <a:gd name="connsiteY287" fmla="*/ 6355860 h 6858000"/>
              <a:gd name="connsiteX288" fmla="*/ 5461758 w 7467600"/>
              <a:gd name="connsiteY288" fmla="*/ 5820220 h 6858000"/>
              <a:gd name="connsiteX289" fmla="*/ 5237282 w 7467600"/>
              <a:gd name="connsiteY289" fmla="*/ 6579086 h 6858000"/>
              <a:gd name="connsiteX290" fmla="*/ 5115009 w 7467600"/>
              <a:gd name="connsiteY290" fmla="*/ 6858000 h 6858000"/>
              <a:gd name="connsiteX291" fmla="*/ 5028074 w 7467600"/>
              <a:gd name="connsiteY291" fmla="*/ 6858000 h 6858000"/>
              <a:gd name="connsiteX292" fmla="*/ 5079508 w 7467600"/>
              <a:gd name="connsiteY292" fmla="*/ 6749074 h 6858000"/>
              <a:gd name="connsiteX293" fmla="*/ 5371846 w 7467600"/>
              <a:gd name="connsiteY293" fmla="*/ 5924413 h 6858000"/>
              <a:gd name="connsiteX294" fmla="*/ 5270512 w 7467600"/>
              <a:gd name="connsiteY294" fmla="*/ 6138975 h 6858000"/>
              <a:gd name="connsiteX295" fmla="*/ 5062409 w 7467600"/>
              <a:gd name="connsiteY295" fmla="*/ 6653544 h 6858000"/>
              <a:gd name="connsiteX296" fmla="*/ 5036628 w 7467600"/>
              <a:gd name="connsiteY296" fmla="*/ 6754247 h 6858000"/>
              <a:gd name="connsiteX297" fmla="*/ 5009112 w 7467600"/>
              <a:gd name="connsiteY297" fmla="*/ 6858000 h 6858000"/>
              <a:gd name="connsiteX298" fmla="*/ 4976679 w 7467600"/>
              <a:gd name="connsiteY298" fmla="*/ 6858000 h 6858000"/>
              <a:gd name="connsiteX299" fmla="*/ 5006537 w 7467600"/>
              <a:gd name="connsiteY299" fmla="*/ 6747068 h 6858000"/>
              <a:gd name="connsiteX300" fmla="*/ 5032723 w 7467600"/>
              <a:gd name="connsiteY300" fmla="*/ 6644957 h 6858000"/>
              <a:gd name="connsiteX301" fmla="*/ 5242949 w 7467600"/>
              <a:gd name="connsiteY301" fmla="*/ 6125175 h 6858000"/>
              <a:gd name="connsiteX302" fmla="*/ 5286321 w 7467600"/>
              <a:gd name="connsiteY302" fmla="*/ 6033555 h 6858000"/>
              <a:gd name="connsiteX303" fmla="*/ 5008210 w 7467600"/>
              <a:gd name="connsiteY303" fmla="*/ 6649194 h 6858000"/>
              <a:gd name="connsiteX304" fmla="*/ 4986321 w 7467600"/>
              <a:gd name="connsiteY304" fmla="*/ 6765687 h 6858000"/>
              <a:gd name="connsiteX305" fmla="*/ 4973474 w 7467600"/>
              <a:gd name="connsiteY305" fmla="*/ 6858000 h 6858000"/>
              <a:gd name="connsiteX306" fmla="*/ 4907178 w 7467600"/>
              <a:gd name="connsiteY306" fmla="*/ 6858000 h 6858000"/>
              <a:gd name="connsiteX307" fmla="*/ 4910810 w 7467600"/>
              <a:gd name="connsiteY307" fmla="*/ 6829660 h 6858000"/>
              <a:gd name="connsiteX308" fmla="*/ 4987461 w 7467600"/>
              <a:gd name="connsiteY308" fmla="*/ 6432994 h 6858000"/>
              <a:gd name="connsiteX309" fmla="*/ 5179262 w 7467600"/>
              <a:gd name="connsiteY309" fmla="*/ 6035044 h 6858000"/>
              <a:gd name="connsiteX310" fmla="*/ 4689678 w 7467600"/>
              <a:gd name="connsiteY310" fmla="*/ 6440241 h 6858000"/>
              <a:gd name="connsiteX311" fmla="*/ 4477543 w 7467600"/>
              <a:gd name="connsiteY311" fmla="*/ 6674836 h 6858000"/>
              <a:gd name="connsiteX312" fmla="*/ 4329957 w 7467600"/>
              <a:gd name="connsiteY312" fmla="*/ 6858000 h 6858000"/>
              <a:gd name="connsiteX313" fmla="*/ 4218595 w 7467600"/>
              <a:gd name="connsiteY313" fmla="*/ 6858000 h 6858000"/>
              <a:gd name="connsiteX314" fmla="*/ 4368888 w 7467600"/>
              <a:gd name="connsiteY314" fmla="*/ 6668412 h 6858000"/>
              <a:gd name="connsiteX315" fmla="*/ 4563091 w 7467600"/>
              <a:gd name="connsiteY315" fmla="*/ 6442508 h 6858000"/>
              <a:gd name="connsiteX316" fmla="*/ 5387324 w 7467600"/>
              <a:gd name="connsiteY316" fmla="*/ 5705830 h 6858000"/>
              <a:gd name="connsiteX317" fmla="*/ 5073620 w 7467600"/>
              <a:gd name="connsiteY317" fmla="*/ 5955437 h 6858000"/>
              <a:gd name="connsiteX318" fmla="*/ 4689789 w 7467600"/>
              <a:gd name="connsiteY318" fmla="*/ 6268382 h 6858000"/>
              <a:gd name="connsiteX319" fmla="*/ 4418722 w 7467600"/>
              <a:gd name="connsiteY319" fmla="*/ 6570886 h 6858000"/>
              <a:gd name="connsiteX320" fmla="*/ 4214944 w 7467600"/>
              <a:gd name="connsiteY320" fmla="*/ 6858000 h 6858000"/>
              <a:gd name="connsiteX321" fmla="*/ 4177898 w 7467600"/>
              <a:gd name="connsiteY321" fmla="*/ 6858000 h 6858000"/>
              <a:gd name="connsiteX322" fmla="*/ 4391597 w 7467600"/>
              <a:gd name="connsiteY322" fmla="*/ 6556370 h 6858000"/>
              <a:gd name="connsiteX323" fmla="*/ 4668889 w 7467600"/>
              <a:gd name="connsiteY323" fmla="*/ 6246399 h 6858000"/>
              <a:gd name="connsiteX324" fmla="*/ 5055427 w 7467600"/>
              <a:gd name="connsiteY324" fmla="*/ 5931476 h 6858000"/>
              <a:gd name="connsiteX325" fmla="*/ 5371814 w 7467600"/>
              <a:gd name="connsiteY325" fmla="*/ 5678975 h 6858000"/>
              <a:gd name="connsiteX326" fmla="*/ 4987918 w 7467600"/>
              <a:gd name="connsiteY326" fmla="*/ 5838701 h 6858000"/>
              <a:gd name="connsiteX327" fmla="*/ 4317146 w 7467600"/>
              <a:gd name="connsiteY327" fmla="*/ 6587716 h 6858000"/>
              <a:gd name="connsiteX328" fmla="*/ 4171627 w 7467600"/>
              <a:gd name="connsiteY328" fmla="*/ 6858000 h 6858000"/>
              <a:gd name="connsiteX329" fmla="*/ 4081585 w 7467600"/>
              <a:gd name="connsiteY329" fmla="*/ 6858000 h 6858000"/>
              <a:gd name="connsiteX330" fmla="*/ 4238603 w 7467600"/>
              <a:gd name="connsiteY330" fmla="*/ 6559341 h 6858000"/>
              <a:gd name="connsiteX331" fmla="*/ 4778333 w 7467600"/>
              <a:gd name="connsiteY331" fmla="*/ 5873626 h 6858000"/>
              <a:gd name="connsiteX332" fmla="*/ 5414185 w 7467600"/>
              <a:gd name="connsiteY332" fmla="*/ 5573882 h 6858000"/>
              <a:gd name="connsiteX333" fmla="*/ 5959648 w 7467600"/>
              <a:gd name="connsiteY333" fmla="*/ 4760797 h 6858000"/>
              <a:gd name="connsiteX334" fmla="*/ 5355019 w 7467600"/>
              <a:gd name="connsiteY334" fmla="*/ 4734672 h 6858000"/>
              <a:gd name="connsiteX335" fmla="*/ 5083565 w 7467600"/>
              <a:gd name="connsiteY335" fmla="*/ 5179121 h 6858000"/>
              <a:gd name="connsiteX336" fmla="*/ 4713577 w 7467600"/>
              <a:gd name="connsiteY336" fmla="*/ 5616803 h 6858000"/>
              <a:gd name="connsiteX337" fmla="*/ 3989559 w 7467600"/>
              <a:gd name="connsiteY337" fmla="*/ 6145945 h 6858000"/>
              <a:gd name="connsiteX338" fmla="*/ 3939824 w 7467600"/>
              <a:gd name="connsiteY338" fmla="*/ 6066900 h 6858000"/>
              <a:gd name="connsiteX339" fmla="*/ 4584537 w 7467600"/>
              <a:gd name="connsiteY339" fmla="*/ 5324826 h 6858000"/>
              <a:gd name="connsiteX340" fmla="*/ 5037105 w 7467600"/>
              <a:gd name="connsiteY340" fmla="*/ 5088765 h 6858000"/>
              <a:gd name="connsiteX341" fmla="*/ 5039930 w 7467600"/>
              <a:gd name="connsiteY341" fmla="*/ 5089585 h 6858000"/>
              <a:gd name="connsiteX342" fmla="*/ 5263764 w 7467600"/>
              <a:gd name="connsiteY342" fmla="*/ 4735525 h 6858000"/>
              <a:gd name="connsiteX343" fmla="*/ 4086300 w 7467600"/>
              <a:gd name="connsiteY343" fmla="*/ 4884599 h 6858000"/>
              <a:gd name="connsiteX344" fmla="*/ 4085485 w 7467600"/>
              <a:gd name="connsiteY344" fmla="*/ 4899070 h 6858000"/>
              <a:gd name="connsiteX345" fmla="*/ 3871915 w 7467600"/>
              <a:gd name="connsiteY345" fmla="*/ 5253645 h 6858000"/>
              <a:gd name="connsiteX346" fmla="*/ 3799374 w 7467600"/>
              <a:gd name="connsiteY346" fmla="*/ 5466127 h 6858000"/>
              <a:gd name="connsiteX347" fmla="*/ 3498850 w 7467600"/>
              <a:gd name="connsiteY347" fmla="*/ 6661888 h 6858000"/>
              <a:gd name="connsiteX348" fmla="*/ 3399216 w 7467600"/>
              <a:gd name="connsiteY348" fmla="*/ 6858000 h 6858000"/>
              <a:gd name="connsiteX349" fmla="*/ 3303688 w 7467600"/>
              <a:gd name="connsiteY349" fmla="*/ 6858000 h 6858000"/>
              <a:gd name="connsiteX350" fmla="*/ 3391774 w 7467600"/>
              <a:gd name="connsiteY350" fmla="*/ 6697181 h 6858000"/>
              <a:gd name="connsiteX351" fmla="*/ 3735540 w 7467600"/>
              <a:gd name="connsiteY351" fmla="*/ 5546923 h 6858000"/>
              <a:gd name="connsiteX352" fmla="*/ 3729438 w 7467600"/>
              <a:gd name="connsiteY352" fmla="*/ 5569058 h 6858000"/>
              <a:gd name="connsiteX353" fmla="*/ 3707782 w 7467600"/>
              <a:gd name="connsiteY353" fmla="*/ 5644908 h 6858000"/>
              <a:gd name="connsiteX354" fmla="*/ 3583827 w 7467600"/>
              <a:gd name="connsiteY354" fmla="*/ 6039215 h 6858000"/>
              <a:gd name="connsiteX355" fmla="*/ 3547861 w 7467600"/>
              <a:gd name="connsiteY355" fmla="*/ 6129609 h 6858000"/>
              <a:gd name="connsiteX356" fmla="*/ 3490905 w 7467600"/>
              <a:gd name="connsiteY356" fmla="*/ 6277660 h 6858000"/>
              <a:gd name="connsiteX357" fmla="*/ 3455859 w 7467600"/>
              <a:gd name="connsiteY357" fmla="*/ 6391301 h 6858000"/>
              <a:gd name="connsiteX358" fmla="*/ 3429112 w 7467600"/>
              <a:gd name="connsiteY358" fmla="*/ 6479469 h 6858000"/>
              <a:gd name="connsiteX359" fmla="*/ 3304862 w 7467600"/>
              <a:gd name="connsiteY359" fmla="*/ 6796476 h 6858000"/>
              <a:gd name="connsiteX360" fmla="*/ 3276071 w 7467600"/>
              <a:gd name="connsiteY360" fmla="*/ 6858000 h 6858000"/>
              <a:gd name="connsiteX361" fmla="*/ 3240805 w 7467600"/>
              <a:gd name="connsiteY361" fmla="*/ 6858000 h 6858000"/>
              <a:gd name="connsiteX362" fmla="*/ 3275917 w 7467600"/>
              <a:gd name="connsiteY362" fmla="*/ 6783192 h 6858000"/>
              <a:gd name="connsiteX363" fmla="*/ 3399358 w 7467600"/>
              <a:gd name="connsiteY363" fmla="*/ 6469011 h 6858000"/>
              <a:gd name="connsiteX364" fmla="*/ 3425650 w 7467600"/>
              <a:gd name="connsiteY364" fmla="*/ 6381333 h 6858000"/>
              <a:gd name="connsiteX365" fmla="*/ 3460661 w 7467600"/>
              <a:gd name="connsiteY365" fmla="*/ 6266763 h 6858000"/>
              <a:gd name="connsiteX366" fmla="*/ 3518021 w 7467600"/>
              <a:gd name="connsiteY366" fmla="*/ 6117298 h 6858000"/>
              <a:gd name="connsiteX367" fmla="*/ 3554035 w 7467600"/>
              <a:gd name="connsiteY367" fmla="*/ 6027832 h 6858000"/>
              <a:gd name="connsiteX368" fmla="*/ 3677174 w 7467600"/>
              <a:gd name="connsiteY368" fmla="*/ 5636351 h 6858000"/>
              <a:gd name="connsiteX369" fmla="*/ 3698819 w 7467600"/>
              <a:gd name="connsiteY369" fmla="*/ 5560503 h 6858000"/>
              <a:gd name="connsiteX370" fmla="*/ 3702094 w 7467600"/>
              <a:gd name="connsiteY370" fmla="*/ 5549194 h 6858000"/>
              <a:gd name="connsiteX371" fmla="*/ 3398355 w 7467600"/>
              <a:gd name="connsiteY371" fmla="*/ 6094603 h 6858000"/>
              <a:gd name="connsiteX372" fmla="*/ 3193941 w 7467600"/>
              <a:gd name="connsiteY372" fmla="*/ 6798775 h 6858000"/>
              <a:gd name="connsiteX373" fmla="*/ 3184140 w 7467600"/>
              <a:gd name="connsiteY373" fmla="*/ 6858000 h 6858000"/>
              <a:gd name="connsiteX374" fmla="*/ 3099978 w 7467600"/>
              <a:gd name="connsiteY374" fmla="*/ 6858000 h 6858000"/>
              <a:gd name="connsiteX375" fmla="*/ 3101556 w 7467600"/>
              <a:gd name="connsiteY375" fmla="*/ 6843337 h 6858000"/>
              <a:gd name="connsiteX376" fmla="*/ 3370162 w 7467600"/>
              <a:gd name="connsiteY376" fmla="*/ 5785550 h 6858000"/>
              <a:gd name="connsiteX377" fmla="*/ 3746477 w 7467600"/>
              <a:gd name="connsiteY377" fmla="*/ 5377889 h 6858000"/>
              <a:gd name="connsiteX378" fmla="*/ 3863399 w 7467600"/>
              <a:gd name="connsiteY378" fmla="*/ 5087257 h 6858000"/>
              <a:gd name="connsiteX379" fmla="*/ 3968712 w 7467600"/>
              <a:gd name="connsiteY379" fmla="*/ 4913989 h 6858000"/>
              <a:gd name="connsiteX380" fmla="*/ 2792390 w 7467600"/>
              <a:gd name="connsiteY380" fmla="*/ 5382974 h 6858000"/>
              <a:gd name="connsiteX381" fmla="*/ 2714982 w 7467600"/>
              <a:gd name="connsiteY381" fmla="*/ 5427051 h 6858000"/>
              <a:gd name="connsiteX382" fmla="*/ 2813361 w 7467600"/>
              <a:gd name="connsiteY382" fmla="*/ 6023912 h 6858000"/>
              <a:gd name="connsiteX383" fmla="*/ 2688430 w 7467600"/>
              <a:gd name="connsiteY383" fmla="*/ 6801564 h 6858000"/>
              <a:gd name="connsiteX384" fmla="*/ 2629626 w 7467600"/>
              <a:gd name="connsiteY384" fmla="*/ 6763394 h 6858000"/>
              <a:gd name="connsiteX385" fmla="*/ 2565328 w 7467600"/>
              <a:gd name="connsiteY385" fmla="*/ 5516399 h 6858000"/>
              <a:gd name="connsiteX386" fmla="*/ 1922999 w 7467600"/>
              <a:gd name="connsiteY386" fmla="*/ 5980343 h 6858000"/>
              <a:gd name="connsiteX387" fmla="*/ 1950261 w 7467600"/>
              <a:gd name="connsiteY387" fmla="*/ 6405858 h 6858000"/>
              <a:gd name="connsiteX388" fmla="*/ 2365554 w 7467600"/>
              <a:gd name="connsiteY388" fmla="*/ 6759107 h 6858000"/>
              <a:gd name="connsiteX389" fmla="*/ 2424142 w 7467600"/>
              <a:gd name="connsiteY389" fmla="*/ 6858000 h 6858000"/>
              <a:gd name="connsiteX390" fmla="*/ 2395994 w 7467600"/>
              <a:gd name="connsiteY390" fmla="*/ 6858000 h 6858000"/>
              <a:gd name="connsiteX391" fmla="*/ 2392863 w 7467600"/>
              <a:gd name="connsiteY391" fmla="*/ 6852964 h 6858000"/>
              <a:gd name="connsiteX392" fmla="*/ 2017589 w 7467600"/>
              <a:gd name="connsiteY392" fmla="*/ 6493982 h 6858000"/>
              <a:gd name="connsiteX393" fmla="*/ 2147336 w 7467600"/>
              <a:gd name="connsiteY393" fmla="*/ 6594052 h 6858000"/>
              <a:gd name="connsiteX394" fmla="*/ 2207047 w 7467600"/>
              <a:gd name="connsiteY394" fmla="*/ 6654540 h 6858000"/>
              <a:gd name="connsiteX395" fmla="*/ 2299106 w 7467600"/>
              <a:gd name="connsiteY395" fmla="*/ 6778931 h 6858000"/>
              <a:gd name="connsiteX396" fmla="*/ 2314430 w 7467600"/>
              <a:gd name="connsiteY396" fmla="*/ 6801144 h 6858000"/>
              <a:gd name="connsiteX397" fmla="*/ 2352406 w 7467600"/>
              <a:gd name="connsiteY397" fmla="*/ 6858000 h 6858000"/>
              <a:gd name="connsiteX398" fmla="*/ 2314492 w 7467600"/>
              <a:gd name="connsiteY398" fmla="*/ 6858000 h 6858000"/>
              <a:gd name="connsiteX399" fmla="*/ 2288095 w 7467600"/>
              <a:gd name="connsiteY399" fmla="*/ 6818030 h 6858000"/>
              <a:gd name="connsiteX400" fmla="*/ 2272768 w 7467600"/>
              <a:gd name="connsiteY400" fmla="*/ 6795822 h 6858000"/>
              <a:gd name="connsiteX401" fmla="*/ 2182715 w 7467600"/>
              <a:gd name="connsiteY401" fmla="*/ 6675071 h 6858000"/>
              <a:gd name="connsiteX402" fmla="*/ 2032061 w 7467600"/>
              <a:gd name="connsiteY402" fmla="*/ 6541380 h 6858000"/>
              <a:gd name="connsiteX403" fmla="*/ 2257220 w 7467600"/>
              <a:gd name="connsiteY403" fmla="*/ 6826257 h 6858000"/>
              <a:gd name="connsiteX404" fmla="*/ 2281324 w 7467600"/>
              <a:gd name="connsiteY404" fmla="*/ 6858000 h 6858000"/>
              <a:gd name="connsiteX405" fmla="*/ 2242860 w 7467600"/>
              <a:gd name="connsiteY405" fmla="*/ 6858000 h 6858000"/>
              <a:gd name="connsiteX406" fmla="*/ 2232818 w 7467600"/>
              <a:gd name="connsiteY406" fmla="*/ 6844926 h 6858000"/>
              <a:gd name="connsiteX407" fmla="*/ 1990172 w 7467600"/>
              <a:gd name="connsiteY407" fmla="*/ 6542121 h 6858000"/>
              <a:gd name="connsiteX408" fmla="*/ 2124090 w 7467600"/>
              <a:gd name="connsiteY408" fmla="*/ 6761017 h 6858000"/>
              <a:gd name="connsiteX409" fmla="*/ 2200380 w 7467600"/>
              <a:gd name="connsiteY409" fmla="*/ 6858000 h 6858000"/>
              <a:gd name="connsiteX410" fmla="*/ 2147507 w 7467600"/>
              <a:gd name="connsiteY410" fmla="*/ 6858000 h 6858000"/>
              <a:gd name="connsiteX411" fmla="*/ 2070668 w 7467600"/>
              <a:gd name="connsiteY411" fmla="*/ 6761520 h 6858000"/>
              <a:gd name="connsiteX412" fmla="*/ 1975142 w 7467600"/>
              <a:gd name="connsiteY412" fmla="*/ 6585570 h 6858000"/>
              <a:gd name="connsiteX413" fmla="*/ 2050035 w 7467600"/>
              <a:gd name="connsiteY413" fmla="*/ 6813345 h 6858000"/>
              <a:gd name="connsiteX414" fmla="*/ 2063025 w 7467600"/>
              <a:gd name="connsiteY414" fmla="*/ 6858000 h 6858000"/>
              <a:gd name="connsiteX415" fmla="*/ 2021675 w 7467600"/>
              <a:gd name="connsiteY415" fmla="*/ 6858000 h 6858000"/>
              <a:gd name="connsiteX416" fmla="*/ 2019308 w 7467600"/>
              <a:gd name="connsiteY416" fmla="*/ 6847118 h 6858000"/>
              <a:gd name="connsiteX417" fmla="*/ 1938835 w 7467600"/>
              <a:gd name="connsiteY417" fmla="*/ 6551160 h 6858000"/>
              <a:gd name="connsiteX418" fmla="*/ 1953230 w 7467600"/>
              <a:gd name="connsiteY418" fmla="*/ 6759699 h 6858000"/>
              <a:gd name="connsiteX419" fmla="*/ 1956763 w 7467600"/>
              <a:gd name="connsiteY419" fmla="*/ 6778191 h 6858000"/>
              <a:gd name="connsiteX420" fmla="*/ 1967925 w 7467600"/>
              <a:gd name="connsiteY420" fmla="*/ 6858000 h 6858000"/>
              <a:gd name="connsiteX421" fmla="*/ 1936622 w 7467600"/>
              <a:gd name="connsiteY421" fmla="*/ 6858000 h 6858000"/>
              <a:gd name="connsiteX422" fmla="*/ 1926261 w 7467600"/>
              <a:gd name="connsiteY422" fmla="*/ 6784064 h 6858000"/>
              <a:gd name="connsiteX423" fmla="*/ 1922724 w 7467600"/>
              <a:gd name="connsiteY423" fmla="*/ 6765577 h 6858000"/>
              <a:gd name="connsiteX424" fmla="*/ 1904650 w 7467600"/>
              <a:gd name="connsiteY424" fmla="*/ 6639616 h 6858000"/>
              <a:gd name="connsiteX425" fmla="*/ 1885273 w 7467600"/>
              <a:gd name="connsiteY425" fmla="*/ 6858000 h 6858000"/>
              <a:gd name="connsiteX426" fmla="*/ 1854363 w 7467600"/>
              <a:gd name="connsiteY426" fmla="*/ 6858000 h 6858000"/>
              <a:gd name="connsiteX427" fmla="*/ 1880391 w 7467600"/>
              <a:gd name="connsiteY427" fmla="*/ 6603796 h 6858000"/>
              <a:gd name="connsiteX428" fmla="*/ 1818273 w 7467600"/>
              <a:gd name="connsiteY428" fmla="*/ 6715729 h 6858000"/>
              <a:gd name="connsiteX429" fmla="*/ 1794691 w 7467600"/>
              <a:gd name="connsiteY429" fmla="*/ 6843239 h 6858000"/>
              <a:gd name="connsiteX430" fmla="*/ 1794914 w 7467600"/>
              <a:gd name="connsiteY430" fmla="*/ 6858000 h 6858000"/>
              <a:gd name="connsiteX431" fmla="*/ 1746128 w 7467600"/>
              <a:gd name="connsiteY431" fmla="*/ 6858000 h 6858000"/>
              <a:gd name="connsiteX432" fmla="*/ 1753934 w 7467600"/>
              <a:gd name="connsiteY432" fmla="*/ 6724796 h 6858000"/>
              <a:gd name="connsiteX433" fmla="*/ 1792053 w 7467600"/>
              <a:gd name="connsiteY433" fmla="*/ 6572396 h 6858000"/>
              <a:gd name="connsiteX434" fmla="*/ 1862248 w 7467600"/>
              <a:gd name="connsiteY434" fmla="*/ 6266397 h 6858000"/>
              <a:gd name="connsiteX435" fmla="*/ 1862250 w 7467600"/>
              <a:gd name="connsiteY435" fmla="*/ 6033531 h 6858000"/>
              <a:gd name="connsiteX436" fmla="*/ 1211999 w 7467600"/>
              <a:gd name="connsiteY436" fmla="*/ 6683610 h 6858000"/>
              <a:gd name="connsiteX437" fmla="*/ 1213266 w 7467600"/>
              <a:gd name="connsiteY437" fmla="*/ 6691947 h 6858000"/>
              <a:gd name="connsiteX438" fmla="*/ 1203370 w 7467600"/>
              <a:gd name="connsiteY438" fmla="*/ 6850676 h 6858000"/>
              <a:gd name="connsiteX439" fmla="*/ 1203671 w 7467600"/>
              <a:gd name="connsiteY439" fmla="*/ 6858000 h 6858000"/>
              <a:gd name="connsiteX440" fmla="*/ 1143180 w 7467600"/>
              <a:gd name="connsiteY440" fmla="*/ 6858000 h 6858000"/>
              <a:gd name="connsiteX441" fmla="*/ 1142176 w 7467600"/>
              <a:gd name="connsiteY441" fmla="*/ 6766045 h 6858000"/>
              <a:gd name="connsiteX442" fmla="*/ 1067484 w 7467600"/>
              <a:gd name="connsiteY442" fmla="*/ 6858000 h 6858000"/>
              <a:gd name="connsiteX443" fmla="*/ 953928 w 7467600"/>
              <a:gd name="connsiteY443" fmla="*/ 6858000 h 6858000"/>
              <a:gd name="connsiteX444" fmla="*/ 959715 w 7467600"/>
              <a:gd name="connsiteY444" fmla="*/ 6850185 h 6858000"/>
              <a:gd name="connsiteX445" fmla="*/ 1483788 w 7467600"/>
              <a:gd name="connsiteY445" fmla="*/ 6259174 h 6858000"/>
              <a:gd name="connsiteX446" fmla="*/ 1100671 w 7467600"/>
              <a:gd name="connsiteY446" fmla="*/ 6252137 h 6858000"/>
              <a:gd name="connsiteX447" fmla="*/ 1090144 w 7467600"/>
              <a:gd name="connsiteY447" fmla="*/ 6256748 h 6858000"/>
              <a:gd name="connsiteX448" fmla="*/ 1095872 w 7467600"/>
              <a:gd name="connsiteY448" fmla="*/ 6271892 h 6858000"/>
              <a:gd name="connsiteX449" fmla="*/ 262785 w 7467600"/>
              <a:gd name="connsiteY449" fmla="*/ 6845450 h 6858000"/>
              <a:gd name="connsiteX450" fmla="*/ 209968 w 7467600"/>
              <a:gd name="connsiteY450" fmla="*/ 6770713 h 6858000"/>
              <a:gd name="connsiteX451" fmla="*/ 873460 w 7467600"/>
              <a:gd name="connsiteY451" fmla="*/ 6253768 h 6858000"/>
              <a:gd name="connsiteX452" fmla="*/ 192686 w 7467600"/>
              <a:gd name="connsiteY452" fmla="*/ 5849257 h 6858000"/>
              <a:gd name="connsiteX453" fmla="*/ 4696 w 7467600"/>
              <a:gd name="connsiteY453" fmla="*/ 5697668 h 6858000"/>
              <a:gd name="connsiteX454" fmla="*/ 0 w 7467600"/>
              <a:gd name="connsiteY454" fmla="*/ 5689984 h 6858000"/>
              <a:gd name="connsiteX455" fmla="*/ 0 w 7467600"/>
              <a:gd name="connsiteY455" fmla="*/ 5513472 h 6858000"/>
              <a:gd name="connsiteX456" fmla="*/ 174101 w 7467600"/>
              <a:gd name="connsiteY456" fmla="*/ 5620277 h 6858000"/>
              <a:gd name="connsiteX457" fmla="*/ 891800 w 7467600"/>
              <a:gd name="connsiteY457" fmla="*/ 6036935 h 6858000"/>
              <a:gd name="connsiteX458" fmla="*/ 1072219 w 7467600"/>
              <a:gd name="connsiteY458" fmla="*/ 6169443 h 6858000"/>
              <a:gd name="connsiteX459" fmla="*/ 1074117 w 7467600"/>
              <a:gd name="connsiteY459" fmla="*/ 6170301 h 6858000"/>
              <a:gd name="connsiteX460" fmla="*/ 1083114 w 7467600"/>
              <a:gd name="connsiteY460" fmla="*/ 6174131 h 6858000"/>
              <a:gd name="connsiteX461" fmla="*/ 1543010 w 7467600"/>
              <a:gd name="connsiteY461" fmla="*/ 6191140 h 6858000"/>
              <a:gd name="connsiteX462" fmla="*/ 1551080 w 7467600"/>
              <a:gd name="connsiteY462" fmla="*/ 6195006 h 6858000"/>
              <a:gd name="connsiteX463" fmla="*/ 2345443 w 7467600"/>
              <a:gd name="connsiteY463" fmla="*/ 5549882 h 6858000"/>
              <a:gd name="connsiteX464" fmla="*/ 1721499 w 7467600"/>
              <a:gd name="connsiteY464" fmla="*/ 5599969 h 6858000"/>
              <a:gd name="connsiteX465" fmla="*/ 767716 w 7467600"/>
              <a:gd name="connsiteY465" fmla="*/ 5472768 h 6858000"/>
              <a:gd name="connsiteX466" fmla="*/ 722147 w 7467600"/>
              <a:gd name="connsiteY466" fmla="*/ 5393091 h 6858000"/>
              <a:gd name="connsiteX467" fmla="*/ 1485552 w 7467600"/>
              <a:gd name="connsiteY467" fmla="*/ 5313202 h 6858000"/>
              <a:gd name="connsiteX468" fmla="*/ 2143004 w 7467600"/>
              <a:gd name="connsiteY468" fmla="*/ 5402420 h 6858000"/>
              <a:gd name="connsiteX469" fmla="*/ 1933391 w 7467600"/>
              <a:gd name="connsiteY469" fmla="*/ 5156971 h 6858000"/>
              <a:gd name="connsiteX470" fmla="*/ 1827118 w 7467600"/>
              <a:gd name="connsiteY470" fmla="*/ 4968410 h 6858000"/>
              <a:gd name="connsiteX471" fmla="*/ 1837349 w 7467600"/>
              <a:gd name="connsiteY471" fmla="*/ 4956357 h 6858000"/>
              <a:gd name="connsiteX472" fmla="*/ 2162835 w 7467600"/>
              <a:gd name="connsiteY472" fmla="*/ 5187853 h 6858000"/>
              <a:gd name="connsiteX473" fmla="*/ 2257167 w 7467600"/>
              <a:gd name="connsiteY473" fmla="*/ 5462123 h 6858000"/>
              <a:gd name="connsiteX474" fmla="*/ 2261598 w 7467600"/>
              <a:gd name="connsiteY474" fmla="*/ 5467998 h 6858000"/>
              <a:gd name="connsiteX475" fmla="*/ 2437177 w 7467600"/>
              <a:gd name="connsiteY475" fmla="*/ 5479608 h 6858000"/>
              <a:gd name="connsiteX476" fmla="*/ 2445247 w 7467600"/>
              <a:gd name="connsiteY476" fmla="*/ 5483476 h 6858000"/>
              <a:gd name="connsiteX477" fmla="*/ 2743626 w 7467600"/>
              <a:gd name="connsiteY477" fmla="*/ 5304819 h 6858000"/>
              <a:gd name="connsiteX478" fmla="*/ 3048102 w 7467600"/>
              <a:gd name="connsiteY478" fmla="*/ 5150595 h 6858000"/>
              <a:gd name="connsiteX479" fmla="*/ 1799414 w 7467600"/>
              <a:gd name="connsiteY479" fmla="*/ 4694732 h 6858000"/>
              <a:gd name="connsiteX480" fmla="*/ 1771735 w 7467600"/>
              <a:gd name="connsiteY480" fmla="*/ 4619929 h 6858000"/>
              <a:gd name="connsiteX481" fmla="*/ 3104273 w 7467600"/>
              <a:gd name="connsiteY481" fmla="*/ 5076159 h 6858000"/>
              <a:gd name="connsiteX482" fmla="*/ 3113245 w 7467600"/>
              <a:gd name="connsiteY482" fmla="*/ 5090705 h 6858000"/>
              <a:gd name="connsiteX483" fmla="*/ 3126294 w 7467600"/>
              <a:gd name="connsiteY483" fmla="*/ 5114400 h 6858000"/>
              <a:gd name="connsiteX484" fmla="*/ 3937433 w 7467600"/>
              <a:gd name="connsiteY484" fmla="*/ 4830473 h 6858000"/>
              <a:gd name="connsiteX485" fmla="*/ 3590475 w 7467600"/>
              <a:gd name="connsiteY485" fmla="*/ 4597974 h 6858000"/>
              <a:gd name="connsiteX486" fmla="*/ 3100264 w 7467600"/>
              <a:gd name="connsiteY486" fmla="*/ 4579845 h 6858000"/>
              <a:gd name="connsiteX487" fmla="*/ 2183576 w 7467600"/>
              <a:gd name="connsiteY487" fmla="*/ 4227150 h 6858000"/>
              <a:gd name="connsiteX488" fmla="*/ 2151029 w 7467600"/>
              <a:gd name="connsiteY488" fmla="*/ 4146947 h 6858000"/>
              <a:gd name="connsiteX489" fmla="*/ 3563434 w 7467600"/>
              <a:gd name="connsiteY489" fmla="*/ 4469115 h 6858000"/>
              <a:gd name="connsiteX490" fmla="*/ 3177952 w 7467600"/>
              <a:gd name="connsiteY490" fmla="*/ 3657386 h 6858000"/>
              <a:gd name="connsiteX491" fmla="*/ 3189263 w 7467600"/>
              <a:gd name="connsiteY491" fmla="*/ 3625726 h 6858000"/>
              <a:gd name="connsiteX492" fmla="*/ 3560912 w 7467600"/>
              <a:gd name="connsiteY492" fmla="*/ 4079863 h 6858000"/>
              <a:gd name="connsiteX493" fmla="*/ 3626636 w 7467600"/>
              <a:gd name="connsiteY493" fmla="*/ 4512230 h 6858000"/>
              <a:gd name="connsiteX494" fmla="*/ 3653088 w 7467600"/>
              <a:gd name="connsiteY494" fmla="*/ 4521417 h 6858000"/>
              <a:gd name="connsiteX495" fmla="*/ 3988128 w 7467600"/>
              <a:gd name="connsiteY495" fmla="*/ 4817267 h 6858000"/>
              <a:gd name="connsiteX496" fmla="*/ 4830582 w 7467600"/>
              <a:gd name="connsiteY496" fmla="*/ 4676000 h 6858000"/>
              <a:gd name="connsiteX497" fmla="*/ 4830100 w 7467600"/>
              <a:gd name="connsiteY497" fmla="*/ 4675554 h 6858000"/>
              <a:gd name="connsiteX498" fmla="*/ 4036318 w 7467600"/>
              <a:gd name="connsiteY498" fmla="*/ 4147013 h 6858000"/>
              <a:gd name="connsiteX499" fmla="*/ 3432098 w 7467600"/>
              <a:gd name="connsiteY499" fmla="*/ 3537312 h 6858000"/>
              <a:gd name="connsiteX500" fmla="*/ 3446761 w 7467600"/>
              <a:gd name="connsiteY500" fmla="*/ 3461278 h 6858000"/>
              <a:gd name="connsiteX501" fmla="*/ 4419733 w 7467600"/>
              <a:gd name="connsiteY501" fmla="*/ 3963555 h 6858000"/>
              <a:gd name="connsiteX502" fmla="*/ 4781371 w 7467600"/>
              <a:gd name="connsiteY502" fmla="*/ 4458604 h 6858000"/>
              <a:gd name="connsiteX503" fmla="*/ 4780440 w 7467600"/>
              <a:gd name="connsiteY503" fmla="*/ 4470290 h 6858000"/>
              <a:gd name="connsiteX504" fmla="*/ 4898954 w 7467600"/>
              <a:gd name="connsiteY504" fmla="*/ 4662092 h 6858000"/>
              <a:gd name="connsiteX505" fmla="*/ 4900699 w 7467600"/>
              <a:gd name="connsiteY505" fmla="*/ 4670867 h 6858000"/>
              <a:gd name="connsiteX506" fmla="*/ 5714511 w 7467600"/>
              <a:gd name="connsiteY506" fmla="*/ 4663483 h 6858000"/>
              <a:gd name="connsiteX507" fmla="*/ 5464793 w 7467600"/>
              <a:gd name="connsiteY507" fmla="*/ 4393556 h 6858000"/>
              <a:gd name="connsiteX508" fmla="*/ 5461897 w 7467600"/>
              <a:gd name="connsiteY508" fmla="*/ 4390879 h 6858000"/>
              <a:gd name="connsiteX509" fmla="*/ 4294126 w 7467600"/>
              <a:gd name="connsiteY509" fmla="*/ 3303048 h 6858000"/>
              <a:gd name="connsiteX510" fmla="*/ 4305321 w 7467600"/>
              <a:gd name="connsiteY510" fmla="*/ 3256953 h 6858000"/>
              <a:gd name="connsiteX511" fmla="*/ 4949299 w 7467600"/>
              <a:gd name="connsiteY511" fmla="*/ 3766336 h 6858000"/>
              <a:gd name="connsiteX512" fmla="*/ 5291452 w 7467600"/>
              <a:gd name="connsiteY512" fmla="*/ 4076801 h 6858000"/>
              <a:gd name="connsiteX513" fmla="*/ 5434998 w 7467600"/>
              <a:gd name="connsiteY513" fmla="*/ 4254100 h 6858000"/>
              <a:gd name="connsiteX514" fmla="*/ 5351015 w 7467600"/>
              <a:gd name="connsiteY514" fmla="*/ 3760989 h 6858000"/>
              <a:gd name="connsiteX515" fmla="*/ 5413780 w 7467600"/>
              <a:gd name="connsiteY515" fmla="*/ 2966265 h 6858000"/>
              <a:gd name="connsiteX516" fmla="*/ 5425627 w 7467600"/>
              <a:gd name="connsiteY516" fmla="*/ 2954192 h 6858000"/>
              <a:gd name="connsiteX517" fmla="*/ 6604735 w 7467600"/>
              <a:gd name="connsiteY517" fmla="*/ 2041381 h 6858000"/>
              <a:gd name="connsiteX518" fmla="*/ 7204487 w 7467600"/>
              <a:gd name="connsiteY518" fmla="*/ 2742112 h 6858000"/>
              <a:gd name="connsiteX519" fmla="*/ 7131592 w 7467600"/>
              <a:gd name="connsiteY519" fmla="*/ 2672096 h 6858000"/>
              <a:gd name="connsiteX520" fmla="*/ 6996344 w 7467600"/>
              <a:gd name="connsiteY520" fmla="*/ 2518310 h 6858000"/>
              <a:gd name="connsiteX521" fmla="*/ 6735495 w 7467600"/>
              <a:gd name="connsiteY521" fmla="*/ 2196890 h 6858000"/>
              <a:gd name="connsiteX522" fmla="*/ 6721901 w 7467600"/>
              <a:gd name="connsiteY522" fmla="*/ 2179274 h 6858000"/>
              <a:gd name="connsiteX523" fmla="*/ 6604735 w 7467600"/>
              <a:gd name="connsiteY523" fmla="*/ 2041381 h 6858000"/>
              <a:gd name="connsiteX524" fmla="*/ 6591670 w 7467600"/>
              <a:gd name="connsiteY524" fmla="*/ 1988277 h 6858000"/>
              <a:gd name="connsiteX525" fmla="*/ 6747349 w 7467600"/>
              <a:gd name="connsiteY525" fmla="*/ 2160069 h 6858000"/>
              <a:gd name="connsiteX526" fmla="*/ 6760943 w 7467600"/>
              <a:gd name="connsiteY526" fmla="*/ 2177686 h 6858000"/>
              <a:gd name="connsiteX527" fmla="*/ 7021065 w 7467600"/>
              <a:gd name="connsiteY527" fmla="*/ 2498102 h 6858000"/>
              <a:gd name="connsiteX528" fmla="*/ 7155223 w 7467600"/>
              <a:gd name="connsiteY528" fmla="*/ 2650386 h 6858000"/>
              <a:gd name="connsiteX529" fmla="*/ 7203167 w 7467600"/>
              <a:gd name="connsiteY529" fmla="*/ 2697288 h 6858000"/>
              <a:gd name="connsiteX530" fmla="*/ 6937703 w 7467600"/>
              <a:gd name="connsiteY530" fmla="*/ 2321981 h 6858000"/>
              <a:gd name="connsiteX531" fmla="*/ 6591670 w 7467600"/>
              <a:gd name="connsiteY531" fmla="*/ 1988277 h 6858000"/>
              <a:gd name="connsiteX532" fmla="*/ 5798671 w 7467600"/>
              <a:gd name="connsiteY532" fmla="*/ 1981601 h 6858000"/>
              <a:gd name="connsiteX533" fmla="*/ 5754709 w 7467600"/>
              <a:gd name="connsiteY533" fmla="*/ 2071454 h 6858000"/>
              <a:gd name="connsiteX534" fmla="*/ 5763044 w 7467600"/>
              <a:gd name="connsiteY534" fmla="*/ 2842206 h 6858000"/>
              <a:gd name="connsiteX535" fmla="*/ 5764974 w 7467600"/>
              <a:gd name="connsiteY535" fmla="*/ 2799609 h 6858000"/>
              <a:gd name="connsiteX536" fmla="*/ 5767665 w 7467600"/>
              <a:gd name="connsiteY536" fmla="*/ 2666409 h 6858000"/>
              <a:gd name="connsiteX537" fmla="*/ 5763055 w 7467600"/>
              <a:gd name="connsiteY537" fmla="*/ 2579705 h 6858000"/>
              <a:gd name="connsiteX538" fmla="*/ 5758079 w 7467600"/>
              <a:gd name="connsiteY538" fmla="*/ 2492508 h 6858000"/>
              <a:gd name="connsiteX539" fmla="*/ 5779325 w 7467600"/>
              <a:gd name="connsiteY539" fmla="*/ 2197069 h 6858000"/>
              <a:gd name="connsiteX540" fmla="*/ 5798671 w 7467600"/>
              <a:gd name="connsiteY540" fmla="*/ 1981601 h 6858000"/>
              <a:gd name="connsiteX541" fmla="*/ 5829202 w 7467600"/>
              <a:gd name="connsiteY541" fmla="*/ 1971679 h 6858000"/>
              <a:gd name="connsiteX542" fmla="*/ 5809558 w 7467600"/>
              <a:gd name="connsiteY542" fmla="*/ 2198043 h 6858000"/>
              <a:gd name="connsiteX543" fmla="*/ 5788653 w 7467600"/>
              <a:gd name="connsiteY543" fmla="*/ 2489430 h 6858000"/>
              <a:gd name="connsiteX544" fmla="*/ 5793439 w 7467600"/>
              <a:gd name="connsiteY544" fmla="*/ 2575235 h 6858000"/>
              <a:gd name="connsiteX545" fmla="*/ 5796837 w 7467600"/>
              <a:gd name="connsiteY545" fmla="*/ 2637633 h 6858000"/>
              <a:gd name="connsiteX546" fmla="*/ 5818614 w 7467600"/>
              <a:gd name="connsiteY546" fmla="*/ 2473055 h 6858000"/>
              <a:gd name="connsiteX547" fmla="*/ 5829202 w 7467600"/>
              <a:gd name="connsiteY547" fmla="*/ 1971679 h 6858000"/>
              <a:gd name="connsiteX548" fmla="*/ 5911389 w 7467600"/>
              <a:gd name="connsiteY548" fmla="*/ 1898371 h 6858000"/>
              <a:gd name="connsiteX549" fmla="*/ 6237627 w 7467600"/>
              <a:gd name="connsiteY549" fmla="*/ 2231921 h 6858000"/>
              <a:gd name="connsiteX550" fmla="*/ 5911389 w 7467600"/>
              <a:gd name="connsiteY550" fmla="*/ 1898371 h 6858000"/>
              <a:gd name="connsiteX551" fmla="*/ 6944437 w 7467600"/>
              <a:gd name="connsiteY551" fmla="*/ 1575402 h 6858000"/>
              <a:gd name="connsiteX552" fmla="*/ 6304730 w 7467600"/>
              <a:gd name="connsiteY552" fmla="*/ 1766654 h 6858000"/>
              <a:gd name="connsiteX553" fmla="*/ 6944437 w 7467600"/>
              <a:gd name="connsiteY553" fmla="*/ 1575402 h 6858000"/>
              <a:gd name="connsiteX554" fmla="*/ 7019523 w 7467600"/>
              <a:gd name="connsiteY554" fmla="*/ 1519450 h 6858000"/>
              <a:gd name="connsiteX555" fmla="*/ 6298091 w 7467600"/>
              <a:gd name="connsiteY555" fmla="*/ 1737122 h 6858000"/>
              <a:gd name="connsiteX556" fmla="*/ 7019523 w 7467600"/>
              <a:gd name="connsiteY556" fmla="*/ 1519450 h 6858000"/>
              <a:gd name="connsiteX557" fmla="*/ 2399523 w 7467600"/>
              <a:gd name="connsiteY557" fmla="*/ 1428234 h 6858000"/>
              <a:gd name="connsiteX558" fmla="*/ 2224982 w 7467600"/>
              <a:gd name="connsiteY558" fmla="*/ 1826201 h 6858000"/>
              <a:gd name="connsiteX559" fmla="*/ 2096099 w 7467600"/>
              <a:gd name="connsiteY559" fmla="*/ 2345900 h 6858000"/>
              <a:gd name="connsiteX560" fmla="*/ 2283317 w 7467600"/>
              <a:gd name="connsiteY560" fmla="*/ 1796925 h 6858000"/>
              <a:gd name="connsiteX561" fmla="*/ 2399523 w 7467600"/>
              <a:gd name="connsiteY561" fmla="*/ 1428234 h 6858000"/>
              <a:gd name="connsiteX562" fmla="*/ 2448558 w 7467600"/>
              <a:gd name="connsiteY562" fmla="*/ 1373435 h 6858000"/>
              <a:gd name="connsiteX563" fmla="*/ 2312521 w 7467600"/>
              <a:gd name="connsiteY563" fmla="*/ 1806140 h 6858000"/>
              <a:gd name="connsiteX564" fmla="*/ 2127533 w 7467600"/>
              <a:gd name="connsiteY564" fmla="*/ 2348380 h 6858000"/>
              <a:gd name="connsiteX565" fmla="*/ 2358080 w 7467600"/>
              <a:gd name="connsiteY565" fmla="*/ 1866134 h 6858000"/>
              <a:gd name="connsiteX566" fmla="*/ 2407436 w 7467600"/>
              <a:gd name="connsiteY566" fmla="*/ 1651070 h 6858000"/>
              <a:gd name="connsiteX567" fmla="*/ 2448558 w 7467600"/>
              <a:gd name="connsiteY567" fmla="*/ 1373435 h 6858000"/>
              <a:gd name="connsiteX568" fmla="*/ 278707 w 7467600"/>
              <a:gd name="connsiteY568" fmla="*/ 1352270 h 6858000"/>
              <a:gd name="connsiteX569" fmla="*/ 321570 w 7467600"/>
              <a:gd name="connsiteY569" fmla="*/ 1861610 h 6858000"/>
              <a:gd name="connsiteX570" fmla="*/ 294281 w 7467600"/>
              <a:gd name="connsiteY570" fmla="*/ 1440658 h 6858000"/>
              <a:gd name="connsiteX571" fmla="*/ 278707 w 7467600"/>
              <a:gd name="connsiteY571" fmla="*/ 1352270 h 6858000"/>
              <a:gd name="connsiteX572" fmla="*/ 1423821 w 7467600"/>
              <a:gd name="connsiteY572" fmla="*/ 1351958 h 6858000"/>
              <a:gd name="connsiteX573" fmla="*/ 1638521 w 7467600"/>
              <a:gd name="connsiteY573" fmla="*/ 1908470 h 6858000"/>
              <a:gd name="connsiteX574" fmla="*/ 1754199 w 7467600"/>
              <a:gd name="connsiteY574" fmla="*/ 2149284 h 6858000"/>
              <a:gd name="connsiteX575" fmla="*/ 1908359 w 7467600"/>
              <a:gd name="connsiteY575" fmla="*/ 2364988 h 6858000"/>
              <a:gd name="connsiteX576" fmla="*/ 1647661 w 7467600"/>
              <a:gd name="connsiteY576" fmla="*/ 1825945 h 6858000"/>
              <a:gd name="connsiteX577" fmla="*/ 1423821 w 7467600"/>
              <a:gd name="connsiteY577" fmla="*/ 1351958 h 6858000"/>
              <a:gd name="connsiteX578" fmla="*/ 1431890 w 7467600"/>
              <a:gd name="connsiteY578" fmla="*/ 1306475 h 6858000"/>
              <a:gd name="connsiteX579" fmla="*/ 1507597 w 7467600"/>
              <a:gd name="connsiteY579" fmla="*/ 1446132 h 6858000"/>
              <a:gd name="connsiteX580" fmla="*/ 1674586 w 7467600"/>
              <a:gd name="connsiteY580" fmla="*/ 1813832 h 6858000"/>
              <a:gd name="connsiteX581" fmla="*/ 1815950 w 7467600"/>
              <a:gd name="connsiteY581" fmla="*/ 2128564 h 6858000"/>
              <a:gd name="connsiteX582" fmla="*/ 1984242 w 7467600"/>
              <a:gd name="connsiteY582" fmla="*/ 2430829 h 6858000"/>
              <a:gd name="connsiteX583" fmla="*/ 2014023 w 7467600"/>
              <a:gd name="connsiteY583" fmla="*/ 2450995 h 6858000"/>
              <a:gd name="connsiteX584" fmla="*/ 1747337 w 7467600"/>
              <a:gd name="connsiteY584" fmla="*/ 1855264 h 6858000"/>
              <a:gd name="connsiteX585" fmla="*/ 1533749 w 7467600"/>
              <a:gd name="connsiteY585" fmla="*/ 1478656 h 6858000"/>
              <a:gd name="connsiteX586" fmla="*/ 1431890 w 7467600"/>
              <a:gd name="connsiteY586" fmla="*/ 1306475 h 6858000"/>
              <a:gd name="connsiteX587" fmla="*/ 5052692 w 7467600"/>
              <a:gd name="connsiteY587" fmla="*/ 1292994 h 6858000"/>
              <a:gd name="connsiteX588" fmla="*/ 5200661 w 7467600"/>
              <a:gd name="connsiteY588" fmla="*/ 1635186 h 6858000"/>
              <a:gd name="connsiteX589" fmla="*/ 5297138 w 7467600"/>
              <a:gd name="connsiteY589" fmla="*/ 1906351 h 6858000"/>
              <a:gd name="connsiteX590" fmla="*/ 5052692 w 7467600"/>
              <a:gd name="connsiteY590" fmla="*/ 1292994 h 6858000"/>
              <a:gd name="connsiteX591" fmla="*/ 5009948 w 7467600"/>
              <a:gd name="connsiteY591" fmla="*/ 1273619 h 6858000"/>
              <a:gd name="connsiteX592" fmla="*/ 5121777 w 7467600"/>
              <a:gd name="connsiteY592" fmla="*/ 1654213 h 6858000"/>
              <a:gd name="connsiteX593" fmla="*/ 5293545 w 7467600"/>
              <a:gd name="connsiteY593" fmla="*/ 2072247 h 6858000"/>
              <a:gd name="connsiteX594" fmla="*/ 5294042 w 7467600"/>
              <a:gd name="connsiteY594" fmla="*/ 2065019 h 6858000"/>
              <a:gd name="connsiteX595" fmla="*/ 5171936 w 7467600"/>
              <a:gd name="connsiteY595" fmla="*/ 1647613 h 6858000"/>
              <a:gd name="connsiteX596" fmla="*/ 5009948 w 7467600"/>
              <a:gd name="connsiteY596" fmla="*/ 1273619 h 6858000"/>
              <a:gd name="connsiteX597" fmla="*/ 655236 w 7467600"/>
              <a:gd name="connsiteY597" fmla="*/ 1268632 h 6858000"/>
              <a:gd name="connsiteX598" fmla="*/ 839521 w 7467600"/>
              <a:gd name="connsiteY598" fmla="*/ 1685315 h 6858000"/>
              <a:gd name="connsiteX599" fmla="*/ 1109416 w 7467600"/>
              <a:gd name="connsiteY599" fmla="*/ 2061663 h 6858000"/>
              <a:gd name="connsiteX600" fmla="*/ 1298300 w 7467600"/>
              <a:gd name="connsiteY600" fmla="*/ 2247742 h 6858000"/>
              <a:gd name="connsiteX601" fmla="*/ 1125871 w 7467600"/>
              <a:gd name="connsiteY601" fmla="*/ 1989513 h 6858000"/>
              <a:gd name="connsiteX602" fmla="*/ 981574 w 7467600"/>
              <a:gd name="connsiteY602" fmla="*/ 1783157 h 6858000"/>
              <a:gd name="connsiteX603" fmla="*/ 922198 w 7467600"/>
              <a:gd name="connsiteY603" fmla="*/ 1677437 h 6858000"/>
              <a:gd name="connsiteX604" fmla="*/ 869293 w 7467600"/>
              <a:gd name="connsiteY604" fmla="*/ 1583214 h 6858000"/>
              <a:gd name="connsiteX605" fmla="*/ 751431 w 7467600"/>
              <a:gd name="connsiteY605" fmla="*/ 1405731 h 6858000"/>
              <a:gd name="connsiteX606" fmla="*/ 655236 w 7467600"/>
              <a:gd name="connsiteY606" fmla="*/ 1268632 h 6858000"/>
              <a:gd name="connsiteX607" fmla="*/ 6516292 w 7467600"/>
              <a:gd name="connsiteY607" fmla="*/ 1263064 h 6858000"/>
              <a:gd name="connsiteX608" fmla="*/ 5736320 w 7467600"/>
              <a:gd name="connsiteY608" fmla="*/ 1501803 h 6858000"/>
              <a:gd name="connsiteX609" fmla="*/ 6516292 w 7467600"/>
              <a:gd name="connsiteY609" fmla="*/ 1263064 h 6858000"/>
              <a:gd name="connsiteX610" fmla="*/ 291466 w 7467600"/>
              <a:gd name="connsiteY610" fmla="*/ 1250369 h 6858000"/>
              <a:gd name="connsiteX611" fmla="*/ 323180 w 7467600"/>
              <a:gd name="connsiteY611" fmla="*/ 1435283 h 6858000"/>
              <a:gd name="connsiteX612" fmla="*/ 349381 w 7467600"/>
              <a:gd name="connsiteY612" fmla="*/ 1875041 h 6858000"/>
              <a:gd name="connsiteX613" fmla="*/ 374363 w 7467600"/>
              <a:gd name="connsiteY613" fmla="*/ 1506494 h 6858000"/>
              <a:gd name="connsiteX614" fmla="*/ 302168 w 7467600"/>
              <a:gd name="connsiteY614" fmla="*/ 1274495 h 6858000"/>
              <a:gd name="connsiteX615" fmla="*/ 291466 w 7467600"/>
              <a:gd name="connsiteY615" fmla="*/ 1250369 h 6858000"/>
              <a:gd name="connsiteX616" fmla="*/ 678222 w 7467600"/>
              <a:gd name="connsiteY616" fmla="*/ 1248670 h 6858000"/>
              <a:gd name="connsiteX617" fmla="*/ 775536 w 7467600"/>
              <a:gd name="connsiteY617" fmla="*/ 1388015 h 6858000"/>
              <a:gd name="connsiteX618" fmla="*/ 894529 w 7467600"/>
              <a:gd name="connsiteY618" fmla="*/ 1567739 h 6858000"/>
              <a:gd name="connsiteX619" fmla="*/ 948000 w 7467600"/>
              <a:gd name="connsiteY619" fmla="*/ 1663088 h 6858000"/>
              <a:gd name="connsiteX620" fmla="*/ 1006812 w 7467600"/>
              <a:gd name="connsiteY620" fmla="*/ 1767683 h 6858000"/>
              <a:gd name="connsiteX621" fmla="*/ 1149133 w 7467600"/>
              <a:gd name="connsiteY621" fmla="*/ 1971513 h 6858000"/>
              <a:gd name="connsiteX622" fmla="*/ 1333952 w 7467600"/>
              <a:gd name="connsiteY622" fmla="*/ 2251620 h 6858000"/>
              <a:gd name="connsiteX623" fmla="*/ 1337329 w 7467600"/>
              <a:gd name="connsiteY623" fmla="*/ 2258350 h 6858000"/>
              <a:gd name="connsiteX624" fmla="*/ 1014726 w 7467600"/>
              <a:gd name="connsiteY624" fmla="*/ 1615556 h 6858000"/>
              <a:gd name="connsiteX625" fmla="*/ 678222 w 7467600"/>
              <a:gd name="connsiteY625" fmla="*/ 1248670 h 6858000"/>
              <a:gd name="connsiteX626" fmla="*/ 6691602 w 7467600"/>
              <a:gd name="connsiteY626" fmla="*/ 1140573 h 6858000"/>
              <a:gd name="connsiteX627" fmla="*/ 6571100 w 7467600"/>
              <a:gd name="connsiteY627" fmla="*/ 1183662 h 6858000"/>
              <a:gd name="connsiteX628" fmla="*/ 6241687 w 7467600"/>
              <a:gd name="connsiteY628" fmla="*/ 1257600 h 6858000"/>
              <a:gd name="connsiteX629" fmla="*/ 5693009 w 7467600"/>
              <a:gd name="connsiteY629" fmla="*/ 1478256 h 6858000"/>
              <a:gd name="connsiteX630" fmla="*/ 6548420 w 7467600"/>
              <a:gd name="connsiteY630" fmla="*/ 1214599 h 6858000"/>
              <a:gd name="connsiteX631" fmla="*/ 6605473 w 7467600"/>
              <a:gd name="connsiteY631" fmla="*/ 1184686 h 6858000"/>
              <a:gd name="connsiteX632" fmla="*/ 6691602 w 7467600"/>
              <a:gd name="connsiteY632" fmla="*/ 1140573 h 6858000"/>
              <a:gd name="connsiteX633" fmla="*/ 4002475 w 7467600"/>
              <a:gd name="connsiteY633" fmla="*/ 1037802 h 6858000"/>
              <a:gd name="connsiteX634" fmla="*/ 4000324 w 7467600"/>
              <a:gd name="connsiteY634" fmla="*/ 1039362 h 6858000"/>
              <a:gd name="connsiteX635" fmla="*/ 4002862 w 7467600"/>
              <a:gd name="connsiteY635" fmla="*/ 1042866 h 6858000"/>
              <a:gd name="connsiteX636" fmla="*/ 4002475 w 7467600"/>
              <a:gd name="connsiteY636" fmla="*/ 1037802 h 6858000"/>
              <a:gd name="connsiteX637" fmla="*/ 506322 w 7467600"/>
              <a:gd name="connsiteY637" fmla="*/ 1020997 h 6858000"/>
              <a:gd name="connsiteX638" fmla="*/ 533068 w 7467600"/>
              <a:gd name="connsiteY638" fmla="*/ 1029409 h 6858000"/>
              <a:gd name="connsiteX639" fmla="*/ 1232525 w 7467600"/>
              <a:gd name="connsiteY639" fmla="*/ 1804675 h 6858000"/>
              <a:gd name="connsiteX640" fmla="*/ 1388858 w 7467600"/>
              <a:gd name="connsiteY640" fmla="*/ 2368011 h 6858000"/>
              <a:gd name="connsiteX641" fmla="*/ 1384098 w 7467600"/>
              <a:gd name="connsiteY641" fmla="*/ 2378125 h 6858000"/>
              <a:gd name="connsiteX642" fmla="*/ 1425393 w 7467600"/>
              <a:gd name="connsiteY642" fmla="*/ 2589124 h 6858000"/>
              <a:gd name="connsiteX643" fmla="*/ 1424001 w 7467600"/>
              <a:gd name="connsiteY643" fmla="*/ 2597541 h 6858000"/>
              <a:gd name="connsiteX644" fmla="*/ 2152729 w 7467600"/>
              <a:gd name="connsiteY644" fmla="*/ 2864487 h 6858000"/>
              <a:gd name="connsiteX645" fmla="*/ 2020609 w 7467600"/>
              <a:gd name="connsiteY645" fmla="*/ 2539671 h 6858000"/>
              <a:gd name="connsiteX646" fmla="*/ 2018920 w 7467600"/>
              <a:gd name="connsiteY646" fmla="*/ 2536309 h 6858000"/>
              <a:gd name="connsiteX647" fmla="*/ 1342441 w 7467600"/>
              <a:gd name="connsiteY647" fmla="*/ 1173017 h 6858000"/>
              <a:gd name="connsiteX648" fmla="*/ 1367925 w 7467600"/>
              <a:gd name="connsiteY648" fmla="*/ 1135648 h 6858000"/>
              <a:gd name="connsiteX649" fmla="*/ 1771401 w 7467600"/>
              <a:gd name="connsiteY649" fmla="*/ 1806673 h 6858000"/>
              <a:gd name="connsiteX650" fmla="*/ 1972385 w 7467600"/>
              <a:gd name="connsiteY650" fmla="*/ 2198735 h 6858000"/>
              <a:gd name="connsiteX651" fmla="*/ 2040892 w 7467600"/>
              <a:gd name="connsiteY651" fmla="*/ 2405205 h 6858000"/>
              <a:gd name="connsiteX652" fmla="*/ 2131689 w 7467600"/>
              <a:gd name="connsiteY652" fmla="*/ 1936926 h 6858000"/>
              <a:gd name="connsiteX653" fmla="*/ 2454820 w 7467600"/>
              <a:gd name="connsiteY653" fmla="*/ 1248808 h 6858000"/>
              <a:gd name="connsiteX654" fmla="*/ 2492512 w 7467600"/>
              <a:gd name="connsiteY654" fmla="*/ 1302920 h 6858000"/>
              <a:gd name="connsiteX655" fmla="*/ 2081216 w 7467600"/>
              <a:gd name="connsiteY655" fmla="*/ 2527513 h 6858000"/>
              <a:gd name="connsiteX656" fmla="*/ 2081211 w 7467600"/>
              <a:gd name="connsiteY656" fmla="*/ 2528916 h 6858000"/>
              <a:gd name="connsiteX657" fmla="*/ 2199067 w 7467600"/>
              <a:gd name="connsiteY657" fmla="*/ 2884061 h 6858000"/>
              <a:gd name="connsiteX658" fmla="*/ 3192586 w 7467600"/>
              <a:gd name="connsiteY658" fmla="*/ 3411496 h 6858000"/>
              <a:gd name="connsiteX659" fmla="*/ 3182620 w 7467600"/>
              <a:gd name="connsiteY659" fmla="*/ 3483279 h 6858000"/>
              <a:gd name="connsiteX660" fmla="*/ 2435119 w 7467600"/>
              <a:gd name="connsiteY660" fmla="*/ 3080173 h 6858000"/>
              <a:gd name="connsiteX661" fmla="*/ 2410152 w 7467600"/>
              <a:gd name="connsiteY661" fmla="*/ 3063751 h 6858000"/>
              <a:gd name="connsiteX662" fmla="*/ 2408099 w 7467600"/>
              <a:gd name="connsiteY662" fmla="*/ 3064403 h 6858000"/>
              <a:gd name="connsiteX663" fmla="*/ 2407218 w 7467600"/>
              <a:gd name="connsiteY663" fmla="*/ 3070324 h 6858000"/>
              <a:gd name="connsiteX664" fmla="*/ 2380138 w 7467600"/>
              <a:gd name="connsiteY664" fmla="*/ 3099341 h 6858000"/>
              <a:gd name="connsiteX665" fmla="*/ 1765923 w 7467600"/>
              <a:gd name="connsiteY665" fmla="*/ 3581043 h 6858000"/>
              <a:gd name="connsiteX666" fmla="*/ 1702258 w 7467600"/>
              <a:gd name="connsiteY666" fmla="*/ 3612286 h 6858000"/>
              <a:gd name="connsiteX667" fmla="*/ 1538370 w 7467600"/>
              <a:gd name="connsiteY667" fmla="*/ 3811804 h 6858000"/>
              <a:gd name="connsiteX668" fmla="*/ 542867 w 7467600"/>
              <a:gd name="connsiteY668" fmla="*/ 4944092 h 6858000"/>
              <a:gd name="connsiteX669" fmla="*/ 515800 w 7467600"/>
              <a:gd name="connsiteY669" fmla="*/ 4862180 h 6858000"/>
              <a:gd name="connsiteX670" fmla="*/ 909145 w 7467600"/>
              <a:gd name="connsiteY670" fmla="*/ 4199225 h 6858000"/>
              <a:gd name="connsiteX671" fmla="*/ 1214067 w 7467600"/>
              <a:gd name="connsiteY671" fmla="*/ 3908561 h 6858000"/>
              <a:gd name="connsiteX672" fmla="*/ 640967 w 7467600"/>
              <a:gd name="connsiteY672" fmla="*/ 4105601 h 6858000"/>
              <a:gd name="connsiteX673" fmla="*/ 112563 w 7467600"/>
              <a:gd name="connsiteY673" fmla="*/ 4396952 h 6858000"/>
              <a:gd name="connsiteX674" fmla="*/ 0 w 7467600"/>
              <a:gd name="connsiteY674" fmla="*/ 4466006 h 6858000"/>
              <a:gd name="connsiteX675" fmla="*/ 0 w 7467600"/>
              <a:gd name="connsiteY675" fmla="*/ 4233763 h 6858000"/>
              <a:gd name="connsiteX676" fmla="*/ 36881 w 7467600"/>
              <a:gd name="connsiteY676" fmla="*/ 4200118 h 6858000"/>
              <a:gd name="connsiteX677" fmla="*/ 910534 w 7467600"/>
              <a:gd name="connsiteY677" fmla="*/ 3629753 h 6858000"/>
              <a:gd name="connsiteX678" fmla="*/ 1578717 w 7467600"/>
              <a:gd name="connsiteY678" fmla="*/ 3575982 h 6858000"/>
              <a:gd name="connsiteX679" fmla="*/ 2338780 w 7467600"/>
              <a:gd name="connsiteY679" fmla="*/ 3033725 h 6858000"/>
              <a:gd name="connsiteX680" fmla="*/ 1807991 w 7467600"/>
              <a:gd name="connsiteY680" fmla="*/ 2807184 h 6858000"/>
              <a:gd name="connsiteX681" fmla="*/ 1416358 w 7467600"/>
              <a:gd name="connsiteY681" fmla="*/ 3112571 h 6858000"/>
              <a:gd name="connsiteX682" fmla="*/ 939066 w 7467600"/>
              <a:gd name="connsiteY682" fmla="*/ 3378798 h 6858000"/>
              <a:gd name="connsiteX683" fmla="*/ 115099 w 7467600"/>
              <a:gd name="connsiteY683" fmla="*/ 3607650 h 6858000"/>
              <a:gd name="connsiteX684" fmla="*/ 97284 w 7467600"/>
              <a:gd name="connsiteY684" fmla="*/ 3520393 h 6858000"/>
              <a:gd name="connsiteX685" fmla="*/ 922050 w 7467600"/>
              <a:gd name="connsiteY685" fmla="*/ 3074867 h 6858000"/>
              <a:gd name="connsiteX686" fmla="*/ 1405265 w 7467600"/>
              <a:gd name="connsiteY686" fmla="*/ 3016319 h 6858000"/>
              <a:gd name="connsiteX687" fmla="*/ 1407512 w 7467600"/>
              <a:gd name="connsiteY687" fmla="*/ 3018001 h 6858000"/>
              <a:gd name="connsiteX688" fmla="*/ 1726266 w 7467600"/>
              <a:gd name="connsiteY688" fmla="*/ 2777274 h 6858000"/>
              <a:gd name="connsiteX689" fmla="*/ 625390 w 7467600"/>
              <a:gd name="connsiteY689" fmla="*/ 2514541 h 6858000"/>
              <a:gd name="connsiteX690" fmla="*/ 619799 w 7467600"/>
              <a:gd name="connsiteY690" fmla="*/ 2527180 h 6858000"/>
              <a:gd name="connsiteX691" fmla="*/ 310030 w 7467600"/>
              <a:gd name="connsiteY691" fmla="*/ 2771818 h 6858000"/>
              <a:gd name="connsiteX692" fmla="*/ 173877 w 7467600"/>
              <a:gd name="connsiteY692" fmla="*/ 2937056 h 6858000"/>
              <a:gd name="connsiteX693" fmla="*/ 77889 w 7467600"/>
              <a:gd name="connsiteY693" fmla="*/ 3138440 h 6858000"/>
              <a:gd name="connsiteX694" fmla="*/ 0 w 7467600"/>
              <a:gd name="connsiteY694" fmla="*/ 3271395 h 6858000"/>
              <a:gd name="connsiteX695" fmla="*/ 0 w 7467600"/>
              <a:gd name="connsiteY695" fmla="*/ 3153002 h 6858000"/>
              <a:gd name="connsiteX696" fmla="*/ 2386 w 7467600"/>
              <a:gd name="connsiteY696" fmla="*/ 3149203 h 6858000"/>
              <a:gd name="connsiteX697" fmla="*/ 89753 w 7467600"/>
              <a:gd name="connsiteY697" fmla="*/ 2987702 h 6858000"/>
              <a:gd name="connsiteX698" fmla="*/ 76869 w 7467600"/>
              <a:gd name="connsiteY698" fmla="*/ 3005404 h 6858000"/>
              <a:gd name="connsiteX699" fmla="*/ 32049 w 7467600"/>
              <a:gd name="connsiteY699" fmla="*/ 3065814 h 6858000"/>
              <a:gd name="connsiteX700" fmla="*/ 0 w 7467600"/>
              <a:gd name="connsiteY700" fmla="*/ 3108744 h 6858000"/>
              <a:gd name="connsiteX701" fmla="*/ 0 w 7467600"/>
              <a:gd name="connsiteY701" fmla="*/ 3058059 h 6858000"/>
              <a:gd name="connsiteX702" fmla="*/ 7610 w 7467600"/>
              <a:gd name="connsiteY702" fmla="*/ 3047889 h 6858000"/>
              <a:gd name="connsiteX703" fmla="*/ 52419 w 7467600"/>
              <a:gd name="connsiteY703" fmla="*/ 2987479 h 6858000"/>
              <a:gd name="connsiteX704" fmla="*/ 59142 w 7467600"/>
              <a:gd name="connsiteY704" fmla="*/ 2978488 h 6858000"/>
              <a:gd name="connsiteX705" fmla="*/ 0 w 7467600"/>
              <a:gd name="connsiteY705" fmla="*/ 3015334 h 6858000"/>
              <a:gd name="connsiteX706" fmla="*/ 0 w 7467600"/>
              <a:gd name="connsiteY706" fmla="*/ 2914286 h 6858000"/>
              <a:gd name="connsiteX707" fmla="*/ 36383 w 7467600"/>
              <a:gd name="connsiteY707" fmla="*/ 2901128 h 6858000"/>
              <a:gd name="connsiteX708" fmla="*/ 156329 w 7467600"/>
              <a:gd name="connsiteY708" fmla="*/ 2840533 h 6858000"/>
              <a:gd name="connsiteX709" fmla="*/ 358355 w 7467600"/>
              <a:gd name="connsiteY709" fmla="*/ 2620471 h 6858000"/>
              <a:gd name="connsiteX710" fmla="*/ 510577 w 7467600"/>
              <a:gd name="connsiteY710" fmla="*/ 2501244 h 6858000"/>
              <a:gd name="connsiteX711" fmla="*/ 211967 w 7467600"/>
              <a:gd name="connsiteY711" fmla="*/ 2479171 h 6858000"/>
              <a:gd name="connsiteX712" fmla="*/ 0 w 7467600"/>
              <a:gd name="connsiteY712" fmla="*/ 2476398 h 6858000"/>
              <a:gd name="connsiteX713" fmla="*/ 0 w 7467600"/>
              <a:gd name="connsiteY713" fmla="*/ 2389189 h 6858000"/>
              <a:gd name="connsiteX714" fmla="*/ 103062 w 7467600"/>
              <a:gd name="connsiteY714" fmla="*/ 2389518 h 6858000"/>
              <a:gd name="connsiteX715" fmla="*/ 510734 w 7467600"/>
              <a:gd name="connsiteY715" fmla="*/ 2416201 h 6858000"/>
              <a:gd name="connsiteX716" fmla="*/ 279257 w 7467600"/>
              <a:gd name="connsiteY716" fmla="*/ 2092102 h 6858000"/>
              <a:gd name="connsiteX717" fmla="*/ 65265 w 7467600"/>
              <a:gd name="connsiteY717" fmla="*/ 2006049 h 6858000"/>
              <a:gd name="connsiteX718" fmla="*/ 0 w 7467600"/>
              <a:gd name="connsiteY718" fmla="*/ 1982532 h 6858000"/>
              <a:gd name="connsiteX719" fmla="*/ 0 w 7467600"/>
              <a:gd name="connsiteY719" fmla="*/ 1912789 h 6858000"/>
              <a:gd name="connsiteX720" fmla="*/ 97460 w 7467600"/>
              <a:gd name="connsiteY720" fmla="*/ 1953725 h 6858000"/>
              <a:gd name="connsiteX721" fmla="*/ 221272 w 7467600"/>
              <a:gd name="connsiteY721" fmla="*/ 1980766 h 6858000"/>
              <a:gd name="connsiteX722" fmla="*/ 116765 w 7467600"/>
              <a:gd name="connsiteY722" fmla="*/ 1911033 h 6858000"/>
              <a:gd name="connsiteX723" fmla="*/ 16405 w 7467600"/>
              <a:gd name="connsiteY723" fmla="*/ 1803412 h 6858000"/>
              <a:gd name="connsiteX724" fmla="*/ 0 w 7467600"/>
              <a:gd name="connsiteY724" fmla="*/ 1784777 h 6858000"/>
              <a:gd name="connsiteX725" fmla="*/ 0 w 7467600"/>
              <a:gd name="connsiteY725" fmla="*/ 1740082 h 6858000"/>
              <a:gd name="connsiteX726" fmla="*/ 39394 w 7467600"/>
              <a:gd name="connsiteY726" fmla="*/ 1784856 h 6858000"/>
              <a:gd name="connsiteX727" fmla="*/ 135813 w 7467600"/>
              <a:gd name="connsiteY727" fmla="*/ 1888838 h 6858000"/>
              <a:gd name="connsiteX728" fmla="*/ 242575 w 7467600"/>
              <a:gd name="connsiteY728" fmla="*/ 1958841 h 6858000"/>
              <a:gd name="connsiteX729" fmla="*/ 82197 w 7467600"/>
              <a:gd name="connsiteY729" fmla="*/ 1754826 h 6858000"/>
              <a:gd name="connsiteX730" fmla="*/ 0 w 7467600"/>
              <a:gd name="connsiteY730" fmla="*/ 1679650 h 6858000"/>
              <a:gd name="connsiteX731" fmla="*/ 0 w 7467600"/>
              <a:gd name="connsiteY731" fmla="*/ 1602463 h 6858000"/>
              <a:gd name="connsiteX732" fmla="*/ 84689 w 7467600"/>
              <a:gd name="connsiteY732" fmla="*/ 1677442 h 6858000"/>
              <a:gd name="connsiteX733" fmla="*/ 298437 w 7467600"/>
              <a:gd name="connsiteY733" fmla="*/ 1968019 h 6858000"/>
              <a:gd name="connsiteX734" fmla="*/ 227269 w 7467600"/>
              <a:gd name="connsiteY734" fmla="*/ 1114064 h 6858000"/>
              <a:gd name="connsiteX735" fmla="*/ 248003 w 7467600"/>
              <a:gd name="connsiteY735" fmla="*/ 1089613 h 6858000"/>
              <a:gd name="connsiteX736" fmla="*/ 427020 w 7467600"/>
              <a:gd name="connsiteY736" fmla="*/ 1619803 h 6858000"/>
              <a:gd name="connsiteX737" fmla="*/ 340345 w 7467600"/>
              <a:gd name="connsiteY737" fmla="*/ 2027739 h 6858000"/>
              <a:gd name="connsiteX738" fmla="*/ 360865 w 7467600"/>
              <a:gd name="connsiteY738" fmla="*/ 2044827 h 6858000"/>
              <a:gd name="connsiteX739" fmla="*/ 560414 w 7467600"/>
              <a:gd name="connsiteY739" fmla="*/ 2421457 h 6858000"/>
              <a:gd name="connsiteX740" fmla="*/ 1359703 w 7467600"/>
              <a:gd name="connsiteY740" fmla="*/ 2578554 h 6858000"/>
              <a:gd name="connsiteX741" fmla="*/ 1359422 w 7467600"/>
              <a:gd name="connsiteY741" fmla="*/ 2577994 h 6858000"/>
              <a:gd name="connsiteX742" fmla="*/ 828701 w 7467600"/>
              <a:gd name="connsiteY742" fmla="*/ 1839520 h 6858000"/>
              <a:gd name="connsiteX743" fmla="*/ 494427 w 7467600"/>
              <a:gd name="connsiteY743" fmla="*/ 1092333 h 6858000"/>
              <a:gd name="connsiteX744" fmla="*/ 506322 w 7467600"/>
              <a:gd name="connsiteY744" fmla="*/ 1020997 h 6858000"/>
              <a:gd name="connsiteX745" fmla="*/ 4570198 w 7467600"/>
              <a:gd name="connsiteY745" fmla="*/ 978081 h 6858000"/>
              <a:gd name="connsiteX746" fmla="*/ 4523691 w 7467600"/>
              <a:gd name="connsiteY746" fmla="*/ 1127776 h 6858000"/>
              <a:gd name="connsiteX747" fmla="*/ 4509875 w 7467600"/>
              <a:gd name="connsiteY747" fmla="*/ 1167552 h 6858000"/>
              <a:gd name="connsiteX748" fmla="*/ 4478168 w 7467600"/>
              <a:gd name="connsiteY748" fmla="*/ 1260735 h 6858000"/>
              <a:gd name="connsiteX749" fmla="*/ 4409309 w 7467600"/>
              <a:gd name="connsiteY749" fmla="*/ 1666996 h 6858000"/>
              <a:gd name="connsiteX750" fmla="*/ 4370031 w 7467600"/>
              <a:gd name="connsiteY750" fmla="*/ 1955666 h 6858000"/>
              <a:gd name="connsiteX751" fmla="*/ 4570198 w 7467600"/>
              <a:gd name="connsiteY751" fmla="*/ 978081 h 6858000"/>
              <a:gd name="connsiteX752" fmla="*/ 4557898 w 7467600"/>
              <a:gd name="connsiteY752" fmla="*/ 900011 h 6858000"/>
              <a:gd name="connsiteX753" fmla="*/ 4344840 w 7467600"/>
              <a:gd name="connsiteY753" fmla="*/ 1922038 h 6858000"/>
              <a:gd name="connsiteX754" fmla="*/ 4378710 w 7467600"/>
              <a:gd name="connsiteY754" fmla="*/ 1665516 h 6858000"/>
              <a:gd name="connsiteX755" fmla="*/ 4448798 w 7467600"/>
              <a:gd name="connsiteY755" fmla="*/ 1253024 h 6858000"/>
              <a:gd name="connsiteX756" fmla="*/ 4480315 w 7467600"/>
              <a:gd name="connsiteY756" fmla="*/ 1158454 h 6858000"/>
              <a:gd name="connsiteX757" fmla="*/ 4494133 w 7467600"/>
              <a:gd name="connsiteY757" fmla="*/ 1118676 h 6858000"/>
              <a:gd name="connsiteX758" fmla="*/ 4557898 w 7467600"/>
              <a:gd name="connsiteY758" fmla="*/ 900011 h 6858000"/>
              <a:gd name="connsiteX759" fmla="*/ 5870151 w 7467600"/>
              <a:gd name="connsiteY759" fmla="*/ 898890 h 6858000"/>
              <a:gd name="connsiteX760" fmla="*/ 5861335 w 7467600"/>
              <a:gd name="connsiteY760" fmla="*/ 899177 h 6858000"/>
              <a:gd name="connsiteX761" fmla="*/ 5843702 w 7467600"/>
              <a:gd name="connsiteY761" fmla="*/ 899748 h 6858000"/>
              <a:gd name="connsiteX762" fmla="*/ 5651107 w 7467600"/>
              <a:gd name="connsiteY762" fmla="*/ 920306 h 6858000"/>
              <a:gd name="connsiteX763" fmla="*/ 5459407 w 7467600"/>
              <a:gd name="connsiteY763" fmla="*/ 940975 h 6858000"/>
              <a:gd name="connsiteX764" fmla="*/ 5374846 w 7467600"/>
              <a:gd name="connsiteY764" fmla="*/ 941988 h 6858000"/>
              <a:gd name="connsiteX765" fmla="*/ 5256105 w 7467600"/>
              <a:gd name="connsiteY765" fmla="*/ 945632 h 6858000"/>
              <a:gd name="connsiteX766" fmla="*/ 5107071 w 7467600"/>
              <a:gd name="connsiteY766" fmla="*/ 969720 h 6858000"/>
              <a:gd name="connsiteX767" fmla="*/ 4998681 w 7467600"/>
              <a:gd name="connsiteY767" fmla="*/ 988771 h 6858000"/>
              <a:gd name="connsiteX768" fmla="*/ 5870151 w 7467600"/>
              <a:gd name="connsiteY768" fmla="*/ 898890 h 6858000"/>
              <a:gd name="connsiteX769" fmla="*/ 5504425 w 7467600"/>
              <a:gd name="connsiteY769" fmla="*/ 848067 h 6858000"/>
              <a:gd name="connsiteX770" fmla="*/ 4968849 w 7467600"/>
              <a:gd name="connsiteY770" fmla="*/ 962318 h 6858000"/>
              <a:gd name="connsiteX771" fmla="*/ 5104039 w 7467600"/>
              <a:gd name="connsiteY771" fmla="*/ 940634 h 6858000"/>
              <a:gd name="connsiteX772" fmla="*/ 5256311 w 7467600"/>
              <a:gd name="connsiteY772" fmla="*/ 916490 h 6858000"/>
              <a:gd name="connsiteX773" fmla="*/ 5377381 w 7467600"/>
              <a:gd name="connsiteY773" fmla="*/ 912671 h 6858000"/>
              <a:gd name="connsiteX774" fmla="*/ 5460148 w 7467600"/>
              <a:gd name="connsiteY774" fmla="*/ 911442 h 6858000"/>
              <a:gd name="connsiteX775" fmla="*/ 5648971 w 7467600"/>
              <a:gd name="connsiteY775" fmla="*/ 891331 h 6858000"/>
              <a:gd name="connsiteX776" fmla="*/ 5844807 w 7467600"/>
              <a:gd name="connsiteY776" fmla="*/ 870718 h 6858000"/>
              <a:gd name="connsiteX777" fmla="*/ 5862975 w 7467600"/>
              <a:gd name="connsiteY777" fmla="*/ 869756 h 6858000"/>
              <a:gd name="connsiteX778" fmla="*/ 5920887 w 7467600"/>
              <a:gd name="connsiteY778" fmla="*/ 865929 h 6858000"/>
              <a:gd name="connsiteX779" fmla="*/ 5504425 w 7467600"/>
              <a:gd name="connsiteY779" fmla="*/ 848067 h 6858000"/>
              <a:gd name="connsiteX780" fmla="*/ 3607114 w 7467600"/>
              <a:gd name="connsiteY780" fmla="*/ 467441 h 6858000"/>
              <a:gd name="connsiteX781" fmla="*/ 3296242 w 7467600"/>
              <a:gd name="connsiteY781" fmla="*/ 807991 h 6858000"/>
              <a:gd name="connsiteX782" fmla="*/ 3174674 w 7467600"/>
              <a:gd name="connsiteY782" fmla="*/ 919759 h 6858000"/>
              <a:gd name="connsiteX783" fmla="*/ 3042978 w 7467600"/>
              <a:gd name="connsiteY783" fmla="*/ 1054894 h 6858000"/>
              <a:gd name="connsiteX784" fmla="*/ 2968914 w 7467600"/>
              <a:gd name="connsiteY784" fmla="*/ 1133756 h 6858000"/>
              <a:gd name="connsiteX785" fmla="*/ 3103823 w 7467600"/>
              <a:gd name="connsiteY785" fmla="*/ 1026814 h 6858000"/>
              <a:gd name="connsiteX786" fmla="*/ 3607114 w 7467600"/>
              <a:gd name="connsiteY786" fmla="*/ 467441 h 6858000"/>
              <a:gd name="connsiteX787" fmla="*/ 3744487 w 7467600"/>
              <a:gd name="connsiteY787" fmla="*/ 383136 h 6858000"/>
              <a:gd name="connsiteX788" fmla="*/ 3970213 w 7467600"/>
              <a:gd name="connsiteY788" fmla="*/ 995559 h 6858000"/>
              <a:gd name="connsiteX789" fmla="*/ 3744487 w 7467600"/>
              <a:gd name="connsiteY789" fmla="*/ 383136 h 6858000"/>
              <a:gd name="connsiteX790" fmla="*/ 3624562 w 7467600"/>
              <a:gd name="connsiteY790" fmla="*/ 367041 h 6858000"/>
              <a:gd name="connsiteX791" fmla="*/ 3489712 w 7467600"/>
              <a:gd name="connsiteY791" fmla="*/ 485386 h 6858000"/>
              <a:gd name="connsiteX792" fmla="*/ 3182994 w 7467600"/>
              <a:gd name="connsiteY792" fmla="*/ 828265 h 6858000"/>
              <a:gd name="connsiteX793" fmla="*/ 2892114 w 7467600"/>
              <a:gd name="connsiteY793" fmla="*/ 1172635 h 6858000"/>
              <a:gd name="connsiteX794" fmla="*/ 3021459 w 7467600"/>
              <a:gd name="connsiteY794" fmla="*/ 1035385 h 6858000"/>
              <a:gd name="connsiteX795" fmla="*/ 3153873 w 7467600"/>
              <a:gd name="connsiteY795" fmla="*/ 898971 h 6858000"/>
              <a:gd name="connsiteX796" fmla="*/ 3276511 w 7467600"/>
              <a:gd name="connsiteY796" fmla="*/ 786423 h 6858000"/>
              <a:gd name="connsiteX797" fmla="*/ 3584154 w 7467600"/>
              <a:gd name="connsiteY797" fmla="*/ 448218 h 6858000"/>
              <a:gd name="connsiteX798" fmla="*/ 3624562 w 7467600"/>
              <a:gd name="connsiteY798" fmla="*/ 367041 h 6858000"/>
              <a:gd name="connsiteX799" fmla="*/ 3766672 w 7467600"/>
              <a:gd name="connsiteY799" fmla="*/ 359429 h 6858000"/>
              <a:gd name="connsiteX800" fmla="*/ 3996338 w 7467600"/>
              <a:gd name="connsiteY800" fmla="*/ 968237 h 6858000"/>
              <a:gd name="connsiteX801" fmla="*/ 3766672 w 7467600"/>
              <a:gd name="connsiteY801" fmla="*/ 359429 h 6858000"/>
              <a:gd name="connsiteX802" fmla="*/ 5805386 w 7467600"/>
              <a:gd name="connsiteY802" fmla="*/ 239240 h 6858000"/>
              <a:gd name="connsiteX803" fmla="*/ 5736947 w 7467600"/>
              <a:gd name="connsiteY803" fmla="*/ 261367 h 6858000"/>
              <a:gd name="connsiteX804" fmla="*/ 5427012 w 7467600"/>
              <a:gd name="connsiteY804" fmla="*/ 311272 h 6858000"/>
              <a:gd name="connsiteX805" fmla="*/ 5147818 w 7467600"/>
              <a:gd name="connsiteY805" fmla="*/ 322112 h 6858000"/>
              <a:gd name="connsiteX806" fmla="*/ 5060854 w 7467600"/>
              <a:gd name="connsiteY806" fmla="*/ 311882 h 6858000"/>
              <a:gd name="connsiteX807" fmla="*/ 4945989 w 7467600"/>
              <a:gd name="connsiteY807" fmla="*/ 300516 h 6858000"/>
              <a:gd name="connsiteX808" fmla="*/ 5410479 w 7467600"/>
              <a:gd name="connsiteY808" fmla="*/ 348434 h 6858000"/>
              <a:gd name="connsiteX809" fmla="*/ 5805386 w 7467600"/>
              <a:gd name="connsiteY809" fmla="*/ 239240 h 6858000"/>
              <a:gd name="connsiteX810" fmla="*/ 5905192 w 7467600"/>
              <a:gd name="connsiteY810" fmla="*/ 163079 h 6858000"/>
              <a:gd name="connsiteX811" fmla="*/ 5865655 w 7467600"/>
              <a:gd name="connsiteY811" fmla="*/ 171901 h 6858000"/>
              <a:gd name="connsiteX812" fmla="*/ 5259740 w 7467600"/>
              <a:gd name="connsiteY812" fmla="*/ 257013 h 6858000"/>
              <a:gd name="connsiteX813" fmla="*/ 5208466 w 7467600"/>
              <a:gd name="connsiteY813" fmla="*/ 257550 h 6858000"/>
              <a:gd name="connsiteX814" fmla="*/ 4980204 w 7467600"/>
              <a:gd name="connsiteY814" fmla="*/ 271903 h 6858000"/>
              <a:gd name="connsiteX815" fmla="*/ 5068068 w 7467600"/>
              <a:gd name="connsiteY815" fmla="*/ 282244 h 6858000"/>
              <a:gd name="connsiteX816" fmla="*/ 5153231 w 7467600"/>
              <a:gd name="connsiteY816" fmla="*/ 292240 h 6858000"/>
              <a:gd name="connsiteX817" fmla="*/ 5426491 w 7467600"/>
              <a:gd name="connsiteY817" fmla="*/ 281128 h 6858000"/>
              <a:gd name="connsiteX818" fmla="*/ 5731212 w 7467600"/>
              <a:gd name="connsiteY818" fmla="*/ 231951 h 6858000"/>
              <a:gd name="connsiteX819" fmla="*/ 5905192 w 7467600"/>
              <a:gd name="connsiteY819" fmla="*/ 163079 h 6858000"/>
              <a:gd name="connsiteX820" fmla="*/ 5944437 w 7467600"/>
              <a:gd name="connsiteY820" fmla="*/ 113829 h 6858000"/>
              <a:gd name="connsiteX821" fmla="*/ 5825032 w 7467600"/>
              <a:gd name="connsiteY821" fmla="*/ 146405 h 6858000"/>
              <a:gd name="connsiteX822" fmla="*/ 4955599 w 7467600"/>
              <a:gd name="connsiteY822" fmla="*/ 247008 h 6858000"/>
              <a:gd name="connsiteX823" fmla="*/ 5210104 w 7467600"/>
              <a:gd name="connsiteY823" fmla="*/ 228123 h 6858000"/>
              <a:gd name="connsiteX824" fmla="*/ 5261015 w 7467600"/>
              <a:gd name="connsiteY824" fmla="*/ 227087 h 6858000"/>
              <a:gd name="connsiteX825" fmla="*/ 5861181 w 7467600"/>
              <a:gd name="connsiteY825" fmla="*/ 143093 h 6858000"/>
              <a:gd name="connsiteX826" fmla="*/ 5961252 w 7467600"/>
              <a:gd name="connsiteY826" fmla="*/ 114820 h 6858000"/>
              <a:gd name="connsiteX827" fmla="*/ 5944437 w 7467600"/>
              <a:gd name="connsiteY827" fmla="*/ 113829 h 6858000"/>
              <a:gd name="connsiteX828" fmla="*/ 3882765 w 7467600"/>
              <a:gd name="connsiteY828" fmla="*/ 0 h 6858000"/>
              <a:gd name="connsiteX829" fmla="*/ 3995099 w 7467600"/>
              <a:gd name="connsiteY829" fmla="*/ 0 h 6858000"/>
              <a:gd name="connsiteX830" fmla="*/ 4163818 w 7467600"/>
              <a:gd name="connsiteY830" fmla="*/ 234104 h 6858000"/>
              <a:gd name="connsiteX831" fmla="*/ 4172099 w 7467600"/>
              <a:gd name="connsiteY831" fmla="*/ 234207 h 6858000"/>
              <a:gd name="connsiteX832" fmla="*/ 4784282 w 7467600"/>
              <a:gd name="connsiteY832" fmla="*/ 276561 h 6858000"/>
              <a:gd name="connsiteX833" fmla="*/ 4801687 w 7467600"/>
              <a:gd name="connsiteY833" fmla="*/ 267764 h 6858000"/>
              <a:gd name="connsiteX834" fmla="*/ 6082788 w 7467600"/>
              <a:gd name="connsiteY834" fmla="*/ 64119 h 6858000"/>
              <a:gd name="connsiteX835" fmla="*/ 6099442 w 7467600"/>
              <a:gd name="connsiteY835" fmla="*/ 82568 h 6858000"/>
              <a:gd name="connsiteX836" fmla="*/ 4804137 w 7467600"/>
              <a:gd name="connsiteY836" fmla="*/ 320931 h 6858000"/>
              <a:gd name="connsiteX837" fmla="*/ 4227047 w 7467600"/>
              <a:gd name="connsiteY837" fmla="*/ 313415 h 6858000"/>
              <a:gd name="connsiteX838" fmla="*/ 4346041 w 7467600"/>
              <a:gd name="connsiteY838" fmla="*/ 456086 h 6858000"/>
              <a:gd name="connsiteX839" fmla="*/ 4870967 w 7467600"/>
              <a:gd name="connsiteY839" fmla="*/ 963061 h 6858000"/>
              <a:gd name="connsiteX840" fmla="*/ 4889647 w 7467600"/>
              <a:gd name="connsiteY840" fmla="*/ 957147 h 6858000"/>
              <a:gd name="connsiteX841" fmla="*/ 5422504 w 7467600"/>
              <a:gd name="connsiteY841" fmla="*/ 805191 h 6858000"/>
              <a:gd name="connsiteX842" fmla="*/ 6087656 w 7467600"/>
              <a:gd name="connsiteY842" fmla="*/ 826703 h 6858000"/>
              <a:gd name="connsiteX843" fmla="*/ 6058717 w 7467600"/>
              <a:gd name="connsiteY843" fmla="*/ 865992 h 6858000"/>
              <a:gd name="connsiteX844" fmla="*/ 4974153 w 7467600"/>
              <a:gd name="connsiteY844" fmla="*/ 1045456 h 6858000"/>
              <a:gd name="connsiteX845" fmla="*/ 5627835 w 7467600"/>
              <a:gd name="connsiteY845" fmla="*/ 1472077 h 6858000"/>
              <a:gd name="connsiteX846" fmla="*/ 5629817 w 7467600"/>
              <a:gd name="connsiteY846" fmla="*/ 1471412 h 6858000"/>
              <a:gd name="connsiteX847" fmla="*/ 5634124 w 7467600"/>
              <a:gd name="connsiteY847" fmla="*/ 1470572 h 6858000"/>
              <a:gd name="connsiteX848" fmla="*/ 5755832 w 7467600"/>
              <a:gd name="connsiteY848" fmla="*/ 1383886 h 6858000"/>
              <a:gd name="connsiteX849" fmla="*/ 6014186 w 7467600"/>
              <a:gd name="connsiteY849" fmla="*/ 1279799 h 6858000"/>
              <a:gd name="connsiteX850" fmla="*/ 6901619 w 7467600"/>
              <a:gd name="connsiteY850" fmla="*/ 1047874 h 6858000"/>
              <a:gd name="connsiteX851" fmla="*/ 6931566 w 7467600"/>
              <a:gd name="connsiteY851" fmla="*/ 1062034 h 6858000"/>
              <a:gd name="connsiteX852" fmla="*/ 5790982 w 7467600"/>
              <a:gd name="connsiteY852" fmla="*/ 1561380 h 6858000"/>
              <a:gd name="connsiteX853" fmla="*/ 6188971 w 7467600"/>
              <a:gd name="connsiteY853" fmla="*/ 1755168 h 6858000"/>
              <a:gd name="connsiteX854" fmla="*/ 6202446 w 7467600"/>
              <a:gd name="connsiteY854" fmla="*/ 1752268 h 6858000"/>
              <a:gd name="connsiteX855" fmla="*/ 7179560 w 7467600"/>
              <a:gd name="connsiteY855" fmla="*/ 1467551 h 6858000"/>
              <a:gd name="connsiteX856" fmla="*/ 7158730 w 7467600"/>
              <a:gd name="connsiteY856" fmla="*/ 1507835 h 6858000"/>
              <a:gd name="connsiteX857" fmla="*/ 6326959 w 7467600"/>
              <a:gd name="connsiteY857" fmla="*/ 1817686 h 6858000"/>
              <a:gd name="connsiteX858" fmla="*/ 6537433 w 7467600"/>
              <a:gd name="connsiteY858" fmla="*/ 1907790 h 6858000"/>
              <a:gd name="connsiteX859" fmla="*/ 6550221 w 7467600"/>
              <a:gd name="connsiteY859" fmla="*/ 1910729 h 6858000"/>
              <a:gd name="connsiteX860" fmla="*/ 6964438 w 7467600"/>
              <a:gd name="connsiteY860" fmla="*/ 2209505 h 6858000"/>
              <a:gd name="connsiteX861" fmla="*/ 7367862 w 7467600"/>
              <a:gd name="connsiteY861" fmla="*/ 2806833 h 6858000"/>
              <a:gd name="connsiteX862" fmla="*/ 7364329 w 7467600"/>
              <a:gd name="connsiteY862" fmla="*/ 2826907 h 6858000"/>
              <a:gd name="connsiteX863" fmla="*/ 7290545 w 7467600"/>
              <a:gd name="connsiteY863" fmla="*/ 2850663 h 6858000"/>
              <a:gd name="connsiteX864" fmla="*/ 6472036 w 7467600"/>
              <a:gd name="connsiteY864" fmla="*/ 1959003 h 6858000"/>
              <a:gd name="connsiteX865" fmla="*/ 5792897 w 7467600"/>
              <a:gd name="connsiteY865" fmla="*/ 1647747 h 6858000"/>
              <a:gd name="connsiteX866" fmla="*/ 5842751 w 7467600"/>
              <a:gd name="connsiteY866" fmla="*/ 1816112 h 6858000"/>
              <a:gd name="connsiteX867" fmla="*/ 5847424 w 7467600"/>
              <a:gd name="connsiteY867" fmla="*/ 1815776 h 6858000"/>
              <a:gd name="connsiteX868" fmla="*/ 6399821 w 7467600"/>
              <a:gd name="connsiteY868" fmla="*/ 2344799 h 6858000"/>
              <a:gd name="connsiteX869" fmla="*/ 6323232 w 7467600"/>
              <a:gd name="connsiteY869" fmla="*/ 2389634 h 6858000"/>
              <a:gd name="connsiteX870" fmla="*/ 5942958 w 7467600"/>
              <a:gd name="connsiteY870" fmla="*/ 2077708 h 6858000"/>
              <a:gd name="connsiteX871" fmla="*/ 5921559 w 7467600"/>
              <a:gd name="connsiteY871" fmla="*/ 2378596 h 6858000"/>
              <a:gd name="connsiteX872" fmla="*/ 5817651 w 7467600"/>
              <a:gd name="connsiteY872" fmla="*/ 3023919 h 6858000"/>
              <a:gd name="connsiteX873" fmla="*/ 5729634 w 7467600"/>
              <a:gd name="connsiteY873" fmla="*/ 3051849 h 6858000"/>
              <a:gd name="connsiteX874" fmla="*/ 5611018 w 7467600"/>
              <a:gd name="connsiteY874" fmla="*/ 2316769 h 6858000"/>
              <a:gd name="connsiteX875" fmla="*/ 5687608 w 7467600"/>
              <a:gd name="connsiteY875" fmla="*/ 2039972 h 6858000"/>
              <a:gd name="connsiteX876" fmla="*/ 5657554 w 7467600"/>
              <a:gd name="connsiteY876" fmla="*/ 1576445 h 6858000"/>
              <a:gd name="connsiteX877" fmla="*/ 5150475 w 7467600"/>
              <a:gd name="connsiteY877" fmla="*/ 1274012 h 6858000"/>
              <a:gd name="connsiteX878" fmla="*/ 5349142 w 7467600"/>
              <a:gd name="connsiteY878" fmla="*/ 2204405 h 6858000"/>
              <a:gd name="connsiteX879" fmla="*/ 5262214 w 7467600"/>
              <a:gd name="connsiteY879" fmla="*/ 2233836 h 6858000"/>
              <a:gd name="connsiteX880" fmla="*/ 4981539 w 7467600"/>
              <a:gd name="connsiteY880" fmla="*/ 1542201 h 6858000"/>
              <a:gd name="connsiteX881" fmla="*/ 4958461 w 7467600"/>
              <a:gd name="connsiteY881" fmla="*/ 1136957 h 6858000"/>
              <a:gd name="connsiteX882" fmla="*/ 4655015 w 7467600"/>
              <a:gd name="connsiteY882" fmla="*/ 891426 h 6858000"/>
              <a:gd name="connsiteX883" fmla="*/ 4348002 w 7467600"/>
              <a:gd name="connsiteY883" fmla="*/ 2205895 h 6858000"/>
              <a:gd name="connsiteX884" fmla="*/ 4262250 w 7467600"/>
              <a:gd name="connsiteY884" fmla="*/ 2219972 h 6858000"/>
              <a:gd name="connsiteX885" fmla="*/ 4550611 w 7467600"/>
              <a:gd name="connsiteY885" fmla="*/ 817540 h 6858000"/>
              <a:gd name="connsiteX886" fmla="*/ 4564418 w 7467600"/>
              <a:gd name="connsiteY886" fmla="*/ 808293 h 6858000"/>
              <a:gd name="connsiteX887" fmla="*/ 4266388 w 7467600"/>
              <a:gd name="connsiteY887" fmla="*/ 500083 h 6858000"/>
              <a:gd name="connsiteX888" fmla="*/ 4032842 w 7467600"/>
              <a:gd name="connsiteY888" fmla="*/ 211809 h 6858000"/>
              <a:gd name="connsiteX889" fmla="*/ 3882765 w 7467600"/>
              <a:gd name="connsiteY889" fmla="*/ 0 h 6858000"/>
              <a:gd name="connsiteX890" fmla="*/ 3721337 w 7467600"/>
              <a:gd name="connsiteY890" fmla="*/ 0 h 6858000"/>
              <a:gd name="connsiteX891" fmla="*/ 3797544 w 7467600"/>
              <a:gd name="connsiteY891" fmla="*/ 0 h 6858000"/>
              <a:gd name="connsiteX892" fmla="*/ 3775734 w 7467600"/>
              <a:gd name="connsiteY892" fmla="*/ 95131 h 6858000"/>
              <a:gd name="connsiteX893" fmla="*/ 3724807 w 7467600"/>
              <a:gd name="connsiteY893" fmla="*/ 272257 h 6858000"/>
              <a:gd name="connsiteX894" fmla="*/ 3726844 w 7467600"/>
              <a:gd name="connsiteY894" fmla="*/ 282988 h 6858000"/>
              <a:gd name="connsiteX895" fmla="*/ 3742664 w 7467600"/>
              <a:gd name="connsiteY895" fmla="*/ 279918 h 6858000"/>
              <a:gd name="connsiteX896" fmla="*/ 4103910 w 7467600"/>
              <a:gd name="connsiteY896" fmla="*/ 1161917 h 6858000"/>
              <a:gd name="connsiteX897" fmla="*/ 4020269 w 7467600"/>
              <a:gd name="connsiteY897" fmla="*/ 1200406 h 6858000"/>
              <a:gd name="connsiteX898" fmla="*/ 3674882 w 7467600"/>
              <a:gd name="connsiteY898" fmla="*/ 488524 h 6858000"/>
              <a:gd name="connsiteX899" fmla="*/ 3132682 w 7467600"/>
              <a:gd name="connsiteY899" fmla="*/ 1072284 h 6858000"/>
              <a:gd name="connsiteX900" fmla="*/ 2716346 w 7467600"/>
              <a:gd name="connsiteY900" fmla="*/ 1276376 h 6858000"/>
              <a:gd name="connsiteX901" fmla="*/ 2716772 w 7467600"/>
              <a:gd name="connsiteY901" fmla="*/ 1255462 h 6858000"/>
              <a:gd name="connsiteX902" fmla="*/ 3471096 w 7467600"/>
              <a:gd name="connsiteY902" fmla="*/ 437072 h 6858000"/>
              <a:gd name="connsiteX903" fmla="*/ 3639057 w 7467600"/>
              <a:gd name="connsiteY903" fmla="*/ 286334 h 6858000"/>
              <a:gd name="connsiteX904" fmla="*/ 3640309 w 7467600"/>
              <a:gd name="connsiteY904" fmla="*/ 284664 h 6858000"/>
              <a:gd name="connsiteX905" fmla="*/ 3646022 w 7467600"/>
              <a:gd name="connsiteY905" fmla="*/ 276711 h 6858000"/>
              <a:gd name="connsiteX906" fmla="*/ 3707943 w 7467600"/>
              <a:gd name="connsiteY906" fmla="*/ 65958 h 6858000"/>
              <a:gd name="connsiteX907" fmla="*/ 3721337 w 7467600"/>
              <a:gd name="connsiteY907" fmla="*/ 0 h 6858000"/>
              <a:gd name="connsiteX908" fmla="*/ 2867960 w 7467600"/>
              <a:gd name="connsiteY908" fmla="*/ 0 h 6858000"/>
              <a:gd name="connsiteX909" fmla="*/ 2926351 w 7467600"/>
              <a:gd name="connsiteY909" fmla="*/ 0 h 6858000"/>
              <a:gd name="connsiteX910" fmla="*/ 2902823 w 7467600"/>
              <a:gd name="connsiteY910" fmla="*/ 262929 h 6858000"/>
              <a:gd name="connsiteX911" fmla="*/ 2940663 w 7467600"/>
              <a:gd name="connsiteY911" fmla="*/ 140884 h 6858000"/>
              <a:gd name="connsiteX912" fmla="*/ 2947039 w 7467600"/>
              <a:gd name="connsiteY912" fmla="*/ 122524 h 6858000"/>
              <a:gd name="connsiteX913" fmla="*/ 2984316 w 7467600"/>
              <a:gd name="connsiteY913" fmla="*/ 0 h 6858000"/>
              <a:gd name="connsiteX914" fmla="*/ 3016114 w 7467600"/>
              <a:gd name="connsiteY914" fmla="*/ 0 h 6858000"/>
              <a:gd name="connsiteX915" fmla="*/ 2979949 w 7467600"/>
              <a:gd name="connsiteY915" fmla="*/ 119274 h 6858000"/>
              <a:gd name="connsiteX916" fmla="*/ 3023879 w 7467600"/>
              <a:gd name="connsiteY916" fmla="*/ 0 h 6858000"/>
              <a:gd name="connsiteX917" fmla="*/ 3105400 w 7467600"/>
              <a:gd name="connsiteY917" fmla="*/ 0 h 6858000"/>
              <a:gd name="connsiteX918" fmla="*/ 3094669 w 7467600"/>
              <a:gd name="connsiteY918" fmla="*/ 30308 h 6858000"/>
              <a:gd name="connsiteX919" fmla="*/ 2901945 w 7467600"/>
              <a:gd name="connsiteY919" fmla="*/ 466538 h 6858000"/>
              <a:gd name="connsiteX920" fmla="*/ 2815209 w 7467600"/>
              <a:gd name="connsiteY920" fmla="*/ 497361 h 6858000"/>
              <a:gd name="connsiteX921" fmla="*/ 2844845 w 7467600"/>
              <a:gd name="connsiteY921" fmla="*/ 127638 h 6858000"/>
              <a:gd name="connsiteX922" fmla="*/ 2867960 w 7467600"/>
              <a:gd name="connsiteY922" fmla="*/ 0 h 6858000"/>
              <a:gd name="connsiteX923" fmla="*/ 1057230 w 7467600"/>
              <a:gd name="connsiteY923" fmla="*/ 0 h 6858000"/>
              <a:gd name="connsiteX924" fmla="*/ 1111003 w 7467600"/>
              <a:gd name="connsiteY924" fmla="*/ 0 h 6858000"/>
              <a:gd name="connsiteX925" fmla="*/ 1125553 w 7467600"/>
              <a:gd name="connsiteY925" fmla="*/ 52588 h 6858000"/>
              <a:gd name="connsiteX926" fmla="*/ 1304276 w 7467600"/>
              <a:gd name="connsiteY926" fmla="*/ 476275 h 6858000"/>
              <a:gd name="connsiteX927" fmla="*/ 1492066 w 7467600"/>
              <a:gd name="connsiteY927" fmla="*/ 886333 h 6858000"/>
              <a:gd name="connsiteX928" fmla="*/ 1423698 w 7467600"/>
              <a:gd name="connsiteY928" fmla="*/ 710817 h 6858000"/>
              <a:gd name="connsiteX929" fmla="*/ 1357609 w 7467600"/>
              <a:gd name="connsiteY929" fmla="*/ 532892 h 6858000"/>
              <a:gd name="connsiteX930" fmla="*/ 1309550 w 7467600"/>
              <a:gd name="connsiteY930" fmla="*/ 374031 h 6858000"/>
              <a:gd name="connsiteX931" fmla="*/ 1193673 w 7467600"/>
              <a:gd name="connsiteY931" fmla="*/ 49533 h 6858000"/>
              <a:gd name="connsiteX932" fmla="*/ 1164391 w 7467600"/>
              <a:gd name="connsiteY932" fmla="*/ 0 h 6858000"/>
              <a:gd name="connsiteX933" fmla="*/ 1200666 w 7467600"/>
              <a:gd name="connsiteY933" fmla="*/ 0 h 6858000"/>
              <a:gd name="connsiteX934" fmla="*/ 1223408 w 7467600"/>
              <a:gd name="connsiteY934" fmla="*/ 38996 h 6858000"/>
              <a:gd name="connsiteX935" fmla="*/ 1339635 w 7467600"/>
              <a:gd name="connsiteY935" fmla="*/ 365517 h 6858000"/>
              <a:gd name="connsiteX936" fmla="*/ 1387469 w 7467600"/>
              <a:gd name="connsiteY936" fmla="*/ 523079 h 6858000"/>
              <a:gd name="connsiteX937" fmla="*/ 1452685 w 7467600"/>
              <a:gd name="connsiteY937" fmla="*/ 699806 h 6858000"/>
              <a:gd name="connsiteX938" fmla="*/ 1492092 w 7467600"/>
              <a:gd name="connsiteY938" fmla="*/ 800424 h 6858000"/>
              <a:gd name="connsiteX939" fmla="*/ 1455302 w 7467600"/>
              <a:gd name="connsiteY939" fmla="*/ 632913 h 6858000"/>
              <a:gd name="connsiteX940" fmla="*/ 1222336 w 7467600"/>
              <a:gd name="connsiteY940" fmla="*/ 9480 h 6858000"/>
              <a:gd name="connsiteX941" fmla="*/ 1214634 w 7467600"/>
              <a:gd name="connsiteY941" fmla="*/ 0 h 6858000"/>
              <a:gd name="connsiteX942" fmla="*/ 1289827 w 7467600"/>
              <a:gd name="connsiteY942" fmla="*/ 0 h 6858000"/>
              <a:gd name="connsiteX943" fmla="*/ 1321076 w 7467600"/>
              <a:gd name="connsiteY943" fmla="*/ 59722 h 6858000"/>
              <a:gd name="connsiteX944" fmla="*/ 1512579 w 7467600"/>
              <a:gd name="connsiteY944" fmla="*/ 626441 h 6858000"/>
              <a:gd name="connsiteX945" fmla="*/ 1506076 w 7467600"/>
              <a:gd name="connsiteY945" fmla="*/ 1089289 h 6858000"/>
              <a:gd name="connsiteX946" fmla="*/ 1486346 w 7467600"/>
              <a:gd name="connsiteY946" fmla="*/ 1079919 h 6858000"/>
              <a:gd name="connsiteX947" fmla="*/ 1070511 w 7467600"/>
              <a:gd name="connsiteY947" fmla="*/ 48609 h 6858000"/>
              <a:gd name="connsiteX948" fmla="*/ 1057230 w 7467600"/>
              <a:gd name="connsiteY948" fmla="*/ 0 h 6858000"/>
              <a:gd name="connsiteX949" fmla="*/ 43151 w 7467600"/>
              <a:gd name="connsiteY949" fmla="*/ 0 h 6858000"/>
              <a:gd name="connsiteX950" fmla="*/ 95283 w 7467600"/>
              <a:gd name="connsiteY950" fmla="*/ 0 h 6858000"/>
              <a:gd name="connsiteX951" fmla="*/ 300708 w 7467600"/>
              <a:gd name="connsiteY951" fmla="*/ 154571 h 6858000"/>
              <a:gd name="connsiteX952" fmla="*/ 530414 w 7467600"/>
              <a:gd name="connsiteY952" fmla="*/ 354673 h 6858000"/>
              <a:gd name="connsiteX953" fmla="*/ 333785 w 7467600"/>
              <a:gd name="connsiteY953" fmla="*/ 161564 h 6858000"/>
              <a:gd name="connsiteX954" fmla="*/ 147005 w 7467600"/>
              <a:gd name="connsiteY954" fmla="*/ 0 h 6858000"/>
              <a:gd name="connsiteX955" fmla="*/ 272509 w 7467600"/>
              <a:gd name="connsiteY955" fmla="*/ 0 h 6858000"/>
              <a:gd name="connsiteX956" fmla="*/ 326276 w 7467600"/>
              <a:gd name="connsiteY956" fmla="*/ 45847 h 6858000"/>
              <a:gd name="connsiteX957" fmla="*/ 823759 w 7467600"/>
              <a:gd name="connsiteY957" fmla="*/ 574145 h 6858000"/>
              <a:gd name="connsiteX958" fmla="*/ 811254 w 7467600"/>
              <a:gd name="connsiteY958" fmla="*/ 665546 h 6858000"/>
              <a:gd name="connsiteX959" fmla="*/ 154042 w 7467600"/>
              <a:gd name="connsiteY959" fmla="*/ 261522 h 6858000"/>
              <a:gd name="connsiteX960" fmla="*/ 13550 w 7467600"/>
              <a:gd name="connsiteY960" fmla="*/ 158423 h 6858000"/>
              <a:gd name="connsiteX961" fmla="*/ 0 w 7467600"/>
              <a:gd name="connsiteY961" fmla="*/ 146618 h 6858000"/>
              <a:gd name="connsiteX962" fmla="*/ 0 w 7467600"/>
              <a:gd name="connsiteY962" fmla="*/ 59161 h 6858000"/>
              <a:gd name="connsiteX963" fmla="*/ 45427 w 7467600"/>
              <a:gd name="connsiteY963" fmla="*/ 101078 h 6858000"/>
              <a:gd name="connsiteX964" fmla="*/ 630103 w 7467600"/>
              <a:gd name="connsiteY964" fmla="*/ 485885 h 6858000"/>
              <a:gd name="connsiteX965" fmla="*/ 532040 w 7467600"/>
              <a:gd name="connsiteY965" fmla="*/ 399359 h 6858000"/>
              <a:gd name="connsiteX966" fmla="*/ 517618 w 7467600"/>
              <a:gd name="connsiteY966" fmla="*/ 385726 h 6858000"/>
              <a:gd name="connsiteX967" fmla="*/ 285074 w 7467600"/>
              <a:gd name="connsiteY967" fmla="*/ 182755 h 6858000"/>
              <a:gd name="connsiteX968" fmla="*/ 43151 w 7467600"/>
              <a:gd name="connsiteY968"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7454976 w 7467600"/>
              <a:gd name="connsiteY74" fmla="*/ 6318297 h 6858000"/>
              <a:gd name="connsiteX75" fmla="*/ 7379510 w 7467600"/>
              <a:gd name="connsiteY75" fmla="*/ 5755454 h 6858000"/>
              <a:gd name="connsiteX76" fmla="*/ 7467600 w 7467600"/>
              <a:gd name="connsiteY76" fmla="*/ 5845526 h 6858000"/>
              <a:gd name="connsiteX77" fmla="*/ 7271900 w 7467600"/>
              <a:gd name="connsiteY77" fmla="*/ 5734551 h 6858000"/>
              <a:gd name="connsiteX78" fmla="*/ 7467600 w 7467600"/>
              <a:gd name="connsiteY78" fmla="*/ 6012219 h 6858000"/>
              <a:gd name="connsiteX79" fmla="*/ 7356878 w 7467600"/>
              <a:gd name="connsiteY79" fmla="*/ 5981332 h 6858000"/>
              <a:gd name="connsiteX80" fmla="*/ 7467600 w 7467600"/>
              <a:gd name="connsiteY80" fmla="*/ 6117703 h 6858000"/>
              <a:gd name="connsiteX81" fmla="*/ 7467600 w 7467600"/>
              <a:gd name="connsiteY81" fmla="*/ 6163634 h 6858000"/>
              <a:gd name="connsiteX82" fmla="*/ 7403637 w 7467600"/>
              <a:gd name="connsiteY82" fmla="*/ 6083957 h 6858000"/>
              <a:gd name="connsiteX83" fmla="*/ 7254615 w 7467600"/>
              <a:gd name="connsiteY83" fmla="*/ 5911918 h 6858000"/>
              <a:gd name="connsiteX84" fmla="*/ 7312589 w 7467600"/>
              <a:gd name="connsiteY84" fmla="*/ 5982309 h 6858000"/>
              <a:gd name="connsiteX85" fmla="*/ 7448321 w 7467600"/>
              <a:gd name="connsiteY85" fmla="*/ 6190991 h 6858000"/>
              <a:gd name="connsiteX86" fmla="*/ 7467600 w 7467600"/>
              <a:gd name="connsiteY86" fmla="*/ 6221686 h 6858000"/>
              <a:gd name="connsiteX87" fmla="*/ 7467600 w 7467600"/>
              <a:gd name="connsiteY87" fmla="*/ 6334256 h 6858000"/>
              <a:gd name="connsiteX88" fmla="*/ 7454976 w 7467600"/>
              <a:gd name="connsiteY88" fmla="*/ 6318297 h 6858000"/>
              <a:gd name="connsiteX89" fmla="*/ 1456157 w 7467600"/>
              <a:gd name="connsiteY89" fmla="*/ 5371404 h 6858000"/>
              <a:gd name="connsiteX90" fmla="*/ 1244432 w 7467600"/>
              <a:gd name="connsiteY90" fmla="*/ 5385601 h 6858000"/>
              <a:gd name="connsiteX91" fmla="*/ 973990 w 7467600"/>
              <a:gd name="connsiteY91" fmla="*/ 5424940 h 6858000"/>
              <a:gd name="connsiteX92" fmla="*/ 1103809 w 7467600"/>
              <a:gd name="connsiteY92" fmla="*/ 5433720 h 6858000"/>
              <a:gd name="connsiteX93" fmla="*/ 1123454 w 7467600"/>
              <a:gd name="connsiteY93" fmla="*/ 5435727 h 6858000"/>
              <a:gd name="connsiteX94" fmla="*/ 1737017 w 7467600"/>
              <a:gd name="connsiteY94" fmla="*/ 5452183 h 6858000"/>
              <a:gd name="connsiteX95" fmla="*/ 1824397 w 7467600"/>
              <a:gd name="connsiteY95" fmla="*/ 5447757 h 6858000"/>
              <a:gd name="connsiteX96" fmla="*/ 2070059 w 7467600"/>
              <a:gd name="connsiteY96" fmla="*/ 5441660 h 6858000"/>
              <a:gd name="connsiteX97" fmla="*/ 1456157 w 7467600"/>
              <a:gd name="connsiteY97" fmla="*/ 5371404 h 6858000"/>
              <a:gd name="connsiteX98" fmla="*/ 4988186 w 7467600"/>
              <a:gd name="connsiteY98" fmla="*/ 5216467 h 6858000"/>
              <a:gd name="connsiteX99" fmla="*/ 4777334 w 7467600"/>
              <a:gd name="connsiteY99" fmla="*/ 5406072 h 6858000"/>
              <a:gd name="connsiteX100" fmla="*/ 4718341 w 7467600"/>
              <a:gd name="connsiteY100" fmla="*/ 5468043 h 6858000"/>
              <a:gd name="connsiteX101" fmla="*/ 4604655 w 7467600"/>
              <a:gd name="connsiteY101" fmla="*/ 5583434 h 6858000"/>
              <a:gd name="connsiteX102" fmla="*/ 4565074 w 7467600"/>
              <a:gd name="connsiteY102" fmla="*/ 5618550 h 6858000"/>
              <a:gd name="connsiteX103" fmla="*/ 4988186 w 7467600"/>
              <a:gd name="connsiteY103" fmla="*/ 5216467 h 6858000"/>
              <a:gd name="connsiteX104" fmla="*/ 4978032 w 7467600"/>
              <a:gd name="connsiteY104" fmla="*/ 5183809 h 6858000"/>
              <a:gd name="connsiteX105" fmla="*/ 4463413 w 7467600"/>
              <a:gd name="connsiteY105" fmla="*/ 5615162 h 6858000"/>
              <a:gd name="connsiteX106" fmla="*/ 4358134 w 7467600"/>
              <a:gd name="connsiteY106" fmla="*/ 5742791 h 6858000"/>
              <a:gd name="connsiteX107" fmla="*/ 4376219 w 7467600"/>
              <a:gd name="connsiteY107" fmla="*/ 5729027 h 6858000"/>
              <a:gd name="connsiteX108" fmla="*/ 4582340 w 7467600"/>
              <a:gd name="connsiteY108" fmla="*/ 5561037 h 6858000"/>
              <a:gd name="connsiteX109" fmla="*/ 4694684 w 7467600"/>
              <a:gd name="connsiteY109" fmla="*/ 5447098 h 6858000"/>
              <a:gd name="connsiteX110" fmla="*/ 4754123 w 7467600"/>
              <a:gd name="connsiteY110" fmla="*/ 5384643 h 6858000"/>
              <a:gd name="connsiteX111" fmla="*/ 4978032 w 7467600"/>
              <a:gd name="connsiteY111" fmla="*/ 5183809 h 6858000"/>
              <a:gd name="connsiteX112" fmla="*/ 1903353 w 7467600"/>
              <a:gd name="connsiteY112" fmla="*/ 5044827 h 6858000"/>
              <a:gd name="connsiteX113" fmla="*/ 1936931 w 7467600"/>
              <a:gd name="connsiteY113" fmla="*/ 5093954 h 6858000"/>
              <a:gd name="connsiteX114" fmla="*/ 2195868 w 7467600"/>
              <a:gd name="connsiteY114" fmla="*/ 5396574 h 6858000"/>
              <a:gd name="connsiteX115" fmla="*/ 2088852 w 7467600"/>
              <a:gd name="connsiteY115" fmla="*/ 5166123 h 6858000"/>
              <a:gd name="connsiteX116" fmla="*/ 1958241 w 7467600"/>
              <a:gd name="connsiteY116" fmla="*/ 5067955 h 6858000"/>
              <a:gd name="connsiteX117" fmla="*/ 1903353 w 7467600"/>
              <a:gd name="connsiteY117" fmla="*/ 5044827 h 6858000"/>
              <a:gd name="connsiteX118" fmla="*/ 1979378 w 7467600"/>
              <a:gd name="connsiteY118" fmla="*/ 4769504 h 6858000"/>
              <a:gd name="connsiteX119" fmla="*/ 2882120 w 7467600"/>
              <a:gd name="connsiteY119" fmla="*/ 5064547 h 6858000"/>
              <a:gd name="connsiteX120" fmla="*/ 2793103 w 7467600"/>
              <a:gd name="connsiteY120" fmla="*/ 5039699 h 6858000"/>
              <a:gd name="connsiteX121" fmla="*/ 2770041 w 7467600"/>
              <a:gd name="connsiteY121" fmla="*/ 5033634 h 6858000"/>
              <a:gd name="connsiteX122" fmla="*/ 1979378 w 7467600"/>
              <a:gd name="connsiteY122" fmla="*/ 4769504 h 6858000"/>
              <a:gd name="connsiteX123" fmla="*/ 1927410 w 7467600"/>
              <a:gd name="connsiteY123" fmla="*/ 4716164 h 6858000"/>
              <a:gd name="connsiteX124" fmla="*/ 1959587 w 7467600"/>
              <a:gd name="connsiteY124" fmla="*/ 4728849 h 6858000"/>
              <a:gd name="connsiteX125" fmla="*/ 2777707 w 7467600"/>
              <a:gd name="connsiteY125" fmla="*/ 5003991 h 6858000"/>
              <a:gd name="connsiteX126" fmla="*/ 2800768 w 7467600"/>
              <a:gd name="connsiteY126" fmla="*/ 5010056 h 6858000"/>
              <a:gd name="connsiteX127" fmla="*/ 2879408 w 7467600"/>
              <a:gd name="connsiteY127" fmla="*/ 5031590 h 6858000"/>
              <a:gd name="connsiteX128" fmla="*/ 2862295 w 7467600"/>
              <a:gd name="connsiteY128" fmla="*/ 5022958 h 6858000"/>
              <a:gd name="connsiteX129" fmla="*/ 2813343 w 7467600"/>
              <a:gd name="connsiteY129" fmla="*/ 4998369 h 6858000"/>
              <a:gd name="connsiteX130" fmla="*/ 2646245 w 7467600"/>
              <a:gd name="connsiteY130" fmla="*/ 4930999 h 6858000"/>
              <a:gd name="connsiteX131" fmla="*/ 1999243 w 7467600"/>
              <a:gd name="connsiteY131" fmla="*/ 4730524 h 6858000"/>
              <a:gd name="connsiteX132" fmla="*/ 1979527 w 7467600"/>
              <a:gd name="connsiteY132" fmla="*/ 4726651 h 6858000"/>
              <a:gd name="connsiteX133" fmla="*/ 1927410 w 7467600"/>
              <a:gd name="connsiteY133" fmla="*/ 4716164 h 6858000"/>
              <a:gd name="connsiteX134" fmla="*/ 1997014 w 7467600"/>
              <a:gd name="connsiteY134" fmla="*/ 4698007 h 6858000"/>
              <a:gd name="connsiteX135" fmla="*/ 2005458 w 7467600"/>
              <a:gd name="connsiteY135" fmla="*/ 4699540 h 6858000"/>
              <a:gd name="connsiteX136" fmla="*/ 2657186 w 7467600"/>
              <a:gd name="connsiteY136" fmla="*/ 4901687 h 6858000"/>
              <a:gd name="connsiteX137" fmla="*/ 2826662 w 7467600"/>
              <a:gd name="connsiteY137" fmla="*/ 4970362 h 6858000"/>
              <a:gd name="connsiteX138" fmla="*/ 2876100 w 7467600"/>
              <a:gd name="connsiteY138" fmla="*/ 4995397 h 6858000"/>
              <a:gd name="connsiteX139" fmla="*/ 3042600 w 7467600"/>
              <a:gd name="connsiteY139" fmla="*/ 5059532 h 6858000"/>
              <a:gd name="connsiteX140" fmla="*/ 1997014 w 7467600"/>
              <a:gd name="connsiteY140" fmla="*/ 4698007 h 6858000"/>
              <a:gd name="connsiteX141" fmla="*/ 2305292 w 7467600"/>
              <a:gd name="connsiteY141" fmla="*/ 4219492 h 6858000"/>
              <a:gd name="connsiteX142" fmla="*/ 3360922 w 7467600"/>
              <a:gd name="connsiteY142" fmla="*/ 4529373 h 6858000"/>
              <a:gd name="connsiteX143" fmla="*/ 3492420 w 7467600"/>
              <a:gd name="connsiteY143" fmla="*/ 4510145 h 6858000"/>
              <a:gd name="connsiteX144" fmla="*/ 3364086 w 7467600"/>
              <a:gd name="connsiteY144" fmla="*/ 4480340 h 6858000"/>
              <a:gd name="connsiteX145" fmla="*/ 3225818 w 7467600"/>
              <a:gd name="connsiteY145" fmla="*/ 4411822 h 6858000"/>
              <a:gd name="connsiteX146" fmla="*/ 3129696 w 7467600"/>
              <a:gd name="connsiteY146" fmla="*/ 4360704 h 6858000"/>
              <a:gd name="connsiteX147" fmla="*/ 2814545 w 7467600"/>
              <a:gd name="connsiteY147" fmla="*/ 4282955 h 6858000"/>
              <a:gd name="connsiteX148" fmla="*/ 2305292 w 7467600"/>
              <a:gd name="connsiteY148" fmla="*/ 4219492 h 6858000"/>
              <a:gd name="connsiteX149" fmla="*/ 2626982 w 7467600"/>
              <a:gd name="connsiteY149" fmla="*/ 4206450 h 6858000"/>
              <a:gd name="connsiteX150" fmla="*/ 2490617 w 7467600"/>
              <a:gd name="connsiteY150" fmla="*/ 4206951 h 6858000"/>
              <a:gd name="connsiteX151" fmla="*/ 2819869 w 7467600"/>
              <a:gd name="connsiteY151" fmla="*/ 4252936 h 6858000"/>
              <a:gd name="connsiteX152" fmla="*/ 3143018 w 7467600"/>
              <a:gd name="connsiteY152" fmla="*/ 4332698 h 6858000"/>
              <a:gd name="connsiteX153" fmla="*/ 3241520 w 7467600"/>
              <a:gd name="connsiteY153" fmla="*/ 4385112 h 6858000"/>
              <a:gd name="connsiteX154" fmla="*/ 3374575 w 7467600"/>
              <a:gd name="connsiteY154" fmla="*/ 4451517 h 6858000"/>
              <a:gd name="connsiteX155" fmla="*/ 3505221 w 7467600"/>
              <a:gd name="connsiteY155" fmla="*/ 4480757 h 6858000"/>
              <a:gd name="connsiteX156" fmla="*/ 2626982 w 7467600"/>
              <a:gd name="connsiteY156" fmla="*/ 4206450 h 6858000"/>
              <a:gd name="connsiteX157" fmla="*/ 1310106 w 7467600"/>
              <a:gd name="connsiteY157" fmla="*/ 3943217 h 6858000"/>
              <a:gd name="connsiteX158" fmla="*/ 854994 w 7467600"/>
              <a:gd name="connsiteY158" fmla="*/ 4399136 h 6858000"/>
              <a:gd name="connsiteX159" fmla="*/ 742462 w 7467600"/>
              <a:gd name="connsiteY159" fmla="*/ 4594648 h 6858000"/>
              <a:gd name="connsiteX160" fmla="*/ 820602 w 7467600"/>
              <a:gd name="connsiteY160" fmla="*/ 4485915 h 6858000"/>
              <a:gd name="connsiteX161" fmla="*/ 878295 w 7467600"/>
              <a:gd name="connsiteY161" fmla="*/ 4403594 h 6858000"/>
              <a:gd name="connsiteX162" fmla="*/ 1240607 w 7467600"/>
              <a:gd name="connsiteY162" fmla="*/ 4010401 h 6858000"/>
              <a:gd name="connsiteX163" fmla="*/ 1310106 w 7467600"/>
              <a:gd name="connsiteY163" fmla="*/ 3943217 h 6858000"/>
              <a:gd name="connsiteX164" fmla="*/ 1423113 w 7467600"/>
              <a:gd name="connsiteY164" fmla="*/ 3874565 h 6858000"/>
              <a:gd name="connsiteX165" fmla="*/ 1260565 w 7467600"/>
              <a:gd name="connsiteY165" fmla="*/ 4031982 h 6858000"/>
              <a:gd name="connsiteX166" fmla="*/ 901900 w 7467600"/>
              <a:gd name="connsiteY166" fmla="*/ 4421236 h 6858000"/>
              <a:gd name="connsiteX167" fmla="*/ 845044 w 7467600"/>
              <a:gd name="connsiteY167" fmla="*/ 4502436 h 6858000"/>
              <a:gd name="connsiteX168" fmla="*/ 685926 w 7467600"/>
              <a:gd name="connsiteY168" fmla="*/ 4703069 h 6858000"/>
              <a:gd name="connsiteX169" fmla="*/ 684248 w 7467600"/>
              <a:gd name="connsiteY169" fmla="*/ 4706721 h 6858000"/>
              <a:gd name="connsiteX170" fmla="*/ 1423113 w 7467600"/>
              <a:gd name="connsiteY170" fmla="*/ 3874565 h 6858000"/>
              <a:gd name="connsiteX171" fmla="*/ 3316479 w 7467600"/>
              <a:gd name="connsiteY171" fmla="*/ 3872136 h 6858000"/>
              <a:gd name="connsiteX172" fmla="*/ 3546806 w 7467600"/>
              <a:gd name="connsiteY172" fmla="*/ 4356139 h 6858000"/>
              <a:gd name="connsiteX173" fmla="*/ 3364433 w 7467600"/>
              <a:gd name="connsiteY173" fmla="*/ 3953121 h 6858000"/>
              <a:gd name="connsiteX174" fmla="*/ 3316479 w 7467600"/>
              <a:gd name="connsiteY174" fmla="*/ 3872136 h 6858000"/>
              <a:gd name="connsiteX175" fmla="*/ 3291335 w 7467600"/>
              <a:gd name="connsiteY175" fmla="*/ 3767420 h 6858000"/>
              <a:gd name="connsiteX176" fmla="*/ 3390805 w 7467600"/>
              <a:gd name="connsiteY176" fmla="*/ 3937163 h 6858000"/>
              <a:gd name="connsiteX177" fmla="*/ 3579062 w 7467600"/>
              <a:gd name="connsiteY177" fmla="*/ 4359040 h 6858000"/>
              <a:gd name="connsiteX178" fmla="*/ 3467355 w 7467600"/>
              <a:gd name="connsiteY178" fmla="*/ 3988130 h 6858000"/>
              <a:gd name="connsiteX179" fmla="*/ 3310753 w 7467600"/>
              <a:gd name="connsiteY179" fmla="*/ 3787140 h 6858000"/>
              <a:gd name="connsiteX180" fmla="*/ 3291335 w 7467600"/>
              <a:gd name="connsiteY180" fmla="*/ 3767420 h 6858000"/>
              <a:gd name="connsiteX181" fmla="*/ 1635889 w 7467600"/>
              <a:gd name="connsiteY181" fmla="*/ 3709494 h 6858000"/>
              <a:gd name="connsiteX182" fmla="*/ 1634800 w 7467600"/>
              <a:gd name="connsiteY182" fmla="*/ 3731111 h 6858000"/>
              <a:gd name="connsiteX183" fmla="*/ 1635889 w 7467600"/>
              <a:gd name="connsiteY183" fmla="*/ 3709494 h 6858000"/>
              <a:gd name="connsiteX184" fmla="*/ 1510397 w 7467600"/>
              <a:gd name="connsiteY184" fmla="*/ 3684705 h 6858000"/>
              <a:gd name="connsiteX185" fmla="*/ 1146550 w 7467600"/>
              <a:gd name="connsiteY185" fmla="*/ 3802012 h 6858000"/>
              <a:gd name="connsiteX186" fmla="*/ 698834 w 7467600"/>
              <a:gd name="connsiteY186" fmla="*/ 3952272 h 6858000"/>
              <a:gd name="connsiteX187" fmla="*/ 34256 w 7467600"/>
              <a:gd name="connsiteY187" fmla="*/ 4347603 h 6858000"/>
              <a:gd name="connsiteX188" fmla="*/ 527241 w 7467600"/>
              <a:gd name="connsiteY188" fmla="*/ 4065078 h 6858000"/>
              <a:gd name="connsiteX189" fmla="*/ 1510397 w 7467600"/>
              <a:gd name="connsiteY189" fmla="*/ 3684705 h 6858000"/>
              <a:gd name="connsiteX190" fmla="*/ 1313114 w 7467600"/>
              <a:gd name="connsiteY190" fmla="*/ 3655216 h 6858000"/>
              <a:gd name="connsiteX191" fmla="*/ 1109304 w 7467600"/>
              <a:gd name="connsiteY191" fmla="*/ 3669030 h 6858000"/>
              <a:gd name="connsiteX192" fmla="*/ 8129 w 7467600"/>
              <a:gd name="connsiteY192" fmla="*/ 4330519 h 6858000"/>
              <a:gd name="connsiteX193" fmla="*/ 687572 w 7467600"/>
              <a:gd name="connsiteY193" fmla="*/ 3925629 h 6858000"/>
              <a:gd name="connsiteX194" fmla="*/ 1138365 w 7467600"/>
              <a:gd name="connsiteY194" fmla="*/ 3774515 h 6858000"/>
              <a:gd name="connsiteX195" fmla="*/ 1505579 w 7467600"/>
              <a:gd name="connsiteY195" fmla="*/ 3655526 h 6858000"/>
              <a:gd name="connsiteX196" fmla="*/ 1313114 w 7467600"/>
              <a:gd name="connsiteY196" fmla="*/ 3655216 h 6858000"/>
              <a:gd name="connsiteX197" fmla="*/ 3655073 w 7467600"/>
              <a:gd name="connsiteY197" fmla="*/ 3650884 h 6858000"/>
              <a:gd name="connsiteX198" fmla="*/ 3989938 w 7467600"/>
              <a:gd name="connsiteY198" fmla="*/ 3991685 h 6858000"/>
              <a:gd name="connsiteX199" fmla="*/ 4393907 w 7467600"/>
              <a:gd name="connsiteY199" fmla="*/ 4261258 h 6858000"/>
              <a:gd name="connsiteX200" fmla="*/ 4648051 w 7467600"/>
              <a:gd name="connsiteY200" fmla="*/ 4374051 h 6858000"/>
              <a:gd name="connsiteX201" fmla="*/ 4383389 w 7467600"/>
              <a:gd name="connsiteY201" fmla="*/ 4184369 h 6858000"/>
              <a:gd name="connsiteX202" fmla="*/ 4165508 w 7467600"/>
              <a:gd name="connsiteY202" fmla="*/ 4035196 h 6858000"/>
              <a:gd name="connsiteX203" fmla="*/ 4068162 w 7467600"/>
              <a:gd name="connsiteY203" fmla="*/ 3953394 h 6858000"/>
              <a:gd name="connsiteX204" fmla="*/ 3981416 w 7467600"/>
              <a:gd name="connsiteY204" fmla="*/ 3880482 h 6858000"/>
              <a:gd name="connsiteX205" fmla="*/ 3800147 w 7467600"/>
              <a:gd name="connsiteY205" fmla="*/ 3749872 h 6858000"/>
              <a:gd name="connsiteX206" fmla="*/ 3655073 w 7467600"/>
              <a:gd name="connsiteY206" fmla="*/ 3650884 h 6858000"/>
              <a:gd name="connsiteX207" fmla="*/ 3670252 w 7467600"/>
              <a:gd name="connsiteY207" fmla="*/ 3622798 h 6858000"/>
              <a:gd name="connsiteX208" fmla="*/ 3817258 w 7467600"/>
              <a:gd name="connsiteY208" fmla="*/ 3723577 h 6858000"/>
              <a:gd name="connsiteX209" fmla="*/ 4000461 w 7467600"/>
              <a:gd name="connsiteY209" fmla="*/ 3855966 h 6858000"/>
              <a:gd name="connsiteX210" fmla="*/ 4088180 w 7467600"/>
              <a:gd name="connsiteY210" fmla="*/ 3929774 h 6858000"/>
              <a:gd name="connsiteX211" fmla="*/ 4184555 w 7467600"/>
              <a:gd name="connsiteY211" fmla="*/ 4010683 h 6858000"/>
              <a:gd name="connsiteX212" fmla="*/ 4399563 w 7467600"/>
              <a:gd name="connsiteY212" fmla="*/ 4158106 h 6858000"/>
              <a:gd name="connsiteX213" fmla="*/ 4684469 w 7467600"/>
              <a:gd name="connsiteY213" fmla="*/ 4364680 h 6858000"/>
              <a:gd name="connsiteX214" fmla="*/ 4690271 w 7467600"/>
              <a:gd name="connsiteY214" fmla="*/ 4370034 h 6858000"/>
              <a:gd name="connsiteX215" fmla="*/ 4136093 w 7467600"/>
              <a:gd name="connsiteY215" fmla="*/ 3858466 h 6858000"/>
              <a:gd name="connsiteX216" fmla="*/ 3670252 w 7467600"/>
              <a:gd name="connsiteY216" fmla="*/ 3622798 h 6858000"/>
              <a:gd name="connsiteX217" fmla="*/ 4440129 w 7467600"/>
              <a:gd name="connsiteY217" fmla="*/ 3448571 h 6858000"/>
              <a:gd name="connsiteX218" fmla="*/ 4856525 w 7467600"/>
              <a:gd name="connsiteY218" fmla="*/ 3915351 h 6858000"/>
              <a:gd name="connsiteX219" fmla="*/ 5059055 w 7467600"/>
              <a:gd name="connsiteY219" fmla="*/ 4108918 h 6858000"/>
              <a:gd name="connsiteX220" fmla="*/ 5290070 w 7467600"/>
              <a:gd name="connsiteY220" fmla="*/ 4263619 h 6858000"/>
              <a:gd name="connsiteX221" fmla="*/ 4834991 w 7467600"/>
              <a:gd name="connsiteY221" fmla="*/ 3830985 h 6858000"/>
              <a:gd name="connsiteX222" fmla="*/ 4440129 w 7467600"/>
              <a:gd name="connsiteY222" fmla="*/ 3448571 h 6858000"/>
              <a:gd name="connsiteX223" fmla="*/ 4441737 w 7467600"/>
              <a:gd name="connsiteY223" fmla="*/ 3399734 h 6858000"/>
              <a:gd name="connsiteX224" fmla="*/ 4431236 w 7467600"/>
              <a:gd name="connsiteY224" fmla="*/ 3400954 h 6858000"/>
              <a:gd name="connsiteX225" fmla="*/ 4557150 w 7467600"/>
              <a:gd name="connsiteY225" fmla="*/ 3510023 h 6858000"/>
              <a:gd name="connsiteX226" fmla="*/ 4856936 w 7467600"/>
              <a:gd name="connsiteY226" fmla="*/ 3809146 h 6858000"/>
              <a:gd name="connsiteX227" fmla="*/ 5111996 w 7467600"/>
              <a:gd name="connsiteY227" fmla="*/ 4065759 h 6858000"/>
              <a:gd name="connsiteX228" fmla="*/ 5388878 w 7467600"/>
              <a:gd name="connsiteY228" fmla="*/ 4300185 h 6858000"/>
              <a:gd name="connsiteX229" fmla="*/ 5425556 w 7467600"/>
              <a:gd name="connsiteY229" fmla="*/ 4308967 h 6858000"/>
              <a:gd name="connsiteX230" fmla="*/ 4943646 w 7467600"/>
              <a:gd name="connsiteY230" fmla="*/ 3822916 h 6858000"/>
              <a:gd name="connsiteX231" fmla="*/ 4594837 w 7467600"/>
              <a:gd name="connsiteY231" fmla="*/ 3532274 h 6858000"/>
              <a:gd name="connsiteX232" fmla="*/ 4441737 w 7467600"/>
              <a:gd name="connsiteY232" fmla="*/ 3399734 h 6858000"/>
              <a:gd name="connsiteX233" fmla="*/ 5425834 w 7467600"/>
              <a:gd name="connsiteY233" fmla="*/ 3162785 h 6858000"/>
              <a:gd name="connsiteX234" fmla="*/ 5401644 w 7467600"/>
              <a:gd name="connsiteY234" fmla="*/ 3617847 h 6858000"/>
              <a:gd name="connsiteX235" fmla="*/ 5467256 w 7467600"/>
              <a:gd name="connsiteY235" fmla="*/ 4175494 h 6858000"/>
              <a:gd name="connsiteX236" fmla="*/ 5448069 w 7467600"/>
              <a:gd name="connsiteY236" fmla="*/ 3567554 h 6858000"/>
              <a:gd name="connsiteX237" fmla="*/ 5425834 w 7467600"/>
              <a:gd name="connsiteY237" fmla="*/ 3162785 h 6858000"/>
              <a:gd name="connsiteX238" fmla="*/ 1318687 w 7467600"/>
              <a:gd name="connsiteY238" fmla="*/ 3113840 h 6858000"/>
              <a:gd name="connsiteX239" fmla="*/ 1066793 w 7467600"/>
              <a:gd name="connsiteY239" fmla="*/ 3212171 h 6858000"/>
              <a:gd name="connsiteX240" fmla="*/ 993319 w 7467600"/>
              <a:gd name="connsiteY240" fmla="*/ 3247648 h 6858000"/>
              <a:gd name="connsiteX241" fmla="*/ 853081 w 7467600"/>
              <a:gd name="connsiteY241" fmla="*/ 3312410 h 6858000"/>
              <a:gd name="connsiteX242" fmla="*/ 805957 w 7467600"/>
              <a:gd name="connsiteY242" fmla="*/ 3330443 h 6858000"/>
              <a:gd name="connsiteX243" fmla="*/ 1318687 w 7467600"/>
              <a:gd name="connsiteY243" fmla="*/ 3113840 h 6858000"/>
              <a:gd name="connsiteX244" fmla="*/ 5453702 w 7467600"/>
              <a:gd name="connsiteY244" fmla="*/ 3090882 h 6858000"/>
              <a:gd name="connsiteX245" fmla="*/ 5480135 w 7467600"/>
              <a:gd name="connsiteY245" fmla="*/ 3565802 h 6858000"/>
              <a:gd name="connsiteX246" fmla="*/ 5499023 w 7467600"/>
              <a:gd name="connsiteY246" fmla="*/ 4166310 h 6858000"/>
              <a:gd name="connsiteX247" fmla="*/ 5547022 w 7467600"/>
              <a:gd name="connsiteY247" fmla="*/ 3607838 h 6858000"/>
              <a:gd name="connsiteX248" fmla="*/ 5515964 w 7467600"/>
              <a:gd name="connsiteY248" fmla="*/ 3378541 h 6858000"/>
              <a:gd name="connsiteX249" fmla="*/ 5453702 w 7467600"/>
              <a:gd name="connsiteY249" fmla="*/ 3090882 h 6858000"/>
              <a:gd name="connsiteX250" fmla="*/ 1238695 w 7467600"/>
              <a:gd name="connsiteY250" fmla="*/ 3076820 h 6858000"/>
              <a:gd name="connsiteX251" fmla="*/ 716371 w 7467600"/>
              <a:gd name="connsiteY251" fmla="*/ 3293249 h 6858000"/>
              <a:gd name="connsiteX252" fmla="*/ 579522 w 7467600"/>
              <a:gd name="connsiteY252" fmla="*/ 3371759 h 6858000"/>
              <a:gd name="connsiteX253" fmla="*/ 600288 w 7467600"/>
              <a:gd name="connsiteY253" fmla="*/ 3365555 h 6858000"/>
              <a:gd name="connsiteX254" fmla="*/ 840692 w 7467600"/>
              <a:gd name="connsiteY254" fmla="*/ 3284921 h 6858000"/>
              <a:gd name="connsiteX255" fmla="*/ 979248 w 7467600"/>
              <a:gd name="connsiteY255" fmla="*/ 3221003 h 6858000"/>
              <a:gd name="connsiteX256" fmla="*/ 1053282 w 7467600"/>
              <a:gd name="connsiteY256" fmla="*/ 3185247 h 6858000"/>
              <a:gd name="connsiteX257" fmla="*/ 1320603 w 7467600"/>
              <a:gd name="connsiteY257" fmla="*/ 3081281 h 6858000"/>
              <a:gd name="connsiteX258" fmla="*/ 1238695 w 7467600"/>
              <a:gd name="connsiteY258" fmla="*/ 3076820 h 6858000"/>
              <a:gd name="connsiteX259" fmla="*/ 5425627 w 7467600"/>
              <a:gd name="connsiteY259" fmla="*/ 2954192 h 6858000"/>
              <a:gd name="connsiteX260" fmla="*/ 5470770 w 7467600"/>
              <a:gd name="connsiteY260" fmla="*/ 3005435 h 6858000"/>
              <a:gd name="connsiteX261" fmla="*/ 5519779 w 7467600"/>
              <a:gd name="connsiteY261" fmla="*/ 4359223 h 6858000"/>
              <a:gd name="connsiteX262" fmla="*/ 5520293 w 7467600"/>
              <a:gd name="connsiteY262" fmla="*/ 4360602 h 6858000"/>
              <a:gd name="connsiteX263" fmla="*/ 5767221 w 7467600"/>
              <a:gd name="connsiteY263" fmla="*/ 4665564 h 6858000"/>
              <a:gd name="connsiteX264" fmla="*/ 6937169 w 7467600"/>
              <a:gd name="connsiteY264" fmla="*/ 4815941 h 6858000"/>
              <a:gd name="connsiteX265" fmla="*/ 6953922 w 7467600"/>
              <a:gd name="connsiteY265" fmla="*/ 4890068 h 6858000"/>
              <a:gd name="connsiteX266" fmla="*/ 6071359 w 7467600"/>
              <a:gd name="connsiteY266" fmla="*/ 4770770 h 6858000"/>
              <a:gd name="connsiteX267" fmla="*/ 6038839 w 7467600"/>
              <a:gd name="connsiteY267" fmla="*/ 4764474 h 6858000"/>
              <a:gd name="connsiteX268" fmla="*/ 6038706 w 7467600"/>
              <a:gd name="connsiteY268" fmla="*/ 4763847 h 6858000"/>
              <a:gd name="connsiteX269" fmla="*/ 6037784 w 7467600"/>
              <a:gd name="connsiteY269" fmla="*/ 4764270 h 6858000"/>
              <a:gd name="connsiteX270" fmla="*/ 6038839 w 7467600"/>
              <a:gd name="connsiteY270" fmla="*/ 4764474 h 6858000"/>
              <a:gd name="connsiteX271" fmla="*/ 6040338 w 7467600"/>
              <a:gd name="connsiteY271" fmla="*/ 4771418 h 6858000"/>
              <a:gd name="connsiteX272" fmla="*/ 6024488 w 7467600"/>
              <a:gd name="connsiteY272" fmla="*/ 4809903 h 6858000"/>
              <a:gd name="connsiteX273" fmla="*/ 5599771 w 7467600"/>
              <a:gd name="connsiteY273" fmla="*/ 5509652 h 6858000"/>
              <a:gd name="connsiteX274" fmla="*/ 5548843 w 7467600"/>
              <a:gd name="connsiteY274" fmla="*/ 5563845 h 6858000"/>
              <a:gd name="connsiteX275" fmla="*/ 5940952 w 7467600"/>
              <a:gd name="connsiteY275" fmla="*/ 6250028 h 6858000"/>
              <a:gd name="connsiteX276" fmla="*/ 6043441 w 7467600"/>
              <a:gd name="connsiteY276" fmla="*/ 6665847 h 6858000"/>
              <a:gd name="connsiteX277" fmla="*/ 6093432 w 7467600"/>
              <a:gd name="connsiteY277" fmla="*/ 6858000 h 6858000"/>
              <a:gd name="connsiteX278" fmla="*/ 6034344 w 7467600"/>
              <a:gd name="connsiteY278" fmla="*/ 6858000 h 6858000"/>
              <a:gd name="connsiteX279" fmla="*/ 6026679 w 7467600"/>
              <a:gd name="connsiteY279" fmla="*/ 6836959 h 6858000"/>
              <a:gd name="connsiteX280" fmla="*/ 5800441 w 7467600"/>
              <a:gd name="connsiteY280" fmla="*/ 6335286 h 6858000"/>
              <a:gd name="connsiteX281" fmla="*/ 5526562 w 7467600"/>
              <a:gd name="connsiteY281" fmla="*/ 5705388 h 6858000"/>
              <a:gd name="connsiteX282" fmla="*/ 5519640 w 7467600"/>
              <a:gd name="connsiteY282" fmla="*/ 5683774 h 6858000"/>
              <a:gd name="connsiteX283" fmla="*/ 5844559 w 7467600"/>
              <a:gd name="connsiteY283" fmla="*/ 6553349 h 6858000"/>
              <a:gd name="connsiteX284" fmla="*/ 5975994 w 7467600"/>
              <a:gd name="connsiteY284" fmla="*/ 6858000 h 6858000"/>
              <a:gd name="connsiteX285" fmla="*/ 5898547 w 7467600"/>
              <a:gd name="connsiteY285" fmla="*/ 6858000 h 6858000"/>
              <a:gd name="connsiteX286" fmla="*/ 5682041 w 7467600"/>
              <a:gd name="connsiteY286" fmla="*/ 6355860 h 6858000"/>
              <a:gd name="connsiteX287" fmla="*/ 5461758 w 7467600"/>
              <a:gd name="connsiteY287" fmla="*/ 5820220 h 6858000"/>
              <a:gd name="connsiteX288" fmla="*/ 5237282 w 7467600"/>
              <a:gd name="connsiteY288" fmla="*/ 6579086 h 6858000"/>
              <a:gd name="connsiteX289" fmla="*/ 5115009 w 7467600"/>
              <a:gd name="connsiteY289" fmla="*/ 6858000 h 6858000"/>
              <a:gd name="connsiteX290" fmla="*/ 5028074 w 7467600"/>
              <a:gd name="connsiteY290" fmla="*/ 6858000 h 6858000"/>
              <a:gd name="connsiteX291" fmla="*/ 5079508 w 7467600"/>
              <a:gd name="connsiteY291" fmla="*/ 6749074 h 6858000"/>
              <a:gd name="connsiteX292" fmla="*/ 5371846 w 7467600"/>
              <a:gd name="connsiteY292" fmla="*/ 5924413 h 6858000"/>
              <a:gd name="connsiteX293" fmla="*/ 5270512 w 7467600"/>
              <a:gd name="connsiteY293" fmla="*/ 6138975 h 6858000"/>
              <a:gd name="connsiteX294" fmla="*/ 5062409 w 7467600"/>
              <a:gd name="connsiteY294" fmla="*/ 6653544 h 6858000"/>
              <a:gd name="connsiteX295" fmla="*/ 5036628 w 7467600"/>
              <a:gd name="connsiteY295" fmla="*/ 6754247 h 6858000"/>
              <a:gd name="connsiteX296" fmla="*/ 5009112 w 7467600"/>
              <a:gd name="connsiteY296" fmla="*/ 6858000 h 6858000"/>
              <a:gd name="connsiteX297" fmla="*/ 4976679 w 7467600"/>
              <a:gd name="connsiteY297" fmla="*/ 6858000 h 6858000"/>
              <a:gd name="connsiteX298" fmla="*/ 5006537 w 7467600"/>
              <a:gd name="connsiteY298" fmla="*/ 6747068 h 6858000"/>
              <a:gd name="connsiteX299" fmla="*/ 5032723 w 7467600"/>
              <a:gd name="connsiteY299" fmla="*/ 6644957 h 6858000"/>
              <a:gd name="connsiteX300" fmla="*/ 5242949 w 7467600"/>
              <a:gd name="connsiteY300" fmla="*/ 6125175 h 6858000"/>
              <a:gd name="connsiteX301" fmla="*/ 5286321 w 7467600"/>
              <a:gd name="connsiteY301" fmla="*/ 6033555 h 6858000"/>
              <a:gd name="connsiteX302" fmla="*/ 5008210 w 7467600"/>
              <a:gd name="connsiteY302" fmla="*/ 6649194 h 6858000"/>
              <a:gd name="connsiteX303" fmla="*/ 4986321 w 7467600"/>
              <a:gd name="connsiteY303" fmla="*/ 6765687 h 6858000"/>
              <a:gd name="connsiteX304" fmla="*/ 4973474 w 7467600"/>
              <a:gd name="connsiteY304" fmla="*/ 6858000 h 6858000"/>
              <a:gd name="connsiteX305" fmla="*/ 4907178 w 7467600"/>
              <a:gd name="connsiteY305" fmla="*/ 6858000 h 6858000"/>
              <a:gd name="connsiteX306" fmla="*/ 4910810 w 7467600"/>
              <a:gd name="connsiteY306" fmla="*/ 6829660 h 6858000"/>
              <a:gd name="connsiteX307" fmla="*/ 4987461 w 7467600"/>
              <a:gd name="connsiteY307" fmla="*/ 6432994 h 6858000"/>
              <a:gd name="connsiteX308" fmla="*/ 5179262 w 7467600"/>
              <a:gd name="connsiteY308" fmla="*/ 6035044 h 6858000"/>
              <a:gd name="connsiteX309" fmla="*/ 4689678 w 7467600"/>
              <a:gd name="connsiteY309" fmla="*/ 6440241 h 6858000"/>
              <a:gd name="connsiteX310" fmla="*/ 4477543 w 7467600"/>
              <a:gd name="connsiteY310" fmla="*/ 6674836 h 6858000"/>
              <a:gd name="connsiteX311" fmla="*/ 4329957 w 7467600"/>
              <a:gd name="connsiteY311" fmla="*/ 6858000 h 6858000"/>
              <a:gd name="connsiteX312" fmla="*/ 4218595 w 7467600"/>
              <a:gd name="connsiteY312" fmla="*/ 6858000 h 6858000"/>
              <a:gd name="connsiteX313" fmla="*/ 4368888 w 7467600"/>
              <a:gd name="connsiteY313" fmla="*/ 6668412 h 6858000"/>
              <a:gd name="connsiteX314" fmla="*/ 4563091 w 7467600"/>
              <a:gd name="connsiteY314" fmla="*/ 6442508 h 6858000"/>
              <a:gd name="connsiteX315" fmla="*/ 5387324 w 7467600"/>
              <a:gd name="connsiteY315" fmla="*/ 5705830 h 6858000"/>
              <a:gd name="connsiteX316" fmla="*/ 5073620 w 7467600"/>
              <a:gd name="connsiteY316" fmla="*/ 5955437 h 6858000"/>
              <a:gd name="connsiteX317" fmla="*/ 4689789 w 7467600"/>
              <a:gd name="connsiteY317" fmla="*/ 6268382 h 6858000"/>
              <a:gd name="connsiteX318" fmla="*/ 4418722 w 7467600"/>
              <a:gd name="connsiteY318" fmla="*/ 6570886 h 6858000"/>
              <a:gd name="connsiteX319" fmla="*/ 4214944 w 7467600"/>
              <a:gd name="connsiteY319" fmla="*/ 6858000 h 6858000"/>
              <a:gd name="connsiteX320" fmla="*/ 4177898 w 7467600"/>
              <a:gd name="connsiteY320" fmla="*/ 6858000 h 6858000"/>
              <a:gd name="connsiteX321" fmla="*/ 4391597 w 7467600"/>
              <a:gd name="connsiteY321" fmla="*/ 6556370 h 6858000"/>
              <a:gd name="connsiteX322" fmla="*/ 4668889 w 7467600"/>
              <a:gd name="connsiteY322" fmla="*/ 6246399 h 6858000"/>
              <a:gd name="connsiteX323" fmla="*/ 5055427 w 7467600"/>
              <a:gd name="connsiteY323" fmla="*/ 5931476 h 6858000"/>
              <a:gd name="connsiteX324" fmla="*/ 5371814 w 7467600"/>
              <a:gd name="connsiteY324" fmla="*/ 5678975 h 6858000"/>
              <a:gd name="connsiteX325" fmla="*/ 4987918 w 7467600"/>
              <a:gd name="connsiteY325" fmla="*/ 5838701 h 6858000"/>
              <a:gd name="connsiteX326" fmla="*/ 4317146 w 7467600"/>
              <a:gd name="connsiteY326" fmla="*/ 6587716 h 6858000"/>
              <a:gd name="connsiteX327" fmla="*/ 4171627 w 7467600"/>
              <a:gd name="connsiteY327" fmla="*/ 6858000 h 6858000"/>
              <a:gd name="connsiteX328" fmla="*/ 4081585 w 7467600"/>
              <a:gd name="connsiteY328" fmla="*/ 6858000 h 6858000"/>
              <a:gd name="connsiteX329" fmla="*/ 4238603 w 7467600"/>
              <a:gd name="connsiteY329" fmla="*/ 6559341 h 6858000"/>
              <a:gd name="connsiteX330" fmla="*/ 4778333 w 7467600"/>
              <a:gd name="connsiteY330" fmla="*/ 5873626 h 6858000"/>
              <a:gd name="connsiteX331" fmla="*/ 5414185 w 7467600"/>
              <a:gd name="connsiteY331" fmla="*/ 5573882 h 6858000"/>
              <a:gd name="connsiteX332" fmla="*/ 5959648 w 7467600"/>
              <a:gd name="connsiteY332" fmla="*/ 4760797 h 6858000"/>
              <a:gd name="connsiteX333" fmla="*/ 5355019 w 7467600"/>
              <a:gd name="connsiteY333" fmla="*/ 4734672 h 6858000"/>
              <a:gd name="connsiteX334" fmla="*/ 5083565 w 7467600"/>
              <a:gd name="connsiteY334" fmla="*/ 5179121 h 6858000"/>
              <a:gd name="connsiteX335" fmla="*/ 4713577 w 7467600"/>
              <a:gd name="connsiteY335" fmla="*/ 5616803 h 6858000"/>
              <a:gd name="connsiteX336" fmla="*/ 3989559 w 7467600"/>
              <a:gd name="connsiteY336" fmla="*/ 6145945 h 6858000"/>
              <a:gd name="connsiteX337" fmla="*/ 3939824 w 7467600"/>
              <a:gd name="connsiteY337" fmla="*/ 6066900 h 6858000"/>
              <a:gd name="connsiteX338" fmla="*/ 4584537 w 7467600"/>
              <a:gd name="connsiteY338" fmla="*/ 5324826 h 6858000"/>
              <a:gd name="connsiteX339" fmla="*/ 5037105 w 7467600"/>
              <a:gd name="connsiteY339" fmla="*/ 5088765 h 6858000"/>
              <a:gd name="connsiteX340" fmla="*/ 5039930 w 7467600"/>
              <a:gd name="connsiteY340" fmla="*/ 5089585 h 6858000"/>
              <a:gd name="connsiteX341" fmla="*/ 5263764 w 7467600"/>
              <a:gd name="connsiteY341" fmla="*/ 4735525 h 6858000"/>
              <a:gd name="connsiteX342" fmla="*/ 4086300 w 7467600"/>
              <a:gd name="connsiteY342" fmla="*/ 4884599 h 6858000"/>
              <a:gd name="connsiteX343" fmla="*/ 4085485 w 7467600"/>
              <a:gd name="connsiteY343" fmla="*/ 4899070 h 6858000"/>
              <a:gd name="connsiteX344" fmla="*/ 3871915 w 7467600"/>
              <a:gd name="connsiteY344" fmla="*/ 5253645 h 6858000"/>
              <a:gd name="connsiteX345" fmla="*/ 3799374 w 7467600"/>
              <a:gd name="connsiteY345" fmla="*/ 5466127 h 6858000"/>
              <a:gd name="connsiteX346" fmla="*/ 3498850 w 7467600"/>
              <a:gd name="connsiteY346" fmla="*/ 6661888 h 6858000"/>
              <a:gd name="connsiteX347" fmla="*/ 3399216 w 7467600"/>
              <a:gd name="connsiteY347" fmla="*/ 6858000 h 6858000"/>
              <a:gd name="connsiteX348" fmla="*/ 3303688 w 7467600"/>
              <a:gd name="connsiteY348" fmla="*/ 6858000 h 6858000"/>
              <a:gd name="connsiteX349" fmla="*/ 3391774 w 7467600"/>
              <a:gd name="connsiteY349" fmla="*/ 6697181 h 6858000"/>
              <a:gd name="connsiteX350" fmla="*/ 3735540 w 7467600"/>
              <a:gd name="connsiteY350" fmla="*/ 5546923 h 6858000"/>
              <a:gd name="connsiteX351" fmla="*/ 3729438 w 7467600"/>
              <a:gd name="connsiteY351" fmla="*/ 5569058 h 6858000"/>
              <a:gd name="connsiteX352" fmla="*/ 3707782 w 7467600"/>
              <a:gd name="connsiteY352" fmla="*/ 5644908 h 6858000"/>
              <a:gd name="connsiteX353" fmla="*/ 3583827 w 7467600"/>
              <a:gd name="connsiteY353" fmla="*/ 6039215 h 6858000"/>
              <a:gd name="connsiteX354" fmla="*/ 3547861 w 7467600"/>
              <a:gd name="connsiteY354" fmla="*/ 6129609 h 6858000"/>
              <a:gd name="connsiteX355" fmla="*/ 3490905 w 7467600"/>
              <a:gd name="connsiteY355" fmla="*/ 6277660 h 6858000"/>
              <a:gd name="connsiteX356" fmla="*/ 3455859 w 7467600"/>
              <a:gd name="connsiteY356" fmla="*/ 6391301 h 6858000"/>
              <a:gd name="connsiteX357" fmla="*/ 3429112 w 7467600"/>
              <a:gd name="connsiteY357" fmla="*/ 6479469 h 6858000"/>
              <a:gd name="connsiteX358" fmla="*/ 3304862 w 7467600"/>
              <a:gd name="connsiteY358" fmla="*/ 6796476 h 6858000"/>
              <a:gd name="connsiteX359" fmla="*/ 3276071 w 7467600"/>
              <a:gd name="connsiteY359" fmla="*/ 6858000 h 6858000"/>
              <a:gd name="connsiteX360" fmla="*/ 3240805 w 7467600"/>
              <a:gd name="connsiteY360" fmla="*/ 6858000 h 6858000"/>
              <a:gd name="connsiteX361" fmla="*/ 3275917 w 7467600"/>
              <a:gd name="connsiteY361" fmla="*/ 6783192 h 6858000"/>
              <a:gd name="connsiteX362" fmla="*/ 3399358 w 7467600"/>
              <a:gd name="connsiteY362" fmla="*/ 6469011 h 6858000"/>
              <a:gd name="connsiteX363" fmla="*/ 3425650 w 7467600"/>
              <a:gd name="connsiteY363" fmla="*/ 6381333 h 6858000"/>
              <a:gd name="connsiteX364" fmla="*/ 3460661 w 7467600"/>
              <a:gd name="connsiteY364" fmla="*/ 6266763 h 6858000"/>
              <a:gd name="connsiteX365" fmla="*/ 3518021 w 7467600"/>
              <a:gd name="connsiteY365" fmla="*/ 6117298 h 6858000"/>
              <a:gd name="connsiteX366" fmla="*/ 3554035 w 7467600"/>
              <a:gd name="connsiteY366" fmla="*/ 6027832 h 6858000"/>
              <a:gd name="connsiteX367" fmla="*/ 3677174 w 7467600"/>
              <a:gd name="connsiteY367" fmla="*/ 5636351 h 6858000"/>
              <a:gd name="connsiteX368" fmla="*/ 3698819 w 7467600"/>
              <a:gd name="connsiteY368" fmla="*/ 5560503 h 6858000"/>
              <a:gd name="connsiteX369" fmla="*/ 3702094 w 7467600"/>
              <a:gd name="connsiteY369" fmla="*/ 5549194 h 6858000"/>
              <a:gd name="connsiteX370" fmla="*/ 3398355 w 7467600"/>
              <a:gd name="connsiteY370" fmla="*/ 6094603 h 6858000"/>
              <a:gd name="connsiteX371" fmla="*/ 3193941 w 7467600"/>
              <a:gd name="connsiteY371" fmla="*/ 6798775 h 6858000"/>
              <a:gd name="connsiteX372" fmla="*/ 3184140 w 7467600"/>
              <a:gd name="connsiteY372" fmla="*/ 6858000 h 6858000"/>
              <a:gd name="connsiteX373" fmla="*/ 3099978 w 7467600"/>
              <a:gd name="connsiteY373" fmla="*/ 6858000 h 6858000"/>
              <a:gd name="connsiteX374" fmla="*/ 3101556 w 7467600"/>
              <a:gd name="connsiteY374" fmla="*/ 6843337 h 6858000"/>
              <a:gd name="connsiteX375" fmla="*/ 3370162 w 7467600"/>
              <a:gd name="connsiteY375" fmla="*/ 5785550 h 6858000"/>
              <a:gd name="connsiteX376" fmla="*/ 3746477 w 7467600"/>
              <a:gd name="connsiteY376" fmla="*/ 5377889 h 6858000"/>
              <a:gd name="connsiteX377" fmla="*/ 3863399 w 7467600"/>
              <a:gd name="connsiteY377" fmla="*/ 5087257 h 6858000"/>
              <a:gd name="connsiteX378" fmla="*/ 3968712 w 7467600"/>
              <a:gd name="connsiteY378" fmla="*/ 4913989 h 6858000"/>
              <a:gd name="connsiteX379" fmla="*/ 2792390 w 7467600"/>
              <a:gd name="connsiteY379" fmla="*/ 5382974 h 6858000"/>
              <a:gd name="connsiteX380" fmla="*/ 2714982 w 7467600"/>
              <a:gd name="connsiteY380" fmla="*/ 5427051 h 6858000"/>
              <a:gd name="connsiteX381" fmla="*/ 2813361 w 7467600"/>
              <a:gd name="connsiteY381" fmla="*/ 6023912 h 6858000"/>
              <a:gd name="connsiteX382" fmla="*/ 2688430 w 7467600"/>
              <a:gd name="connsiteY382" fmla="*/ 6801564 h 6858000"/>
              <a:gd name="connsiteX383" fmla="*/ 2629626 w 7467600"/>
              <a:gd name="connsiteY383" fmla="*/ 6763394 h 6858000"/>
              <a:gd name="connsiteX384" fmla="*/ 2565328 w 7467600"/>
              <a:gd name="connsiteY384" fmla="*/ 5516399 h 6858000"/>
              <a:gd name="connsiteX385" fmla="*/ 1922999 w 7467600"/>
              <a:gd name="connsiteY385" fmla="*/ 5980343 h 6858000"/>
              <a:gd name="connsiteX386" fmla="*/ 1950261 w 7467600"/>
              <a:gd name="connsiteY386" fmla="*/ 6405858 h 6858000"/>
              <a:gd name="connsiteX387" fmla="*/ 2365554 w 7467600"/>
              <a:gd name="connsiteY387" fmla="*/ 6759107 h 6858000"/>
              <a:gd name="connsiteX388" fmla="*/ 2424142 w 7467600"/>
              <a:gd name="connsiteY388" fmla="*/ 6858000 h 6858000"/>
              <a:gd name="connsiteX389" fmla="*/ 2395994 w 7467600"/>
              <a:gd name="connsiteY389" fmla="*/ 6858000 h 6858000"/>
              <a:gd name="connsiteX390" fmla="*/ 2392863 w 7467600"/>
              <a:gd name="connsiteY390" fmla="*/ 6852964 h 6858000"/>
              <a:gd name="connsiteX391" fmla="*/ 2017589 w 7467600"/>
              <a:gd name="connsiteY391" fmla="*/ 6493982 h 6858000"/>
              <a:gd name="connsiteX392" fmla="*/ 2147336 w 7467600"/>
              <a:gd name="connsiteY392" fmla="*/ 6594052 h 6858000"/>
              <a:gd name="connsiteX393" fmla="*/ 2207047 w 7467600"/>
              <a:gd name="connsiteY393" fmla="*/ 6654540 h 6858000"/>
              <a:gd name="connsiteX394" fmla="*/ 2299106 w 7467600"/>
              <a:gd name="connsiteY394" fmla="*/ 6778931 h 6858000"/>
              <a:gd name="connsiteX395" fmla="*/ 2314430 w 7467600"/>
              <a:gd name="connsiteY395" fmla="*/ 6801144 h 6858000"/>
              <a:gd name="connsiteX396" fmla="*/ 2352406 w 7467600"/>
              <a:gd name="connsiteY396" fmla="*/ 6858000 h 6858000"/>
              <a:gd name="connsiteX397" fmla="*/ 2314492 w 7467600"/>
              <a:gd name="connsiteY397" fmla="*/ 6858000 h 6858000"/>
              <a:gd name="connsiteX398" fmla="*/ 2288095 w 7467600"/>
              <a:gd name="connsiteY398" fmla="*/ 6818030 h 6858000"/>
              <a:gd name="connsiteX399" fmla="*/ 2272768 w 7467600"/>
              <a:gd name="connsiteY399" fmla="*/ 6795822 h 6858000"/>
              <a:gd name="connsiteX400" fmla="*/ 2182715 w 7467600"/>
              <a:gd name="connsiteY400" fmla="*/ 6675071 h 6858000"/>
              <a:gd name="connsiteX401" fmla="*/ 2032061 w 7467600"/>
              <a:gd name="connsiteY401" fmla="*/ 6541380 h 6858000"/>
              <a:gd name="connsiteX402" fmla="*/ 2257220 w 7467600"/>
              <a:gd name="connsiteY402" fmla="*/ 6826257 h 6858000"/>
              <a:gd name="connsiteX403" fmla="*/ 2281324 w 7467600"/>
              <a:gd name="connsiteY403" fmla="*/ 6858000 h 6858000"/>
              <a:gd name="connsiteX404" fmla="*/ 2242860 w 7467600"/>
              <a:gd name="connsiteY404" fmla="*/ 6858000 h 6858000"/>
              <a:gd name="connsiteX405" fmla="*/ 2232818 w 7467600"/>
              <a:gd name="connsiteY405" fmla="*/ 6844926 h 6858000"/>
              <a:gd name="connsiteX406" fmla="*/ 1990172 w 7467600"/>
              <a:gd name="connsiteY406" fmla="*/ 6542121 h 6858000"/>
              <a:gd name="connsiteX407" fmla="*/ 2124090 w 7467600"/>
              <a:gd name="connsiteY407" fmla="*/ 6761017 h 6858000"/>
              <a:gd name="connsiteX408" fmla="*/ 2200380 w 7467600"/>
              <a:gd name="connsiteY408" fmla="*/ 6858000 h 6858000"/>
              <a:gd name="connsiteX409" fmla="*/ 2147507 w 7467600"/>
              <a:gd name="connsiteY409" fmla="*/ 6858000 h 6858000"/>
              <a:gd name="connsiteX410" fmla="*/ 2070668 w 7467600"/>
              <a:gd name="connsiteY410" fmla="*/ 6761520 h 6858000"/>
              <a:gd name="connsiteX411" fmla="*/ 1975142 w 7467600"/>
              <a:gd name="connsiteY411" fmla="*/ 6585570 h 6858000"/>
              <a:gd name="connsiteX412" fmla="*/ 2050035 w 7467600"/>
              <a:gd name="connsiteY412" fmla="*/ 6813345 h 6858000"/>
              <a:gd name="connsiteX413" fmla="*/ 2063025 w 7467600"/>
              <a:gd name="connsiteY413" fmla="*/ 6858000 h 6858000"/>
              <a:gd name="connsiteX414" fmla="*/ 2021675 w 7467600"/>
              <a:gd name="connsiteY414" fmla="*/ 6858000 h 6858000"/>
              <a:gd name="connsiteX415" fmla="*/ 2019308 w 7467600"/>
              <a:gd name="connsiteY415" fmla="*/ 6847118 h 6858000"/>
              <a:gd name="connsiteX416" fmla="*/ 1938835 w 7467600"/>
              <a:gd name="connsiteY416" fmla="*/ 6551160 h 6858000"/>
              <a:gd name="connsiteX417" fmla="*/ 1953230 w 7467600"/>
              <a:gd name="connsiteY417" fmla="*/ 6759699 h 6858000"/>
              <a:gd name="connsiteX418" fmla="*/ 1956763 w 7467600"/>
              <a:gd name="connsiteY418" fmla="*/ 6778191 h 6858000"/>
              <a:gd name="connsiteX419" fmla="*/ 1967925 w 7467600"/>
              <a:gd name="connsiteY419" fmla="*/ 6858000 h 6858000"/>
              <a:gd name="connsiteX420" fmla="*/ 1936622 w 7467600"/>
              <a:gd name="connsiteY420" fmla="*/ 6858000 h 6858000"/>
              <a:gd name="connsiteX421" fmla="*/ 1926261 w 7467600"/>
              <a:gd name="connsiteY421" fmla="*/ 6784064 h 6858000"/>
              <a:gd name="connsiteX422" fmla="*/ 1922724 w 7467600"/>
              <a:gd name="connsiteY422" fmla="*/ 6765577 h 6858000"/>
              <a:gd name="connsiteX423" fmla="*/ 1904650 w 7467600"/>
              <a:gd name="connsiteY423" fmla="*/ 6639616 h 6858000"/>
              <a:gd name="connsiteX424" fmla="*/ 1885273 w 7467600"/>
              <a:gd name="connsiteY424" fmla="*/ 6858000 h 6858000"/>
              <a:gd name="connsiteX425" fmla="*/ 1854363 w 7467600"/>
              <a:gd name="connsiteY425" fmla="*/ 6858000 h 6858000"/>
              <a:gd name="connsiteX426" fmla="*/ 1880391 w 7467600"/>
              <a:gd name="connsiteY426" fmla="*/ 6603796 h 6858000"/>
              <a:gd name="connsiteX427" fmla="*/ 1818273 w 7467600"/>
              <a:gd name="connsiteY427" fmla="*/ 6715729 h 6858000"/>
              <a:gd name="connsiteX428" fmla="*/ 1794691 w 7467600"/>
              <a:gd name="connsiteY428" fmla="*/ 6843239 h 6858000"/>
              <a:gd name="connsiteX429" fmla="*/ 1794914 w 7467600"/>
              <a:gd name="connsiteY429" fmla="*/ 6858000 h 6858000"/>
              <a:gd name="connsiteX430" fmla="*/ 1746128 w 7467600"/>
              <a:gd name="connsiteY430" fmla="*/ 6858000 h 6858000"/>
              <a:gd name="connsiteX431" fmla="*/ 1753934 w 7467600"/>
              <a:gd name="connsiteY431" fmla="*/ 6724796 h 6858000"/>
              <a:gd name="connsiteX432" fmla="*/ 1792053 w 7467600"/>
              <a:gd name="connsiteY432" fmla="*/ 6572396 h 6858000"/>
              <a:gd name="connsiteX433" fmla="*/ 1862248 w 7467600"/>
              <a:gd name="connsiteY433" fmla="*/ 6266397 h 6858000"/>
              <a:gd name="connsiteX434" fmla="*/ 1862250 w 7467600"/>
              <a:gd name="connsiteY434" fmla="*/ 6033531 h 6858000"/>
              <a:gd name="connsiteX435" fmla="*/ 1211999 w 7467600"/>
              <a:gd name="connsiteY435" fmla="*/ 6683610 h 6858000"/>
              <a:gd name="connsiteX436" fmla="*/ 1213266 w 7467600"/>
              <a:gd name="connsiteY436" fmla="*/ 6691947 h 6858000"/>
              <a:gd name="connsiteX437" fmla="*/ 1203370 w 7467600"/>
              <a:gd name="connsiteY437" fmla="*/ 6850676 h 6858000"/>
              <a:gd name="connsiteX438" fmla="*/ 1203671 w 7467600"/>
              <a:gd name="connsiteY438" fmla="*/ 6858000 h 6858000"/>
              <a:gd name="connsiteX439" fmla="*/ 1143180 w 7467600"/>
              <a:gd name="connsiteY439" fmla="*/ 6858000 h 6858000"/>
              <a:gd name="connsiteX440" fmla="*/ 1142176 w 7467600"/>
              <a:gd name="connsiteY440" fmla="*/ 6766045 h 6858000"/>
              <a:gd name="connsiteX441" fmla="*/ 1067484 w 7467600"/>
              <a:gd name="connsiteY441" fmla="*/ 6858000 h 6858000"/>
              <a:gd name="connsiteX442" fmla="*/ 953928 w 7467600"/>
              <a:gd name="connsiteY442" fmla="*/ 6858000 h 6858000"/>
              <a:gd name="connsiteX443" fmla="*/ 959715 w 7467600"/>
              <a:gd name="connsiteY443" fmla="*/ 6850185 h 6858000"/>
              <a:gd name="connsiteX444" fmla="*/ 1483788 w 7467600"/>
              <a:gd name="connsiteY444" fmla="*/ 6259174 h 6858000"/>
              <a:gd name="connsiteX445" fmla="*/ 1100671 w 7467600"/>
              <a:gd name="connsiteY445" fmla="*/ 6252137 h 6858000"/>
              <a:gd name="connsiteX446" fmla="*/ 1090144 w 7467600"/>
              <a:gd name="connsiteY446" fmla="*/ 6256748 h 6858000"/>
              <a:gd name="connsiteX447" fmla="*/ 1095872 w 7467600"/>
              <a:gd name="connsiteY447" fmla="*/ 6271892 h 6858000"/>
              <a:gd name="connsiteX448" fmla="*/ 262785 w 7467600"/>
              <a:gd name="connsiteY448" fmla="*/ 6845450 h 6858000"/>
              <a:gd name="connsiteX449" fmla="*/ 209968 w 7467600"/>
              <a:gd name="connsiteY449" fmla="*/ 6770713 h 6858000"/>
              <a:gd name="connsiteX450" fmla="*/ 873460 w 7467600"/>
              <a:gd name="connsiteY450" fmla="*/ 6253768 h 6858000"/>
              <a:gd name="connsiteX451" fmla="*/ 192686 w 7467600"/>
              <a:gd name="connsiteY451" fmla="*/ 5849257 h 6858000"/>
              <a:gd name="connsiteX452" fmla="*/ 4696 w 7467600"/>
              <a:gd name="connsiteY452" fmla="*/ 5697668 h 6858000"/>
              <a:gd name="connsiteX453" fmla="*/ 0 w 7467600"/>
              <a:gd name="connsiteY453" fmla="*/ 5689984 h 6858000"/>
              <a:gd name="connsiteX454" fmla="*/ 0 w 7467600"/>
              <a:gd name="connsiteY454" fmla="*/ 5513472 h 6858000"/>
              <a:gd name="connsiteX455" fmla="*/ 174101 w 7467600"/>
              <a:gd name="connsiteY455" fmla="*/ 5620277 h 6858000"/>
              <a:gd name="connsiteX456" fmla="*/ 891800 w 7467600"/>
              <a:gd name="connsiteY456" fmla="*/ 6036935 h 6858000"/>
              <a:gd name="connsiteX457" fmla="*/ 1072219 w 7467600"/>
              <a:gd name="connsiteY457" fmla="*/ 6169443 h 6858000"/>
              <a:gd name="connsiteX458" fmla="*/ 1074117 w 7467600"/>
              <a:gd name="connsiteY458" fmla="*/ 6170301 h 6858000"/>
              <a:gd name="connsiteX459" fmla="*/ 1083114 w 7467600"/>
              <a:gd name="connsiteY459" fmla="*/ 6174131 h 6858000"/>
              <a:gd name="connsiteX460" fmla="*/ 1543010 w 7467600"/>
              <a:gd name="connsiteY460" fmla="*/ 6191140 h 6858000"/>
              <a:gd name="connsiteX461" fmla="*/ 1551080 w 7467600"/>
              <a:gd name="connsiteY461" fmla="*/ 6195006 h 6858000"/>
              <a:gd name="connsiteX462" fmla="*/ 2345443 w 7467600"/>
              <a:gd name="connsiteY462" fmla="*/ 5549882 h 6858000"/>
              <a:gd name="connsiteX463" fmla="*/ 1721499 w 7467600"/>
              <a:gd name="connsiteY463" fmla="*/ 5599969 h 6858000"/>
              <a:gd name="connsiteX464" fmla="*/ 767716 w 7467600"/>
              <a:gd name="connsiteY464" fmla="*/ 5472768 h 6858000"/>
              <a:gd name="connsiteX465" fmla="*/ 722147 w 7467600"/>
              <a:gd name="connsiteY465" fmla="*/ 5393091 h 6858000"/>
              <a:gd name="connsiteX466" fmla="*/ 1485552 w 7467600"/>
              <a:gd name="connsiteY466" fmla="*/ 5313202 h 6858000"/>
              <a:gd name="connsiteX467" fmla="*/ 2143004 w 7467600"/>
              <a:gd name="connsiteY467" fmla="*/ 5402420 h 6858000"/>
              <a:gd name="connsiteX468" fmla="*/ 1933391 w 7467600"/>
              <a:gd name="connsiteY468" fmla="*/ 5156971 h 6858000"/>
              <a:gd name="connsiteX469" fmla="*/ 1827118 w 7467600"/>
              <a:gd name="connsiteY469" fmla="*/ 4968410 h 6858000"/>
              <a:gd name="connsiteX470" fmla="*/ 1837349 w 7467600"/>
              <a:gd name="connsiteY470" fmla="*/ 4956357 h 6858000"/>
              <a:gd name="connsiteX471" fmla="*/ 2162835 w 7467600"/>
              <a:gd name="connsiteY471" fmla="*/ 5187853 h 6858000"/>
              <a:gd name="connsiteX472" fmla="*/ 2257167 w 7467600"/>
              <a:gd name="connsiteY472" fmla="*/ 5462123 h 6858000"/>
              <a:gd name="connsiteX473" fmla="*/ 2261598 w 7467600"/>
              <a:gd name="connsiteY473" fmla="*/ 5467998 h 6858000"/>
              <a:gd name="connsiteX474" fmla="*/ 2437177 w 7467600"/>
              <a:gd name="connsiteY474" fmla="*/ 5479608 h 6858000"/>
              <a:gd name="connsiteX475" fmla="*/ 2445247 w 7467600"/>
              <a:gd name="connsiteY475" fmla="*/ 5483476 h 6858000"/>
              <a:gd name="connsiteX476" fmla="*/ 2743626 w 7467600"/>
              <a:gd name="connsiteY476" fmla="*/ 5304819 h 6858000"/>
              <a:gd name="connsiteX477" fmla="*/ 3048102 w 7467600"/>
              <a:gd name="connsiteY477" fmla="*/ 5150595 h 6858000"/>
              <a:gd name="connsiteX478" fmla="*/ 1799414 w 7467600"/>
              <a:gd name="connsiteY478" fmla="*/ 4694732 h 6858000"/>
              <a:gd name="connsiteX479" fmla="*/ 1771735 w 7467600"/>
              <a:gd name="connsiteY479" fmla="*/ 4619929 h 6858000"/>
              <a:gd name="connsiteX480" fmla="*/ 3104273 w 7467600"/>
              <a:gd name="connsiteY480" fmla="*/ 5076159 h 6858000"/>
              <a:gd name="connsiteX481" fmla="*/ 3113245 w 7467600"/>
              <a:gd name="connsiteY481" fmla="*/ 5090705 h 6858000"/>
              <a:gd name="connsiteX482" fmla="*/ 3126294 w 7467600"/>
              <a:gd name="connsiteY482" fmla="*/ 5114400 h 6858000"/>
              <a:gd name="connsiteX483" fmla="*/ 3937433 w 7467600"/>
              <a:gd name="connsiteY483" fmla="*/ 4830473 h 6858000"/>
              <a:gd name="connsiteX484" fmla="*/ 3590475 w 7467600"/>
              <a:gd name="connsiteY484" fmla="*/ 4597974 h 6858000"/>
              <a:gd name="connsiteX485" fmla="*/ 3100264 w 7467600"/>
              <a:gd name="connsiteY485" fmla="*/ 4579845 h 6858000"/>
              <a:gd name="connsiteX486" fmla="*/ 2183576 w 7467600"/>
              <a:gd name="connsiteY486" fmla="*/ 4227150 h 6858000"/>
              <a:gd name="connsiteX487" fmla="*/ 2151029 w 7467600"/>
              <a:gd name="connsiteY487" fmla="*/ 4146947 h 6858000"/>
              <a:gd name="connsiteX488" fmla="*/ 3563434 w 7467600"/>
              <a:gd name="connsiteY488" fmla="*/ 4469115 h 6858000"/>
              <a:gd name="connsiteX489" fmla="*/ 3177952 w 7467600"/>
              <a:gd name="connsiteY489" fmla="*/ 3657386 h 6858000"/>
              <a:gd name="connsiteX490" fmla="*/ 3189263 w 7467600"/>
              <a:gd name="connsiteY490" fmla="*/ 3625726 h 6858000"/>
              <a:gd name="connsiteX491" fmla="*/ 3560912 w 7467600"/>
              <a:gd name="connsiteY491" fmla="*/ 4079863 h 6858000"/>
              <a:gd name="connsiteX492" fmla="*/ 3626636 w 7467600"/>
              <a:gd name="connsiteY492" fmla="*/ 4512230 h 6858000"/>
              <a:gd name="connsiteX493" fmla="*/ 3653088 w 7467600"/>
              <a:gd name="connsiteY493" fmla="*/ 4521417 h 6858000"/>
              <a:gd name="connsiteX494" fmla="*/ 3988128 w 7467600"/>
              <a:gd name="connsiteY494" fmla="*/ 4817267 h 6858000"/>
              <a:gd name="connsiteX495" fmla="*/ 4830582 w 7467600"/>
              <a:gd name="connsiteY495" fmla="*/ 4676000 h 6858000"/>
              <a:gd name="connsiteX496" fmla="*/ 4830100 w 7467600"/>
              <a:gd name="connsiteY496" fmla="*/ 4675554 h 6858000"/>
              <a:gd name="connsiteX497" fmla="*/ 4036318 w 7467600"/>
              <a:gd name="connsiteY497" fmla="*/ 4147013 h 6858000"/>
              <a:gd name="connsiteX498" fmla="*/ 3432098 w 7467600"/>
              <a:gd name="connsiteY498" fmla="*/ 3537312 h 6858000"/>
              <a:gd name="connsiteX499" fmla="*/ 3446761 w 7467600"/>
              <a:gd name="connsiteY499" fmla="*/ 3461278 h 6858000"/>
              <a:gd name="connsiteX500" fmla="*/ 4419733 w 7467600"/>
              <a:gd name="connsiteY500" fmla="*/ 3963555 h 6858000"/>
              <a:gd name="connsiteX501" fmla="*/ 4781371 w 7467600"/>
              <a:gd name="connsiteY501" fmla="*/ 4458604 h 6858000"/>
              <a:gd name="connsiteX502" fmla="*/ 4780440 w 7467600"/>
              <a:gd name="connsiteY502" fmla="*/ 4470290 h 6858000"/>
              <a:gd name="connsiteX503" fmla="*/ 4898954 w 7467600"/>
              <a:gd name="connsiteY503" fmla="*/ 4662092 h 6858000"/>
              <a:gd name="connsiteX504" fmla="*/ 4900699 w 7467600"/>
              <a:gd name="connsiteY504" fmla="*/ 4670867 h 6858000"/>
              <a:gd name="connsiteX505" fmla="*/ 5714511 w 7467600"/>
              <a:gd name="connsiteY505" fmla="*/ 4663483 h 6858000"/>
              <a:gd name="connsiteX506" fmla="*/ 5464793 w 7467600"/>
              <a:gd name="connsiteY506" fmla="*/ 4393556 h 6858000"/>
              <a:gd name="connsiteX507" fmla="*/ 5461897 w 7467600"/>
              <a:gd name="connsiteY507" fmla="*/ 4390879 h 6858000"/>
              <a:gd name="connsiteX508" fmla="*/ 4294126 w 7467600"/>
              <a:gd name="connsiteY508" fmla="*/ 3303048 h 6858000"/>
              <a:gd name="connsiteX509" fmla="*/ 4305321 w 7467600"/>
              <a:gd name="connsiteY509" fmla="*/ 3256953 h 6858000"/>
              <a:gd name="connsiteX510" fmla="*/ 4949299 w 7467600"/>
              <a:gd name="connsiteY510" fmla="*/ 3766336 h 6858000"/>
              <a:gd name="connsiteX511" fmla="*/ 5291452 w 7467600"/>
              <a:gd name="connsiteY511" fmla="*/ 4076801 h 6858000"/>
              <a:gd name="connsiteX512" fmla="*/ 5434998 w 7467600"/>
              <a:gd name="connsiteY512" fmla="*/ 4254100 h 6858000"/>
              <a:gd name="connsiteX513" fmla="*/ 5351015 w 7467600"/>
              <a:gd name="connsiteY513" fmla="*/ 3760989 h 6858000"/>
              <a:gd name="connsiteX514" fmla="*/ 5413780 w 7467600"/>
              <a:gd name="connsiteY514" fmla="*/ 2966265 h 6858000"/>
              <a:gd name="connsiteX515" fmla="*/ 5425627 w 7467600"/>
              <a:gd name="connsiteY515" fmla="*/ 2954192 h 6858000"/>
              <a:gd name="connsiteX516" fmla="*/ 6604735 w 7467600"/>
              <a:gd name="connsiteY516" fmla="*/ 2041381 h 6858000"/>
              <a:gd name="connsiteX517" fmla="*/ 7204487 w 7467600"/>
              <a:gd name="connsiteY517" fmla="*/ 2742112 h 6858000"/>
              <a:gd name="connsiteX518" fmla="*/ 7131592 w 7467600"/>
              <a:gd name="connsiteY518" fmla="*/ 2672096 h 6858000"/>
              <a:gd name="connsiteX519" fmla="*/ 6996344 w 7467600"/>
              <a:gd name="connsiteY519" fmla="*/ 2518310 h 6858000"/>
              <a:gd name="connsiteX520" fmla="*/ 6735495 w 7467600"/>
              <a:gd name="connsiteY520" fmla="*/ 2196890 h 6858000"/>
              <a:gd name="connsiteX521" fmla="*/ 6721901 w 7467600"/>
              <a:gd name="connsiteY521" fmla="*/ 2179274 h 6858000"/>
              <a:gd name="connsiteX522" fmla="*/ 6604735 w 7467600"/>
              <a:gd name="connsiteY522" fmla="*/ 2041381 h 6858000"/>
              <a:gd name="connsiteX523" fmla="*/ 6591670 w 7467600"/>
              <a:gd name="connsiteY523" fmla="*/ 1988277 h 6858000"/>
              <a:gd name="connsiteX524" fmla="*/ 6747349 w 7467600"/>
              <a:gd name="connsiteY524" fmla="*/ 2160069 h 6858000"/>
              <a:gd name="connsiteX525" fmla="*/ 6760943 w 7467600"/>
              <a:gd name="connsiteY525" fmla="*/ 2177686 h 6858000"/>
              <a:gd name="connsiteX526" fmla="*/ 7021065 w 7467600"/>
              <a:gd name="connsiteY526" fmla="*/ 2498102 h 6858000"/>
              <a:gd name="connsiteX527" fmla="*/ 7155223 w 7467600"/>
              <a:gd name="connsiteY527" fmla="*/ 2650386 h 6858000"/>
              <a:gd name="connsiteX528" fmla="*/ 7203167 w 7467600"/>
              <a:gd name="connsiteY528" fmla="*/ 2697288 h 6858000"/>
              <a:gd name="connsiteX529" fmla="*/ 6937703 w 7467600"/>
              <a:gd name="connsiteY529" fmla="*/ 2321981 h 6858000"/>
              <a:gd name="connsiteX530" fmla="*/ 6591670 w 7467600"/>
              <a:gd name="connsiteY530" fmla="*/ 1988277 h 6858000"/>
              <a:gd name="connsiteX531" fmla="*/ 5798671 w 7467600"/>
              <a:gd name="connsiteY531" fmla="*/ 1981601 h 6858000"/>
              <a:gd name="connsiteX532" fmla="*/ 5754709 w 7467600"/>
              <a:gd name="connsiteY532" fmla="*/ 2071454 h 6858000"/>
              <a:gd name="connsiteX533" fmla="*/ 5763044 w 7467600"/>
              <a:gd name="connsiteY533" fmla="*/ 2842206 h 6858000"/>
              <a:gd name="connsiteX534" fmla="*/ 5764974 w 7467600"/>
              <a:gd name="connsiteY534" fmla="*/ 2799609 h 6858000"/>
              <a:gd name="connsiteX535" fmla="*/ 5767665 w 7467600"/>
              <a:gd name="connsiteY535" fmla="*/ 2666409 h 6858000"/>
              <a:gd name="connsiteX536" fmla="*/ 5763055 w 7467600"/>
              <a:gd name="connsiteY536" fmla="*/ 2579705 h 6858000"/>
              <a:gd name="connsiteX537" fmla="*/ 5758079 w 7467600"/>
              <a:gd name="connsiteY537" fmla="*/ 2492508 h 6858000"/>
              <a:gd name="connsiteX538" fmla="*/ 5779325 w 7467600"/>
              <a:gd name="connsiteY538" fmla="*/ 2197069 h 6858000"/>
              <a:gd name="connsiteX539" fmla="*/ 5798671 w 7467600"/>
              <a:gd name="connsiteY539" fmla="*/ 1981601 h 6858000"/>
              <a:gd name="connsiteX540" fmla="*/ 5829202 w 7467600"/>
              <a:gd name="connsiteY540" fmla="*/ 1971679 h 6858000"/>
              <a:gd name="connsiteX541" fmla="*/ 5809558 w 7467600"/>
              <a:gd name="connsiteY541" fmla="*/ 2198043 h 6858000"/>
              <a:gd name="connsiteX542" fmla="*/ 5788653 w 7467600"/>
              <a:gd name="connsiteY542" fmla="*/ 2489430 h 6858000"/>
              <a:gd name="connsiteX543" fmla="*/ 5793439 w 7467600"/>
              <a:gd name="connsiteY543" fmla="*/ 2575235 h 6858000"/>
              <a:gd name="connsiteX544" fmla="*/ 5796837 w 7467600"/>
              <a:gd name="connsiteY544" fmla="*/ 2637633 h 6858000"/>
              <a:gd name="connsiteX545" fmla="*/ 5818614 w 7467600"/>
              <a:gd name="connsiteY545" fmla="*/ 2473055 h 6858000"/>
              <a:gd name="connsiteX546" fmla="*/ 5829202 w 7467600"/>
              <a:gd name="connsiteY546" fmla="*/ 1971679 h 6858000"/>
              <a:gd name="connsiteX547" fmla="*/ 5911389 w 7467600"/>
              <a:gd name="connsiteY547" fmla="*/ 1898371 h 6858000"/>
              <a:gd name="connsiteX548" fmla="*/ 6237627 w 7467600"/>
              <a:gd name="connsiteY548" fmla="*/ 2231921 h 6858000"/>
              <a:gd name="connsiteX549" fmla="*/ 5911389 w 7467600"/>
              <a:gd name="connsiteY549" fmla="*/ 1898371 h 6858000"/>
              <a:gd name="connsiteX550" fmla="*/ 6944437 w 7467600"/>
              <a:gd name="connsiteY550" fmla="*/ 1575402 h 6858000"/>
              <a:gd name="connsiteX551" fmla="*/ 6304730 w 7467600"/>
              <a:gd name="connsiteY551" fmla="*/ 1766654 h 6858000"/>
              <a:gd name="connsiteX552" fmla="*/ 6944437 w 7467600"/>
              <a:gd name="connsiteY552" fmla="*/ 1575402 h 6858000"/>
              <a:gd name="connsiteX553" fmla="*/ 7019523 w 7467600"/>
              <a:gd name="connsiteY553" fmla="*/ 1519450 h 6858000"/>
              <a:gd name="connsiteX554" fmla="*/ 6298091 w 7467600"/>
              <a:gd name="connsiteY554" fmla="*/ 1737122 h 6858000"/>
              <a:gd name="connsiteX555" fmla="*/ 7019523 w 7467600"/>
              <a:gd name="connsiteY555" fmla="*/ 1519450 h 6858000"/>
              <a:gd name="connsiteX556" fmla="*/ 2399523 w 7467600"/>
              <a:gd name="connsiteY556" fmla="*/ 1428234 h 6858000"/>
              <a:gd name="connsiteX557" fmla="*/ 2224982 w 7467600"/>
              <a:gd name="connsiteY557" fmla="*/ 1826201 h 6858000"/>
              <a:gd name="connsiteX558" fmla="*/ 2096099 w 7467600"/>
              <a:gd name="connsiteY558" fmla="*/ 2345900 h 6858000"/>
              <a:gd name="connsiteX559" fmla="*/ 2283317 w 7467600"/>
              <a:gd name="connsiteY559" fmla="*/ 1796925 h 6858000"/>
              <a:gd name="connsiteX560" fmla="*/ 2399523 w 7467600"/>
              <a:gd name="connsiteY560" fmla="*/ 1428234 h 6858000"/>
              <a:gd name="connsiteX561" fmla="*/ 2448558 w 7467600"/>
              <a:gd name="connsiteY561" fmla="*/ 1373435 h 6858000"/>
              <a:gd name="connsiteX562" fmla="*/ 2312521 w 7467600"/>
              <a:gd name="connsiteY562" fmla="*/ 1806140 h 6858000"/>
              <a:gd name="connsiteX563" fmla="*/ 2127533 w 7467600"/>
              <a:gd name="connsiteY563" fmla="*/ 2348380 h 6858000"/>
              <a:gd name="connsiteX564" fmla="*/ 2358080 w 7467600"/>
              <a:gd name="connsiteY564" fmla="*/ 1866134 h 6858000"/>
              <a:gd name="connsiteX565" fmla="*/ 2407436 w 7467600"/>
              <a:gd name="connsiteY565" fmla="*/ 1651070 h 6858000"/>
              <a:gd name="connsiteX566" fmla="*/ 2448558 w 7467600"/>
              <a:gd name="connsiteY566" fmla="*/ 1373435 h 6858000"/>
              <a:gd name="connsiteX567" fmla="*/ 278707 w 7467600"/>
              <a:gd name="connsiteY567" fmla="*/ 1352270 h 6858000"/>
              <a:gd name="connsiteX568" fmla="*/ 321570 w 7467600"/>
              <a:gd name="connsiteY568" fmla="*/ 1861610 h 6858000"/>
              <a:gd name="connsiteX569" fmla="*/ 294281 w 7467600"/>
              <a:gd name="connsiteY569" fmla="*/ 1440658 h 6858000"/>
              <a:gd name="connsiteX570" fmla="*/ 278707 w 7467600"/>
              <a:gd name="connsiteY570" fmla="*/ 1352270 h 6858000"/>
              <a:gd name="connsiteX571" fmla="*/ 1423821 w 7467600"/>
              <a:gd name="connsiteY571" fmla="*/ 1351958 h 6858000"/>
              <a:gd name="connsiteX572" fmla="*/ 1638521 w 7467600"/>
              <a:gd name="connsiteY572" fmla="*/ 1908470 h 6858000"/>
              <a:gd name="connsiteX573" fmla="*/ 1754199 w 7467600"/>
              <a:gd name="connsiteY573" fmla="*/ 2149284 h 6858000"/>
              <a:gd name="connsiteX574" fmla="*/ 1908359 w 7467600"/>
              <a:gd name="connsiteY574" fmla="*/ 2364988 h 6858000"/>
              <a:gd name="connsiteX575" fmla="*/ 1647661 w 7467600"/>
              <a:gd name="connsiteY575" fmla="*/ 1825945 h 6858000"/>
              <a:gd name="connsiteX576" fmla="*/ 1423821 w 7467600"/>
              <a:gd name="connsiteY576" fmla="*/ 1351958 h 6858000"/>
              <a:gd name="connsiteX577" fmla="*/ 1431890 w 7467600"/>
              <a:gd name="connsiteY577" fmla="*/ 1306475 h 6858000"/>
              <a:gd name="connsiteX578" fmla="*/ 1507597 w 7467600"/>
              <a:gd name="connsiteY578" fmla="*/ 1446132 h 6858000"/>
              <a:gd name="connsiteX579" fmla="*/ 1674586 w 7467600"/>
              <a:gd name="connsiteY579" fmla="*/ 1813832 h 6858000"/>
              <a:gd name="connsiteX580" fmla="*/ 1815950 w 7467600"/>
              <a:gd name="connsiteY580" fmla="*/ 2128564 h 6858000"/>
              <a:gd name="connsiteX581" fmla="*/ 1984242 w 7467600"/>
              <a:gd name="connsiteY581" fmla="*/ 2430829 h 6858000"/>
              <a:gd name="connsiteX582" fmla="*/ 2014023 w 7467600"/>
              <a:gd name="connsiteY582" fmla="*/ 2450995 h 6858000"/>
              <a:gd name="connsiteX583" fmla="*/ 1747337 w 7467600"/>
              <a:gd name="connsiteY583" fmla="*/ 1855264 h 6858000"/>
              <a:gd name="connsiteX584" fmla="*/ 1533749 w 7467600"/>
              <a:gd name="connsiteY584" fmla="*/ 1478656 h 6858000"/>
              <a:gd name="connsiteX585" fmla="*/ 1431890 w 7467600"/>
              <a:gd name="connsiteY585" fmla="*/ 1306475 h 6858000"/>
              <a:gd name="connsiteX586" fmla="*/ 5052692 w 7467600"/>
              <a:gd name="connsiteY586" fmla="*/ 1292994 h 6858000"/>
              <a:gd name="connsiteX587" fmla="*/ 5200661 w 7467600"/>
              <a:gd name="connsiteY587" fmla="*/ 1635186 h 6858000"/>
              <a:gd name="connsiteX588" fmla="*/ 5297138 w 7467600"/>
              <a:gd name="connsiteY588" fmla="*/ 1906351 h 6858000"/>
              <a:gd name="connsiteX589" fmla="*/ 5052692 w 7467600"/>
              <a:gd name="connsiteY589" fmla="*/ 1292994 h 6858000"/>
              <a:gd name="connsiteX590" fmla="*/ 5009948 w 7467600"/>
              <a:gd name="connsiteY590" fmla="*/ 1273619 h 6858000"/>
              <a:gd name="connsiteX591" fmla="*/ 5121777 w 7467600"/>
              <a:gd name="connsiteY591" fmla="*/ 1654213 h 6858000"/>
              <a:gd name="connsiteX592" fmla="*/ 5293545 w 7467600"/>
              <a:gd name="connsiteY592" fmla="*/ 2072247 h 6858000"/>
              <a:gd name="connsiteX593" fmla="*/ 5294042 w 7467600"/>
              <a:gd name="connsiteY593" fmla="*/ 2065019 h 6858000"/>
              <a:gd name="connsiteX594" fmla="*/ 5171936 w 7467600"/>
              <a:gd name="connsiteY594" fmla="*/ 1647613 h 6858000"/>
              <a:gd name="connsiteX595" fmla="*/ 5009948 w 7467600"/>
              <a:gd name="connsiteY595" fmla="*/ 1273619 h 6858000"/>
              <a:gd name="connsiteX596" fmla="*/ 655236 w 7467600"/>
              <a:gd name="connsiteY596" fmla="*/ 1268632 h 6858000"/>
              <a:gd name="connsiteX597" fmla="*/ 839521 w 7467600"/>
              <a:gd name="connsiteY597" fmla="*/ 1685315 h 6858000"/>
              <a:gd name="connsiteX598" fmla="*/ 1109416 w 7467600"/>
              <a:gd name="connsiteY598" fmla="*/ 2061663 h 6858000"/>
              <a:gd name="connsiteX599" fmla="*/ 1298300 w 7467600"/>
              <a:gd name="connsiteY599" fmla="*/ 2247742 h 6858000"/>
              <a:gd name="connsiteX600" fmla="*/ 1125871 w 7467600"/>
              <a:gd name="connsiteY600" fmla="*/ 1989513 h 6858000"/>
              <a:gd name="connsiteX601" fmla="*/ 981574 w 7467600"/>
              <a:gd name="connsiteY601" fmla="*/ 1783157 h 6858000"/>
              <a:gd name="connsiteX602" fmla="*/ 922198 w 7467600"/>
              <a:gd name="connsiteY602" fmla="*/ 1677437 h 6858000"/>
              <a:gd name="connsiteX603" fmla="*/ 869293 w 7467600"/>
              <a:gd name="connsiteY603" fmla="*/ 1583214 h 6858000"/>
              <a:gd name="connsiteX604" fmla="*/ 751431 w 7467600"/>
              <a:gd name="connsiteY604" fmla="*/ 1405731 h 6858000"/>
              <a:gd name="connsiteX605" fmla="*/ 655236 w 7467600"/>
              <a:gd name="connsiteY605" fmla="*/ 1268632 h 6858000"/>
              <a:gd name="connsiteX606" fmla="*/ 6516292 w 7467600"/>
              <a:gd name="connsiteY606" fmla="*/ 1263064 h 6858000"/>
              <a:gd name="connsiteX607" fmla="*/ 5736320 w 7467600"/>
              <a:gd name="connsiteY607" fmla="*/ 1501803 h 6858000"/>
              <a:gd name="connsiteX608" fmla="*/ 6516292 w 7467600"/>
              <a:gd name="connsiteY608" fmla="*/ 1263064 h 6858000"/>
              <a:gd name="connsiteX609" fmla="*/ 291466 w 7467600"/>
              <a:gd name="connsiteY609" fmla="*/ 1250369 h 6858000"/>
              <a:gd name="connsiteX610" fmla="*/ 323180 w 7467600"/>
              <a:gd name="connsiteY610" fmla="*/ 1435283 h 6858000"/>
              <a:gd name="connsiteX611" fmla="*/ 349381 w 7467600"/>
              <a:gd name="connsiteY611" fmla="*/ 1875041 h 6858000"/>
              <a:gd name="connsiteX612" fmla="*/ 374363 w 7467600"/>
              <a:gd name="connsiteY612" fmla="*/ 1506494 h 6858000"/>
              <a:gd name="connsiteX613" fmla="*/ 302168 w 7467600"/>
              <a:gd name="connsiteY613" fmla="*/ 1274495 h 6858000"/>
              <a:gd name="connsiteX614" fmla="*/ 291466 w 7467600"/>
              <a:gd name="connsiteY614" fmla="*/ 1250369 h 6858000"/>
              <a:gd name="connsiteX615" fmla="*/ 678222 w 7467600"/>
              <a:gd name="connsiteY615" fmla="*/ 1248670 h 6858000"/>
              <a:gd name="connsiteX616" fmla="*/ 775536 w 7467600"/>
              <a:gd name="connsiteY616" fmla="*/ 1388015 h 6858000"/>
              <a:gd name="connsiteX617" fmla="*/ 894529 w 7467600"/>
              <a:gd name="connsiteY617" fmla="*/ 1567739 h 6858000"/>
              <a:gd name="connsiteX618" fmla="*/ 948000 w 7467600"/>
              <a:gd name="connsiteY618" fmla="*/ 1663088 h 6858000"/>
              <a:gd name="connsiteX619" fmla="*/ 1006812 w 7467600"/>
              <a:gd name="connsiteY619" fmla="*/ 1767683 h 6858000"/>
              <a:gd name="connsiteX620" fmla="*/ 1149133 w 7467600"/>
              <a:gd name="connsiteY620" fmla="*/ 1971513 h 6858000"/>
              <a:gd name="connsiteX621" fmla="*/ 1333952 w 7467600"/>
              <a:gd name="connsiteY621" fmla="*/ 2251620 h 6858000"/>
              <a:gd name="connsiteX622" fmla="*/ 1337329 w 7467600"/>
              <a:gd name="connsiteY622" fmla="*/ 2258350 h 6858000"/>
              <a:gd name="connsiteX623" fmla="*/ 1014726 w 7467600"/>
              <a:gd name="connsiteY623" fmla="*/ 1615556 h 6858000"/>
              <a:gd name="connsiteX624" fmla="*/ 678222 w 7467600"/>
              <a:gd name="connsiteY624" fmla="*/ 1248670 h 6858000"/>
              <a:gd name="connsiteX625" fmla="*/ 6691602 w 7467600"/>
              <a:gd name="connsiteY625" fmla="*/ 1140573 h 6858000"/>
              <a:gd name="connsiteX626" fmla="*/ 6571100 w 7467600"/>
              <a:gd name="connsiteY626" fmla="*/ 1183662 h 6858000"/>
              <a:gd name="connsiteX627" fmla="*/ 6241687 w 7467600"/>
              <a:gd name="connsiteY627" fmla="*/ 1257600 h 6858000"/>
              <a:gd name="connsiteX628" fmla="*/ 5693009 w 7467600"/>
              <a:gd name="connsiteY628" fmla="*/ 1478256 h 6858000"/>
              <a:gd name="connsiteX629" fmla="*/ 6548420 w 7467600"/>
              <a:gd name="connsiteY629" fmla="*/ 1214599 h 6858000"/>
              <a:gd name="connsiteX630" fmla="*/ 6605473 w 7467600"/>
              <a:gd name="connsiteY630" fmla="*/ 1184686 h 6858000"/>
              <a:gd name="connsiteX631" fmla="*/ 6691602 w 7467600"/>
              <a:gd name="connsiteY631" fmla="*/ 1140573 h 6858000"/>
              <a:gd name="connsiteX632" fmla="*/ 4002475 w 7467600"/>
              <a:gd name="connsiteY632" fmla="*/ 1037802 h 6858000"/>
              <a:gd name="connsiteX633" fmla="*/ 4000324 w 7467600"/>
              <a:gd name="connsiteY633" fmla="*/ 1039362 h 6858000"/>
              <a:gd name="connsiteX634" fmla="*/ 4002862 w 7467600"/>
              <a:gd name="connsiteY634" fmla="*/ 1042866 h 6858000"/>
              <a:gd name="connsiteX635" fmla="*/ 4002475 w 7467600"/>
              <a:gd name="connsiteY635" fmla="*/ 1037802 h 6858000"/>
              <a:gd name="connsiteX636" fmla="*/ 506322 w 7467600"/>
              <a:gd name="connsiteY636" fmla="*/ 1020997 h 6858000"/>
              <a:gd name="connsiteX637" fmla="*/ 533068 w 7467600"/>
              <a:gd name="connsiteY637" fmla="*/ 1029409 h 6858000"/>
              <a:gd name="connsiteX638" fmla="*/ 1232525 w 7467600"/>
              <a:gd name="connsiteY638" fmla="*/ 1804675 h 6858000"/>
              <a:gd name="connsiteX639" fmla="*/ 1388858 w 7467600"/>
              <a:gd name="connsiteY639" fmla="*/ 2368011 h 6858000"/>
              <a:gd name="connsiteX640" fmla="*/ 1384098 w 7467600"/>
              <a:gd name="connsiteY640" fmla="*/ 2378125 h 6858000"/>
              <a:gd name="connsiteX641" fmla="*/ 1425393 w 7467600"/>
              <a:gd name="connsiteY641" fmla="*/ 2589124 h 6858000"/>
              <a:gd name="connsiteX642" fmla="*/ 1424001 w 7467600"/>
              <a:gd name="connsiteY642" fmla="*/ 2597541 h 6858000"/>
              <a:gd name="connsiteX643" fmla="*/ 2152729 w 7467600"/>
              <a:gd name="connsiteY643" fmla="*/ 2864487 h 6858000"/>
              <a:gd name="connsiteX644" fmla="*/ 2020609 w 7467600"/>
              <a:gd name="connsiteY644" fmla="*/ 2539671 h 6858000"/>
              <a:gd name="connsiteX645" fmla="*/ 2018920 w 7467600"/>
              <a:gd name="connsiteY645" fmla="*/ 2536309 h 6858000"/>
              <a:gd name="connsiteX646" fmla="*/ 1342441 w 7467600"/>
              <a:gd name="connsiteY646" fmla="*/ 1173017 h 6858000"/>
              <a:gd name="connsiteX647" fmla="*/ 1367925 w 7467600"/>
              <a:gd name="connsiteY647" fmla="*/ 1135648 h 6858000"/>
              <a:gd name="connsiteX648" fmla="*/ 1771401 w 7467600"/>
              <a:gd name="connsiteY648" fmla="*/ 1806673 h 6858000"/>
              <a:gd name="connsiteX649" fmla="*/ 1972385 w 7467600"/>
              <a:gd name="connsiteY649" fmla="*/ 2198735 h 6858000"/>
              <a:gd name="connsiteX650" fmla="*/ 2040892 w 7467600"/>
              <a:gd name="connsiteY650" fmla="*/ 2405205 h 6858000"/>
              <a:gd name="connsiteX651" fmla="*/ 2131689 w 7467600"/>
              <a:gd name="connsiteY651" fmla="*/ 1936926 h 6858000"/>
              <a:gd name="connsiteX652" fmla="*/ 2454820 w 7467600"/>
              <a:gd name="connsiteY652" fmla="*/ 1248808 h 6858000"/>
              <a:gd name="connsiteX653" fmla="*/ 2492512 w 7467600"/>
              <a:gd name="connsiteY653" fmla="*/ 1302920 h 6858000"/>
              <a:gd name="connsiteX654" fmla="*/ 2081216 w 7467600"/>
              <a:gd name="connsiteY654" fmla="*/ 2527513 h 6858000"/>
              <a:gd name="connsiteX655" fmla="*/ 2081211 w 7467600"/>
              <a:gd name="connsiteY655" fmla="*/ 2528916 h 6858000"/>
              <a:gd name="connsiteX656" fmla="*/ 2199067 w 7467600"/>
              <a:gd name="connsiteY656" fmla="*/ 2884061 h 6858000"/>
              <a:gd name="connsiteX657" fmla="*/ 3192586 w 7467600"/>
              <a:gd name="connsiteY657" fmla="*/ 3411496 h 6858000"/>
              <a:gd name="connsiteX658" fmla="*/ 3182620 w 7467600"/>
              <a:gd name="connsiteY658" fmla="*/ 3483279 h 6858000"/>
              <a:gd name="connsiteX659" fmla="*/ 2435119 w 7467600"/>
              <a:gd name="connsiteY659" fmla="*/ 3080173 h 6858000"/>
              <a:gd name="connsiteX660" fmla="*/ 2410152 w 7467600"/>
              <a:gd name="connsiteY660" fmla="*/ 3063751 h 6858000"/>
              <a:gd name="connsiteX661" fmla="*/ 2408099 w 7467600"/>
              <a:gd name="connsiteY661" fmla="*/ 3064403 h 6858000"/>
              <a:gd name="connsiteX662" fmla="*/ 2407218 w 7467600"/>
              <a:gd name="connsiteY662" fmla="*/ 3070324 h 6858000"/>
              <a:gd name="connsiteX663" fmla="*/ 2380138 w 7467600"/>
              <a:gd name="connsiteY663" fmla="*/ 3099341 h 6858000"/>
              <a:gd name="connsiteX664" fmla="*/ 1765923 w 7467600"/>
              <a:gd name="connsiteY664" fmla="*/ 3581043 h 6858000"/>
              <a:gd name="connsiteX665" fmla="*/ 1702258 w 7467600"/>
              <a:gd name="connsiteY665" fmla="*/ 3612286 h 6858000"/>
              <a:gd name="connsiteX666" fmla="*/ 1538370 w 7467600"/>
              <a:gd name="connsiteY666" fmla="*/ 3811804 h 6858000"/>
              <a:gd name="connsiteX667" fmla="*/ 542867 w 7467600"/>
              <a:gd name="connsiteY667" fmla="*/ 4944092 h 6858000"/>
              <a:gd name="connsiteX668" fmla="*/ 515800 w 7467600"/>
              <a:gd name="connsiteY668" fmla="*/ 4862180 h 6858000"/>
              <a:gd name="connsiteX669" fmla="*/ 909145 w 7467600"/>
              <a:gd name="connsiteY669" fmla="*/ 4199225 h 6858000"/>
              <a:gd name="connsiteX670" fmla="*/ 1214067 w 7467600"/>
              <a:gd name="connsiteY670" fmla="*/ 3908561 h 6858000"/>
              <a:gd name="connsiteX671" fmla="*/ 640967 w 7467600"/>
              <a:gd name="connsiteY671" fmla="*/ 4105601 h 6858000"/>
              <a:gd name="connsiteX672" fmla="*/ 112563 w 7467600"/>
              <a:gd name="connsiteY672" fmla="*/ 4396952 h 6858000"/>
              <a:gd name="connsiteX673" fmla="*/ 0 w 7467600"/>
              <a:gd name="connsiteY673" fmla="*/ 4466006 h 6858000"/>
              <a:gd name="connsiteX674" fmla="*/ 0 w 7467600"/>
              <a:gd name="connsiteY674" fmla="*/ 4233763 h 6858000"/>
              <a:gd name="connsiteX675" fmla="*/ 36881 w 7467600"/>
              <a:gd name="connsiteY675" fmla="*/ 4200118 h 6858000"/>
              <a:gd name="connsiteX676" fmla="*/ 910534 w 7467600"/>
              <a:gd name="connsiteY676" fmla="*/ 3629753 h 6858000"/>
              <a:gd name="connsiteX677" fmla="*/ 1578717 w 7467600"/>
              <a:gd name="connsiteY677" fmla="*/ 3575982 h 6858000"/>
              <a:gd name="connsiteX678" fmla="*/ 2338780 w 7467600"/>
              <a:gd name="connsiteY678" fmla="*/ 3033725 h 6858000"/>
              <a:gd name="connsiteX679" fmla="*/ 1807991 w 7467600"/>
              <a:gd name="connsiteY679" fmla="*/ 2807184 h 6858000"/>
              <a:gd name="connsiteX680" fmla="*/ 1416358 w 7467600"/>
              <a:gd name="connsiteY680" fmla="*/ 3112571 h 6858000"/>
              <a:gd name="connsiteX681" fmla="*/ 939066 w 7467600"/>
              <a:gd name="connsiteY681" fmla="*/ 3378798 h 6858000"/>
              <a:gd name="connsiteX682" fmla="*/ 115099 w 7467600"/>
              <a:gd name="connsiteY682" fmla="*/ 3607650 h 6858000"/>
              <a:gd name="connsiteX683" fmla="*/ 97284 w 7467600"/>
              <a:gd name="connsiteY683" fmla="*/ 3520393 h 6858000"/>
              <a:gd name="connsiteX684" fmla="*/ 922050 w 7467600"/>
              <a:gd name="connsiteY684" fmla="*/ 3074867 h 6858000"/>
              <a:gd name="connsiteX685" fmla="*/ 1405265 w 7467600"/>
              <a:gd name="connsiteY685" fmla="*/ 3016319 h 6858000"/>
              <a:gd name="connsiteX686" fmla="*/ 1407512 w 7467600"/>
              <a:gd name="connsiteY686" fmla="*/ 3018001 h 6858000"/>
              <a:gd name="connsiteX687" fmla="*/ 1726266 w 7467600"/>
              <a:gd name="connsiteY687" fmla="*/ 2777274 h 6858000"/>
              <a:gd name="connsiteX688" fmla="*/ 625390 w 7467600"/>
              <a:gd name="connsiteY688" fmla="*/ 2514541 h 6858000"/>
              <a:gd name="connsiteX689" fmla="*/ 619799 w 7467600"/>
              <a:gd name="connsiteY689" fmla="*/ 2527180 h 6858000"/>
              <a:gd name="connsiteX690" fmla="*/ 310030 w 7467600"/>
              <a:gd name="connsiteY690" fmla="*/ 2771818 h 6858000"/>
              <a:gd name="connsiteX691" fmla="*/ 173877 w 7467600"/>
              <a:gd name="connsiteY691" fmla="*/ 2937056 h 6858000"/>
              <a:gd name="connsiteX692" fmla="*/ 77889 w 7467600"/>
              <a:gd name="connsiteY692" fmla="*/ 3138440 h 6858000"/>
              <a:gd name="connsiteX693" fmla="*/ 0 w 7467600"/>
              <a:gd name="connsiteY693" fmla="*/ 3271395 h 6858000"/>
              <a:gd name="connsiteX694" fmla="*/ 0 w 7467600"/>
              <a:gd name="connsiteY694" fmla="*/ 3153002 h 6858000"/>
              <a:gd name="connsiteX695" fmla="*/ 2386 w 7467600"/>
              <a:gd name="connsiteY695" fmla="*/ 3149203 h 6858000"/>
              <a:gd name="connsiteX696" fmla="*/ 89753 w 7467600"/>
              <a:gd name="connsiteY696" fmla="*/ 2987702 h 6858000"/>
              <a:gd name="connsiteX697" fmla="*/ 76869 w 7467600"/>
              <a:gd name="connsiteY697" fmla="*/ 3005404 h 6858000"/>
              <a:gd name="connsiteX698" fmla="*/ 32049 w 7467600"/>
              <a:gd name="connsiteY698" fmla="*/ 3065814 h 6858000"/>
              <a:gd name="connsiteX699" fmla="*/ 0 w 7467600"/>
              <a:gd name="connsiteY699" fmla="*/ 3108744 h 6858000"/>
              <a:gd name="connsiteX700" fmla="*/ 0 w 7467600"/>
              <a:gd name="connsiteY700" fmla="*/ 3058059 h 6858000"/>
              <a:gd name="connsiteX701" fmla="*/ 7610 w 7467600"/>
              <a:gd name="connsiteY701" fmla="*/ 3047889 h 6858000"/>
              <a:gd name="connsiteX702" fmla="*/ 52419 w 7467600"/>
              <a:gd name="connsiteY702" fmla="*/ 2987479 h 6858000"/>
              <a:gd name="connsiteX703" fmla="*/ 59142 w 7467600"/>
              <a:gd name="connsiteY703" fmla="*/ 2978488 h 6858000"/>
              <a:gd name="connsiteX704" fmla="*/ 0 w 7467600"/>
              <a:gd name="connsiteY704" fmla="*/ 3015334 h 6858000"/>
              <a:gd name="connsiteX705" fmla="*/ 0 w 7467600"/>
              <a:gd name="connsiteY705" fmla="*/ 2914286 h 6858000"/>
              <a:gd name="connsiteX706" fmla="*/ 36383 w 7467600"/>
              <a:gd name="connsiteY706" fmla="*/ 2901128 h 6858000"/>
              <a:gd name="connsiteX707" fmla="*/ 156329 w 7467600"/>
              <a:gd name="connsiteY707" fmla="*/ 2840533 h 6858000"/>
              <a:gd name="connsiteX708" fmla="*/ 358355 w 7467600"/>
              <a:gd name="connsiteY708" fmla="*/ 2620471 h 6858000"/>
              <a:gd name="connsiteX709" fmla="*/ 510577 w 7467600"/>
              <a:gd name="connsiteY709" fmla="*/ 2501244 h 6858000"/>
              <a:gd name="connsiteX710" fmla="*/ 211967 w 7467600"/>
              <a:gd name="connsiteY710" fmla="*/ 2479171 h 6858000"/>
              <a:gd name="connsiteX711" fmla="*/ 0 w 7467600"/>
              <a:gd name="connsiteY711" fmla="*/ 2476398 h 6858000"/>
              <a:gd name="connsiteX712" fmla="*/ 0 w 7467600"/>
              <a:gd name="connsiteY712" fmla="*/ 2389189 h 6858000"/>
              <a:gd name="connsiteX713" fmla="*/ 103062 w 7467600"/>
              <a:gd name="connsiteY713" fmla="*/ 2389518 h 6858000"/>
              <a:gd name="connsiteX714" fmla="*/ 510734 w 7467600"/>
              <a:gd name="connsiteY714" fmla="*/ 2416201 h 6858000"/>
              <a:gd name="connsiteX715" fmla="*/ 279257 w 7467600"/>
              <a:gd name="connsiteY715" fmla="*/ 2092102 h 6858000"/>
              <a:gd name="connsiteX716" fmla="*/ 65265 w 7467600"/>
              <a:gd name="connsiteY716" fmla="*/ 2006049 h 6858000"/>
              <a:gd name="connsiteX717" fmla="*/ 0 w 7467600"/>
              <a:gd name="connsiteY717" fmla="*/ 1982532 h 6858000"/>
              <a:gd name="connsiteX718" fmla="*/ 0 w 7467600"/>
              <a:gd name="connsiteY718" fmla="*/ 1912789 h 6858000"/>
              <a:gd name="connsiteX719" fmla="*/ 97460 w 7467600"/>
              <a:gd name="connsiteY719" fmla="*/ 1953725 h 6858000"/>
              <a:gd name="connsiteX720" fmla="*/ 221272 w 7467600"/>
              <a:gd name="connsiteY720" fmla="*/ 1980766 h 6858000"/>
              <a:gd name="connsiteX721" fmla="*/ 116765 w 7467600"/>
              <a:gd name="connsiteY721" fmla="*/ 1911033 h 6858000"/>
              <a:gd name="connsiteX722" fmla="*/ 16405 w 7467600"/>
              <a:gd name="connsiteY722" fmla="*/ 1803412 h 6858000"/>
              <a:gd name="connsiteX723" fmla="*/ 0 w 7467600"/>
              <a:gd name="connsiteY723" fmla="*/ 1784777 h 6858000"/>
              <a:gd name="connsiteX724" fmla="*/ 0 w 7467600"/>
              <a:gd name="connsiteY724" fmla="*/ 1740082 h 6858000"/>
              <a:gd name="connsiteX725" fmla="*/ 39394 w 7467600"/>
              <a:gd name="connsiteY725" fmla="*/ 1784856 h 6858000"/>
              <a:gd name="connsiteX726" fmla="*/ 135813 w 7467600"/>
              <a:gd name="connsiteY726" fmla="*/ 1888838 h 6858000"/>
              <a:gd name="connsiteX727" fmla="*/ 242575 w 7467600"/>
              <a:gd name="connsiteY727" fmla="*/ 1958841 h 6858000"/>
              <a:gd name="connsiteX728" fmla="*/ 82197 w 7467600"/>
              <a:gd name="connsiteY728" fmla="*/ 1754826 h 6858000"/>
              <a:gd name="connsiteX729" fmla="*/ 0 w 7467600"/>
              <a:gd name="connsiteY729" fmla="*/ 1679650 h 6858000"/>
              <a:gd name="connsiteX730" fmla="*/ 0 w 7467600"/>
              <a:gd name="connsiteY730" fmla="*/ 1602463 h 6858000"/>
              <a:gd name="connsiteX731" fmla="*/ 84689 w 7467600"/>
              <a:gd name="connsiteY731" fmla="*/ 1677442 h 6858000"/>
              <a:gd name="connsiteX732" fmla="*/ 298437 w 7467600"/>
              <a:gd name="connsiteY732" fmla="*/ 1968019 h 6858000"/>
              <a:gd name="connsiteX733" fmla="*/ 227269 w 7467600"/>
              <a:gd name="connsiteY733" fmla="*/ 1114064 h 6858000"/>
              <a:gd name="connsiteX734" fmla="*/ 248003 w 7467600"/>
              <a:gd name="connsiteY734" fmla="*/ 1089613 h 6858000"/>
              <a:gd name="connsiteX735" fmla="*/ 427020 w 7467600"/>
              <a:gd name="connsiteY735" fmla="*/ 1619803 h 6858000"/>
              <a:gd name="connsiteX736" fmla="*/ 340345 w 7467600"/>
              <a:gd name="connsiteY736" fmla="*/ 2027739 h 6858000"/>
              <a:gd name="connsiteX737" fmla="*/ 360865 w 7467600"/>
              <a:gd name="connsiteY737" fmla="*/ 2044827 h 6858000"/>
              <a:gd name="connsiteX738" fmla="*/ 560414 w 7467600"/>
              <a:gd name="connsiteY738" fmla="*/ 2421457 h 6858000"/>
              <a:gd name="connsiteX739" fmla="*/ 1359703 w 7467600"/>
              <a:gd name="connsiteY739" fmla="*/ 2578554 h 6858000"/>
              <a:gd name="connsiteX740" fmla="*/ 1359422 w 7467600"/>
              <a:gd name="connsiteY740" fmla="*/ 2577994 h 6858000"/>
              <a:gd name="connsiteX741" fmla="*/ 828701 w 7467600"/>
              <a:gd name="connsiteY741" fmla="*/ 1839520 h 6858000"/>
              <a:gd name="connsiteX742" fmla="*/ 494427 w 7467600"/>
              <a:gd name="connsiteY742" fmla="*/ 1092333 h 6858000"/>
              <a:gd name="connsiteX743" fmla="*/ 506322 w 7467600"/>
              <a:gd name="connsiteY743" fmla="*/ 1020997 h 6858000"/>
              <a:gd name="connsiteX744" fmla="*/ 4570198 w 7467600"/>
              <a:gd name="connsiteY744" fmla="*/ 978081 h 6858000"/>
              <a:gd name="connsiteX745" fmla="*/ 4523691 w 7467600"/>
              <a:gd name="connsiteY745" fmla="*/ 1127776 h 6858000"/>
              <a:gd name="connsiteX746" fmla="*/ 4509875 w 7467600"/>
              <a:gd name="connsiteY746" fmla="*/ 1167552 h 6858000"/>
              <a:gd name="connsiteX747" fmla="*/ 4478168 w 7467600"/>
              <a:gd name="connsiteY747" fmla="*/ 1260735 h 6858000"/>
              <a:gd name="connsiteX748" fmla="*/ 4409309 w 7467600"/>
              <a:gd name="connsiteY748" fmla="*/ 1666996 h 6858000"/>
              <a:gd name="connsiteX749" fmla="*/ 4370031 w 7467600"/>
              <a:gd name="connsiteY749" fmla="*/ 1955666 h 6858000"/>
              <a:gd name="connsiteX750" fmla="*/ 4570198 w 7467600"/>
              <a:gd name="connsiteY750" fmla="*/ 978081 h 6858000"/>
              <a:gd name="connsiteX751" fmla="*/ 4557898 w 7467600"/>
              <a:gd name="connsiteY751" fmla="*/ 900011 h 6858000"/>
              <a:gd name="connsiteX752" fmla="*/ 4344840 w 7467600"/>
              <a:gd name="connsiteY752" fmla="*/ 1922038 h 6858000"/>
              <a:gd name="connsiteX753" fmla="*/ 4378710 w 7467600"/>
              <a:gd name="connsiteY753" fmla="*/ 1665516 h 6858000"/>
              <a:gd name="connsiteX754" fmla="*/ 4448798 w 7467600"/>
              <a:gd name="connsiteY754" fmla="*/ 1253024 h 6858000"/>
              <a:gd name="connsiteX755" fmla="*/ 4480315 w 7467600"/>
              <a:gd name="connsiteY755" fmla="*/ 1158454 h 6858000"/>
              <a:gd name="connsiteX756" fmla="*/ 4494133 w 7467600"/>
              <a:gd name="connsiteY756" fmla="*/ 1118676 h 6858000"/>
              <a:gd name="connsiteX757" fmla="*/ 4557898 w 7467600"/>
              <a:gd name="connsiteY757" fmla="*/ 900011 h 6858000"/>
              <a:gd name="connsiteX758" fmla="*/ 5870151 w 7467600"/>
              <a:gd name="connsiteY758" fmla="*/ 898890 h 6858000"/>
              <a:gd name="connsiteX759" fmla="*/ 5861335 w 7467600"/>
              <a:gd name="connsiteY759" fmla="*/ 899177 h 6858000"/>
              <a:gd name="connsiteX760" fmla="*/ 5843702 w 7467600"/>
              <a:gd name="connsiteY760" fmla="*/ 899748 h 6858000"/>
              <a:gd name="connsiteX761" fmla="*/ 5651107 w 7467600"/>
              <a:gd name="connsiteY761" fmla="*/ 920306 h 6858000"/>
              <a:gd name="connsiteX762" fmla="*/ 5459407 w 7467600"/>
              <a:gd name="connsiteY762" fmla="*/ 940975 h 6858000"/>
              <a:gd name="connsiteX763" fmla="*/ 5374846 w 7467600"/>
              <a:gd name="connsiteY763" fmla="*/ 941988 h 6858000"/>
              <a:gd name="connsiteX764" fmla="*/ 5256105 w 7467600"/>
              <a:gd name="connsiteY764" fmla="*/ 945632 h 6858000"/>
              <a:gd name="connsiteX765" fmla="*/ 5107071 w 7467600"/>
              <a:gd name="connsiteY765" fmla="*/ 969720 h 6858000"/>
              <a:gd name="connsiteX766" fmla="*/ 4998681 w 7467600"/>
              <a:gd name="connsiteY766" fmla="*/ 988771 h 6858000"/>
              <a:gd name="connsiteX767" fmla="*/ 5870151 w 7467600"/>
              <a:gd name="connsiteY767" fmla="*/ 898890 h 6858000"/>
              <a:gd name="connsiteX768" fmla="*/ 5504425 w 7467600"/>
              <a:gd name="connsiteY768" fmla="*/ 848067 h 6858000"/>
              <a:gd name="connsiteX769" fmla="*/ 4968849 w 7467600"/>
              <a:gd name="connsiteY769" fmla="*/ 962318 h 6858000"/>
              <a:gd name="connsiteX770" fmla="*/ 5104039 w 7467600"/>
              <a:gd name="connsiteY770" fmla="*/ 940634 h 6858000"/>
              <a:gd name="connsiteX771" fmla="*/ 5256311 w 7467600"/>
              <a:gd name="connsiteY771" fmla="*/ 916490 h 6858000"/>
              <a:gd name="connsiteX772" fmla="*/ 5377381 w 7467600"/>
              <a:gd name="connsiteY772" fmla="*/ 912671 h 6858000"/>
              <a:gd name="connsiteX773" fmla="*/ 5460148 w 7467600"/>
              <a:gd name="connsiteY773" fmla="*/ 911442 h 6858000"/>
              <a:gd name="connsiteX774" fmla="*/ 5648971 w 7467600"/>
              <a:gd name="connsiteY774" fmla="*/ 891331 h 6858000"/>
              <a:gd name="connsiteX775" fmla="*/ 5844807 w 7467600"/>
              <a:gd name="connsiteY775" fmla="*/ 870718 h 6858000"/>
              <a:gd name="connsiteX776" fmla="*/ 5862975 w 7467600"/>
              <a:gd name="connsiteY776" fmla="*/ 869756 h 6858000"/>
              <a:gd name="connsiteX777" fmla="*/ 5920887 w 7467600"/>
              <a:gd name="connsiteY777" fmla="*/ 865929 h 6858000"/>
              <a:gd name="connsiteX778" fmla="*/ 5504425 w 7467600"/>
              <a:gd name="connsiteY778" fmla="*/ 848067 h 6858000"/>
              <a:gd name="connsiteX779" fmla="*/ 3607114 w 7467600"/>
              <a:gd name="connsiteY779" fmla="*/ 467441 h 6858000"/>
              <a:gd name="connsiteX780" fmla="*/ 3296242 w 7467600"/>
              <a:gd name="connsiteY780" fmla="*/ 807991 h 6858000"/>
              <a:gd name="connsiteX781" fmla="*/ 3174674 w 7467600"/>
              <a:gd name="connsiteY781" fmla="*/ 919759 h 6858000"/>
              <a:gd name="connsiteX782" fmla="*/ 3042978 w 7467600"/>
              <a:gd name="connsiteY782" fmla="*/ 1054894 h 6858000"/>
              <a:gd name="connsiteX783" fmla="*/ 2968914 w 7467600"/>
              <a:gd name="connsiteY783" fmla="*/ 1133756 h 6858000"/>
              <a:gd name="connsiteX784" fmla="*/ 3103823 w 7467600"/>
              <a:gd name="connsiteY784" fmla="*/ 1026814 h 6858000"/>
              <a:gd name="connsiteX785" fmla="*/ 3607114 w 7467600"/>
              <a:gd name="connsiteY785" fmla="*/ 467441 h 6858000"/>
              <a:gd name="connsiteX786" fmla="*/ 3744487 w 7467600"/>
              <a:gd name="connsiteY786" fmla="*/ 383136 h 6858000"/>
              <a:gd name="connsiteX787" fmla="*/ 3970213 w 7467600"/>
              <a:gd name="connsiteY787" fmla="*/ 995559 h 6858000"/>
              <a:gd name="connsiteX788" fmla="*/ 3744487 w 7467600"/>
              <a:gd name="connsiteY788" fmla="*/ 383136 h 6858000"/>
              <a:gd name="connsiteX789" fmla="*/ 3624562 w 7467600"/>
              <a:gd name="connsiteY789" fmla="*/ 367041 h 6858000"/>
              <a:gd name="connsiteX790" fmla="*/ 3489712 w 7467600"/>
              <a:gd name="connsiteY790" fmla="*/ 485386 h 6858000"/>
              <a:gd name="connsiteX791" fmla="*/ 3182994 w 7467600"/>
              <a:gd name="connsiteY791" fmla="*/ 828265 h 6858000"/>
              <a:gd name="connsiteX792" fmla="*/ 2892114 w 7467600"/>
              <a:gd name="connsiteY792" fmla="*/ 1172635 h 6858000"/>
              <a:gd name="connsiteX793" fmla="*/ 3021459 w 7467600"/>
              <a:gd name="connsiteY793" fmla="*/ 1035385 h 6858000"/>
              <a:gd name="connsiteX794" fmla="*/ 3153873 w 7467600"/>
              <a:gd name="connsiteY794" fmla="*/ 898971 h 6858000"/>
              <a:gd name="connsiteX795" fmla="*/ 3276511 w 7467600"/>
              <a:gd name="connsiteY795" fmla="*/ 786423 h 6858000"/>
              <a:gd name="connsiteX796" fmla="*/ 3584154 w 7467600"/>
              <a:gd name="connsiteY796" fmla="*/ 448218 h 6858000"/>
              <a:gd name="connsiteX797" fmla="*/ 3624562 w 7467600"/>
              <a:gd name="connsiteY797" fmla="*/ 367041 h 6858000"/>
              <a:gd name="connsiteX798" fmla="*/ 3766672 w 7467600"/>
              <a:gd name="connsiteY798" fmla="*/ 359429 h 6858000"/>
              <a:gd name="connsiteX799" fmla="*/ 3996338 w 7467600"/>
              <a:gd name="connsiteY799" fmla="*/ 968237 h 6858000"/>
              <a:gd name="connsiteX800" fmla="*/ 3766672 w 7467600"/>
              <a:gd name="connsiteY800" fmla="*/ 359429 h 6858000"/>
              <a:gd name="connsiteX801" fmla="*/ 5805386 w 7467600"/>
              <a:gd name="connsiteY801" fmla="*/ 239240 h 6858000"/>
              <a:gd name="connsiteX802" fmla="*/ 5736947 w 7467600"/>
              <a:gd name="connsiteY802" fmla="*/ 261367 h 6858000"/>
              <a:gd name="connsiteX803" fmla="*/ 5427012 w 7467600"/>
              <a:gd name="connsiteY803" fmla="*/ 311272 h 6858000"/>
              <a:gd name="connsiteX804" fmla="*/ 5147818 w 7467600"/>
              <a:gd name="connsiteY804" fmla="*/ 322112 h 6858000"/>
              <a:gd name="connsiteX805" fmla="*/ 5060854 w 7467600"/>
              <a:gd name="connsiteY805" fmla="*/ 311882 h 6858000"/>
              <a:gd name="connsiteX806" fmla="*/ 4945989 w 7467600"/>
              <a:gd name="connsiteY806" fmla="*/ 300516 h 6858000"/>
              <a:gd name="connsiteX807" fmla="*/ 5410479 w 7467600"/>
              <a:gd name="connsiteY807" fmla="*/ 348434 h 6858000"/>
              <a:gd name="connsiteX808" fmla="*/ 5805386 w 7467600"/>
              <a:gd name="connsiteY808" fmla="*/ 239240 h 6858000"/>
              <a:gd name="connsiteX809" fmla="*/ 5905192 w 7467600"/>
              <a:gd name="connsiteY809" fmla="*/ 163079 h 6858000"/>
              <a:gd name="connsiteX810" fmla="*/ 5865655 w 7467600"/>
              <a:gd name="connsiteY810" fmla="*/ 171901 h 6858000"/>
              <a:gd name="connsiteX811" fmla="*/ 5259740 w 7467600"/>
              <a:gd name="connsiteY811" fmla="*/ 257013 h 6858000"/>
              <a:gd name="connsiteX812" fmla="*/ 5208466 w 7467600"/>
              <a:gd name="connsiteY812" fmla="*/ 257550 h 6858000"/>
              <a:gd name="connsiteX813" fmla="*/ 4980204 w 7467600"/>
              <a:gd name="connsiteY813" fmla="*/ 271903 h 6858000"/>
              <a:gd name="connsiteX814" fmla="*/ 5068068 w 7467600"/>
              <a:gd name="connsiteY814" fmla="*/ 282244 h 6858000"/>
              <a:gd name="connsiteX815" fmla="*/ 5153231 w 7467600"/>
              <a:gd name="connsiteY815" fmla="*/ 292240 h 6858000"/>
              <a:gd name="connsiteX816" fmla="*/ 5426491 w 7467600"/>
              <a:gd name="connsiteY816" fmla="*/ 281128 h 6858000"/>
              <a:gd name="connsiteX817" fmla="*/ 5731212 w 7467600"/>
              <a:gd name="connsiteY817" fmla="*/ 231951 h 6858000"/>
              <a:gd name="connsiteX818" fmla="*/ 5905192 w 7467600"/>
              <a:gd name="connsiteY818" fmla="*/ 163079 h 6858000"/>
              <a:gd name="connsiteX819" fmla="*/ 5944437 w 7467600"/>
              <a:gd name="connsiteY819" fmla="*/ 113829 h 6858000"/>
              <a:gd name="connsiteX820" fmla="*/ 5825032 w 7467600"/>
              <a:gd name="connsiteY820" fmla="*/ 146405 h 6858000"/>
              <a:gd name="connsiteX821" fmla="*/ 4955599 w 7467600"/>
              <a:gd name="connsiteY821" fmla="*/ 247008 h 6858000"/>
              <a:gd name="connsiteX822" fmla="*/ 5210104 w 7467600"/>
              <a:gd name="connsiteY822" fmla="*/ 228123 h 6858000"/>
              <a:gd name="connsiteX823" fmla="*/ 5261015 w 7467600"/>
              <a:gd name="connsiteY823" fmla="*/ 227087 h 6858000"/>
              <a:gd name="connsiteX824" fmla="*/ 5861181 w 7467600"/>
              <a:gd name="connsiteY824" fmla="*/ 143093 h 6858000"/>
              <a:gd name="connsiteX825" fmla="*/ 5961252 w 7467600"/>
              <a:gd name="connsiteY825" fmla="*/ 114820 h 6858000"/>
              <a:gd name="connsiteX826" fmla="*/ 5944437 w 7467600"/>
              <a:gd name="connsiteY826" fmla="*/ 113829 h 6858000"/>
              <a:gd name="connsiteX827" fmla="*/ 3882765 w 7467600"/>
              <a:gd name="connsiteY827" fmla="*/ 0 h 6858000"/>
              <a:gd name="connsiteX828" fmla="*/ 3995099 w 7467600"/>
              <a:gd name="connsiteY828" fmla="*/ 0 h 6858000"/>
              <a:gd name="connsiteX829" fmla="*/ 4163818 w 7467600"/>
              <a:gd name="connsiteY829" fmla="*/ 234104 h 6858000"/>
              <a:gd name="connsiteX830" fmla="*/ 4172099 w 7467600"/>
              <a:gd name="connsiteY830" fmla="*/ 234207 h 6858000"/>
              <a:gd name="connsiteX831" fmla="*/ 4784282 w 7467600"/>
              <a:gd name="connsiteY831" fmla="*/ 276561 h 6858000"/>
              <a:gd name="connsiteX832" fmla="*/ 4801687 w 7467600"/>
              <a:gd name="connsiteY832" fmla="*/ 267764 h 6858000"/>
              <a:gd name="connsiteX833" fmla="*/ 6082788 w 7467600"/>
              <a:gd name="connsiteY833" fmla="*/ 64119 h 6858000"/>
              <a:gd name="connsiteX834" fmla="*/ 6099442 w 7467600"/>
              <a:gd name="connsiteY834" fmla="*/ 82568 h 6858000"/>
              <a:gd name="connsiteX835" fmla="*/ 4804137 w 7467600"/>
              <a:gd name="connsiteY835" fmla="*/ 320931 h 6858000"/>
              <a:gd name="connsiteX836" fmla="*/ 4227047 w 7467600"/>
              <a:gd name="connsiteY836" fmla="*/ 313415 h 6858000"/>
              <a:gd name="connsiteX837" fmla="*/ 4346041 w 7467600"/>
              <a:gd name="connsiteY837" fmla="*/ 456086 h 6858000"/>
              <a:gd name="connsiteX838" fmla="*/ 4870967 w 7467600"/>
              <a:gd name="connsiteY838" fmla="*/ 963061 h 6858000"/>
              <a:gd name="connsiteX839" fmla="*/ 4889647 w 7467600"/>
              <a:gd name="connsiteY839" fmla="*/ 957147 h 6858000"/>
              <a:gd name="connsiteX840" fmla="*/ 5422504 w 7467600"/>
              <a:gd name="connsiteY840" fmla="*/ 805191 h 6858000"/>
              <a:gd name="connsiteX841" fmla="*/ 6087656 w 7467600"/>
              <a:gd name="connsiteY841" fmla="*/ 826703 h 6858000"/>
              <a:gd name="connsiteX842" fmla="*/ 6058717 w 7467600"/>
              <a:gd name="connsiteY842" fmla="*/ 865992 h 6858000"/>
              <a:gd name="connsiteX843" fmla="*/ 4974153 w 7467600"/>
              <a:gd name="connsiteY843" fmla="*/ 1045456 h 6858000"/>
              <a:gd name="connsiteX844" fmla="*/ 5627835 w 7467600"/>
              <a:gd name="connsiteY844" fmla="*/ 1472077 h 6858000"/>
              <a:gd name="connsiteX845" fmla="*/ 5629817 w 7467600"/>
              <a:gd name="connsiteY845" fmla="*/ 1471412 h 6858000"/>
              <a:gd name="connsiteX846" fmla="*/ 5634124 w 7467600"/>
              <a:gd name="connsiteY846" fmla="*/ 1470572 h 6858000"/>
              <a:gd name="connsiteX847" fmla="*/ 5755832 w 7467600"/>
              <a:gd name="connsiteY847" fmla="*/ 1383886 h 6858000"/>
              <a:gd name="connsiteX848" fmla="*/ 6014186 w 7467600"/>
              <a:gd name="connsiteY848" fmla="*/ 1279799 h 6858000"/>
              <a:gd name="connsiteX849" fmla="*/ 6901619 w 7467600"/>
              <a:gd name="connsiteY849" fmla="*/ 1047874 h 6858000"/>
              <a:gd name="connsiteX850" fmla="*/ 6931566 w 7467600"/>
              <a:gd name="connsiteY850" fmla="*/ 1062034 h 6858000"/>
              <a:gd name="connsiteX851" fmla="*/ 5790982 w 7467600"/>
              <a:gd name="connsiteY851" fmla="*/ 1561380 h 6858000"/>
              <a:gd name="connsiteX852" fmla="*/ 6188971 w 7467600"/>
              <a:gd name="connsiteY852" fmla="*/ 1755168 h 6858000"/>
              <a:gd name="connsiteX853" fmla="*/ 6202446 w 7467600"/>
              <a:gd name="connsiteY853" fmla="*/ 1752268 h 6858000"/>
              <a:gd name="connsiteX854" fmla="*/ 7179560 w 7467600"/>
              <a:gd name="connsiteY854" fmla="*/ 1467551 h 6858000"/>
              <a:gd name="connsiteX855" fmla="*/ 7158730 w 7467600"/>
              <a:gd name="connsiteY855" fmla="*/ 1507835 h 6858000"/>
              <a:gd name="connsiteX856" fmla="*/ 6326959 w 7467600"/>
              <a:gd name="connsiteY856" fmla="*/ 1817686 h 6858000"/>
              <a:gd name="connsiteX857" fmla="*/ 6537433 w 7467600"/>
              <a:gd name="connsiteY857" fmla="*/ 1907790 h 6858000"/>
              <a:gd name="connsiteX858" fmla="*/ 6550221 w 7467600"/>
              <a:gd name="connsiteY858" fmla="*/ 1910729 h 6858000"/>
              <a:gd name="connsiteX859" fmla="*/ 6964438 w 7467600"/>
              <a:gd name="connsiteY859" fmla="*/ 2209505 h 6858000"/>
              <a:gd name="connsiteX860" fmla="*/ 7367862 w 7467600"/>
              <a:gd name="connsiteY860" fmla="*/ 2806833 h 6858000"/>
              <a:gd name="connsiteX861" fmla="*/ 7364329 w 7467600"/>
              <a:gd name="connsiteY861" fmla="*/ 2826907 h 6858000"/>
              <a:gd name="connsiteX862" fmla="*/ 7290545 w 7467600"/>
              <a:gd name="connsiteY862" fmla="*/ 2850663 h 6858000"/>
              <a:gd name="connsiteX863" fmla="*/ 6472036 w 7467600"/>
              <a:gd name="connsiteY863" fmla="*/ 1959003 h 6858000"/>
              <a:gd name="connsiteX864" fmla="*/ 5792897 w 7467600"/>
              <a:gd name="connsiteY864" fmla="*/ 1647747 h 6858000"/>
              <a:gd name="connsiteX865" fmla="*/ 5842751 w 7467600"/>
              <a:gd name="connsiteY865" fmla="*/ 1816112 h 6858000"/>
              <a:gd name="connsiteX866" fmla="*/ 5847424 w 7467600"/>
              <a:gd name="connsiteY866" fmla="*/ 1815776 h 6858000"/>
              <a:gd name="connsiteX867" fmla="*/ 6399821 w 7467600"/>
              <a:gd name="connsiteY867" fmla="*/ 2344799 h 6858000"/>
              <a:gd name="connsiteX868" fmla="*/ 6323232 w 7467600"/>
              <a:gd name="connsiteY868" fmla="*/ 2389634 h 6858000"/>
              <a:gd name="connsiteX869" fmla="*/ 5942958 w 7467600"/>
              <a:gd name="connsiteY869" fmla="*/ 2077708 h 6858000"/>
              <a:gd name="connsiteX870" fmla="*/ 5921559 w 7467600"/>
              <a:gd name="connsiteY870" fmla="*/ 2378596 h 6858000"/>
              <a:gd name="connsiteX871" fmla="*/ 5817651 w 7467600"/>
              <a:gd name="connsiteY871" fmla="*/ 3023919 h 6858000"/>
              <a:gd name="connsiteX872" fmla="*/ 5729634 w 7467600"/>
              <a:gd name="connsiteY872" fmla="*/ 3051849 h 6858000"/>
              <a:gd name="connsiteX873" fmla="*/ 5611018 w 7467600"/>
              <a:gd name="connsiteY873" fmla="*/ 2316769 h 6858000"/>
              <a:gd name="connsiteX874" fmla="*/ 5687608 w 7467600"/>
              <a:gd name="connsiteY874" fmla="*/ 2039972 h 6858000"/>
              <a:gd name="connsiteX875" fmla="*/ 5657554 w 7467600"/>
              <a:gd name="connsiteY875" fmla="*/ 1576445 h 6858000"/>
              <a:gd name="connsiteX876" fmla="*/ 5150475 w 7467600"/>
              <a:gd name="connsiteY876" fmla="*/ 1274012 h 6858000"/>
              <a:gd name="connsiteX877" fmla="*/ 5349142 w 7467600"/>
              <a:gd name="connsiteY877" fmla="*/ 2204405 h 6858000"/>
              <a:gd name="connsiteX878" fmla="*/ 5262214 w 7467600"/>
              <a:gd name="connsiteY878" fmla="*/ 2233836 h 6858000"/>
              <a:gd name="connsiteX879" fmla="*/ 4981539 w 7467600"/>
              <a:gd name="connsiteY879" fmla="*/ 1542201 h 6858000"/>
              <a:gd name="connsiteX880" fmla="*/ 4958461 w 7467600"/>
              <a:gd name="connsiteY880" fmla="*/ 1136957 h 6858000"/>
              <a:gd name="connsiteX881" fmla="*/ 4655015 w 7467600"/>
              <a:gd name="connsiteY881" fmla="*/ 891426 h 6858000"/>
              <a:gd name="connsiteX882" fmla="*/ 4348002 w 7467600"/>
              <a:gd name="connsiteY882" fmla="*/ 2205895 h 6858000"/>
              <a:gd name="connsiteX883" fmla="*/ 4262250 w 7467600"/>
              <a:gd name="connsiteY883" fmla="*/ 2219972 h 6858000"/>
              <a:gd name="connsiteX884" fmla="*/ 4550611 w 7467600"/>
              <a:gd name="connsiteY884" fmla="*/ 817540 h 6858000"/>
              <a:gd name="connsiteX885" fmla="*/ 4564418 w 7467600"/>
              <a:gd name="connsiteY885" fmla="*/ 808293 h 6858000"/>
              <a:gd name="connsiteX886" fmla="*/ 4266388 w 7467600"/>
              <a:gd name="connsiteY886" fmla="*/ 500083 h 6858000"/>
              <a:gd name="connsiteX887" fmla="*/ 4032842 w 7467600"/>
              <a:gd name="connsiteY887" fmla="*/ 211809 h 6858000"/>
              <a:gd name="connsiteX888" fmla="*/ 3882765 w 7467600"/>
              <a:gd name="connsiteY888" fmla="*/ 0 h 6858000"/>
              <a:gd name="connsiteX889" fmla="*/ 3721337 w 7467600"/>
              <a:gd name="connsiteY889" fmla="*/ 0 h 6858000"/>
              <a:gd name="connsiteX890" fmla="*/ 3797544 w 7467600"/>
              <a:gd name="connsiteY890" fmla="*/ 0 h 6858000"/>
              <a:gd name="connsiteX891" fmla="*/ 3775734 w 7467600"/>
              <a:gd name="connsiteY891" fmla="*/ 95131 h 6858000"/>
              <a:gd name="connsiteX892" fmla="*/ 3724807 w 7467600"/>
              <a:gd name="connsiteY892" fmla="*/ 272257 h 6858000"/>
              <a:gd name="connsiteX893" fmla="*/ 3726844 w 7467600"/>
              <a:gd name="connsiteY893" fmla="*/ 282988 h 6858000"/>
              <a:gd name="connsiteX894" fmla="*/ 3742664 w 7467600"/>
              <a:gd name="connsiteY894" fmla="*/ 279918 h 6858000"/>
              <a:gd name="connsiteX895" fmla="*/ 4103910 w 7467600"/>
              <a:gd name="connsiteY895" fmla="*/ 1161917 h 6858000"/>
              <a:gd name="connsiteX896" fmla="*/ 4020269 w 7467600"/>
              <a:gd name="connsiteY896" fmla="*/ 1200406 h 6858000"/>
              <a:gd name="connsiteX897" fmla="*/ 3674882 w 7467600"/>
              <a:gd name="connsiteY897" fmla="*/ 488524 h 6858000"/>
              <a:gd name="connsiteX898" fmla="*/ 3132682 w 7467600"/>
              <a:gd name="connsiteY898" fmla="*/ 1072284 h 6858000"/>
              <a:gd name="connsiteX899" fmla="*/ 2716346 w 7467600"/>
              <a:gd name="connsiteY899" fmla="*/ 1276376 h 6858000"/>
              <a:gd name="connsiteX900" fmla="*/ 2716772 w 7467600"/>
              <a:gd name="connsiteY900" fmla="*/ 1255462 h 6858000"/>
              <a:gd name="connsiteX901" fmla="*/ 3471096 w 7467600"/>
              <a:gd name="connsiteY901" fmla="*/ 437072 h 6858000"/>
              <a:gd name="connsiteX902" fmla="*/ 3639057 w 7467600"/>
              <a:gd name="connsiteY902" fmla="*/ 286334 h 6858000"/>
              <a:gd name="connsiteX903" fmla="*/ 3640309 w 7467600"/>
              <a:gd name="connsiteY903" fmla="*/ 284664 h 6858000"/>
              <a:gd name="connsiteX904" fmla="*/ 3646022 w 7467600"/>
              <a:gd name="connsiteY904" fmla="*/ 276711 h 6858000"/>
              <a:gd name="connsiteX905" fmla="*/ 3707943 w 7467600"/>
              <a:gd name="connsiteY905" fmla="*/ 65958 h 6858000"/>
              <a:gd name="connsiteX906" fmla="*/ 3721337 w 7467600"/>
              <a:gd name="connsiteY906" fmla="*/ 0 h 6858000"/>
              <a:gd name="connsiteX907" fmla="*/ 2867960 w 7467600"/>
              <a:gd name="connsiteY907" fmla="*/ 0 h 6858000"/>
              <a:gd name="connsiteX908" fmla="*/ 2926351 w 7467600"/>
              <a:gd name="connsiteY908" fmla="*/ 0 h 6858000"/>
              <a:gd name="connsiteX909" fmla="*/ 2902823 w 7467600"/>
              <a:gd name="connsiteY909" fmla="*/ 262929 h 6858000"/>
              <a:gd name="connsiteX910" fmla="*/ 2940663 w 7467600"/>
              <a:gd name="connsiteY910" fmla="*/ 140884 h 6858000"/>
              <a:gd name="connsiteX911" fmla="*/ 2947039 w 7467600"/>
              <a:gd name="connsiteY911" fmla="*/ 122524 h 6858000"/>
              <a:gd name="connsiteX912" fmla="*/ 2984316 w 7467600"/>
              <a:gd name="connsiteY912" fmla="*/ 0 h 6858000"/>
              <a:gd name="connsiteX913" fmla="*/ 3016114 w 7467600"/>
              <a:gd name="connsiteY913" fmla="*/ 0 h 6858000"/>
              <a:gd name="connsiteX914" fmla="*/ 2979949 w 7467600"/>
              <a:gd name="connsiteY914" fmla="*/ 119274 h 6858000"/>
              <a:gd name="connsiteX915" fmla="*/ 3023879 w 7467600"/>
              <a:gd name="connsiteY915" fmla="*/ 0 h 6858000"/>
              <a:gd name="connsiteX916" fmla="*/ 3105400 w 7467600"/>
              <a:gd name="connsiteY916" fmla="*/ 0 h 6858000"/>
              <a:gd name="connsiteX917" fmla="*/ 3094669 w 7467600"/>
              <a:gd name="connsiteY917" fmla="*/ 30308 h 6858000"/>
              <a:gd name="connsiteX918" fmla="*/ 2901945 w 7467600"/>
              <a:gd name="connsiteY918" fmla="*/ 466538 h 6858000"/>
              <a:gd name="connsiteX919" fmla="*/ 2815209 w 7467600"/>
              <a:gd name="connsiteY919" fmla="*/ 497361 h 6858000"/>
              <a:gd name="connsiteX920" fmla="*/ 2844845 w 7467600"/>
              <a:gd name="connsiteY920" fmla="*/ 127638 h 6858000"/>
              <a:gd name="connsiteX921" fmla="*/ 2867960 w 7467600"/>
              <a:gd name="connsiteY921" fmla="*/ 0 h 6858000"/>
              <a:gd name="connsiteX922" fmla="*/ 1057230 w 7467600"/>
              <a:gd name="connsiteY922" fmla="*/ 0 h 6858000"/>
              <a:gd name="connsiteX923" fmla="*/ 1111003 w 7467600"/>
              <a:gd name="connsiteY923" fmla="*/ 0 h 6858000"/>
              <a:gd name="connsiteX924" fmla="*/ 1125553 w 7467600"/>
              <a:gd name="connsiteY924" fmla="*/ 52588 h 6858000"/>
              <a:gd name="connsiteX925" fmla="*/ 1304276 w 7467600"/>
              <a:gd name="connsiteY925" fmla="*/ 476275 h 6858000"/>
              <a:gd name="connsiteX926" fmla="*/ 1492066 w 7467600"/>
              <a:gd name="connsiteY926" fmla="*/ 886333 h 6858000"/>
              <a:gd name="connsiteX927" fmla="*/ 1423698 w 7467600"/>
              <a:gd name="connsiteY927" fmla="*/ 710817 h 6858000"/>
              <a:gd name="connsiteX928" fmla="*/ 1357609 w 7467600"/>
              <a:gd name="connsiteY928" fmla="*/ 532892 h 6858000"/>
              <a:gd name="connsiteX929" fmla="*/ 1309550 w 7467600"/>
              <a:gd name="connsiteY929" fmla="*/ 374031 h 6858000"/>
              <a:gd name="connsiteX930" fmla="*/ 1193673 w 7467600"/>
              <a:gd name="connsiteY930" fmla="*/ 49533 h 6858000"/>
              <a:gd name="connsiteX931" fmla="*/ 1164391 w 7467600"/>
              <a:gd name="connsiteY931" fmla="*/ 0 h 6858000"/>
              <a:gd name="connsiteX932" fmla="*/ 1200666 w 7467600"/>
              <a:gd name="connsiteY932" fmla="*/ 0 h 6858000"/>
              <a:gd name="connsiteX933" fmla="*/ 1223408 w 7467600"/>
              <a:gd name="connsiteY933" fmla="*/ 38996 h 6858000"/>
              <a:gd name="connsiteX934" fmla="*/ 1339635 w 7467600"/>
              <a:gd name="connsiteY934" fmla="*/ 365517 h 6858000"/>
              <a:gd name="connsiteX935" fmla="*/ 1387469 w 7467600"/>
              <a:gd name="connsiteY935" fmla="*/ 523079 h 6858000"/>
              <a:gd name="connsiteX936" fmla="*/ 1452685 w 7467600"/>
              <a:gd name="connsiteY936" fmla="*/ 699806 h 6858000"/>
              <a:gd name="connsiteX937" fmla="*/ 1492092 w 7467600"/>
              <a:gd name="connsiteY937" fmla="*/ 800424 h 6858000"/>
              <a:gd name="connsiteX938" fmla="*/ 1455302 w 7467600"/>
              <a:gd name="connsiteY938" fmla="*/ 632913 h 6858000"/>
              <a:gd name="connsiteX939" fmla="*/ 1222336 w 7467600"/>
              <a:gd name="connsiteY939" fmla="*/ 9480 h 6858000"/>
              <a:gd name="connsiteX940" fmla="*/ 1214634 w 7467600"/>
              <a:gd name="connsiteY940" fmla="*/ 0 h 6858000"/>
              <a:gd name="connsiteX941" fmla="*/ 1289827 w 7467600"/>
              <a:gd name="connsiteY941" fmla="*/ 0 h 6858000"/>
              <a:gd name="connsiteX942" fmla="*/ 1321076 w 7467600"/>
              <a:gd name="connsiteY942" fmla="*/ 59722 h 6858000"/>
              <a:gd name="connsiteX943" fmla="*/ 1512579 w 7467600"/>
              <a:gd name="connsiteY943" fmla="*/ 626441 h 6858000"/>
              <a:gd name="connsiteX944" fmla="*/ 1506076 w 7467600"/>
              <a:gd name="connsiteY944" fmla="*/ 1089289 h 6858000"/>
              <a:gd name="connsiteX945" fmla="*/ 1486346 w 7467600"/>
              <a:gd name="connsiteY945" fmla="*/ 1079919 h 6858000"/>
              <a:gd name="connsiteX946" fmla="*/ 1070511 w 7467600"/>
              <a:gd name="connsiteY946" fmla="*/ 48609 h 6858000"/>
              <a:gd name="connsiteX947" fmla="*/ 1057230 w 7467600"/>
              <a:gd name="connsiteY947" fmla="*/ 0 h 6858000"/>
              <a:gd name="connsiteX948" fmla="*/ 43151 w 7467600"/>
              <a:gd name="connsiteY948" fmla="*/ 0 h 6858000"/>
              <a:gd name="connsiteX949" fmla="*/ 95283 w 7467600"/>
              <a:gd name="connsiteY949" fmla="*/ 0 h 6858000"/>
              <a:gd name="connsiteX950" fmla="*/ 300708 w 7467600"/>
              <a:gd name="connsiteY950" fmla="*/ 154571 h 6858000"/>
              <a:gd name="connsiteX951" fmla="*/ 530414 w 7467600"/>
              <a:gd name="connsiteY951" fmla="*/ 354673 h 6858000"/>
              <a:gd name="connsiteX952" fmla="*/ 333785 w 7467600"/>
              <a:gd name="connsiteY952" fmla="*/ 161564 h 6858000"/>
              <a:gd name="connsiteX953" fmla="*/ 147005 w 7467600"/>
              <a:gd name="connsiteY953" fmla="*/ 0 h 6858000"/>
              <a:gd name="connsiteX954" fmla="*/ 272509 w 7467600"/>
              <a:gd name="connsiteY954" fmla="*/ 0 h 6858000"/>
              <a:gd name="connsiteX955" fmla="*/ 326276 w 7467600"/>
              <a:gd name="connsiteY955" fmla="*/ 45847 h 6858000"/>
              <a:gd name="connsiteX956" fmla="*/ 823759 w 7467600"/>
              <a:gd name="connsiteY956" fmla="*/ 574145 h 6858000"/>
              <a:gd name="connsiteX957" fmla="*/ 811254 w 7467600"/>
              <a:gd name="connsiteY957" fmla="*/ 665546 h 6858000"/>
              <a:gd name="connsiteX958" fmla="*/ 154042 w 7467600"/>
              <a:gd name="connsiteY958" fmla="*/ 261522 h 6858000"/>
              <a:gd name="connsiteX959" fmla="*/ 13550 w 7467600"/>
              <a:gd name="connsiteY959" fmla="*/ 158423 h 6858000"/>
              <a:gd name="connsiteX960" fmla="*/ 0 w 7467600"/>
              <a:gd name="connsiteY960" fmla="*/ 146618 h 6858000"/>
              <a:gd name="connsiteX961" fmla="*/ 0 w 7467600"/>
              <a:gd name="connsiteY961" fmla="*/ 59161 h 6858000"/>
              <a:gd name="connsiteX962" fmla="*/ 45427 w 7467600"/>
              <a:gd name="connsiteY962" fmla="*/ 101078 h 6858000"/>
              <a:gd name="connsiteX963" fmla="*/ 630103 w 7467600"/>
              <a:gd name="connsiteY963" fmla="*/ 485885 h 6858000"/>
              <a:gd name="connsiteX964" fmla="*/ 532040 w 7467600"/>
              <a:gd name="connsiteY964" fmla="*/ 399359 h 6858000"/>
              <a:gd name="connsiteX965" fmla="*/ 517618 w 7467600"/>
              <a:gd name="connsiteY965" fmla="*/ 385726 h 6858000"/>
              <a:gd name="connsiteX966" fmla="*/ 285074 w 7467600"/>
              <a:gd name="connsiteY966" fmla="*/ 182755 h 6858000"/>
              <a:gd name="connsiteX967" fmla="*/ 43151 w 7467600"/>
              <a:gd name="connsiteY967"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7454976 w 7467600"/>
              <a:gd name="connsiteY74" fmla="*/ 6318297 h 6858000"/>
              <a:gd name="connsiteX75" fmla="*/ 7379510 w 7467600"/>
              <a:gd name="connsiteY75" fmla="*/ 5755454 h 6858000"/>
              <a:gd name="connsiteX76" fmla="*/ 7467600 w 7467600"/>
              <a:gd name="connsiteY76" fmla="*/ 5845526 h 6858000"/>
              <a:gd name="connsiteX77" fmla="*/ 7467600 w 7467600"/>
              <a:gd name="connsiteY77" fmla="*/ 6012219 h 6858000"/>
              <a:gd name="connsiteX78" fmla="*/ 7356878 w 7467600"/>
              <a:gd name="connsiteY78" fmla="*/ 5981332 h 6858000"/>
              <a:gd name="connsiteX79" fmla="*/ 7467600 w 7467600"/>
              <a:gd name="connsiteY79" fmla="*/ 6117703 h 6858000"/>
              <a:gd name="connsiteX80" fmla="*/ 7467600 w 7467600"/>
              <a:gd name="connsiteY80" fmla="*/ 6163634 h 6858000"/>
              <a:gd name="connsiteX81" fmla="*/ 7403637 w 7467600"/>
              <a:gd name="connsiteY81" fmla="*/ 6083957 h 6858000"/>
              <a:gd name="connsiteX82" fmla="*/ 7254615 w 7467600"/>
              <a:gd name="connsiteY82" fmla="*/ 5911918 h 6858000"/>
              <a:gd name="connsiteX83" fmla="*/ 7312589 w 7467600"/>
              <a:gd name="connsiteY83" fmla="*/ 5982309 h 6858000"/>
              <a:gd name="connsiteX84" fmla="*/ 7448321 w 7467600"/>
              <a:gd name="connsiteY84" fmla="*/ 6190991 h 6858000"/>
              <a:gd name="connsiteX85" fmla="*/ 7467600 w 7467600"/>
              <a:gd name="connsiteY85" fmla="*/ 6221686 h 6858000"/>
              <a:gd name="connsiteX86" fmla="*/ 7467600 w 7467600"/>
              <a:gd name="connsiteY86" fmla="*/ 6334256 h 6858000"/>
              <a:gd name="connsiteX87" fmla="*/ 7454976 w 7467600"/>
              <a:gd name="connsiteY87" fmla="*/ 6318297 h 6858000"/>
              <a:gd name="connsiteX88" fmla="*/ 1456157 w 7467600"/>
              <a:gd name="connsiteY88" fmla="*/ 5371404 h 6858000"/>
              <a:gd name="connsiteX89" fmla="*/ 1244432 w 7467600"/>
              <a:gd name="connsiteY89" fmla="*/ 5385601 h 6858000"/>
              <a:gd name="connsiteX90" fmla="*/ 973990 w 7467600"/>
              <a:gd name="connsiteY90" fmla="*/ 5424940 h 6858000"/>
              <a:gd name="connsiteX91" fmla="*/ 1103809 w 7467600"/>
              <a:gd name="connsiteY91" fmla="*/ 5433720 h 6858000"/>
              <a:gd name="connsiteX92" fmla="*/ 1123454 w 7467600"/>
              <a:gd name="connsiteY92" fmla="*/ 5435727 h 6858000"/>
              <a:gd name="connsiteX93" fmla="*/ 1737017 w 7467600"/>
              <a:gd name="connsiteY93" fmla="*/ 5452183 h 6858000"/>
              <a:gd name="connsiteX94" fmla="*/ 1824397 w 7467600"/>
              <a:gd name="connsiteY94" fmla="*/ 5447757 h 6858000"/>
              <a:gd name="connsiteX95" fmla="*/ 2070059 w 7467600"/>
              <a:gd name="connsiteY95" fmla="*/ 5441660 h 6858000"/>
              <a:gd name="connsiteX96" fmla="*/ 1456157 w 7467600"/>
              <a:gd name="connsiteY96" fmla="*/ 5371404 h 6858000"/>
              <a:gd name="connsiteX97" fmla="*/ 4988186 w 7467600"/>
              <a:gd name="connsiteY97" fmla="*/ 5216467 h 6858000"/>
              <a:gd name="connsiteX98" fmla="*/ 4777334 w 7467600"/>
              <a:gd name="connsiteY98" fmla="*/ 5406072 h 6858000"/>
              <a:gd name="connsiteX99" fmla="*/ 4718341 w 7467600"/>
              <a:gd name="connsiteY99" fmla="*/ 5468043 h 6858000"/>
              <a:gd name="connsiteX100" fmla="*/ 4604655 w 7467600"/>
              <a:gd name="connsiteY100" fmla="*/ 5583434 h 6858000"/>
              <a:gd name="connsiteX101" fmla="*/ 4565074 w 7467600"/>
              <a:gd name="connsiteY101" fmla="*/ 5618550 h 6858000"/>
              <a:gd name="connsiteX102" fmla="*/ 4988186 w 7467600"/>
              <a:gd name="connsiteY102" fmla="*/ 5216467 h 6858000"/>
              <a:gd name="connsiteX103" fmla="*/ 4978032 w 7467600"/>
              <a:gd name="connsiteY103" fmla="*/ 5183809 h 6858000"/>
              <a:gd name="connsiteX104" fmla="*/ 4463413 w 7467600"/>
              <a:gd name="connsiteY104" fmla="*/ 5615162 h 6858000"/>
              <a:gd name="connsiteX105" fmla="*/ 4358134 w 7467600"/>
              <a:gd name="connsiteY105" fmla="*/ 5742791 h 6858000"/>
              <a:gd name="connsiteX106" fmla="*/ 4376219 w 7467600"/>
              <a:gd name="connsiteY106" fmla="*/ 5729027 h 6858000"/>
              <a:gd name="connsiteX107" fmla="*/ 4582340 w 7467600"/>
              <a:gd name="connsiteY107" fmla="*/ 5561037 h 6858000"/>
              <a:gd name="connsiteX108" fmla="*/ 4694684 w 7467600"/>
              <a:gd name="connsiteY108" fmla="*/ 5447098 h 6858000"/>
              <a:gd name="connsiteX109" fmla="*/ 4754123 w 7467600"/>
              <a:gd name="connsiteY109" fmla="*/ 5384643 h 6858000"/>
              <a:gd name="connsiteX110" fmla="*/ 4978032 w 7467600"/>
              <a:gd name="connsiteY110" fmla="*/ 5183809 h 6858000"/>
              <a:gd name="connsiteX111" fmla="*/ 1903353 w 7467600"/>
              <a:gd name="connsiteY111" fmla="*/ 5044827 h 6858000"/>
              <a:gd name="connsiteX112" fmla="*/ 1936931 w 7467600"/>
              <a:gd name="connsiteY112" fmla="*/ 5093954 h 6858000"/>
              <a:gd name="connsiteX113" fmla="*/ 2195868 w 7467600"/>
              <a:gd name="connsiteY113" fmla="*/ 5396574 h 6858000"/>
              <a:gd name="connsiteX114" fmla="*/ 2088852 w 7467600"/>
              <a:gd name="connsiteY114" fmla="*/ 5166123 h 6858000"/>
              <a:gd name="connsiteX115" fmla="*/ 1958241 w 7467600"/>
              <a:gd name="connsiteY115" fmla="*/ 5067955 h 6858000"/>
              <a:gd name="connsiteX116" fmla="*/ 1903353 w 7467600"/>
              <a:gd name="connsiteY116" fmla="*/ 5044827 h 6858000"/>
              <a:gd name="connsiteX117" fmla="*/ 1979378 w 7467600"/>
              <a:gd name="connsiteY117" fmla="*/ 4769504 h 6858000"/>
              <a:gd name="connsiteX118" fmla="*/ 2882120 w 7467600"/>
              <a:gd name="connsiteY118" fmla="*/ 5064547 h 6858000"/>
              <a:gd name="connsiteX119" fmla="*/ 2793103 w 7467600"/>
              <a:gd name="connsiteY119" fmla="*/ 5039699 h 6858000"/>
              <a:gd name="connsiteX120" fmla="*/ 2770041 w 7467600"/>
              <a:gd name="connsiteY120" fmla="*/ 5033634 h 6858000"/>
              <a:gd name="connsiteX121" fmla="*/ 1979378 w 7467600"/>
              <a:gd name="connsiteY121" fmla="*/ 4769504 h 6858000"/>
              <a:gd name="connsiteX122" fmla="*/ 1927410 w 7467600"/>
              <a:gd name="connsiteY122" fmla="*/ 4716164 h 6858000"/>
              <a:gd name="connsiteX123" fmla="*/ 1959587 w 7467600"/>
              <a:gd name="connsiteY123" fmla="*/ 4728849 h 6858000"/>
              <a:gd name="connsiteX124" fmla="*/ 2777707 w 7467600"/>
              <a:gd name="connsiteY124" fmla="*/ 5003991 h 6858000"/>
              <a:gd name="connsiteX125" fmla="*/ 2800768 w 7467600"/>
              <a:gd name="connsiteY125" fmla="*/ 5010056 h 6858000"/>
              <a:gd name="connsiteX126" fmla="*/ 2879408 w 7467600"/>
              <a:gd name="connsiteY126" fmla="*/ 5031590 h 6858000"/>
              <a:gd name="connsiteX127" fmla="*/ 2862295 w 7467600"/>
              <a:gd name="connsiteY127" fmla="*/ 5022958 h 6858000"/>
              <a:gd name="connsiteX128" fmla="*/ 2813343 w 7467600"/>
              <a:gd name="connsiteY128" fmla="*/ 4998369 h 6858000"/>
              <a:gd name="connsiteX129" fmla="*/ 2646245 w 7467600"/>
              <a:gd name="connsiteY129" fmla="*/ 4930999 h 6858000"/>
              <a:gd name="connsiteX130" fmla="*/ 1999243 w 7467600"/>
              <a:gd name="connsiteY130" fmla="*/ 4730524 h 6858000"/>
              <a:gd name="connsiteX131" fmla="*/ 1979527 w 7467600"/>
              <a:gd name="connsiteY131" fmla="*/ 4726651 h 6858000"/>
              <a:gd name="connsiteX132" fmla="*/ 1927410 w 7467600"/>
              <a:gd name="connsiteY132" fmla="*/ 4716164 h 6858000"/>
              <a:gd name="connsiteX133" fmla="*/ 1997014 w 7467600"/>
              <a:gd name="connsiteY133" fmla="*/ 4698007 h 6858000"/>
              <a:gd name="connsiteX134" fmla="*/ 2005458 w 7467600"/>
              <a:gd name="connsiteY134" fmla="*/ 4699540 h 6858000"/>
              <a:gd name="connsiteX135" fmla="*/ 2657186 w 7467600"/>
              <a:gd name="connsiteY135" fmla="*/ 4901687 h 6858000"/>
              <a:gd name="connsiteX136" fmla="*/ 2826662 w 7467600"/>
              <a:gd name="connsiteY136" fmla="*/ 4970362 h 6858000"/>
              <a:gd name="connsiteX137" fmla="*/ 2876100 w 7467600"/>
              <a:gd name="connsiteY137" fmla="*/ 4995397 h 6858000"/>
              <a:gd name="connsiteX138" fmla="*/ 3042600 w 7467600"/>
              <a:gd name="connsiteY138" fmla="*/ 5059532 h 6858000"/>
              <a:gd name="connsiteX139" fmla="*/ 1997014 w 7467600"/>
              <a:gd name="connsiteY139" fmla="*/ 4698007 h 6858000"/>
              <a:gd name="connsiteX140" fmla="*/ 2305292 w 7467600"/>
              <a:gd name="connsiteY140" fmla="*/ 4219492 h 6858000"/>
              <a:gd name="connsiteX141" fmla="*/ 3360922 w 7467600"/>
              <a:gd name="connsiteY141" fmla="*/ 4529373 h 6858000"/>
              <a:gd name="connsiteX142" fmla="*/ 3492420 w 7467600"/>
              <a:gd name="connsiteY142" fmla="*/ 4510145 h 6858000"/>
              <a:gd name="connsiteX143" fmla="*/ 3364086 w 7467600"/>
              <a:gd name="connsiteY143" fmla="*/ 4480340 h 6858000"/>
              <a:gd name="connsiteX144" fmla="*/ 3225818 w 7467600"/>
              <a:gd name="connsiteY144" fmla="*/ 4411822 h 6858000"/>
              <a:gd name="connsiteX145" fmla="*/ 3129696 w 7467600"/>
              <a:gd name="connsiteY145" fmla="*/ 4360704 h 6858000"/>
              <a:gd name="connsiteX146" fmla="*/ 2814545 w 7467600"/>
              <a:gd name="connsiteY146" fmla="*/ 4282955 h 6858000"/>
              <a:gd name="connsiteX147" fmla="*/ 2305292 w 7467600"/>
              <a:gd name="connsiteY147" fmla="*/ 4219492 h 6858000"/>
              <a:gd name="connsiteX148" fmla="*/ 2626982 w 7467600"/>
              <a:gd name="connsiteY148" fmla="*/ 4206450 h 6858000"/>
              <a:gd name="connsiteX149" fmla="*/ 2490617 w 7467600"/>
              <a:gd name="connsiteY149" fmla="*/ 4206951 h 6858000"/>
              <a:gd name="connsiteX150" fmla="*/ 2819869 w 7467600"/>
              <a:gd name="connsiteY150" fmla="*/ 4252936 h 6858000"/>
              <a:gd name="connsiteX151" fmla="*/ 3143018 w 7467600"/>
              <a:gd name="connsiteY151" fmla="*/ 4332698 h 6858000"/>
              <a:gd name="connsiteX152" fmla="*/ 3241520 w 7467600"/>
              <a:gd name="connsiteY152" fmla="*/ 4385112 h 6858000"/>
              <a:gd name="connsiteX153" fmla="*/ 3374575 w 7467600"/>
              <a:gd name="connsiteY153" fmla="*/ 4451517 h 6858000"/>
              <a:gd name="connsiteX154" fmla="*/ 3505221 w 7467600"/>
              <a:gd name="connsiteY154" fmla="*/ 4480757 h 6858000"/>
              <a:gd name="connsiteX155" fmla="*/ 2626982 w 7467600"/>
              <a:gd name="connsiteY155" fmla="*/ 4206450 h 6858000"/>
              <a:gd name="connsiteX156" fmla="*/ 1310106 w 7467600"/>
              <a:gd name="connsiteY156" fmla="*/ 3943217 h 6858000"/>
              <a:gd name="connsiteX157" fmla="*/ 854994 w 7467600"/>
              <a:gd name="connsiteY157" fmla="*/ 4399136 h 6858000"/>
              <a:gd name="connsiteX158" fmla="*/ 742462 w 7467600"/>
              <a:gd name="connsiteY158" fmla="*/ 4594648 h 6858000"/>
              <a:gd name="connsiteX159" fmla="*/ 820602 w 7467600"/>
              <a:gd name="connsiteY159" fmla="*/ 4485915 h 6858000"/>
              <a:gd name="connsiteX160" fmla="*/ 878295 w 7467600"/>
              <a:gd name="connsiteY160" fmla="*/ 4403594 h 6858000"/>
              <a:gd name="connsiteX161" fmla="*/ 1240607 w 7467600"/>
              <a:gd name="connsiteY161" fmla="*/ 4010401 h 6858000"/>
              <a:gd name="connsiteX162" fmla="*/ 1310106 w 7467600"/>
              <a:gd name="connsiteY162" fmla="*/ 3943217 h 6858000"/>
              <a:gd name="connsiteX163" fmla="*/ 1423113 w 7467600"/>
              <a:gd name="connsiteY163" fmla="*/ 3874565 h 6858000"/>
              <a:gd name="connsiteX164" fmla="*/ 1260565 w 7467600"/>
              <a:gd name="connsiteY164" fmla="*/ 4031982 h 6858000"/>
              <a:gd name="connsiteX165" fmla="*/ 901900 w 7467600"/>
              <a:gd name="connsiteY165" fmla="*/ 4421236 h 6858000"/>
              <a:gd name="connsiteX166" fmla="*/ 845044 w 7467600"/>
              <a:gd name="connsiteY166" fmla="*/ 4502436 h 6858000"/>
              <a:gd name="connsiteX167" fmla="*/ 685926 w 7467600"/>
              <a:gd name="connsiteY167" fmla="*/ 4703069 h 6858000"/>
              <a:gd name="connsiteX168" fmla="*/ 684248 w 7467600"/>
              <a:gd name="connsiteY168" fmla="*/ 4706721 h 6858000"/>
              <a:gd name="connsiteX169" fmla="*/ 1423113 w 7467600"/>
              <a:gd name="connsiteY169" fmla="*/ 3874565 h 6858000"/>
              <a:gd name="connsiteX170" fmla="*/ 3316479 w 7467600"/>
              <a:gd name="connsiteY170" fmla="*/ 3872136 h 6858000"/>
              <a:gd name="connsiteX171" fmla="*/ 3546806 w 7467600"/>
              <a:gd name="connsiteY171" fmla="*/ 4356139 h 6858000"/>
              <a:gd name="connsiteX172" fmla="*/ 3364433 w 7467600"/>
              <a:gd name="connsiteY172" fmla="*/ 3953121 h 6858000"/>
              <a:gd name="connsiteX173" fmla="*/ 3316479 w 7467600"/>
              <a:gd name="connsiteY173" fmla="*/ 3872136 h 6858000"/>
              <a:gd name="connsiteX174" fmla="*/ 3291335 w 7467600"/>
              <a:gd name="connsiteY174" fmla="*/ 3767420 h 6858000"/>
              <a:gd name="connsiteX175" fmla="*/ 3390805 w 7467600"/>
              <a:gd name="connsiteY175" fmla="*/ 3937163 h 6858000"/>
              <a:gd name="connsiteX176" fmla="*/ 3579062 w 7467600"/>
              <a:gd name="connsiteY176" fmla="*/ 4359040 h 6858000"/>
              <a:gd name="connsiteX177" fmla="*/ 3467355 w 7467600"/>
              <a:gd name="connsiteY177" fmla="*/ 3988130 h 6858000"/>
              <a:gd name="connsiteX178" fmla="*/ 3310753 w 7467600"/>
              <a:gd name="connsiteY178" fmla="*/ 3787140 h 6858000"/>
              <a:gd name="connsiteX179" fmla="*/ 3291335 w 7467600"/>
              <a:gd name="connsiteY179" fmla="*/ 3767420 h 6858000"/>
              <a:gd name="connsiteX180" fmla="*/ 1635889 w 7467600"/>
              <a:gd name="connsiteY180" fmla="*/ 3709494 h 6858000"/>
              <a:gd name="connsiteX181" fmla="*/ 1634800 w 7467600"/>
              <a:gd name="connsiteY181" fmla="*/ 3731111 h 6858000"/>
              <a:gd name="connsiteX182" fmla="*/ 1635889 w 7467600"/>
              <a:gd name="connsiteY182" fmla="*/ 3709494 h 6858000"/>
              <a:gd name="connsiteX183" fmla="*/ 1510397 w 7467600"/>
              <a:gd name="connsiteY183" fmla="*/ 3684705 h 6858000"/>
              <a:gd name="connsiteX184" fmla="*/ 1146550 w 7467600"/>
              <a:gd name="connsiteY184" fmla="*/ 3802012 h 6858000"/>
              <a:gd name="connsiteX185" fmla="*/ 698834 w 7467600"/>
              <a:gd name="connsiteY185" fmla="*/ 3952272 h 6858000"/>
              <a:gd name="connsiteX186" fmla="*/ 34256 w 7467600"/>
              <a:gd name="connsiteY186" fmla="*/ 4347603 h 6858000"/>
              <a:gd name="connsiteX187" fmla="*/ 527241 w 7467600"/>
              <a:gd name="connsiteY187" fmla="*/ 4065078 h 6858000"/>
              <a:gd name="connsiteX188" fmla="*/ 1510397 w 7467600"/>
              <a:gd name="connsiteY188" fmla="*/ 3684705 h 6858000"/>
              <a:gd name="connsiteX189" fmla="*/ 1313114 w 7467600"/>
              <a:gd name="connsiteY189" fmla="*/ 3655216 h 6858000"/>
              <a:gd name="connsiteX190" fmla="*/ 1109304 w 7467600"/>
              <a:gd name="connsiteY190" fmla="*/ 3669030 h 6858000"/>
              <a:gd name="connsiteX191" fmla="*/ 8129 w 7467600"/>
              <a:gd name="connsiteY191" fmla="*/ 4330519 h 6858000"/>
              <a:gd name="connsiteX192" fmla="*/ 687572 w 7467600"/>
              <a:gd name="connsiteY192" fmla="*/ 3925629 h 6858000"/>
              <a:gd name="connsiteX193" fmla="*/ 1138365 w 7467600"/>
              <a:gd name="connsiteY193" fmla="*/ 3774515 h 6858000"/>
              <a:gd name="connsiteX194" fmla="*/ 1505579 w 7467600"/>
              <a:gd name="connsiteY194" fmla="*/ 3655526 h 6858000"/>
              <a:gd name="connsiteX195" fmla="*/ 1313114 w 7467600"/>
              <a:gd name="connsiteY195" fmla="*/ 3655216 h 6858000"/>
              <a:gd name="connsiteX196" fmla="*/ 3655073 w 7467600"/>
              <a:gd name="connsiteY196" fmla="*/ 3650884 h 6858000"/>
              <a:gd name="connsiteX197" fmla="*/ 3989938 w 7467600"/>
              <a:gd name="connsiteY197" fmla="*/ 3991685 h 6858000"/>
              <a:gd name="connsiteX198" fmla="*/ 4393907 w 7467600"/>
              <a:gd name="connsiteY198" fmla="*/ 4261258 h 6858000"/>
              <a:gd name="connsiteX199" fmla="*/ 4648051 w 7467600"/>
              <a:gd name="connsiteY199" fmla="*/ 4374051 h 6858000"/>
              <a:gd name="connsiteX200" fmla="*/ 4383389 w 7467600"/>
              <a:gd name="connsiteY200" fmla="*/ 4184369 h 6858000"/>
              <a:gd name="connsiteX201" fmla="*/ 4165508 w 7467600"/>
              <a:gd name="connsiteY201" fmla="*/ 4035196 h 6858000"/>
              <a:gd name="connsiteX202" fmla="*/ 4068162 w 7467600"/>
              <a:gd name="connsiteY202" fmla="*/ 3953394 h 6858000"/>
              <a:gd name="connsiteX203" fmla="*/ 3981416 w 7467600"/>
              <a:gd name="connsiteY203" fmla="*/ 3880482 h 6858000"/>
              <a:gd name="connsiteX204" fmla="*/ 3800147 w 7467600"/>
              <a:gd name="connsiteY204" fmla="*/ 3749872 h 6858000"/>
              <a:gd name="connsiteX205" fmla="*/ 3655073 w 7467600"/>
              <a:gd name="connsiteY205" fmla="*/ 3650884 h 6858000"/>
              <a:gd name="connsiteX206" fmla="*/ 3670252 w 7467600"/>
              <a:gd name="connsiteY206" fmla="*/ 3622798 h 6858000"/>
              <a:gd name="connsiteX207" fmla="*/ 3817258 w 7467600"/>
              <a:gd name="connsiteY207" fmla="*/ 3723577 h 6858000"/>
              <a:gd name="connsiteX208" fmla="*/ 4000461 w 7467600"/>
              <a:gd name="connsiteY208" fmla="*/ 3855966 h 6858000"/>
              <a:gd name="connsiteX209" fmla="*/ 4088180 w 7467600"/>
              <a:gd name="connsiteY209" fmla="*/ 3929774 h 6858000"/>
              <a:gd name="connsiteX210" fmla="*/ 4184555 w 7467600"/>
              <a:gd name="connsiteY210" fmla="*/ 4010683 h 6858000"/>
              <a:gd name="connsiteX211" fmla="*/ 4399563 w 7467600"/>
              <a:gd name="connsiteY211" fmla="*/ 4158106 h 6858000"/>
              <a:gd name="connsiteX212" fmla="*/ 4684469 w 7467600"/>
              <a:gd name="connsiteY212" fmla="*/ 4364680 h 6858000"/>
              <a:gd name="connsiteX213" fmla="*/ 4690271 w 7467600"/>
              <a:gd name="connsiteY213" fmla="*/ 4370034 h 6858000"/>
              <a:gd name="connsiteX214" fmla="*/ 4136093 w 7467600"/>
              <a:gd name="connsiteY214" fmla="*/ 3858466 h 6858000"/>
              <a:gd name="connsiteX215" fmla="*/ 3670252 w 7467600"/>
              <a:gd name="connsiteY215" fmla="*/ 3622798 h 6858000"/>
              <a:gd name="connsiteX216" fmla="*/ 4440129 w 7467600"/>
              <a:gd name="connsiteY216" fmla="*/ 3448571 h 6858000"/>
              <a:gd name="connsiteX217" fmla="*/ 4856525 w 7467600"/>
              <a:gd name="connsiteY217" fmla="*/ 3915351 h 6858000"/>
              <a:gd name="connsiteX218" fmla="*/ 5059055 w 7467600"/>
              <a:gd name="connsiteY218" fmla="*/ 4108918 h 6858000"/>
              <a:gd name="connsiteX219" fmla="*/ 5290070 w 7467600"/>
              <a:gd name="connsiteY219" fmla="*/ 4263619 h 6858000"/>
              <a:gd name="connsiteX220" fmla="*/ 4834991 w 7467600"/>
              <a:gd name="connsiteY220" fmla="*/ 3830985 h 6858000"/>
              <a:gd name="connsiteX221" fmla="*/ 4440129 w 7467600"/>
              <a:gd name="connsiteY221" fmla="*/ 3448571 h 6858000"/>
              <a:gd name="connsiteX222" fmla="*/ 4441737 w 7467600"/>
              <a:gd name="connsiteY222" fmla="*/ 3399734 h 6858000"/>
              <a:gd name="connsiteX223" fmla="*/ 4431236 w 7467600"/>
              <a:gd name="connsiteY223" fmla="*/ 3400954 h 6858000"/>
              <a:gd name="connsiteX224" fmla="*/ 4557150 w 7467600"/>
              <a:gd name="connsiteY224" fmla="*/ 3510023 h 6858000"/>
              <a:gd name="connsiteX225" fmla="*/ 4856936 w 7467600"/>
              <a:gd name="connsiteY225" fmla="*/ 3809146 h 6858000"/>
              <a:gd name="connsiteX226" fmla="*/ 5111996 w 7467600"/>
              <a:gd name="connsiteY226" fmla="*/ 4065759 h 6858000"/>
              <a:gd name="connsiteX227" fmla="*/ 5388878 w 7467600"/>
              <a:gd name="connsiteY227" fmla="*/ 4300185 h 6858000"/>
              <a:gd name="connsiteX228" fmla="*/ 5425556 w 7467600"/>
              <a:gd name="connsiteY228" fmla="*/ 4308967 h 6858000"/>
              <a:gd name="connsiteX229" fmla="*/ 4943646 w 7467600"/>
              <a:gd name="connsiteY229" fmla="*/ 3822916 h 6858000"/>
              <a:gd name="connsiteX230" fmla="*/ 4594837 w 7467600"/>
              <a:gd name="connsiteY230" fmla="*/ 3532274 h 6858000"/>
              <a:gd name="connsiteX231" fmla="*/ 4441737 w 7467600"/>
              <a:gd name="connsiteY231" fmla="*/ 3399734 h 6858000"/>
              <a:gd name="connsiteX232" fmla="*/ 5425834 w 7467600"/>
              <a:gd name="connsiteY232" fmla="*/ 3162785 h 6858000"/>
              <a:gd name="connsiteX233" fmla="*/ 5401644 w 7467600"/>
              <a:gd name="connsiteY233" fmla="*/ 3617847 h 6858000"/>
              <a:gd name="connsiteX234" fmla="*/ 5467256 w 7467600"/>
              <a:gd name="connsiteY234" fmla="*/ 4175494 h 6858000"/>
              <a:gd name="connsiteX235" fmla="*/ 5448069 w 7467600"/>
              <a:gd name="connsiteY235" fmla="*/ 3567554 h 6858000"/>
              <a:gd name="connsiteX236" fmla="*/ 5425834 w 7467600"/>
              <a:gd name="connsiteY236" fmla="*/ 3162785 h 6858000"/>
              <a:gd name="connsiteX237" fmla="*/ 1318687 w 7467600"/>
              <a:gd name="connsiteY237" fmla="*/ 3113840 h 6858000"/>
              <a:gd name="connsiteX238" fmla="*/ 1066793 w 7467600"/>
              <a:gd name="connsiteY238" fmla="*/ 3212171 h 6858000"/>
              <a:gd name="connsiteX239" fmla="*/ 993319 w 7467600"/>
              <a:gd name="connsiteY239" fmla="*/ 3247648 h 6858000"/>
              <a:gd name="connsiteX240" fmla="*/ 853081 w 7467600"/>
              <a:gd name="connsiteY240" fmla="*/ 3312410 h 6858000"/>
              <a:gd name="connsiteX241" fmla="*/ 805957 w 7467600"/>
              <a:gd name="connsiteY241" fmla="*/ 3330443 h 6858000"/>
              <a:gd name="connsiteX242" fmla="*/ 1318687 w 7467600"/>
              <a:gd name="connsiteY242" fmla="*/ 3113840 h 6858000"/>
              <a:gd name="connsiteX243" fmla="*/ 5453702 w 7467600"/>
              <a:gd name="connsiteY243" fmla="*/ 3090882 h 6858000"/>
              <a:gd name="connsiteX244" fmla="*/ 5480135 w 7467600"/>
              <a:gd name="connsiteY244" fmla="*/ 3565802 h 6858000"/>
              <a:gd name="connsiteX245" fmla="*/ 5499023 w 7467600"/>
              <a:gd name="connsiteY245" fmla="*/ 4166310 h 6858000"/>
              <a:gd name="connsiteX246" fmla="*/ 5547022 w 7467600"/>
              <a:gd name="connsiteY246" fmla="*/ 3607838 h 6858000"/>
              <a:gd name="connsiteX247" fmla="*/ 5515964 w 7467600"/>
              <a:gd name="connsiteY247" fmla="*/ 3378541 h 6858000"/>
              <a:gd name="connsiteX248" fmla="*/ 5453702 w 7467600"/>
              <a:gd name="connsiteY248" fmla="*/ 3090882 h 6858000"/>
              <a:gd name="connsiteX249" fmla="*/ 1238695 w 7467600"/>
              <a:gd name="connsiteY249" fmla="*/ 3076820 h 6858000"/>
              <a:gd name="connsiteX250" fmla="*/ 716371 w 7467600"/>
              <a:gd name="connsiteY250" fmla="*/ 3293249 h 6858000"/>
              <a:gd name="connsiteX251" fmla="*/ 579522 w 7467600"/>
              <a:gd name="connsiteY251" fmla="*/ 3371759 h 6858000"/>
              <a:gd name="connsiteX252" fmla="*/ 600288 w 7467600"/>
              <a:gd name="connsiteY252" fmla="*/ 3365555 h 6858000"/>
              <a:gd name="connsiteX253" fmla="*/ 840692 w 7467600"/>
              <a:gd name="connsiteY253" fmla="*/ 3284921 h 6858000"/>
              <a:gd name="connsiteX254" fmla="*/ 979248 w 7467600"/>
              <a:gd name="connsiteY254" fmla="*/ 3221003 h 6858000"/>
              <a:gd name="connsiteX255" fmla="*/ 1053282 w 7467600"/>
              <a:gd name="connsiteY255" fmla="*/ 3185247 h 6858000"/>
              <a:gd name="connsiteX256" fmla="*/ 1320603 w 7467600"/>
              <a:gd name="connsiteY256" fmla="*/ 3081281 h 6858000"/>
              <a:gd name="connsiteX257" fmla="*/ 1238695 w 7467600"/>
              <a:gd name="connsiteY257" fmla="*/ 3076820 h 6858000"/>
              <a:gd name="connsiteX258" fmla="*/ 5425627 w 7467600"/>
              <a:gd name="connsiteY258" fmla="*/ 2954192 h 6858000"/>
              <a:gd name="connsiteX259" fmla="*/ 5470770 w 7467600"/>
              <a:gd name="connsiteY259" fmla="*/ 3005435 h 6858000"/>
              <a:gd name="connsiteX260" fmla="*/ 5519779 w 7467600"/>
              <a:gd name="connsiteY260" fmla="*/ 4359223 h 6858000"/>
              <a:gd name="connsiteX261" fmla="*/ 5520293 w 7467600"/>
              <a:gd name="connsiteY261" fmla="*/ 4360602 h 6858000"/>
              <a:gd name="connsiteX262" fmla="*/ 5767221 w 7467600"/>
              <a:gd name="connsiteY262" fmla="*/ 4665564 h 6858000"/>
              <a:gd name="connsiteX263" fmla="*/ 6937169 w 7467600"/>
              <a:gd name="connsiteY263" fmla="*/ 4815941 h 6858000"/>
              <a:gd name="connsiteX264" fmla="*/ 6953922 w 7467600"/>
              <a:gd name="connsiteY264" fmla="*/ 4890068 h 6858000"/>
              <a:gd name="connsiteX265" fmla="*/ 6071359 w 7467600"/>
              <a:gd name="connsiteY265" fmla="*/ 4770770 h 6858000"/>
              <a:gd name="connsiteX266" fmla="*/ 6038839 w 7467600"/>
              <a:gd name="connsiteY266" fmla="*/ 4764474 h 6858000"/>
              <a:gd name="connsiteX267" fmla="*/ 6038706 w 7467600"/>
              <a:gd name="connsiteY267" fmla="*/ 4763847 h 6858000"/>
              <a:gd name="connsiteX268" fmla="*/ 6037784 w 7467600"/>
              <a:gd name="connsiteY268" fmla="*/ 4764270 h 6858000"/>
              <a:gd name="connsiteX269" fmla="*/ 6038839 w 7467600"/>
              <a:gd name="connsiteY269" fmla="*/ 4764474 h 6858000"/>
              <a:gd name="connsiteX270" fmla="*/ 6040338 w 7467600"/>
              <a:gd name="connsiteY270" fmla="*/ 4771418 h 6858000"/>
              <a:gd name="connsiteX271" fmla="*/ 6024488 w 7467600"/>
              <a:gd name="connsiteY271" fmla="*/ 4809903 h 6858000"/>
              <a:gd name="connsiteX272" fmla="*/ 5599771 w 7467600"/>
              <a:gd name="connsiteY272" fmla="*/ 5509652 h 6858000"/>
              <a:gd name="connsiteX273" fmla="*/ 5548843 w 7467600"/>
              <a:gd name="connsiteY273" fmla="*/ 5563845 h 6858000"/>
              <a:gd name="connsiteX274" fmla="*/ 5940952 w 7467600"/>
              <a:gd name="connsiteY274" fmla="*/ 6250028 h 6858000"/>
              <a:gd name="connsiteX275" fmla="*/ 6043441 w 7467600"/>
              <a:gd name="connsiteY275" fmla="*/ 6665847 h 6858000"/>
              <a:gd name="connsiteX276" fmla="*/ 6093432 w 7467600"/>
              <a:gd name="connsiteY276" fmla="*/ 6858000 h 6858000"/>
              <a:gd name="connsiteX277" fmla="*/ 6034344 w 7467600"/>
              <a:gd name="connsiteY277" fmla="*/ 6858000 h 6858000"/>
              <a:gd name="connsiteX278" fmla="*/ 6026679 w 7467600"/>
              <a:gd name="connsiteY278" fmla="*/ 6836959 h 6858000"/>
              <a:gd name="connsiteX279" fmla="*/ 5800441 w 7467600"/>
              <a:gd name="connsiteY279" fmla="*/ 6335286 h 6858000"/>
              <a:gd name="connsiteX280" fmla="*/ 5526562 w 7467600"/>
              <a:gd name="connsiteY280" fmla="*/ 5705388 h 6858000"/>
              <a:gd name="connsiteX281" fmla="*/ 5519640 w 7467600"/>
              <a:gd name="connsiteY281" fmla="*/ 5683774 h 6858000"/>
              <a:gd name="connsiteX282" fmla="*/ 5844559 w 7467600"/>
              <a:gd name="connsiteY282" fmla="*/ 6553349 h 6858000"/>
              <a:gd name="connsiteX283" fmla="*/ 5975994 w 7467600"/>
              <a:gd name="connsiteY283" fmla="*/ 6858000 h 6858000"/>
              <a:gd name="connsiteX284" fmla="*/ 5898547 w 7467600"/>
              <a:gd name="connsiteY284" fmla="*/ 6858000 h 6858000"/>
              <a:gd name="connsiteX285" fmla="*/ 5682041 w 7467600"/>
              <a:gd name="connsiteY285" fmla="*/ 6355860 h 6858000"/>
              <a:gd name="connsiteX286" fmla="*/ 5461758 w 7467600"/>
              <a:gd name="connsiteY286" fmla="*/ 5820220 h 6858000"/>
              <a:gd name="connsiteX287" fmla="*/ 5237282 w 7467600"/>
              <a:gd name="connsiteY287" fmla="*/ 6579086 h 6858000"/>
              <a:gd name="connsiteX288" fmla="*/ 5115009 w 7467600"/>
              <a:gd name="connsiteY288" fmla="*/ 6858000 h 6858000"/>
              <a:gd name="connsiteX289" fmla="*/ 5028074 w 7467600"/>
              <a:gd name="connsiteY289" fmla="*/ 6858000 h 6858000"/>
              <a:gd name="connsiteX290" fmla="*/ 5079508 w 7467600"/>
              <a:gd name="connsiteY290" fmla="*/ 6749074 h 6858000"/>
              <a:gd name="connsiteX291" fmla="*/ 5371846 w 7467600"/>
              <a:gd name="connsiteY291" fmla="*/ 5924413 h 6858000"/>
              <a:gd name="connsiteX292" fmla="*/ 5270512 w 7467600"/>
              <a:gd name="connsiteY292" fmla="*/ 6138975 h 6858000"/>
              <a:gd name="connsiteX293" fmla="*/ 5062409 w 7467600"/>
              <a:gd name="connsiteY293" fmla="*/ 6653544 h 6858000"/>
              <a:gd name="connsiteX294" fmla="*/ 5036628 w 7467600"/>
              <a:gd name="connsiteY294" fmla="*/ 6754247 h 6858000"/>
              <a:gd name="connsiteX295" fmla="*/ 5009112 w 7467600"/>
              <a:gd name="connsiteY295" fmla="*/ 6858000 h 6858000"/>
              <a:gd name="connsiteX296" fmla="*/ 4976679 w 7467600"/>
              <a:gd name="connsiteY296" fmla="*/ 6858000 h 6858000"/>
              <a:gd name="connsiteX297" fmla="*/ 5006537 w 7467600"/>
              <a:gd name="connsiteY297" fmla="*/ 6747068 h 6858000"/>
              <a:gd name="connsiteX298" fmla="*/ 5032723 w 7467600"/>
              <a:gd name="connsiteY298" fmla="*/ 6644957 h 6858000"/>
              <a:gd name="connsiteX299" fmla="*/ 5242949 w 7467600"/>
              <a:gd name="connsiteY299" fmla="*/ 6125175 h 6858000"/>
              <a:gd name="connsiteX300" fmla="*/ 5286321 w 7467600"/>
              <a:gd name="connsiteY300" fmla="*/ 6033555 h 6858000"/>
              <a:gd name="connsiteX301" fmla="*/ 5008210 w 7467600"/>
              <a:gd name="connsiteY301" fmla="*/ 6649194 h 6858000"/>
              <a:gd name="connsiteX302" fmla="*/ 4986321 w 7467600"/>
              <a:gd name="connsiteY302" fmla="*/ 6765687 h 6858000"/>
              <a:gd name="connsiteX303" fmla="*/ 4973474 w 7467600"/>
              <a:gd name="connsiteY303" fmla="*/ 6858000 h 6858000"/>
              <a:gd name="connsiteX304" fmla="*/ 4907178 w 7467600"/>
              <a:gd name="connsiteY304" fmla="*/ 6858000 h 6858000"/>
              <a:gd name="connsiteX305" fmla="*/ 4910810 w 7467600"/>
              <a:gd name="connsiteY305" fmla="*/ 6829660 h 6858000"/>
              <a:gd name="connsiteX306" fmla="*/ 4987461 w 7467600"/>
              <a:gd name="connsiteY306" fmla="*/ 6432994 h 6858000"/>
              <a:gd name="connsiteX307" fmla="*/ 5179262 w 7467600"/>
              <a:gd name="connsiteY307" fmla="*/ 6035044 h 6858000"/>
              <a:gd name="connsiteX308" fmla="*/ 4689678 w 7467600"/>
              <a:gd name="connsiteY308" fmla="*/ 6440241 h 6858000"/>
              <a:gd name="connsiteX309" fmla="*/ 4477543 w 7467600"/>
              <a:gd name="connsiteY309" fmla="*/ 6674836 h 6858000"/>
              <a:gd name="connsiteX310" fmla="*/ 4329957 w 7467600"/>
              <a:gd name="connsiteY310" fmla="*/ 6858000 h 6858000"/>
              <a:gd name="connsiteX311" fmla="*/ 4218595 w 7467600"/>
              <a:gd name="connsiteY311" fmla="*/ 6858000 h 6858000"/>
              <a:gd name="connsiteX312" fmla="*/ 4368888 w 7467600"/>
              <a:gd name="connsiteY312" fmla="*/ 6668412 h 6858000"/>
              <a:gd name="connsiteX313" fmla="*/ 4563091 w 7467600"/>
              <a:gd name="connsiteY313" fmla="*/ 6442508 h 6858000"/>
              <a:gd name="connsiteX314" fmla="*/ 5387324 w 7467600"/>
              <a:gd name="connsiteY314" fmla="*/ 5705830 h 6858000"/>
              <a:gd name="connsiteX315" fmla="*/ 5073620 w 7467600"/>
              <a:gd name="connsiteY315" fmla="*/ 5955437 h 6858000"/>
              <a:gd name="connsiteX316" fmla="*/ 4689789 w 7467600"/>
              <a:gd name="connsiteY316" fmla="*/ 6268382 h 6858000"/>
              <a:gd name="connsiteX317" fmla="*/ 4418722 w 7467600"/>
              <a:gd name="connsiteY317" fmla="*/ 6570886 h 6858000"/>
              <a:gd name="connsiteX318" fmla="*/ 4214944 w 7467600"/>
              <a:gd name="connsiteY318" fmla="*/ 6858000 h 6858000"/>
              <a:gd name="connsiteX319" fmla="*/ 4177898 w 7467600"/>
              <a:gd name="connsiteY319" fmla="*/ 6858000 h 6858000"/>
              <a:gd name="connsiteX320" fmla="*/ 4391597 w 7467600"/>
              <a:gd name="connsiteY320" fmla="*/ 6556370 h 6858000"/>
              <a:gd name="connsiteX321" fmla="*/ 4668889 w 7467600"/>
              <a:gd name="connsiteY321" fmla="*/ 6246399 h 6858000"/>
              <a:gd name="connsiteX322" fmla="*/ 5055427 w 7467600"/>
              <a:gd name="connsiteY322" fmla="*/ 5931476 h 6858000"/>
              <a:gd name="connsiteX323" fmla="*/ 5371814 w 7467600"/>
              <a:gd name="connsiteY323" fmla="*/ 5678975 h 6858000"/>
              <a:gd name="connsiteX324" fmla="*/ 4987918 w 7467600"/>
              <a:gd name="connsiteY324" fmla="*/ 5838701 h 6858000"/>
              <a:gd name="connsiteX325" fmla="*/ 4317146 w 7467600"/>
              <a:gd name="connsiteY325" fmla="*/ 6587716 h 6858000"/>
              <a:gd name="connsiteX326" fmla="*/ 4171627 w 7467600"/>
              <a:gd name="connsiteY326" fmla="*/ 6858000 h 6858000"/>
              <a:gd name="connsiteX327" fmla="*/ 4081585 w 7467600"/>
              <a:gd name="connsiteY327" fmla="*/ 6858000 h 6858000"/>
              <a:gd name="connsiteX328" fmla="*/ 4238603 w 7467600"/>
              <a:gd name="connsiteY328" fmla="*/ 6559341 h 6858000"/>
              <a:gd name="connsiteX329" fmla="*/ 4778333 w 7467600"/>
              <a:gd name="connsiteY329" fmla="*/ 5873626 h 6858000"/>
              <a:gd name="connsiteX330" fmla="*/ 5414185 w 7467600"/>
              <a:gd name="connsiteY330" fmla="*/ 5573882 h 6858000"/>
              <a:gd name="connsiteX331" fmla="*/ 5959648 w 7467600"/>
              <a:gd name="connsiteY331" fmla="*/ 4760797 h 6858000"/>
              <a:gd name="connsiteX332" fmla="*/ 5355019 w 7467600"/>
              <a:gd name="connsiteY332" fmla="*/ 4734672 h 6858000"/>
              <a:gd name="connsiteX333" fmla="*/ 5083565 w 7467600"/>
              <a:gd name="connsiteY333" fmla="*/ 5179121 h 6858000"/>
              <a:gd name="connsiteX334" fmla="*/ 4713577 w 7467600"/>
              <a:gd name="connsiteY334" fmla="*/ 5616803 h 6858000"/>
              <a:gd name="connsiteX335" fmla="*/ 3989559 w 7467600"/>
              <a:gd name="connsiteY335" fmla="*/ 6145945 h 6858000"/>
              <a:gd name="connsiteX336" fmla="*/ 3939824 w 7467600"/>
              <a:gd name="connsiteY336" fmla="*/ 6066900 h 6858000"/>
              <a:gd name="connsiteX337" fmla="*/ 4584537 w 7467600"/>
              <a:gd name="connsiteY337" fmla="*/ 5324826 h 6858000"/>
              <a:gd name="connsiteX338" fmla="*/ 5037105 w 7467600"/>
              <a:gd name="connsiteY338" fmla="*/ 5088765 h 6858000"/>
              <a:gd name="connsiteX339" fmla="*/ 5039930 w 7467600"/>
              <a:gd name="connsiteY339" fmla="*/ 5089585 h 6858000"/>
              <a:gd name="connsiteX340" fmla="*/ 5263764 w 7467600"/>
              <a:gd name="connsiteY340" fmla="*/ 4735525 h 6858000"/>
              <a:gd name="connsiteX341" fmla="*/ 4086300 w 7467600"/>
              <a:gd name="connsiteY341" fmla="*/ 4884599 h 6858000"/>
              <a:gd name="connsiteX342" fmla="*/ 4085485 w 7467600"/>
              <a:gd name="connsiteY342" fmla="*/ 4899070 h 6858000"/>
              <a:gd name="connsiteX343" fmla="*/ 3871915 w 7467600"/>
              <a:gd name="connsiteY343" fmla="*/ 5253645 h 6858000"/>
              <a:gd name="connsiteX344" fmla="*/ 3799374 w 7467600"/>
              <a:gd name="connsiteY344" fmla="*/ 5466127 h 6858000"/>
              <a:gd name="connsiteX345" fmla="*/ 3498850 w 7467600"/>
              <a:gd name="connsiteY345" fmla="*/ 6661888 h 6858000"/>
              <a:gd name="connsiteX346" fmla="*/ 3399216 w 7467600"/>
              <a:gd name="connsiteY346" fmla="*/ 6858000 h 6858000"/>
              <a:gd name="connsiteX347" fmla="*/ 3303688 w 7467600"/>
              <a:gd name="connsiteY347" fmla="*/ 6858000 h 6858000"/>
              <a:gd name="connsiteX348" fmla="*/ 3391774 w 7467600"/>
              <a:gd name="connsiteY348" fmla="*/ 6697181 h 6858000"/>
              <a:gd name="connsiteX349" fmla="*/ 3735540 w 7467600"/>
              <a:gd name="connsiteY349" fmla="*/ 5546923 h 6858000"/>
              <a:gd name="connsiteX350" fmla="*/ 3729438 w 7467600"/>
              <a:gd name="connsiteY350" fmla="*/ 5569058 h 6858000"/>
              <a:gd name="connsiteX351" fmla="*/ 3707782 w 7467600"/>
              <a:gd name="connsiteY351" fmla="*/ 5644908 h 6858000"/>
              <a:gd name="connsiteX352" fmla="*/ 3583827 w 7467600"/>
              <a:gd name="connsiteY352" fmla="*/ 6039215 h 6858000"/>
              <a:gd name="connsiteX353" fmla="*/ 3547861 w 7467600"/>
              <a:gd name="connsiteY353" fmla="*/ 6129609 h 6858000"/>
              <a:gd name="connsiteX354" fmla="*/ 3490905 w 7467600"/>
              <a:gd name="connsiteY354" fmla="*/ 6277660 h 6858000"/>
              <a:gd name="connsiteX355" fmla="*/ 3455859 w 7467600"/>
              <a:gd name="connsiteY355" fmla="*/ 6391301 h 6858000"/>
              <a:gd name="connsiteX356" fmla="*/ 3429112 w 7467600"/>
              <a:gd name="connsiteY356" fmla="*/ 6479469 h 6858000"/>
              <a:gd name="connsiteX357" fmla="*/ 3304862 w 7467600"/>
              <a:gd name="connsiteY357" fmla="*/ 6796476 h 6858000"/>
              <a:gd name="connsiteX358" fmla="*/ 3276071 w 7467600"/>
              <a:gd name="connsiteY358" fmla="*/ 6858000 h 6858000"/>
              <a:gd name="connsiteX359" fmla="*/ 3240805 w 7467600"/>
              <a:gd name="connsiteY359" fmla="*/ 6858000 h 6858000"/>
              <a:gd name="connsiteX360" fmla="*/ 3275917 w 7467600"/>
              <a:gd name="connsiteY360" fmla="*/ 6783192 h 6858000"/>
              <a:gd name="connsiteX361" fmla="*/ 3399358 w 7467600"/>
              <a:gd name="connsiteY361" fmla="*/ 6469011 h 6858000"/>
              <a:gd name="connsiteX362" fmla="*/ 3425650 w 7467600"/>
              <a:gd name="connsiteY362" fmla="*/ 6381333 h 6858000"/>
              <a:gd name="connsiteX363" fmla="*/ 3460661 w 7467600"/>
              <a:gd name="connsiteY363" fmla="*/ 6266763 h 6858000"/>
              <a:gd name="connsiteX364" fmla="*/ 3518021 w 7467600"/>
              <a:gd name="connsiteY364" fmla="*/ 6117298 h 6858000"/>
              <a:gd name="connsiteX365" fmla="*/ 3554035 w 7467600"/>
              <a:gd name="connsiteY365" fmla="*/ 6027832 h 6858000"/>
              <a:gd name="connsiteX366" fmla="*/ 3677174 w 7467600"/>
              <a:gd name="connsiteY366" fmla="*/ 5636351 h 6858000"/>
              <a:gd name="connsiteX367" fmla="*/ 3698819 w 7467600"/>
              <a:gd name="connsiteY367" fmla="*/ 5560503 h 6858000"/>
              <a:gd name="connsiteX368" fmla="*/ 3702094 w 7467600"/>
              <a:gd name="connsiteY368" fmla="*/ 5549194 h 6858000"/>
              <a:gd name="connsiteX369" fmla="*/ 3398355 w 7467600"/>
              <a:gd name="connsiteY369" fmla="*/ 6094603 h 6858000"/>
              <a:gd name="connsiteX370" fmla="*/ 3193941 w 7467600"/>
              <a:gd name="connsiteY370" fmla="*/ 6798775 h 6858000"/>
              <a:gd name="connsiteX371" fmla="*/ 3184140 w 7467600"/>
              <a:gd name="connsiteY371" fmla="*/ 6858000 h 6858000"/>
              <a:gd name="connsiteX372" fmla="*/ 3099978 w 7467600"/>
              <a:gd name="connsiteY372" fmla="*/ 6858000 h 6858000"/>
              <a:gd name="connsiteX373" fmla="*/ 3101556 w 7467600"/>
              <a:gd name="connsiteY373" fmla="*/ 6843337 h 6858000"/>
              <a:gd name="connsiteX374" fmla="*/ 3370162 w 7467600"/>
              <a:gd name="connsiteY374" fmla="*/ 5785550 h 6858000"/>
              <a:gd name="connsiteX375" fmla="*/ 3746477 w 7467600"/>
              <a:gd name="connsiteY375" fmla="*/ 5377889 h 6858000"/>
              <a:gd name="connsiteX376" fmla="*/ 3863399 w 7467600"/>
              <a:gd name="connsiteY376" fmla="*/ 5087257 h 6858000"/>
              <a:gd name="connsiteX377" fmla="*/ 3968712 w 7467600"/>
              <a:gd name="connsiteY377" fmla="*/ 4913989 h 6858000"/>
              <a:gd name="connsiteX378" fmla="*/ 2792390 w 7467600"/>
              <a:gd name="connsiteY378" fmla="*/ 5382974 h 6858000"/>
              <a:gd name="connsiteX379" fmla="*/ 2714982 w 7467600"/>
              <a:gd name="connsiteY379" fmla="*/ 5427051 h 6858000"/>
              <a:gd name="connsiteX380" fmla="*/ 2813361 w 7467600"/>
              <a:gd name="connsiteY380" fmla="*/ 6023912 h 6858000"/>
              <a:gd name="connsiteX381" fmla="*/ 2688430 w 7467600"/>
              <a:gd name="connsiteY381" fmla="*/ 6801564 h 6858000"/>
              <a:gd name="connsiteX382" fmla="*/ 2629626 w 7467600"/>
              <a:gd name="connsiteY382" fmla="*/ 6763394 h 6858000"/>
              <a:gd name="connsiteX383" fmla="*/ 2565328 w 7467600"/>
              <a:gd name="connsiteY383" fmla="*/ 5516399 h 6858000"/>
              <a:gd name="connsiteX384" fmla="*/ 1922999 w 7467600"/>
              <a:gd name="connsiteY384" fmla="*/ 5980343 h 6858000"/>
              <a:gd name="connsiteX385" fmla="*/ 1950261 w 7467600"/>
              <a:gd name="connsiteY385" fmla="*/ 6405858 h 6858000"/>
              <a:gd name="connsiteX386" fmla="*/ 2365554 w 7467600"/>
              <a:gd name="connsiteY386" fmla="*/ 6759107 h 6858000"/>
              <a:gd name="connsiteX387" fmla="*/ 2424142 w 7467600"/>
              <a:gd name="connsiteY387" fmla="*/ 6858000 h 6858000"/>
              <a:gd name="connsiteX388" fmla="*/ 2395994 w 7467600"/>
              <a:gd name="connsiteY388" fmla="*/ 6858000 h 6858000"/>
              <a:gd name="connsiteX389" fmla="*/ 2392863 w 7467600"/>
              <a:gd name="connsiteY389" fmla="*/ 6852964 h 6858000"/>
              <a:gd name="connsiteX390" fmla="*/ 2017589 w 7467600"/>
              <a:gd name="connsiteY390" fmla="*/ 6493982 h 6858000"/>
              <a:gd name="connsiteX391" fmla="*/ 2147336 w 7467600"/>
              <a:gd name="connsiteY391" fmla="*/ 6594052 h 6858000"/>
              <a:gd name="connsiteX392" fmla="*/ 2207047 w 7467600"/>
              <a:gd name="connsiteY392" fmla="*/ 6654540 h 6858000"/>
              <a:gd name="connsiteX393" fmla="*/ 2299106 w 7467600"/>
              <a:gd name="connsiteY393" fmla="*/ 6778931 h 6858000"/>
              <a:gd name="connsiteX394" fmla="*/ 2314430 w 7467600"/>
              <a:gd name="connsiteY394" fmla="*/ 6801144 h 6858000"/>
              <a:gd name="connsiteX395" fmla="*/ 2352406 w 7467600"/>
              <a:gd name="connsiteY395" fmla="*/ 6858000 h 6858000"/>
              <a:gd name="connsiteX396" fmla="*/ 2314492 w 7467600"/>
              <a:gd name="connsiteY396" fmla="*/ 6858000 h 6858000"/>
              <a:gd name="connsiteX397" fmla="*/ 2288095 w 7467600"/>
              <a:gd name="connsiteY397" fmla="*/ 6818030 h 6858000"/>
              <a:gd name="connsiteX398" fmla="*/ 2272768 w 7467600"/>
              <a:gd name="connsiteY398" fmla="*/ 6795822 h 6858000"/>
              <a:gd name="connsiteX399" fmla="*/ 2182715 w 7467600"/>
              <a:gd name="connsiteY399" fmla="*/ 6675071 h 6858000"/>
              <a:gd name="connsiteX400" fmla="*/ 2032061 w 7467600"/>
              <a:gd name="connsiteY400" fmla="*/ 6541380 h 6858000"/>
              <a:gd name="connsiteX401" fmla="*/ 2257220 w 7467600"/>
              <a:gd name="connsiteY401" fmla="*/ 6826257 h 6858000"/>
              <a:gd name="connsiteX402" fmla="*/ 2281324 w 7467600"/>
              <a:gd name="connsiteY402" fmla="*/ 6858000 h 6858000"/>
              <a:gd name="connsiteX403" fmla="*/ 2242860 w 7467600"/>
              <a:gd name="connsiteY403" fmla="*/ 6858000 h 6858000"/>
              <a:gd name="connsiteX404" fmla="*/ 2232818 w 7467600"/>
              <a:gd name="connsiteY404" fmla="*/ 6844926 h 6858000"/>
              <a:gd name="connsiteX405" fmla="*/ 1990172 w 7467600"/>
              <a:gd name="connsiteY405" fmla="*/ 6542121 h 6858000"/>
              <a:gd name="connsiteX406" fmla="*/ 2124090 w 7467600"/>
              <a:gd name="connsiteY406" fmla="*/ 6761017 h 6858000"/>
              <a:gd name="connsiteX407" fmla="*/ 2200380 w 7467600"/>
              <a:gd name="connsiteY407" fmla="*/ 6858000 h 6858000"/>
              <a:gd name="connsiteX408" fmla="*/ 2147507 w 7467600"/>
              <a:gd name="connsiteY408" fmla="*/ 6858000 h 6858000"/>
              <a:gd name="connsiteX409" fmla="*/ 2070668 w 7467600"/>
              <a:gd name="connsiteY409" fmla="*/ 6761520 h 6858000"/>
              <a:gd name="connsiteX410" fmla="*/ 1975142 w 7467600"/>
              <a:gd name="connsiteY410" fmla="*/ 6585570 h 6858000"/>
              <a:gd name="connsiteX411" fmla="*/ 2050035 w 7467600"/>
              <a:gd name="connsiteY411" fmla="*/ 6813345 h 6858000"/>
              <a:gd name="connsiteX412" fmla="*/ 2063025 w 7467600"/>
              <a:gd name="connsiteY412" fmla="*/ 6858000 h 6858000"/>
              <a:gd name="connsiteX413" fmla="*/ 2021675 w 7467600"/>
              <a:gd name="connsiteY413" fmla="*/ 6858000 h 6858000"/>
              <a:gd name="connsiteX414" fmla="*/ 2019308 w 7467600"/>
              <a:gd name="connsiteY414" fmla="*/ 6847118 h 6858000"/>
              <a:gd name="connsiteX415" fmla="*/ 1938835 w 7467600"/>
              <a:gd name="connsiteY415" fmla="*/ 6551160 h 6858000"/>
              <a:gd name="connsiteX416" fmla="*/ 1953230 w 7467600"/>
              <a:gd name="connsiteY416" fmla="*/ 6759699 h 6858000"/>
              <a:gd name="connsiteX417" fmla="*/ 1956763 w 7467600"/>
              <a:gd name="connsiteY417" fmla="*/ 6778191 h 6858000"/>
              <a:gd name="connsiteX418" fmla="*/ 1967925 w 7467600"/>
              <a:gd name="connsiteY418" fmla="*/ 6858000 h 6858000"/>
              <a:gd name="connsiteX419" fmla="*/ 1936622 w 7467600"/>
              <a:gd name="connsiteY419" fmla="*/ 6858000 h 6858000"/>
              <a:gd name="connsiteX420" fmla="*/ 1926261 w 7467600"/>
              <a:gd name="connsiteY420" fmla="*/ 6784064 h 6858000"/>
              <a:gd name="connsiteX421" fmla="*/ 1922724 w 7467600"/>
              <a:gd name="connsiteY421" fmla="*/ 6765577 h 6858000"/>
              <a:gd name="connsiteX422" fmla="*/ 1904650 w 7467600"/>
              <a:gd name="connsiteY422" fmla="*/ 6639616 h 6858000"/>
              <a:gd name="connsiteX423" fmla="*/ 1885273 w 7467600"/>
              <a:gd name="connsiteY423" fmla="*/ 6858000 h 6858000"/>
              <a:gd name="connsiteX424" fmla="*/ 1854363 w 7467600"/>
              <a:gd name="connsiteY424" fmla="*/ 6858000 h 6858000"/>
              <a:gd name="connsiteX425" fmla="*/ 1880391 w 7467600"/>
              <a:gd name="connsiteY425" fmla="*/ 6603796 h 6858000"/>
              <a:gd name="connsiteX426" fmla="*/ 1818273 w 7467600"/>
              <a:gd name="connsiteY426" fmla="*/ 6715729 h 6858000"/>
              <a:gd name="connsiteX427" fmla="*/ 1794691 w 7467600"/>
              <a:gd name="connsiteY427" fmla="*/ 6843239 h 6858000"/>
              <a:gd name="connsiteX428" fmla="*/ 1794914 w 7467600"/>
              <a:gd name="connsiteY428" fmla="*/ 6858000 h 6858000"/>
              <a:gd name="connsiteX429" fmla="*/ 1746128 w 7467600"/>
              <a:gd name="connsiteY429" fmla="*/ 6858000 h 6858000"/>
              <a:gd name="connsiteX430" fmla="*/ 1753934 w 7467600"/>
              <a:gd name="connsiteY430" fmla="*/ 6724796 h 6858000"/>
              <a:gd name="connsiteX431" fmla="*/ 1792053 w 7467600"/>
              <a:gd name="connsiteY431" fmla="*/ 6572396 h 6858000"/>
              <a:gd name="connsiteX432" fmla="*/ 1862248 w 7467600"/>
              <a:gd name="connsiteY432" fmla="*/ 6266397 h 6858000"/>
              <a:gd name="connsiteX433" fmla="*/ 1862250 w 7467600"/>
              <a:gd name="connsiteY433" fmla="*/ 6033531 h 6858000"/>
              <a:gd name="connsiteX434" fmla="*/ 1211999 w 7467600"/>
              <a:gd name="connsiteY434" fmla="*/ 6683610 h 6858000"/>
              <a:gd name="connsiteX435" fmla="*/ 1213266 w 7467600"/>
              <a:gd name="connsiteY435" fmla="*/ 6691947 h 6858000"/>
              <a:gd name="connsiteX436" fmla="*/ 1203370 w 7467600"/>
              <a:gd name="connsiteY436" fmla="*/ 6850676 h 6858000"/>
              <a:gd name="connsiteX437" fmla="*/ 1203671 w 7467600"/>
              <a:gd name="connsiteY437" fmla="*/ 6858000 h 6858000"/>
              <a:gd name="connsiteX438" fmla="*/ 1143180 w 7467600"/>
              <a:gd name="connsiteY438" fmla="*/ 6858000 h 6858000"/>
              <a:gd name="connsiteX439" fmla="*/ 1142176 w 7467600"/>
              <a:gd name="connsiteY439" fmla="*/ 6766045 h 6858000"/>
              <a:gd name="connsiteX440" fmla="*/ 1067484 w 7467600"/>
              <a:gd name="connsiteY440" fmla="*/ 6858000 h 6858000"/>
              <a:gd name="connsiteX441" fmla="*/ 953928 w 7467600"/>
              <a:gd name="connsiteY441" fmla="*/ 6858000 h 6858000"/>
              <a:gd name="connsiteX442" fmla="*/ 959715 w 7467600"/>
              <a:gd name="connsiteY442" fmla="*/ 6850185 h 6858000"/>
              <a:gd name="connsiteX443" fmla="*/ 1483788 w 7467600"/>
              <a:gd name="connsiteY443" fmla="*/ 6259174 h 6858000"/>
              <a:gd name="connsiteX444" fmla="*/ 1100671 w 7467600"/>
              <a:gd name="connsiteY444" fmla="*/ 6252137 h 6858000"/>
              <a:gd name="connsiteX445" fmla="*/ 1090144 w 7467600"/>
              <a:gd name="connsiteY445" fmla="*/ 6256748 h 6858000"/>
              <a:gd name="connsiteX446" fmla="*/ 1095872 w 7467600"/>
              <a:gd name="connsiteY446" fmla="*/ 6271892 h 6858000"/>
              <a:gd name="connsiteX447" fmla="*/ 262785 w 7467600"/>
              <a:gd name="connsiteY447" fmla="*/ 6845450 h 6858000"/>
              <a:gd name="connsiteX448" fmla="*/ 209968 w 7467600"/>
              <a:gd name="connsiteY448" fmla="*/ 6770713 h 6858000"/>
              <a:gd name="connsiteX449" fmla="*/ 873460 w 7467600"/>
              <a:gd name="connsiteY449" fmla="*/ 6253768 h 6858000"/>
              <a:gd name="connsiteX450" fmla="*/ 192686 w 7467600"/>
              <a:gd name="connsiteY450" fmla="*/ 5849257 h 6858000"/>
              <a:gd name="connsiteX451" fmla="*/ 4696 w 7467600"/>
              <a:gd name="connsiteY451" fmla="*/ 5697668 h 6858000"/>
              <a:gd name="connsiteX452" fmla="*/ 0 w 7467600"/>
              <a:gd name="connsiteY452" fmla="*/ 5689984 h 6858000"/>
              <a:gd name="connsiteX453" fmla="*/ 0 w 7467600"/>
              <a:gd name="connsiteY453" fmla="*/ 5513472 h 6858000"/>
              <a:gd name="connsiteX454" fmla="*/ 174101 w 7467600"/>
              <a:gd name="connsiteY454" fmla="*/ 5620277 h 6858000"/>
              <a:gd name="connsiteX455" fmla="*/ 891800 w 7467600"/>
              <a:gd name="connsiteY455" fmla="*/ 6036935 h 6858000"/>
              <a:gd name="connsiteX456" fmla="*/ 1072219 w 7467600"/>
              <a:gd name="connsiteY456" fmla="*/ 6169443 h 6858000"/>
              <a:gd name="connsiteX457" fmla="*/ 1074117 w 7467600"/>
              <a:gd name="connsiteY457" fmla="*/ 6170301 h 6858000"/>
              <a:gd name="connsiteX458" fmla="*/ 1083114 w 7467600"/>
              <a:gd name="connsiteY458" fmla="*/ 6174131 h 6858000"/>
              <a:gd name="connsiteX459" fmla="*/ 1543010 w 7467600"/>
              <a:gd name="connsiteY459" fmla="*/ 6191140 h 6858000"/>
              <a:gd name="connsiteX460" fmla="*/ 1551080 w 7467600"/>
              <a:gd name="connsiteY460" fmla="*/ 6195006 h 6858000"/>
              <a:gd name="connsiteX461" fmla="*/ 2345443 w 7467600"/>
              <a:gd name="connsiteY461" fmla="*/ 5549882 h 6858000"/>
              <a:gd name="connsiteX462" fmla="*/ 1721499 w 7467600"/>
              <a:gd name="connsiteY462" fmla="*/ 5599969 h 6858000"/>
              <a:gd name="connsiteX463" fmla="*/ 767716 w 7467600"/>
              <a:gd name="connsiteY463" fmla="*/ 5472768 h 6858000"/>
              <a:gd name="connsiteX464" fmla="*/ 722147 w 7467600"/>
              <a:gd name="connsiteY464" fmla="*/ 5393091 h 6858000"/>
              <a:gd name="connsiteX465" fmla="*/ 1485552 w 7467600"/>
              <a:gd name="connsiteY465" fmla="*/ 5313202 h 6858000"/>
              <a:gd name="connsiteX466" fmla="*/ 2143004 w 7467600"/>
              <a:gd name="connsiteY466" fmla="*/ 5402420 h 6858000"/>
              <a:gd name="connsiteX467" fmla="*/ 1933391 w 7467600"/>
              <a:gd name="connsiteY467" fmla="*/ 5156971 h 6858000"/>
              <a:gd name="connsiteX468" fmla="*/ 1827118 w 7467600"/>
              <a:gd name="connsiteY468" fmla="*/ 4968410 h 6858000"/>
              <a:gd name="connsiteX469" fmla="*/ 1837349 w 7467600"/>
              <a:gd name="connsiteY469" fmla="*/ 4956357 h 6858000"/>
              <a:gd name="connsiteX470" fmla="*/ 2162835 w 7467600"/>
              <a:gd name="connsiteY470" fmla="*/ 5187853 h 6858000"/>
              <a:gd name="connsiteX471" fmla="*/ 2257167 w 7467600"/>
              <a:gd name="connsiteY471" fmla="*/ 5462123 h 6858000"/>
              <a:gd name="connsiteX472" fmla="*/ 2261598 w 7467600"/>
              <a:gd name="connsiteY472" fmla="*/ 5467998 h 6858000"/>
              <a:gd name="connsiteX473" fmla="*/ 2437177 w 7467600"/>
              <a:gd name="connsiteY473" fmla="*/ 5479608 h 6858000"/>
              <a:gd name="connsiteX474" fmla="*/ 2445247 w 7467600"/>
              <a:gd name="connsiteY474" fmla="*/ 5483476 h 6858000"/>
              <a:gd name="connsiteX475" fmla="*/ 2743626 w 7467600"/>
              <a:gd name="connsiteY475" fmla="*/ 5304819 h 6858000"/>
              <a:gd name="connsiteX476" fmla="*/ 3048102 w 7467600"/>
              <a:gd name="connsiteY476" fmla="*/ 5150595 h 6858000"/>
              <a:gd name="connsiteX477" fmla="*/ 1799414 w 7467600"/>
              <a:gd name="connsiteY477" fmla="*/ 4694732 h 6858000"/>
              <a:gd name="connsiteX478" fmla="*/ 1771735 w 7467600"/>
              <a:gd name="connsiteY478" fmla="*/ 4619929 h 6858000"/>
              <a:gd name="connsiteX479" fmla="*/ 3104273 w 7467600"/>
              <a:gd name="connsiteY479" fmla="*/ 5076159 h 6858000"/>
              <a:gd name="connsiteX480" fmla="*/ 3113245 w 7467600"/>
              <a:gd name="connsiteY480" fmla="*/ 5090705 h 6858000"/>
              <a:gd name="connsiteX481" fmla="*/ 3126294 w 7467600"/>
              <a:gd name="connsiteY481" fmla="*/ 5114400 h 6858000"/>
              <a:gd name="connsiteX482" fmla="*/ 3937433 w 7467600"/>
              <a:gd name="connsiteY482" fmla="*/ 4830473 h 6858000"/>
              <a:gd name="connsiteX483" fmla="*/ 3590475 w 7467600"/>
              <a:gd name="connsiteY483" fmla="*/ 4597974 h 6858000"/>
              <a:gd name="connsiteX484" fmla="*/ 3100264 w 7467600"/>
              <a:gd name="connsiteY484" fmla="*/ 4579845 h 6858000"/>
              <a:gd name="connsiteX485" fmla="*/ 2183576 w 7467600"/>
              <a:gd name="connsiteY485" fmla="*/ 4227150 h 6858000"/>
              <a:gd name="connsiteX486" fmla="*/ 2151029 w 7467600"/>
              <a:gd name="connsiteY486" fmla="*/ 4146947 h 6858000"/>
              <a:gd name="connsiteX487" fmla="*/ 3563434 w 7467600"/>
              <a:gd name="connsiteY487" fmla="*/ 4469115 h 6858000"/>
              <a:gd name="connsiteX488" fmla="*/ 3177952 w 7467600"/>
              <a:gd name="connsiteY488" fmla="*/ 3657386 h 6858000"/>
              <a:gd name="connsiteX489" fmla="*/ 3189263 w 7467600"/>
              <a:gd name="connsiteY489" fmla="*/ 3625726 h 6858000"/>
              <a:gd name="connsiteX490" fmla="*/ 3560912 w 7467600"/>
              <a:gd name="connsiteY490" fmla="*/ 4079863 h 6858000"/>
              <a:gd name="connsiteX491" fmla="*/ 3626636 w 7467600"/>
              <a:gd name="connsiteY491" fmla="*/ 4512230 h 6858000"/>
              <a:gd name="connsiteX492" fmla="*/ 3653088 w 7467600"/>
              <a:gd name="connsiteY492" fmla="*/ 4521417 h 6858000"/>
              <a:gd name="connsiteX493" fmla="*/ 3988128 w 7467600"/>
              <a:gd name="connsiteY493" fmla="*/ 4817267 h 6858000"/>
              <a:gd name="connsiteX494" fmla="*/ 4830582 w 7467600"/>
              <a:gd name="connsiteY494" fmla="*/ 4676000 h 6858000"/>
              <a:gd name="connsiteX495" fmla="*/ 4830100 w 7467600"/>
              <a:gd name="connsiteY495" fmla="*/ 4675554 h 6858000"/>
              <a:gd name="connsiteX496" fmla="*/ 4036318 w 7467600"/>
              <a:gd name="connsiteY496" fmla="*/ 4147013 h 6858000"/>
              <a:gd name="connsiteX497" fmla="*/ 3432098 w 7467600"/>
              <a:gd name="connsiteY497" fmla="*/ 3537312 h 6858000"/>
              <a:gd name="connsiteX498" fmla="*/ 3446761 w 7467600"/>
              <a:gd name="connsiteY498" fmla="*/ 3461278 h 6858000"/>
              <a:gd name="connsiteX499" fmla="*/ 4419733 w 7467600"/>
              <a:gd name="connsiteY499" fmla="*/ 3963555 h 6858000"/>
              <a:gd name="connsiteX500" fmla="*/ 4781371 w 7467600"/>
              <a:gd name="connsiteY500" fmla="*/ 4458604 h 6858000"/>
              <a:gd name="connsiteX501" fmla="*/ 4780440 w 7467600"/>
              <a:gd name="connsiteY501" fmla="*/ 4470290 h 6858000"/>
              <a:gd name="connsiteX502" fmla="*/ 4898954 w 7467600"/>
              <a:gd name="connsiteY502" fmla="*/ 4662092 h 6858000"/>
              <a:gd name="connsiteX503" fmla="*/ 4900699 w 7467600"/>
              <a:gd name="connsiteY503" fmla="*/ 4670867 h 6858000"/>
              <a:gd name="connsiteX504" fmla="*/ 5714511 w 7467600"/>
              <a:gd name="connsiteY504" fmla="*/ 4663483 h 6858000"/>
              <a:gd name="connsiteX505" fmla="*/ 5464793 w 7467600"/>
              <a:gd name="connsiteY505" fmla="*/ 4393556 h 6858000"/>
              <a:gd name="connsiteX506" fmla="*/ 5461897 w 7467600"/>
              <a:gd name="connsiteY506" fmla="*/ 4390879 h 6858000"/>
              <a:gd name="connsiteX507" fmla="*/ 4294126 w 7467600"/>
              <a:gd name="connsiteY507" fmla="*/ 3303048 h 6858000"/>
              <a:gd name="connsiteX508" fmla="*/ 4305321 w 7467600"/>
              <a:gd name="connsiteY508" fmla="*/ 3256953 h 6858000"/>
              <a:gd name="connsiteX509" fmla="*/ 4949299 w 7467600"/>
              <a:gd name="connsiteY509" fmla="*/ 3766336 h 6858000"/>
              <a:gd name="connsiteX510" fmla="*/ 5291452 w 7467600"/>
              <a:gd name="connsiteY510" fmla="*/ 4076801 h 6858000"/>
              <a:gd name="connsiteX511" fmla="*/ 5434998 w 7467600"/>
              <a:gd name="connsiteY511" fmla="*/ 4254100 h 6858000"/>
              <a:gd name="connsiteX512" fmla="*/ 5351015 w 7467600"/>
              <a:gd name="connsiteY512" fmla="*/ 3760989 h 6858000"/>
              <a:gd name="connsiteX513" fmla="*/ 5413780 w 7467600"/>
              <a:gd name="connsiteY513" fmla="*/ 2966265 h 6858000"/>
              <a:gd name="connsiteX514" fmla="*/ 5425627 w 7467600"/>
              <a:gd name="connsiteY514" fmla="*/ 2954192 h 6858000"/>
              <a:gd name="connsiteX515" fmla="*/ 6604735 w 7467600"/>
              <a:gd name="connsiteY515" fmla="*/ 2041381 h 6858000"/>
              <a:gd name="connsiteX516" fmla="*/ 7204487 w 7467600"/>
              <a:gd name="connsiteY516" fmla="*/ 2742112 h 6858000"/>
              <a:gd name="connsiteX517" fmla="*/ 7131592 w 7467600"/>
              <a:gd name="connsiteY517" fmla="*/ 2672096 h 6858000"/>
              <a:gd name="connsiteX518" fmla="*/ 6996344 w 7467600"/>
              <a:gd name="connsiteY518" fmla="*/ 2518310 h 6858000"/>
              <a:gd name="connsiteX519" fmla="*/ 6735495 w 7467600"/>
              <a:gd name="connsiteY519" fmla="*/ 2196890 h 6858000"/>
              <a:gd name="connsiteX520" fmla="*/ 6721901 w 7467600"/>
              <a:gd name="connsiteY520" fmla="*/ 2179274 h 6858000"/>
              <a:gd name="connsiteX521" fmla="*/ 6604735 w 7467600"/>
              <a:gd name="connsiteY521" fmla="*/ 2041381 h 6858000"/>
              <a:gd name="connsiteX522" fmla="*/ 6591670 w 7467600"/>
              <a:gd name="connsiteY522" fmla="*/ 1988277 h 6858000"/>
              <a:gd name="connsiteX523" fmla="*/ 6747349 w 7467600"/>
              <a:gd name="connsiteY523" fmla="*/ 2160069 h 6858000"/>
              <a:gd name="connsiteX524" fmla="*/ 6760943 w 7467600"/>
              <a:gd name="connsiteY524" fmla="*/ 2177686 h 6858000"/>
              <a:gd name="connsiteX525" fmla="*/ 7021065 w 7467600"/>
              <a:gd name="connsiteY525" fmla="*/ 2498102 h 6858000"/>
              <a:gd name="connsiteX526" fmla="*/ 7155223 w 7467600"/>
              <a:gd name="connsiteY526" fmla="*/ 2650386 h 6858000"/>
              <a:gd name="connsiteX527" fmla="*/ 7203167 w 7467600"/>
              <a:gd name="connsiteY527" fmla="*/ 2697288 h 6858000"/>
              <a:gd name="connsiteX528" fmla="*/ 6937703 w 7467600"/>
              <a:gd name="connsiteY528" fmla="*/ 2321981 h 6858000"/>
              <a:gd name="connsiteX529" fmla="*/ 6591670 w 7467600"/>
              <a:gd name="connsiteY529" fmla="*/ 1988277 h 6858000"/>
              <a:gd name="connsiteX530" fmla="*/ 5798671 w 7467600"/>
              <a:gd name="connsiteY530" fmla="*/ 1981601 h 6858000"/>
              <a:gd name="connsiteX531" fmla="*/ 5754709 w 7467600"/>
              <a:gd name="connsiteY531" fmla="*/ 2071454 h 6858000"/>
              <a:gd name="connsiteX532" fmla="*/ 5763044 w 7467600"/>
              <a:gd name="connsiteY532" fmla="*/ 2842206 h 6858000"/>
              <a:gd name="connsiteX533" fmla="*/ 5764974 w 7467600"/>
              <a:gd name="connsiteY533" fmla="*/ 2799609 h 6858000"/>
              <a:gd name="connsiteX534" fmla="*/ 5767665 w 7467600"/>
              <a:gd name="connsiteY534" fmla="*/ 2666409 h 6858000"/>
              <a:gd name="connsiteX535" fmla="*/ 5763055 w 7467600"/>
              <a:gd name="connsiteY535" fmla="*/ 2579705 h 6858000"/>
              <a:gd name="connsiteX536" fmla="*/ 5758079 w 7467600"/>
              <a:gd name="connsiteY536" fmla="*/ 2492508 h 6858000"/>
              <a:gd name="connsiteX537" fmla="*/ 5779325 w 7467600"/>
              <a:gd name="connsiteY537" fmla="*/ 2197069 h 6858000"/>
              <a:gd name="connsiteX538" fmla="*/ 5798671 w 7467600"/>
              <a:gd name="connsiteY538" fmla="*/ 1981601 h 6858000"/>
              <a:gd name="connsiteX539" fmla="*/ 5829202 w 7467600"/>
              <a:gd name="connsiteY539" fmla="*/ 1971679 h 6858000"/>
              <a:gd name="connsiteX540" fmla="*/ 5809558 w 7467600"/>
              <a:gd name="connsiteY540" fmla="*/ 2198043 h 6858000"/>
              <a:gd name="connsiteX541" fmla="*/ 5788653 w 7467600"/>
              <a:gd name="connsiteY541" fmla="*/ 2489430 h 6858000"/>
              <a:gd name="connsiteX542" fmla="*/ 5793439 w 7467600"/>
              <a:gd name="connsiteY542" fmla="*/ 2575235 h 6858000"/>
              <a:gd name="connsiteX543" fmla="*/ 5796837 w 7467600"/>
              <a:gd name="connsiteY543" fmla="*/ 2637633 h 6858000"/>
              <a:gd name="connsiteX544" fmla="*/ 5818614 w 7467600"/>
              <a:gd name="connsiteY544" fmla="*/ 2473055 h 6858000"/>
              <a:gd name="connsiteX545" fmla="*/ 5829202 w 7467600"/>
              <a:gd name="connsiteY545" fmla="*/ 1971679 h 6858000"/>
              <a:gd name="connsiteX546" fmla="*/ 5911389 w 7467600"/>
              <a:gd name="connsiteY546" fmla="*/ 1898371 h 6858000"/>
              <a:gd name="connsiteX547" fmla="*/ 6237627 w 7467600"/>
              <a:gd name="connsiteY547" fmla="*/ 2231921 h 6858000"/>
              <a:gd name="connsiteX548" fmla="*/ 5911389 w 7467600"/>
              <a:gd name="connsiteY548" fmla="*/ 1898371 h 6858000"/>
              <a:gd name="connsiteX549" fmla="*/ 6944437 w 7467600"/>
              <a:gd name="connsiteY549" fmla="*/ 1575402 h 6858000"/>
              <a:gd name="connsiteX550" fmla="*/ 6304730 w 7467600"/>
              <a:gd name="connsiteY550" fmla="*/ 1766654 h 6858000"/>
              <a:gd name="connsiteX551" fmla="*/ 6944437 w 7467600"/>
              <a:gd name="connsiteY551" fmla="*/ 1575402 h 6858000"/>
              <a:gd name="connsiteX552" fmla="*/ 7019523 w 7467600"/>
              <a:gd name="connsiteY552" fmla="*/ 1519450 h 6858000"/>
              <a:gd name="connsiteX553" fmla="*/ 6298091 w 7467600"/>
              <a:gd name="connsiteY553" fmla="*/ 1737122 h 6858000"/>
              <a:gd name="connsiteX554" fmla="*/ 7019523 w 7467600"/>
              <a:gd name="connsiteY554" fmla="*/ 1519450 h 6858000"/>
              <a:gd name="connsiteX555" fmla="*/ 2399523 w 7467600"/>
              <a:gd name="connsiteY555" fmla="*/ 1428234 h 6858000"/>
              <a:gd name="connsiteX556" fmla="*/ 2224982 w 7467600"/>
              <a:gd name="connsiteY556" fmla="*/ 1826201 h 6858000"/>
              <a:gd name="connsiteX557" fmla="*/ 2096099 w 7467600"/>
              <a:gd name="connsiteY557" fmla="*/ 2345900 h 6858000"/>
              <a:gd name="connsiteX558" fmla="*/ 2283317 w 7467600"/>
              <a:gd name="connsiteY558" fmla="*/ 1796925 h 6858000"/>
              <a:gd name="connsiteX559" fmla="*/ 2399523 w 7467600"/>
              <a:gd name="connsiteY559" fmla="*/ 1428234 h 6858000"/>
              <a:gd name="connsiteX560" fmla="*/ 2448558 w 7467600"/>
              <a:gd name="connsiteY560" fmla="*/ 1373435 h 6858000"/>
              <a:gd name="connsiteX561" fmla="*/ 2312521 w 7467600"/>
              <a:gd name="connsiteY561" fmla="*/ 1806140 h 6858000"/>
              <a:gd name="connsiteX562" fmla="*/ 2127533 w 7467600"/>
              <a:gd name="connsiteY562" fmla="*/ 2348380 h 6858000"/>
              <a:gd name="connsiteX563" fmla="*/ 2358080 w 7467600"/>
              <a:gd name="connsiteY563" fmla="*/ 1866134 h 6858000"/>
              <a:gd name="connsiteX564" fmla="*/ 2407436 w 7467600"/>
              <a:gd name="connsiteY564" fmla="*/ 1651070 h 6858000"/>
              <a:gd name="connsiteX565" fmla="*/ 2448558 w 7467600"/>
              <a:gd name="connsiteY565" fmla="*/ 1373435 h 6858000"/>
              <a:gd name="connsiteX566" fmla="*/ 278707 w 7467600"/>
              <a:gd name="connsiteY566" fmla="*/ 1352270 h 6858000"/>
              <a:gd name="connsiteX567" fmla="*/ 321570 w 7467600"/>
              <a:gd name="connsiteY567" fmla="*/ 1861610 h 6858000"/>
              <a:gd name="connsiteX568" fmla="*/ 294281 w 7467600"/>
              <a:gd name="connsiteY568" fmla="*/ 1440658 h 6858000"/>
              <a:gd name="connsiteX569" fmla="*/ 278707 w 7467600"/>
              <a:gd name="connsiteY569" fmla="*/ 1352270 h 6858000"/>
              <a:gd name="connsiteX570" fmla="*/ 1423821 w 7467600"/>
              <a:gd name="connsiteY570" fmla="*/ 1351958 h 6858000"/>
              <a:gd name="connsiteX571" fmla="*/ 1638521 w 7467600"/>
              <a:gd name="connsiteY571" fmla="*/ 1908470 h 6858000"/>
              <a:gd name="connsiteX572" fmla="*/ 1754199 w 7467600"/>
              <a:gd name="connsiteY572" fmla="*/ 2149284 h 6858000"/>
              <a:gd name="connsiteX573" fmla="*/ 1908359 w 7467600"/>
              <a:gd name="connsiteY573" fmla="*/ 2364988 h 6858000"/>
              <a:gd name="connsiteX574" fmla="*/ 1647661 w 7467600"/>
              <a:gd name="connsiteY574" fmla="*/ 1825945 h 6858000"/>
              <a:gd name="connsiteX575" fmla="*/ 1423821 w 7467600"/>
              <a:gd name="connsiteY575" fmla="*/ 1351958 h 6858000"/>
              <a:gd name="connsiteX576" fmla="*/ 1431890 w 7467600"/>
              <a:gd name="connsiteY576" fmla="*/ 1306475 h 6858000"/>
              <a:gd name="connsiteX577" fmla="*/ 1507597 w 7467600"/>
              <a:gd name="connsiteY577" fmla="*/ 1446132 h 6858000"/>
              <a:gd name="connsiteX578" fmla="*/ 1674586 w 7467600"/>
              <a:gd name="connsiteY578" fmla="*/ 1813832 h 6858000"/>
              <a:gd name="connsiteX579" fmla="*/ 1815950 w 7467600"/>
              <a:gd name="connsiteY579" fmla="*/ 2128564 h 6858000"/>
              <a:gd name="connsiteX580" fmla="*/ 1984242 w 7467600"/>
              <a:gd name="connsiteY580" fmla="*/ 2430829 h 6858000"/>
              <a:gd name="connsiteX581" fmla="*/ 2014023 w 7467600"/>
              <a:gd name="connsiteY581" fmla="*/ 2450995 h 6858000"/>
              <a:gd name="connsiteX582" fmla="*/ 1747337 w 7467600"/>
              <a:gd name="connsiteY582" fmla="*/ 1855264 h 6858000"/>
              <a:gd name="connsiteX583" fmla="*/ 1533749 w 7467600"/>
              <a:gd name="connsiteY583" fmla="*/ 1478656 h 6858000"/>
              <a:gd name="connsiteX584" fmla="*/ 1431890 w 7467600"/>
              <a:gd name="connsiteY584" fmla="*/ 1306475 h 6858000"/>
              <a:gd name="connsiteX585" fmla="*/ 5052692 w 7467600"/>
              <a:gd name="connsiteY585" fmla="*/ 1292994 h 6858000"/>
              <a:gd name="connsiteX586" fmla="*/ 5200661 w 7467600"/>
              <a:gd name="connsiteY586" fmla="*/ 1635186 h 6858000"/>
              <a:gd name="connsiteX587" fmla="*/ 5297138 w 7467600"/>
              <a:gd name="connsiteY587" fmla="*/ 1906351 h 6858000"/>
              <a:gd name="connsiteX588" fmla="*/ 5052692 w 7467600"/>
              <a:gd name="connsiteY588" fmla="*/ 1292994 h 6858000"/>
              <a:gd name="connsiteX589" fmla="*/ 5009948 w 7467600"/>
              <a:gd name="connsiteY589" fmla="*/ 1273619 h 6858000"/>
              <a:gd name="connsiteX590" fmla="*/ 5121777 w 7467600"/>
              <a:gd name="connsiteY590" fmla="*/ 1654213 h 6858000"/>
              <a:gd name="connsiteX591" fmla="*/ 5293545 w 7467600"/>
              <a:gd name="connsiteY591" fmla="*/ 2072247 h 6858000"/>
              <a:gd name="connsiteX592" fmla="*/ 5294042 w 7467600"/>
              <a:gd name="connsiteY592" fmla="*/ 2065019 h 6858000"/>
              <a:gd name="connsiteX593" fmla="*/ 5171936 w 7467600"/>
              <a:gd name="connsiteY593" fmla="*/ 1647613 h 6858000"/>
              <a:gd name="connsiteX594" fmla="*/ 5009948 w 7467600"/>
              <a:gd name="connsiteY594" fmla="*/ 1273619 h 6858000"/>
              <a:gd name="connsiteX595" fmla="*/ 655236 w 7467600"/>
              <a:gd name="connsiteY595" fmla="*/ 1268632 h 6858000"/>
              <a:gd name="connsiteX596" fmla="*/ 839521 w 7467600"/>
              <a:gd name="connsiteY596" fmla="*/ 1685315 h 6858000"/>
              <a:gd name="connsiteX597" fmla="*/ 1109416 w 7467600"/>
              <a:gd name="connsiteY597" fmla="*/ 2061663 h 6858000"/>
              <a:gd name="connsiteX598" fmla="*/ 1298300 w 7467600"/>
              <a:gd name="connsiteY598" fmla="*/ 2247742 h 6858000"/>
              <a:gd name="connsiteX599" fmla="*/ 1125871 w 7467600"/>
              <a:gd name="connsiteY599" fmla="*/ 1989513 h 6858000"/>
              <a:gd name="connsiteX600" fmla="*/ 981574 w 7467600"/>
              <a:gd name="connsiteY600" fmla="*/ 1783157 h 6858000"/>
              <a:gd name="connsiteX601" fmla="*/ 922198 w 7467600"/>
              <a:gd name="connsiteY601" fmla="*/ 1677437 h 6858000"/>
              <a:gd name="connsiteX602" fmla="*/ 869293 w 7467600"/>
              <a:gd name="connsiteY602" fmla="*/ 1583214 h 6858000"/>
              <a:gd name="connsiteX603" fmla="*/ 751431 w 7467600"/>
              <a:gd name="connsiteY603" fmla="*/ 1405731 h 6858000"/>
              <a:gd name="connsiteX604" fmla="*/ 655236 w 7467600"/>
              <a:gd name="connsiteY604" fmla="*/ 1268632 h 6858000"/>
              <a:gd name="connsiteX605" fmla="*/ 6516292 w 7467600"/>
              <a:gd name="connsiteY605" fmla="*/ 1263064 h 6858000"/>
              <a:gd name="connsiteX606" fmla="*/ 5736320 w 7467600"/>
              <a:gd name="connsiteY606" fmla="*/ 1501803 h 6858000"/>
              <a:gd name="connsiteX607" fmla="*/ 6516292 w 7467600"/>
              <a:gd name="connsiteY607" fmla="*/ 1263064 h 6858000"/>
              <a:gd name="connsiteX608" fmla="*/ 291466 w 7467600"/>
              <a:gd name="connsiteY608" fmla="*/ 1250369 h 6858000"/>
              <a:gd name="connsiteX609" fmla="*/ 323180 w 7467600"/>
              <a:gd name="connsiteY609" fmla="*/ 1435283 h 6858000"/>
              <a:gd name="connsiteX610" fmla="*/ 349381 w 7467600"/>
              <a:gd name="connsiteY610" fmla="*/ 1875041 h 6858000"/>
              <a:gd name="connsiteX611" fmla="*/ 374363 w 7467600"/>
              <a:gd name="connsiteY611" fmla="*/ 1506494 h 6858000"/>
              <a:gd name="connsiteX612" fmla="*/ 302168 w 7467600"/>
              <a:gd name="connsiteY612" fmla="*/ 1274495 h 6858000"/>
              <a:gd name="connsiteX613" fmla="*/ 291466 w 7467600"/>
              <a:gd name="connsiteY613" fmla="*/ 1250369 h 6858000"/>
              <a:gd name="connsiteX614" fmla="*/ 678222 w 7467600"/>
              <a:gd name="connsiteY614" fmla="*/ 1248670 h 6858000"/>
              <a:gd name="connsiteX615" fmla="*/ 775536 w 7467600"/>
              <a:gd name="connsiteY615" fmla="*/ 1388015 h 6858000"/>
              <a:gd name="connsiteX616" fmla="*/ 894529 w 7467600"/>
              <a:gd name="connsiteY616" fmla="*/ 1567739 h 6858000"/>
              <a:gd name="connsiteX617" fmla="*/ 948000 w 7467600"/>
              <a:gd name="connsiteY617" fmla="*/ 1663088 h 6858000"/>
              <a:gd name="connsiteX618" fmla="*/ 1006812 w 7467600"/>
              <a:gd name="connsiteY618" fmla="*/ 1767683 h 6858000"/>
              <a:gd name="connsiteX619" fmla="*/ 1149133 w 7467600"/>
              <a:gd name="connsiteY619" fmla="*/ 1971513 h 6858000"/>
              <a:gd name="connsiteX620" fmla="*/ 1333952 w 7467600"/>
              <a:gd name="connsiteY620" fmla="*/ 2251620 h 6858000"/>
              <a:gd name="connsiteX621" fmla="*/ 1337329 w 7467600"/>
              <a:gd name="connsiteY621" fmla="*/ 2258350 h 6858000"/>
              <a:gd name="connsiteX622" fmla="*/ 1014726 w 7467600"/>
              <a:gd name="connsiteY622" fmla="*/ 1615556 h 6858000"/>
              <a:gd name="connsiteX623" fmla="*/ 678222 w 7467600"/>
              <a:gd name="connsiteY623" fmla="*/ 1248670 h 6858000"/>
              <a:gd name="connsiteX624" fmla="*/ 6691602 w 7467600"/>
              <a:gd name="connsiteY624" fmla="*/ 1140573 h 6858000"/>
              <a:gd name="connsiteX625" fmla="*/ 6571100 w 7467600"/>
              <a:gd name="connsiteY625" fmla="*/ 1183662 h 6858000"/>
              <a:gd name="connsiteX626" fmla="*/ 6241687 w 7467600"/>
              <a:gd name="connsiteY626" fmla="*/ 1257600 h 6858000"/>
              <a:gd name="connsiteX627" fmla="*/ 5693009 w 7467600"/>
              <a:gd name="connsiteY627" fmla="*/ 1478256 h 6858000"/>
              <a:gd name="connsiteX628" fmla="*/ 6548420 w 7467600"/>
              <a:gd name="connsiteY628" fmla="*/ 1214599 h 6858000"/>
              <a:gd name="connsiteX629" fmla="*/ 6605473 w 7467600"/>
              <a:gd name="connsiteY629" fmla="*/ 1184686 h 6858000"/>
              <a:gd name="connsiteX630" fmla="*/ 6691602 w 7467600"/>
              <a:gd name="connsiteY630" fmla="*/ 1140573 h 6858000"/>
              <a:gd name="connsiteX631" fmla="*/ 4002475 w 7467600"/>
              <a:gd name="connsiteY631" fmla="*/ 1037802 h 6858000"/>
              <a:gd name="connsiteX632" fmla="*/ 4000324 w 7467600"/>
              <a:gd name="connsiteY632" fmla="*/ 1039362 h 6858000"/>
              <a:gd name="connsiteX633" fmla="*/ 4002862 w 7467600"/>
              <a:gd name="connsiteY633" fmla="*/ 1042866 h 6858000"/>
              <a:gd name="connsiteX634" fmla="*/ 4002475 w 7467600"/>
              <a:gd name="connsiteY634" fmla="*/ 1037802 h 6858000"/>
              <a:gd name="connsiteX635" fmla="*/ 506322 w 7467600"/>
              <a:gd name="connsiteY635" fmla="*/ 1020997 h 6858000"/>
              <a:gd name="connsiteX636" fmla="*/ 533068 w 7467600"/>
              <a:gd name="connsiteY636" fmla="*/ 1029409 h 6858000"/>
              <a:gd name="connsiteX637" fmla="*/ 1232525 w 7467600"/>
              <a:gd name="connsiteY637" fmla="*/ 1804675 h 6858000"/>
              <a:gd name="connsiteX638" fmla="*/ 1388858 w 7467600"/>
              <a:gd name="connsiteY638" fmla="*/ 2368011 h 6858000"/>
              <a:gd name="connsiteX639" fmla="*/ 1384098 w 7467600"/>
              <a:gd name="connsiteY639" fmla="*/ 2378125 h 6858000"/>
              <a:gd name="connsiteX640" fmla="*/ 1425393 w 7467600"/>
              <a:gd name="connsiteY640" fmla="*/ 2589124 h 6858000"/>
              <a:gd name="connsiteX641" fmla="*/ 1424001 w 7467600"/>
              <a:gd name="connsiteY641" fmla="*/ 2597541 h 6858000"/>
              <a:gd name="connsiteX642" fmla="*/ 2152729 w 7467600"/>
              <a:gd name="connsiteY642" fmla="*/ 2864487 h 6858000"/>
              <a:gd name="connsiteX643" fmla="*/ 2020609 w 7467600"/>
              <a:gd name="connsiteY643" fmla="*/ 2539671 h 6858000"/>
              <a:gd name="connsiteX644" fmla="*/ 2018920 w 7467600"/>
              <a:gd name="connsiteY644" fmla="*/ 2536309 h 6858000"/>
              <a:gd name="connsiteX645" fmla="*/ 1342441 w 7467600"/>
              <a:gd name="connsiteY645" fmla="*/ 1173017 h 6858000"/>
              <a:gd name="connsiteX646" fmla="*/ 1367925 w 7467600"/>
              <a:gd name="connsiteY646" fmla="*/ 1135648 h 6858000"/>
              <a:gd name="connsiteX647" fmla="*/ 1771401 w 7467600"/>
              <a:gd name="connsiteY647" fmla="*/ 1806673 h 6858000"/>
              <a:gd name="connsiteX648" fmla="*/ 1972385 w 7467600"/>
              <a:gd name="connsiteY648" fmla="*/ 2198735 h 6858000"/>
              <a:gd name="connsiteX649" fmla="*/ 2040892 w 7467600"/>
              <a:gd name="connsiteY649" fmla="*/ 2405205 h 6858000"/>
              <a:gd name="connsiteX650" fmla="*/ 2131689 w 7467600"/>
              <a:gd name="connsiteY650" fmla="*/ 1936926 h 6858000"/>
              <a:gd name="connsiteX651" fmla="*/ 2454820 w 7467600"/>
              <a:gd name="connsiteY651" fmla="*/ 1248808 h 6858000"/>
              <a:gd name="connsiteX652" fmla="*/ 2492512 w 7467600"/>
              <a:gd name="connsiteY652" fmla="*/ 1302920 h 6858000"/>
              <a:gd name="connsiteX653" fmla="*/ 2081216 w 7467600"/>
              <a:gd name="connsiteY653" fmla="*/ 2527513 h 6858000"/>
              <a:gd name="connsiteX654" fmla="*/ 2081211 w 7467600"/>
              <a:gd name="connsiteY654" fmla="*/ 2528916 h 6858000"/>
              <a:gd name="connsiteX655" fmla="*/ 2199067 w 7467600"/>
              <a:gd name="connsiteY655" fmla="*/ 2884061 h 6858000"/>
              <a:gd name="connsiteX656" fmla="*/ 3192586 w 7467600"/>
              <a:gd name="connsiteY656" fmla="*/ 3411496 h 6858000"/>
              <a:gd name="connsiteX657" fmla="*/ 3182620 w 7467600"/>
              <a:gd name="connsiteY657" fmla="*/ 3483279 h 6858000"/>
              <a:gd name="connsiteX658" fmla="*/ 2435119 w 7467600"/>
              <a:gd name="connsiteY658" fmla="*/ 3080173 h 6858000"/>
              <a:gd name="connsiteX659" fmla="*/ 2410152 w 7467600"/>
              <a:gd name="connsiteY659" fmla="*/ 3063751 h 6858000"/>
              <a:gd name="connsiteX660" fmla="*/ 2408099 w 7467600"/>
              <a:gd name="connsiteY660" fmla="*/ 3064403 h 6858000"/>
              <a:gd name="connsiteX661" fmla="*/ 2407218 w 7467600"/>
              <a:gd name="connsiteY661" fmla="*/ 3070324 h 6858000"/>
              <a:gd name="connsiteX662" fmla="*/ 2380138 w 7467600"/>
              <a:gd name="connsiteY662" fmla="*/ 3099341 h 6858000"/>
              <a:gd name="connsiteX663" fmla="*/ 1765923 w 7467600"/>
              <a:gd name="connsiteY663" fmla="*/ 3581043 h 6858000"/>
              <a:gd name="connsiteX664" fmla="*/ 1702258 w 7467600"/>
              <a:gd name="connsiteY664" fmla="*/ 3612286 h 6858000"/>
              <a:gd name="connsiteX665" fmla="*/ 1538370 w 7467600"/>
              <a:gd name="connsiteY665" fmla="*/ 3811804 h 6858000"/>
              <a:gd name="connsiteX666" fmla="*/ 542867 w 7467600"/>
              <a:gd name="connsiteY666" fmla="*/ 4944092 h 6858000"/>
              <a:gd name="connsiteX667" fmla="*/ 515800 w 7467600"/>
              <a:gd name="connsiteY667" fmla="*/ 4862180 h 6858000"/>
              <a:gd name="connsiteX668" fmla="*/ 909145 w 7467600"/>
              <a:gd name="connsiteY668" fmla="*/ 4199225 h 6858000"/>
              <a:gd name="connsiteX669" fmla="*/ 1214067 w 7467600"/>
              <a:gd name="connsiteY669" fmla="*/ 3908561 h 6858000"/>
              <a:gd name="connsiteX670" fmla="*/ 640967 w 7467600"/>
              <a:gd name="connsiteY670" fmla="*/ 4105601 h 6858000"/>
              <a:gd name="connsiteX671" fmla="*/ 112563 w 7467600"/>
              <a:gd name="connsiteY671" fmla="*/ 4396952 h 6858000"/>
              <a:gd name="connsiteX672" fmla="*/ 0 w 7467600"/>
              <a:gd name="connsiteY672" fmla="*/ 4466006 h 6858000"/>
              <a:gd name="connsiteX673" fmla="*/ 0 w 7467600"/>
              <a:gd name="connsiteY673" fmla="*/ 4233763 h 6858000"/>
              <a:gd name="connsiteX674" fmla="*/ 36881 w 7467600"/>
              <a:gd name="connsiteY674" fmla="*/ 4200118 h 6858000"/>
              <a:gd name="connsiteX675" fmla="*/ 910534 w 7467600"/>
              <a:gd name="connsiteY675" fmla="*/ 3629753 h 6858000"/>
              <a:gd name="connsiteX676" fmla="*/ 1578717 w 7467600"/>
              <a:gd name="connsiteY676" fmla="*/ 3575982 h 6858000"/>
              <a:gd name="connsiteX677" fmla="*/ 2338780 w 7467600"/>
              <a:gd name="connsiteY677" fmla="*/ 3033725 h 6858000"/>
              <a:gd name="connsiteX678" fmla="*/ 1807991 w 7467600"/>
              <a:gd name="connsiteY678" fmla="*/ 2807184 h 6858000"/>
              <a:gd name="connsiteX679" fmla="*/ 1416358 w 7467600"/>
              <a:gd name="connsiteY679" fmla="*/ 3112571 h 6858000"/>
              <a:gd name="connsiteX680" fmla="*/ 939066 w 7467600"/>
              <a:gd name="connsiteY680" fmla="*/ 3378798 h 6858000"/>
              <a:gd name="connsiteX681" fmla="*/ 115099 w 7467600"/>
              <a:gd name="connsiteY681" fmla="*/ 3607650 h 6858000"/>
              <a:gd name="connsiteX682" fmla="*/ 97284 w 7467600"/>
              <a:gd name="connsiteY682" fmla="*/ 3520393 h 6858000"/>
              <a:gd name="connsiteX683" fmla="*/ 922050 w 7467600"/>
              <a:gd name="connsiteY683" fmla="*/ 3074867 h 6858000"/>
              <a:gd name="connsiteX684" fmla="*/ 1405265 w 7467600"/>
              <a:gd name="connsiteY684" fmla="*/ 3016319 h 6858000"/>
              <a:gd name="connsiteX685" fmla="*/ 1407512 w 7467600"/>
              <a:gd name="connsiteY685" fmla="*/ 3018001 h 6858000"/>
              <a:gd name="connsiteX686" fmla="*/ 1726266 w 7467600"/>
              <a:gd name="connsiteY686" fmla="*/ 2777274 h 6858000"/>
              <a:gd name="connsiteX687" fmla="*/ 625390 w 7467600"/>
              <a:gd name="connsiteY687" fmla="*/ 2514541 h 6858000"/>
              <a:gd name="connsiteX688" fmla="*/ 619799 w 7467600"/>
              <a:gd name="connsiteY688" fmla="*/ 2527180 h 6858000"/>
              <a:gd name="connsiteX689" fmla="*/ 310030 w 7467600"/>
              <a:gd name="connsiteY689" fmla="*/ 2771818 h 6858000"/>
              <a:gd name="connsiteX690" fmla="*/ 173877 w 7467600"/>
              <a:gd name="connsiteY690" fmla="*/ 2937056 h 6858000"/>
              <a:gd name="connsiteX691" fmla="*/ 77889 w 7467600"/>
              <a:gd name="connsiteY691" fmla="*/ 3138440 h 6858000"/>
              <a:gd name="connsiteX692" fmla="*/ 0 w 7467600"/>
              <a:gd name="connsiteY692" fmla="*/ 3271395 h 6858000"/>
              <a:gd name="connsiteX693" fmla="*/ 0 w 7467600"/>
              <a:gd name="connsiteY693" fmla="*/ 3153002 h 6858000"/>
              <a:gd name="connsiteX694" fmla="*/ 2386 w 7467600"/>
              <a:gd name="connsiteY694" fmla="*/ 3149203 h 6858000"/>
              <a:gd name="connsiteX695" fmla="*/ 89753 w 7467600"/>
              <a:gd name="connsiteY695" fmla="*/ 2987702 h 6858000"/>
              <a:gd name="connsiteX696" fmla="*/ 76869 w 7467600"/>
              <a:gd name="connsiteY696" fmla="*/ 3005404 h 6858000"/>
              <a:gd name="connsiteX697" fmla="*/ 32049 w 7467600"/>
              <a:gd name="connsiteY697" fmla="*/ 3065814 h 6858000"/>
              <a:gd name="connsiteX698" fmla="*/ 0 w 7467600"/>
              <a:gd name="connsiteY698" fmla="*/ 3108744 h 6858000"/>
              <a:gd name="connsiteX699" fmla="*/ 0 w 7467600"/>
              <a:gd name="connsiteY699" fmla="*/ 3058059 h 6858000"/>
              <a:gd name="connsiteX700" fmla="*/ 7610 w 7467600"/>
              <a:gd name="connsiteY700" fmla="*/ 3047889 h 6858000"/>
              <a:gd name="connsiteX701" fmla="*/ 52419 w 7467600"/>
              <a:gd name="connsiteY701" fmla="*/ 2987479 h 6858000"/>
              <a:gd name="connsiteX702" fmla="*/ 59142 w 7467600"/>
              <a:gd name="connsiteY702" fmla="*/ 2978488 h 6858000"/>
              <a:gd name="connsiteX703" fmla="*/ 0 w 7467600"/>
              <a:gd name="connsiteY703" fmla="*/ 3015334 h 6858000"/>
              <a:gd name="connsiteX704" fmla="*/ 0 w 7467600"/>
              <a:gd name="connsiteY704" fmla="*/ 2914286 h 6858000"/>
              <a:gd name="connsiteX705" fmla="*/ 36383 w 7467600"/>
              <a:gd name="connsiteY705" fmla="*/ 2901128 h 6858000"/>
              <a:gd name="connsiteX706" fmla="*/ 156329 w 7467600"/>
              <a:gd name="connsiteY706" fmla="*/ 2840533 h 6858000"/>
              <a:gd name="connsiteX707" fmla="*/ 358355 w 7467600"/>
              <a:gd name="connsiteY707" fmla="*/ 2620471 h 6858000"/>
              <a:gd name="connsiteX708" fmla="*/ 510577 w 7467600"/>
              <a:gd name="connsiteY708" fmla="*/ 2501244 h 6858000"/>
              <a:gd name="connsiteX709" fmla="*/ 211967 w 7467600"/>
              <a:gd name="connsiteY709" fmla="*/ 2479171 h 6858000"/>
              <a:gd name="connsiteX710" fmla="*/ 0 w 7467600"/>
              <a:gd name="connsiteY710" fmla="*/ 2476398 h 6858000"/>
              <a:gd name="connsiteX711" fmla="*/ 0 w 7467600"/>
              <a:gd name="connsiteY711" fmla="*/ 2389189 h 6858000"/>
              <a:gd name="connsiteX712" fmla="*/ 103062 w 7467600"/>
              <a:gd name="connsiteY712" fmla="*/ 2389518 h 6858000"/>
              <a:gd name="connsiteX713" fmla="*/ 510734 w 7467600"/>
              <a:gd name="connsiteY713" fmla="*/ 2416201 h 6858000"/>
              <a:gd name="connsiteX714" fmla="*/ 279257 w 7467600"/>
              <a:gd name="connsiteY714" fmla="*/ 2092102 h 6858000"/>
              <a:gd name="connsiteX715" fmla="*/ 65265 w 7467600"/>
              <a:gd name="connsiteY715" fmla="*/ 2006049 h 6858000"/>
              <a:gd name="connsiteX716" fmla="*/ 0 w 7467600"/>
              <a:gd name="connsiteY716" fmla="*/ 1982532 h 6858000"/>
              <a:gd name="connsiteX717" fmla="*/ 0 w 7467600"/>
              <a:gd name="connsiteY717" fmla="*/ 1912789 h 6858000"/>
              <a:gd name="connsiteX718" fmla="*/ 97460 w 7467600"/>
              <a:gd name="connsiteY718" fmla="*/ 1953725 h 6858000"/>
              <a:gd name="connsiteX719" fmla="*/ 221272 w 7467600"/>
              <a:gd name="connsiteY719" fmla="*/ 1980766 h 6858000"/>
              <a:gd name="connsiteX720" fmla="*/ 116765 w 7467600"/>
              <a:gd name="connsiteY720" fmla="*/ 1911033 h 6858000"/>
              <a:gd name="connsiteX721" fmla="*/ 16405 w 7467600"/>
              <a:gd name="connsiteY721" fmla="*/ 1803412 h 6858000"/>
              <a:gd name="connsiteX722" fmla="*/ 0 w 7467600"/>
              <a:gd name="connsiteY722" fmla="*/ 1784777 h 6858000"/>
              <a:gd name="connsiteX723" fmla="*/ 0 w 7467600"/>
              <a:gd name="connsiteY723" fmla="*/ 1740082 h 6858000"/>
              <a:gd name="connsiteX724" fmla="*/ 39394 w 7467600"/>
              <a:gd name="connsiteY724" fmla="*/ 1784856 h 6858000"/>
              <a:gd name="connsiteX725" fmla="*/ 135813 w 7467600"/>
              <a:gd name="connsiteY725" fmla="*/ 1888838 h 6858000"/>
              <a:gd name="connsiteX726" fmla="*/ 242575 w 7467600"/>
              <a:gd name="connsiteY726" fmla="*/ 1958841 h 6858000"/>
              <a:gd name="connsiteX727" fmla="*/ 82197 w 7467600"/>
              <a:gd name="connsiteY727" fmla="*/ 1754826 h 6858000"/>
              <a:gd name="connsiteX728" fmla="*/ 0 w 7467600"/>
              <a:gd name="connsiteY728" fmla="*/ 1679650 h 6858000"/>
              <a:gd name="connsiteX729" fmla="*/ 0 w 7467600"/>
              <a:gd name="connsiteY729" fmla="*/ 1602463 h 6858000"/>
              <a:gd name="connsiteX730" fmla="*/ 84689 w 7467600"/>
              <a:gd name="connsiteY730" fmla="*/ 1677442 h 6858000"/>
              <a:gd name="connsiteX731" fmla="*/ 298437 w 7467600"/>
              <a:gd name="connsiteY731" fmla="*/ 1968019 h 6858000"/>
              <a:gd name="connsiteX732" fmla="*/ 227269 w 7467600"/>
              <a:gd name="connsiteY732" fmla="*/ 1114064 h 6858000"/>
              <a:gd name="connsiteX733" fmla="*/ 248003 w 7467600"/>
              <a:gd name="connsiteY733" fmla="*/ 1089613 h 6858000"/>
              <a:gd name="connsiteX734" fmla="*/ 427020 w 7467600"/>
              <a:gd name="connsiteY734" fmla="*/ 1619803 h 6858000"/>
              <a:gd name="connsiteX735" fmla="*/ 340345 w 7467600"/>
              <a:gd name="connsiteY735" fmla="*/ 2027739 h 6858000"/>
              <a:gd name="connsiteX736" fmla="*/ 360865 w 7467600"/>
              <a:gd name="connsiteY736" fmla="*/ 2044827 h 6858000"/>
              <a:gd name="connsiteX737" fmla="*/ 560414 w 7467600"/>
              <a:gd name="connsiteY737" fmla="*/ 2421457 h 6858000"/>
              <a:gd name="connsiteX738" fmla="*/ 1359703 w 7467600"/>
              <a:gd name="connsiteY738" fmla="*/ 2578554 h 6858000"/>
              <a:gd name="connsiteX739" fmla="*/ 1359422 w 7467600"/>
              <a:gd name="connsiteY739" fmla="*/ 2577994 h 6858000"/>
              <a:gd name="connsiteX740" fmla="*/ 828701 w 7467600"/>
              <a:gd name="connsiteY740" fmla="*/ 1839520 h 6858000"/>
              <a:gd name="connsiteX741" fmla="*/ 494427 w 7467600"/>
              <a:gd name="connsiteY741" fmla="*/ 1092333 h 6858000"/>
              <a:gd name="connsiteX742" fmla="*/ 506322 w 7467600"/>
              <a:gd name="connsiteY742" fmla="*/ 1020997 h 6858000"/>
              <a:gd name="connsiteX743" fmla="*/ 4570198 w 7467600"/>
              <a:gd name="connsiteY743" fmla="*/ 978081 h 6858000"/>
              <a:gd name="connsiteX744" fmla="*/ 4523691 w 7467600"/>
              <a:gd name="connsiteY744" fmla="*/ 1127776 h 6858000"/>
              <a:gd name="connsiteX745" fmla="*/ 4509875 w 7467600"/>
              <a:gd name="connsiteY745" fmla="*/ 1167552 h 6858000"/>
              <a:gd name="connsiteX746" fmla="*/ 4478168 w 7467600"/>
              <a:gd name="connsiteY746" fmla="*/ 1260735 h 6858000"/>
              <a:gd name="connsiteX747" fmla="*/ 4409309 w 7467600"/>
              <a:gd name="connsiteY747" fmla="*/ 1666996 h 6858000"/>
              <a:gd name="connsiteX748" fmla="*/ 4370031 w 7467600"/>
              <a:gd name="connsiteY748" fmla="*/ 1955666 h 6858000"/>
              <a:gd name="connsiteX749" fmla="*/ 4570198 w 7467600"/>
              <a:gd name="connsiteY749" fmla="*/ 978081 h 6858000"/>
              <a:gd name="connsiteX750" fmla="*/ 4557898 w 7467600"/>
              <a:gd name="connsiteY750" fmla="*/ 900011 h 6858000"/>
              <a:gd name="connsiteX751" fmla="*/ 4344840 w 7467600"/>
              <a:gd name="connsiteY751" fmla="*/ 1922038 h 6858000"/>
              <a:gd name="connsiteX752" fmla="*/ 4378710 w 7467600"/>
              <a:gd name="connsiteY752" fmla="*/ 1665516 h 6858000"/>
              <a:gd name="connsiteX753" fmla="*/ 4448798 w 7467600"/>
              <a:gd name="connsiteY753" fmla="*/ 1253024 h 6858000"/>
              <a:gd name="connsiteX754" fmla="*/ 4480315 w 7467600"/>
              <a:gd name="connsiteY754" fmla="*/ 1158454 h 6858000"/>
              <a:gd name="connsiteX755" fmla="*/ 4494133 w 7467600"/>
              <a:gd name="connsiteY755" fmla="*/ 1118676 h 6858000"/>
              <a:gd name="connsiteX756" fmla="*/ 4557898 w 7467600"/>
              <a:gd name="connsiteY756" fmla="*/ 900011 h 6858000"/>
              <a:gd name="connsiteX757" fmla="*/ 5870151 w 7467600"/>
              <a:gd name="connsiteY757" fmla="*/ 898890 h 6858000"/>
              <a:gd name="connsiteX758" fmla="*/ 5861335 w 7467600"/>
              <a:gd name="connsiteY758" fmla="*/ 899177 h 6858000"/>
              <a:gd name="connsiteX759" fmla="*/ 5843702 w 7467600"/>
              <a:gd name="connsiteY759" fmla="*/ 899748 h 6858000"/>
              <a:gd name="connsiteX760" fmla="*/ 5651107 w 7467600"/>
              <a:gd name="connsiteY760" fmla="*/ 920306 h 6858000"/>
              <a:gd name="connsiteX761" fmla="*/ 5459407 w 7467600"/>
              <a:gd name="connsiteY761" fmla="*/ 940975 h 6858000"/>
              <a:gd name="connsiteX762" fmla="*/ 5374846 w 7467600"/>
              <a:gd name="connsiteY762" fmla="*/ 941988 h 6858000"/>
              <a:gd name="connsiteX763" fmla="*/ 5256105 w 7467600"/>
              <a:gd name="connsiteY763" fmla="*/ 945632 h 6858000"/>
              <a:gd name="connsiteX764" fmla="*/ 5107071 w 7467600"/>
              <a:gd name="connsiteY764" fmla="*/ 969720 h 6858000"/>
              <a:gd name="connsiteX765" fmla="*/ 4998681 w 7467600"/>
              <a:gd name="connsiteY765" fmla="*/ 988771 h 6858000"/>
              <a:gd name="connsiteX766" fmla="*/ 5870151 w 7467600"/>
              <a:gd name="connsiteY766" fmla="*/ 898890 h 6858000"/>
              <a:gd name="connsiteX767" fmla="*/ 5504425 w 7467600"/>
              <a:gd name="connsiteY767" fmla="*/ 848067 h 6858000"/>
              <a:gd name="connsiteX768" fmla="*/ 4968849 w 7467600"/>
              <a:gd name="connsiteY768" fmla="*/ 962318 h 6858000"/>
              <a:gd name="connsiteX769" fmla="*/ 5104039 w 7467600"/>
              <a:gd name="connsiteY769" fmla="*/ 940634 h 6858000"/>
              <a:gd name="connsiteX770" fmla="*/ 5256311 w 7467600"/>
              <a:gd name="connsiteY770" fmla="*/ 916490 h 6858000"/>
              <a:gd name="connsiteX771" fmla="*/ 5377381 w 7467600"/>
              <a:gd name="connsiteY771" fmla="*/ 912671 h 6858000"/>
              <a:gd name="connsiteX772" fmla="*/ 5460148 w 7467600"/>
              <a:gd name="connsiteY772" fmla="*/ 911442 h 6858000"/>
              <a:gd name="connsiteX773" fmla="*/ 5648971 w 7467600"/>
              <a:gd name="connsiteY773" fmla="*/ 891331 h 6858000"/>
              <a:gd name="connsiteX774" fmla="*/ 5844807 w 7467600"/>
              <a:gd name="connsiteY774" fmla="*/ 870718 h 6858000"/>
              <a:gd name="connsiteX775" fmla="*/ 5862975 w 7467600"/>
              <a:gd name="connsiteY775" fmla="*/ 869756 h 6858000"/>
              <a:gd name="connsiteX776" fmla="*/ 5920887 w 7467600"/>
              <a:gd name="connsiteY776" fmla="*/ 865929 h 6858000"/>
              <a:gd name="connsiteX777" fmla="*/ 5504425 w 7467600"/>
              <a:gd name="connsiteY777" fmla="*/ 848067 h 6858000"/>
              <a:gd name="connsiteX778" fmla="*/ 3607114 w 7467600"/>
              <a:gd name="connsiteY778" fmla="*/ 467441 h 6858000"/>
              <a:gd name="connsiteX779" fmla="*/ 3296242 w 7467600"/>
              <a:gd name="connsiteY779" fmla="*/ 807991 h 6858000"/>
              <a:gd name="connsiteX780" fmla="*/ 3174674 w 7467600"/>
              <a:gd name="connsiteY780" fmla="*/ 919759 h 6858000"/>
              <a:gd name="connsiteX781" fmla="*/ 3042978 w 7467600"/>
              <a:gd name="connsiteY781" fmla="*/ 1054894 h 6858000"/>
              <a:gd name="connsiteX782" fmla="*/ 2968914 w 7467600"/>
              <a:gd name="connsiteY782" fmla="*/ 1133756 h 6858000"/>
              <a:gd name="connsiteX783" fmla="*/ 3103823 w 7467600"/>
              <a:gd name="connsiteY783" fmla="*/ 1026814 h 6858000"/>
              <a:gd name="connsiteX784" fmla="*/ 3607114 w 7467600"/>
              <a:gd name="connsiteY784" fmla="*/ 467441 h 6858000"/>
              <a:gd name="connsiteX785" fmla="*/ 3744487 w 7467600"/>
              <a:gd name="connsiteY785" fmla="*/ 383136 h 6858000"/>
              <a:gd name="connsiteX786" fmla="*/ 3970213 w 7467600"/>
              <a:gd name="connsiteY786" fmla="*/ 995559 h 6858000"/>
              <a:gd name="connsiteX787" fmla="*/ 3744487 w 7467600"/>
              <a:gd name="connsiteY787" fmla="*/ 383136 h 6858000"/>
              <a:gd name="connsiteX788" fmla="*/ 3624562 w 7467600"/>
              <a:gd name="connsiteY788" fmla="*/ 367041 h 6858000"/>
              <a:gd name="connsiteX789" fmla="*/ 3489712 w 7467600"/>
              <a:gd name="connsiteY789" fmla="*/ 485386 h 6858000"/>
              <a:gd name="connsiteX790" fmla="*/ 3182994 w 7467600"/>
              <a:gd name="connsiteY790" fmla="*/ 828265 h 6858000"/>
              <a:gd name="connsiteX791" fmla="*/ 2892114 w 7467600"/>
              <a:gd name="connsiteY791" fmla="*/ 1172635 h 6858000"/>
              <a:gd name="connsiteX792" fmla="*/ 3021459 w 7467600"/>
              <a:gd name="connsiteY792" fmla="*/ 1035385 h 6858000"/>
              <a:gd name="connsiteX793" fmla="*/ 3153873 w 7467600"/>
              <a:gd name="connsiteY793" fmla="*/ 898971 h 6858000"/>
              <a:gd name="connsiteX794" fmla="*/ 3276511 w 7467600"/>
              <a:gd name="connsiteY794" fmla="*/ 786423 h 6858000"/>
              <a:gd name="connsiteX795" fmla="*/ 3584154 w 7467600"/>
              <a:gd name="connsiteY795" fmla="*/ 448218 h 6858000"/>
              <a:gd name="connsiteX796" fmla="*/ 3624562 w 7467600"/>
              <a:gd name="connsiteY796" fmla="*/ 367041 h 6858000"/>
              <a:gd name="connsiteX797" fmla="*/ 3766672 w 7467600"/>
              <a:gd name="connsiteY797" fmla="*/ 359429 h 6858000"/>
              <a:gd name="connsiteX798" fmla="*/ 3996338 w 7467600"/>
              <a:gd name="connsiteY798" fmla="*/ 968237 h 6858000"/>
              <a:gd name="connsiteX799" fmla="*/ 3766672 w 7467600"/>
              <a:gd name="connsiteY799" fmla="*/ 359429 h 6858000"/>
              <a:gd name="connsiteX800" fmla="*/ 5805386 w 7467600"/>
              <a:gd name="connsiteY800" fmla="*/ 239240 h 6858000"/>
              <a:gd name="connsiteX801" fmla="*/ 5736947 w 7467600"/>
              <a:gd name="connsiteY801" fmla="*/ 261367 h 6858000"/>
              <a:gd name="connsiteX802" fmla="*/ 5427012 w 7467600"/>
              <a:gd name="connsiteY802" fmla="*/ 311272 h 6858000"/>
              <a:gd name="connsiteX803" fmla="*/ 5147818 w 7467600"/>
              <a:gd name="connsiteY803" fmla="*/ 322112 h 6858000"/>
              <a:gd name="connsiteX804" fmla="*/ 5060854 w 7467600"/>
              <a:gd name="connsiteY804" fmla="*/ 311882 h 6858000"/>
              <a:gd name="connsiteX805" fmla="*/ 4945989 w 7467600"/>
              <a:gd name="connsiteY805" fmla="*/ 300516 h 6858000"/>
              <a:gd name="connsiteX806" fmla="*/ 5410479 w 7467600"/>
              <a:gd name="connsiteY806" fmla="*/ 348434 h 6858000"/>
              <a:gd name="connsiteX807" fmla="*/ 5805386 w 7467600"/>
              <a:gd name="connsiteY807" fmla="*/ 239240 h 6858000"/>
              <a:gd name="connsiteX808" fmla="*/ 5905192 w 7467600"/>
              <a:gd name="connsiteY808" fmla="*/ 163079 h 6858000"/>
              <a:gd name="connsiteX809" fmla="*/ 5865655 w 7467600"/>
              <a:gd name="connsiteY809" fmla="*/ 171901 h 6858000"/>
              <a:gd name="connsiteX810" fmla="*/ 5259740 w 7467600"/>
              <a:gd name="connsiteY810" fmla="*/ 257013 h 6858000"/>
              <a:gd name="connsiteX811" fmla="*/ 5208466 w 7467600"/>
              <a:gd name="connsiteY811" fmla="*/ 257550 h 6858000"/>
              <a:gd name="connsiteX812" fmla="*/ 4980204 w 7467600"/>
              <a:gd name="connsiteY812" fmla="*/ 271903 h 6858000"/>
              <a:gd name="connsiteX813" fmla="*/ 5068068 w 7467600"/>
              <a:gd name="connsiteY813" fmla="*/ 282244 h 6858000"/>
              <a:gd name="connsiteX814" fmla="*/ 5153231 w 7467600"/>
              <a:gd name="connsiteY814" fmla="*/ 292240 h 6858000"/>
              <a:gd name="connsiteX815" fmla="*/ 5426491 w 7467600"/>
              <a:gd name="connsiteY815" fmla="*/ 281128 h 6858000"/>
              <a:gd name="connsiteX816" fmla="*/ 5731212 w 7467600"/>
              <a:gd name="connsiteY816" fmla="*/ 231951 h 6858000"/>
              <a:gd name="connsiteX817" fmla="*/ 5905192 w 7467600"/>
              <a:gd name="connsiteY817" fmla="*/ 163079 h 6858000"/>
              <a:gd name="connsiteX818" fmla="*/ 5944437 w 7467600"/>
              <a:gd name="connsiteY818" fmla="*/ 113829 h 6858000"/>
              <a:gd name="connsiteX819" fmla="*/ 5825032 w 7467600"/>
              <a:gd name="connsiteY819" fmla="*/ 146405 h 6858000"/>
              <a:gd name="connsiteX820" fmla="*/ 4955599 w 7467600"/>
              <a:gd name="connsiteY820" fmla="*/ 247008 h 6858000"/>
              <a:gd name="connsiteX821" fmla="*/ 5210104 w 7467600"/>
              <a:gd name="connsiteY821" fmla="*/ 228123 h 6858000"/>
              <a:gd name="connsiteX822" fmla="*/ 5261015 w 7467600"/>
              <a:gd name="connsiteY822" fmla="*/ 227087 h 6858000"/>
              <a:gd name="connsiteX823" fmla="*/ 5861181 w 7467600"/>
              <a:gd name="connsiteY823" fmla="*/ 143093 h 6858000"/>
              <a:gd name="connsiteX824" fmla="*/ 5961252 w 7467600"/>
              <a:gd name="connsiteY824" fmla="*/ 114820 h 6858000"/>
              <a:gd name="connsiteX825" fmla="*/ 5944437 w 7467600"/>
              <a:gd name="connsiteY825" fmla="*/ 113829 h 6858000"/>
              <a:gd name="connsiteX826" fmla="*/ 3882765 w 7467600"/>
              <a:gd name="connsiteY826" fmla="*/ 0 h 6858000"/>
              <a:gd name="connsiteX827" fmla="*/ 3995099 w 7467600"/>
              <a:gd name="connsiteY827" fmla="*/ 0 h 6858000"/>
              <a:gd name="connsiteX828" fmla="*/ 4163818 w 7467600"/>
              <a:gd name="connsiteY828" fmla="*/ 234104 h 6858000"/>
              <a:gd name="connsiteX829" fmla="*/ 4172099 w 7467600"/>
              <a:gd name="connsiteY829" fmla="*/ 234207 h 6858000"/>
              <a:gd name="connsiteX830" fmla="*/ 4784282 w 7467600"/>
              <a:gd name="connsiteY830" fmla="*/ 276561 h 6858000"/>
              <a:gd name="connsiteX831" fmla="*/ 4801687 w 7467600"/>
              <a:gd name="connsiteY831" fmla="*/ 267764 h 6858000"/>
              <a:gd name="connsiteX832" fmla="*/ 6082788 w 7467600"/>
              <a:gd name="connsiteY832" fmla="*/ 64119 h 6858000"/>
              <a:gd name="connsiteX833" fmla="*/ 6099442 w 7467600"/>
              <a:gd name="connsiteY833" fmla="*/ 82568 h 6858000"/>
              <a:gd name="connsiteX834" fmla="*/ 4804137 w 7467600"/>
              <a:gd name="connsiteY834" fmla="*/ 320931 h 6858000"/>
              <a:gd name="connsiteX835" fmla="*/ 4227047 w 7467600"/>
              <a:gd name="connsiteY835" fmla="*/ 313415 h 6858000"/>
              <a:gd name="connsiteX836" fmla="*/ 4346041 w 7467600"/>
              <a:gd name="connsiteY836" fmla="*/ 456086 h 6858000"/>
              <a:gd name="connsiteX837" fmla="*/ 4870967 w 7467600"/>
              <a:gd name="connsiteY837" fmla="*/ 963061 h 6858000"/>
              <a:gd name="connsiteX838" fmla="*/ 4889647 w 7467600"/>
              <a:gd name="connsiteY838" fmla="*/ 957147 h 6858000"/>
              <a:gd name="connsiteX839" fmla="*/ 5422504 w 7467600"/>
              <a:gd name="connsiteY839" fmla="*/ 805191 h 6858000"/>
              <a:gd name="connsiteX840" fmla="*/ 6087656 w 7467600"/>
              <a:gd name="connsiteY840" fmla="*/ 826703 h 6858000"/>
              <a:gd name="connsiteX841" fmla="*/ 6058717 w 7467600"/>
              <a:gd name="connsiteY841" fmla="*/ 865992 h 6858000"/>
              <a:gd name="connsiteX842" fmla="*/ 4974153 w 7467600"/>
              <a:gd name="connsiteY842" fmla="*/ 1045456 h 6858000"/>
              <a:gd name="connsiteX843" fmla="*/ 5627835 w 7467600"/>
              <a:gd name="connsiteY843" fmla="*/ 1472077 h 6858000"/>
              <a:gd name="connsiteX844" fmla="*/ 5629817 w 7467600"/>
              <a:gd name="connsiteY844" fmla="*/ 1471412 h 6858000"/>
              <a:gd name="connsiteX845" fmla="*/ 5634124 w 7467600"/>
              <a:gd name="connsiteY845" fmla="*/ 1470572 h 6858000"/>
              <a:gd name="connsiteX846" fmla="*/ 5755832 w 7467600"/>
              <a:gd name="connsiteY846" fmla="*/ 1383886 h 6858000"/>
              <a:gd name="connsiteX847" fmla="*/ 6014186 w 7467600"/>
              <a:gd name="connsiteY847" fmla="*/ 1279799 h 6858000"/>
              <a:gd name="connsiteX848" fmla="*/ 6901619 w 7467600"/>
              <a:gd name="connsiteY848" fmla="*/ 1047874 h 6858000"/>
              <a:gd name="connsiteX849" fmla="*/ 6931566 w 7467600"/>
              <a:gd name="connsiteY849" fmla="*/ 1062034 h 6858000"/>
              <a:gd name="connsiteX850" fmla="*/ 5790982 w 7467600"/>
              <a:gd name="connsiteY850" fmla="*/ 1561380 h 6858000"/>
              <a:gd name="connsiteX851" fmla="*/ 6188971 w 7467600"/>
              <a:gd name="connsiteY851" fmla="*/ 1755168 h 6858000"/>
              <a:gd name="connsiteX852" fmla="*/ 6202446 w 7467600"/>
              <a:gd name="connsiteY852" fmla="*/ 1752268 h 6858000"/>
              <a:gd name="connsiteX853" fmla="*/ 7179560 w 7467600"/>
              <a:gd name="connsiteY853" fmla="*/ 1467551 h 6858000"/>
              <a:gd name="connsiteX854" fmla="*/ 7158730 w 7467600"/>
              <a:gd name="connsiteY854" fmla="*/ 1507835 h 6858000"/>
              <a:gd name="connsiteX855" fmla="*/ 6326959 w 7467600"/>
              <a:gd name="connsiteY855" fmla="*/ 1817686 h 6858000"/>
              <a:gd name="connsiteX856" fmla="*/ 6537433 w 7467600"/>
              <a:gd name="connsiteY856" fmla="*/ 1907790 h 6858000"/>
              <a:gd name="connsiteX857" fmla="*/ 6550221 w 7467600"/>
              <a:gd name="connsiteY857" fmla="*/ 1910729 h 6858000"/>
              <a:gd name="connsiteX858" fmla="*/ 6964438 w 7467600"/>
              <a:gd name="connsiteY858" fmla="*/ 2209505 h 6858000"/>
              <a:gd name="connsiteX859" fmla="*/ 7367862 w 7467600"/>
              <a:gd name="connsiteY859" fmla="*/ 2806833 h 6858000"/>
              <a:gd name="connsiteX860" fmla="*/ 7364329 w 7467600"/>
              <a:gd name="connsiteY860" fmla="*/ 2826907 h 6858000"/>
              <a:gd name="connsiteX861" fmla="*/ 7290545 w 7467600"/>
              <a:gd name="connsiteY861" fmla="*/ 2850663 h 6858000"/>
              <a:gd name="connsiteX862" fmla="*/ 6472036 w 7467600"/>
              <a:gd name="connsiteY862" fmla="*/ 1959003 h 6858000"/>
              <a:gd name="connsiteX863" fmla="*/ 5792897 w 7467600"/>
              <a:gd name="connsiteY863" fmla="*/ 1647747 h 6858000"/>
              <a:gd name="connsiteX864" fmla="*/ 5842751 w 7467600"/>
              <a:gd name="connsiteY864" fmla="*/ 1816112 h 6858000"/>
              <a:gd name="connsiteX865" fmla="*/ 5847424 w 7467600"/>
              <a:gd name="connsiteY865" fmla="*/ 1815776 h 6858000"/>
              <a:gd name="connsiteX866" fmla="*/ 6399821 w 7467600"/>
              <a:gd name="connsiteY866" fmla="*/ 2344799 h 6858000"/>
              <a:gd name="connsiteX867" fmla="*/ 6323232 w 7467600"/>
              <a:gd name="connsiteY867" fmla="*/ 2389634 h 6858000"/>
              <a:gd name="connsiteX868" fmla="*/ 5942958 w 7467600"/>
              <a:gd name="connsiteY868" fmla="*/ 2077708 h 6858000"/>
              <a:gd name="connsiteX869" fmla="*/ 5921559 w 7467600"/>
              <a:gd name="connsiteY869" fmla="*/ 2378596 h 6858000"/>
              <a:gd name="connsiteX870" fmla="*/ 5817651 w 7467600"/>
              <a:gd name="connsiteY870" fmla="*/ 3023919 h 6858000"/>
              <a:gd name="connsiteX871" fmla="*/ 5729634 w 7467600"/>
              <a:gd name="connsiteY871" fmla="*/ 3051849 h 6858000"/>
              <a:gd name="connsiteX872" fmla="*/ 5611018 w 7467600"/>
              <a:gd name="connsiteY872" fmla="*/ 2316769 h 6858000"/>
              <a:gd name="connsiteX873" fmla="*/ 5687608 w 7467600"/>
              <a:gd name="connsiteY873" fmla="*/ 2039972 h 6858000"/>
              <a:gd name="connsiteX874" fmla="*/ 5657554 w 7467600"/>
              <a:gd name="connsiteY874" fmla="*/ 1576445 h 6858000"/>
              <a:gd name="connsiteX875" fmla="*/ 5150475 w 7467600"/>
              <a:gd name="connsiteY875" fmla="*/ 1274012 h 6858000"/>
              <a:gd name="connsiteX876" fmla="*/ 5349142 w 7467600"/>
              <a:gd name="connsiteY876" fmla="*/ 2204405 h 6858000"/>
              <a:gd name="connsiteX877" fmla="*/ 5262214 w 7467600"/>
              <a:gd name="connsiteY877" fmla="*/ 2233836 h 6858000"/>
              <a:gd name="connsiteX878" fmla="*/ 4981539 w 7467600"/>
              <a:gd name="connsiteY878" fmla="*/ 1542201 h 6858000"/>
              <a:gd name="connsiteX879" fmla="*/ 4958461 w 7467600"/>
              <a:gd name="connsiteY879" fmla="*/ 1136957 h 6858000"/>
              <a:gd name="connsiteX880" fmla="*/ 4655015 w 7467600"/>
              <a:gd name="connsiteY880" fmla="*/ 891426 h 6858000"/>
              <a:gd name="connsiteX881" fmla="*/ 4348002 w 7467600"/>
              <a:gd name="connsiteY881" fmla="*/ 2205895 h 6858000"/>
              <a:gd name="connsiteX882" fmla="*/ 4262250 w 7467600"/>
              <a:gd name="connsiteY882" fmla="*/ 2219972 h 6858000"/>
              <a:gd name="connsiteX883" fmla="*/ 4550611 w 7467600"/>
              <a:gd name="connsiteY883" fmla="*/ 817540 h 6858000"/>
              <a:gd name="connsiteX884" fmla="*/ 4564418 w 7467600"/>
              <a:gd name="connsiteY884" fmla="*/ 808293 h 6858000"/>
              <a:gd name="connsiteX885" fmla="*/ 4266388 w 7467600"/>
              <a:gd name="connsiteY885" fmla="*/ 500083 h 6858000"/>
              <a:gd name="connsiteX886" fmla="*/ 4032842 w 7467600"/>
              <a:gd name="connsiteY886" fmla="*/ 211809 h 6858000"/>
              <a:gd name="connsiteX887" fmla="*/ 3882765 w 7467600"/>
              <a:gd name="connsiteY887" fmla="*/ 0 h 6858000"/>
              <a:gd name="connsiteX888" fmla="*/ 3721337 w 7467600"/>
              <a:gd name="connsiteY888" fmla="*/ 0 h 6858000"/>
              <a:gd name="connsiteX889" fmla="*/ 3797544 w 7467600"/>
              <a:gd name="connsiteY889" fmla="*/ 0 h 6858000"/>
              <a:gd name="connsiteX890" fmla="*/ 3775734 w 7467600"/>
              <a:gd name="connsiteY890" fmla="*/ 95131 h 6858000"/>
              <a:gd name="connsiteX891" fmla="*/ 3724807 w 7467600"/>
              <a:gd name="connsiteY891" fmla="*/ 272257 h 6858000"/>
              <a:gd name="connsiteX892" fmla="*/ 3726844 w 7467600"/>
              <a:gd name="connsiteY892" fmla="*/ 282988 h 6858000"/>
              <a:gd name="connsiteX893" fmla="*/ 3742664 w 7467600"/>
              <a:gd name="connsiteY893" fmla="*/ 279918 h 6858000"/>
              <a:gd name="connsiteX894" fmla="*/ 4103910 w 7467600"/>
              <a:gd name="connsiteY894" fmla="*/ 1161917 h 6858000"/>
              <a:gd name="connsiteX895" fmla="*/ 4020269 w 7467600"/>
              <a:gd name="connsiteY895" fmla="*/ 1200406 h 6858000"/>
              <a:gd name="connsiteX896" fmla="*/ 3674882 w 7467600"/>
              <a:gd name="connsiteY896" fmla="*/ 488524 h 6858000"/>
              <a:gd name="connsiteX897" fmla="*/ 3132682 w 7467600"/>
              <a:gd name="connsiteY897" fmla="*/ 1072284 h 6858000"/>
              <a:gd name="connsiteX898" fmla="*/ 2716346 w 7467600"/>
              <a:gd name="connsiteY898" fmla="*/ 1276376 h 6858000"/>
              <a:gd name="connsiteX899" fmla="*/ 2716772 w 7467600"/>
              <a:gd name="connsiteY899" fmla="*/ 1255462 h 6858000"/>
              <a:gd name="connsiteX900" fmla="*/ 3471096 w 7467600"/>
              <a:gd name="connsiteY900" fmla="*/ 437072 h 6858000"/>
              <a:gd name="connsiteX901" fmla="*/ 3639057 w 7467600"/>
              <a:gd name="connsiteY901" fmla="*/ 286334 h 6858000"/>
              <a:gd name="connsiteX902" fmla="*/ 3640309 w 7467600"/>
              <a:gd name="connsiteY902" fmla="*/ 284664 h 6858000"/>
              <a:gd name="connsiteX903" fmla="*/ 3646022 w 7467600"/>
              <a:gd name="connsiteY903" fmla="*/ 276711 h 6858000"/>
              <a:gd name="connsiteX904" fmla="*/ 3707943 w 7467600"/>
              <a:gd name="connsiteY904" fmla="*/ 65958 h 6858000"/>
              <a:gd name="connsiteX905" fmla="*/ 3721337 w 7467600"/>
              <a:gd name="connsiteY905" fmla="*/ 0 h 6858000"/>
              <a:gd name="connsiteX906" fmla="*/ 2867960 w 7467600"/>
              <a:gd name="connsiteY906" fmla="*/ 0 h 6858000"/>
              <a:gd name="connsiteX907" fmla="*/ 2926351 w 7467600"/>
              <a:gd name="connsiteY907" fmla="*/ 0 h 6858000"/>
              <a:gd name="connsiteX908" fmla="*/ 2902823 w 7467600"/>
              <a:gd name="connsiteY908" fmla="*/ 262929 h 6858000"/>
              <a:gd name="connsiteX909" fmla="*/ 2940663 w 7467600"/>
              <a:gd name="connsiteY909" fmla="*/ 140884 h 6858000"/>
              <a:gd name="connsiteX910" fmla="*/ 2947039 w 7467600"/>
              <a:gd name="connsiteY910" fmla="*/ 122524 h 6858000"/>
              <a:gd name="connsiteX911" fmla="*/ 2984316 w 7467600"/>
              <a:gd name="connsiteY911" fmla="*/ 0 h 6858000"/>
              <a:gd name="connsiteX912" fmla="*/ 3016114 w 7467600"/>
              <a:gd name="connsiteY912" fmla="*/ 0 h 6858000"/>
              <a:gd name="connsiteX913" fmla="*/ 2979949 w 7467600"/>
              <a:gd name="connsiteY913" fmla="*/ 119274 h 6858000"/>
              <a:gd name="connsiteX914" fmla="*/ 3023879 w 7467600"/>
              <a:gd name="connsiteY914" fmla="*/ 0 h 6858000"/>
              <a:gd name="connsiteX915" fmla="*/ 3105400 w 7467600"/>
              <a:gd name="connsiteY915" fmla="*/ 0 h 6858000"/>
              <a:gd name="connsiteX916" fmla="*/ 3094669 w 7467600"/>
              <a:gd name="connsiteY916" fmla="*/ 30308 h 6858000"/>
              <a:gd name="connsiteX917" fmla="*/ 2901945 w 7467600"/>
              <a:gd name="connsiteY917" fmla="*/ 466538 h 6858000"/>
              <a:gd name="connsiteX918" fmla="*/ 2815209 w 7467600"/>
              <a:gd name="connsiteY918" fmla="*/ 497361 h 6858000"/>
              <a:gd name="connsiteX919" fmla="*/ 2844845 w 7467600"/>
              <a:gd name="connsiteY919" fmla="*/ 127638 h 6858000"/>
              <a:gd name="connsiteX920" fmla="*/ 2867960 w 7467600"/>
              <a:gd name="connsiteY920" fmla="*/ 0 h 6858000"/>
              <a:gd name="connsiteX921" fmla="*/ 1057230 w 7467600"/>
              <a:gd name="connsiteY921" fmla="*/ 0 h 6858000"/>
              <a:gd name="connsiteX922" fmla="*/ 1111003 w 7467600"/>
              <a:gd name="connsiteY922" fmla="*/ 0 h 6858000"/>
              <a:gd name="connsiteX923" fmla="*/ 1125553 w 7467600"/>
              <a:gd name="connsiteY923" fmla="*/ 52588 h 6858000"/>
              <a:gd name="connsiteX924" fmla="*/ 1304276 w 7467600"/>
              <a:gd name="connsiteY924" fmla="*/ 476275 h 6858000"/>
              <a:gd name="connsiteX925" fmla="*/ 1492066 w 7467600"/>
              <a:gd name="connsiteY925" fmla="*/ 886333 h 6858000"/>
              <a:gd name="connsiteX926" fmla="*/ 1423698 w 7467600"/>
              <a:gd name="connsiteY926" fmla="*/ 710817 h 6858000"/>
              <a:gd name="connsiteX927" fmla="*/ 1357609 w 7467600"/>
              <a:gd name="connsiteY927" fmla="*/ 532892 h 6858000"/>
              <a:gd name="connsiteX928" fmla="*/ 1309550 w 7467600"/>
              <a:gd name="connsiteY928" fmla="*/ 374031 h 6858000"/>
              <a:gd name="connsiteX929" fmla="*/ 1193673 w 7467600"/>
              <a:gd name="connsiteY929" fmla="*/ 49533 h 6858000"/>
              <a:gd name="connsiteX930" fmla="*/ 1164391 w 7467600"/>
              <a:gd name="connsiteY930" fmla="*/ 0 h 6858000"/>
              <a:gd name="connsiteX931" fmla="*/ 1200666 w 7467600"/>
              <a:gd name="connsiteY931" fmla="*/ 0 h 6858000"/>
              <a:gd name="connsiteX932" fmla="*/ 1223408 w 7467600"/>
              <a:gd name="connsiteY932" fmla="*/ 38996 h 6858000"/>
              <a:gd name="connsiteX933" fmla="*/ 1339635 w 7467600"/>
              <a:gd name="connsiteY933" fmla="*/ 365517 h 6858000"/>
              <a:gd name="connsiteX934" fmla="*/ 1387469 w 7467600"/>
              <a:gd name="connsiteY934" fmla="*/ 523079 h 6858000"/>
              <a:gd name="connsiteX935" fmla="*/ 1452685 w 7467600"/>
              <a:gd name="connsiteY935" fmla="*/ 699806 h 6858000"/>
              <a:gd name="connsiteX936" fmla="*/ 1492092 w 7467600"/>
              <a:gd name="connsiteY936" fmla="*/ 800424 h 6858000"/>
              <a:gd name="connsiteX937" fmla="*/ 1455302 w 7467600"/>
              <a:gd name="connsiteY937" fmla="*/ 632913 h 6858000"/>
              <a:gd name="connsiteX938" fmla="*/ 1222336 w 7467600"/>
              <a:gd name="connsiteY938" fmla="*/ 9480 h 6858000"/>
              <a:gd name="connsiteX939" fmla="*/ 1214634 w 7467600"/>
              <a:gd name="connsiteY939" fmla="*/ 0 h 6858000"/>
              <a:gd name="connsiteX940" fmla="*/ 1289827 w 7467600"/>
              <a:gd name="connsiteY940" fmla="*/ 0 h 6858000"/>
              <a:gd name="connsiteX941" fmla="*/ 1321076 w 7467600"/>
              <a:gd name="connsiteY941" fmla="*/ 59722 h 6858000"/>
              <a:gd name="connsiteX942" fmla="*/ 1512579 w 7467600"/>
              <a:gd name="connsiteY942" fmla="*/ 626441 h 6858000"/>
              <a:gd name="connsiteX943" fmla="*/ 1506076 w 7467600"/>
              <a:gd name="connsiteY943" fmla="*/ 1089289 h 6858000"/>
              <a:gd name="connsiteX944" fmla="*/ 1486346 w 7467600"/>
              <a:gd name="connsiteY944" fmla="*/ 1079919 h 6858000"/>
              <a:gd name="connsiteX945" fmla="*/ 1070511 w 7467600"/>
              <a:gd name="connsiteY945" fmla="*/ 48609 h 6858000"/>
              <a:gd name="connsiteX946" fmla="*/ 1057230 w 7467600"/>
              <a:gd name="connsiteY946" fmla="*/ 0 h 6858000"/>
              <a:gd name="connsiteX947" fmla="*/ 43151 w 7467600"/>
              <a:gd name="connsiteY947" fmla="*/ 0 h 6858000"/>
              <a:gd name="connsiteX948" fmla="*/ 95283 w 7467600"/>
              <a:gd name="connsiteY948" fmla="*/ 0 h 6858000"/>
              <a:gd name="connsiteX949" fmla="*/ 300708 w 7467600"/>
              <a:gd name="connsiteY949" fmla="*/ 154571 h 6858000"/>
              <a:gd name="connsiteX950" fmla="*/ 530414 w 7467600"/>
              <a:gd name="connsiteY950" fmla="*/ 354673 h 6858000"/>
              <a:gd name="connsiteX951" fmla="*/ 333785 w 7467600"/>
              <a:gd name="connsiteY951" fmla="*/ 161564 h 6858000"/>
              <a:gd name="connsiteX952" fmla="*/ 147005 w 7467600"/>
              <a:gd name="connsiteY952" fmla="*/ 0 h 6858000"/>
              <a:gd name="connsiteX953" fmla="*/ 272509 w 7467600"/>
              <a:gd name="connsiteY953" fmla="*/ 0 h 6858000"/>
              <a:gd name="connsiteX954" fmla="*/ 326276 w 7467600"/>
              <a:gd name="connsiteY954" fmla="*/ 45847 h 6858000"/>
              <a:gd name="connsiteX955" fmla="*/ 823759 w 7467600"/>
              <a:gd name="connsiteY955" fmla="*/ 574145 h 6858000"/>
              <a:gd name="connsiteX956" fmla="*/ 811254 w 7467600"/>
              <a:gd name="connsiteY956" fmla="*/ 665546 h 6858000"/>
              <a:gd name="connsiteX957" fmla="*/ 154042 w 7467600"/>
              <a:gd name="connsiteY957" fmla="*/ 261522 h 6858000"/>
              <a:gd name="connsiteX958" fmla="*/ 13550 w 7467600"/>
              <a:gd name="connsiteY958" fmla="*/ 158423 h 6858000"/>
              <a:gd name="connsiteX959" fmla="*/ 0 w 7467600"/>
              <a:gd name="connsiteY959" fmla="*/ 146618 h 6858000"/>
              <a:gd name="connsiteX960" fmla="*/ 0 w 7467600"/>
              <a:gd name="connsiteY960" fmla="*/ 59161 h 6858000"/>
              <a:gd name="connsiteX961" fmla="*/ 45427 w 7467600"/>
              <a:gd name="connsiteY961" fmla="*/ 101078 h 6858000"/>
              <a:gd name="connsiteX962" fmla="*/ 630103 w 7467600"/>
              <a:gd name="connsiteY962" fmla="*/ 485885 h 6858000"/>
              <a:gd name="connsiteX963" fmla="*/ 532040 w 7467600"/>
              <a:gd name="connsiteY963" fmla="*/ 399359 h 6858000"/>
              <a:gd name="connsiteX964" fmla="*/ 517618 w 7467600"/>
              <a:gd name="connsiteY964" fmla="*/ 385726 h 6858000"/>
              <a:gd name="connsiteX965" fmla="*/ 285074 w 7467600"/>
              <a:gd name="connsiteY965" fmla="*/ 182755 h 6858000"/>
              <a:gd name="connsiteX966" fmla="*/ 43151 w 7467600"/>
              <a:gd name="connsiteY966"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7454976 w 7467600"/>
              <a:gd name="connsiteY74" fmla="*/ 6318297 h 6858000"/>
              <a:gd name="connsiteX75" fmla="*/ 7379510 w 7467600"/>
              <a:gd name="connsiteY75" fmla="*/ 5755454 h 6858000"/>
              <a:gd name="connsiteX76" fmla="*/ 7467600 w 7467600"/>
              <a:gd name="connsiteY76" fmla="*/ 6012219 h 6858000"/>
              <a:gd name="connsiteX77" fmla="*/ 7356878 w 7467600"/>
              <a:gd name="connsiteY77" fmla="*/ 5981332 h 6858000"/>
              <a:gd name="connsiteX78" fmla="*/ 7467600 w 7467600"/>
              <a:gd name="connsiteY78" fmla="*/ 6117703 h 6858000"/>
              <a:gd name="connsiteX79" fmla="*/ 7467600 w 7467600"/>
              <a:gd name="connsiteY79" fmla="*/ 6163634 h 6858000"/>
              <a:gd name="connsiteX80" fmla="*/ 7403637 w 7467600"/>
              <a:gd name="connsiteY80" fmla="*/ 6083957 h 6858000"/>
              <a:gd name="connsiteX81" fmla="*/ 7254615 w 7467600"/>
              <a:gd name="connsiteY81" fmla="*/ 5911918 h 6858000"/>
              <a:gd name="connsiteX82" fmla="*/ 7312589 w 7467600"/>
              <a:gd name="connsiteY82" fmla="*/ 5982309 h 6858000"/>
              <a:gd name="connsiteX83" fmla="*/ 7448321 w 7467600"/>
              <a:gd name="connsiteY83" fmla="*/ 6190991 h 6858000"/>
              <a:gd name="connsiteX84" fmla="*/ 7467600 w 7467600"/>
              <a:gd name="connsiteY84" fmla="*/ 6221686 h 6858000"/>
              <a:gd name="connsiteX85" fmla="*/ 7467600 w 7467600"/>
              <a:gd name="connsiteY85" fmla="*/ 6334256 h 6858000"/>
              <a:gd name="connsiteX86" fmla="*/ 7454976 w 7467600"/>
              <a:gd name="connsiteY86" fmla="*/ 6318297 h 6858000"/>
              <a:gd name="connsiteX87" fmla="*/ 1456157 w 7467600"/>
              <a:gd name="connsiteY87" fmla="*/ 5371404 h 6858000"/>
              <a:gd name="connsiteX88" fmla="*/ 1244432 w 7467600"/>
              <a:gd name="connsiteY88" fmla="*/ 5385601 h 6858000"/>
              <a:gd name="connsiteX89" fmla="*/ 973990 w 7467600"/>
              <a:gd name="connsiteY89" fmla="*/ 5424940 h 6858000"/>
              <a:gd name="connsiteX90" fmla="*/ 1103809 w 7467600"/>
              <a:gd name="connsiteY90" fmla="*/ 5433720 h 6858000"/>
              <a:gd name="connsiteX91" fmla="*/ 1123454 w 7467600"/>
              <a:gd name="connsiteY91" fmla="*/ 5435727 h 6858000"/>
              <a:gd name="connsiteX92" fmla="*/ 1737017 w 7467600"/>
              <a:gd name="connsiteY92" fmla="*/ 5452183 h 6858000"/>
              <a:gd name="connsiteX93" fmla="*/ 1824397 w 7467600"/>
              <a:gd name="connsiteY93" fmla="*/ 5447757 h 6858000"/>
              <a:gd name="connsiteX94" fmla="*/ 2070059 w 7467600"/>
              <a:gd name="connsiteY94" fmla="*/ 5441660 h 6858000"/>
              <a:gd name="connsiteX95" fmla="*/ 1456157 w 7467600"/>
              <a:gd name="connsiteY95" fmla="*/ 5371404 h 6858000"/>
              <a:gd name="connsiteX96" fmla="*/ 4988186 w 7467600"/>
              <a:gd name="connsiteY96" fmla="*/ 5216467 h 6858000"/>
              <a:gd name="connsiteX97" fmla="*/ 4777334 w 7467600"/>
              <a:gd name="connsiteY97" fmla="*/ 5406072 h 6858000"/>
              <a:gd name="connsiteX98" fmla="*/ 4718341 w 7467600"/>
              <a:gd name="connsiteY98" fmla="*/ 5468043 h 6858000"/>
              <a:gd name="connsiteX99" fmla="*/ 4604655 w 7467600"/>
              <a:gd name="connsiteY99" fmla="*/ 5583434 h 6858000"/>
              <a:gd name="connsiteX100" fmla="*/ 4565074 w 7467600"/>
              <a:gd name="connsiteY100" fmla="*/ 5618550 h 6858000"/>
              <a:gd name="connsiteX101" fmla="*/ 4988186 w 7467600"/>
              <a:gd name="connsiteY101" fmla="*/ 5216467 h 6858000"/>
              <a:gd name="connsiteX102" fmla="*/ 4978032 w 7467600"/>
              <a:gd name="connsiteY102" fmla="*/ 5183809 h 6858000"/>
              <a:gd name="connsiteX103" fmla="*/ 4463413 w 7467600"/>
              <a:gd name="connsiteY103" fmla="*/ 5615162 h 6858000"/>
              <a:gd name="connsiteX104" fmla="*/ 4358134 w 7467600"/>
              <a:gd name="connsiteY104" fmla="*/ 5742791 h 6858000"/>
              <a:gd name="connsiteX105" fmla="*/ 4376219 w 7467600"/>
              <a:gd name="connsiteY105" fmla="*/ 5729027 h 6858000"/>
              <a:gd name="connsiteX106" fmla="*/ 4582340 w 7467600"/>
              <a:gd name="connsiteY106" fmla="*/ 5561037 h 6858000"/>
              <a:gd name="connsiteX107" fmla="*/ 4694684 w 7467600"/>
              <a:gd name="connsiteY107" fmla="*/ 5447098 h 6858000"/>
              <a:gd name="connsiteX108" fmla="*/ 4754123 w 7467600"/>
              <a:gd name="connsiteY108" fmla="*/ 5384643 h 6858000"/>
              <a:gd name="connsiteX109" fmla="*/ 4978032 w 7467600"/>
              <a:gd name="connsiteY109" fmla="*/ 5183809 h 6858000"/>
              <a:gd name="connsiteX110" fmla="*/ 1903353 w 7467600"/>
              <a:gd name="connsiteY110" fmla="*/ 5044827 h 6858000"/>
              <a:gd name="connsiteX111" fmla="*/ 1936931 w 7467600"/>
              <a:gd name="connsiteY111" fmla="*/ 5093954 h 6858000"/>
              <a:gd name="connsiteX112" fmla="*/ 2195868 w 7467600"/>
              <a:gd name="connsiteY112" fmla="*/ 5396574 h 6858000"/>
              <a:gd name="connsiteX113" fmla="*/ 2088852 w 7467600"/>
              <a:gd name="connsiteY113" fmla="*/ 5166123 h 6858000"/>
              <a:gd name="connsiteX114" fmla="*/ 1958241 w 7467600"/>
              <a:gd name="connsiteY114" fmla="*/ 5067955 h 6858000"/>
              <a:gd name="connsiteX115" fmla="*/ 1903353 w 7467600"/>
              <a:gd name="connsiteY115" fmla="*/ 5044827 h 6858000"/>
              <a:gd name="connsiteX116" fmla="*/ 1979378 w 7467600"/>
              <a:gd name="connsiteY116" fmla="*/ 4769504 h 6858000"/>
              <a:gd name="connsiteX117" fmla="*/ 2882120 w 7467600"/>
              <a:gd name="connsiteY117" fmla="*/ 5064547 h 6858000"/>
              <a:gd name="connsiteX118" fmla="*/ 2793103 w 7467600"/>
              <a:gd name="connsiteY118" fmla="*/ 5039699 h 6858000"/>
              <a:gd name="connsiteX119" fmla="*/ 2770041 w 7467600"/>
              <a:gd name="connsiteY119" fmla="*/ 5033634 h 6858000"/>
              <a:gd name="connsiteX120" fmla="*/ 1979378 w 7467600"/>
              <a:gd name="connsiteY120" fmla="*/ 4769504 h 6858000"/>
              <a:gd name="connsiteX121" fmla="*/ 1927410 w 7467600"/>
              <a:gd name="connsiteY121" fmla="*/ 4716164 h 6858000"/>
              <a:gd name="connsiteX122" fmla="*/ 1959587 w 7467600"/>
              <a:gd name="connsiteY122" fmla="*/ 4728849 h 6858000"/>
              <a:gd name="connsiteX123" fmla="*/ 2777707 w 7467600"/>
              <a:gd name="connsiteY123" fmla="*/ 5003991 h 6858000"/>
              <a:gd name="connsiteX124" fmla="*/ 2800768 w 7467600"/>
              <a:gd name="connsiteY124" fmla="*/ 5010056 h 6858000"/>
              <a:gd name="connsiteX125" fmla="*/ 2879408 w 7467600"/>
              <a:gd name="connsiteY125" fmla="*/ 5031590 h 6858000"/>
              <a:gd name="connsiteX126" fmla="*/ 2862295 w 7467600"/>
              <a:gd name="connsiteY126" fmla="*/ 5022958 h 6858000"/>
              <a:gd name="connsiteX127" fmla="*/ 2813343 w 7467600"/>
              <a:gd name="connsiteY127" fmla="*/ 4998369 h 6858000"/>
              <a:gd name="connsiteX128" fmla="*/ 2646245 w 7467600"/>
              <a:gd name="connsiteY128" fmla="*/ 4930999 h 6858000"/>
              <a:gd name="connsiteX129" fmla="*/ 1999243 w 7467600"/>
              <a:gd name="connsiteY129" fmla="*/ 4730524 h 6858000"/>
              <a:gd name="connsiteX130" fmla="*/ 1979527 w 7467600"/>
              <a:gd name="connsiteY130" fmla="*/ 4726651 h 6858000"/>
              <a:gd name="connsiteX131" fmla="*/ 1927410 w 7467600"/>
              <a:gd name="connsiteY131" fmla="*/ 4716164 h 6858000"/>
              <a:gd name="connsiteX132" fmla="*/ 1997014 w 7467600"/>
              <a:gd name="connsiteY132" fmla="*/ 4698007 h 6858000"/>
              <a:gd name="connsiteX133" fmla="*/ 2005458 w 7467600"/>
              <a:gd name="connsiteY133" fmla="*/ 4699540 h 6858000"/>
              <a:gd name="connsiteX134" fmla="*/ 2657186 w 7467600"/>
              <a:gd name="connsiteY134" fmla="*/ 4901687 h 6858000"/>
              <a:gd name="connsiteX135" fmla="*/ 2826662 w 7467600"/>
              <a:gd name="connsiteY135" fmla="*/ 4970362 h 6858000"/>
              <a:gd name="connsiteX136" fmla="*/ 2876100 w 7467600"/>
              <a:gd name="connsiteY136" fmla="*/ 4995397 h 6858000"/>
              <a:gd name="connsiteX137" fmla="*/ 3042600 w 7467600"/>
              <a:gd name="connsiteY137" fmla="*/ 5059532 h 6858000"/>
              <a:gd name="connsiteX138" fmla="*/ 1997014 w 7467600"/>
              <a:gd name="connsiteY138" fmla="*/ 4698007 h 6858000"/>
              <a:gd name="connsiteX139" fmla="*/ 2305292 w 7467600"/>
              <a:gd name="connsiteY139" fmla="*/ 4219492 h 6858000"/>
              <a:gd name="connsiteX140" fmla="*/ 3360922 w 7467600"/>
              <a:gd name="connsiteY140" fmla="*/ 4529373 h 6858000"/>
              <a:gd name="connsiteX141" fmla="*/ 3492420 w 7467600"/>
              <a:gd name="connsiteY141" fmla="*/ 4510145 h 6858000"/>
              <a:gd name="connsiteX142" fmla="*/ 3364086 w 7467600"/>
              <a:gd name="connsiteY142" fmla="*/ 4480340 h 6858000"/>
              <a:gd name="connsiteX143" fmla="*/ 3225818 w 7467600"/>
              <a:gd name="connsiteY143" fmla="*/ 4411822 h 6858000"/>
              <a:gd name="connsiteX144" fmla="*/ 3129696 w 7467600"/>
              <a:gd name="connsiteY144" fmla="*/ 4360704 h 6858000"/>
              <a:gd name="connsiteX145" fmla="*/ 2814545 w 7467600"/>
              <a:gd name="connsiteY145" fmla="*/ 4282955 h 6858000"/>
              <a:gd name="connsiteX146" fmla="*/ 2305292 w 7467600"/>
              <a:gd name="connsiteY146" fmla="*/ 4219492 h 6858000"/>
              <a:gd name="connsiteX147" fmla="*/ 2626982 w 7467600"/>
              <a:gd name="connsiteY147" fmla="*/ 4206450 h 6858000"/>
              <a:gd name="connsiteX148" fmla="*/ 2490617 w 7467600"/>
              <a:gd name="connsiteY148" fmla="*/ 4206951 h 6858000"/>
              <a:gd name="connsiteX149" fmla="*/ 2819869 w 7467600"/>
              <a:gd name="connsiteY149" fmla="*/ 4252936 h 6858000"/>
              <a:gd name="connsiteX150" fmla="*/ 3143018 w 7467600"/>
              <a:gd name="connsiteY150" fmla="*/ 4332698 h 6858000"/>
              <a:gd name="connsiteX151" fmla="*/ 3241520 w 7467600"/>
              <a:gd name="connsiteY151" fmla="*/ 4385112 h 6858000"/>
              <a:gd name="connsiteX152" fmla="*/ 3374575 w 7467600"/>
              <a:gd name="connsiteY152" fmla="*/ 4451517 h 6858000"/>
              <a:gd name="connsiteX153" fmla="*/ 3505221 w 7467600"/>
              <a:gd name="connsiteY153" fmla="*/ 4480757 h 6858000"/>
              <a:gd name="connsiteX154" fmla="*/ 2626982 w 7467600"/>
              <a:gd name="connsiteY154" fmla="*/ 4206450 h 6858000"/>
              <a:gd name="connsiteX155" fmla="*/ 1310106 w 7467600"/>
              <a:gd name="connsiteY155" fmla="*/ 3943217 h 6858000"/>
              <a:gd name="connsiteX156" fmla="*/ 854994 w 7467600"/>
              <a:gd name="connsiteY156" fmla="*/ 4399136 h 6858000"/>
              <a:gd name="connsiteX157" fmla="*/ 742462 w 7467600"/>
              <a:gd name="connsiteY157" fmla="*/ 4594648 h 6858000"/>
              <a:gd name="connsiteX158" fmla="*/ 820602 w 7467600"/>
              <a:gd name="connsiteY158" fmla="*/ 4485915 h 6858000"/>
              <a:gd name="connsiteX159" fmla="*/ 878295 w 7467600"/>
              <a:gd name="connsiteY159" fmla="*/ 4403594 h 6858000"/>
              <a:gd name="connsiteX160" fmla="*/ 1240607 w 7467600"/>
              <a:gd name="connsiteY160" fmla="*/ 4010401 h 6858000"/>
              <a:gd name="connsiteX161" fmla="*/ 1310106 w 7467600"/>
              <a:gd name="connsiteY161" fmla="*/ 3943217 h 6858000"/>
              <a:gd name="connsiteX162" fmla="*/ 1423113 w 7467600"/>
              <a:gd name="connsiteY162" fmla="*/ 3874565 h 6858000"/>
              <a:gd name="connsiteX163" fmla="*/ 1260565 w 7467600"/>
              <a:gd name="connsiteY163" fmla="*/ 4031982 h 6858000"/>
              <a:gd name="connsiteX164" fmla="*/ 901900 w 7467600"/>
              <a:gd name="connsiteY164" fmla="*/ 4421236 h 6858000"/>
              <a:gd name="connsiteX165" fmla="*/ 845044 w 7467600"/>
              <a:gd name="connsiteY165" fmla="*/ 4502436 h 6858000"/>
              <a:gd name="connsiteX166" fmla="*/ 685926 w 7467600"/>
              <a:gd name="connsiteY166" fmla="*/ 4703069 h 6858000"/>
              <a:gd name="connsiteX167" fmla="*/ 684248 w 7467600"/>
              <a:gd name="connsiteY167" fmla="*/ 4706721 h 6858000"/>
              <a:gd name="connsiteX168" fmla="*/ 1423113 w 7467600"/>
              <a:gd name="connsiteY168" fmla="*/ 3874565 h 6858000"/>
              <a:gd name="connsiteX169" fmla="*/ 3316479 w 7467600"/>
              <a:gd name="connsiteY169" fmla="*/ 3872136 h 6858000"/>
              <a:gd name="connsiteX170" fmla="*/ 3546806 w 7467600"/>
              <a:gd name="connsiteY170" fmla="*/ 4356139 h 6858000"/>
              <a:gd name="connsiteX171" fmla="*/ 3364433 w 7467600"/>
              <a:gd name="connsiteY171" fmla="*/ 3953121 h 6858000"/>
              <a:gd name="connsiteX172" fmla="*/ 3316479 w 7467600"/>
              <a:gd name="connsiteY172" fmla="*/ 3872136 h 6858000"/>
              <a:gd name="connsiteX173" fmla="*/ 3291335 w 7467600"/>
              <a:gd name="connsiteY173" fmla="*/ 3767420 h 6858000"/>
              <a:gd name="connsiteX174" fmla="*/ 3390805 w 7467600"/>
              <a:gd name="connsiteY174" fmla="*/ 3937163 h 6858000"/>
              <a:gd name="connsiteX175" fmla="*/ 3579062 w 7467600"/>
              <a:gd name="connsiteY175" fmla="*/ 4359040 h 6858000"/>
              <a:gd name="connsiteX176" fmla="*/ 3467355 w 7467600"/>
              <a:gd name="connsiteY176" fmla="*/ 3988130 h 6858000"/>
              <a:gd name="connsiteX177" fmla="*/ 3310753 w 7467600"/>
              <a:gd name="connsiteY177" fmla="*/ 3787140 h 6858000"/>
              <a:gd name="connsiteX178" fmla="*/ 3291335 w 7467600"/>
              <a:gd name="connsiteY178" fmla="*/ 3767420 h 6858000"/>
              <a:gd name="connsiteX179" fmla="*/ 1635889 w 7467600"/>
              <a:gd name="connsiteY179" fmla="*/ 3709494 h 6858000"/>
              <a:gd name="connsiteX180" fmla="*/ 1634800 w 7467600"/>
              <a:gd name="connsiteY180" fmla="*/ 3731111 h 6858000"/>
              <a:gd name="connsiteX181" fmla="*/ 1635889 w 7467600"/>
              <a:gd name="connsiteY181" fmla="*/ 3709494 h 6858000"/>
              <a:gd name="connsiteX182" fmla="*/ 1510397 w 7467600"/>
              <a:gd name="connsiteY182" fmla="*/ 3684705 h 6858000"/>
              <a:gd name="connsiteX183" fmla="*/ 1146550 w 7467600"/>
              <a:gd name="connsiteY183" fmla="*/ 3802012 h 6858000"/>
              <a:gd name="connsiteX184" fmla="*/ 698834 w 7467600"/>
              <a:gd name="connsiteY184" fmla="*/ 3952272 h 6858000"/>
              <a:gd name="connsiteX185" fmla="*/ 34256 w 7467600"/>
              <a:gd name="connsiteY185" fmla="*/ 4347603 h 6858000"/>
              <a:gd name="connsiteX186" fmla="*/ 527241 w 7467600"/>
              <a:gd name="connsiteY186" fmla="*/ 4065078 h 6858000"/>
              <a:gd name="connsiteX187" fmla="*/ 1510397 w 7467600"/>
              <a:gd name="connsiteY187" fmla="*/ 3684705 h 6858000"/>
              <a:gd name="connsiteX188" fmla="*/ 1313114 w 7467600"/>
              <a:gd name="connsiteY188" fmla="*/ 3655216 h 6858000"/>
              <a:gd name="connsiteX189" fmla="*/ 1109304 w 7467600"/>
              <a:gd name="connsiteY189" fmla="*/ 3669030 h 6858000"/>
              <a:gd name="connsiteX190" fmla="*/ 8129 w 7467600"/>
              <a:gd name="connsiteY190" fmla="*/ 4330519 h 6858000"/>
              <a:gd name="connsiteX191" fmla="*/ 687572 w 7467600"/>
              <a:gd name="connsiteY191" fmla="*/ 3925629 h 6858000"/>
              <a:gd name="connsiteX192" fmla="*/ 1138365 w 7467600"/>
              <a:gd name="connsiteY192" fmla="*/ 3774515 h 6858000"/>
              <a:gd name="connsiteX193" fmla="*/ 1505579 w 7467600"/>
              <a:gd name="connsiteY193" fmla="*/ 3655526 h 6858000"/>
              <a:gd name="connsiteX194" fmla="*/ 1313114 w 7467600"/>
              <a:gd name="connsiteY194" fmla="*/ 3655216 h 6858000"/>
              <a:gd name="connsiteX195" fmla="*/ 3655073 w 7467600"/>
              <a:gd name="connsiteY195" fmla="*/ 3650884 h 6858000"/>
              <a:gd name="connsiteX196" fmla="*/ 3989938 w 7467600"/>
              <a:gd name="connsiteY196" fmla="*/ 3991685 h 6858000"/>
              <a:gd name="connsiteX197" fmla="*/ 4393907 w 7467600"/>
              <a:gd name="connsiteY197" fmla="*/ 4261258 h 6858000"/>
              <a:gd name="connsiteX198" fmla="*/ 4648051 w 7467600"/>
              <a:gd name="connsiteY198" fmla="*/ 4374051 h 6858000"/>
              <a:gd name="connsiteX199" fmla="*/ 4383389 w 7467600"/>
              <a:gd name="connsiteY199" fmla="*/ 4184369 h 6858000"/>
              <a:gd name="connsiteX200" fmla="*/ 4165508 w 7467600"/>
              <a:gd name="connsiteY200" fmla="*/ 4035196 h 6858000"/>
              <a:gd name="connsiteX201" fmla="*/ 4068162 w 7467600"/>
              <a:gd name="connsiteY201" fmla="*/ 3953394 h 6858000"/>
              <a:gd name="connsiteX202" fmla="*/ 3981416 w 7467600"/>
              <a:gd name="connsiteY202" fmla="*/ 3880482 h 6858000"/>
              <a:gd name="connsiteX203" fmla="*/ 3800147 w 7467600"/>
              <a:gd name="connsiteY203" fmla="*/ 3749872 h 6858000"/>
              <a:gd name="connsiteX204" fmla="*/ 3655073 w 7467600"/>
              <a:gd name="connsiteY204" fmla="*/ 3650884 h 6858000"/>
              <a:gd name="connsiteX205" fmla="*/ 3670252 w 7467600"/>
              <a:gd name="connsiteY205" fmla="*/ 3622798 h 6858000"/>
              <a:gd name="connsiteX206" fmla="*/ 3817258 w 7467600"/>
              <a:gd name="connsiteY206" fmla="*/ 3723577 h 6858000"/>
              <a:gd name="connsiteX207" fmla="*/ 4000461 w 7467600"/>
              <a:gd name="connsiteY207" fmla="*/ 3855966 h 6858000"/>
              <a:gd name="connsiteX208" fmla="*/ 4088180 w 7467600"/>
              <a:gd name="connsiteY208" fmla="*/ 3929774 h 6858000"/>
              <a:gd name="connsiteX209" fmla="*/ 4184555 w 7467600"/>
              <a:gd name="connsiteY209" fmla="*/ 4010683 h 6858000"/>
              <a:gd name="connsiteX210" fmla="*/ 4399563 w 7467600"/>
              <a:gd name="connsiteY210" fmla="*/ 4158106 h 6858000"/>
              <a:gd name="connsiteX211" fmla="*/ 4684469 w 7467600"/>
              <a:gd name="connsiteY211" fmla="*/ 4364680 h 6858000"/>
              <a:gd name="connsiteX212" fmla="*/ 4690271 w 7467600"/>
              <a:gd name="connsiteY212" fmla="*/ 4370034 h 6858000"/>
              <a:gd name="connsiteX213" fmla="*/ 4136093 w 7467600"/>
              <a:gd name="connsiteY213" fmla="*/ 3858466 h 6858000"/>
              <a:gd name="connsiteX214" fmla="*/ 3670252 w 7467600"/>
              <a:gd name="connsiteY214" fmla="*/ 3622798 h 6858000"/>
              <a:gd name="connsiteX215" fmla="*/ 4440129 w 7467600"/>
              <a:gd name="connsiteY215" fmla="*/ 3448571 h 6858000"/>
              <a:gd name="connsiteX216" fmla="*/ 4856525 w 7467600"/>
              <a:gd name="connsiteY216" fmla="*/ 3915351 h 6858000"/>
              <a:gd name="connsiteX217" fmla="*/ 5059055 w 7467600"/>
              <a:gd name="connsiteY217" fmla="*/ 4108918 h 6858000"/>
              <a:gd name="connsiteX218" fmla="*/ 5290070 w 7467600"/>
              <a:gd name="connsiteY218" fmla="*/ 4263619 h 6858000"/>
              <a:gd name="connsiteX219" fmla="*/ 4834991 w 7467600"/>
              <a:gd name="connsiteY219" fmla="*/ 3830985 h 6858000"/>
              <a:gd name="connsiteX220" fmla="*/ 4440129 w 7467600"/>
              <a:gd name="connsiteY220" fmla="*/ 3448571 h 6858000"/>
              <a:gd name="connsiteX221" fmla="*/ 4441737 w 7467600"/>
              <a:gd name="connsiteY221" fmla="*/ 3399734 h 6858000"/>
              <a:gd name="connsiteX222" fmla="*/ 4431236 w 7467600"/>
              <a:gd name="connsiteY222" fmla="*/ 3400954 h 6858000"/>
              <a:gd name="connsiteX223" fmla="*/ 4557150 w 7467600"/>
              <a:gd name="connsiteY223" fmla="*/ 3510023 h 6858000"/>
              <a:gd name="connsiteX224" fmla="*/ 4856936 w 7467600"/>
              <a:gd name="connsiteY224" fmla="*/ 3809146 h 6858000"/>
              <a:gd name="connsiteX225" fmla="*/ 5111996 w 7467600"/>
              <a:gd name="connsiteY225" fmla="*/ 4065759 h 6858000"/>
              <a:gd name="connsiteX226" fmla="*/ 5388878 w 7467600"/>
              <a:gd name="connsiteY226" fmla="*/ 4300185 h 6858000"/>
              <a:gd name="connsiteX227" fmla="*/ 5425556 w 7467600"/>
              <a:gd name="connsiteY227" fmla="*/ 4308967 h 6858000"/>
              <a:gd name="connsiteX228" fmla="*/ 4943646 w 7467600"/>
              <a:gd name="connsiteY228" fmla="*/ 3822916 h 6858000"/>
              <a:gd name="connsiteX229" fmla="*/ 4594837 w 7467600"/>
              <a:gd name="connsiteY229" fmla="*/ 3532274 h 6858000"/>
              <a:gd name="connsiteX230" fmla="*/ 4441737 w 7467600"/>
              <a:gd name="connsiteY230" fmla="*/ 3399734 h 6858000"/>
              <a:gd name="connsiteX231" fmla="*/ 5425834 w 7467600"/>
              <a:gd name="connsiteY231" fmla="*/ 3162785 h 6858000"/>
              <a:gd name="connsiteX232" fmla="*/ 5401644 w 7467600"/>
              <a:gd name="connsiteY232" fmla="*/ 3617847 h 6858000"/>
              <a:gd name="connsiteX233" fmla="*/ 5467256 w 7467600"/>
              <a:gd name="connsiteY233" fmla="*/ 4175494 h 6858000"/>
              <a:gd name="connsiteX234" fmla="*/ 5448069 w 7467600"/>
              <a:gd name="connsiteY234" fmla="*/ 3567554 h 6858000"/>
              <a:gd name="connsiteX235" fmla="*/ 5425834 w 7467600"/>
              <a:gd name="connsiteY235" fmla="*/ 3162785 h 6858000"/>
              <a:gd name="connsiteX236" fmla="*/ 1318687 w 7467600"/>
              <a:gd name="connsiteY236" fmla="*/ 3113840 h 6858000"/>
              <a:gd name="connsiteX237" fmla="*/ 1066793 w 7467600"/>
              <a:gd name="connsiteY237" fmla="*/ 3212171 h 6858000"/>
              <a:gd name="connsiteX238" fmla="*/ 993319 w 7467600"/>
              <a:gd name="connsiteY238" fmla="*/ 3247648 h 6858000"/>
              <a:gd name="connsiteX239" fmla="*/ 853081 w 7467600"/>
              <a:gd name="connsiteY239" fmla="*/ 3312410 h 6858000"/>
              <a:gd name="connsiteX240" fmla="*/ 805957 w 7467600"/>
              <a:gd name="connsiteY240" fmla="*/ 3330443 h 6858000"/>
              <a:gd name="connsiteX241" fmla="*/ 1318687 w 7467600"/>
              <a:gd name="connsiteY241" fmla="*/ 3113840 h 6858000"/>
              <a:gd name="connsiteX242" fmla="*/ 5453702 w 7467600"/>
              <a:gd name="connsiteY242" fmla="*/ 3090882 h 6858000"/>
              <a:gd name="connsiteX243" fmla="*/ 5480135 w 7467600"/>
              <a:gd name="connsiteY243" fmla="*/ 3565802 h 6858000"/>
              <a:gd name="connsiteX244" fmla="*/ 5499023 w 7467600"/>
              <a:gd name="connsiteY244" fmla="*/ 4166310 h 6858000"/>
              <a:gd name="connsiteX245" fmla="*/ 5547022 w 7467600"/>
              <a:gd name="connsiteY245" fmla="*/ 3607838 h 6858000"/>
              <a:gd name="connsiteX246" fmla="*/ 5515964 w 7467600"/>
              <a:gd name="connsiteY246" fmla="*/ 3378541 h 6858000"/>
              <a:gd name="connsiteX247" fmla="*/ 5453702 w 7467600"/>
              <a:gd name="connsiteY247" fmla="*/ 3090882 h 6858000"/>
              <a:gd name="connsiteX248" fmla="*/ 1238695 w 7467600"/>
              <a:gd name="connsiteY248" fmla="*/ 3076820 h 6858000"/>
              <a:gd name="connsiteX249" fmla="*/ 716371 w 7467600"/>
              <a:gd name="connsiteY249" fmla="*/ 3293249 h 6858000"/>
              <a:gd name="connsiteX250" fmla="*/ 579522 w 7467600"/>
              <a:gd name="connsiteY250" fmla="*/ 3371759 h 6858000"/>
              <a:gd name="connsiteX251" fmla="*/ 600288 w 7467600"/>
              <a:gd name="connsiteY251" fmla="*/ 3365555 h 6858000"/>
              <a:gd name="connsiteX252" fmla="*/ 840692 w 7467600"/>
              <a:gd name="connsiteY252" fmla="*/ 3284921 h 6858000"/>
              <a:gd name="connsiteX253" fmla="*/ 979248 w 7467600"/>
              <a:gd name="connsiteY253" fmla="*/ 3221003 h 6858000"/>
              <a:gd name="connsiteX254" fmla="*/ 1053282 w 7467600"/>
              <a:gd name="connsiteY254" fmla="*/ 3185247 h 6858000"/>
              <a:gd name="connsiteX255" fmla="*/ 1320603 w 7467600"/>
              <a:gd name="connsiteY255" fmla="*/ 3081281 h 6858000"/>
              <a:gd name="connsiteX256" fmla="*/ 1238695 w 7467600"/>
              <a:gd name="connsiteY256" fmla="*/ 3076820 h 6858000"/>
              <a:gd name="connsiteX257" fmla="*/ 5425627 w 7467600"/>
              <a:gd name="connsiteY257" fmla="*/ 2954192 h 6858000"/>
              <a:gd name="connsiteX258" fmla="*/ 5470770 w 7467600"/>
              <a:gd name="connsiteY258" fmla="*/ 3005435 h 6858000"/>
              <a:gd name="connsiteX259" fmla="*/ 5519779 w 7467600"/>
              <a:gd name="connsiteY259" fmla="*/ 4359223 h 6858000"/>
              <a:gd name="connsiteX260" fmla="*/ 5520293 w 7467600"/>
              <a:gd name="connsiteY260" fmla="*/ 4360602 h 6858000"/>
              <a:gd name="connsiteX261" fmla="*/ 5767221 w 7467600"/>
              <a:gd name="connsiteY261" fmla="*/ 4665564 h 6858000"/>
              <a:gd name="connsiteX262" fmla="*/ 6937169 w 7467600"/>
              <a:gd name="connsiteY262" fmla="*/ 4815941 h 6858000"/>
              <a:gd name="connsiteX263" fmla="*/ 6953922 w 7467600"/>
              <a:gd name="connsiteY263" fmla="*/ 4890068 h 6858000"/>
              <a:gd name="connsiteX264" fmla="*/ 6071359 w 7467600"/>
              <a:gd name="connsiteY264" fmla="*/ 4770770 h 6858000"/>
              <a:gd name="connsiteX265" fmla="*/ 6038839 w 7467600"/>
              <a:gd name="connsiteY265" fmla="*/ 4764474 h 6858000"/>
              <a:gd name="connsiteX266" fmla="*/ 6038706 w 7467600"/>
              <a:gd name="connsiteY266" fmla="*/ 4763847 h 6858000"/>
              <a:gd name="connsiteX267" fmla="*/ 6037784 w 7467600"/>
              <a:gd name="connsiteY267" fmla="*/ 4764270 h 6858000"/>
              <a:gd name="connsiteX268" fmla="*/ 6038839 w 7467600"/>
              <a:gd name="connsiteY268" fmla="*/ 4764474 h 6858000"/>
              <a:gd name="connsiteX269" fmla="*/ 6040338 w 7467600"/>
              <a:gd name="connsiteY269" fmla="*/ 4771418 h 6858000"/>
              <a:gd name="connsiteX270" fmla="*/ 6024488 w 7467600"/>
              <a:gd name="connsiteY270" fmla="*/ 4809903 h 6858000"/>
              <a:gd name="connsiteX271" fmla="*/ 5599771 w 7467600"/>
              <a:gd name="connsiteY271" fmla="*/ 5509652 h 6858000"/>
              <a:gd name="connsiteX272" fmla="*/ 5548843 w 7467600"/>
              <a:gd name="connsiteY272" fmla="*/ 5563845 h 6858000"/>
              <a:gd name="connsiteX273" fmla="*/ 5940952 w 7467600"/>
              <a:gd name="connsiteY273" fmla="*/ 6250028 h 6858000"/>
              <a:gd name="connsiteX274" fmla="*/ 6043441 w 7467600"/>
              <a:gd name="connsiteY274" fmla="*/ 6665847 h 6858000"/>
              <a:gd name="connsiteX275" fmla="*/ 6093432 w 7467600"/>
              <a:gd name="connsiteY275" fmla="*/ 6858000 h 6858000"/>
              <a:gd name="connsiteX276" fmla="*/ 6034344 w 7467600"/>
              <a:gd name="connsiteY276" fmla="*/ 6858000 h 6858000"/>
              <a:gd name="connsiteX277" fmla="*/ 6026679 w 7467600"/>
              <a:gd name="connsiteY277" fmla="*/ 6836959 h 6858000"/>
              <a:gd name="connsiteX278" fmla="*/ 5800441 w 7467600"/>
              <a:gd name="connsiteY278" fmla="*/ 6335286 h 6858000"/>
              <a:gd name="connsiteX279" fmla="*/ 5526562 w 7467600"/>
              <a:gd name="connsiteY279" fmla="*/ 5705388 h 6858000"/>
              <a:gd name="connsiteX280" fmla="*/ 5519640 w 7467600"/>
              <a:gd name="connsiteY280" fmla="*/ 5683774 h 6858000"/>
              <a:gd name="connsiteX281" fmla="*/ 5844559 w 7467600"/>
              <a:gd name="connsiteY281" fmla="*/ 6553349 h 6858000"/>
              <a:gd name="connsiteX282" fmla="*/ 5975994 w 7467600"/>
              <a:gd name="connsiteY282" fmla="*/ 6858000 h 6858000"/>
              <a:gd name="connsiteX283" fmla="*/ 5898547 w 7467600"/>
              <a:gd name="connsiteY283" fmla="*/ 6858000 h 6858000"/>
              <a:gd name="connsiteX284" fmla="*/ 5682041 w 7467600"/>
              <a:gd name="connsiteY284" fmla="*/ 6355860 h 6858000"/>
              <a:gd name="connsiteX285" fmla="*/ 5461758 w 7467600"/>
              <a:gd name="connsiteY285" fmla="*/ 5820220 h 6858000"/>
              <a:gd name="connsiteX286" fmla="*/ 5237282 w 7467600"/>
              <a:gd name="connsiteY286" fmla="*/ 6579086 h 6858000"/>
              <a:gd name="connsiteX287" fmla="*/ 5115009 w 7467600"/>
              <a:gd name="connsiteY287" fmla="*/ 6858000 h 6858000"/>
              <a:gd name="connsiteX288" fmla="*/ 5028074 w 7467600"/>
              <a:gd name="connsiteY288" fmla="*/ 6858000 h 6858000"/>
              <a:gd name="connsiteX289" fmla="*/ 5079508 w 7467600"/>
              <a:gd name="connsiteY289" fmla="*/ 6749074 h 6858000"/>
              <a:gd name="connsiteX290" fmla="*/ 5371846 w 7467600"/>
              <a:gd name="connsiteY290" fmla="*/ 5924413 h 6858000"/>
              <a:gd name="connsiteX291" fmla="*/ 5270512 w 7467600"/>
              <a:gd name="connsiteY291" fmla="*/ 6138975 h 6858000"/>
              <a:gd name="connsiteX292" fmla="*/ 5062409 w 7467600"/>
              <a:gd name="connsiteY292" fmla="*/ 6653544 h 6858000"/>
              <a:gd name="connsiteX293" fmla="*/ 5036628 w 7467600"/>
              <a:gd name="connsiteY293" fmla="*/ 6754247 h 6858000"/>
              <a:gd name="connsiteX294" fmla="*/ 5009112 w 7467600"/>
              <a:gd name="connsiteY294" fmla="*/ 6858000 h 6858000"/>
              <a:gd name="connsiteX295" fmla="*/ 4976679 w 7467600"/>
              <a:gd name="connsiteY295" fmla="*/ 6858000 h 6858000"/>
              <a:gd name="connsiteX296" fmla="*/ 5006537 w 7467600"/>
              <a:gd name="connsiteY296" fmla="*/ 6747068 h 6858000"/>
              <a:gd name="connsiteX297" fmla="*/ 5032723 w 7467600"/>
              <a:gd name="connsiteY297" fmla="*/ 6644957 h 6858000"/>
              <a:gd name="connsiteX298" fmla="*/ 5242949 w 7467600"/>
              <a:gd name="connsiteY298" fmla="*/ 6125175 h 6858000"/>
              <a:gd name="connsiteX299" fmla="*/ 5286321 w 7467600"/>
              <a:gd name="connsiteY299" fmla="*/ 6033555 h 6858000"/>
              <a:gd name="connsiteX300" fmla="*/ 5008210 w 7467600"/>
              <a:gd name="connsiteY300" fmla="*/ 6649194 h 6858000"/>
              <a:gd name="connsiteX301" fmla="*/ 4986321 w 7467600"/>
              <a:gd name="connsiteY301" fmla="*/ 6765687 h 6858000"/>
              <a:gd name="connsiteX302" fmla="*/ 4973474 w 7467600"/>
              <a:gd name="connsiteY302" fmla="*/ 6858000 h 6858000"/>
              <a:gd name="connsiteX303" fmla="*/ 4907178 w 7467600"/>
              <a:gd name="connsiteY303" fmla="*/ 6858000 h 6858000"/>
              <a:gd name="connsiteX304" fmla="*/ 4910810 w 7467600"/>
              <a:gd name="connsiteY304" fmla="*/ 6829660 h 6858000"/>
              <a:gd name="connsiteX305" fmla="*/ 4987461 w 7467600"/>
              <a:gd name="connsiteY305" fmla="*/ 6432994 h 6858000"/>
              <a:gd name="connsiteX306" fmla="*/ 5179262 w 7467600"/>
              <a:gd name="connsiteY306" fmla="*/ 6035044 h 6858000"/>
              <a:gd name="connsiteX307" fmla="*/ 4689678 w 7467600"/>
              <a:gd name="connsiteY307" fmla="*/ 6440241 h 6858000"/>
              <a:gd name="connsiteX308" fmla="*/ 4477543 w 7467600"/>
              <a:gd name="connsiteY308" fmla="*/ 6674836 h 6858000"/>
              <a:gd name="connsiteX309" fmla="*/ 4329957 w 7467600"/>
              <a:gd name="connsiteY309" fmla="*/ 6858000 h 6858000"/>
              <a:gd name="connsiteX310" fmla="*/ 4218595 w 7467600"/>
              <a:gd name="connsiteY310" fmla="*/ 6858000 h 6858000"/>
              <a:gd name="connsiteX311" fmla="*/ 4368888 w 7467600"/>
              <a:gd name="connsiteY311" fmla="*/ 6668412 h 6858000"/>
              <a:gd name="connsiteX312" fmla="*/ 4563091 w 7467600"/>
              <a:gd name="connsiteY312" fmla="*/ 6442508 h 6858000"/>
              <a:gd name="connsiteX313" fmla="*/ 5387324 w 7467600"/>
              <a:gd name="connsiteY313" fmla="*/ 5705830 h 6858000"/>
              <a:gd name="connsiteX314" fmla="*/ 5073620 w 7467600"/>
              <a:gd name="connsiteY314" fmla="*/ 5955437 h 6858000"/>
              <a:gd name="connsiteX315" fmla="*/ 4689789 w 7467600"/>
              <a:gd name="connsiteY315" fmla="*/ 6268382 h 6858000"/>
              <a:gd name="connsiteX316" fmla="*/ 4418722 w 7467600"/>
              <a:gd name="connsiteY316" fmla="*/ 6570886 h 6858000"/>
              <a:gd name="connsiteX317" fmla="*/ 4214944 w 7467600"/>
              <a:gd name="connsiteY317" fmla="*/ 6858000 h 6858000"/>
              <a:gd name="connsiteX318" fmla="*/ 4177898 w 7467600"/>
              <a:gd name="connsiteY318" fmla="*/ 6858000 h 6858000"/>
              <a:gd name="connsiteX319" fmla="*/ 4391597 w 7467600"/>
              <a:gd name="connsiteY319" fmla="*/ 6556370 h 6858000"/>
              <a:gd name="connsiteX320" fmla="*/ 4668889 w 7467600"/>
              <a:gd name="connsiteY320" fmla="*/ 6246399 h 6858000"/>
              <a:gd name="connsiteX321" fmla="*/ 5055427 w 7467600"/>
              <a:gd name="connsiteY321" fmla="*/ 5931476 h 6858000"/>
              <a:gd name="connsiteX322" fmla="*/ 5371814 w 7467600"/>
              <a:gd name="connsiteY322" fmla="*/ 5678975 h 6858000"/>
              <a:gd name="connsiteX323" fmla="*/ 4987918 w 7467600"/>
              <a:gd name="connsiteY323" fmla="*/ 5838701 h 6858000"/>
              <a:gd name="connsiteX324" fmla="*/ 4317146 w 7467600"/>
              <a:gd name="connsiteY324" fmla="*/ 6587716 h 6858000"/>
              <a:gd name="connsiteX325" fmla="*/ 4171627 w 7467600"/>
              <a:gd name="connsiteY325" fmla="*/ 6858000 h 6858000"/>
              <a:gd name="connsiteX326" fmla="*/ 4081585 w 7467600"/>
              <a:gd name="connsiteY326" fmla="*/ 6858000 h 6858000"/>
              <a:gd name="connsiteX327" fmla="*/ 4238603 w 7467600"/>
              <a:gd name="connsiteY327" fmla="*/ 6559341 h 6858000"/>
              <a:gd name="connsiteX328" fmla="*/ 4778333 w 7467600"/>
              <a:gd name="connsiteY328" fmla="*/ 5873626 h 6858000"/>
              <a:gd name="connsiteX329" fmla="*/ 5414185 w 7467600"/>
              <a:gd name="connsiteY329" fmla="*/ 5573882 h 6858000"/>
              <a:gd name="connsiteX330" fmla="*/ 5959648 w 7467600"/>
              <a:gd name="connsiteY330" fmla="*/ 4760797 h 6858000"/>
              <a:gd name="connsiteX331" fmla="*/ 5355019 w 7467600"/>
              <a:gd name="connsiteY331" fmla="*/ 4734672 h 6858000"/>
              <a:gd name="connsiteX332" fmla="*/ 5083565 w 7467600"/>
              <a:gd name="connsiteY332" fmla="*/ 5179121 h 6858000"/>
              <a:gd name="connsiteX333" fmla="*/ 4713577 w 7467600"/>
              <a:gd name="connsiteY333" fmla="*/ 5616803 h 6858000"/>
              <a:gd name="connsiteX334" fmla="*/ 3989559 w 7467600"/>
              <a:gd name="connsiteY334" fmla="*/ 6145945 h 6858000"/>
              <a:gd name="connsiteX335" fmla="*/ 3939824 w 7467600"/>
              <a:gd name="connsiteY335" fmla="*/ 6066900 h 6858000"/>
              <a:gd name="connsiteX336" fmla="*/ 4584537 w 7467600"/>
              <a:gd name="connsiteY336" fmla="*/ 5324826 h 6858000"/>
              <a:gd name="connsiteX337" fmla="*/ 5037105 w 7467600"/>
              <a:gd name="connsiteY337" fmla="*/ 5088765 h 6858000"/>
              <a:gd name="connsiteX338" fmla="*/ 5039930 w 7467600"/>
              <a:gd name="connsiteY338" fmla="*/ 5089585 h 6858000"/>
              <a:gd name="connsiteX339" fmla="*/ 5263764 w 7467600"/>
              <a:gd name="connsiteY339" fmla="*/ 4735525 h 6858000"/>
              <a:gd name="connsiteX340" fmla="*/ 4086300 w 7467600"/>
              <a:gd name="connsiteY340" fmla="*/ 4884599 h 6858000"/>
              <a:gd name="connsiteX341" fmla="*/ 4085485 w 7467600"/>
              <a:gd name="connsiteY341" fmla="*/ 4899070 h 6858000"/>
              <a:gd name="connsiteX342" fmla="*/ 3871915 w 7467600"/>
              <a:gd name="connsiteY342" fmla="*/ 5253645 h 6858000"/>
              <a:gd name="connsiteX343" fmla="*/ 3799374 w 7467600"/>
              <a:gd name="connsiteY343" fmla="*/ 5466127 h 6858000"/>
              <a:gd name="connsiteX344" fmla="*/ 3498850 w 7467600"/>
              <a:gd name="connsiteY344" fmla="*/ 6661888 h 6858000"/>
              <a:gd name="connsiteX345" fmla="*/ 3399216 w 7467600"/>
              <a:gd name="connsiteY345" fmla="*/ 6858000 h 6858000"/>
              <a:gd name="connsiteX346" fmla="*/ 3303688 w 7467600"/>
              <a:gd name="connsiteY346" fmla="*/ 6858000 h 6858000"/>
              <a:gd name="connsiteX347" fmla="*/ 3391774 w 7467600"/>
              <a:gd name="connsiteY347" fmla="*/ 6697181 h 6858000"/>
              <a:gd name="connsiteX348" fmla="*/ 3735540 w 7467600"/>
              <a:gd name="connsiteY348" fmla="*/ 5546923 h 6858000"/>
              <a:gd name="connsiteX349" fmla="*/ 3729438 w 7467600"/>
              <a:gd name="connsiteY349" fmla="*/ 5569058 h 6858000"/>
              <a:gd name="connsiteX350" fmla="*/ 3707782 w 7467600"/>
              <a:gd name="connsiteY350" fmla="*/ 5644908 h 6858000"/>
              <a:gd name="connsiteX351" fmla="*/ 3583827 w 7467600"/>
              <a:gd name="connsiteY351" fmla="*/ 6039215 h 6858000"/>
              <a:gd name="connsiteX352" fmla="*/ 3547861 w 7467600"/>
              <a:gd name="connsiteY352" fmla="*/ 6129609 h 6858000"/>
              <a:gd name="connsiteX353" fmla="*/ 3490905 w 7467600"/>
              <a:gd name="connsiteY353" fmla="*/ 6277660 h 6858000"/>
              <a:gd name="connsiteX354" fmla="*/ 3455859 w 7467600"/>
              <a:gd name="connsiteY354" fmla="*/ 6391301 h 6858000"/>
              <a:gd name="connsiteX355" fmla="*/ 3429112 w 7467600"/>
              <a:gd name="connsiteY355" fmla="*/ 6479469 h 6858000"/>
              <a:gd name="connsiteX356" fmla="*/ 3304862 w 7467600"/>
              <a:gd name="connsiteY356" fmla="*/ 6796476 h 6858000"/>
              <a:gd name="connsiteX357" fmla="*/ 3276071 w 7467600"/>
              <a:gd name="connsiteY357" fmla="*/ 6858000 h 6858000"/>
              <a:gd name="connsiteX358" fmla="*/ 3240805 w 7467600"/>
              <a:gd name="connsiteY358" fmla="*/ 6858000 h 6858000"/>
              <a:gd name="connsiteX359" fmla="*/ 3275917 w 7467600"/>
              <a:gd name="connsiteY359" fmla="*/ 6783192 h 6858000"/>
              <a:gd name="connsiteX360" fmla="*/ 3399358 w 7467600"/>
              <a:gd name="connsiteY360" fmla="*/ 6469011 h 6858000"/>
              <a:gd name="connsiteX361" fmla="*/ 3425650 w 7467600"/>
              <a:gd name="connsiteY361" fmla="*/ 6381333 h 6858000"/>
              <a:gd name="connsiteX362" fmla="*/ 3460661 w 7467600"/>
              <a:gd name="connsiteY362" fmla="*/ 6266763 h 6858000"/>
              <a:gd name="connsiteX363" fmla="*/ 3518021 w 7467600"/>
              <a:gd name="connsiteY363" fmla="*/ 6117298 h 6858000"/>
              <a:gd name="connsiteX364" fmla="*/ 3554035 w 7467600"/>
              <a:gd name="connsiteY364" fmla="*/ 6027832 h 6858000"/>
              <a:gd name="connsiteX365" fmla="*/ 3677174 w 7467600"/>
              <a:gd name="connsiteY365" fmla="*/ 5636351 h 6858000"/>
              <a:gd name="connsiteX366" fmla="*/ 3698819 w 7467600"/>
              <a:gd name="connsiteY366" fmla="*/ 5560503 h 6858000"/>
              <a:gd name="connsiteX367" fmla="*/ 3702094 w 7467600"/>
              <a:gd name="connsiteY367" fmla="*/ 5549194 h 6858000"/>
              <a:gd name="connsiteX368" fmla="*/ 3398355 w 7467600"/>
              <a:gd name="connsiteY368" fmla="*/ 6094603 h 6858000"/>
              <a:gd name="connsiteX369" fmla="*/ 3193941 w 7467600"/>
              <a:gd name="connsiteY369" fmla="*/ 6798775 h 6858000"/>
              <a:gd name="connsiteX370" fmla="*/ 3184140 w 7467600"/>
              <a:gd name="connsiteY370" fmla="*/ 6858000 h 6858000"/>
              <a:gd name="connsiteX371" fmla="*/ 3099978 w 7467600"/>
              <a:gd name="connsiteY371" fmla="*/ 6858000 h 6858000"/>
              <a:gd name="connsiteX372" fmla="*/ 3101556 w 7467600"/>
              <a:gd name="connsiteY372" fmla="*/ 6843337 h 6858000"/>
              <a:gd name="connsiteX373" fmla="*/ 3370162 w 7467600"/>
              <a:gd name="connsiteY373" fmla="*/ 5785550 h 6858000"/>
              <a:gd name="connsiteX374" fmla="*/ 3746477 w 7467600"/>
              <a:gd name="connsiteY374" fmla="*/ 5377889 h 6858000"/>
              <a:gd name="connsiteX375" fmla="*/ 3863399 w 7467600"/>
              <a:gd name="connsiteY375" fmla="*/ 5087257 h 6858000"/>
              <a:gd name="connsiteX376" fmla="*/ 3968712 w 7467600"/>
              <a:gd name="connsiteY376" fmla="*/ 4913989 h 6858000"/>
              <a:gd name="connsiteX377" fmla="*/ 2792390 w 7467600"/>
              <a:gd name="connsiteY377" fmla="*/ 5382974 h 6858000"/>
              <a:gd name="connsiteX378" fmla="*/ 2714982 w 7467600"/>
              <a:gd name="connsiteY378" fmla="*/ 5427051 h 6858000"/>
              <a:gd name="connsiteX379" fmla="*/ 2813361 w 7467600"/>
              <a:gd name="connsiteY379" fmla="*/ 6023912 h 6858000"/>
              <a:gd name="connsiteX380" fmla="*/ 2688430 w 7467600"/>
              <a:gd name="connsiteY380" fmla="*/ 6801564 h 6858000"/>
              <a:gd name="connsiteX381" fmla="*/ 2629626 w 7467600"/>
              <a:gd name="connsiteY381" fmla="*/ 6763394 h 6858000"/>
              <a:gd name="connsiteX382" fmla="*/ 2565328 w 7467600"/>
              <a:gd name="connsiteY382" fmla="*/ 5516399 h 6858000"/>
              <a:gd name="connsiteX383" fmla="*/ 1922999 w 7467600"/>
              <a:gd name="connsiteY383" fmla="*/ 5980343 h 6858000"/>
              <a:gd name="connsiteX384" fmla="*/ 1950261 w 7467600"/>
              <a:gd name="connsiteY384" fmla="*/ 6405858 h 6858000"/>
              <a:gd name="connsiteX385" fmla="*/ 2365554 w 7467600"/>
              <a:gd name="connsiteY385" fmla="*/ 6759107 h 6858000"/>
              <a:gd name="connsiteX386" fmla="*/ 2424142 w 7467600"/>
              <a:gd name="connsiteY386" fmla="*/ 6858000 h 6858000"/>
              <a:gd name="connsiteX387" fmla="*/ 2395994 w 7467600"/>
              <a:gd name="connsiteY387" fmla="*/ 6858000 h 6858000"/>
              <a:gd name="connsiteX388" fmla="*/ 2392863 w 7467600"/>
              <a:gd name="connsiteY388" fmla="*/ 6852964 h 6858000"/>
              <a:gd name="connsiteX389" fmla="*/ 2017589 w 7467600"/>
              <a:gd name="connsiteY389" fmla="*/ 6493982 h 6858000"/>
              <a:gd name="connsiteX390" fmla="*/ 2147336 w 7467600"/>
              <a:gd name="connsiteY390" fmla="*/ 6594052 h 6858000"/>
              <a:gd name="connsiteX391" fmla="*/ 2207047 w 7467600"/>
              <a:gd name="connsiteY391" fmla="*/ 6654540 h 6858000"/>
              <a:gd name="connsiteX392" fmla="*/ 2299106 w 7467600"/>
              <a:gd name="connsiteY392" fmla="*/ 6778931 h 6858000"/>
              <a:gd name="connsiteX393" fmla="*/ 2314430 w 7467600"/>
              <a:gd name="connsiteY393" fmla="*/ 6801144 h 6858000"/>
              <a:gd name="connsiteX394" fmla="*/ 2352406 w 7467600"/>
              <a:gd name="connsiteY394" fmla="*/ 6858000 h 6858000"/>
              <a:gd name="connsiteX395" fmla="*/ 2314492 w 7467600"/>
              <a:gd name="connsiteY395" fmla="*/ 6858000 h 6858000"/>
              <a:gd name="connsiteX396" fmla="*/ 2288095 w 7467600"/>
              <a:gd name="connsiteY396" fmla="*/ 6818030 h 6858000"/>
              <a:gd name="connsiteX397" fmla="*/ 2272768 w 7467600"/>
              <a:gd name="connsiteY397" fmla="*/ 6795822 h 6858000"/>
              <a:gd name="connsiteX398" fmla="*/ 2182715 w 7467600"/>
              <a:gd name="connsiteY398" fmla="*/ 6675071 h 6858000"/>
              <a:gd name="connsiteX399" fmla="*/ 2032061 w 7467600"/>
              <a:gd name="connsiteY399" fmla="*/ 6541380 h 6858000"/>
              <a:gd name="connsiteX400" fmla="*/ 2257220 w 7467600"/>
              <a:gd name="connsiteY400" fmla="*/ 6826257 h 6858000"/>
              <a:gd name="connsiteX401" fmla="*/ 2281324 w 7467600"/>
              <a:gd name="connsiteY401" fmla="*/ 6858000 h 6858000"/>
              <a:gd name="connsiteX402" fmla="*/ 2242860 w 7467600"/>
              <a:gd name="connsiteY402" fmla="*/ 6858000 h 6858000"/>
              <a:gd name="connsiteX403" fmla="*/ 2232818 w 7467600"/>
              <a:gd name="connsiteY403" fmla="*/ 6844926 h 6858000"/>
              <a:gd name="connsiteX404" fmla="*/ 1990172 w 7467600"/>
              <a:gd name="connsiteY404" fmla="*/ 6542121 h 6858000"/>
              <a:gd name="connsiteX405" fmla="*/ 2124090 w 7467600"/>
              <a:gd name="connsiteY405" fmla="*/ 6761017 h 6858000"/>
              <a:gd name="connsiteX406" fmla="*/ 2200380 w 7467600"/>
              <a:gd name="connsiteY406" fmla="*/ 6858000 h 6858000"/>
              <a:gd name="connsiteX407" fmla="*/ 2147507 w 7467600"/>
              <a:gd name="connsiteY407" fmla="*/ 6858000 h 6858000"/>
              <a:gd name="connsiteX408" fmla="*/ 2070668 w 7467600"/>
              <a:gd name="connsiteY408" fmla="*/ 6761520 h 6858000"/>
              <a:gd name="connsiteX409" fmla="*/ 1975142 w 7467600"/>
              <a:gd name="connsiteY409" fmla="*/ 6585570 h 6858000"/>
              <a:gd name="connsiteX410" fmla="*/ 2050035 w 7467600"/>
              <a:gd name="connsiteY410" fmla="*/ 6813345 h 6858000"/>
              <a:gd name="connsiteX411" fmla="*/ 2063025 w 7467600"/>
              <a:gd name="connsiteY411" fmla="*/ 6858000 h 6858000"/>
              <a:gd name="connsiteX412" fmla="*/ 2021675 w 7467600"/>
              <a:gd name="connsiteY412" fmla="*/ 6858000 h 6858000"/>
              <a:gd name="connsiteX413" fmla="*/ 2019308 w 7467600"/>
              <a:gd name="connsiteY413" fmla="*/ 6847118 h 6858000"/>
              <a:gd name="connsiteX414" fmla="*/ 1938835 w 7467600"/>
              <a:gd name="connsiteY414" fmla="*/ 6551160 h 6858000"/>
              <a:gd name="connsiteX415" fmla="*/ 1953230 w 7467600"/>
              <a:gd name="connsiteY415" fmla="*/ 6759699 h 6858000"/>
              <a:gd name="connsiteX416" fmla="*/ 1956763 w 7467600"/>
              <a:gd name="connsiteY416" fmla="*/ 6778191 h 6858000"/>
              <a:gd name="connsiteX417" fmla="*/ 1967925 w 7467600"/>
              <a:gd name="connsiteY417" fmla="*/ 6858000 h 6858000"/>
              <a:gd name="connsiteX418" fmla="*/ 1936622 w 7467600"/>
              <a:gd name="connsiteY418" fmla="*/ 6858000 h 6858000"/>
              <a:gd name="connsiteX419" fmla="*/ 1926261 w 7467600"/>
              <a:gd name="connsiteY419" fmla="*/ 6784064 h 6858000"/>
              <a:gd name="connsiteX420" fmla="*/ 1922724 w 7467600"/>
              <a:gd name="connsiteY420" fmla="*/ 6765577 h 6858000"/>
              <a:gd name="connsiteX421" fmla="*/ 1904650 w 7467600"/>
              <a:gd name="connsiteY421" fmla="*/ 6639616 h 6858000"/>
              <a:gd name="connsiteX422" fmla="*/ 1885273 w 7467600"/>
              <a:gd name="connsiteY422" fmla="*/ 6858000 h 6858000"/>
              <a:gd name="connsiteX423" fmla="*/ 1854363 w 7467600"/>
              <a:gd name="connsiteY423" fmla="*/ 6858000 h 6858000"/>
              <a:gd name="connsiteX424" fmla="*/ 1880391 w 7467600"/>
              <a:gd name="connsiteY424" fmla="*/ 6603796 h 6858000"/>
              <a:gd name="connsiteX425" fmla="*/ 1818273 w 7467600"/>
              <a:gd name="connsiteY425" fmla="*/ 6715729 h 6858000"/>
              <a:gd name="connsiteX426" fmla="*/ 1794691 w 7467600"/>
              <a:gd name="connsiteY426" fmla="*/ 6843239 h 6858000"/>
              <a:gd name="connsiteX427" fmla="*/ 1794914 w 7467600"/>
              <a:gd name="connsiteY427" fmla="*/ 6858000 h 6858000"/>
              <a:gd name="connsiteX428" fmla="*/ 1746128 w 7467600"/>
              <a:gd name="connsiteY428" fmla="*/ 6858000 h 6858000"/>
              <a:gd name="connsiteX429" fmla="*/ 1753934 w 7467600"/>
              <a:gd name="connsiteY429" fmla="*/ 6724796 h 6858000"/>
              <a:gd name="connsiteX430" fmla="*/ 1792053 w 7467600"/>
              <a:gd name="connsiteY430" fmla="*/ 6572396 h 6858000"/>
              <a:gd name="connsiteX431" fmla="*/ 1862248 w 7467600"/>
              <a:gd name="connsiteY431" fmla="*/ 6266397 h 6858000"/>
              <a:gd name="connsiteX432" fmla="*/ 1862250 w 7467600"/>
              <a:gd name="connsiteY432" fmla="*/ 6033531 h 6858000"/>
              <a:gd name="connsiteX433" fmla="*/ 1211999 w 7467600"/>
              <a:gd name="connsiteY433" fmla="*/ 6683610 h 6858000"/>
              <a:gd name="connsiteX434" fmla="*/ 1213266 w 7467600"/>
              <a:gd name="connsiteY434" fmla="*/ 6691947 h 6858000"/>
              <a:gd name="connsiteX435" fmla="*/ 1203370 w 7467600"/>
              <a:gd name="connsiteY435" fmla="*/ 6850676 h 6858000"/>
              <a:gd name="connsiteX436" fmla="*/ 1203671 w 7467600"/>
              <a:gd name="connsiteY436" fmla="*/ 6858000 h 6858000"/>
              <a:gd name="connsiteX437" fmla="*/ 1143180 w 7467600"/>
              <a:gd name="connsiteY437" fmla="*/ 6858000 h 6858000"/>
              <a:gd name="connsiteX438" fmla="*/ 1142176 w 7467600"/>
              <a:gd name="connsiteY438" fmla="*/ 6766045 h 6858000"/>
              <a:gd name="connsiteX439" fmla="*/ 1067484 w 7467600"/>
              <a:gd name="connsiteY439" fmla="*/ 6858000 h 6858000"/>
              <a:gd name="connsiteX440" fmla="*/ 953928 w 7467600"/>
              <a:gd name="connsiteY440" fmla="*/ 6858000 h 6858000"/>
              <a:gd name="connsiteX441" fmla="*/ 959715 w 7467600"/>
              <a:gd name="connsiteY441" fmla="*/ 6850185 h 6858000"/>
              <a:gd name="connsiteX442" fmla="*/ 1483788 w 7467600"/>
              <a:gd name="connsiteY442" fmla="*/ 6259174 h 6858000"/>
              <a:gd name="connsiteX443" fmla="*/ 1100671 w 7467600"/>
              <a:gd name="connsiteY443" fmla="*/ 6252137 h 6858000"/>
              <a:gd name="connsiteX444" fmla="*/ 1090144 w 7467600"/>
              <a:gd name="connsiteY444" fmla="*/ 6256748 h 6858000"/>
              <a:gd name="connsiteX445" fmla="*/ 1095872 w 7467600"/>
              <a:gd name="connsiteY445" fmla="*/ 6271892 h 6858000"/>
              <a:gd name="connsiteX446" fmla="*/ 262785 w 7467600"/>
              <a:gd name="connsiteY446" fmla="*/ 6845450 h 6858000"/>
              <a:gd name="connsiteX447" fmla="*/ 209968 w 7467600"/>
              <a:gd name="connsiteY447" fmla="*/ 6770713 h 6858000"/>
              <a:gd name="connsiteX448" fmla="*/ 873460 w 7467600"/>
              <a:gd name="connsiteY448" fmla="*/ 6253768 h 6858000"/>
              <a:gd name="connsiteX449" fmla="*/ 192686 w 7467600"/>
              <a:gd name="connsiteY449" fmla="*/ 5849257 h 6858000"/>
              <a:gd name="connsiteX450" fmla="*/ 4696 w 7467600"/>
              <a:gd name="connsiteY450" fmla="*/ 5697668 h 6858000"/>
              <a:gd name="connsiteX451" fmla="*/ 0 w 7467600"/>
              <a:gd name="connsiteY451" fmla="*/ 5689984 h 6858000"/>
              <a:gd name="connsiteX452" fmla="*/ 0 w 7467600"/>
              <a:gd name="connsiteY452" fmla="*/ 5513472 h 6858000"/>
              <a:gd name="connsiteX453" fmla="*/ 174101 w 7467600"/>
              <a:gd name="connsiteY453" fmla="*/ 5620277 h 6858000"/>
              <a:gd name="connsiteX454" fmla="*/ 891800 w 7467600"/>
              <a:gd name="connsiteY454" fmla="*/ 6036935 h 6858000"/>
              <a:gd name="connsiteX455" fmla="*/ 1072219 w 7467600"/>
              <a:gd name="connsiteY455" fmla="*/ 6169443 h 6858000"/>
              <a:gd name="connsiteX456" fmla="*/ 1074117 w 7467600"/>
              <a:gd name="connsiteY456" fmla="*/ 6170301 h 6858000"/>
              <a:gd name="connsiteX457" fmla="*/ 1083114 w 7467600"/>
              <a:gd name="connsiteY457" fmla="*/ 6174131 h 6858000"/>
              <a:gd name="connsiteX458" fmla="*/ 1543010 w 7467600"/>
              <a:gd name="connsiteY458" fmla="*/ 6191140 h 6858000"/>
              <a:gd name="connsiteX459" fmla="*/ 1551080 w 7467600"/>
              <a:gd name="connsiteY459" fmla="*/ 6195006 h 6858000"/>
              <a:gd name="connsiteX460" fmla="*/ 2345443 w 7467600"/>
              <a:gd name="connsiteY460" fmla="*/ 5549882 h 6858000"/>
              <a:gd name="connsiteX461" fmla="*/ 1721499 w 7467600"/>
              <a:gd name="connsiteY461" fmla="*/ 5599969 h 6858000"/>
              <a:gd name="connsiteX462" fmla="*/ 767716 w 7467600"/>
              <a:gd name="connsiteY462" fmla="*/ 5472768 h 6858000"/>
              <a:gd name="connsiteX463" fmla="*/ 722147 w 7467600"/>
              <a:gd name="connsiteY463" fmla="*/ 5393091 h 6858000"/>
              <a:gd name="connsiteX464" fmla="*/ 1485552 w 7467600"/>
              <a:gd name="connsiteY464" fmla="*/ 5313202 h 6858000"/>
              <a:gd name="connsiteX465" fmla="*/ 2143004 w 7467600"/>
              <a:gd name="connsiteY465" fmla="*/ 5402420 h 6858000"/>
              <a:gd name="connsiteX466" fmla="*/ 1933391 w 7467600"/>
              <a:gd name="connsiteY466" fmla="*/ 5156971 h 6858000"/>
              <a:gd name="connsiteX467" fmla="*/ 1827118 w 7467600"/>
              <a:gd name="connsiteY467" fmla="*/ 4968410 h 6858000"/>
              <a:gd name="connsiteX468" fmla="*/ 1837349 w 7467600"/>
              <a:gd name="connsiteY468" fmla="*/ 4956357 h 6858000"/>
              <a:gd name="connsiteX469" fmla="*/ 2162835 w 7467600"/>
              <a:gd name="connsiteY469" fmla="*/ 5187853 h 6858000"/>
              <a:gd name="connsiteX470" fmla="*/ 2257167 w 7467600"/>
              <a:gd name="connsiteY470" fmla="*/ 5462123 h 6858000"/>
              <a:gd name="connsiteX471" fmla="*/ 2261598 w 7467600"/>
              <a:gd name="connsiteY471" fmla="*/ 5467998 h 6858000"/>
              <a:gd name="connsiteX472" fmla="*/ 2437177 w 7467600"/>
              <a:gd name="connsiteY472" fmla="*/ 5479608 h 6858000"/>
              <a:gd name="connsiteX473" fmla="*/ 2445247 w 7467600"/>
              <a:gd name="connsiteY473" fmla="*/ 5483476 h 6858000"/>
              <a:gd name="connsiteX474" fmla="*/ 2743626 w 7467600"/>
              <a:gd name="connsiteY474" fmla="*/ 5304819 h 6858000"/>
              <a:gd name="connsiteX475" fmla="*/ 3048102 w 7467600"/>
              <a:gd name="connsiteY475" fmla="*/ 5150595 h 6858000"/>
              <a:gd name="connsiteX476" fmla="*/ 1799414 w 7467600"/>
              <a:gd name="connsiteY476" fmla="*/ 4694732 h 6858000"/>
              <a:gd name="connsiteX477" fmla="*/ 1771735 w 7467600"/>
              <a:gd name="connsiteY477" fmla="*/ 4619929 h 6858000"/>
              <a:gd name="connsiteX478" fmla="*/ 3104273 w 7467600"/>
              <a:gd name="connsiteY478" fmla="*/ 5076159 h 6858000"/>
              <a:gd name="connsiteX479" fmla="*/ 3113245 w 7467600"/>
              <a:gd name="connsiteY479" fmla="*/ 5090705 h 6858000"/>
              <a:gd name="connsiteX480" fmla="*/ 3126294 w 7467600"/>
              <a:gd name="connsiteY480" fmla="*/ 5114400 h 6858000"/>
              <a:gd name="connsiteX481" fmla="*/ 3937433 w 7467600"/>
              <a:gd name="connsiteY481" fmla="*/ 4830473 h 6858000"/>
              <a:gd name="connsiteX482" fmla="*/ 3590475 w 7467600"/>
              <a:gd name="connsiteY482" fmla="*/ 4597974 h 6858000"/>
              <a:gd name="connsiteX483" fmla="*/ 3100264 w 7467600"/>
              <a:gd name="connsiteY483" fmla="*/ 4579845 h 6858000"/>
              <a:gd name="connsiteX484" fmla="*/ 2183576 w 7467600"/>
              <a:gd name="connsiteY484" fmla="*/ 4227150 h 6858000"/>
              <a:gd name="connsiteX485" fmla="*/ 2151029 w 7467600"/>
              <a:gd name="connsiteY485" fmla="*/ 4146947 h 6858000"/>
              <a:gd name="connsiteX486" fmla="*/ 3563434 w 7467600"/>
              <a:gd name="connsiteY486" fmla="*/ 4469115 h 6858000"/>
              <a:gd name="connsiteX487" fmla="*/ 3177952 w 7467600"/>
              <a:gd name="connsiteY487" fmla="*/ 3657386 h 6858000"/>
              <a:gd name="connsiteX488" fmla="*/ 3189263 w 7467600"/>
              <a:gd name="connsiteY488" fmla="*/ 3625726 h 6858000"/>
              <a:gd name="connsiteX489" fmla="*/ 3560912 w 7467600"/>
              <a:gd name="connsiteY489" fmla="*/ 4079863 h 6858000"/>
              <a:gd name="connsiteX490" fmla="*/ 3626636 w 7467600"/>
              <a:gd name="connsiteY490" fmla="*/ 4512230 h 6858000"/>
              <a:gd name="connsiteX491" fmla="*/ 3653088 w 7467600"/>
              <a:gd name="connsiteY491" fmla="*/ 4521417 h 6858000"/>
              <a:gd name="connsiteX492" fmla="*/ 3988128 w 7467600"/>
              <a:gd name="connsiteY492" fmla="*/ 4817267 h 6858000"/>
              <a:gd name="connsiteX493" fmla="*/ 4830582 w 7467600"/>
              <a:gd name="connsiteY493" fmla="*/ 4676000 h 6858000"/>
              <a:gd name="connsiteX494" fmla="*/ 4830100 w 7467600"/>
              <a:gd name="connsiteY494" fmla="*/ 4675554 h 6858000"/>
              <a:gd name="connsiteX495" fmla="*/ 4036318 w 7467600"/>
              <a:gd name="connsiteY495" fmla="*/ 4147013 h 6858000"/>
              <a:gd name="connsiteX496" fmla="*/ 3432098 w 7467600"/>
              <a:gd name="connsiteY496" fmla="*/ 3537312 h 6858000"/>
              <a:gd name="connsiteX497" fmla="*/ 3446761 w 7467600"/>
              <a:gd name="connsiteY497" fmla="*/ 3461278 h 6858000"/>
              <a:gd name="connsiteX498" fmla="*/ 4419733 w 7467600"/>
              <a:gd name="connsiteY498" fmla="*/ 3963555 h 6858000"/>
              <a:gd name="connsiteX499" fmla="*/ 4781371 w 7467600"/>
              <a:gd name="connsiteY499" fmla="*/ 4458604 h 6858000"/>
              <a:gd name="connsiteX500" fmla="*/ 4780440 w 7467600"/>
              <a:gd name="connsiteY500" fmla="*/ 4470290 h 6858000"/>
              <a:gd name="connsiteX501" fmla="*/ 4898954 w 7467600"/>
              <a:gd name="connsiteY501" fmla="*/ 4662092 h 6858000"/>
              <a:gd name="connsiteX502" fmla="*/ 4900699 w 7467600"/>
              <a:gd name="connsiteY502" fmla="*/ 4670867 h 6858000"/>
              <a:gd name="connsiteX503" fmla="*/ 5714511 w 7467600"/>
              <a:gd name="connsiteY503" fmla="*/ 4663483 h 6858000"/>
              <a:gd name="connsiteX504" fmla="*/ 5464793 w 7467600"/>
              <a:gd name="connsiteY504" fmla="*/ 4393556 h 6858000"/>
              <a:gd name="connsiteX505" fmla="*/ 5461897 w 7467600"/>
              <a:gd name="connsiteY505" fmla="*/ 4390879 h 6858000"/>
              <a:gd name="connsiteX506" fmla="*/ 4294126 w 7467600"/>
              <a:gd name="connsiteY506" fmla="*/ 3303048 h 6858000"/>
              <a:gd name="connsiteX507" fmla="*/ 4305321 w 7467600"/>
              <a:gd name="connsiteY507" fmla="*/ 3256953 h 6858000"/>
              <a:gd name="connsiteX508" fmla="*/ 4949299 w 7467600"/>
              <a:gd name="connsiteY508" fmla="*/ 3766336 h 6858000"/>
              <a:gd name="connsiteX509" fmla="*/ 5291452 w 7467600"/>
              <a:gd name="connsiteY509" fmla="*/ 4076801 h 6858000"/>
              <a:gd name="connsiteX510" fmla="*/ 5434998 w 7467600"/>
              <a:gd name="connsiteY510" fmla="*/ 4254100 h 6858000"/>
              <a:gd name="connsiteX511" fmla="*/ 5351015 w 7467600"/>
              <a:gd name="connsiteY511" fmla="*/ 3760989 h 6858000"/>
              <a:gd name="connsiteX512" fmla="*/ 5413780 w 7467600"/>
              <a:gd name="connsiteY512" fmla="*/ 2966265 h 6858000"/>
              <a:gd name="connsiteX513" fmla="*/ 5425627 w 7467600"/>
              <a:gd name="connsiteY513" fmla="*/ 2954192 h 6858000"/>
              <a:gd name="connsiteX514" fmla="*/ 6604735 w 7467600"/>
              <a:gd name="connsiteY514" fmla="*/ 2041381 h 6858000"/>
              <a:gd name="connsiteX515" fmla="*/ 7204487 w 7467600"/>
              <a:gd name="connsiteY515" fmla="*/ 2742112 h 6858000"/>
              <a:gd name="connsiteX516" fmla="*/ 7131592 w 7467600"/>
              <a:gd name="connsiteY516" fmla="*/ 2672096 h 6858000"/>
              <a:gd name="connsiteX517" fmla="*/ 6996344 w 7467600"/>
              <a:gd name="connsiteY517" fmla="*/ 2518310 h 6858000"/>
              <a:gd name="connsiteX518" fmla="*/ 6735495 w 7467600"/>
              <a:gd name="connsiteY518" fmla="*/ 2196890 h 6858000"/>
              <a:gd name="connsiteX519" fmla="*/ 6721901 w 7467600"/>
              <a:gd name="connsiteY519" fmla="*/ 2179274 h 6858000"/>
              <a:gd name="connsiteX520" fmla="*/ 6604735 w 7467600"/>
              <a:gd name="connsiteY520" fmla="*/ 2041381 h 6858000"/>
              <a:gd name="connsiteX521" fmla="*/ 6591670 w 7467600"/>
              <a:gd name="connsiteY521" fmla="*/ 1988277 h 6858000"/>
              <a:gd name="connsiteX522" fmla="*/ 6747349 w 7467600"/>
              <a:gd name="connsiteY522" fmla="*/ 2160069 h 6858000"/>
              <a:gd name="connsiteX523" fmla="*/ 6760943 w 7467600"/>
              <a:gd name="connsiteY523" fmla="*/ 2177686 h 6858000"/>
              <a:gd name="connsiteX524" fmla="*/ 7021065 w 7467600"/>
              <a:gd name="connsiteY524" fmla="*/ 2498102 h 6858000"/>
              <a:gd name="connsiteX525" fmla="*/ 7155223 w 7467600"/>
              <a:gd name="connsiteY525" fmla="*/ 2650386 h 6858000"/>
              <a:gd name="connsiteX526" fmla="*/ 7203167 w 7467600"/>
              <a:gd name="connsiteY526" fmla="*/ 2697288 h 6858000"/>
              <a:gd name="connsiteX527" fmla="*/ 6937703 w 7467600"/>
              <a:gd name="connsiteY527" fmla="*/ 2321981 h 6858000"/>
              <a:gd name="connsiteX528" fmla="*/ 6591670 w 7467600"/>
              <a:gd name="connsiteY528" fmla="*/ 1988277 h 6858000"/>
              <a:gd name="connsiteX529" fmla="*/ 5798671 w 7467600"/>
              <a:gd name="connsiteY529" fmla="*/ 1981601 h 6858000"/>
              <a:gd name="connsiteX530" fmla="*/ 5754709 w 7467600"/>
              <a:gd name="connsiteY530" fmla="*/ 2071454 h 6858000"/>
              <a:gd name="connsiteX531" fmla="*/ 5763044 w 7467600"/>
              <a:gd name="connsiteY531" fmla="*/ 2842206 h 6858000"/>
              <a:gd name="connsiteX532" fmla="*/ 5764974 w 7467600"/>
              <a:gd name="connsiteY532" fmla="*/ 2799609 h 6858000"/>
              <a:gd name="connsiteX533" fmla="*/ 5767665 w 7467600"/>
              <a:gd name="connsiteY533" fmla="*/ 2666409 h 6858000"/>
              <a:gd name="connsiteX534" fmla="*/ 5763055 w 7467600"/>
              <a:gd name="connsiteY534" fmla="*/ 2579705 h 6858000"/>
              <a:gd name="connsiteX535" fmla="*/ 5758079 w 7467600"/>
              <a:gd name="connsiteY535" fmla="*/ 2492508 h 6858000"/>
              <a:gd name="connsiteX536" fmla="*/ 5779325 w 7467600"/>
              <a:gd name="connsiteY536" fmla="*/ 2197069 h 6858000"/>
              <a:gd name="connsiteX537" fmla="*/ 5798671 w 7467600"/>
              <a:gd name="connsiteY537" fmla="*/ 1981601 h 6858000"/>
              <a:gd name="connsiteX538" fmla="*/ 5829202 w 7467600"/>
              <a:gd name="connsiteY538" fmla="*/ 1971679 h 6858000"/>
              <a:gd name="connsiteX539" fmla="*/ 5809558 w 7467600"/>
              <a:gd name="connsiteY539" fmla="*/ 2198043 h 6858000"/>
              <a:gd name="connsiteX540" fmla="*/ 5788653 w 7467600"/>
              <a:gd name="connsiteY540" fmla="*/ 2489430 h 6858000"/>
              <a:gd name="connsiteX541" fmla="*/ 5793439 w 7467600"/>
              <a:gd name="connsiteY541" fmla="*/ 2575235 h 6858000"/>
              <a:gd name="connsiteX542" fmla="*/ 5796837 w 7467600"/>
              <a:gd name="connsiteY542" fmla="*/ 2637633 h 6858000"/>
              <a:gd name="connsiteX543" fmla="*/ 5818614 w 7467600"/>
              <a:gd name="connsiteY543" fmla="*/ 2473055 h 6858000"/>
              <a:gd name="connsiteX544" fmla="*/ 5829202 w 7467600"/>
              <a:gd name="connsiteY544" fmla="*/ 1971679 h 6858000"/>
              <a:gd name="connsiteX545" fmla="*/ 5911389 w 7467600"/>
              <a:gd name="connsiteY545" fmla="*/ 1898371 h 6858000"/>
              <a:gd name="connsiteX546" fmla="*/ 6237627 w 7467600"/>
              <a:gd name="connsiteY546" fmla="*/ 2231921 h 6858000"/>
              <a:gd name="connsiteX547" fmla="*/ 5911389 w 7467600"/>
              <a:gd name="connsiteY547" fmla="*/ 1898371 h 6858000"/>
              <a:gd name="connsiteX548" fmla="*/ 6944437 w 7467600"/>
              <a:gd name="connsiteY548" fmla="*/ 1575402 h 6858000"/>
              <a:gd name="connsiteX549" fmla="*/ 6304730 w 7467600"/>
              <a:gd name="connsiteY549" fmla="*/ 1766654 h 6858000"/>
              <a:gd name="connsiteX550" fmla="*/ 6944437 w 7467600"/>
              <a:gd name="connsiteY550" fmla="*/ 1575402 h 6858000"/>
              <a:gd name="connsiteX551" fmla="*/ 7019523 w 7467600"/>
              <a:gd name="connsiteY551" fmla="*/ 1519450 h 6858000"/>
              <a:gd name="connsiteX552" fmla="*/ 6298091 w 7467600"/>
              <a:gd name="connsiteY552" fmla="*/ 1737122 h 6858000"/>
              <a:gd name="connsiteX553" fmla="*/ 7019523 w 7467600"/>
              <a:gd name="connsiteY553" fmla="*/ 1519450 h 6858000"/>
              <a:gd name="connsiteX554" fmla="*/ 2399523 w 7467600"/>
              <a:gd name="connsiteY554" fmla="*/ 1428234 h 6858000"/>
              <a:gd name="connsiteX555" fmla="*/ 2224982 w 7467600"/>
              <a:gd name="connsiteY555" fmla="*/ 1826201 h 6858000"/>
              <a:gd name="connsiteX556" fmla="*/ 2096099 w 7467600"/>
              <a:gd name="connsiteY556" fmla="*/ 2345900 h 6858000"/>
              <a:gd name="connsiteX557" fmla="*/ 2283317 w 7467600"/>
              <a:gd name="connsiteY557" fmla="*/ 1796925 h 6858000"/>
              <a:gd name="connsiteX558" fmla="*/ 2399523 w 7467600"/>
              <a:gd name="connsiteY558" fmla="*/ 1428234 h 6858000"/>
              <a:gd name="connsiteX559" fmla="*/ 2448558 w 7467600"/>
              <a:gd name="connsiteY559" fmla="*/ 1373435 h 6858000"/>
              <a:gd name="connsiteX560" fmla="*/ 2312521 w 7467600"/>
              <a:gd name="connsiteY560" fmla="*/ 1806140 h 6858000"/>
              <a:gd name="connsiteX561" fmla="*/ 2127533 w 7467600"/>
              <a:gd name="connsiteY561" fmla="*/ 2348380 h 6858000"/>
              <a:gd name="connsiteX562" fmla="*/ 2358080 w 7467600"/>
              <a:gd name="connsiteY562" fmla="*/ 1866134 h 6858000"/>
              <a:gd name="connsiteX563" fmla="*/ 2407436 w 7467600"/>
              <a:gd name="connsiteY563" fmla="*/ 1651070 h 6858000"/>
              <a:gd name="connsiteX564" fmla="*/ 2448558 w 7467600"/>
              <a:gd name="connsiteY564" fmla="*/ 1373435 h 6858000"/>
              <a:gd name="connsiteX565" fmla="*/ 278707 w 7467600"/>
              <a:gd name="connsiteY565" fmla="*/ 1352270 h 6858000"/>
              <a:gd name="connsiteX566" fmla="*/ 321570 w 7467600"/>
              <a:gd name="connsiteY566" fmla="*/ 1861610 h 6858000"/>
              <a:gd name="connsiteX567" fmla="*/ 294281 w 7467600"/>
              <a:gd name="connsiteY567" fmla="*/ 1440658 h 6858000"/>
              <a:gd name="connsiteX568" fmla="*/ 278707 w 7467600"/>
              <a:gd name="connsiteY568" fmla="*/ 1352270 h 6858000"/>
              <a:gd name="connsiteX569" fmla="*/ 1423821 w 7467600"/>
              <a:gd name="connsiteY569" fmla="*/ 1351958 h 6858000"/>
              <a:gd name="connsiteX570" fmla="*/ 1638521 w 7467600"/>
              <a:gd name="connsiteY570" fmla="*/ 1908470 h 6858000"/>
              <a:gd name="connsiteX571" fmla="*/ 1754199 w 7467600"/>
              <a:gd name="connsiteY571" fmla="*/ 2149284 h 6858000"/>
              <a:gd name="connsiteX572" fmla="*/ 1908359 w 7467600"/>
              <a:gd name="connsiteY572" fmla="*/ 2364988 h 6858000"/>
              <a:gd name="connsiteX573" fmla="*/ 1647661 w 7467600"/>
              <a:gd name="connsiteY573" fmla="*/ 1825945 h 6858000"/>
              <a:gd name="connsiteX574" fmla="*/ 1423821 w 7467600"/>
              <a:gd name="connsiteY574" fmla="*/ 1351958 h 6858000"/>
              <a:gd name="connsiteX575" fmla="*/ 1431890 w 7467600"/>
              <a:gd name="connsiteY575" fmla="*/ 1306475 h 6858000"/>
              <a:gd name="connsiteX576" fmla="*/ 1507597 w 7467600"/>
              <a:gd name="connsiteY576" fmla="*/ 1446132 h 6858000"/>
              <a:gd name="connsiteX577" fmla="*/ 1674586 w 7467600"/>
              <a:gd name="connsiteY577" fmla="*/ 1813832 h 6858000"/>
              <a:gd name="connsiteX578" fmla="*/ 1815950 w 7467600"/>
              <a:gd name="connsiteY578" fmla="*/ 2128564 h 6858000"/>
              <a:gd name="connsiteX579" fmla="*/ 1984242 w 7467600"/>
              <a:gd name="connsiteY579" fmla="*/ 2430829 h 6858000"/>
              <a:gd name="connsiteX580" fmla="*/ 2014023 w 7467600"/>
              <a:gd name="connsiteY580" fmla="*/ 2450995 h 6858000"/>
              <a:gd name="connsiteX581" fmla="*/ 1747337 w 7467600"/>
              <a:gd name="connsiteY581" fmla="*/ 1855264 h 6858000"/>
              <a:gd name="connsiteX582" fmla="*/ 1533749 w 7467600"/>
              <a:gd name="connsiteY582" fmla="*/ 1478656 h 6858000"/>
              <a:gd name="connsiteX583" fmla="*/ 1431890 w 7467600"/>
              <a:gd name="connsiteY583" fmla="*/ 1306475 h 6858000"/>
              <a:gd name="connsiteX584" fmla="*/ 5052692 w 7467600"/>
              <a:gd name="connsiteY584" fmla="*/ 1292994 h 6858000"/>
              <a:gd name="connsiteX585" fmla="*/ 5200661 w 7467600"/>
              <a:gd name="connsiteY585" fmla="*/ 1635186 h 6858000"/>
              <a:gd name="connsiteX586" fmla="*/ 5297138 w 7467600"/>
              <a:gd name="connsiteY586" fmla="*/ 1906351 h 6858000"/>
              <a:gd name="connsiteX587" fmla="*/ 5052692 w 7467600"/>
              <a:gd name="connsiteY587" fmla="*/ 1292994 h 6858000"/>
              <a:gd name="connsiteX588" fmla="*/ 5009948 w 7467600"/>
              <a:gd name="connsiteY588" fmla="*/ 1273619 h 6858000"/>
              <a:gd name="connsiteX589" fmla="*/ 5121777 w 7467600"/>
              <a:gd name="connsiteY589" fmla="*/ 1654213 h 6858000"/>
              <a:gd name="connsiteX590" fmla="*/ 5293545 w 7467600"/>
              <a:gd name="connsiteY590" fmla="*/ 2072247 h 6858000"/>
              <a:gd name="connsiteX591" fmla="*/ 5294042 w 7467600"/>
              <a:gd name="connsiteY591" fmla="*/ 2065019 h 6858000"/>
              <a:gd name="connsiteX592" fmla="*/ 5171936 w 7467600"/>
              <a:gd name="connsiteY592" fmla="*/ 1647613 h 6858000"/>
              <a:gd name="connsiteX593" fmla="*/ 5009948 w 7467600"/>
              <a:gd name="connsiteY593" fmla="*/ 1273619 h 6858000"/>
              <a:gd name="connsiteX594" fmla="*/ 655236 w 7467600"/>
              <a:gd name="connsiteY594" fmla="*/ 1268632 h 6858000"/>
              <a:gd name="connsiteX595" fmla="*/ 839521 w 7467600"/>
              <a:gd name="connsiteY595" fmla="*/ 1685315 h 6858000"/>
              <a:gd name="connsiteX596" fmla="*/ 1109416 w 7467600"/>
              <a:gd name="connsiteY596" fmla="*/ 2061663 h 6858000"/>
              <a:gd name="connsiteX597" fmla="*/ 1298300 w 7467600"/>
              <a:gd name="connsiteY597" fmla="*/ 2247742 h 6858000"/>
              <a:gd name="connsiteX598" fmla="*/ 1125871 w 7467600"/>
              <a:gd name="connsiteY598" fmla="*/ 1989513 h 6858000"/>
              <a:gd name="connsiteX599" fmla="*/ 981574 w 7467600"/>
              <a:gd name="connsiteY599" fmla="*/ 1783157 h 6858000"/>
              <a:gd name="connsiteX600" fmla="*/ 922198 w 7467600"/>
              <a:gd name="connsiteY600" fmla="*/ 1677437 h 6858000"/>
              <a:gd name="connsiteX601" fmla="*/ 869293 w 7467600"/>
              <a:gd name="connsiteY601" fmla="*/ 1583214 h 6858000"/>
              <a:gd name="connsiteX602" fmla="*/ 751431 w 7467600"/>
              <a:gd name="connsiteY602" fmla="*/ 1405731 h 6858000"/>
              <a:gd name="connsiteX603" fmla="*/ 655236 w 7467600"/>
              <a:gd name="connsiteY603" fmla="*/ 1268632 h 6858000"/>
              <a:gd name="connsiteX604" fmla="*/ 6516292 w 7467600"/>
              <a:gd name="connsiteY604" fmla="*/ 1263064 h 6858000"/>
              <a:gd name="connsiteX605" fmla="*/ 5736320 w 7467600"/>
              <a:gd name="connsiteY605" fmla="*/ 1501803 h 6858000"/>
              <a:gd name="connsiteX606" fmla="*/ 6516292 w 7467600"/>
              <a:gd name="connsiteY606" fmla="*/ 1263064 h 6858000"/>
              <a:gd name="connsiteX607" fmla="*/ 291466 w 7467600"/>
              <a:gd name="connsiteY607" fmla="*/ 1250369 h 6858000"/>
              <a:gd name="connsiteX608" fmla="*/ 323180 w 7467600"/>
              <a:gd name="connsiteY608" fmla="*/ 1435283 h 6858000"/>
              <a:gd name="connsiteX609" fmla="*/ 349381 w 7467600"/>
              <a:gd name="connsiteY609" fmla="*/ 1875041 h 6858000"/>
              <a:gd name="connsiteX610" fmla="*/ 374363 w 7467600"/>
              <a:gd name="connsiteY610" fmla="*/ 1506494 h 6858000"/>
              <a:gd name="connsiteX611" fmla="*/ 302168 w 7467600"/>
              <a:gd name="connsiteY611" fmla="*/ 1274495 h 6858000"/>
              <a:gd name="connsiteX612" fmla="*/ 291466 w 7467600"/>
              <a:gd name="connsiteY612" fmla="*/ 1250369 h 6858000"/>
              <a:gd name="connsiteX613" fmla="*/ 678222 w 7467600"/>
              <a:gd name="connsiteY613" fmla="*/ 1248670 h 6858000"/>
              <a:gd name="connsiteX614" fmla="*/ 775536 w 7467600"/>
              <a:gd name="connsiteY614" fmla="*/ 1388015 h 6858000"/>
              <a:gd name="connsiteX615" fmla="*/ 894529 w 7467600"/>
              <a:gd name="connsiteY615" fmla="*/ 1567739 h 6858000"/>
              <a:gd name="connsiteX616" fmla="*/ 948000 w 7467600"/>
              <a:gd name="connsiteY616" fmla="*/ 1663088 h 6858000"/>
              <a:gd name="connsiteX617" fmla="*/ 1006812 w 7467600"/>
              <a:gd name="connsiteY617" fmla="*/ 1767683 h 6858000"/>
              <a:gd name="connsiteX618" fmla="*/ 1149133 w 7467600"/>
              <a:gd name="connsiteY618" fmla="*/ 1971513 h 6858000"/>
              <a:gd name="connsiteX619" fmla="*/ 1333952 w 7467600"/>
              <a:gd name="connsiteY619" fmla="*/ 2251620 h 6858000"/>
              <a:gd name="connsiteX620" fmla="*/ 1337329 w 7467600"/>
              <a:gd name="connsiteY620" fmla="*/ 2258350 h 6858000"/>
              <a:gd name="connsiteX621" fmla="*/ 1014726 w 7467600"/>
              <a:gd name="connsiteY621" fmla="*/ 1615556 h 6858000"/>
              <a:gd name="connsiteX622" fmla="*/ 678222 w 7467600"/>
              <a:gd name="connsiteY622" fmla="*/ 1248670 h 6858000"/>
              <a:gd name="connsiteX623" fmla="*/ 6691602 w 7467600"/>
              <a:gd name="connsiteY623" fmla="*/ 1140573 h 6858000"/>
              <a:gd name="connsiteX624" fmla="*/ 6571100 w 7467600"/>
              <a:gd name="connsiteY624" fmla="*/ 1183662 h 6858000"/>
              <a:gd name="connsiteX625" fmla="*/ 6241687 w 7467600"/>
              <a:gd name="connsiteY625" fmla="*/ 1257600 h 6858000"/>
              <a:gd name="connsiteX626" fmla="*/ 5693009 w 7467600"/>
              <a:gd name="connsiteY626" fmla="*/ 1478256 h 6858000"/>
              <a:gd name="connsiteX627" fmla="*/ 6548420 w 7467600"/>
              <a:gd name="connsiteY627" fmla="*/ 1214599 h 6858000"/>
              <a:gd name="connsiteX628" fmla="*/ 6605473 w 7467600"/>
              <a:gd name="connsiteY628" fmla="*/ 1184686 h 6858000"/>
              <a:gd name="connsiteX629" fmla="*/ 6691602 w 7467600"/>
              <a:gd name="connsiteY629" fmla="*/ 1140573 h 6858000"/>
              <a:gd name="connsiteX630" fmla="*/ 4002475 w 7467600"/>
              <a:gd name="connsiteY630" fmla="*/ 1037802 h 6858000"/>
              <a:gd name="connsiteX631" fmla="*/ 4000324 w 7467600"/>
              <a:gd name="connsiteY631" fmla="*/ 1039362 h 6858000"/>
              <a:gd name="connsiteX632" fmla="*/ 4002862 w 7467600"/>
              <a:gd name="connsiteY632" fmla="*/ 1042866 h 6858000"/>
              <a:gd name="connsiteX633" fmla="*/ 4002475 w 7467600"/>
              <a:gd name="connsiteY633" fmla="*/ 1037802 h 6858000"/>
              <a:gd name="connsiteX634" fmla="*/ 506322 w 7467600"/>
              <a:gd name="connsiteY634" fmla="*/ 1020997 h 6858000"/>
              <a:gd name="connsiteX635" fmla="*/ 533068 w 7467600"/>
              <a:gd name="connsiteY635" fmla="*/ 1029409 h 6858000"/>
              <a:gd name="connsiteX636" fmla="*/ 1232525 w 7467600"/>
              <a:gd name="connsiteY636" fmla="*/ 1804675 h 6858000"/>
              <a:gd name="connsiteX637" fmla="*/ 1388858 w 7467600"/>
              <a:gd name="connsiteY637" fmla="*/ 2368011 h 6858000"/>
              <a:gd name="connsiteX638" fmla="*/ 1384098 w 7467600"/>
              <a:gd name="connsiteY638" fmla="*/ 2378125 h 6858000"/>
              <a:gd name="connsiteX639" fmla="*/ 1425393 w 7467600"/>
              <a:gd name="connsiteY639" fmla="*/ 2589124 h 6858000"/>
              <a:gd name="connsiteX640" fmla="*/ 1424001 w 7467600"/>
              <a:gd name="connsiteY640" fmla="*/ 2597541 h 6858000"/>
              <a:gd name="connsiteX641" fmla="*/ 2152729 w 7467600"/>
              <a:gd name="connsiteY641" fmla="*/ 2864487 h 6858000"/>
              <a:gd name="connsiteX642" fmla="*/ 2020609 w 7467600"/>
              <a:gd name="connsiteY642" fmla="*/ 2539671 h 6858000"/>
              <a:gd name="connsiteX643" fmla="*/ 2018920 w 7467600"/>
              <a:gd name="connsiteY643" fmla="*/ 2536309 h 6858000"/>
              <a:gd name="connsiteX644" fmla="*/ 1342441 w 7467600"/>
              <a:gd name="connsiteY644" fmla="*/ 1173017 h 6858000"/>
              <a:gd name="connsiteX645" fmla="*/ 1367925 w 7467600"/>
              <a:gd name="connsiteY645" fmla="*/ 1135648 h 6858000"/>
              <a:gd name="connsiteX646" fmla="*/ 1771401 w 7467600"/>
              <a:gd name="connsiteY646" fmla="*/ 1806673 h 6858000"/>
              <a:gd name="connsiteX647" fmla="*/ 1972385 w 7467600"/>
              <a:gd name="connsiteY647" fmla="*/ 2198735 h 6858000"/>
              <a:gd name="connsiteX648" fmla="*/ 2040892 w 7467600"/>
              <a:gd name="connsiteY648" fmla="*/ 2405205 h 6858000"/>
              <a:gd name="connsiteX649" fmla="*/ 2131689 w 7467600"/>
              <a:gd name="connsiteY649" fmla="*/ 1936926 h 6858000"/>
              <a:gd name="connsiteX650" fmla="*/ 2454820 w 7467600"/>
              <a:gd name="connsiteY650" fmla="*/ 1248808 h 6858000"/>
              <a:gd name="connsiteX651" fmla="*/ 2492512 w 7467600"/>
              <a:gd name="connsiteY651" fmla="*/ 1302920 h 6858000"/>
              <a:gd name="connsiteX652" fmla="*/ 2081216 w 7467600"/>
              <a:gd name="connsiteY652" fmla="*/ 2527513 h 6858000"/>
              <a:gd name="connsiteX653" fmla="*/ 2081211 w 7467600"/>
              <a:gd name="connsiteY653" fmla="*/ 2528916 h 6858000"/>
              <a:gd name="connsiteX654" fmla="*/ 2199067 w 7467600"/>
              <a:gd name="connsiteY654" fmla="*/ 2884061 h 6858000"/>
              <a:gd name="connsiteX655" fmla="*/ 3192586 w 7467600"/>
              <a:gd name="connsiteY655" fmla="*/ 3411496 h 6858000"/>
              <a:gd name="connsiteX656" fmla="*/ 3182620 w 7467600"/>
              <a:gd name="connsiteY656" fmla="*/ 3483279 h 6858000"/>
              <a:gd name="connsiteX657" fmla="*/ 2435119 w 7467600"/>
              <a:gd name="connsiteY657" fmla="*/ 3080173 h 6858000"/>
              <a:gd name="connsiteX658" fmla="*/ 2410152 w 7467600"/>
              <a:gd name="connsiteY658" fmla="*/ 3063751 h 6858000"/>
              <a:gd name="connsiteX659" fmla="*/ 2408099 w 7467600"/>
              <a:gd name="connsiteY659" fmla="*/ 3064403 h 6858000"/>
              <a:gd name="connsiteX660" fmla="*/ 2407218 w 7467600"/>
              <a:gd name="connsiteY660" fmla="*/ 3070324 h 6858000"/>
              <a:gd name="connsiteX661" fmla="*/ 2380138 w 7467600"/>
              <a:gd name="connsiteY661" fmla="*/ 3099341 h 6858000"/>
              <a:gd name="connsiteX662" fmla="*/ 1765923 w 7467600"/>
              <a:gd name="connsiteY662" fmla="*/ 3581043 h 6858000"/>
              <a:gd name="connsiteX663" fmla="*/ 1702258 w 7467600"/>
              <a:gd name="connsiteY663" fmla="*/ 3612286 h 6858000"/>
              <a:gd name="connsiteX664" fmla="*/ 1538370 w 7467600"/>
              <a:gd name="connsiteY664" fmla="*/ 3811804 h 6858000"/>
              <a:gd name="connsiteX665" fmla="*/ 542867 w 7467600"/>
              <a:gd name="connsiteY665" fmla="*/ 4944092 h 6858000"/>
              <a:gd name="connsiteX666" fmla="*/ 515800 w 7467600"/>
              <a:gd name="connsiteY666" fmla="*/ 4862180 h 6858000"/>
              <a:gd name="connsiteX667" fmla="*/ 909145 w 7467600"/>
              <a:gd name="connsiteY667" fmla="*/ 4199225 h 6858000"/>
              <a:gd name="connsiteX668" fmla="*/ 1214067 w 7467600"/>
              <a:gd name="connsiteY668" fmla="*/ 3908561 h 6858000"/>
              <a:gd name="connsiteX669" fmla="*/ 640967 w 7467600"/>
              <a:gd name="connsiteY669" fmla="*/ 4105601 h 6858000"/>
              <a:gd name="connsiteX670" fmla="*/ 112563 w 7467600"/>
              <a:gd name="connsiteY670" fmla="*/ 4396952 h 6858000"/>
              <a:gd name="connsiteX671" fmla="*/ 0 w 7467600"/>
              <a:gd name="connsiteY671" fmla="*/ 4466006 h 6858000"/>
              <a:gd name="connsiteX672" fmla="*/ 0 w 7467600"/>
              <a:gd name="connsiteY672" fmla="*/ 4233763 h 6858000"/>
              <a:gd name="connsiteX673" fmla="*/ 36881 w 7467600"/>
              <a:gd name="connsiteY673" fmla="*/ 4200118 h 6858000"/>
              <a:gd name="connsiteX674" fmla="*/ 910534 w 7467600"/>
              <a:gd name="connsiteY674" fmla="*/ 3629753 h 6858000"/>
              <a:gd name="connsiteX675" fmla="*/ 1578717 w 7467600"/>
              <a:gd name="connsiteY675" fmla="*/ 3575982 h 6858000"/>
              <a:gd name="connsiteX676" fmla="*/ 2338780 w 7467600"/>
              <a:gd name="connsiteY676" fmla="*/ 3033725 h 6858000"/>
              <a:gd name="connsiteX677" fmla="*/ 1807991 w 7467600"/>
              <a:gd name="connsiteY677" fmla="*/ 2807184 h 6858000"/>
              <a:gd name="connsiteX678" fmla="*/ 1416358 w 7467600"/>
              <a:gd name="connsiteY678" fmla="*/ 3112571 h 6858000"/>
              <a:gd name="connsiteX679" fmla="*/ 939066 w 7467600"/>
              <a:gd name="connsiteY679" fmla="*/ 3378798 h 6858000"/>
              <a:gd name="connsiteX680" fmla="*/ 115099 w 7467600"/>
              <a:gd name="connsiteY680" fmla="*/ 3607650 h 6858000"/>
              <a:gd name="connsiteX681" fmla="*/ 97284 w 7467600"/>
              <a:gd name="connsiteY681" fmla="*/ 3520393 h 6858000"/>
              <a:gd name="connsiteX682" fmla="*/ 922050 w 7467600"/>
              <a:gd name="connsiteY682" fmla="*/ 3074867 h 6858000"/>
              <a:gd name="connsiteX683" fmla="*/ 1405265 w 7467600"/>
              <a:gd name="connsiteY683" fmla="*/ 3016319 h 6858000"/>
              <a:gd name="connsiteX684" fmla="*/ 1407512 w 7467600"/>
              <a:gd name="connsiteY684" fmla="*/ 3018001 h 6858000"/>
              <a:gd name="connsiteX685" fmla="*/ 1726266 w 7467600"/>
              <a:gd name="connsiteY685" fmla="*/ 2777274 h 6858000"/>
              <a:gd name="connsiteX686" fmla="*/ 625390 w 7467600"/>
              <a:gd name="connsiteY686" fmla="*/ 2514541 h 6858000"/>
              <a:gd name="connsiteX687" fmla="*/ 619799 w 7467600"/>
              <a:gd name="connsiteY687" fmla="*/ 2527180 h 6858000"/>
              <a:gd name="connsiteX688" fmla="*/ 310030 w 7467600"/>
              <a:gd name="connsiteY688" fmla="*/ 2771818 h 6858000"/>
              <a:gd name="connsiteX689" fmla="*/ 173877 w 7467600"/>
              <a:gd name="connsiteY689" fmla="*/ 2937056 h 6858000"/>
              <a:gd name="connsiteX690" fmla="*/ 77889 w 7467600"/>
              <a:gd name="connsiteY690" fmla="*/ 3138440 h 6858000"/>
              <a:gd name="connsiteX691" fmla="*/ 0 w 7467600"/>
              <a:gd name="connsiteY691" fmla="*/ 3271395 h 6858000"/>
              <a:gd name="connsiteX692" fmla="*/ 0 w 7467600"/>
              <a:gd name="connsiteY692" fmla="*/ 3153002 h 6858000"/>
              <a:gd name="connsiteX693" fmla="*/ 2386 w 7467600"/>
              <a:gd name="connsiteY693" fmla="*/ 3149203 h 6858000"/>
              <a:gd name="connsiteX694" fmla="*/ 89753 w 7467600"/>
              <a:gd name="connsiteY694" fmla="*/ 2987702 h 6858000"/>
              <a:gd name="connsiteX695" fmla="*/ 76869 w 7467600"/>
              <a:gd name="connsiteY695" fmla="*/ 3005404 h 6858000"/>
              <a:gd name="connsiteX696" fmla="*/ 32049 w 7467600"/>
              <a:gd name="connsiteY696" fmla="*/ 3065814 h 6858000"/>
              <a:gd name="connsiteX697" fmla="*/ 0 w 7467600"/>
              <a:gd name="connsiteY697" fmla="*/ 3108744 h 6858000"/>
              <a:gd name="connsiteX698" fmla="*/ 0 w 7467600"/>
              <a:gd name="connsiteY698" fmla="*/ 3058059 h 6858000"/>
              <a:gd name="connsiteX699" fmla="*/ 7610 w 7467600"/>
              <a:gd name="connsiteY699" fmla="*/ 3047889 h 6858000"/>
              <a:gd name="connsiteX700" fmla="*/ 52419 w 7467600"/>
              <a:gd name="connsiteY700" fmla="*/ 2987479 h 6858000"/>
              <a:gd name="connsiteX701" fmla="*/ 59142 w 7467600"/>
              <a:gd name="connsiteY701" fmla="*/ 2978488 h 6858000"/>
              <a:gd name="connsiteX702" fmla="*/ 0 w 7467600"/>
              <a:gd name="connsiteY702" fmla="*/ 3015334 h 6858000"/>
              <a:gd name="connsiteX703" fmla="*/ 0 w 7467600"/>
              <a:gd name="connsiteY703" fmla="*/ 2914286 h 6858000"/>
              <a:gd name="connsiteX704" fmla="*/ 36383 w 7467600"/>
              <a:gd name="connsiteY704" fmla="*/ 2901128 h 6858000"/>
              <a:gd name="connsiteX705" fmla="*/ 156329 w 7467600"/>
              <a:gd name="connsiteY705" fmla="*/ 2840533 h 6858000"/>
              <a:gd name="connsiteX706" fmla="*/ 358355 w 7467600"/>
              <a:gd name="connsiteY706" fmla="*/ 2620471 h 6858000"/>
              <a:gd name="connsiteX707" fmla="*/ 510577 w 7467600"/>
              <a:gd name="connsiteY707" fmla="*/ 2501244 h 6858000"/>
              <a:gd name="connsiteX708" fmla="*/ 211967 w 7467600"/>
              <a:gd name="connsiteY708" fmla="*/ 2479171 h 6858000"/>
              <a:gd name="connsiteX709" fmla="*/ 0 w 7467600"/>
              <a:gd name="connsiteY709" fmla="*/ 2476398 h 6858000"/>
              <a:gd name="connsiteX710" fmla="*/ 0 w 7467600"/>
              <a:gd name="connsiteY710" fmla="*/ 2389189 h 6858000"/>
              <a:gd name="connsiteX711" fmla="*/ 103062 w 7467600"/>
              <a:gd name="connsiteY711" fmla="*/ 2389518 h 6858000"/>
              <a:gd name="connsiteX712" fmla="*/ 510734 w 7467600"/>
              <a:gd name="connsiteY712" fmla="*/ 2416201 h 6858000"/>
              <a:gd name="connsiteX713" fmla="*/ 279257 w 7467600"/>
              <a:gd name="connsiteY713" fmla="*/ 2092102 h 6858000"/>
              <a:gd name="connsiteX714" fmla="*/ 65265 w 7467600"/>
              <a:gd name="connsiteY714" fmla="*/ 2006049 h 6858000"/>
              <a:gd name="connsiteX715" fmla="*/ 0 w 7467600"/>
              <a:gd name="connsiteY715" fmla="*/ 1982532 h 6858000"/>
              <a:gd name="connsiteX716" fmla="*/ 0 w 7467600"/>
              <a:gd name="connsiteY716" fmla="*/ 1912789 h 6858000"/>
              <a:gd name="connsiteX717" fmla="*/ 97460 w 7467600"/>
              <a:gd name="connsiteY717" fmla="*/ 1953725 h 6858000"/>
              <a:gd name="connsiteX718" fmla="*/ 221272 w 7467600"/>
              <a:gd name="connsiteY718" fmla="*/ 1980766 h 6858000"/>
              <a:gd name="connsiteX719" fmla="*/ 116765 w 7467600"/>
              <a:gd name="connsiteY719" fmla="*/ 1911033 h 6858000"/>
              <a:gd name="connsiteX720" fmla="*/ 16405 w 7467600"/>
              <a:gd name="connsiteY720" fmla="*/ 1803412 h 6858000"/>
              <a:gd name="connsiteX721" fmla="*/ 0 w 7467600"/>
              <a:gd name="connsiteY721" fmla="*/ 1784777 h 6858000"/>
              <a:gd name="connsiteX722" fmla="*/ 0 w 7467600"/>
              <a:gd name="connsiteY722" fmla="*/ 1740082 h 6858000"/>
              <a:gd name="connsiteX723" fmla="*/ 39394 w 7467600"/>
              <a:gd name="connsiteY723" fmla="*/ 1784856 h 6858000"/>
              <a:gd name="connsiteX724" fmla="*/ 135813 w 7467600"/>
              <a:gd name="connsiteY724" fmla="*/ 1888838 h 6858000"/>
              <a:gd name="connsiteX725" fmla="*/ 242575 w 7467600"/>
              <a:gd name="connsiteY725" fmla="*/ 1958841 h 6858000"/>
              <a:gd name="connsiteX726" fmla="*/ 82197 w 7467600"/>
              <a:gd name="connsiteY726" fmla="*/ 1754826 h 6858000"/>
              <a:gd name="connsiteX727" fmla="*/ 0 w 7467600"/>
              <a:gd name="connsiteY727" fmla="*/ 1679650 h 6858000"/>
              <a:gd name="connsiteX728" fmla="*/ 0 w 7467600"/>
              <a:gd name="connsiteY728" fmla="*/ 1602463 h 6858000"/>
              <a:gd name="connsiteX729" fmla="*/ 84689 w 7467600"/>
              <a:gd name="connsiteY729" fmla="*/ 1677442 h 6858000"/>
              <a:gd name="connsiteX730" fmla="*/ 298437 w 7467600"/>
              <a:gd name="connsiteY730" fmla="*/ 1968019 h 6858000"/>
              <a:gd name="connsiteX731" fmla="*/ 227269 w 7467600"/>
              <a:gd name="connsiteY731" fmla="*/ 1114064 h 6858000"/>
              <a:gd name="connsiteX732" fmla="*/ 248003 w 7467600"/>
              <a:gd name="connsiteY732" fmla="*/ 1089613 h 6858000"/>
              <a:gd name="connsiteX733" fmla="*/ 427020 w 7467600"/>
              <a:gd name="connsiteY733" fmla="*/ 1619803 h 6858000"/>
              <a:gd name="connsiteX734" fmla="*/ 340345 w 7467600"/>
              <a:gd name="connsiteY734" fmla="*/ 2027739 h 6858000"/>
              <a:gd name="connsiteX735" fmla="*/ 360865 w 7467600"/>
              <a:gd name="connsiteY735" fmla="*/ 2044827 h 6858000"/>
              <a:gd name="connsiteX736" fmla="*/ 560414 w 7467600"/>
              <a:gd name="connsiteY736" fmla="*/ 2421457 h 6858000"/>
              <a:gd name="connsiteX737" fmla="*/ 1359703 w 7467600"/>
              <a:gd name="connsiteY737" fmla="*/ 2578554 h 6858000"/>
              <a:gd name="connsiteX738" fmla="*/ 1359422 w 7467600"/>
              <a:gd name="connsiteY738" fmla="*/ 2577994 h 6858000"/>
              <a:gd name="connsiteX739" fmla="*/ 828701 w 7467600"/>
              <a:gd name="connsiteY739" fmla="*/ 1839520 h 6858000"/>
              <a:gd name="connsiteX740" fmla="*/ 494427 w 7467600"/>
              <a:gd name="connsiteY740" fmla="*/ 1092333 h 6858000"/>
              <a:gd name="connsiteX741" fmla="*/ 506322 w 7467600"/>
              <a:gd name="connsiteY741" fmla="*/ 1020997 h 6858000"/>
              <a:gd name="connsiteX742" fmla="*/ 4570198 w 7467600"/>
              <a:gd name="connsiteY742" fmla="*/ 978081 h 6858000"/>
              <a:gd name="connsiteX743" fmla="*/ 4523691 w 7467600"/>
              <a:gd name="connsiteY743" fmla="*/ 1127776 h 6858000"/>
              <a:gd name="connsiteX744" fmla="*/ 4509875 w 7467600"/>
              <a:gd name="connsiteY744" fmla="*/ 1167552 h 6858000"/>
              <a:gd name="connsiteX745" fmla="*/ 4478168 w 7467600"/>
              <a:gd name="connsiteY745" fmla="*/ 1260735 h 6858000"/>
              <a:gd name="connsiteX746" fmla="*/ 4409309 w 7467600"/>
              <a:gd name="connsiteY746" fmla="*/ 1666996 h 6858000"/>
              <a:gd name="connsiteX747" fmla="*/ 4370031 w 7467600"/>
              <a:gd name="connsiteY747" fmla="*/ 1955666 h 6858000"/>
              <a:gd name="connsiteX748" fmla="*/ 4570198 w 7467600"/>
              <a:gd name="connsiteY748" fmla="*/ 978081 h 6858000"/>
              <a:gd name="connsiteX749" fmla="*/ 4557898 w 7467600"/>
              <a:gd name="connsiteY749" fmla="*/ 900011 h 6858000"/>
              <a:gd name="connsiteX750" fmla="*/ 4344840 w 7467600"/>
              <a:gd name="connsiteY750" fmla="*/ 1922038 h 6858000"/>
              <a:gd name="connsiteX751" fmla="*/ 4378710 w 7467600"/>
              <a:gd name="connsiteY751" fmla="*/ 1665516 h 6858000"/>
              <a:gd name="connsiteX752" fmla="*/ 4448798 w 7467600"/>
              <a:gd name="connsiteY752" fmla="*/ 1253024 h 6858000"/>
              <a:gd name="connsiteX753" fmla="*/ 4480315 w 7467600"/>
              <a:gd name="connsiteY753" fmla="*/ 1158454 h 6858000"/>
              <a:gd name="connsiteX754" fmla="*/ 4494133 w 7467600"/>
              <a:gd name="connsiteY754" fmla="*/ 1118676 h 6858000"/>
              <a:gd name="connsiteX755" fmla="*/ 4557898 w 7467600"/>
              <a:gd name="connsiteY755" fmla="*/ 900011 h 6858000"/>
              <a:gd name="connsiteX756" fmla="*/ 5870151 w 7467600"/>
              <a:gd name="connsiteY756" fmla="*/ 898890 h 6858000"/>
              <a:gd name="connsiteX757" fmla="*/ 5861335 w 7467600"/>
              <a:gd name="connsiteY757" fmla="*/ 899177 h 6858000"/>
              <a:gd name="connsiteX758" fmla="*/ 5843702 w 7467600"/>
              <a:gd name="connsiteY758" fmla="*/ 899748 h 6858000"/>
              <a:gd name="connsiteX759" fmla="*/ 5651107 w 7467600"/>
              <a:gd name="connsiteY759" fmla="*/ 920306 h 6858000"/>
              <a:gd name="connsiteX760" fmla="*/ 5459407 w 7467600"/>
              <a:gd name="connsiteY760" fmla="*/ 940975 h 6858000"/>
              <a:gd name="connsiteX761" fmla="*/ 5374846 w 7467600"/>
              <a:gd name="connsiteY761" fmla="*/ 941988 h 6858000"/>
              <a:gd name="connsiteX762" fmla="*/ 5256105 w 7467600"/>
              <a:gd name="connsiteY762" fmla="*/ 945632 h 6858000"/>
              <a:gd name="connsiteX763" fmla="*/ 5107071 w 7467600"/>
              <a:gd name="connsiteY763" fmla="*/ 969720 h 6858000"/>
              <a:gd name="connsiteX764" fmla="*/ 4998681 w 7467600"/>
              <a:gd name="connsiteY764" fmla="*/ 988771 h 6858000"/>
              <a:gd name="connsiteX765" fmla="*/ 5870151 w 7467600"/>
              <a:gd name="connsiteY765" fmla="*/ 898890 h 6858000"/>
              <a:gd name="connsiteX766" fmla="*/ 5504425 w 7467600"/>
              <a:gd name="connsiteY766" fmla="*/ 848067 h 6858000"/>
              <a:gd name="connsiteX767" fmla="*/ 4968849 w 7467600"/>
              <a:gd name="connsiteY767" fmla="*/ 962318 h 6858000"/>
              <a:gd name="connsiteX768" fmla="*/ 5104039 w 7467600"/>
              <a:gd name="connsiteY768" fmla="*/ 940634 h 6858000"/>
              <a:gd name="connsiteX769" fmla="*/ 5256311 w 7467600"/>
              <a:gd name="connsiteY769" fmla="*/ 916490 h 6858000"/>
              <a:gd name="connsiteX770" fmla="*/ 5377381 w 7467600"/>
              <a:gd name="connsiteY770" fmla="*/ 912671 h 6858000"/>
              <a:gd name="connsiteX771" fmla="*/ 5460148 w 7467600"/>
              <a:gd name="connsiteY771" fmla="*/ 911442 h 6858000"/>
              <a:gd name="connsiteX772" fmla="*/ 5648971 w 7467600"/>
              <a:gd name="connsiteY772" fmla="*/ 891331 h 6858000"/>
              <a:gd name="connsiteX773" fmla="*/ 5844807 w 7467600"/>
              <a:gd name="connsiteY773" fmla="*/ 870718 h 6858000"/>
              <a:gd name="connsiteX774" fmla="*/ 5862975 w 7467600"/>
              <a:gd name="connsiteY774" fmla="*/ 869756 h 6858000"/>
              <a:gd name="connsiteX775" fmla="*/ 5920887 w 7467600"/>
              <a:gd name="connsiteY775" fmla="*/ 865929 h 6858000"/>
              <a:gd name="connsiteX776" fmla="*/ 5504425 w 7467600"/>
              <a:gd name="connsiteY776" fmla="*/ 848067 h 6858000"/>
              <a:gd name="connsiteX777" fmla="*/ 3607114 w 7467600"/>
              <a:gd name="connsiteY777" fmla="*/ 467441 h 6858000"/>
              <a:gd name="connsiteX778" fmla="*/ 3296242 w 7467600"/>
              <a:gd name="connsiteY778" fmla="*/ 807991 h 6858000"/>
              <a:gd name="connsiteX779" fmla="*/ 3174674 w 7467600"/>
              <a:gd name="connsiteY779" fmla="*/ 919759 h 6858000"/>
              <a:gd name="connsiteX780" fmla="*/ 3042978 w 7467600"/>
              <a:gd name="connsiteY780" fmla="*/ 1054894 h 6858000"/>
              <a:gd name="connsiteX781" fmla="*/ 2968914 w 7467600"/>
              <a:gd name="connsiteY781" fmla="*/ 1133756 h 6858000"/>
              <a:gd name="connsiteX782" fmla="*/ 3103823 w 7467600"/>
              <a:gd name="connsiteY782" fmla="*/ 1026814 h 6858000"/>
              <a:gd name="connsiteX783" fmla="*/ 3607114 w 7467600"/>
              <a:gd name="connsiteY783" fmla="*/ 467441 h 6858000"/>
              <a:gd name="connsiteX784" fmla="*/ 3744487 w 7467600"/>
              <a:gd name="connsiteY784" fmla="*/ 383136 h 6858000"/>
              <a:gd name="connsiteX785" fmla="*/ 3970213 w 7467600"/>
              <a:gd name="connsiteY785" fmla="*/ 995559 h 6858000"/>
              <a:gd name="connsiteX786" fmla="*/ 3744487 w 7467600"/>
              <a:gd name="connsiteY786" fmla="*/ 383136 h 6858000"/>
              <a:gd name="connsiteX787" fmla="*/ 3624562 w 7467600"/>
              <a:gd name="connsiteY787" fmla="*/ 367041 h 6858000"/>
              <a:gd name="connsiteX788" fmla="*/ 3489712 w 7467600"/>
              <a:gd name="connsiteY788" fmla="*/ 485386 h 6858000"/>
              <a:gd name="connsiteX789" fmla="*/ 3182994 w 7467600"/>
              <a:gd name="connsiteY789" fmla="*/ 828265 h 6858000"/>
              <a:gd name="connsiteX790" fmla="*/ 2892114 w 7467600"/>
              <a:gd name="connsiteY790" fmla="*/ 1172635 h 6858000"/>
              <a:gd name="connsiteX791" fmla="*/ 3021459 w 7467600"/>
              <a:gd name="connsiteY791" fmla="*/ 1035385 h 6858000"/>
              <a:gd name="connsiteX792" fmla="*/ 3153873 w 7467600"/>
              <a:gd name="connsiteY792" fmla="*/ 898971 h 6858000"/>
              <a:gd name="connsiteX793" fmla="*/ 3276511 w 7467600"/>
              <a:gd name="connsiteY793" fmla="*/ 786423 h 6858000"/>
              <a:gd name="connsiteX794" fmla="*/ 3584154 w 7467600"/>
              <a:gd name="connsiteY794" fmla="*/ 448218 h 6858000"/>
              <a:gd name="connsiteX795" fmla="*/ 3624562 w 7467600"/>
              <a:gd name="connsiteY795" fmla="*/ 367041 h 6858000"/>
              <a:gd name="connsiteX796" fmla="*/ 3766672 w 7467600"/>
              <a:gd name="connsiteY796" fmla="*/ 359429 h 6858000"/>
              <a:gd name="connsiteX797" fmla="*/ 3996338 w 7467600"/>
              <a:gd name="connsiteY797" fmla="*/ 968237 h 6858000"/>
              <a:gd name="connsiteX798" fmla="*/ 3766672 w 7467600"/>
              <a:gd name="connsiteY798" fmla="*/ 359429 h 6858000"/>
              <a:gd name="connsiteX799" fmla="*/ 5805386 w 7467600"/>
              <a:gd name="connsiteY799" fmla="*/ 239240 h 6858000"/>
              <a:gd name="connsiteX800" fmla="*/ 5736947 w 7467600"/>
              <a:gd name="connsiteY800" fmla="*/ 261367 h 6858000"/>
              <a:gd name="connsiteX801" fmla="*/ 5427012 w 7467600"/>
              <a:gd name="connsiteY801" fmla="*/ 311272 h 6858000"/>
              <a:gd name="connsiteX802" fmla="*/ 5147818 w 7467600"/>
              <a:gd name="connsiteY802" fmla="*/ 322112 h 6858000"/>
              <a:gd name="connsiteX803" fmla="*/ 5060854 w 7467600"/>
              <a:gd name="connsiteY803" fmla="*/ 311882 h 6858000"/>
              <a:gd name="connsiteX804" fmla="*/ 4945989 w 7467600"/>
              <a:gd name="connsiteY804" fmla="*/ 300516 h 6858000"/>
              <a:gd name="connsiteX805" fmla="*/ 5410479 w 7467600"/>
              <a:gd name="connsiteY805" fmla="*/ 348434 h 6858000"/>
              <a:gd name="connsiteX806" fmla="*/ 5805386 w 7467600"/>
              <a:gd name="connsiteY806" fmla="*/ 239240 h 6858000"/>
              <a:gd name="connsiteX807" fmla="*/ 5905192 w 7467600"/>
              <a:gd name="connsiteY807" fmla="*/ 163079 h 6858000"/>
              <a:gd name="connsiteX808" fmla="*/ 5865655 w 7467600"/>
              <a:gd name="connsiteY808" fmla="*/ 171901 h 6858000"/>
              <a:gd name="connsiteX809" fmla="*/ 5259740 w 7467600"/>
              <a:gd name="connsiteY809" fmla="*/ 257013 h 6858000"/>
              <a:gd name="connsiteX810" fmla="*/ 5208466 w 7467600"/>
              <a:gd name="connsiteY810" fmla="*/ 257550 h 6858000"/>
              <a:gd name="connsiteX811" fmla="*/ 4980204 w 7467600"/>
              <a:gd name="connsiteY811" fmla="*/ 271903 h 6858000"/>
              <a:gd name="connsiteX812" fmla="*/ 5068068 w 7467600"/>
              <a:gd name="connsiteY812" fmla="*/ 282244 h 6858000"/>
              <a:gd name="connsiteX813" fmla="*/ 5153231 w 7467600"/>
              <a:gd name="connsiteY813" fmla="*/ 292240 h 6858000"/>
              <a:gd name="connsiteX814" fmla="*/ 5426491 w 7467600"/>
              <a:gd name="connsiteY814" fmla="*/ 281128 h 6858000"/>
              <a:gd name="connsiteX815" fmla="*/ 5731212 w 7467600"/>
              <a:gd name="connsiteY815" fmla="*/ 231951 h 6858000"/>
              <a:gd name="connsiteX816" fmla="*/ 5905192 w 7467600"/>
              <a:gd name="connsiteY816" fmla="*/ 163079 h 6858000"/>
              <a:gd name="connsiteX817" fmla="*/ 5944437 w 7467600"/>
              <a:gd name="connsiteY817" fmla="*/ 113829 h 6858000"/>
              <a:gd name="connsiteX818" fmla="*/ 5825032 w 7467600"/>
              <a:gd name="connsiteY818" fmla="*/ 146405 h 6858000"/>
              <a:gd name="connsiteX819" fmla="*/ 4955599 w 7467600"/>
              <a:gd name="connsiteY819" fmla="*/ 247008 h 6858000"/>
              <a:gd name="connsiteX820" fmla="*/ 5210104 w 7467600"/>
              <a:gd name="connsiteY820" fmla="*/ 228123 h 6858000"/>
              <a:gd name="connsiteX821" fmla="*/ 5261015 w 7467600"/>
              <a:gd name="connsiteY821" fmla="*/ 227087 h 6858000"/>
              <a:gd name="connsiteX822" fmla="*/ 5861181 w 7467600"/>
              <a:gd name="connsiteY822" fmla="*/ 143093 h 6858000"/>
              <a:gd name="connsiteX823" fmla="*/ 5961252 w 7467600"/>
              <a:gd name="connsiteY823" fmla="*/ 114820 h 6858000"/>
              <a:gd name="connsiteX824" fmla="*/ 5944437 w 7467600"/>
              <a:gd name="connsiteY824" fmla="*/ 113829 h 6858000"/>
              <a:gd name="connsiteX825" fmla="*/ 3882765 w 7467600"/>
              <a:gd name="connsiteY825" fmla="*/ 0 h 6858000"/>
              <a:gd name="connsiteX826" fmla="*/ 3995099 w 7467600"/>
              <a:gd name="connsiteY826" fmla="*/ 0 h 6858000"/>
              <a:gd name="connsiteX827" fmla="*/ 4163818 w 7467600"/>
              <a:gd name="connsiteY827" fmla="*/ 234104 h 6858000"/>
              <a:gd name="connsiteX828" fmla="*/ 4172099 w 7467600"/>
              <a:gd name="connsiteY828" fmla="*/ 234207 h 6858000"/>
              <a:gd name="connsiteX829" fmla="*/ 4784282 w 7467600"/>
              <a:gd name="connsiteY829" fmla="*/ 276561 h 6858000"/>
              <a:gd name="connsiteX830" fmla="*/ 4801687 w 7467600"/>
              <a:gd name="connsiteY830" fmla="*/ 267764 h 6858000"/>
              <a:gd name="connsiteX831" fmla="*/ 6082788 w 7467600"/>
              <a:gd name="connsiteY831" fmla="*/ 64119 h 6858000"/>
              <a:gd name="connsiteX832" fmla="*/ 6099442 w 7467600"/>
              <a:gd name="connsiteY832" fmla="*/ 82568 h 6858000"/>
              <a:gd name="connsiteX833" fmla="*/ 4804137 w 7467600"/>
              <a:gd name="connsiteY833" fmla="*/ 320931 h 6858000"/>
              <a:gd name="connsiteX834" fmla="*/ 4227047 w 7467600"/>
              <a:gd name="connsiteY834" fmla="*/ 313415 h 6858000"/>
              <a:gd name="connsiteX835" fmla="*/ 4346041 w 7467600"/>
              <a:gd name="connsiteY835" fmla="*/ 456086 h 6858000"/>
              <a:gd name="connsiteX836" fmla="*/ 4870967 w 7467600"/>
              <a:gd name="connsiteY836" fmla="*/ 963061 h 6858000"/>
              <a:gd name="connsiteX837" fmla="*/ 4889647 w 7467600"/>
              <a:gd name="connsiteY837" fmla="*/ 957147 h 6858000"/>
              <a:gd name="connsiteX838" fmla="*/ 5422504 w 7467600"/>
              <a:gd name="connsiteY838" fmla="*/ 805191 h 6858000"/>
              <a:gd name="connsiteX839" fmla="*/ 6087656 w 7467600"/>
              <a:gd name="connsiteY839" fmla="*/ 826703 h 6858000"/>
              <a:gd name="connsiteX840" fmla="*/ 6058717 w 7467600"/>
              <a:gd name="connsiteY840" fmla="*/ 865992 h 6858000"/>
              <a:gd name="connsiteX841" fmla="*/ 4974153 w 7467600"/>
              <a:gd name="connsiteY841" fmla="*/ 1045456 h 6858000"/>
              <a:gd name="connsiteX842" fmla="*/ 5627835 w 7467600"/>
              <a:gd name="connsiteY842" fmla="*/ 1472077 h 6858000"/>
              <a:gd name="connsiteX843" fmla="*/ 5629817 w 7467600"/>
              <a:gd name="connsiteY843" fmla="*/ 1471412 h 6858000"/>
              <a:gd name="connsiteX844" fmla="*/ 5634124 w 7467600"/>
              <a:gd name="connsiteY844" fmla="*/ 1470572 h 6858000"/>
              <a:gd name="connsiteX845" fmla="*/ 5755832 w 7467600"/>
              <a:gd name="connsiteY845" fmla="*/ 1383886 h 6858000"/>
              <a:gd name="connsiteX846" fmla="*/ 6014186 w 7467600"/>
              <a:gd name="connsiteY846" fmla="*/ 1279799 h 6858000"/>
              <a:gd name="connsiteX847" fmla="*/ 6901619 w 7467600"/>
              <a:gd name="connsiteY847" fmla="*/ 1047874 h 6858000"/>
              <a:gd name="connsiteX848" fmla="*/ 6931566 w 7467600"/>
              <a:gd name="connsiteY848" fmla="*/ 1062034 h 6858000"/>
              <a:gd name="connsiteX849" fmla="*/ 5790982 w 7467600"/>
              <a:gd name="connsiteY849" fmla="*/ 1561380 h 6858000"/>
              <a:gd name="connsiteX850" fmla="*/ 6188971 w 7467600"/>
              <a:gd name="connsiteY850" fmla="*/ 1755168 h 6858000"/>
              <a:gd name="connsiteX851" fmla="*/ 6202446 w 7467600"/>
              <a:gd name="connsiteY851" fmla="*/ 1752268 h 6858000"/>
              <a:gd name="connsiteX852" fmla="*/ 7179560 w 7467600"/>
              <a:gd name="connsiteY852" fmla="*/ 1467551 h 6858000"/>
              <a:gd name="connsiteX853" fmla="*/ 7158730 w 7467600"/>
              <a:gd name="connsiteY853" fmla="*/ 1507835 h 6858000"/>
              <a:gd name="connsiteX854" fmla="*/ 6326959 w 7467600"/>
              <a:gd name="connsiteY854" fmla="*/ 1817686 h 6858000"/>
              <a:gd name="connsiteX855" fmla="*/ 6537433 w 7467600"/>
              <a:gd name="connsiteY855" fmla="*/ 1907790 h 6858000"/>
              <a:gd name="connsiteX856" fmla="*/ 6550221 w 7467600"/>
              <a:gd name="connsiteY856" fmla="*/ 1910729 h 6858000"/>
              <a:gd name="connsiteX857" fmla="*/ 6964438 w 7467600"/>
              <a:gd name="connsiteY857" fmla="*/ 2209505 h 6858000"/>
              <a:gd name="connsiteX858" fmla="*/ 7367862 w 7467600"/>
              <a:gd name="connsiteY858" fmla="*/ 2806833 h 6858000"/>
              <a:gd name="connsiteX859" fmla="*/ 7364329 w 7467600"/>
              <a:gd name="connsiteY859" fmla="*/ 2826907 h 6858000"/>
              <a:gd name="connsiteX860" fmla="*/ 7290545 w 7467600"/>
              <a:gd name="connsiteY860" fmla="*/ 2850663 h 6858000"/>
              <a:gd name="connsiteX861" fmla="*/ 6472036 w 7467600"/>
              <a:gd name="connsiteY861" fmla="*/ 1959003 h 6858000"/>
              <a:gd name="connsiteX862" fmla="*/ 5792897 w 7467600"/>
              <a:gd name="connsiteY862" fmla="*/ 1647747 h 6858000"/>
              <a:gd name="connsiteX863" fmla="*/ 5842751 w 7467600"/>
              <a:gd name="connsiteY863" fmla="*/ 1816112 h 6858000"/>
              <a:gd name="connsiteX864" fmla="*/ 5847424 w 7467600"/>
              <a:gd name="connsiteY864" fmla="*/ 1815776 h 6858000"/>
              <a:gd name="connsiteX865" fmla="*/ 6399821 w 7467600"/>
              <a:gd name="connsiteY865" fmla="*/ 2344799 h 6858000"/>
              <a:gd name="connsiteX866" fmla="*/ 6323232 w 7467600"/>
              <a:gd name="connsiteY866" fmla="*/ 2389634 h 6858000"/>
              <a:gd name="connsiteX867" fmla="*/ 5942958 w 7467600"/>
              <a:gd name="connsiteY867" fmla="*/ 2077708 h 6858000"/>
              <a:gd name="connsiteX868" fmla="*/ 5921559 w 7467600"/>
              <a:gd name="connsiteY868" fmla="*/ 2378596 h 6858000"/>
              <a:gd name="connsiteX869" fmla="*/ 5817651 w 7467600"/>
              <a:gd name="connsiteY869" fmla="*/ 3023919 h 6858000"/>
              <a:gd name="connsiteX870" fmla="*/ 5729634 w 7467600"/>
              <a:gd name="connsiteY870" fmla="*/ 3051849 h 6858000"/>
              <a:gd name="connsiteX871" fmla="*/ 5611018 w 7467600"/>
              <a:gd name="connsiteY871" fmla="*/ 2316769 h 6858000"/>
              <a:gd name="connsiteX872" fmla="*/ 5687608 w 7467600"/>
              <a:gd name="connsiteY872" fmla="*/ 2039972 h 6858000"/>
              <a:gd name="connsiteX873" fmla="*/ 5657554 w 7467600"/>
              <a:gd name="connsiteY873" fmla="*/ 1576445 h 6858000"/>
              <a:gd name="connsiteX874" fmla="*/ 5150475 w 7467600"/>
              <a:gd name="connsiteY874" fmla="*/ 1274012 h 6858000"/>
              <a:gd name="connsiteX875" fmla="*/ 5349142 w 7467600"/>
              <a:gd name="connsiteY875" fmla="*/ 2204405 h 6858000"/>
              <a:gd name="connsiteX876" fmla="*/ 5262214 w 7467600"/>
              <a:gd name="connsiteY876" fmla="*/ 2233836 h 6858000"/>
              <a:gd name="connsiteX877" fmla="*/ 4981539 w 7467600"/>
              <a:gd name="connsiteY877" fmla="*/ 1542201 h 6858000"/>
              <a:gd name="connsiteX878" fmla="*/ 4958461 w 7467600"/>
              <a:gd name="connsiteY878" fmla="*/ 1136957 h 6858000"/>
              <a:gd name="connsiteX879" fmla="*/ 4655015 w 7467600"/>
              <a:gd name="connsiteY879" fmla="*/ 891426 h 6858000"/>
              <a:gd name="connsiteX880" fmla="*/ 4348002 w 7467600"/>
              <a:gd name="connsiteY880" fmla="*/ 2205895 h 6858000"/>
              <a:gd name="connsiteX881" fmla="*/ 4262250 w 7467600"/>
              <a:gd name="connsiteY881" fmla="*/ 2219972 h 6858000"/>
              <a:gd name="connsiteX882" fmla="*/ 4550611 w 7467600"/>
              <a:gd name="connsiteY882" fmla="*/ 817540 h 6858000"/>
              <a:gd name="connsiteX883" fmla="*/ 4564418 w 7467600"/>
              <a:gd name="connsiteY883" fmla="*/ 808293 h 6858000"/>
              <a:gd name="connsiteX884" fmla="*/ 4266388 w 7467600"/>
              <a:gd name="connsiteY884" fmla="*/ 500083 h 6858000"/>
              <a:gd name="connsiteX885" fmla="*/ 4032842 w 7467600"/>
              <a:gd name="connsiteY885" fmla="*/ 211809 h 6858000"/>
              <a:gd name="connsiteX886" fmla="*/ 3882765 w 7467600"/>
              <a:gd name="connsiteY886" fmla="*/ 0 h 6858000"/>
              <a:gd name="connsiteX887" fmla="*/ 3721337 w 7467600"/>
              <a:gd name="connsiteY887" fmla="*/ 0 h 6858000"/>
              <a:gd name="connsiteX888" fmla="*/ 3797544 w 7467600"/>
              <a:gd name="connsiteY888" fmla="*/ 0 h 6858000"/>
              <a:gd name="connsiteX889" fmla="*/ 3775734 w 7467600"/>
              <a:gd name="connsiteY889" fmla="*/ 95131 h 6858000"/>
              <a:gd name="connsiteX890" fmla="*/ 3724807 w 7467600"/>
              <a:gd name="connsiteY890" fmla="*/ 272257 h 6858000"/>
              <a:gd name="connsiteX891" fmla="*/ 3726844 w 7467600"/>
              <a:gd name="connsiteY891" fmla="*/ 282988 h 6858000"/>
              <a:gd name="connsiteX892" fmla="*/ 3742664 w 7467600"/>
              <a:gd name="connsiteY892" fmla="*/ 279918 h 6858000"/>
              <a:gd name="connsiteX893" fmla="*/ 4103910 w 7467600"/>
              <a:gd name="connsiteY893" fmla="*/ 1161917 h 6858000"/>
              <a:gd name="connsiteX894" fmla="*/ 4020269 w 7467600"/>
              <a:gd name="connsiteY894" fmla="*/ 1200406 h 6858000"/>
              <a:gd name="connsiteX895" fmla="*/ 3674882 w 7467600"/>
              <a:gd name="connsiteY895" fmla="*/ 488524 h 6858000"/>
              <a:gd name="connsiteX896" fmla="*/ 3132682 w 7467600"/>
              <a:gd name="connsiteY896" fmla="*/ 1072284 h 6858000"/>
              <a:gd name="connsiteX897" fmla="*/ 2716346 w 7467600"/>
              <a:gd name="connsiteY897" fmla="*/ 1276376 h 6858000"/>
              <a:gd name="connsiteX898" fmla="*/ 2716772 w 7467600"/>
              <a:gd name="connsiteY898" fmla="*/ 1255462 h 6858000"/>
              <a:gd name="connsiteX899" fmla="*/ 3471096 w 7467600"/>
              <a:gd name="connsiteY899" fmla="*/ 437072 h 6858000"/>
              <a:gd name="connsiteX900" fmla="*/ 3639057 w 7467600"/>
              <a:gd name="connsiteY900" fmla="*/ 286334 h 6858000"/>
              <a:gd name="connsiteX901" fmla="*/ 3640309 w 7467600"/>
              <a:gd name="connsiteY901" fmla="*/ 284664 h 6858000"/>
              <a:gd name="connsiteX902" fmla="*/ 3646022 w 7467600"/>
              <a:gd name="connsiteY902" fmla="*/ 276711 h 6858000"/>
              <a:gd name="connsiteX903" fmla="*/ 3707943 w 7467600"/>
              <a:gd name="connsiteY903" fmla="*/ 65958 h 6858000"/>
              <a:gd name="connsiteX904" fmla="*/ 3721337 w 7467600"/>
              <a:gd name="connsiteY904" fmla="*/ 0 h 6858000"/>
              <a:gd name="connsiteX905" fmla="*/ 2867960 w 7467600"/>
              <a:gd name="connsiteY905" fmla="*/ 0 h 6858000"/>
              <a:gd name="connsiteX906" fmla="*/ 2926351 w 7467600"/>
              <a:gd name="connsiteY906" fmla="*/ 0 h 6858000"/>
              <a:gd name="connsiteX907" fmla="*/ 2902823 w 7467600"/>
              <a:gd name="connsiteY907" fmla="*/ 262929 h 6858000"/>
              <a:gd name="connsiteX908" fmla="*/ 2940663 w 7467600"/>
              <a:gd name="connsiteY908" fmla="*/ 140884 h 6858000"/>
              <a:gd name="connsiteX909" fmla="*/ 2947039 w 7467600"/>
              <a:gd name="connsiteY909" fmla="*/ 122524 h 6858000"/>
              <a:gd name="connsiteX910" fmla="*/ 2984316 w 7467600"/>
              <a:gd name="connsiteY910" fmla="*/ 0 h 6858000"/>
              <a:gd name="connsiteX911" fmla="*/ 3016114 w 7467600"/>
              <a:gd name="connsiteY911" fmla="*/ 0 h 6858000"/>
              <a:gd name="connsiteX912" fmla="*/ 2979949 w 7467600"/>
              <a:gd name="connsiteY912" fmla="*/ 119274 h 6858000"/>
              <a:gd name="connsiteX913" fmla="*/ 3023879 w 7467600"/>
              <a:gd name="connsiteY913" fmla="*/ 0 h 6858000"/>
              <a:gd name="connsiteX914" fmla="*/ 3105400 w 7467600"/>
              <a:gd name="connsiteY914" fmla="*/ 0 h 6858000"/>
              <a:gd name="connsiteX915" fmla="*/ 3094669 w 7467600"/>
              <a:gd name="connsiteY915" fmla="*/ 30308 h 6858000"/>
              <a:gd name="connsiteX916" fmla="*/ 2901945 w 7467600"/>
              <a:gd name="connsiteY916" fmla="*/ 466538 h 6858000"/>
              <a:gd name="connsiteX917" fmla="*/ 2815209 w 7467600"/>
              <a:gd name="connsiteY917" fmla="*/ 497361 h 6858000"/>
              <a:gd name="connsiteX918" fmla="*/ 2844845 w 7467600"/>
              <a:gd name="connsiteY918" fmla="*/ 127638 h 6858000"/>
              <a:gd name="connsiteX919" fmla="*/ 2867960 w 7467600"/>
              <a:gd name="connsiteY919" fmla="*/ 0 h 6858000"/>
              <a:gd name="connsiteX920" fmla="*/ 1057230 w 7467600"/>
              <a:gd name="connsiteY920" fmla="*/ 0 h 6858000"/>
              <a:gd name="connsiteX921" fmla="*/ 1111003 w 7467600"/>
              <a:gd name="connsiteY921" fmla="*/ 0 h 6858000"/>
              <a:gd name="connsiteX922" fmla="*/ 1125553 w 7467600"/>
              <a:gd name="connsiteY922" fmla="*/ 52588 h 6858000"/>
              <a:gd name="connsiteX923" fmla="*/ 1304276 w 7467600"/>
              <a:gd name="connsiteY923" fmla="*/ 476275 h 6858000"/>
              <a:gd name="connsiteX924" fmla="*/ 1492066 w 7467600"/>
              <a:gd name="connsiteY924" fmla="*/ 886333 h 6858000"/>
              <a:gd name="connsiteX925" fmla="*/ 1423698 w 7467600"/>
              <a:gd name="connsiteY925" fmla="*/ 710817 h 6858000"/>
              <a:gd name="connsiteX926" fmla="*/ 1357609 w 7467600"/>
              <a:gd name="connsiteY926" fmla="*/ 532892 h 6858000"/>
              <a:gd name="connsiteX927" fmla="*/ 1309550 w 7467600"/>
              <a:gd name="connsiteY927" fmla="*/ 374031 h 6858000"/>
              <a:gd name="connsiteX928" fmla="*/ 1193673 w 7467600"/>
              <a:gd name="connsiteY928" fmla="*/ 49533 h 6858000"/>
              <a:gd name="connsiteX929" fmla="*/ 1164391 w 7467600"/>
              <a:gd name="connsiteY929" fmla="*/ 0 h 6858000"/>
              <a:gd name="connsiteX930" fmla="*/ 1200666 w 7467600"/>
              <a:gd name="connsiteY930" fmla="*/ 0 h 6858000"/>
              <a:gd name="connsiteX931" fmla="*/ 1223408 w 7467600"/>
              <a:gd name="connsiteY931" fmla="*/ 38996 h 6858000"/>
              <a:gd name="connsiteX932" fmla="*/ 1339635 w 7467600"/>
              <a:gd name="connsiteY932" fmla="*/ 365517 h 6858000"/>
              <a:gd name="connsiteX933" fmla="*/ 1387469 w 7467600"/>
              <a:gd name="connsiteY933" fmla="*/ 523079 h 6858000"/>
              <a:gd name="connsiteX934" fmla="*/ 1452685 w 7467600"/>
              <a:gd name="connsiteY934" fmla="*/ 699806 h 6858000"/>
              <a:gd name="connsiteX935" fmla="*/ 1492092 w 7467600"/>
              <a:gd name="connsiteY935" fmla="*/ 800424 h 6858000"/>
              <a:gd name="connsiteX936" fmla="*/ 1455302 w 7467600"/>
              <a:gd name="connsiteY936" fmla="*/ 632913 h 6858000"/>
              <a:gd name="connsiteX937" fmla="*/ 1222336 w 7467600"/>
              <a:gd name="connsiteY937" fmla="*/ 9480 h 6858000"/>
              <a:gd name="connsiteX938" fmla="*/ 1214634 w 7467600"/>
              <a:gd name="connsiteY938" fmla="*/ 0 h 6858000"/>
              <a:gd name="connsiteX939" fmla="*/ 1289827 w 7467600"/>
              <a:gd name="connsiteY939" fmla="*/ 0 h 6858000"/>
              <a:gd name="connsiteX940" fmla="*/ 1321076 w 7467600"/>
              <a:gd name="connsiteY940" fmla="*/ 59722 h 6858000"/>
              <a:gd name="connsiteX941" fmla="*/ 1512579 w 7467600"/>
              <a:gd name="connsiteY941" fmla="*/ 626441 h 6858000"/>
              <a:gd name="connsiteX942" fmla="*/ 1506076 w 7467600"/>
              <a:gd name="connsiteY942" fmla="*/ 1089289 h 6858000"/>
              <a:gd name="connsiteX943" fmla="*/ 1486346 w 7467600"/>
              <a:gd name="connsiteY943" fmla="*/ 1079919 h 6858000"/>
              <a:gd name="connsiteX944" fmla="*/ 1070511 w 7467600"/>
              <a:gd name="connsiteY944" fmla="*/ 48609 h 6858000"/>
              <a:gd name="connsiteX945" fmla="*/ 1057230 w 7467600"/>
              <a:gd name="connsiteY945" fmla="*/ 0 h 6858000"/>
              <a:gd name="connsiteX946" fmla="*/ 43151 w 7467600"/>
              <a:gd name="connsiteY946" fmla="*/ 0 h 6858000"/>
              <a:gd name="connsiteX947" fmla="*/ 95283 w 7467600"/>
              <a:gd name="connsiteY947" fmla="*/ 0 h 6858000"/>
              <a:gd name="connsiteX948" fmla="*/ 300708 w 7467600"/>
              <a:gd name="connsiteY948" fmla="*/ 154571 h 6858000"/>
              <a:gd name="connsiteX949" fmla="*/ 530414 w 7467600"/>
              <a:gd name="connsiteY949" fmla="*/ 354673 h 6858000"/>
              <a:gd name="connsiteX950" fmla="*/ 333785 w 7467600"/>
              <a:gd name="connsiteY950" fmla="*/ 161564 h 6858000"/>
              <a:gd name="connsiteX951" fmla="*/ 147005 w 7467600"/>
              <a:gd name="connsiteY951" fmla="*/ 0 h 6858000"/>
              <a:gd name="connsiteX952" fmla="*/ 272509 w 7467600"/>
              <a:gd name="connsiteY952" fmla="*/ 0 h 6858000"/>
              <a:gd name="connsiteX953" fmla="*/ 326276 w 7467600"/>
              <a:gd name="connsiteY953" fmla="*/ 45847 h 6858000"/>
              <a:gd name="connsiteX954" fmla="*/ 823759 w 7467600"/>
              <a:gd name="connsiteY954" fmla="*/ 574145 h 6858000"/>
              <a:gd name="connsiteX955" fmla="*/ 811254 w 7467600"/>
              <a:gd name="connsiteY955" fmla="*/ 665546 h 6858000"/>
              <a:gd name="connsiteX956" fmla="*/ 154042 w 7467600"/>
              <a:gd name="connsiteY956" fmla="*/ 261522 h 6858000"/>
              <a:gd name="connsiteX957" fmla="*/ 13550 w 7467600"/>
              <a:gd name="connsiteY957" fmla="*/ 158423 h 6858000"/>
              <a:gd name="connsiteX958" fmla="*/ 0 w 7467600"/>
              <a:gd name="connsiteY958" fmla="*/ 146618 h 6858000"/>
              <a:gd name="connsiteX959" fmla="*/ 0 w 7467600"/>
              <a:gd name="connsiteY959" fmla="*/ 59161 h 6858000"/>
              <a:gd name="connsiteX960" fmla="*/ 45427 w 7467600"/>
              <a:gd name="connsiteY960" fmla="*/ 101078 h 6858000"/>
              <a:gd name="connsiteX961" fmla="*/ 630103 w 7467600"/>
              <a:gd name="connsiteY961" fmla="*/ 485885 h 6858000"/>
              <a:gd name="connsiteX962" fmla="*/ 532040 w 7467600"/>
              <a:gd name="connsiteY962" fmla="*/ 399359 h 6858000"/>
              <a:gd name="connsiteX963" fmla="*/ 517618 w 7467600"/>
              <a:gd name="connsiteY963" fmla="*/ 385726 h 6858000"/>
              <a:gd name="connsiteX964" fmla="*/ 285074 w 7467600"/>
              <a:gd name="connsiteY964" fmla="*/ 182755 h 6858000"/>
              <a:gd name="connsiteX965" fmla="*/ 43151 w 7467600"/>
              <a:gd name="connsiteY965" fmla="*/ 0 h 6858000"/>
              <a:gd name="connsiteX0" fmla="*/ 369702 w 7472601"/>
              <a:gd name="connsiteY0" fmla="*/ 6712169 h 6858000"/>
              <a:gd name="connsiteX1" fmla="*/ 366575 w 7472601"/>
              <a:gd name="connsiteY1" fmla="*/ 6715556 h 6858000"/>
              <a:gd name="connsiteX2" fmla="*/ 371637 w 7472601"/>
              <a:gd name="connsiteY2" fmla="*/ 6713954 h 6858000"/>
              <a:gd name="connsiteX3" fmla="*/ 369702 w 7472601"/>
              <a:gd name="connsiteY3" fmla="*/ 6712169 h 6858000"/>
              <a:gd name="connsiteX4" fmla="*/ 7088673 w 7472601"/>
              <a:gd name="connsiteY4" fmla="*/ 6610396 h 6858000"/>
              <a:gd name="connsiteX5" fmla="*/ 7440138 w 7472601"/>
              <a:gd name="connsiteY5" fmla="*/ 6622648 h 6858000"/>
              <a:gd name="connsiteX6" fmla="*/ 7467600 w 7472601"/>
              <a:gd name="connsiteY6" fmla="*/ 6628217 h 6858000"/>
              <a:gd name="connsiteX7" fmla="*/ 7467600 w 7472601"/>
              <a:gd name="connsiteY7" fmla="*/ 6668575 h 6858000"/>
              <a:gd name="connsiteX8" fmla="*/ 7392322 w 7472601"/>
              <a:gd name="connsiteY8" fmla="*/ 6658238 h 6858000"/>
              <a:gd name="connsiteX9" fmla="*/ 7467600 w 7472601"/>
              <a:gd name="connsiteY9" fmla="*/ 6683873 h 6858000"/>
              <a:gd name="connsiteX10" fmla="*/ 7467600 w 7472601"/>
              <a:gd name="connsiteY10" fmla="*/ 6714215 h 6858000"/>
              <a:gd name="connsiteX11" fmla="*/ 7447383 w 7472601"/>
              <a:gd name="connsiteY11" fmla="*/ 6707202 h 6858000"/>
              <a:gd name="connsiteX12" fmla="*/ 7289862 w 7472601"/>
              <a:gd name="connsiteY12" fmla="*/ 6659827 h 6858000"/>
              <a:gd name="connsiteX13" fmla="*/ 7434024 w 7472601"/>
              <a:gd name="connsiteY13" fmla="*/ 6722130 h 6858000"/>
              <a:gd name="connsiteX14" fmla="*/ 7467600 w 7472601"/>
              <a:gd name="connsiteY14" fmla="*/ 6736157 h 6858000"/>
              <a:gd name="connsiteX15" fmla="*/ 7467600 w 7472601"/>
              <a:gd name="connsiteY15" fmla="*/ 6767913 h 6858000"/>
              <a:gd name="connsiteX16" fmla="*/ 7392158 w 7472601"/>
              <a:gd name="connsiteY16" fmla="*/ 6771365 h 6858000"/>
              <a:gd name="connsiteX17" fmla="*/ 7467600 w 7472601"/>
              <a:gd name="connsiteY17" fmla="*/ 6805948 h 6858000"/>
              <a:gd name="connsiteX18" fmla="*/ 7467600 w 7472601"/>
              <a:gd name="connsiteY18" fmla="*/ 6831490 h 6858000"/>
              <a:gd name="connsiteX19" fmla="*/ 7410696 w 7472601"/>
              <a:gd name="connsiteY19" fmla="*/ 6803861 h 6858000"/>
              <a:gd name="connsiteX20" fmla="*/ 7088673 w 7472601"/>
              <a:gd name="connsiteY20" fmla="*/ 6610396 h 6858000"/>
              <a:gd name="connsiteX21" fmla="*/ 1019354 w 7472601"/>
              <a:gd name="connsiteY21" fmla="*/ 6315006 h 6858000"/>
              <a:gd name="connsiteX22" fmla="*/ 441046 w 7472601"/>
              <a:gd name="connsiteY22" fmla="*/ 6691153 h 6858000"/>
              <a:gd name="connsiteX23" fmla="*/ 1019354 w 7472601"/>
              <a:gd name="connsiteY23" fmla="*/ 6315006 h 6858000"/>
              <a:gd name="connsiteX24" fmla="*/ 991680 w 7472601"/>
              <a:gd name="connsiteY24" fmla="*/ 6298413 h 6858000"/>
              <a:gd name="connsiteX25" fmla="*/ 409060 w 7472601"/>
              <a:gd name="connsiteY25" fmla="*/ 6671470 h 6858000"/>
              <a:gd name="connsiteX26" fmla="*/ 991680 w 7472601"/>
              <a:gd name="connsiteY26" fmla="*/ 6298413 h 6858000"/>
              <a:gd name="connsiteX27" fmla="*/ 103333 w 7472601"/>
              <a:gd name="connsiteY27" fmla="*/ 5699602 h 6858000"/>
              <a:gd name="connsiteX28" fmla="*/ 233938 w 7472601"/>
              <a:gd name="connsiteY28" fmla="*/ 5809416 h 6858000"/>
              <a:gd name="connsiteX29" fmla="*/ 883580 w 7472601"/>
              <a:gd name="connsiteY29" fmla="*/ 6180710 h 6858000"/>
              <a:gd name="connsiteX30" fmla="*/ 487337 w 7472601"/>
              <a:gd name="connsiteY30" fmla="*/ 5950182 h 6858000"/>
              <a:gd name="connsiteX31" fmla="*/ 354051 w 7472601"/>
              <a:gd name="connsiteY31" fmla="*/ 5854912 h 6858000"/>
              <a:gd name="connsiteX32" fmla="*/ 195436 w 7472601"/>
              <a:gd name="connsiteY32" fmla="*/ 5755068 h 6858000"/>
              <a:gd name="connsiteX33" fmla="*/ 103333 w 7472601"/>
              <a:gd name="connsiteY33" fmla="*/ 5699602 h 6858000"/>
              <a:gd name="connsiteX34" fmla="*/ 5539432 w 7472601"/>
              <a:gd name="connsiteY34" fmla="*/ 5642928 h 6858000"/>
              <a:gd name="connsiteX35" fmla="*/ 5555462 w 7472601"/>
              <a:gd name="connsiteY35" fmla="*/ 5694454 h 6858000"/>
              <a:gd name="connsiteX36" fmla="*/ 5828270 w 7472601"/>
              <a:gd name="connsiteY36" fmla="*/ 6320663 h 6858000"/>
              <a:gd name="connsiteX37" fmla="*/ 5947416 w 7472601"/>
              <a:gd name="connsiteY37" fmla="*/ 6574846 h 6858000"/>
              <a:gd name="connsiteX38" fmla="*/ 5539432 w 7472601"/>
              <a:gd name="connsiteY38" fmla="*/ 5642928 h 6858000"/>
              <a:gd name="connsiteX39" fmla="*/ 51253 w 7472601"/>
              <a:gd name="connsiteY39" fmla="*/ 5631825 h 6858000"/>
              <a:gd name="connsiteX40" fmla="*/ 211622 w 7472601"/>
              <a:gd name="connsiteY40" fmla="*/ 5728803 h 6858000"/>
              <a:gd name="connsiteX41" fmla="*/ 371652 w 7472601"/>
              <a:gd name="connsiteY41" fmla="*/ 5829062 h 6858000"/>
              <a:gd name="connsiteX42" fmla="*/ 505903 w 7472601"/>
              <a:gd name="connsiteY42" fmla="*/ 5925221 h 6858000"/>
              <a:gd name="connsiteX43" fmla="*/ 899240 w 7472601"/>
              <a:gd name="connsiteY43" fmla="*/ 6153068 h 6858000"/>
              <a:gd name="connsiteX44" fmla="*/ 988114 w 7472601"/>
              <a:gd name="connsiteY44" fmla="*/ 6174204 h 6858000"/>
              <a:gd name="connsiteX45" fmla="*/ 845971 w 7472601"/>
              <a:gd name="connsiteY45" fmla="*/ 6067177 h 6858000"/>
              <a:gd name="connsiteX46" fmla="*/ 448057 w 7472601"/>
              <a:gd name="connsiteY46" fmla="*/ 5841376 h 6858000"/>
              <a:gd name="connsiteX47" fmla="*/ 51253 w 7472601"/>
              <a:gd name="connsiteY47" fmla="*/ 5631825 h 6858000"/>
              <a:gd name="connsiteX48" fmla="*/ 2606687 w 7472601"/>
              <a:gd name="connsiteY48" fmla="*/ 5630718 h 6858000"/>
              <a:gd name="connsiteX49" fmla="*/ 2645658 w 7472601"/>
              <a:gd name="connsiteY49" fmla="*/ 6640259 h 6858000"/>
              <a:gd name="connsiteX50" fmla="*/ 2606687 w 7472601"/>
              <a:gd name="connsiteY50" fmla="*/ 5630718 h 6858000"/>
              <a:gd name="connsiteX51" fmla="*/ 3642057 w 7472601"/>
              <a:gd name="connsiteY51" fmla="*/ 5573487 h 6858000"/>
              <a:gd name="connsiteX52" fmla="*/ 3632981 w 7472601"/>
              <a:gd name="connsiteY52" fmla="*/ 5579437 h 6858000"/>
              <a:gd name="connsiteX53" fmla="*/ 3382436 w 7472601"/>
              <a:gd name="connsiteY53" fmla="*/ 5952726 h 6858000"/>
              <a:gd name="connsiteX54" fmla="*/ 3191929 w 7472601"/>
              <a:gd name="connsiteY54" fmla="*/ 6662669 h 6858000"/>
              <a:gd name="connsiteX55" fmla="*/ 3369898 w 7472601"/>
              <a:gd name="connsiteY55" fmla="*/ 6081771 h 6858000"/>
              <a:gd name="connsiteX56" fmla="*/ 3642057 w 7472601"/>
              <a:gd name="connsiteY56" fmla="*/ 5573487 h 6858000"/>
              <a:gd name="connsiteX57" fmla="*/ 2650666 w 7472601"/>
              <a:gd name="connsiteY57" fmla="*/ 5530686 h 6858000"/>
              <a:gd name="connsiteX58" fmla="*/ 2650249 w 7472601"/>
              <a:gd name="connsiteY58" fmla="*/ 5532101 h 6858000"/>
              <a:gd name="connsiteX59" fmla="*/ 2663808 w 7472601"/>
              <a:gd name="connsiteY59" fmla="*/ 6535215 h 6858000"/>
              <a:gd name="connsiteX60" fmla="*/ 2665418 w 7472601"/>
              <a:gd name="connsiteY60" fmla="*/ 6132756 h 6858000"/>
              <a:gd name="connsiteX61" fmla="*/ 2650666 w 7472601"/>
              <a:gd name="connsiteY61" fmla="*/ 5530686 h 6858000"/>
              <a:gd name="connsiteX62" fmla="*/ 2680277 w 7472601"/>
              <a:gd name="connsiteY62" fmla="*/ 5479204 h 6858000"/>
              <a:gd name="connsiteX63" fmla="*/ 2678972 w 7472601"/>
              <a:gd name="connsiteY63" fmla="*/ 5481582 h 6858000"/>
              <a:gd name="connsiteX64" fmla="*/ 2696666 w 7472601"/>
              <a:gd name="connsiteY64" fmla="*/ 6133836 h 6858000"/>
              <a:gd name="connsiteX65" fmla="*/ 2695769 w 7472601"/>
              <a:gd name="connsiteY65" fmla="*/ 6390955 h 6858000"/>
              <a:gd name="connsiteX66" fmla="*/ 2739893 w 7472601"/>
              <a:gd name="connsiteY66" fmla="*/ 6108357 h 6858000"/>
              <a:gd name="connsiteX67" fmla="*/ 2680277 w 7472601"/>
              <a:gd name="connsiteY67" fmla="*/ 5479204 h 6858000"/>
              <a:gd name="connsiteX68" fmla="*/ 1132195 w 7472601"/>
              <a:gd name="connsiteY68" fmla="*/ 5467980 h 6858000"/>
              <a:gd name="connsiteX69" fmla="*/ 1679056 w 7472601"/>
              <a:gd name="connsiteY69" fmla="*/ 5516907 h 6858000"/>
              <a:gd name="connsiteX70" fmla="*/ 2128648 w 7472601"/>
              <a:gd name="connsiteY70" fmla="*/ 5474249 h 6858000"/>
              <a:gd name="connsiteX71" fmla="*/ 1825619 w 7472601"/>
              <a:gd name="connsiteY71" fmla="*/ 5478447 h 6858000"/>
              <a:gd name="connsiteX72" fmla="*/ 1737798 w 7472601"/>
              <a:gd name="connsiteY72" fmla="*/ 5483353 h 6858000"/>
              <a:gd name="connsiteX73" fmla="*/ 1132195 w 7472601"/>
              <a:gd name="connsiteY73" fmla="*/ 5467980 h 6858000"/>
              <a:gd name="connsiteX74" fmla="*/ 7454976 w 7472601"/>
              <a:gd name="connsiteY74" fmla="*/ 6318297 h 6858000"/>
              <a:gd name="connsiteX75" fmla="*/ 7467600 w 7472601"/>
              <a:gd name="connsiteY75" fmla="*/ 6012219 h 6858000"/>
              <a:gd name="connsiteX76" fmla="*/ 7356878 w 7472601"/>
              <a:gd name="connsiteY76" fmla="*/ 5981332 h 6858000"/>
              <a:gd name="connsiteX77" fmla="*/ 7467600 w 7472601"/>
              <a:gd name="connsiteY77" fmla="*/ 6117703 h 6858000"/>
              <a:gd name="connsiteX78" fmla="*/ 7467600 w 7472601"/>
              <a:gd name="connsiteY78" fmla="*/ 6163634 h 6858000"/>
              <a:gd name="connsiteX79" fmla="*/ 7403637 w 7472601"/>
              <a:gd name="connsiteY79" fmla="*/ 6083957 h 6858000"/>
              <a:gd name="connsiteX80" fmla="*/ 7254615 w 7472601"/>
              <a:gd name="connsiteY80" fmla="*/ 5911918 h 6858000"/>
              <a:gd name="connsiteX81" fmla="*/ 7312589 w 7472601"/>
              <a:gd name="connsiteY81" fmla="*/ 5982309 h 6858000"/>
              <a:gd name="connsiteX82" fmla="*/ 7448321 w 7472601"/>
              <a:gd name="connsiteY82" fmla="*/ 6190991 h 6858000"/>
              <a:gd name="connsiteX83" fmla="*/ 7467600 w 7472601"/>
              <a:gd name="connsiteY83" fmla="*/ 6221686 h 6858000"/>
              <a:gd name="connsiteX84" fmla="*/ 7467600 w 7472601"/>
              <a:gd name="connsiteY84" fmla="*/ 6334256 h 6858000"/>
              <a:gd name="connsiteX85" fmla="*/ 7454976 w 7472601"/>
              <a:gd name="connsiteY85" fmla="*/ 6318297 h 6858000"/>
              <a:gd name="connsiteX86" fmla="*/ 1456157 w 7472601"/>
              <a:gd name="connsiteY86" fmla="*/ 5371404 h 6858000"/>
              <a:gd name="connsiteX87" fmla="*/ 1244432 w 7472601"/>
              <a:gd name="connsiteY87" fmla="*/ 5385601 h 6858000"/>
              <a:gd name="connsiteX88" fmla="*/ 973990 w 7472601"/>
              <a:gd name="connsiteY88" fmla="*/ 5424940 h 6858000"/>
              <a:gd name="connsiteX89" fmla="*/ 1103809 w 7472601"/>
              <a:gd name="connsiteY89" fmla="*/ 5433720 h 6858000"/>
              <a:gd name="connsiteX90" fmla="*/ 1123454 w 7472601"/>
              <a:gd name="connsiteY90" fmla="*/ 5435727 h 6858000"/>
              <a:gd name="connsiteX91" fmla="*/ 1737017 w 7472601"/>
              <a:gd name="connsiteY91" fmla="*/ 5452183 h 6858000"/>
              <a:gd name="connsiteX92" fmla="*/ 1824397 w 7472601"/>
              <a:gd name="connsiteY92" fmla="*/ 5447757 h 6858000"/>
              <a:gd name="connsiteX93" fmla="*/ 2070059 w 7472601"/>
              <a:gd name="connsiteY93" fmla="*/ 5441660 h 6858000"/>
              <a:gd name="connsiteX94" fmla="*/ 1456157 w 7472601"/>
              <a:gd name="connsiteY94" fmla="*/ 5371404 h 6858000"/>
              <a:gd name="connsiteX95" fmla="*/ 4988186 w 7472601"/>
              <a:gd name="connsiteY95" fmla="*/ 5216467 h 6858000"/>
              <a:gd name="connsiteX96" fmla="*/ 4777334 w 7472601"/>
              <a:gd name="connsiteY96" fmla="*/ 5406072 h 6858000"/>
              <a:gd name="connsiteX97" fmla="*/ 4718341 w 7472601"/>
              <a:gd name="connsiteY97" fmla="*/ 5468043 h 6858000"/>
              <a:gd name="connsiteX98" fmla="*/ 4604655 w 7472601"/>
              <a:gd name="connsiteY98" fmla="*/ 5583434 h 6858000"/>
              <a:gd name="connsiteX99" fmla="*/ 4565074 w 7472601"/>
              <a:gd name="connsiteY99" fmla="*/ 5618550 h 6858000"/>
              <a:gd name="connsiteX100" fmla="*/ 4988186 w 7472601"/>
              <a:gd name="connsiteY100" fmla="*/ 5216467 h 6858000"/>
              <a:gd name="connsiteX101" fmla="*/ 4978032 w 7472601"/>
              <a:gd name="connsiteY101" fmla="*/ 5183809 h 6858000"/>
              <a:gd name="connsiteX102" fmla="*/ 4463413 w 7472601"/>
              <a:gd name="connsiteY102" fmla="*/ 5615162 h 6858000"/>
              <a:gd name="connsiteX103" fmla="*/ 4358134 w 7472601"/>
              <a:gd name="connsiteY103" fmla="*/ 5742791 h 6858000"/>
              <a:gd name="connsiteX104" fmla="*/ 4376219 w 7472601"/>
              <a:gd name="connsiteY104" fmla="*/ 5729027 h 6858000"/>
              <a:gd name="connsiteX105" fmla="*/ 4582340 w 7472601"/>
              <a:gd name="connsiteY105" fmla="*/ 5561037 h 6858000"/>
              <a:gd name="connsiteX106" fmla="*/ 4694684 w 7472601"/>
              <a:gd name="connsiteY106" fmla="*/ 5447098 h 6858000"/>
              <a:gd name="connsiteX107" fmla="*/ 4754123 w 7472601"/>
              <a:gd name="connsiteY107" fmla="*/ 5384643 h 6858000"/>
              <a:gd name="connsiteX108" fmla="*/ 4978032 w 7472601"/>
              <a:gd name="connsiteY108" fmla="*/ 5183809 h 6858000"/>
              <a:gd name="connsiteX109" fmla="*/ 1903353 w 7472601"/>
              <a:gd name="connsiteY109" fmla="*/ 5044827 h 6858000"/>
              <a:gd name="connsiteX110" fmla="*/ 1936931 w 7472601"/>
              <a:gd name="connsiteY110" fmla="*/ 5093954 h 6858000"/>
              <a:gd name="connsiteX111" fmla="*/ 2195868 w 7472601"/>
              <a:gd name="connsiteY111" fmla="*/ 5396574 h 6858000"/>
              <a:gd name="connsiteX112" fmla="*/ 2088852 w 7472601"/>
              <a:gd name="connsiteY112" fmla="*/ 5166123 h 6858000"/>
              <a:gd name="connsiteX113" fmla="*/ 1958241 w 7472601"/>
              <a:gd name="connsiteY113" fmla="*/ 5067955 h 6858000"/>
              <a:gd name="connsiteX114" fmla="*/ 1903353 w 7472601"/>
              <a:gd name="connsiteY114" fmla="*/ 5044827 h 6858000"/>
              <a:gd name="connsiteX115" fmla="*/ 1979378 w 7472601"/>
              <a:gd name="connsiteY115" fmla="*/ 4769504 h 6858000"/>
              <a:gd name="connsiteX116" fmla="*/ 2882120 w 7472601"/>
              <a:gd name="connsiteY116" fmla="*/ 5064547 h 6858000"/>
              <a:gd name="connsiteX117" fmla="*/ 2793103 w 7472601"/>
              <a:gd name="connsiteY117" fmla="*/ 5039699 h 6858000"/>
              <a:gd name="connsiteX118" fmla="*/ 2770041 w 7472601"/>
              <a:gd name="connsiteY118" fmla="*/ 5033634 h 6858000"/>
              <a:gd name="connsiteX119" fmla="*/ 1979378 w 7472601"/>
              <a:gd name="connsiteY119" fmla="*/ 4769504 h 6858000"/>
              <a:gd name="connsiteX120" fmla="*/ 1927410 w 7472601"/>
              <a:gd name="connsiteY120" fmla="*/ 4716164 h 6858000"/>
              <a:gd name="connsiteX121" fmla="*/ 1959587 w 7472601"/>
              <a:gd name="connsiteY121" fmla="*/ 4728849 h 6858000"/>
              <a:gd name="connsiteX122" fmla="*/ 2777707 w 7472601"/>
              <a:gd name="connsiteY122" fmla="*/ 5003991 h 6858000"/>
              <a:gd name="connsiteX123" fmla="*/ 2800768 w 7472601"/>
              <a:gd name="connsiteY123" fmla="*/ 5010056 h 6858000"/>
              <a:gd name="connsiteX124" fmla="*/ 2879408 w 7472601"/>
              <a:gd name="connsiteY124" fmla="*/ 5031590 h 6858000"/>
              <a:gd name="connsiteX125" fmla="*/ 2862295 w 7472601"/>
              <a:gd name="connsiteY125" fmla="*/ 5022958 h 6858000"/>
              <a:gd name="connsiteX126" fmla="*/ 2813343 w 7472601"/>
              <a:gd name="connsiteY126" fmla="*/ 4998369 h 6858000"/>
              <a:gd name="connsiteX127" fmla="*/ 2646245 w 7472601"/>
              <a:gd name="connsiteY127" fmla="*/ 4930999 h 6858000"/>
              <a:gd name="connsiteX128" fmla="*/ 1999243 w 7472601"/>
              <a:gd name="connsiteY128" fmla="*/ 4730524 h 6858000"/>
              <a:gd name="connsiteX129" fmla="*/ 1979527 w 7472601"/>
              <a:gd name="connsiteY129" fmla="*/ 4726651 h 6858000"/>
              <a:gd name="connsiteX130" fmla="*/ 1927410 w 7472601"/>
              <a:gd name="connsiteY130" fmla="*/ 4716164 h 6858000"/>
              <a:gd name="connsiteX131" fmla="*/ 1997014 w 7472601"/>
              <a:gd name="connsiteY131" fmla="*/ 4698007 h 6858000"/>
              <a:gd name="connsiteX132" fmla="*/ 2005458 w 7472601"/>
              <a:gd name="connsiteY132" fmla="*/ 4699540 h 6858000"/>
              <a:gd name="connsiteX133" fmla="*/ 2657186 w 7472601"/>
              <a:gd name="connsiteY133" fmla="*/ 4901687 h 6858000"/>
              <a:gd name="connsiteX134" fmla="*/ 2826662 w 7472601"/>
              <a:gd name="connsiteY134" fmla="*/ 4970362 h 6858000"/>
              <a:gd name="connsiteX135" fmla="*/ 2876100 w 7472601"/>
              <a:gd name="connsiteY135" fmla="*/ 4995397 h 6858000"/>
              <a:gd name="connsiteX136" fmla="*/ 3042600 w 7472601"/>
              <a:gd name="connsiteY136" fmla="*/ 5059532 h 6858000"/>
              <a:gd name="connsiteX137" fmla="*/ 1997014 w 7472601"/>
              <a:gd name="connsiteY137" fmla="*/ 4698007 h 6858000"/>
              <a:gd name="connsiteX138" fmla="*/ 2305292 w 7472601"/>
              <a:gd name="connsiteY138" fmla="*/ 4219492 h 6858000"/>
              <a:gd name="connsiteX139" fmla="*/ 3360922 w 7472601"/>
              <a:gd name="connsiteY139" fmla="*/ 4529373 h 6858000"/>
              <a:gd name="connsiteX140" fmla="*/ 3492420 w 7472601"/>
              <a:gd name="connsiteY140" fmla="*/ 4510145 h 6858000"/>
              <a:gd name="connsiteX141" fmla="*/ 3364086 w 7472601"/>
              <a:gd name="connsiteY141" fmla="*/ 4480340 h 6858000"/>
              <a:gd name="connsiteX142" fmla="*/ 3225818 w 7472601"/>
              <a:gd name="connsiteY142" fmla="*/ 4411822 h 6858000"/>
              <a:gd name="connsiteX143" fmla="*/ 3129696 w 7472601"/>
              <a:gd name="connsiteY143" fmla="*/ 4360704 h 6858000"/>
              <a:gd name="connsiteX144" fmla="*/ 2814545 w 7472601"/>
              <a:gd name="connsiteY144" fmla="*/ 4282955 h 6858000"/>
              <a:gd name="connsiteX145" fmla="*/ 2305292 w 7472601"/>
              <a:gd name="connsiteY145" fmla="*/ 4219492 h 6858000"/>
              <a:gd name="connsiteX146" fmla="*/ 2626982 w 7472601"/>
              <a:gd name="connsiteY146" fmla="*/ 4206450 h 6858000"/>
              <a:gd name="connsiteX147" fmla="*/ 2490617 w 7472601"/>
              <a:gd name="connsiteY147" fmla="*/ 4206951 h 6858000"/>
              <a:gd name="connsiteX148" fmla="*/ 2819869 w 7472601"/>
              <a:gd name="connsiteY148" fmla="*/ 4252936 h 6858000"/>
              <a:gd name="connsiteX149" fmla="*/ 3143018 w 7472601"/>
              <a:gd name="connsiteY149" fmla="*/ 4332698 h 6858000"/>
              <a:gd name="connsiteX150" fmla="*/ 3241520 w 7472601"/>
              <a:gd name="connsiteY150" fmla="*/ 4385112 h 6858000"/>
              <a:gd name="connsiteX151" fmla="*/ 3374575 w 7472601"/>
              <a:gd name="connsiteY151" fmla="*/ 4451517 h 6858000"/>
              <a:gd name="connsiteX152" fmla="*/ 3505221 w 7472601"/>
              <a:gd name="connsiteY152" fmla="*/ 4480757 h 6858000"/>
              <a:gd name="connsiteX153" fmla="*/ 2626982 w 7472601"/>
              <a:gd name="connsiteY153" fmla="*/ 4206450 h 6858000"/>
              <a:gd name="connsiteX154" fmla="*/ 1310106 w 7472601"/>
              <a:gd name="connsiteY154" fmla="*/ 3943217 h 6858000"/>
              <a:gd name="connsiteX155" fmla="*/ 854994 w 7472601"/>
              <a:gd name="connsiteY155" fmla="*/ 4399136 h 6858000"/>
              <a:gd name="connsiteX156" fmla="*/ 742462 w 7472601"/>
              <a:gd name="connsiteY156" fmla="*/ 4594648 h 6858000"/>
              <a:gd name="connsiteX157" fmla="*/ 820602 w 7472601"/>
              <a:gd name="connsiteY157" fmla="*/ 4485915 h 6858000"/>
              <a:gd name="connsiteX158" fmla="*/ 878295 w 7472601"/>
              <a:gd name="connsiteY158" fmla="*/ 4403594 h 6858000"/>
              <a:gd name="connsiteX159" fmla="*/ 1240607 w 7472601"/>
              <a:gd name="connsiteY159" fmla="*/ 4010401 h 6858000"/>
              <a:gd name="connsiteX160" fmla="*/ 1310106 w 7472601"/>
              <a:gd name="connsiteY160" fmla="*/ 3943217 h 6858000"/>
              <a:gd name="connsiteX161" fmla="*/ 1423113 w 7472601"/>
              <a:gd name="connsiteY161" fmla="*/ 3874565 h 6858000"/>
              <a:gd name="connsiteX162" fmla="*/ 1260565 w 7472601"/>
              <a:gd name="connsiteY162" fmla="*/ 4031982 h 6858000"/>
              <a:gd name="connsiteX163" fmla="*/ 901900 w 7472601"/>
              <a:gd name="connsiteY163" fmla="*/ 4421236 h 6858000"/>
              <a:gd name="connsiteX164" fmla="*/ 845044 w 7472601"/>
              <a:gd name="connsiteY164" fmla="*/ 4502436 h 6858000"/>
              <a:gd name="connsiteX165" fmla="*/ 685926 w 7472601"/>
              <a:gd name="connsiteY165" fmla="*/ 4703069 h 6858000"/>
              <a:gd name="connsiteX166" fmla="*/ 684248 w 7472601"/>
              <a:gd name="connsiteY166" fmla="*/ 4706721 h 6858000"/>
              <a:gd name="connsiteX167" fmla="*/ 1423113 w 7472601"/>
              <a:gd name="connsiteY167" fmla="*/ 3874565 h 6858000"/>
              <a:gd name="connsiteX168" fmla="*/ 3316479 w 7472601"/>
              <a:gd name="connsiteY168" fmla="*/ 3872136 h 6858000"/>
              <a:gd name="connsiteX169" fmla="*/ 3546806 w 7472601"/>
              <a:gd name="connsiteY169" fmla="*/ 4356139 h 6858000"/>
              <a:gd name="connsiteX170" fmla="*/ 3364433 w 7472601"/>
              <a:gd name="connsiteY170" fmla="*/ 3953121 h 6858000"/>
              <a:gd name="connsiteX171" fmla="*/ 3316479 w 7472601"/>
              <a:gd name="connsiteY171" fmla="*/ 3872136 h 6858000"/>
              <a:gd name="connsiteX172" fmla="*/ 3291335 w 7472601"/>
              <a:gd name="connsiteY172" fmla="*/ 3767420 h 6858000"/>
              <a:gd name="connsiteX173" fmla="*/ 3390805 w 7472601"/>
              <a:gd name="connsiteY173" fmla="*/ 3937163 h 6858000"/>
              <a:gd name="connsiteX174" fmla="*/ 3579062 w 7472601"/>
              <a:gd name="connsiteY174" fmla="*/ 4359040 h 6858000"/>
              <a:gd name="connsiteX175" fmla="*/ 3467355 w 7472601"/>
              <a:gd name="connsiteY175" fmla="*/ 3988130 h 6858000"/>
              <a:gd name="connsiteX176" fmla="*/ 3310753 w 7472601"/>
              <a:gd name="connsiteY176" fmla="*/ 3787140 h 6858000"/>
              <a:gd name="connsiteX177" fmla="*/ 3291335 w 7472601"/>
              <a:gd name="connsiteY177" fmla="*/ 3767420 h 6858000"/>
              <a:gd name="connsiteX178" fmla="*/ 1635889 w 7472601"/>
              <a:gd name="connsiteY178" fmla="*/ 3709494 h 6858000"/>
              <a:gd name="connsiteX179" fmla="*/ 1634800 w 7472601"/>
              <a:gd name="connsiteY179" fmla="*/ 3731111 h 6858000"/>
              <a:gd name="connsiteX180" fmla="*/ 1635889 w 7472601"/>
              <a:gd name="connsiteY180" fmla="*/ 3709494 h 6858000"/>
              <a:gd name="connsiteX181" fmla="*/ 1510397 w 7472601"/>
              <a:gd name="connsiteY181" fmla="*/ 3684705 h 6858000"/>
              <a:gd name="connsiteX182" fmla="*/ 1146550 w 7472601"/>
              <a:gd name="connsiteY182" fmla="*/ 3802012 h 6858000"/>
              <a:gd name="connsiteX183" fmla="*/ 698834 w 7472601"/>
              <a:gd name="connsiteY183" fmla="*/ 3952272 h 6858000"/>
              <a:gd name="connsiteX184" fmla="*/ 34256 w 7472601"/>
              <a:gd name="connsiteY184" fmla="*/ 4347603 h 6858000"/>
              <a:gd name="connsiteX185" fmla="*/ 527241 w 7472601"/>
              <a:gd name="connsiteY185" fmla="*/ 4065078 h 6858000"/>
              <a:gd name="connsiteX186" fmla="*/ 1510397 w 7472601"/>
              <a:gd name="connsiteY186" fmla="*/ 3684705 h 6858000"/>
              <a:gd name="connsiteX187" fmla="*/ 1313114 w 7472601"/>
              <a:gd name="connsiteY187" fmla="*/ 3655216 h 6858000"/>
              <a:gd name="connsiteX188" fmla="*/ 1109304 w 7472601"/>
              <a:gd name="connsiteY188" fmla="*/ 3669030 h 6858000"/>
              <a:gd name="connsiteX189" fmla="*/ 8129 w 7472601"/>
              <a:gd name="connsiteY189" fmla="*/ 4330519 h 6858000"/>
              <a:gd name="connsiteX190" fmla="*/ 687572 w 7472601"/>
              <a:gd name="connsiteY190" fmla="*/ 3925629 h 6858000"/>
              <a:gd name="connsiteX191" fmla="*/ 1138365 w 7472601"/>
              <a:gd name="connsiteY191" fmla="*/ 3774515 h 6858000"/>
              <a:gd name="connsiteX192" fmla="*/ 1505579 w 7472601"/>
              <a:gd name="connsiteY192" fmla="*/ 3655526 h 6858000"/>
              <a:gd name="connsiteX193" fmla="*/ 1313114 w 7472601"/>
              <a:gd name="connsiteY193" fmla="*/ 3655216 h 6858000"/>
              <a:gd name="connsiteX194" fmla="*/ 3655073 w 7472601"/>
              <a:gd name="connsiteY194" fmla="*/ 3650884 h 6858000"/>
              <a:gd name="connsiteX195" fmla="*/ 3989938 w 7472601"/>
              <a:gd name="connsiteY195" fmla="*/ 3991685 h 6858000"/>
              <a:gd name="connsiteX196" fmla="*/ 4393907 w 7472601"/>
              <a:gd name="connsiteY196" fmla="*/ 4261258 h 6858000"/>
              <a:gd name="connsiteX197" fmla="*/ 4648051 w 7472601"/>
              <a:gd name="connsiteY197" fmla="*/ 4374051 h 6858000"/>
              <a:gd name="connsiteX198" fmla="*/ 4383389 w 7472601"/>
              <a:gd name="connsiteY198" fmla="*/ 4184369 h 6858000"/>
              <a:gd name="connsiteX199" fmla="*/ 4165508 w 7472601"/>
              <a:gd name="connsiteY199" fmla="*/ 4035196 h 6858000"/>
              <a:gd name="connsiteX200" fmla="*/ 4068162 w 7472601"/>
              <a:gd name="connsiteY200" fmla="*/ 3953394 h 6858000"/>
              <a:gd name="connsiteX201" fmla="*/ 3981416 w 7472601"/>
              <a:gd name="connsiteY201" fmla="*/ 3880482 h 6858000"/>
              <a:gd name="connsiteX202" fmla="*/ 3800147 w 7472601"/>
              <a:gd name="connsiteY202" fmla="*/ 3749872 h 6858000"/>
              <a:gd name="connsiteX203" fmla="*/ 3655073 w 7472601"/>
              <a:gd name="connsiteY203" fmla="*/ 3650884 h 6858000"/>
              <a:gd name="connsiteX204" fmla="*/ 3670252 w 7472601"/>
              <a:gd name="connsiteY204" fmla="*/ 3622798 h 6858000"/>
              <a:gd name="connsiteX205" fmla="*/ 3817258 w 7472601"/>
              <a:gd name="connsiteY205" fmla="*/ 3723577 h 6858000"/>
              <a:gd name="connsiteX206" fmla="*/ 4000461 w 7472601"/>
              <a:gd name="connsiteY206" fmla="*/ 3855966 h 6858000"/>
              <a:gd name="connsiteX207" fmla="*/ 4088180 w 7472601"/>
              <a:gd name="connsiteY207" fmla="*/ 3929774 h 6858000"/>
              <a:gd name="connsiteX208" fmla="*/ 4184555 w 7472601"/>
              <a:gd name="connsiteY208" fmla="*/ 4010683 h 6858000"/>
              <a:gd name="connsiteX209" fmla="*/ 4399563 w 7472601"/>
              <a:gd name="connsiteY209" fmla="*/ 4158106 h 6858000"/>
              <a:gd name="connsiteX210" fmla="*/ 4684469 w 7472601"/>
              <a:gd name="connsiteY210" fmla="*/ 4364680 h 6858000"/>
              <a:gd name="connsiteX211" fmla="*/ 4690271 w 7472601"/>
              <a:gd name="connsiteY211" fmla="*/ 4370034 h 6858000"/>
              <a:gd name="connsiteX212" fmla="*/ 4136093 w 7472601"/>
              <a:gd name="connsiteY212" fmla="*/ 3858466 h 6858000"/>
              <a:gd name="connsiteX213" fmla="*/ 3670252 w 7472601"/>
              <a:gd name="connsiteY213" fmla="*/ 3622798 h 6858000"/>
              <a:gd name="connsiteX214" fmla="*/ 4440129 w 7472601"/>
              <a:gd name="connsiteY214" fmla="*/ 3448571 h 6858000"/>
              <a:gd name="connsiteX215" fmla="*/ 4856525 w 7472601"/>
              <a:gd name="connsiteY215" fmla="*/ 3915351 h 6858000"/>
              <a:gd name="connsiteX216" fmla="*/ 5059055 w 7472601"/>
              <a:gd name="connsiteY216" fmla="*/ 4108918 h 6858000"/>
              <a:gd name="connsiteX217" fmla="*/ 5290070 w 7472601"/>
              <a:gd name="connsiteY217" fmla="*/ 4263619 h 6858000"/>
              <a:gd name="connsiteX218" fmla="*/ 4834991 w 7472601"/>
              <a:gd name="connsiteY218" fmla="*/ 3830985 h 6858000"/>
              <a:gd name="connsiteX219" fmla="*/ 4440129 w 7472601"/>
              <a:gd name="connsiteY219" fmla="*/ 3448571 h 6858000"/>
              <a:gd name="connsiteX220" fmla="*/ 4441737 w 7472601"/>
              <a:gd name="connsiteY220" fmla="*/ 3399734 h 6858000"/>
              <a:gd name="connsiteX221" fmla="*/ 4431236 w 7472601"/>
              <a:gd name="connsiteY221" fmla="*/ 3400954 h 6858000"/>
              <a:gd name="connsiteX222" fmla="*/ 4557150 w 7472601"/>
              <a:gd name="connsiteY222" fmla="*/ 3510023 h 6858000"/>
              <a:gd name="connsiteX223" fmla="*/ 4856936 w 7472601"/>
              <a:gd name="connsiteY223" fmla="*/ 3809146 h 6858000"/>
              <a:gd name="connsiteX224" fmla="*/ 5111996 w 7472601"/>
              <a:gd name="connsiteY224" fmla="*/ 4065759 h 6858000"/>
              <a:gd name="connsiteX225" fmla="*/ 5388878 w 7472601"/>
              <a:gd name="connsiteY225" fmla="*/ 4300185 h 6858000"/>
              <a:gd name="connsiteX226" fmla="*/ 5425556 w 7472601"/>
              <a:gd name="connsiteY226" fmla="*/ 4308967 h 6858000"/>
              <a:gd name="connsiteX227" fmla="*/ 4943646 w 7472601"/>
              <a:gd name="connsiteY227" fmla="*/ 3822916 h 6858000"/>
              <a:gd name="connsiteX228" fmla="*/ 4594837 w 7472601"/>
              <a:gd name="connsiteY228" fmla="*/ 3532274 h 6858000"/>
              <a:gd name="connsiteX229" fmla="*/ 4441737 w 7472601"/>
              <a:gd name="connsiteY229" fmla="*/ 3399734 h 6858000"/>
              <a:gd name="connsiteX230" fmla="*/ 5425834 w 7472601"/>
              <a:gd name="connsiteY230" fmla="*/ 3162785 h 6858000"/>
              <a:gd name="connsiteX231" fmla="*/ 5401644 w 7472601"/>
              <a:gd name="connsiteY231" fmla="*/ 3617847 h 6858000"/>
              <a:gd name="connsiteX232" fmla="*/ 5467256 w 7472601"/>
              <a:gd name="connsiteY232" fmla="*/ 4175494 h 6858000"/>
              <a:gd name="connsiteX233" fmla="*/ 5448069 w 7472601"/>
              <a:gd name="connsiteY233" fmla="*/ 3567554 h 6858000"/>
              <a:gd name="connsiteX234" fmla="*/ 5425834 w 7472601"/>
              <a:gd name="connsiteY234" fmla="*/ 3162785 h 6858000"/>
              <a:gd name="connsiteX235" fmla="*/ 1318687 w 7472601"/>
              <a:gd name="connsiteY235" fmla="*/ 3113840 h 6858000"/>
              <a:gd name="connsiteX236" fmla="*/ 1066793 w 7472601"/>
              <a:gd name="connsiteY236" fmla="*/ 3212171 h 6858000"/>
              <a:gd name="connsiteX237" fmla="*/ 993319 w 7472601"/>
              <a:gd name="connsiteY237" fmla="*/ 3247648 h 6858000"/>
              <a:gd name="connsiteX238" fmla="*/ 853081 w 7472601"/>
              <a:gd name="connsiteY238" fmla="*/ 3312410 h 6858000"/>
              <a:gd name="connsiteX239" fmla="*/ 805957 w 7472601"/>
              <a:gd name="connsiteY239" fmla="*/ 3330443 h 6858000"/>
              <a:gd name="connsiteX240" fmla="*/ 1318687 w 7472601"/>
              <a:gd name="connsiteY240" fmla="*/ 3113840 h 6858000"/>
              <a:gd name="connsiteX241" fmla="*/ 5453702 w 7472601"/>
              <a:gd name="connsiteY241" fmla="*/ 3090882 h 6858000"/>
              <a:gd name="connsiteX242" fmla="*/ 5480135 w 7472601"/>
              <a:gd name="connsiteY242" fmla="*/ 3565802 h 6858000"/>
              <a:gd name="connsiteX243" fmla="*/ 5499023 w 7472601"/>
              <a:gd name="connsiteY243" fmla="*/ 4166310 h 6858000"/>
              <a:gd name="connsiteX244" fmla="*/ 5547022 w 7472601"/>
              <a:gd name="connsiteY244" fmla="*/ 3607838 h 6858000"/>
              <a:gd name="connsiteX245" fmla="*/ 5515964 w 7472601"/>
              <a:gd name="connsiteY245" fmla="*/ 3378541 h 6858000"/>
              <a:gd name="connsiteX246" fmla="*/ 5453702 w 7472601"/>
              <a:gd name="connsiteY246" fmla="*/ 3090882 h 6858000"/>
              <a:gd name="connsiteX247" fmla="*/ 1238695 w 7472601"/>
              <a:gd name="connsiteY247" fmla="*/ 3076820 h 6858000"/>
              <a:gd name="connsiteX248" fmla="*/ 716371 w 7472601"/>
              <a:gd name="connsiteY248" fmla="*/ 3293249 h 6858000"/>
              <a:gd name="connsiteX249" fmla="*/ 579522 w 7472601"/>
              <a:gd name="connsiteY249" fmla="*/ 3371759 h 6858000"/>
              <a:gd name="connsiteX250" fmla="*/ 600288 w 7472601"/>
              <a:gd name="connsiteY250" fmla="*/ 3365555 h 6858000"/>
              <a:gd name="connsiteX251" fmla="*/ 840692 w 7472601"/>
              <a:gd name="connsiteY251" fmla="*/ 3284921 h 6858000"/>
              <a:gd name="connsiteX252" fmla="*/ 979248 w 7472601"/>
              <a:gd name="connsiteY252" fmla="*/ 3221003 h 6858000"/>
              <a:gd name="connsiteX253" fmla="*/ 1053282 w 7472601"/>
              <a:gd name="connsiteY253" fmla="*/ 3185247 h 6858000"/>
              <a:gd name="connsiteX254" fmla="*/ 1320603 w 7472601"/>
              <a:gd name="connsiteY254" fmla="*/ 3081281 h 6858000"/>
              <a:gd name="connsiteX255" fmla="*/ 1238695 w 7472601"/>
              <a:gd name="connsiteY255" fmla="*/ 3076820 h 6858000"/>
              <a:gd name="connsiteX256" fmla="*/ 5425627 w 7472601"/>
              <a:gd name="connsiteY256" fmla="*/ 2954192 h 6858000"/>
              <a:gd name="connsiteX257" fmla="*/ 5470770 w 7472601"/>
              <a:gd name="connsiteY257" fmla="*/ 3005435 h 6858000"/>
              <a:gd name="connsiteX258" fmla="*/ 5519779 w 7472601"/>
              <a:gd name="connsiteY258" fmla="*/ 4359223 h 6858000"/>
              <a:gd name="connsiteX259" fmla="*/ 5520293 w 7472601"/>
              <a:gd name="connsiteY259" fmla="*/ 4360602 h 6858000"/>
              <a:gd name="connsiteX260" fmla="*/ 5767221 w 7472601"/>
              <a:gd name="connsiteY260" fmla="*/ 4665564 h 6858000"/>
              <a:gd name="connsiteX261" fmla="*/ 6937169 w 7472601"/>
              <a:gd name="connsiteY261" fmla="*/ 4815941 h 6858000"/>
              <a:gd name="connsiteX262" fmla="*/ 6953922 w 7472601"/>
              <a:gd name="connsiteY262" fmla="*/ 4890068 h 6858000"/>
              <a:gd name="connsiteX263" fmla="*/ 6071359 w 7472601"/>
              <a:gd name="connsiteY263" fmla="*/ 4770770 h 6858000"/>
              <a:gd name="connsiteX264" fmla="*/ 6038839 w 7472601"/>
              <a:gd name="connsiteY264" fmla="*/ 4764474 h 6858000"/>
              <a:gd name="connsiteX265" fmla="*/ 6038706 w 7472601"/>
              <a:gd name="connsiteY265" fmla="*/ 4763847 h 6858000"/>
              <a:gd name="connsiteX266" fmla="*/ 6037784 w 7472601"/>
              <a:gd name="connsiteY266" fmla="*/ 4764270 h 6858000"/>
              <a:gd name="connsiteX267" fmla="*/ 6038839 w 7472601"/>
              <a:gd name="connsiteY267" fmla="*/ 4764474 h 6858000"/>
              <a:gd name="connsiteX268" fmla="*/ 6040338 w 7472601"/>
              <a:gd name="connsiteY268" fmla="*/ 4771418 h 6858000"/>
              <a:gd name="connsiteX269" fmla="*/ 6024488 w 7472601"/>
              <a:gd name="connsiteY269" fmla="*/ 4809903 h 6858000"/>
              <a:gd name="connsiteX270" fmla="*/ 5599771 w 7472601"/>
              <a:gd name="connsiteY270" fmla="*/ 5509652 h 6858000"/>
              <a:gd name="connsiteX271" fmla="*/ 5548843 w 7472601"/>
              <a:gd name="connsiteY271" fmla="*/ 5563845 h 6858000"/>
              <a:gd name="connsiteX272" fmla="*/ 5940952 w 7472601"/>
              <a:gd name="connsiteY272" fmla="*/ 6250028 h 6858000"/>
              <a:gd name="connsiteX273" fmla="*/ 6043441 w 7472601"/>
              <a:gd name="connsiteY273" fmla="*/ 6665847 h 6858000"/>
              <a:gd name="connsiteX274" fmla="*/ 6093432 w 7472601"/>
              <a:gd name="connsiteY274" fmla="*/ 6858000 h 6858000"/>
              <a:gd name="connsiteX275" fmla="*/ 6034344 w 7472601"/>
              <a:gd name="connsiteY275" fmla="*/ 6858000 h 6858000"/>
              <a:gd name="connsiteX276" fmla="*/ 6026679 w 7472601"/>
              <a:gd name="connsiteY276" fmla="*/ 6836959 h 6858000"/>
              <a:gd name="connsiteX277" fmla="*/ 5800441 w 7472601"/>
              <a:gd name="connsiteY277" fmla="*/ 6335286 h 6858000"/>
              <a:gd name="connsiteX278" fmla="*/ 5526562 w 7472601"/>
              <a:gd name="connsiteY278" fmla="*/ 5705388 h 6858000"/>
              <a:gd name="connsiteX279" fmla="*/ 5519640 w 7472601"/>
              <a:gd name="connsiteY279" fmla="*/ 5683774 h 6858000"/>
              <a:gd name="connsiteX280" fmla="*/ 5844559 w 7472601"/>
              <a:gd name="connsiteY280" fmla="*/ 6553349 h 6858000"/>
              <a:gd name="connsiteX281" fmla="*/ 5975994 w 7472601"/>
              <a:gd name="connsiteY281" fmla="*/ 6858000 h 6858000"/>
              <a:gd name="connsiteX282" fmla="*/ 5898547 w 7472601"/>
              <a:gd name="connsiteY282" fmla="*/ 6858000 h 6858000"/>
              <a:gd name="connsiteX283" fmla="*/ 5682041 w 7472601"/>
              <a:gd name="connsiteY283" fmla="*/ 6355860 h 6858000"/>
              <a:gd name="connsiteX284" fmla="*/ 5461758 w 7472601"/>
              <a:gd name="connsiteY284" fmla="*/ 5820220 h 6858000"/>
              <a:gd name="connsiteX285" fmla="*/ 5237282 w 7472601"/>
              <a:gd name="connsiteY285" fmla="*/ 6579086 h 6858000"/>
              <a:gd name="connsiteX286" fmla="*/ 5115009 w 7472601"/>
              <a:gd name="connsiteY286" fmla="*/ 6858000 h 6858000"/>
              <a:gd name="connsiteX287" fmla="*/ 5028074 w 7472601"/>
              <a:gd name="connsiteY287" fmla="*/ 6858000 h 6858000"/>
              <a:gd name="connsiteX288" fmla="*/ 5079508 w 7472601"/>
              <a:gd name="connsiteY288" fmla="*/ 6749074 h 6858000"/>
              <a:gd name="connsiteX289" fmla="*/ 5371846 w 7472601"/>
              <a:gd name="connsiteY289" fmla="*/ 5924413 h 6858000"/>
              <a:gd name="connsiteX290" fmla="*/ 5270512 w 7472601"/>
              <a:gd name="connsiteY290" fmla="*/ 6138975 h 6858000"/>
              <a:gd name="connsiteX291" fmla="*/ 5062409 w 7472601"/>
              <a:gd name="connsiteY291" fmla="*/ 6653544 h 6858000"/>
              <a:gd name="connsiteX292" fmla="*/ 5036628 w 7472601"/>
              <a:gd name="connsiteY292" fmla="*/ 6754247 h 6858000"/>
              <a:gd name="connsiteX293" fmla="*/ 5009112 w 7472601"/>
              <a:gd name="connsiteY293" fmla="*/ 6858000 h 6858000"/>
              <a:gd name="connsiteX294" fmla="*/ 4976679 w 7472601"/>
              <a:gd name="connsiteY294" fmla="*/ 6858000 h 6858000"/>
              <a:gd name="connsiteX295" fmla="*/ 5006537 w 7472601"/>
              <a:gd name="connsiteY295" fmla="*/ 6747068 h 6858000"/>
              <a:gd name="connsiteX296" fmla="*/ 5032723 w 7472601"/>
              <a:gd name="connsiteY296" fmla="*/ 6644957 h 6858000"/>
              <a:gd name="connsiteX297" fmla="*/ 5242949 w 7472601"/>
              <a:gd name="connsiteY297" fmla="*/ 6125175 h 6858000"/>
              <a:gd name="connsiteX298" fmla="*/ 5286321 w 7472601"/>
              <a:gd name="connsiteY298" fmla="*/ 6033555 h 6858000"/>
              <a:gd name="connsiteX299" fmla="*/ 5008210 w 7472601"/>
              <a:gd name="connsiteY299" fmla="*/ 6649194 h 6858000"/>
              <a:gd name="connsiteX300" fmla="*/ 4986321 w 7472601"/>
              <a:gd name="connsiteY300" fmla="*/ 6765687 h 6858000"/>
              <a:gd name="connsiteX301" fmla="*/ 4973474 w 7472601"/>
              <a:gd name="connsiteY301" fmla="*/ 6858000 h 6858000"/>
              <a:gd name="connsiteX302" fmla="*/ 4907178 w 7472601"/>
              <a:gd name="connsiteY302" fmla="*/ 6858000 h 6858000"/>
              <a:gd name="connsiteX303" fmla="*/ 4910810 w 7472601"/>
              <a:gd name="connsiteY303" fmla="*/ 6829660 h 6858000"/>
              <a:gd name="connsiteX304" fmla="*/ 4987461 w 7472601"/>
              <a:gd name="connsiteY304" fmla="*/ 6432994 h 6858000"/>
              <a:gd name="connsiteX305" fmla="*/ 5179262 w 7472601"/>
              <a:gd name="connsiteY305" fmla="*/ 6035044 h 6858000"/>
              <a:gd name="connsiteX306" fmla="*/ 4689678 w 7472601"/>
              <a:gd name="connsiteY306" fmla="*/ 6440241 h 6858000"/>
              <a:gd name="connsiteX307" fmla="*/ 4477543 w 7472601"/>
              <a:gd name="connsiteY307" fmla="*/ 6674836 h 6858000"/>
              <a:gd name="connsiteX308" fmla="*/ 4329957 w 7472601"/>
              <a:gd name="connsiteY308" fmla="*/ 6858000 h 6858000"/>
              <a:gd name="connsiteX309" fmla="*/ 4218595 w 7472601"/>
              <a:gd name="connsiteY309" fmla="*/ 6858000 h 6858000"/>
              <a:gd name="connsiteX310" fmla="*/ 4368888 w 7472601"/>
              <a:gd name="connsiteY310" fmla="*/ 6668412 h 6858000"/>
              <a:gd name="connsiteX311" fmla="*/ 4563091 w 7472601"/>
              <a:gd name="connsiteY311" fmla="*/ 6442508 h 6858000"/>
              <a:gd name="connsiteX312" fmla="*/ 5387324 w 7472601"/>
              <a:gd name="connsiteY312" fmla="*/ 5705830 h 6858000"/>
              <a:gd name="connsiteX313" fmla="*/ 5073620 w 7472601"/>
              <a:gd name="connsiteY313" fmla="*/ 5955437 h 6858000"/>
              <a:gd name="connsiteX314" fmla="*/ 4689789 w 7472601"/>
              <a:gd name="connsiteY314" fmla="*/ 6268382 h 6858000"/>
              <a:gd name="connsiteX315" fmla="*/ 4418722 w 7472601"/>
              <a:gd name="connsiteY315" fmla="*/ 6570886 h 6858000"/>
              <a:gd name="connsiteX316" fmla="*/ 4214944 w 7472601"/>
              <a:gd name="connsiteY316" fmla="*/ 6858000 h 6858000"/>
              <a:gd name="connsiteX317" fmla="*/ 4177898 w 7472601"/>
              <a:gd name="connsiteY317" fmla="*/ 6858000 h 6858000"/>
              <a:gd name="connsiteX318" fmla="*/ 4391597 w 7472601"/>
              <a:gd name="connsiteY318" fmla="*/ 6556370 h 6858000"/>
              <a:gd name="connsiteX319" fmla="*/ 4668889 w 7472601"/>
              <a:gd name="connsiteY319" fmla="*/ 6246399 h 6858000"/>
              <a:gd name="connsiteX320" fmla="*/ 5055427 w 7472601"/>
              <a:gd name="connsiteY320" fmla="*/ 5931476 h 6858000"/>
              <a:gd name="connsiteX321" fmla="*/ 5371814 w 7472601"/>
              <a:gd name="connsiteY321" fmla="*/ 5678975 h 6858000"/>
              <a:gd name="connsiteX322" fmla="*/ 4987918 w 7472601"/>
              <a:gd name="connsiteY322" fmla="*/ 5838701 h 6858000"/>
              <a:gd name="connsiteX323" fmla="*/ 4317146 w 7472601"/>
              <a:gd name="connsiteY323" fmla="*/ 6587716 h 6858000"/>
              <a:gd name="connsiteX324" fmla="*/ 4171627 w 7472601"/>
              <a:gd name="connsiteY324" fmla="*/ 6858000 h 6858000"/>
              <a:gd name="connsiteX325" fmla="*/ 4081585 w 7472601"/>
              <a:gd name="connsiteY325" fmla="*/ 6858000 h 6858000"/>
              <a:gd name="connsiteX326" fmla="*/ 4238603 w 7472601"/>
              <a:gd name="connsiteY326" fmla="*/ 6559341 h 6858000"/>
              <a:gd name="connsiteX327" fmla="*/ 4778333 w 7472601"/>
              <a:gd name="connsiteY327" fmla="*/ 5873626 h 6858000"/>
              <a:gd name="connsiteX328" fmla="*/ 5414185 w 7472601"/>
              <a:gd name="connsiteY328" fmla="*/ 5573882 h 6858000"/>
              <a:gd name="connsiteX329" fmla="*/ 5959648 w 7472601"/>
              <a:gd name="connsiteY329" fmla="*/ 4760797 h 6858000"/>
              <a:gd name="connsiteX330" fmla="*/ 5355019 w 7472601"/>
              <a:gd name="connsiteY330" fmla="*/ 4734672 h 6858000"/>
              <a:gd name="connsiteX331" fmla="*/ 5083565 w 7472601"/>
              <a:gd name="connsiteY331" fmla="*/ 5179121 h 6858000"/>
              <a:gd name="connsiteX332" fmla="*/ 4713577 w 7472601"/>
              <a:gd name="connsiteY332" fmla="*/ 5616803 h 6858000"/>
              <a:gd name="connsiteX333" fmla="*/ 3989559 w 7472601"/>
              <a:gd name="connsiteY333" fmla="*/ 6145945 h 6858000"/>
              <a:gd name="connsiteX334" fmla="*/ 3939824 w 7472601"/>
              <a:gd name="connsiteY334" fmla="*/ 6066900 h 6858000"/>
              <a:gd name="connsiteX335" fmla="*/ 4584537 w 7472601"/>
              <a:gd name="connsiteY335" fmla="*/ 5324826 h 6858000"/>
              <a:gd name="connsiteX336" fmla="*/ 5037105 w 7472601"/>
              <a:gd name="connsiteY336" fmla="*/ 5088765 h 6858000"/>
              <a:gd name="connsiteX337" fmla="*/ 5039930 w 7472601"/>
              <a:gd name="connsiteY337" fmla="*/ 5089585 h 6858000"/>
              <a:gd name="connsiteX338" fmla="*/ 5263764 w 7472601"/>
              <a:gd name="connsiteY338" fmla="*/ 4735525 h 6858000"/>
              <a:gd name="connsiteX339" fmla="*/ 4086300 w 7472601"/>
              <a:gd name="connsiteY339" fmla="*/ 4884599 h 6858000"/>
              <a:gd name="connsiteX340" fmla="*/ 4085485 w 7472601"/>
              <a:gd name="connsiteY340" fmla="*/ 4899070 h 6858000"/>
              <a:gd name="connsiteX341" fmla="*/ 3871915 w 7472601"/>
              <a:gd name="connsiteY341" fmla="*/ 5253645 h 6858000"/>
              <a:gd name="connsiteX342" fmla="*/ 3799374 w 7472601"/>
              <a:gd name="connsiteY342" fmla="*/ 5466127 h 6858000"/>
              <a:gd name="connsiteX343" fmla="*/ 3498850 w 7472601"/>
              <a:gd name="connsiteY343" fmla="*/ 6661888 h 6858000"/>
              <a:gd name="connsiteX344" fmla="*/ 3399216 w 7472601"/>
              <a:gd name="connsiteY344" fmla="*/ 6858000 h 6858000"/>
              <a:gd name="connsiteX345" fmla="*/ 3303688 w 7472601"/>
              <a:gd name="connsiteY345" fmla="*/ 6858000 h 6858000"/>
              <a:gd name="connsiteX346" fmla="*/ 3391774 w 7472601"/>
              <a:gd name="connsiteY346" fmla="*/ 6697181 h 6858000"/>
              <a:gd name="connsiteX347" fmla="*/ 3735540 w 7472601"/>
              <a:gd name="connsiteY347" fmla="*/ 5546923 h 6858000"/>
              <a:gd name="connsiteX348" fmla="*/ 3729438 w 7472601"/>
              <a:gd name="connsiteY348" fmla="*/ 5569058 h 6858000"/>
              <a:gd name="connsiteX349" fmla="*/ 3707782 w 7472601"/>
              <a:gd name="connsiteY349" fmla="*/ 5644908 h 6858000"/>
              <a:gd name="connsiteX350" fmla="*/ 3583827 w 7472601"/>
              <a:gd name="connsiteY350" fmla="*/ 6039215 h 6858000"/>
              <a:gd name="connsiteX351" fmla="*/ 3547861 w 7472601"/>
              <a:gd name="connsiteY351" fmla="*/ 6129609 h 6858000"/>
              <a:gd name="connsiteX352" fmla="*/ 3490905 w 7472601"/>
              <a:gd name="connsiteY352" fmla="*/ 6277660 h 6858000"/>
              <a:gd name="connsiteX353" fmla="*/ 3455859 w 7472601"/>
              <a:gd name="connsiteY353" fmla="*/ 6391301 h 6858000"/>
              <a:gd name="connsiteX354" fmla="*/ 3429112 w 7472601"/>
              <a:gd name="connsiteY354" fmla="*/ 6479469 h 6858000"/>
              <a:gd name="connsiteX355" fmla="*/ 3304862 w 7472601"/>
              <a:gd name="connsiteY355" fmla="*/ 6796476 h 6858000"/>
              <a:gd name="connsiteX356" fmla="*/ 3276071 w 7472601"/>
              <a:gd name="connsiteY356" fmla="*/ 6858000 h 6858000"/>
              <a:gd name="connsiteX357" fmla="*/ 3240805 w 7472601"/>
              <a:gd name="connsiteY357" fmla="*/ 6858000 h 6858000"/>
              <a:gd name="connsiteX358" fmla="*/ 3275917 w 7472601"/>
              <a:gd name="connsiteY358" fmla="*/ 6783192 h 6858000"/>
              <a:gd name="connsiteX359" fmla="*/ 3399358 w 7472601"/>
              <a:gd name="connsiteY359" fmla="*/ 6469011 h 6858000"/>
              <a:gd name="connsiteX360" fmla="*/ 3425650 w 7472601"/>
              <a:gd name="connsiteY360" fmla="*/ 6381333 h 6858000"/>
              <a:gd name="connsiteX361" fmla="*/ 3460661 w 7472601"/>
              <a:gd name="connsiteY361" fmla="*/ 6266763 h 6858000"/>
              <a:gd name="connsiteX362" fmla="*/ 3518021 w 7472601"/>
              <a:gd name="connsiteY362" fmla="*/ 6117298 h 6858000"/>
              <a:gd name="connsiteX363" fmla="*/ 3554035 w 7472601"/>
              <a:gd name="connsiteY363" fmla="*/ 6027832 h 6858000"/>
              <a:gd name="connsiteX364" fmla="*/ 3677174 w 7472601"/>
              <a:gd name="connsiteY364" fmla="*/ 5636351 h 6858000"/>
              <a:gd name="connsiteX365" fmla="*/ 3698819 w 7472601"/>
              <a:gd name="connsiteY365" fmla="*/ 5560503 h 6858000"/>
              <a:gd name="connsiteX366" fmla="*/ 3702094 w 7472601"/>
              <a:gd name="connsiteY366" fmla="*/ 5549194 h 6858000"/>
              <a:gd name="connsiteX367" fmla="*/ 3398355 w 7472601"/>
              <a:gd name="connsiteY367" fmla="*/ 6094603 h 6858000"/>
              <a:gd name="connsiteX368" fmla="*/ 3193941 w 7472601"/>
              <a:gd name="connsiteY368" fmla="*/ 6798775 h 6858000"/>
              <a:gd name="connsiteX369" fmla="*/ 3184140 w 7472601"/>
              <a:gd name="connsiteY369" fmla="*/ 6858000 h 6858000"/>
              <a:gd name="connsiteX370" fmla="*/ 3099978 w 7472601"/>
              <a:gd name="connsiteY370" fmla="*/ 6858000 h 6858000"/>
              <a:gd name="connsiteX371" fmla="*/ 3101556 w 7472601"/>
              <a:gd name="connsiteY371" fmla="*/ 6843337 h 6858000"/>
              <a:gd name="connsiteX372" fmla="*/ 3370162 w 7472601"/>
              <a:gd name="connsiteY372" fmla="*/ 5785550 h 6858000"/>
              <a:gd name="connsiteX373" fmla="*/ 3746477 w 7472601"/>
              <a:gd name="connsiteY373" fmla="*/ 5377889 h 6858000"/>
              <a:gd name="connsiteX374" fmla="*/ 3863399 w 7472601"/>
              <a:gd name="connsiteY374" fmla="*/ 5087257 h 6858000"/>
              <a:gd name="connsiteX375" fmla="*/ 3968712 w 7472601"/>
              <a:gd name="connsiteY375" fmla="*/ 4913989 h 6858000"/>
              <a:gd name="connsiteX376" fmla="*/ 2792390 w 7472601"/>
              <a:gd name="connsiteY376" fmla="*/ 5382974 h 6858000"/>
              <a:gd name="connsiteX377" fmla="*/ 2714982 w 7472601"/>
              <a:gd name="connsiteY377" fmla="*/ 5427051 h 6858000"/>
              <a:gd name="connsiteX378" fmla="*/ 2813361 w 7472601"/>
              <a:gd name="connsiteY378" fmla="*/ 6023912 h 6858000"/>
              <a:gd name="connsiteX379" fmla="*/ 2688430 w 7472601"/>
              <a:gd name="connsiteY379" fmla="*/ 6801564 h 6858000"/>
              <a:gd name="connsiteX380" fmla="*/ 2629626 w 7472601"/>
              <a:gd name="connsiteY380" fmla="*/ 6763394 h 6858000"/>
              <a:gd name="connsiteX381" fmla="*/ 2565328 w 7472601"/>
              <a:gd name="connsiteY381" fmla="*/ 5516399 h 6858000"/>
              <a:gd name="connsiteX382" fmla="*/ 1922999 w 7472601"/>
              <a:gd name="connsiteY382" fmla="*/ 5980343 h 6858000"/>
              <a:gd name="connsiteX383" fmla="*/ 1950261 w 7472601"/>
              <a:gd name="connsiteY383" fmla="*/ 6405858 h 6858000"/>
              <a:gd name="connsiteX384" fmla="*/ 2365554 w 7472601"/>
              <a:gd name="connsiteY384" fmla="*/ 6759107 h 6858000"/>
              <a:gd name="connsiteX385" fmla="*/ 2424142 w 7472601"/>
              <a:gd name="connsiteY385" fmla="*/ 6858000 h 6858000"/>
              <a:gd name="connsiteX386" fmla="*/ 2395994 w 7472601"/>
              <a:gd name="connsiteY386" fmla="*/ 6858000 h 6858000"/>
              <a:gd name="connsiteX387" fmla="*/ 2392863 w 7472601"/>
              <a:gd name="connsiteY387" fmla="*/ 6852964 h 6858000"/>
              <a:gd name="connsiteX388" fmla="*/ 2017589 w 7472601"/>
              <a:gd name="connsiteY388" fmla="*/ 6493982 h 6858000"/>
              <a:gd name="connsiteX389" fmla="*/ 2147336 w 7472601"/>
              <a:gd name="connsiteY389" fmla="*/ 6594052 h 6858000"/>
              <a:gd name="connsiteX390" fmla="*/ 2207047 w 7472601"/>
              <a:gd name="connsiteY390" fmla="*/ 6654540 h 6858000"/>
              <a:gd name="connsiteX391" fmla="*/ 2299106 w 7472601"/>
              <a:gd name="connsiteY391" fmla="*/ 6778931 h 6858000"/>
              <a:gd name="connsiteX392" fmla="*/ 2314430 w 7472601"/>
              <a:gd name="connsiteY392" fmla="*/ 6801144 h 6858000"/>
              <a:gd name="connsiteX393" fmla="*/ 2352406 w 7472601"/>
              <a:gd name="connsiteY393" fmla="*/ 6858000 h 6858000"/>
              <a:gd name="connsiteX394" fmla="*/ 2314492 w 7472601"/>
              <a:gd name="connsiteY394" fmla="*/ 6858000 h 6858000"/>
              <a:gd name="connsiteX395" fmla="*/ 2288095 w 7472601"/>
              <a:gd name="connsiteY395" fmla="*/ 6818030 h 6858000"/>
              <a:gd name="connsiteX396" fmla="*/ 2272768 w 7472601"/>
              <a:gd name="connsiteY396" fmla="*/ 6795822 h 6858000"/>
              <a:gd name="connsiteX397" fmla="*/ 2182715 w 7472601"/>
              <a:gd name="connsiteY397" fmla="*/ 6675071 h 6858000"/>
              <a:gd name="connsiteX398" fmla="*/ 2032061 w 7472601"/>
              <a:gd name="connsiteY398" fmla="*/ 6541380 h 6858000"/>
              <a:gd name="connsiteX399" fmla="*/ 2257220 w 7472601"/>
              <a:gd name="connsiteY399" fmla="*/ 6826257 h 6858000"/>
              <a:gd name="connsiteX400" fmla="*/ 2281324 w 7472601"/>
              <a:gd name="connsiteY400" fmla="*/ 6858000 h 6858000"/>
              <a:gd name="connsiteX401" fmla="*/ 2242860 w 7472601"/>
              <a:gd name="connsiteY401" fmla="*/ 6858000 h 6858000"/>
              <a:gd name="connsiteX402" fmla="*/ 2232818 w 7472601"/>
              <a:gd name="connsiteY402" fmla="*/ 6844926 h 6858000"/>
              <a:gd name="connsiteX403" fmla="*/ 1990172 w 7472601"/>
              <a:gd name="connsiteY403" fmla="*/ 6542121 h 6858000"/>
              <a:gd name="connsiteX404" fmla="*/ 2124090 w 7472601"/>
              <a:gd name="connsiteY404" fmla="*/ 6761017 h 6858000"/>
              <a:gd name="connsiteX405" fmla="*/ 2200380 w 7472601"/>
              <a:gd name="connsiteY405" fmla="*/ 6858000 h 6858000"/>
              <a:gd name="connsiteX406" fmla="*/ 2147507 w 7472601"/>
              <a:gd name="connsiteY406" fmla="*/ 6858000 h 6858000"/>
              <a:gd name="connsiteX407" fmla="*/ 2070668 w 7472601"/>
              <a:gd name="connsiteY407" fmla="*/ 6761520 h 6858000"/>
              <a:gd name="connsiteX408" fmla="*/ 1975142 w 7472601"/>
              <a:gd name="connsiteY408" fmla="*/ 6585570 h 6858000"/>
              <a:gd name="connsiteX409" fmla="*/ 2050035 w 7472601"/>
              <a:gd name="connsiteY409" fmla="*/ 6813345 h 6858000"/>
              <a:gd name="connsiteX410" fmla="*/ 2063025 w 7472601"/>
              <a:gd name="connsiteY410" fmla="*/ 6858000 h 6858000"/>
              <a:gd name="connsiteX411" fmla="*/ 2021675 w 7472601"/>
              <a:gd name="connsiteY411" fmla="*/ 6858000 h 6858000"/>
              <a:gd name="connsiteX412" fmla="*/ 2019308 w 7472601"/>
              <a:gd name="connsiteY412" fmla="*/ 6847118 h 6858000"/>
              <a:gd name="connsiteX413" fmla="*/ 1938835 w 7472601"/>
              <a:gd name="connsiteY413" fmla="*/ 6551160 h 6858000"/>
              <a:gd name="connsiteX414" fmla="*/ 1953230 w 7472601"/>
              <a:gd name="connsiteY414" fmla="*/ 6759699 h 6858000"/>
              <a:gd name="connsiteX415" fmla="*/ 1956763 w 7472601"/>
              <a:gd name="connsiteY415" fmla="*/ 6778191 h 6858000"/>
              <a:gd name="connsiteX416" fmla="*/ 1967925 w 7472601"/>
              <a:gd name="connsiteY416" fmla="*/ 6858000 h 6858000"/>
              <a:gd name="connsiteX417" fmla="*/ 1936622 w 7472601"/>
              <a:gd name="connsiteY417" fmla="*/ 6858000 h 6858000"/>
              <a:gd name="connsiteX418" fmla="*/ 1926261 w 7472601"/>
              <a:gd name="connsiteY418" fmla="*/ 6784064 h 6858000"/>
              <a:gd name="connsiteX419" fmla="*/ 1922724 w 7472601"/>
              <a:gd name="connsiteY419" fmla="*/ 6765577 h 6858000"/>
              <a:gd name="connsiteX420" fmla="*/ 1904650 w 7472601"/>
              <a:gd name="connsiteY420" fmla="*/ 6639616 h 6858000"/>
              <a:gd name="connsiteX421" fmla="*/ 1885273 w 7472601"/>
              <a:gd name="connsiteY421" fmla="*/ 6858000 h 6858000"/>
              <a:gd name="connsiteX422" fmla="*/ 1854363 w 7472601"/>
              <a:gd name="connsiteY422" fmla="*/ 6858000 h 6858000"/>
              <a:gd name="connsiteX423" fmla="*/ 1880391 w 7472601"/>
              <a:gd name="connsiteY423" fmla="*/ 6603796 h 6858000"/>
              <a:gd name="connsiteX424" fmla="*/ 1818273 w 7472601"/>
              <a:gd name="connsiteY424" fmla="*/ 6715729 h 6858000"/>
              <a:gd name="connsiteX425" fmla="*/ 1794691 w 7472601"/>
              <a:gd name="connsiteY425" fmla="*/ 6843239 h 6858000"/>
              <a:gd name="connsiteX426" fmla="*/ 1794914 w 7472601"/>
              <a:gd name="connsiteY426" fmla="*/ 6858000 h 6858000"/>
              <a:gd name="connsiteX427" fmla="*/ 1746128 w 7472601"/>
              <a:gd name="connsiteY427" fmla="*/ 6858000 h 6858000"/>
              <a:gd name="connsiteX428" fmla="*/ 1753934 w 7472601"/>
              <a:gd name="connsiteY428" fmla="*/ 6724796 h 6858000"/>
              <a:gd name="connsiteX429" fmla="*/ 1792053 w 7472601"/>
              <a:gd name="connsiteY429" fmla="*/ 6572396 h 6858000"/>
              <a:gd name="connsiteX430" fmla="*/ 1862248 w 7472601"/>
              <a:gd name="connsiteY430" fmla="*/ 6266397 h 6858000"/>
              <a:gd name="connsiteX431" fmla="*/ 1862250 w 7472601"/>
              <a:gd name="connsiteY431" fmla="*/ 6033531 h 6858000"/>
              <a:gd name="connsiteX432" fmla="*/ 1211999 w 7472601"/>
              <a:gd name="connsiteY432" fmla="*/ 6683610 h 6858000"/>
              <a:gd name="connsiteX433" fmla="*/ 1213266 w 7472601"/>
              <a:gd name="connsiteY433" fmla="*/ 6691947 h 6858000"/>
              <a:gd name="connsiteX434" fmla="*/ 1203370 w 7472601"/>
              <a:gd name="connsiteY434" fmla="*/ 6850676 h 6858000"/>
              <a:gd name="connsiteX435" fmla="*/ 1203671 w 7472601"/>
              <a:gd name="connsiteY435" fmla="*/ 6858000 h 6858000"/>
              <a:gd name="connsiteX436" fmla="*/ 1143180 w 7472601"/>
              <a:gd name="connsiteY436" fmla="*/ 6858000 h 6858000"/>
              <a:gd name="connsiteX437" fmla="*/ 1142176 w 7472601"/>
              <a:gd name="connsiteY437" fmla="*/ 6766045 h 6858000"/>
              <a:gd name="connsiteX438" fmla="*/ 1067484 w 7472601"/>
              <a:gd name="connsiteY438" fmla="*/ 6858000 h 6858000"/>
              <a:gd name="connsiteX439" fmla="*/ 953928 w 7472601"/>
              <a:gd name="connsiteY439" fmla="*/ 6858000 h 6858000"/>
              <a:gd name="connsiteX440" fmla="*/ 959715 w 7472601"/>
              <a:gd name="connsiteY440" fmla="*/ 6850185 h 6858000"/>
              <a:gd name="connsiteX441" fmla="*/ 1483788 w 7472601"/>
              <a:gd name="connsiteY441" fmla="*/ 6259174 h 6858000"/>
              <a:gd name="connsiteX442" fmla="*/ 1100671 w 7472601"/>
              <a:gd name="connsiteY442" fmla="*/ 6252137 h 6858000"/>
              <a:gd name="connsiteX443" fmla="*/ 1090144 w 7472601"/>
              <a:gd name="connsiteY443" fmla="*/ 6256748 h 6858000"/>
              <a:gd name="connsiteX444" fmla="*/ 1095872 w 7472601"/>
              <a:gd name="connsiteY444" fmla="*/ 6271892 h 6858000"/>
              <a:gd name="connsiteX445" fmla="*/ 262785 w 7472601"/>
              <a:gd name="connsiteY445" fmla="*/ 6845450 h 6858000"/>
              <a:gd name="connsiteX446" fmla="*/ 209968 w 7472601"/>
              <a:gd name="connsiteY446" fmla="*/ 6770713 h 6858000"/>
              <a:gd name="connsiteX447" fmla="*/ 873460 w 7472601"/>
              <a:gd name="connsiteY447" fmla="*/ 6253768 h 6858000"/>
              <a:gd name="connsiteX448" fmla="*/ 192686 w 7472601"/>
              <a:gd name="connsiteY448" fmla="*/ 5849257 h 6858000"/>
              <a:gd name="connsiteX449" fmla="*/ 4696 w 7472601"/>
              <a:gd name="connsiteY449" fmla="*/ 5697668 h 6858000"/>
              <a:gd name="connsiteX450" fmla="*/ 0 w 7472601"/>
              <a:gd name="connsiteY450" fmla="*/ 5689984 h 6858000"/>
              <a:gd name="connsiteX451" fmla="*/ 0 w 7472601"/>
              <a:gd name="connsiteY451" fmla="*/ 5513472 h 6858000"/>
              <a:gd name="connsiteX452" fmla="*/ 174101 w 7472601"/>
              <a:gd name="connsiteY452" fmla="*/ 5620277 h 6858000"/>
              <a:gd name="connsiteX453" fmla="*/ 891800 w 7472601"/>
              <a:gd name="connsiteY453" fmla="*/ 6036935 h 6858000"/>
              <a:gd name="connsiteX454" fmla="*/ 1072219 w 7472601"/>
              <a:gd name="connsiteY454" fmla="*/ 6169443 h 6858000"/>
              <a:gd name="connsiteX455" fmla="*/ 1074117 w 7472601"/>
              <a:gd name="connsiteY455" fmla="*/ 6170301 h 6858000"/>
              <a:gd name="connsiteX456" fmla="*/ 1083114 w 7472601"/>
              <a:gd name="connsiteY456" fmla="*/ 6174131 h 6858000"/>
              <a:gd name="connsiteX457" fmla="*/ 1543010 w 7472601"/>
              <a:gd name="connsiteY457" fmla="*/ 6191140 h 6858000"/>
              <a:gd name="connsiteX458" fmla="*/ 1551080 w 7472601"/>
              <a:gd name="connsiteY458" fmla="*/ 6195006 h 6858000"/>
              <a:gd name="connsiteX459" fmla="*/ 2345443 w 7472601"/>
              <a:gd name="connsiteY459" fmla="*/ 5549882 h 6858000"/>
              <a:gd name="connsiteX460" fmla="*/ 1721499 w 7472601"/>
              <a:gd name="connsiteY460" fmla="*/ 5599969 h 6858000"/>
              <a:gd name="connsiteX461" fmla="*/ 767716 w 7472601"/>
              <a:gd name="connsiteY461" fmla="*/ 5472768 h 6858000"/>
              <a:gd name="connsiteX462" fmla="*/ 722147 w 7472601"/>
              <a:gd name="connsiteY462" fmla="*/ 5393091 h 6858000"/>
              <a:gd name="connsiteX463" fmla="*/ 1485552 w 7472601"/>
              <a:gd name="connsiteY463" fmla="*/ 5313202 h 6858000"/>
              <a:gd name="connsiteX464" fmla="*/ 2143004 w 7472601"/>
              <a:gd name="connsiteY464" fmla="*/ 5402420 h 6858000"/>
              <a:gd name="connsiteX465" fmla="*/ 1933391 w 7472601"/>
              <a:gd name="connsiteY465" fmla="*/ 5156971 h 6858000"/>
              <a:gd name="connsiteX466" fmla="*/ 1827118 w 7472601"/>
              <a:gd name="connsiteY466" fmla="*/ 4968410 h 6858000"/>
              <a:gd name="connsiteX467" fmla="*/ 1837349 w 7472601"/>
              <a:gd name="connsiteY467" fmla="*/ 4956357 h 6858000"/>
              <a:gd name="connsiteX468" fmla="*/ 2162835 w 7472601"/>
              <a:gd name="connsiteY468" fmla="*/ 5187853 h 6858000"/>
              <a:gd name="connsiteX469" fmla="*/ 2257167 w 7472601"/>
              <a:gd name="connsiteY469" fmla="*/ 5462123 h 6858000"/>
              <a:gd name="connsiteX470" fmla="*/ 2261598 w 7472601"/>
              <a:gd name="connsiteY470" fmla="*/ 5467998 h 6858000"/>
              <a:gd name="connsiteX471" fmla="*/ 2437177 w 7472601"/>
              <a:gd name="connsiteY471" fmla="*/ 5479608 h 6858000"/>
              <a:gd name="connsiteX472" fmla="*/ 2445247 w 7472601"/>
              <a:gd name="connsiteY472" fmla="*/ 5483476 h 6858000"/>
              <a:gd name="connsiteX473" fmla="*/ 2743626 w 7472601"/>
              <a:gd name="connsiteY473" fmla="*/ 5304819 h 6858000"/>
              <a:gd name="connsiteX474" fmla="*/ 3048102 w 7472601"/>
              <a:gd name="connsiteY474" fmla="*/ 5150595 h 6858000"/>
              <a:gd name="connsiteX475" fmla="*/ 1799414 w 7472601"/>
              <a:gd name="connsiteY475" fmla="*/ 4694732 h 6858000"/>
              <a:gd name="connsiteX476" fmla="*/ 1771735 w 7472601"/>
              <a:gd name="connsiteY476" fmla="*/ 4619929 h 6858000"/>
              <a:gd name="connsiteX477" fmla="*/ 3104273 w 7472601"/>
              <a:gd name="connsiteY477" fmla="*/ 5076159 h 6858000"/>
              <a:gd name="connsiteX478" fmla="*/ 3113245 w 7472601"/>
              <a:gd name="connsiteY478" fmla="*/ 5090705 h 6858000"/>
              <a:gd name="connsiteX479" fmla="*/ 3126294 w 7472601"/>
              <a:gd name="connsiteY479" fmla="*/ 5114400 h 6858000"/>
              <a:gd name="connsiteX480" fmla="*/ 3937433 w 7472601"/>
              <a:gd name="connsiteY480" fmla="*/ 4830473 h 6858000"/>
              <a:gd name="connsiteX481" fmla="*/ 3590475 w 7472601"/>
              <a:gd name="connsiteY481" fmla="*/ 4597974 h 6858000"/>
              <a:gd name="connsiteX482" fmla="*/ 3100264 w 7472601"/>
              <a:gd name="connsiteY482" fmla="*/ 4579845 h 6858000"/>
              <a:gd name="connsiteX483" fmla="*/ 2183576 w 7472601"/>
              <a:gd name="connsiteY483" fmla="*/ 4227150 h 6858000"/>
              <a:gd name="connsiteX484" fmla="*/ 2151029 w 7472601"/>
              <a:gd name="connsiteY484" fmla="*/ 4146947 h 6858000"/>
              <a:gd name="connsiteX485" fmla="*/ 3563434 w 7472601"/>
              <a:gd name="connsiteY485" fmla="*/ 4469115 h 6858000"/>
              <a:gd name="connsiteX486" fmla="*/ 3177952 w 7472601"/>
              <a:gd name="connsiteY486" fmla="*/ 3657386 h 6858000"/>
              <a:gd name="connsiteX487" fmla="*/ 3189263 w 7472601"/>
              <a:gd name="connsiteY487" fmla="*/ 3625726 h 6858000"/>
              <a:gd name="connsiteX488" fmla="*/ 3560912 w 7472601"/>
              <a:gd name="connsiteY488" fmla="*/ 4079863 h 6858000"/>
              <a:gd name="connsiteX489" fmla="*/ 3626636 w 7472601"/>
              <a:gd name="connsiteY489" fmla="*/ 4512230 h 6858000"/>
              <a:gd name="connsiteX490" fmla="*/ 3653088 w 7472601"/>
              <a:gd name="connsiteY490" fmla="*/ 4521417 h 6858000"/>
              <a:gd name="connsiteX491" fmla="*/ 3988128 w 7472601"/>
              <a:gd name="connsiteY491" fmla="*/ 4817267 h 6858000"/>
              <a:gd name="connsiteX492" fmla="*/ 4830582 w 7472601"/>
              <a:gd name="connsiteY492" fmla="*/ 4676000 h 6858000"/>
              <a:gd name="connsiteX493" fmla="*/ 4830100 w 7472601"/>
              <a:gd name="connsiteY493" fmla="*/ 4675554 h 6858000"/>
              <a:gd name="connsiteX494" fmla="*/ 4036318 w 7472601"/>
              <a:gd name="connsiteY494" fmla="*/ 4147013 h 6858000"/>
              <a:gd name="connsiteX495" fmla="*/ 3432098 w 7472601"/>
              <a:gd name="connsiteY495" fmla="*/ 3537312 h 6858000"/>
              <a:gd name="connsiteX496" fmla="*/ 3446761 w 7472601"/>
              <a:gd name="connsiteY496" fmla="*/ 3461278 h 6858000"/>
              <a:gd name="connsiteX497" fmla="*/ 4419733 w 7472601"/>
              <a:gd name="connsiteY497" fmla="*/ 3963555 h 6858000"/>
              <a:gd name="connsiteX498" fmla="*/ 4781371 w 7472601"/>
              <a:gd name="connsiteY498" fmla="*/ 4458604 h 6858000"/>
              <a:gd name="connsiteX499" fmla="*/ 4780440 w 7472601"/>
              <a:gd name="connsiteY499" fmla="*/ 4470290 h 6858000"/>
              <a:gd name="connsiteX500" fmla="*/ 4898954 w 7472601"/>
              <a:gd name="connsiteY500" fmla="*/ 4662092 h 6858000"/>
              <a:gd name="connsiteX501" fmla="*/ 4900699 w 7472601"/>
              <a:gd name="connsiteY501" fmla="*/ 4670867 h 6858000"/>
              <a:gd name="connsiteX502" fmla="*/ 5714511 w 7472601"/>
              <a:gd name="connsiteY502" fmla="*/ 4663483 h 6858000"/>
              <a:gd name="connsiteX503" fmla="*/ 5464793 w 7472601"/>
              <a:gd name="connsiteY503" fmla="*/ 4393556 h 6858000"/>
              <a:gd name="connsiteX504" fmla="*/ 5461897 w 7472601"/>
              <a:gd name="connsiteY504" fmla="*/ 4390879 h 6858000"/>
              <a:gd name="connsiteX505" fmla="*/ 4294126 w 7472601"/>
              <a:gd name="connsiteY505" fmla="*/ 3303048 h 6858000"/>
              <a:gd name="connsiteX506" fmla="*/ 4305321 w 7472601"/>
              <a:gd name="connsiteY506" fmla="*/ 3256953 h 6858000"/>
              <a:gd name="connsiteX507" fmla="*/ 4949299 w 7472601"/>
              <a:gd name="connsiteY507" fmla="*/ 3766336 h 6858000"/>
              <a:gd name="connsiteX508" fmla="*/ 5291452 w 7472601"/>
              <a:gd name="connsiteY508" fmla="*/ 4076801 h 6858000"/>
              <a:gd name="connsiteX509" fmla="*/ 5434998 w 7472601"/>
              <a:gd name="connsiteY509" fmla="*/ 4254100 h 6858000"/>
              <a:gd name="connsiteX510" fmla="*/ 5351015 w 7472601"/>
              <a:gd name="connsiteY510" fmla="*/ 3760989 h 6858000"/>
              <a:gd name="connsiteX511" fmla="*/ 5413780 w 7472601"/>
              <a:gd name="connsiteY511" fmla="*/ 2966265 h 6858000"/>
              <a:gd name="connsiteX512" fmla="*/ 5425627 w 7472601"/>
              <a:gd name="connsiteY512" fmla="*/ 2954192 h 6858000"/>
              <a:gd name="connsiteX513" fmla="*/ 6604735 w 7472601"/>
              <a:gd name="connsiteY513" fmla="*/ 2041381 h 6858000"/>
              <a:gd name="connsiteX514" fmla="*/ 7204487 w 7472601"/>
              <a:gd name="connsiteY514" fmla="*/ 2742112 h 6858000"/>
              <a:gd name="connsiteX515" fmla="*/ 7131592 w 7472601"/>
              <a:gd name="connsiteY515" fmla="*/ 2672096 h 6858000"/>
              <a:gd name="connsiteX516" fmla="*/ 6996344 w 7472601"/>
              <a:gd name="connsiteY516" fmla="*/ 2518310 h 6858000"/>
              <a:gd name="connsiteX517" fmla="*/ 6735495 w 7472601"/>
              <a:gd name="connsiteY517" fmla="*/ 2196890 h 6858000"/>
              <a:gd name="connsiteX518" fmla="*/ 6721901 w 7472601"/>
              <a:gd name="connsiteY518" fmla="*/ 2179274 h 6858000"/>
              <a:gd name="connsiteX519" fmla="*/ 6604735 w 7472601"/>
              <a:gd name="connsiteY519" fmla="*/ 2041381 h 6858000"/>
              <a:gd name="connsiteX520" fmla="*/ 6591670 w 7472601"/>
              <a:gd name="connsiteY520" fmla="*/ 1988277 h 6858000"/>
              <a:gd name="connsiteX521" fmla="*/ 6747349 w 7472601"/>
              <a:gd name="connsiteY521" fmla="*/ 2160069 h 6858000"/>
              <a:gd name="connsiteX522" fmla="*/ 6760943 w 7472601"/>
              <a:gd name="connsiteY522" fmla="*/ 2177686 h 6858000"/>
              <a:gd name="connsiteX523" fmla="*/ 7021065 w 7472601"/>
              <a:gd name="connsiteY523" fmla="*/ 2498102 h 6858000"/>
              <a:gd name="connsiteX524" fmla="*/ 7155223 w 7472601"/>
              <a:gd name="connsiteY524" fmla="*/ 2650386 h 6858000"/>
              <a:gd name="connsiteX525" fmla="*/ 7203167 w 7472601"/>
              <a:gd name="connsiteY525" fmla="*/ 2697288 h 6858000"/>
              <a:gd name="connsiteX526" fmla="*/ 6937703 w 7472601"/>
              <a:gd name="connsiteY526" fmla="*/ 2321981 h 6858000"/>
              <a:gd name="connsiteX527" fmla="*/ 6591670 w 7472601"/>
              <a:gd name="connsiteY527" fmla="*/ 1988277 h 6858000"/>
              <a:gd name="connsiteX528" fmla="*/ 5798671 w 7472601"/>
              <a:gd name="connsiteY528" fmla="*/ 1981601 h 6858000"/>
              <a:gd name="connsiteX529" fmla="*/ 5754709 w 7472601"/>
              <a:gd name="connsiteY529" fmla="*/ 2071454 h 6858000"/>
              <a:gd name="connsiteX530" fmla="*/ 5763044 w 7472601"/>
              <a:gd name="connsiteY530" fmla="*/ 2842206 h 6858000"/>
              <a:gd name="connsiteX531" fmla="*/ 5764974 w 7472601"/>
              <a:gd name="connsiteY531" fmla="*/ 2799609 h 6858000"/>
              <a:gd name="connsiteX532" fmla="*/ 5767665 w 7472601"/>
              <a:gd name="connsiteY532" fmla="*/ 2666409 h 6858000"/>
              <a:gd name="connsiteX533" fmla="*/ 5763055 w 7472601"/>
              <a:gd name="connsiteY533" fmla="*/ 2579705 h 6858000"/>
              <a:gd name="connsiteX534" fmla="*/ 5758079 w 7472601"/>
              <a:gd name="connsiteY534" fmla="*/ 2492508 h 6858000"/>
              <a:gd name="connsiteX535" fmla="*/ 5779325 w 7472601"/>
              <a:gd name="connsiteY535" fmla="*/ 2197069 h 6858000"/>
              <a:gd name="connsiteX536" fmla="*/ 5798671 w 7472601"/>
              <a:gd name="connsiteY536" fmla="*/ 1981601 h 6858000"/>
              <a:gd name="connsiteX537" fmla="*/ 5829202 w 7472601"/>
              <a:gd name="connsiteY537" fmla="*/ 1971679 h 6858000"/>
              <a:gd name="connsiteX538" fmla="*/ 5809558 w 7472601"/>
              <a:gd name="connsiteY538" fmla="*/ 2198043 h 6858000"/>
              <a:gd name="connsiteX539" fmla="*/ 5788653 w 7472601"/>
              <a:gd name="connsiteY539" fmla="*/ 2489430 h 6858000"/>
              <a:gd name="connsiteX540" fmla="*/ 5793439 w 7472601"/>
              <a:gd name="connsiteY540" fmla="*/ 2575235 h 6858000"/>
              <a:gd name="connsiteX541" fmla="*/ 5796837 w 7472601"/>
              <a:gd name="connsiteY541" fmla="*/ 2637633 h 6858000"/>
              <a:gd name="connsiteX542" fmla="*/ 5818614 w 7472601"/>
              <a:gd name="connsiteY542" fmla="*/ 2473055 h 6858000"/>
              <a:gd name="connsiteX543" fmla="*/ 5829202 w 7472601"/>
              <a:gd name="connsiteY543" fmla="*/ 1971679 h 6858000"/>
              <a:gd name="connsiteX544" fmla="*/ 5911389 w 7472601"/>
              <a:gd name="connsiteY544" fmla="*/ 1898371 h 6858000"/>
              <a:gd name="connsiteX545" fmla="*/ 6237627 w 7472601"/>
              <a:gd name="connsiteY545" fmla="*/ 2231921 h 6858000"/>
              <a:gd name="connsiteX546" fmla="*/ 5911389 w 7472601"/>
              <a:gd name="connsiteY546" fmla="*/ 1898371 h 6858000"/>
              <a:gd name="connsiteX547" fmla="*/ 6944437 w 7472601"/>
              <a:gd name="connsiteY547" fmla="*/ 1575402 h 6858000"/>
              <a:gd name="connsiteX548" fmla="*/ 6304730 w 7472601"/>
              <a:gd name="connsiteY548" fmla="*/ 1766654 h 6858000"/>
              <a:gd name="connsiteX549" fmla="*/ 6944437 w 7472601"/>
              <a:gd name="connsiteY549" fmla="*/ 1575402 h 6858000"/>
              <a:gd name="connsiteX550" fmla="*/ 7019523 w 7472601"/>
              <a:gd name="connsiteY550" fmla="*/ 1519450 h 6858000"/>
              <a:gd name="connsiteX551" fmla="*/ 6298091 w 7472601"/>
              <a:gd name="connsiteY551" fmla="*/ 1737122 h 6858000"/>
              <a:gd name="connsiteX552" fmla="*/ 7019523 w 7472601"/>
              <a:gd name="connsiteY552" fmla="*/ 1519450 h 6858000"/>
              <a:gd name="connsiteX553" fmla="*/ 2399523 w 7472601"/>
              <a:gd name="connsiteY553" fmla="*/ 1428234 h 6858000"/>
              <a:gd name="connsiteX554" fmla="*/ 2224982 w 7472601"/>
              <a:gd name="connsiteY554" fmla="*/ 1826201 h 6858000"/>
              <a:gd name="connsiteX555" fmla="*/ 2096099 w 7472601"/>
              <a:gd name="connsiteY555" fmla="*/ 2345900 h 6858000"/>
              <a:gd name="connsiteX556" fmla="*/ 2283317 w 7472601"/>
              <a:gd name="connsiteY556" fmla="*/ 1796925 h 6858000"/>
              <a:gd name="connsiteX557" fmla="*/ 2399523 w 7472601"/>
              <a:gd name="connsiteY557" fmla="*/ 1428234 h 6858000"/>
              <a:gd name="connsiteX558" fmla="*/ 2448558 w 7472601"/>
              <a:gd name="connsiteY558" fmla="*/ 1373435 h 6858000"/>
              <a:gd name="connsiteX559" fmla="*/ 2312521 w 7472601"/>
              <a:gd name="connsiteY559" fmla="*/ 1806140 h 6858000"/>
              <a:gd name="connsiteX560" fmla="*/ 2127533 w 7472601"/>
              <a:gd name="connsiteY560" fmla="*/ 2348380 h 6858000"/>
              <a:gd name="connsiteX561" fmla="*/ 2358080 w 7472601"/>
              <a:gd name="connsiteY561" fmla="*/ 1866134 h 6858000"/>
              <a:gd name="connsiteX562" fmla="*/ 2407436 w 7472601"/>
              <a:gd name="connsiteY562" fmla="*/ 1651070 h 6858000"/>
              <a:gd name="connsiteX563" fmla="*/ 2448558 w 7472601"/>
              <a:gd name="connsiteY563" fmla="*/ 1373435 h 6858000"/>
              <a:gd name="connsiteX564" fmla="*/ 278707 w 7472601"/>
              <a:gd name="connsiteY564" fmla="*/ 1352270 h 6858000"/>
              <a:gd name="connsiteX565" fmla="*/ 321570 w 7472601"/>
              <a:gd name="connsiteY565" fmla="*/ 1861610 h 6858000"/>
              <a:gd name="connsiteX566" fmla="*/ 294281 w 7472601"/>
              <a:gd name="connsiteY566" fmla="*/ 1440658 h 6858000"/>
              <a:gd name="connsiteX567" fmla="*/ 278707 w 7472601"/>
              <a:gd name="connsiteY567" fmla="*/ 1352270 h 6858000"/>
              <a:gd name="connsiteX568" fmla="*/ 1423821 w 7472601"/>
              <a:gd name="connsiteY568" fmla="*/ 1351958 h 6858000"/>
              <a:gd name="connsiteX569" fmla="*/ 1638521 w 7472601"/>
              <a:gd name="connsiteY569" fmla="*/ 1908470 h 6858000"/>
              <a:gd name="connsiteX570" fmla="*/ 1754199 w 7472601"/>
              <a:gd name="connsiteY570" fmla="*/ 2149284 h 6858000"/>
              <a:gd name="connsiteX571" fmla="*/ 1908359 w 7472601"/>
              <a:gd name="connsiteY571" fmla="*/ 2364988 h 6858000"/>
              <a:gd name="connsiteX572" fmla="*/ 1647661 w 7472601"/>
              <a:gd name="connsiteY572" fmla="*/ 1825945 h 6858000"/>
              <a:gd name="connsiteX573" fmla="*/ 1423821 w 7472601"/>
              <a:gd name="connsiteY573" fmla="*/ 1351958 h 6858000"/>
              <a:gd name="connsiteX574" fmla="*/ 1431890 w 7472601"/>
              <a:gd name="connsiteY574" fmla="*/ 1306475 h 6858000"/>
              <a:gd name="connsiteX575" fmla="*/ 1507597 w 7472601"/>
              <a:gd name="connsiteY575" fmla="*/ 1446132 h 6858000"/>
              <a:gd name="connsiteX576" fmla="*/ 1674586 w 7472601"/>
              <a:gd name="connsiteY576" fmla="*/ 1813832 h 6858000"/>
              <a:gd name="connsiteX577" fmla="*/ 1815950 w 7472601"/>
              <a:gd name="connsiteY577" fmla="*/ 2128564 h 6858000"/>
              <a:gd name="connsiteX578" fmla="*/ 1984242 w 7472601"/>
              <a:gd name="connsiteY578" fmla="*/ 2430829 h 6858000"/>
              <a:gd name="connsiteX579" fmla="*/ 2014023 w 7472601"/>
              <a:gd name="connsiteY579" fmla="*/ 2450995 h 6858000"/>
              <a:gd name="connsiteX580" fmla="*/ 1747337 w 7472601"/>
              <a:gd name="connsiteY580" fmla="*/ 1855264 h 6858000"/>
              <a:gd name="connsiteX581" fmla="*/ 1533749 w 7472601"/>
              <a:gd name="connsiteY581" fmla="*/ 1478656 h 6858000"/>
              <a:gd name="connsiteX582" fmla="*/ 1431890 w 7472601"/>
              <a:gd name="connsiteY582" fmla="*/ 1306475 h 6858000"/>
              <a:gd name="connsiteX583" fmla="*/ 5052692 w 7472601"/>
              <a:gd name="connsiteY583" fmla="*/ 1292994 h 6858000"/>
              <a:gd name="connsiteX584" fmla="*/ 5200661 w 7472601"/>
              <a:gd name="connsiteY584" fmla="*/ 1635186 h 6858000"/>
              <a:gd name="connsiteX585" fmla="*/ 5297138 w 7472601"/>
              <a:gd name="connsiteY585" fmla="*/ 1906351 h 6858000"/>
              <a:gd name="connsiteX586" fmla="*/ 5052692 w 7472601"/>
              <a:gd name="connsiteY586" fmla="*/ 1292994 h 6858000"/>
              <a:gd name="connsiteX587" fmla="*/ 5009948 w 7472601"/>
              <a:gd name="connsiteY587" fmla="*/ 1273619 h 6858000"/>
              <a:gd name="connsiteX588" fmla="*/ 5121777 w 7472601"/>
              <a:gd name="connsiteY588" fmla="*/ 1654213 h 6858000"/>
              <a:gd name="connsiteX589" fmla="*/ 5293545 w 7472601"/>
              <a:gd name="connsiteY589" fmla="*/ 2072247 h 6858000"/>
              <a:gd name="connsiteX590" fmla="*/ 5294042 w 7472601"/>
              <a:gd name="connsiteY590" fmla="*/ 2065019 h 6858000"/>
              <a:gd name="connsiteX591" fmla="*/ 5171936 w 7472601"/>
              <a:gd name="connsiteY591" fmla="*/ 1647613 h 6858000"/>
              <a:gd name="connsiteX592" fmla="*/ 5009948 w 7472601"/>
              <a:gd name="connsiteY592" fmla="*/ 1273619 h 6858000"/>
              <a:gd name="connsiteX593" fmla="*/ 655236 w 7472601"/>
              <a:gd name="connsiteY593" fmla="*/ 1268632 h 6858000"/>
              <a:gd name="connsiteX594" fmla="*/ 839521 w 7472601"/>
              <a:gd name="connsiteY594" fmla="*/ 1685315 h 6858000"/>
              <a:gd name="connsiteX595" fmla="*/ 1109416 w 7472601"/>
              <a:gd name="connsiteY595" fmla="*/ 2061663 h 6858000"/>
              <a:gd name="connsiteX596" fmla="*/ 1298300 w 7472601"/>
              <a:gd name="connsiteY596" fmla="*/ 2247742 h 6858000"/>
              <a:gd name="connsiteX597" fmla="*/ 1125871 w 7472601"/>
              <a:gd name="connsiteY597" fmla="*/ 1989513 h 6858000"/>
              <a:gd name="connsiteX598" fmla="*/ 981574 w 7472601"/>
              <a:gd name="connsiteY598" fmla="*/ 1783157 h 6858000"/>
              <a:gd name="connsiteX599" fmla="*/ 922198 w 7472601"/>
              <a:gd name="connsiteY599" fmla="*/ 1677437 h 6858000"/>
              <a:gd name="connsiteX600" fmla="*/ 869293 w 7472601"/>
              <a:gd name="connsiteY600" fmla="*/ 1583214 h 6858000"/>
              <a:gd name="connsiteX601" fmla="*/ 751431 w 7472601"/>
              <a:gd name="connsiteY601" fmla="*/ 1405731 h 6858000"/>
              <a:gd name="connsiteX602" fmla="*/ 655236 w 7472601"/>
              <a:gd name="connsiteY602" fmla="*/ 1268632 h 6858000"/>
              <a:gd name="connsiteX603" fmla="*/ 6516292 w 7472601"/>
              <a:gd name="connsiteY603" fmla="*/ 1263064 h 6858000"/>
              <a:gd name="connsiteX604" fmla="*/ 5736320 w 7472601"/>
              <a:gd name="connsiteY604" fmla="*/ 1501803 h 6858000"/>
              <a:gd name="connsiteX605" fmla="*/ 6516292 w 7472601"/>
              <a:gd name="connsiteY605" fmla="*/ 1263064 h 6858000"/>
              <a:gd name="connsiteX606" fmla="*/ 291466 w 7472601"/>
              <a:gd name="connsiteY606" fmla="*/ 1250369 h 6858000"/>
              <a:gd name="connsiteX607" fmla="*/ 323180 w 7472601"/>
              <a:gd name="connsiteY607" fmla="*/ 1435283 h 6858000"/>
              <a:gd name="connsiteX608" fmla="*/ 349381 w 7472601"/>
              <a:gd name="connsiteY608" fmla="*/ 1875041 h 6858000"/>
              <a:gd name="connsiteX609" fmla="*/ 374363 w 7472601"/>
              <a:gd name="connsiteY609" fmla="*/ 1506494 h 6858000"/>
              <a:gd name="connsiteX610" fmla="*/ 302168 w 7472601"/>
              <a:gd name="connsiteY610" fmla="*/ 1274495 h 6858000"/>
              <a:gd name="connsiteX611" fmla="*/ 291466 w 7472601"/>
              <a:gd name="connsiteY611" fmla="*/ 1250369 h 6858000"/>
              <a:gd name="connsiteX612" fmla="*/ 678222 w 7472601"/>
              <a:gd name="connsiteY612" fmla="*/ 1248670 h 6858000"/>
              <a:gd name="connsiteX613" fmla="*/ 775536 w 7472601"/>
              <a:gd name="connsiteY613" fmla="*/ 1388015 h 6858000"/>
              <a:gd name="connsiteX614" fmla="*/ 894529 w 7472601"/>
              <a:gd name="connsiteY614" fmla="*/ 1567739 h 6858000"/>
              <a:gd name="connsiteX615" fmla="*/ 948000 w 7472601"/>
              <a:gd name="connsiteY615" fmla="*/ 1663088 h 6858000"/>
              <a:gd name="connsiteX616" fmla="*/ 1006812 w 7472601"/>
              <a:gd name="connsiteY616" fmla="*/ 1767683 h 6858000"/>
              <a:gd name="connsiteX617" fmla="*/ 1149133 w 7472601"/>
              <a:gd name="connsiteY617" fmla="*/ 1971513 h 6858000"/>
              <a:gd name="connsiteX618" fmla="*/ 1333952 w 7472601"/>
              <a:gd name="connsiteY618" fmla="*/ 2251620 h 6858000"/>
              <a:gd name="connsiteX619" fmla="*/ 1337329 w 7472601"/>
              <a:gd name="connsiteY619" fmla="*/ 2258350 h 6858000"/>
              <a:gd name="connsiteX620" fmla="*/ 1014726 w 7472601"/>
              <a:gd name="connsiteY620" fmla="*/ 1615556 h 6858000"/>
              <a:gd name="connsiteX621" fmla="*/ 678222 w 7472601"/>
              <a:gd name="connsiteY621" fmla="*/ 1248670 h 6858000"/>
              <a:gd name="connsiteX622" fmla="*/ 6691602 w 7472601"/>
              <a:gd name="connsiteY622" fmla="*/ 1140573 h 6858000"/>
              <a:gd name="connsiteX623" fmla="*/ 6571100 w 7472601"/>
              <a:gd name="connsiteY623" fmla="*/ 1183662 h 6858000"/>
              <a:gd name="connsiteX624" fmla="*/ 6241687 w 7472601"/>
              <a:gd name="connsiteY624" fmla="*/ 1257600 h 6858000"/>
              <a:gd name="connsiteX625" fmla="*/ 5693009 w 7472601"/>
              <a:gd name="connsiteY625" fmla="*/ 1478256 h 6858000"/>
              <a:gd name="connsiteX626" fmla="*/ 6548420 w 7472601"/>
              <a:gd name="connsiteY626" fmla="*/ 1214599 h 6858000"/>
              <a:gd name="connsiteX627" fmla="*/ 6605473 w 7472601"/>
              <a:gd name="connsiteY627" fmla="*/ 1184686 h 6858000"/>
              <a:gd name="connsiteX628" fmla="*/ 6691602 w 7472601"/>
              <a:gd name="connsiteY628" fmla="*/ 1140573 h 6858000"/>
              <a:gd name="connsiteX629" fmla="*/ 4002475 w 7472601"/>
              <a:gd name="connsiteY629" fmla="*/ 1037802 h 6858000"/>
              <a:gd name="connsiteX630" fmla="*/ 4000324 w 7472601"/>
              <a:gd name="connsiteY630" fmla="*/ 1039362 h 6858000"/>
              <a:gd name="connsiteX631" fmla="*/ 4002862 w 7472601"/>
              <a:gd name="connsiteY631" fmla="*/ 1042866 h 6858000"/>
              <a:gd name="connsiteX632" fmla="*/ 4002475 w 7472601"/>
              <a:gd name="connsiteY632" fmla="*/ 1037802 h 6858000"/>
              <a:gd name="connsiteX633" fmla="*/ 506322 w 7472601"/>
              <a:gd name="connsiteY633" fmla="*/ 1020997 h 6858000"/>
              <a:gd name="connsiteX634" fmla="*/ 533068 w 7472601"/>
              <a:gd name="connsiteY634" fmla="*/ 1029409 h 6858000"/>
              <a:gd name="connsiteX635" fmla="*/ 1232525 w 7472601"/>
              <a:gd name="connsiteY635" fmla="*/ 1804675 h 6858000"/>
              <a:gd name="connsiteX636" fmla="*/ 1388858 w 7472601"/>
              <a:gd name="connsiteY636" fmla="*/ 2368011 h 6858000"/>
              <a:gd name="connsiteX637" fmla="*/ 1384098 w 7472601"/>
              <a:gd name="connsiteY637" fmla="*/ 2378125 h 6858000"/>
              <a:gd name="connsiteX638" fmla="*/ 1425393 w 7472601"/>
              <a:gd name="connsiteY638" fmla="*/ 2589124 h 6858000"/>
              <a:gd name="connsiteX639" fmla="*/ 1424001 w 7472601"/>
              <a:gd name="connsiteY639" fmla="*/ 2597541 h 6858000"/>
              <a:gd name="connsiteX640" fmla="*/ 2152729 w 7472601"/>
              <a:gd name="connsiteY640" fmla="*/ 2864487 h 6858000"/>
              <a:gd name="connsiteX641" fmla="*/ 2020609 w 7472601"/>
              <a:gd name="connsiteY641" fmla="*/ 2539671 h 6858000"/>
              <a:gd name="connsiteX642" fmla="*/ 2018920 w 7472601"/>
              <a:gd name="connsiteY642" fmla="*/ 2536309 h 6858000"/>
              <a:gd name="connsiteX643" fmla="*/ 1342441 w 7472601"/>
              <a:gd name="connsiteY643" fmla="*/ 1173017 h 6858000"/>
              <a:gd name="connsiteX644" fmla="*/ 1367925 w 7472601"/>
              <a:gd name="connsiteY644" fmla="*/ 1135648 h 6858000"/>
              <a:gd name="connsiteX645" fmla="*/ 1771401 w 7472601"/>
              <a:gd name="connsiteY645" fmla="*/ 1806673 h 6858000"/>
              <a:gd name="connsiteX646" fmla="*/ 1972385 w 7472601"/>
              <a:gd name="connsiteY646" fmla="*/ 2198735 h 6858000"/>
              <a:gd name="connsiteX647" fmla="*/ 2040892 w 7472601"/>
              <a:gd name="connsiteY647" fmla="*/ 2405205 h 6858000"/>
              <a:gd name="connsiteX648" fmla="*/ 2131689 w 7472601"/>
              <a:gd name="connsiteY648" fmla="*/ 1936926 h 6858000"/>
              <a:gd name="connsiteX649" fmla="*/ 2454820 w 7472601"/>
              <a:gd name="connsiteY649" fmla="*/ 1248808 h 6858000"/>
              <a:gd name="connsiteX650" fmla="*/ 2492512 w 7472601"/>
              <a:gd name="connsiteY650" fmla="*/ 1302920 h 6858000"/>
              <a:gd name="connsiteX651" fmla="*/ 2081216 w 7472601"/>
              <a:gd name="connsiteY651" fmla="*/ 2527513 h 6858000"/>
              <a:gd name="connsiteX652" fmla="*/ 2081211 w 7472601"/>
              <a:gd name="connsiteY652" fmla="*/ 2528916 h 6858000"/>
              <a:gd name="connsiteX653" fmla="*/ 2199067 w 7472601"/>
              <a:gd name="connsiteY653" fmla="*/ 2884061 h 6858000"/>
              <a:gd name="connsiteX654" fmla="*/ 3192586 w 7472601"/>
              <a:gd name="connsiteY654" fmla="*/ 3411496 h 6858000"/>
              <a:gd name="connsiteX655" fmla="*/ 3182620 w 7472601"/>
              <a:gd name="connsiteY655" fmla="*/ 3483279 h 6858000"/>
              <a:gd name="connsiteX656" fmla="*/ 2435119 w 7472601"/>
              <a:gd name="connsiteY656" fmla="*/ 3080173 h 6858000"/>
              <a:gd name="connsiteX657" fmla="*/ 2410152 w 7472601"/>
              <a:gd name="connsiteY657" fmla="*/ 3063751 h 6858000"/>
              <a:gd name="connsiteX658" fmla="*/ 2408099 w 7472601"/>
              <a:gd name="connsiteY658" fmla="*/ 3064403 h 6858000"/>
              <a:gd name="connsiteX659" fmla="*/ 2407218 w 7472601"/>
              <a:gd name="connsiteY659" fmla="*/ 3070324 h 6858000"/>
              <a:gd name="connsiteX660" fmla="*/ 2380138 w 7472601"/>
              <a:gd name="connsiteY660" fmla="*/ 3099341 h 6858000"/>
              <a:gd name="connsiteX661" fmla="*/ 1765923 w 7472601"/>
              <a:gd name="connsiteY661" fmla="*/ 3581043 h 6858000"/>
              <a:gd name="connsiteX662" fmla="*/ 1702258 w 7472601"/>
              <a:gd name="connsiteY662" fmla="*/ 3612286 h 6858000"/>
              <a:gd name="connsiteX663" fmla="*/ 1538370 w 7472601"/>
              <a:gd name="connsiteY663" fmla="*/ 3811804 h 6858000"/>
              <a:gd name="connsiteX664" fmla="*/ 542867 w 7472601"/>
              <a:gd name="connsiteY664" fmla="*/ 4944092 h 6858000"/>
              <a:gd name="connsiteX665" fmla="*/ 515800 w 7472601"/>
              <a:gd name="connsiteY665" fmla="*/ 4862180 h 6858000"/>
              <a:gd name="connsiteX666" fmla="*/ 909145 w 7472601"/>
              <a:gd name="connsiteY666" fmla="*/ 4199225 h 6858000"/>
              <a:gd name="connsiteX667" fmla="*/ 1214067 w 7472601"/>
              <a:gd name="connsiteY667" fmla="*/ 3908561 h 6858000"/>
              <a:gd name="connsiteX668" fmla="*/ 640967 w 7472601"/>
              <a:gd name="connsiteY668" fmla="*/ 4105601 h 6858000"/>
              <a:gd name="connsiteX669" fmla="*/ 112563 w 7472601"/>
              <a:gd name="connsiteY669" fmla="*/ 4396952 h 6858000"/>
              <a:gd name="connsiteX670" fmla="*/ 0 w 7472601"/>
              <a:gd name="connsiteY670" fmla="*/ 4466006 h 6858000"/>
              <a:gd name="connsiteX671" fmla="*/ 0 w 7472601"/>
              <a:gd name="connsiteY671" fmla="*/ 4233763 h 6858000"/>
              <a:gd name="connsiteX672" fmla="*/ 36881 w 7472601"/>
              <a:gd name="connsiteY672" fmla="*/ 4200118 h 6858000"/>
              <a:gd name="connsiteX673" fmla="*/ 910534 w 7472601"/>
              <a:gd name="connsiteY673" fmla="*/ 3629753 h 6858000"/>
              <a:gd name="connsiteX674" fmla="*/ 1578717 w 7472601"/>
              <a:gd name="connsiteY674" fmla="*/ 3575982 h 6858000"/>
              <a:gd name="connsiteX675" fmla="*/ 2338780 w 7472601"/>
              <a:gd name="connsiteY675" fmla="*/ 3033725 h 6858000"/>
              <a:gd name="connsiteX676" fmla="*/ 1807991 w 7472601"/>
              <a:gd name="connsiteY676" fmla="*/ 2807184 h 6858000"/>
              <a:gd name="connsiteX677" fmla="*/ 1416358 w 7472601"/>
              <a:gd name="connsiteY677" fmla="*/ 3112571 h 6858000"/>
              <a:gd name="connsiteX678" fmla="*/ 939066 w 7472601"/>
              <a:gd name="connsiteY678" fmla="*/ 3378798 h 6858000"/>
              <a:gd name="connsiteX679" fmla="*/ 115099 w 7472601"/>
              <a:gd name="connsiteY679" fmla="*/ 3607650 h 6858000"/>
              <a:gd name="connsiteX680" fmla="*/ 97284 w 7472601"/>
              <a:gd name="connsiteY680" fmla="*/ 3520393 h 6858000"/>
              <a:gd name="connsiteX681" fmla="*/ 922050 w 7472601"/>
              <a:gd name="connsiteY681" fmla="*/ 3074867 h 6858000"/>
              <a:gd name="connsiteX682" fmla="*/ 1405265 w 7472601"/>
              <a:gd name="connsiteY682" fmla="*/ 3016319 h 6858000"/>
              <a:gd name="connsiteX683" fmla="*/ 1407512 w 7472601"/>
              <a:gd name="connsiteY683" fmla="*/ 3018001 h 6858000"/>
              <a:gd name="connsiteX684" fmla="*/ 1726266 w 7472601"/>
              <a:gd name="connsiteY684" fmla="*/ 2777274 h 6858000"/>
              <a:gd name="connsiteX685" fmla="*/ 625390 w 7472601"/>
              <a:gd name="connsiteY685" fmla="*/ 2514541 h 6858000"/>
              <a:gd name="connsiteX686" fmla="*/ 619799 w 7472601"/>
              <a:gd name="connsiteY686" fmla="*/ 2527180 h 6858000"/>
              <a:gd name="connsiteX687" fmla="*/ 310030 w 7472601"/>
              <a:gd name="connsiteY687" fmla="*/ 2771818 h 6858000"/>
              <a:gd name="connsiteX688" fmla="*/ 173877 w 7472601"/>
              <a:gd name="connsiteY688" fmla="*/ 2937056 h 6858000"/>
              <a:gd name="connsiteX689" fmla="*/ 77889 w 7472601"/>
              <a:gd name="connsiteY689" fmla="*/ 3138440 h 6858000"/>
              <a:gd name="connsiteX690" fmla="*/ 0 w 7472601"/>
              <a:gd name="connsiteY690" fmla="*/ 3271395 h 6858000"/>
              <a:gd name="connsiteX691" fmla="*/ 0 w 7472601"/>
              <a:gd name="connsiteY691" fmla="*/ 3153002 h 6858000"/>
              <a:gd name="connsiteX692" fmla="*/ 2386 w 7472601"/>
              <a:gd name="connsiteY692" fmla="*/ 3149203 h 6858000"/>
              <a:gd name="connsiteX693" fmla="*/ 89753 w 7472601"/>
              <a:gd name="connsiteY693" fmla="*/ 2987702 h 6858000"/>
              <a:gd name="connsiteX694" fmla="*/ 76869 w 7472601"/>
              <a:gd name="connsiteY694" fmla="*/ 3005404 h 6858000"/>
              <a:gd name="connsiteX695" fmla="*/ 32049 w 7472601"/>
              <a:gd name="connsiteY695" fmla="*/ 3065814 h 6858000"/>
              <a:gd name="connsiteX696" fmla="*/ 0 w 7472601"/>
              <a:gd name="connsiteY696" fmla="*/ 3108744 h 6858000"/>
              <a:gd name="connsiteX697" fmla="*/ 0 w 7472601"/>
              <a:gd name="connsiteY697" fmla="*/ 3058059 h 6858000"/>
              <a:gd name="connsiteX698" fmla="*/ 7610 w 7472601"/>
              <a:gd name="connsiteY698" fmla="*/ 3047889 h 6858000"/>
              <a:gd name="connsiteX699" fmla="*/ 52419 w 7472601"/>
              <a:gd name="connsiteY699" fmla="*/ 2987479 h 6858000"/>
              <a:gd name="connsiteX700" fmla="*/ 59142 w 7472601"/>
              <a:gd name="connsiteY700" fmla="*/ 2978488 h 6858000"/>
              <a:gd name="connsiteX701" fmla="*/ 0 w 7472601"/>
              <a:gd name="connsiteY701" fmla="*/ 3015334 h 6858000"/>
              <a:gd name="connsiteX702" fmla="*/ 0 w 7472601"/>
              <a:gd name="connsiteY702" fmla="*/ 2914286 h 6858000"/>
              <a:gd name="connsiteX703" fmla="*/ 36383 w 7472601"/>
              <a:gd name="connsiteY703" fmla="*/ 2901128 h 6858000"/>
              <a:gd name="connsiteX704" fmla="*/ 156329 w 7472601"/>
              <a:gd name="connsiteY704" fmla="*/ 2840533 h 6858000"/>
              <a:gd name="connsiteX705" fmla="*/ 358355 w 7472601"/>
              <a:gd name="connsiteY705" fmla="*/ 2620471 h 6858000"/>
              <a:gd name="connsiteX706" fmla="*/ 510577 w 7472601"/>
              <a:gd name="connsiteY706" fmla="*/ 2501244 h 6858000"/>
              <a:gd name="connsiteX707" fmla="*/ 211967 w 7472601"/>
              <a:gd name="connsiteY707" fmla="*/ 2479171 h 6858000"/>
              <a:gd name="connsiteX708" fmla="*/ 0 w 7472601"/>
              <a:gd name="connsiteY708" fmla="*/ 2476398 h 6858000"/>
              <a:gd name="connsiteX709" fmla="*/ 0 w 7472601"/>
              <a:gd name="connsiteY709" fmla="*/ 2389189 h 6858000"/>
              <a:gd name="connsiteX710" fmla="*/ 103062 w 7472601"/>
              <a:gd name="connsiteY710" fmla="*/ 2389518 h 6858000"/>
              <a:gd name="connsiteX711" fmla="*/ 510734 w 7472601"/>
              <a:gd name="connsiteY711" fmla="*/ 2416201 h 6858000"/>
              <a:gd name="connsiteX712" fmla="*/ 279257 w 7472601"/>
              <a:gd name="connsiteY712" fmla="*/ 2092102 h 6858000"/>
              <a:gd name="connsiteX713" fmla="*/ 65265 w 7472601"/>
              <a:gd name="connsiteY713" fmla="*/ 2006049 h 6858000"/>
              <a:gd name="connsiteX714" fmla="*/ 0 w 7472601"/>
              <a:gd name="connsiteY714" fmla="*/ 1982532 h 6858000"/>
              <a:gd name="connsiteX715" fmla="*/ 0 w 7472601"/>
              <a:gd name="connsiteY715" fmla="*/ 1912789 h 6858000"/>
              <a:gd name="connsiteX716" fmla="*/ 97460 w 7472601"/>
              <a:gd name="connsiteY716" fmla="*/ 1953725 h 6858000"/>
              <a:gd name="connsiteX717" fmla="*/ 221272 w 7472601"/>
              <a:gd name="connsiteY717" fmla="*/ 1980766 h 6858000"/>
              <a:gd name="connsiteX718" fmla="*/ 116765 w 7472601"/>
              <a:gd name="connsiteY718" fmla="*/ 1911033 h 6858000"/>
              <a:gd name="connsiteX719" fmla="*/ 16405 w 7472601"/>
              <a:gd name="connsiteY719" fmla="*/ 1803412 h 6858000"/>
              <a:gd name="connsiteX720" fmla="*/ 0 w 7472601"/>
              <a:gd name="connsiteY720" fmla="*/ 1784777 h 6858000"/>
              <a:gd name="connsiteX721" fmla="*/ 0 w 7472601"/>
              <a:gd name="connsiteY721" fmla="*/ 1740082 h 6858000"/>
              <a:gd name="connsiteX722" fmla="*/ 39394 w 7472601"/>
              <a:gd name="connsiteY722" fmla="*/ 1784856 h 6858000"/>
              <a:gd name="connsiteX723" fmla="*/ 135813 w 7472601"/>
              <a:gd name="connsiteY723" fmla="*/ 1888838 h 6858000"/>
              <a:gd name="connsiteX724" fmla="*/ 242575 w 7472601"/>
              <a:gd name="connsiteY724" fmla="*/ 1958841 h 6858000"/>
              <a:gd name="connsiteX725" fmla="*/ 82197 w 7472601"/>
              <a:gd name="connsiteY725" fmla="*/ 1754826 h 6858000"/>
              <a:gd name="connsiteX726" fmla="*/ 0 w 7472601"/>
              <a:gd name="connsiteY726" fmla="*/ 1679650 h 6858000"/>
              <a:gd name="connsiteX727" fmla="*/ 0 w 7472601"/>
              <a:gd name="connsiteY727" fmla="*/ 1602463 h 6858000"/>
              <a:gd name="connsiteX728" fmla="*/ 84689 w 7472601"/>
              <a:gd name="connsiteY728" fmla="*/ 1677442 h 6858000"/>
              <a:gd name="connsiteX729" fmla="*/ 298437 w 7472601"/>
              <a:gd name="connsiteY729" fmla="*/ 1968019 h 6858000"/>
              <a:gd name="connsiteX730" fmla="*/ 227269 w 7472601"/>
              <a:gd name="connsiteY730" fmla="*/ 1114064 h 6858000"/>
              <a:gd name="connsiteX731" fmla="*/ 248003 w 7472601"/>
              <a:gd name="connsiteY731" fmla="*/ 1089613 h 6858000"/>
              <a:gd name="connsiteX732" fmla="*/ 427020 w 7472601"/>
              <a:gd name="connsiteY732" fmla="*/ 1619803 h 6858000"/>
              <a:gd name="connsiteX733" fmla="*/ 340345 w 7472601"/>
              <a:gd name="connsiteY733" fmla="*/ 2027739 h 6858000"/>
              <a:gd name="connsiteX734" fmla="*/ 360865 w 7472601"/>
              <a:gd name="connsiteY734" fmla="*/ 2044827 h 6858000"/>
              <a:gd name="connsiteX735" fmla="*/ 560414 w 7472601"/>
              <a:gd name="connsiteY735" fmla="*/ 2421457 h 6858000"/>
              <a:gd name="connsiteX736" fmla="*/ 1359703 w 7472601"/>
              <a:gd name="connsiteY736" fmla="*/ 2578554 h 6858000"/>
              <a:gd name="connsiteX737" fmla="*/ 1359422 w 7472601"/>
              <a:gd name="connsiteY737" fmla="*/ 2577994 h 6858000"/>
              <a:gd name="connsiteX738" fmla="*/ 828701 w 7472601"/>
              <a:gd name="connsiteY738" fmla="*/ 1839520 h 6858000"/>
              <a:gd name="connsiteX739" fmla="*/ 494427 w 7472601"/>
              <a:gd name="connsiteY739" fmla="*/ 1092333 h 6858000"/>
              <a:gd name="connsiteX740" fmla="*/ 506322 w 7472601"/>
              <a:gd name="connsiteY740" fmla="*/ 1020997 h 6858000"/>
              <a:gd name="connsiteX741" fmla="*/ 4570198 w 7472601"/>
              <a:gd name="connsiteY741" fmla="*/ 978081 h 6858000"/>
              <a:gd name="connsiteX742" fmla="*/ 4523691 w 7472601"/>
              <a:gd name="connsiteY742" fmla="*/ 1127776 h 6858000"/>
              <a:gd name="connsiteX743" fmla="*/ 4509875 w 7472601"/>
              <a:gd name="connsiteY743" fmla="*/ 1167552 h 6858000"/>
              <a:gd name="connsiteX744" fmla="*/ 4478168 w 7472601"/>
              <a:gd name="connsiteY744" fmla="*/ 1260735 h 6858000"/>
              <a:gd name="connsiteX745" fmla="*/ 4409309 w 7472601"/>
              <a:gd name="connsiteY745" fmla="*/ 1666996 h 6858000"/>
              <a:gd name="connsiteX746" fmla="*/ 4370031 w 7472601"/>
              <a:gd name="connsiteY746" fmla="*/ 1955666 h 6858000"/>
              <a:gd name="connsiteX747" fmla="*/ 4570198 w 7472601"/>
              <a:gd name="connsiteY747" fmla="*/ 978081 h 6858000"/>
              <a:gd name="connsiteX748" fmla="*/ 4557898 w 7472601"/>
              <a:gd name="connsiteY748" fmla="*/ 900011 h 6858000"/>
              <a:gd name="connsiteX749" fmla="*/ 4344840 w 7472601"/>
              <a:gd name="connsiteY749" fmla="*/ 1922038 h 6858000"/>
              <a:gd name="connsiteX750" fmla="*/ 4378710 w 7472601"/>
              <a:gd name="connsiteY750" fmla="*/ 1665516 h 6858000"/>
              <a:gd name="connsiteX751" fmla="*/ 4448798 w 7472601"/>
              <a:gd name="connsiteY751" fmla="*/ 1253024 h 6858000"/>
              <a:gd name="connsiteX752" fmla="*/ 4480315 w 7472601"/>
              <a:gd name="connsiteY752" fmla="*/ 1158454 h 6858000"/>
              <a:gd name="connsiteX753" fmla="*/ 4494133 w 7472601"/>
              <a:gd name="connsiteY753" fmla="*/ 1118676 h 6858000"/>
              <a:gd name="connsiteX754" fmla="*/ 4557898 w 7472601"/>
              <a:gd name="connsiteY754" fmla="*/ 900011 h 6858000"/>
              <a:gd name="connsiteX755" fmla="*/ 5870151 w 7472601"/>
              <a:gd name="connsiteY755" fmla="*/ 898890 h 6858000"/>
              <a:gd name="connsiteX756" fmla="*/ 5861335 w 7472601"/>
              <a:gd name="connsiteY756" fmla="*/ 899177 h 6858000"/>
              <a:gd name="connsiteX757" fmla="*/ 5843702 w 7472601"/>
              <a:gd name="connsiteY757" fmla="*/ 899748 h 6858000"/>
              <a:gd name="connsiteX758" fmla="*/ 5651107 w 7472601"/>
              <a:gd name="connsiteY758" fmla="*/ 920306 h 6858000"/>
              <a:gd name="connsiteX759" fmla="*/ 5459407 w 7472601"/>
              <a:gd name="connsiteY759" fmla="*/ 940975 h 6858000"/>
              <a:gd name="connsiteX760" fmla="*/ 5374846 w 7472601"/>
              <a:gd name="connsiteY760" fmla="*/ 941988 h 6858000"/>
              <a:gd name="connsiteX761" fmla="*/ 5256105 w 7472601"/>
              <a:gd name="connsiteY761" fmla="*/ 945632 h 6858000"/>
              <a:gd name="connsiteX762" fmla="*/ 5107071 w 7472601"/>
              <a:gd name="connsiteY762" fmla="*/ 969720 h 6858000"/>
              <a:gd name="connsiteX763" fmla="*/ 4998681 w 7472601"/>
              <a:gd name="connsiteY763" fmla="*/ 988771 h 6858000"/>
              <a:gd name="connsiteX764" fmla="*/ 5870151 w 7472601"/>
              <a:gd name="connsiteY764" fmla="*/ 898890 h 6858000"/>
              <a:gd name="connsiteX765" fmla="*/ 5504425 w 7472601"/>
              <a:gd name="connsiteY765" fmla="*/ 848067 h 6858000"/>
              <a:gd name="connsiteX766" fmla="*/ 4968849 w 7472601"/>
              <a:gd name="connsiteY766" fmla="*/ 962318 h 6858000"/>
              <a:gd name="connsiteX767" fmla="*/ 5104039 w 7472601"/>
              <a:gd name="connsiteY767" fmla="*/ 940634 h 6858000"/>
              <a:gd name="connsiteX768" fmla="*/ 5256311 w 7472601"/>
              <a:gd name="connsiteY768" fmla="*/ 916490 h 6858000"/>
              <a:gd name="connsiteX769" fmla="*/ 5377381 w 7472601"/>
              <a:gd name="connsiteY769" fmla="*/ 912671 h 6858000"/>
              <a:gd name="connsiteX770" fmla="*/ 5460148 w 7472601"/>
              <a:gd name="connsiteY770" fmla="*/ 911442 h 6858000"/>
              <a:gd name="connsiteX771" fmla="*/ 5648971 w 7472601"/>
              <a:gd name="connsiteY771" fmla="*/ 891331 h 6858000"/>
              <a:gd name="connsiteX772" fmla="*/ 5844807 w 7472601"/>
              <a:gd name="connsiteY772" fmla="*/ 870718 h 6858000"/>
              <a:gd name="connsiteX773" fmla="*/ 5862975 w 7472601"/>
              <a:gd name="connsiteY773" fmla="*/ 869756 h 6858000"/>
              <a:gd name="connsiteX774" fmla="*/ 5920887 w 7472601"/>
              <a:gd name="connsiteY774" fmla="*/ 865929 h 6858000"/>
              <a:gd name="connsiteX775" fmla="*/ 5504425 w 7472601"/>
              <a:gd name="connsiteY775" fmla="*/ 848067 h 6858000"/>
              <a:gd name="connsiteX776" fmla="*/ 3607114 w 7472601"/>
              <a:gd name="connsiteY776" fmla="*/ 467441 h 6858000"/>
              <a:gd name="connsiteX777" fmla="*/ 3296242 w 7472601"/>
              <a:gd name="connsiteY777" fmla="*/ 807991 h 6858000"/>
              <a:gd name="connsiteX778" fmla="*/ 3174674 w 7472601"/>
              <a:gd name="connsiteY778" fmla="*/ 919759 h 6858000"/>
              <a:gd name="connsiteX779" fmla="*/ 3042978 w 7472601"/>
              <a:gd name="connsiteY779" fmla="*/ 1054894 h 6858000"/>
              <a:gd name="connsiteX780" fmla="*/ 2968914 w 7472601"/>
              <a:gd name="connsiteY780" fmla="*/ 1133756 h 6858000"/>
              <a:gd name="connsiteX781" fmla="*/ 3103823 w 7472601"/>
              <a:gd name="connsiteY781" fmla="*/ 1026814 h 6858000"/>
              <a:gd name="connsiteX782" fmla="*/ 3607114 w 7472601"/>
              <a:gd name="connsiteY782" fmla="*/ 467441 h 6858000"/>
              <a:gd name="connsiteX783" fmla="*/ 3744487 w 7472601"/>
              <a:gd name="connsiteY783" fmla="*/ 383136 h 6858000"/>
              <a:gd name="connsiteX784" fmla="*/ 3970213 w 7472601"/>
              <a:gd name="connsiteY784" fmla="*/ 995559 h 6858000"/>
              <a:gd name="connsiteX785" fmla="*/ 3744487 w 7472601"/>
              <a:gd name="connsiteY785" fmla="*/ 383136 h 6858000"/>
              <a:gd name="connsiteX786" fmla="*/ 3624562 w 7472601"/>
              <a:gd name="connsiteY786" fmla="*/ 367041 h 6858000"/>
              <a:gd name="connsiteX787" fmla="*/ 3489712 w 7472601"/>
              <a:gd name="connsiteY787" fmla="*/ 485386 h 6858000"/>
              <a:gd name="connsiteX788" fmla="*/ 3182994 w 7472601"/>
              <a:gd name="connsiteY788" fmla="*/ 828265 h 6858000"/>
              <a:gd name="connsiteX789" fmla="*/ 2892114 w 7472601"/>
              <a:gd name="connsiteY789" fmla="*/ 1172635 h 6858000"/>
              <a:gd name="connsiteX790" fmla="*/ 3021459 w 7472601"/>
              <a:gd name="connsiteY790" fmla="*/ 1035385 h 6858000"/>
              <a:gd name="connsiteX791" fmla="*/ 3153873 w 7472601"/>
              <a:gd name="connsiteY791" fmla="*/ 898971 h 6858000"/>
              <a:gd name="connsiteX792" fmla="*/ 3276511 w 7472601"/>
              <a:gd name="connsiteY792" fmla="*/ 786423 h 6858000"/>
              <a:gd name="connsiteX793" fmla="*/ 3584154 w 7472601"/>
              <a:gd name="connsiteY793" fmla="*/ 448218 h 6858000"/>
              <a:gd name="connsiteX794" fmla="*/ 3624562 w 7472601"/>
              <a:gd name="connsiteY794" fmla="*/ 367041 h 6858000"/>
              <a:gd name="connsiteX795" fmla="*/ 3766672 w 7472601"/>
              <a:gd name="connsiteY795" fmla="*/ 359429 h 6858000"/>
              <a:gd name="connsiteX796" fmla="*/ 3996338 w 7472601"/>
              <a:gd name="connsiteY796" fmla="*/ 968237 h 6858000"/>
              <a:gd name="connsiteX797" fmla="*/ 3766672 w 7472601"/>
              <a:gd name="connsiteY797" fmla="*/ 359429 h 6858000"/>
              <a:gd name="connsiteX798" fmla="*/ 5805386 w 7472601"/>
              <a:gd name="connsiteY798" fmla="*/ 239240 h 6858000"/>
              <a:gd name="connsiteX799" fmla="*/ 5736947 w 7472601"/>
              <a:gd name="connsiteY799" fmla="*/ 261367 h 6858000"/>
              <a:gd name="connsiteX800" fmla="*/ 5427012 w 7472601"/>
              <a:gd name="connsiteY800" fmla="*/ 311272 h 6858000"/>
              <a:gd name="connsiteX801" fmla="*/ 5147818 w 7472601"/>
              <a:gd name="connsiteY801" fmla="*/ 322112 h 6858000"/>
              <a:gd name="connsiteX802" fmla="*/ 5060854 w 7472601"/>
              <a:gd name="connsiteY802" fmla="*/ 311882 h 6858000"/>
              <a:gd name="connsiteX803" fmla="*/ 4945989 w 7472601"/>
              <a:gd name="connsiteY803" fmla="*/ 300516 h 6858000"/>
              <a:gd name="connsiteX804" fmla="*/ 5410479 w 7472601"/>
              <a:gd name="connsiteY804" fmla="*/ 348434 h 6858000"/>
              <a:gd name="connsiteX805" fmla="*/ 5805386 w 7472601"/>
              <a:gd name="connsiteY805" fmla="*/ 239240 h 6858000"/>
              <a:gd name="connsiteX806" fmla="*/ 5905192 w 7472601"/>
              <a:gd name="connsiteY806" fmla="*/ 163079 h 6858000"/>
              <a:gd name="connsiteX807" fmla="*/ 5865655 w 7472601"/>
              <a:gd name="connsiteY807" fmla="*/ 171901 h 6858000"/>
              <a:gd name="connsiteX808" fmla="*/ 5259740 w 7472601"/>
              <a:gd name="connsiteY808" fmla="*/ 257013 h 6858000"/>
              <a:gd name="connsiteX809" fmla="*/ 5208466 w 7472601"/>
              <a:gd name="connsiteY809" fmla="*/ 257550 h 6858000"/>
              <a:gd name="connsiteX810" fmla="*/ 4980204 w 7472601"/>
              <a:gd name="connsiteY810" fmla="*/ 271903 h 6858000"/>
              <a:gd name="connsiteX811" fmla="*/ 5068068 w 7472601"/>
              <a:gd name="connsiteY811" fmla="*/ 282244 h 6858000"/>
              <a:gd name="connsiteX812" fmla="*/ 5153231 w 7472601"/>
              <a:gd name="connsiteY812" fmla="*/ 292240 h 6858000"/>
              <a:gd name="connsiteX813" fmla="*/ 5426491 w 7472601"/>
              <a:gd name="connsiteY813" fmla="*/ 281128 h 6858000"/>
              <a:gd name="connsiteX814" fmla="*/ 5731212 w 7472601"/>
              <a:gd name="connsiteY814" fmla="*/ 231951 h 6858000"/>
              <a:gd name="connsiteX815" fmla="*/ 5905192 w 7472601"/>
              <a:gd name="connsiteY815" fmla="*/ 163079 h 6858000"/>
              <a:gd name="connsiteX816" fmla="*/ 5944437 w 7472601"/>
              <a:gd name="connsiteY816" fmla="*/ 113829 h 6858000"/>
              <a:gd name="connsiteX817" fmla="*/ 5825032 w 7472601"/>
              <a:gd name="connsiteY817" fmla="*/ 146405 h 6858000"/>
              <a:gd name="connsiteX818" fmla="*/ 4955599 w 7472601"/>
              <a:gd name="connsiteY818" fmla="*/ 247008 h 6858000"/>
              <a:gd name="connsiteX819" fmla="*/ 5210104 w 7472601"/>
              <a:gd name="connsiteY819" fmla="*/ 228123 h 6858000"/>
              <a:gd name="connsiteX820" fmla="*/ 5261015 w 7472601"/>
              <a:gd name="connsiteY820" fmla="*/ 227087 h 6858000"/>
              <a:gd name="connsiteX821" fmla="*/ 5861181 w 7472601"/>
              <a:gd name="connsiteY821" fmla="*/ 143093 h 6858000"/>
              <a:gd name="connsiteX822" fmla="*/ 5961252 w 7472601"/>
              <a:gd name="connsiteY822" fmla="*/ 114820 h 6858000"/>
              <a:gd name="connsiteX823" fmla="*/ 5944437 w 7472601"/>
              <a:gd name="connsiteY823" fmla="*/ 113829 h 6858000"/>
              <a:gd name="connsiteX824" fmla="*/ 3882765 w 7472601"/>
              <a:gd name="connsiteY824" fmla="*/ 0 h 6858000"/>
              <a:gd name="connsiteX825" fmla="*/ 3995099 w 7472601"/>
              <a:gd name="connsiteY825" fmla="*/ 0 h 6858000"/>
              <a:gd name="connsiteX826" fmla="*/ 4163818 w 7472601"/>
              <a:gd name="connsiteY826" fmla="*/ 234104 h 6858000"/>
              <a:gd name="connsiteX827" fmla="*/ 4172099 w 7472601"/>
              <a:gd name="connsiteY827" fmla="*/ 234207 h 6858000"/>
              <a:gd name="connsiteX828" fmla="*/ 4784282 w 7472601"/>
              <a:gd name="connsiteY828" fmla="*/ 276561 h 6858000"/>
              <a:gd name="connsiteX829" fmla="*/ 4801687 w 7472601"/>
              <a:gd name="connsiteY829" fmla="*/ 267764 h 6858000"/>
              <a:gd name="connsiteX830" fmla="*/ 6082788 w 7472601"/>
              <a:gd name="connsiteY830" fmla="*/ 64119 h 6858000"/>
              <a:gd name="connsiteX831" fmla="*/ 6099442 w 7472601"/>
              <a:gd name="connsiteY831" fmla="*/ 82568 h 6858000"/>
              <a:gd name="connsiteX832" fmla="*/ 4804137 w 7472601"/>
              <a:gd name="connsiteY832" fmla="*/ 320931 h 6858000"/>
              <a:gd name="connsiteX833" fmla="*/ 4227047 w 7472601"/>
              <a:gd name="connsiteY833" fmla="*/ 313415 h 6858000"/>
              <a:gd name="connsiteX834" fmla="*/ 4346041 w 7472601"/>
              <a:gd name="connsiteY834" fmla="*/ 456086 h 6858000"/>
              <a:gd name="connsiteX835" fmla="*/ 4870967 w 7472601"/>
              <a:gd name="connsiteY835" fmla="*/ 963061 h 6858000"/>
              <a:gd name="connsiteX836" fmla="*/ 4889647 w 7472601"/>
              <a:gd name="connsiteY836" fmla="*/ 957147 h 6858000"/>
              <a:gd name="connsiteX837" fmla="*/ 5422504 w 7472601"/>
              <a:gd name="connsiteY837" fmla="*/ 805191 h 6858000"/>
              <a:gd name="connsiteX838" fmla="*/ 6087656 w 7472601"/>
              <a:gd name="connsiteY838" fmla="*/ 826703 h 6858000"/>
              <a:gd name="connsiteX839" fmla="*/ 6058717 w 7472601"/>
              <a:gd name="connsiteY839" fmla="*/ 865992 h 6858000"/>
              <a:gd name="connsiteX840" fmla="*/ 4974153 w 7472601"/>
              <a:gd name="connsiteY840" fmla="*/ 1045456 h 6858000"/>
              <a:gd name="connsiteX841" fmla="*/ 5627835 w 7472601"/>
              <a:gd name="connsiteY841" fmla="*/ 1472077 h 6858000"/>
              <a:gd name="connsiteX842" fmla="*/ 5629817 w 7472601"/>
              <a:gd name="connsiteY842" fmla="*/ 1471412 h 6858000"/>
              <a:gd name="connsiteX843" fmla="*/ 5634124 w 7472601"/>
              <a:gd name="connsiteY843" fmla="*/ 1470572 h 6858000"/>
              <a:gd name="connsiteX844" fmla="*/ 5755832 w 7472601"/>
              <a:gd name="connsiteY844" fmla="*/ 1383886 h 6858000"/>
              <a:gd name="connsiteX845" fmla="*/ 6014186 w 7472601"/>
              <a:gd name="connsiteY845" fmla="*/ 1279799 h 6858000"/>
              <a:gd name="connsiteX846" fmla="*/ 6901619 w 7472601"/>
              <a:gd name="connsiteY846" fmla="*/ 1047874 h 6858000"/>
              <a:gd name="connsiteX847" fmla="*/ 6931566 w 7472601"/>
              <a:gd name="connsiteY847" fmla="*/ 1062034 h 6858000"/>
              <a:gd name="connsiteX848" fmla="*/ 5790982 w 7472601"/>
              <a:gd name="connsiteY848" fmla="*/ 1561380 h 6858000"/>
              <a:gd name="connsiteX849" fmla="*/ 6188971 w 7472601"/>
              <a:gd name="connsiteY849" fmla="*/ 1755168 h 6858000"/>
              <a:gd name="connsiteX850" fmla="*/ 6202446 w 7472601"/>
              <a:gd name="connsiteY850" fmla="*/ 1752268 h 6858000"/>
              <a:gd name="connsiteX851" fmla="*/ 7179560 w 7472601"/>
              <a:gd name="connsiteY851" fmla="*/ 1467551 h 6858000"/>
              <a:gd name="connsiteX852" fmla="*/ 7158730 w 7472601"/>
              <a:gd name="connsiteY852" fmla="*/ 1507835 h 6858000"/>
              <a:gd name="connsiteX853" fmla="*/ 6326959 w 7472601"/>
              <a:gd name="connsiteY853" fmla="*/ 1817686 h 6858000"/>
              <a:gd name="connsiteX854" fmla="*/ 6537433 w 7472601"/>
              <a:gd name="connsiteY854" fmla="*/ 1907790 h 6858000"/>
              <a:gd name="connsiteX855" fmla="*/ 6550221 w 7472601"/>
              <a:gd name="connsiteY855" fmla="*/ 1910729 h 6858000"/>
              <a:gd name="connsiteX856" fmla="*/ 6964438 w 7472601"/>
              <a:gd name="connsiteY856" fmla="*/ 2209505 h 6858000"/>
              <a:gd name="connsiteX857" fmla="*/ 7367862 w 7472601"/>
              <a:gd name="connsiteY857" fmla="*/ 2806833 h 6858000"/>
              <a:gd name="connsiteX858" fmla="*/ 7364329 w 7472601"/>
              <a:gd name="connsiteY858" fmla="*/ 2826907 h 6858000"/>
              <a:gd name="connsiteX859" fmla="*/ 7290545 w 7472601"/>
              <a:gd name="connsiteY859" fmla="*/ 2850663 h 6858000"/>
              <a:gd name="connsiteX860" fmla="*/ 6472036 w 7472601"/>
              <a:gd name="connsiteY860" fmla="*/ 1959003 h 6858000"/>
              <a:gd name="connsiteX861" fmla="*/ 5792897 w 7472601"/>
              <a:gd name="connsiteY861" fmla="*/ 1647747 h 6858000"/>
              <a:gd name="connsiteX862" fmla="*/ 5842751 w 7472601"/>
              <a:gd name="connsiteY862" fmla="*/ 1816112 h 6858000"/>
              <a:gd name="connsiteX863" fmla="*/ 5847424 w 7472601"/>
              <a:gd name="connsiteY863" fmla="*/ 1815776 h 6858000"/>
              <a:gd name="connsiteX864" fmla="*/ 6399821 w 7472601"/>
              <a:gd name="connsiteY864" fmla="*/ 2344799 h 6858000"/>
              <a:gd name="connsiteX865" fmla="*/ 6323232 w 7472601"/>
              <a:gd name="connsiteY865" fmla="*/ 2389634 h 6858000"/>
              <a:gd name="connsiteX866" fmla="*/ 5942958 w 7472601"/>
              <a:gd name="connsiteY866" fmla="*/ 2077708 h 6858000"/>
              <a:gd name="connsiteX867" fmla="*/ 5921559 w 7472601"/>
              <a:gd name="connsiteY867" fmla="*/ 2378596 h 6858000"/>
              <a:gd name="connsiteX868" fmla="*/ 5817651 w 7472601"/>
              <a:gd name="connsiteY868" fmla="*/ 3023919 h 6858000"/>
              <a:gd name="connsiteX869" fmla="*/ 5729634 w 7472601"/>
              <a:gd name="connsiteY869" fmla="*/ 3051849 h 6858000"/>
              <a:gd name="connsiteX870" fmla="*/ 5611018 w 7472601"/>
              <a:gd name="connsiteY870" fmla="*/ 2316769 h 6858000"/>
              <a:gd name="connsiteX871" fmla="*/ 5687608 w 7472601"/>
              <a:gd name="connsiteY871" fmla="*/ 2039972 h 6858000"/>
              <a:gd name="connsiteX872" fmla="*/ 5657554 w 7472601"/>
              <a:gd name="connsiteY872" fmla="*/ 1576445 h 6858000"/>
              <a:gd name="connsiteX873" fmla="*/ 5150475 w 7472601"/>
              <a:gd name="connsiteY873" fmla="*/ 1274012 h 6858000"/>
              <a:gd name="connsiteX874" fmla="*/ 5349142 w 7472601"/>
              <a:gd name="connsiteY874" fmla="*/ 2204405 h 6858000"/>
              <a:gd name="connsiteX875" fmla="*/ 5262214 w 7472601"/>
              <a:gd name="connsiteY875" fmla="*/ 2233836 h 6858000"/>
              <a:gd name="connsiteX876" fmla="*/ 4981539 w 7472601"/>
              <a:gd name="connsiteY876" fmla="*/ 1542201 h 6858000"/>
              <a:gd name="connsiteX877" fmla="*/ 4958461 w 7472601"/>
              <a:gd name="connsiteY877" fmla="*/ 1136957 h 6858000"/>
              <a:gd name="connsiteX878" fmla="*/ 4655015 w 7472601"/>
              <a:gd name="connsiteY878" fmla="*/ 891426 h 6858000"/>
              <a:gd name="connsiteX879" fmla="*/ 4348002 w 7472601"/>
              <a:gd name="connsiteY879" fmla="*/ 2205895 h 6858000"/>
              <a:gd name="connsiteX880" fmla="*/ 4262250 w 7472601"/>
              <a:gd name="connsiteY880" fmla="*/ 2219972 h 6858000"/>
              <a:gd name="connsiteX881" fmla="*/ 4550611 w 7472601"/>
              <a:gd name="connsiteY881" fmla="*/ 817540 h 6858000"/>
              <a:gd name="connsiteX882" fmla="*/ 4564418 w 7472601"/>
              <a:gd name="connsiteY882" fmla="*/ 808293 h 6858000"/>
              <a:gd name="connsiteX883" fmla="*/ 4266388 w 7472601"/>
              <a:gd name="connsiteY883" fmla="*/ 500083 h 6858000"/>
              <a:gd name="connsiteX884" fmla="*/ 4032842 w 7472601"/>
              <a:gd name="connsiteY884" fmla="*/ 211809 h 6858000"/>
              <a:gd name="connsiteX885" fmla="*/ 3882765 w 7472601"/>
              <a:gd name="connsiteY885" fmla="*/ 0 h 6858000"/>
              <a:gd name="connsiteX886" fmla="*/ 3721337 w 7472601"/>
              <a:gd name="connsiteY886" fmla="*/ 0 h 6858000"/>
              <a:gd name="connsiteX887" fmla="*/ 3797544 w 7472601"/>
              <a:gd name="connsiteY887" fmla="*/ 0 h 6858000"/>
              <a:gd name="connsiteX888" fmla="*/ 3775734 w 7472601"/>
              <a:gd name="connsiteY888" fmla="*/ 95131 h 6858000"/>
              <a:gd name="connsiteX889" fmla="*/ 3724807 w 7472601"/>
              <a:gd name="connsiteY889" fmla="*/ 272257 h 6858000"/>
              <a:gd name="connsiteX890" fmla="*/ 3726844 w 7472601"/>
              <a:gd name="connsiteY890" fmla="*/ 282988 h 6858000"/>
              <a:gd name="connsiteX891" fmla="*/ 3742664 w 7472601"/>
              <a:gd name="connsiteY891" fmla="*/ 279918 h 6858000"/>
              <a:gd name="connsiteX892" fmla="*/ 4103910 w 7472601"/>
              <a:gd name="connsiteY892" fmla="*/ 1161917 h 6858000"/>
              <a:gd name="connsiteX893" fmla="*/ 4020269 w 7472601"/>
              <a:gd name="connsiteY893" fmla="*/ 1200406 h 6858000"/>
              <a:gd name="connsiteX894" fmla="*/ 3674882 w 7472601"/>
              <a:gd name="connsiteY894" fmla="*/ 488524 h 6858000"/>
              <a:gd name="connsiteX895" fmla="*/ 3132682 w 7472601"/>
              <a:gd name="connsiteY895" fmla="*/ 1072284 h 6858000"/>
              <a:gd name="connsiteX896" fmla="*/ 2716346 w 7472601"/>
              <a:gd name="connsiteY896" fmla="*/ 1276376 h 6858000"/>
              <a:gd name="connsiteX897" fmla="*/ 2716772 w 7472601"/>
              <a:gd name="connsiteY897" fmla="*/ 1255462 h 6858000"/>
              <a:gd name="connsiteX898" fmla="*/ 3471096 w 7472601"/>
              <a:gd name="connsiteY898" fmla="*/ 437072 h 6858000"/>
              <a:gd name="connsiteX899" fmla="*/ 3639057 w 7472601"/>
              <a:gd name="connsiteY899" fmla="*/ 286334 h 6858000"/>
              <a:gd name="connsiteX900" fmla="*/ 3640309 w 7472601"/>
              <a:gd name="connsiteY900" fmla="*/ 284664 h 6858000"/>
              <a:gd name="connsiteX901" fmla="*/ 3646022 w 7472601"/>
              <a:gd name="connsiteY901" fmla="*/ 276711 h 6858000"/>
              <a:gd name="connsiteX902" fmla="*/ 3707943 w 7472601"/>
              <a:gd name="connsiteY902" fmla="*/ 65958 h 6858000"/>
              <a:gd name="connsiteX903" fmla="*/ 3721337 w 7472601"/>
              <a:gd name="connsiteY903" fmla="*/ 0 h 6858000"/>
              <a:gd name="connsiteX904" fmla="*/ 2867960 w 7472601"/>
              <a:gd name="connsiteY904" fmla="*/ 0 h 6858000"/>
              <a:gd name="connsiteX905" fmla="*/ 2926351 w 7472601"/>
              <a:gd name="connsiteY905" fmla="*/ 0 h 6858000"/>
              <a:gd name="connsiteX906" fmla="*/ 2902823 w 7472601"/>
              <a:gd name="connsiteY906" fmla="*/ 262929 h 6858000"/>
              <a:gd name="connsiteX907" fmla="*/ 2940663 w 7472601"/>
              <a:gd name="connsiteY907" fmla="*/ 140884 h 6858000"/>
              <a:gd name="connsiteX908" fmla="*/ 2947039 w 7472601"/>
              <a:gd name="connsiteY908" fmla="*/ 122524 h 6858000"/>
              <a:gd name="connsiteX909" fmla="*/ 2984316 w 7472601"/>
              <a:gd name="connsiteY909" fmla="*/ 0 h 6858000"/>
              <a:gd name="connsiteX910" fmla="*/ 3016114 w 7472601"/>
              <a:gd name="connsiteY910" fmla="*/ 0 h 6858000"/>
              <a:gd name="connsiteX911" fmla="*/ 2979949 w 7472601"/>
              <a:gd name="connsiteY911" fmla="*/ 119274 h 6858000"/>
              <a:gd name="connsiteX912" fmla="*/ 3023879 w 7472601"/>
              <a:gd name="connsiteY912" fmla="*/ 0 h 6858000"/>
              <a:gd name="connsiteX913" fmla="*/ 3105400 w 7472601"/>
              <a:gd name="connsiteY913" fmla="*/ 0 h 6858000"/>
              <a:gd name="connsiteX914" fmla="*/ 3094669 w 7472601"/>
              <a:gd name="connsiteY914" fmla="*/ 30308 h 6858000"/>
              <a:gd name="connsiteX915" fmla="*/ 2901945 w 7472601"/>
              <a:gd name="connsiteY915" fmla="*/ 466538 h 6858000"/>
              <a:gd name="connsiteX916" fmla="*/ 2815209 w 7472601"/>
              <a:gd name="connsiteY916" fmla="*/ 497361 h 6858000"/>
              <a:gd name="connsiteX917" fmla="*/ 2844845 w 7472601"/>
              <a:gd name="connsiteY917" fmla="*/ 127638 h 6858000"/>
              <a:gd name="connsiteX918" fmla="*/ 2867960 w 7472601"/>
              <a:gd name="connsiteY918" fmla="*/ 0 h 6858000"/>
              <a:gd name="connsiteX919" fmla="*/ 1057230 w 7472601"/>
              <a:gd name="connsiteY919" fmla="*/ 0 h 6858000"/>
              <a:gd name="connsiteX920" fmla="*/ 1111003 w 7472601"/>
              <a:gd name="connsiteY920" fmla="*/ 0 h 6858000"/>
              <a:gd name="connsiteX921" fmla="*/ 1125553 w 7472601"/>
              <a:gd name="connsiteY921" fmla="*/ 52588 h 6858000"/>
              <a:gd name="connsiteX922" fmla="*/ 1304276 w 7472601"/>
              <a:gd name="connsiteY922" fmla="*/ 476275 h 6858000"/>
              <a:gd name="connsiteX923" fmla="*/ 1492066 w 7472601"/>
              <a:gd name="connsiteY923" fmla="*/ 886333 h 6858000"/>
              <a:gd name="connsiteX924" fmla="*/ 1423698 w 7472601"/>
              <a:gd name="connsiteY924" fmla="*/ 710817 h 6858000"/>
              <a:gd name="connsiteX925" fmla="*/ 1357609 w 7472601"/>
              <a:gd name="connsiteY925" fmla="*/ 532892 h 6858000"/>
              <a:gd name="connsiteX926" fmla="*/ 1309550 w 7472601"/>
              <a:gd name="connsiteY926" fmla="*/ 374031 h 6858000"/>
              <a:gd name="connsiteX927" fmla="*/ 1193673 w 7472601"/>
              <a:gd name="connsiteY927" fmla="*/ 49533 h 6858000"/>
              <a:gd name="connsiteX928" fmla="*/ 1164391 w 7472601"/>
              <a:gd name="connsiteY928" fmla="*/ 0 h 6858000"/>
              <a:gd name="connsiteX929" fmla="*/ 1200666 w 7472601"/>
              <a:gd name="connsiteY929" fmla="*/ 0 h 6858000"/>
              <a:gd name="connsiteX930" fmla="*/ 1223408 w 7472601"/>
              <a:gd name="connsiteY930" fmla="*/ 38996 h 6858000"/>
              <a:gd name="connsiteX931" fmla="*/ 1339635 w 7472601"/>
              <a:gd name="connsiteY931" fmla="*/ 365517 h 6858000"/>
              <a:gd name="connsiteX932" fmla="*/ 1387469 w 7472601"/>
              <a:gd name="connsiteY932" fmla="*/ 523079 h 6858000"/>
              <a:gd name="connsiteX933" fmla="*/ 1452685 w 7472601"/>
              <a:gd name="connsiteY933" fmla="*/ 699806 h 6858000"/>
              <a:gd name="connsiteX934" fmla="*/ 1492092 w 7472601"/>
              <a:gd name="connsiteY934" fmla="*/ 800424 h 6858000"/>
              <a:gd name="connsiteX935" fmla="*/ 1455302 w 7472601"/>
              <a:gd name="connsiteY935" fmla="*/ 632913 h 6858000"/>
              <a:gd name="connsiteX936" fmla="*/ 1222336 w 7472601"/>
              <a:gd name="connsiteY936" fmla="*/ 9480 h 6858000"/>
              <a:gd name="connsiteX937" fmla="*/ 1214634 w 7472601"/>
              <a:gd name="connsiteY937" fmla="*/ 0 h 6858000"/>
              <a:gd name="connsiteX938" fmla="*/ 1289827 w 7472601"/>
              <a:gd name="connsiteY938" fmla="*/ 0 h 6858000"/>
              <a:gd name="connsiteX939" fmla="*/ 1321076 w 7472601"/>
              <a:gd name="connsiteY939" fmla="*/ 59722 h 6858000"/>
              <a:gd name="connsiteX940" fmla="*/ 1512579 w 7472601"/>
              <a:gd name="connsiteY940" fmla="*/ 626441 h 6858000"/>
              <a:gd name="connsiteX941" fmla="*/ 1506076 w 7472601"/>
              <a:gd name="connsiteY941" fmla="*/ 1089289 h 6858000"/>
              <a:gd name="connsiteX942" fmla="*/ 1486346 w 7472601"/>
              <a:gd name="connsiteY942" fmla="*/ 1079919 h 6858000"/>
              <a:gd name="connsiteX943" fmla="*/ 1070511 w 7472601"/>
              <a:gd name="connsiteY943" fmla="*/ 48609 h 6858000"/>
              <a:gd name="connsiteX944" fmla="*/ 1057230 w 7472601"/>
              <a:gd name="connsiteY944" fmla="*/ 0 h 6858000"/>
              <a:gd name="connsiteX945" fmla="*/ 43151 w 7472601"/>
              <a:gd name="connsiteY945" fmla="*/ 0 h 6858000"/>
              <a:gd name="connsiteX946" fmla="*/ 95283 w 7472601"/>
              <a:gd name="connsiteY946" fmla="*/ 0 h 6858000"/>
              <a:gd name="connsiteX947" fmla="*/ 300708 w 7472601"/>
              <a:gd name="connsiteY947" fmla="*/ 154571 h 6858000"/>
              <a:gd name="connsiteX948" fmla="*/ 530414 w 7472601"/>
              <a:gd name="connsiteY948" fmla="*/ 354673 h 6858000"/>
              <a:gd name="connsiteX949" fmla="*/ 333785 w 7472601"/>
              <a:gd name="connsiteY949" fmla="*/ 161564 h 6858000"/>
              <a:gd name="connsiteX950" fmla="*/ 147005 w 7472601"/>
              <a:gd name="connsiteY950" fmla="*/ 0 h 6858000"/>
              <a:gd name="connsiteX951" fmla="*/ 272509 w 7472601"/>
              <a:gd name="connsiteY951" fmla="*/ 0 h 6858000"/>
              <a:gd name="connsiteX952" fmla="*/ 326276 w 7472601"/>
              <a:gd name="connsiteY952" fmla="*/ 45847 h 6858000"/>
              <a:gd name="connsiteX953" fmla="*/ 823759 w 7472601"/>
              <a:gd name="connsiteY953" fmla="*/ 574145 h 6858000"/>
              <a:gd name="connsiteX954" fmla="*/ 811254 w 7472601"/>
              <a:gd name="connsiteY954" fmla="*/ 665546 h 6858000"/>
              <a:gd name="connsiteX955" fmla="*/ 154042 w 7472601"/>
              <a:gd name="connsiteY955" fmla="*/ 261522 h 6858000"/>
              <a:gd name="connsiteX956" fmla="*/ 13550 w 7472601"/>
              <a:gd name="connsiteY956" fmla="*/ 158423 h 6858000"/>
              <a:gd name="connsiteX957" fmla="*/ 0 w 7472601"/>
              <a:gd name="connsiteY957" fmla="*/ 146618 h 6858000"/>
              <a:gd name="connsiteX958" fmla="*/ 0 w 7472601"/>
              <a:gd name="connsiteY958" fmla="*/ 59161 h 6858000"/>
              <a:gd name="connsiteX959" fmla="*/ 45427 w 7472601"/>
              <a:gd name="connsiteY959" fmla="*/ 101078 h 6858000"/>
              <a:gd name="connsiteX960" fmla="*/ 630103 w 7472601"/>
              <a:gd name="connsiteY960" fmla="*/ 485885 h 6858000"/>
              <a:gd name="connsiteX961" fmla="*/ 532040 w 7472601"/>
              <a:gd name="connsiteY961" fmla="*/ 399359 h 6858000"/>
              <a:gd name="connsiteX962" fmla="*/ 517618 w 7472601"/>
              <a:gd name="connsiteY962" fmla="*/ 385726 h 6858000"/>
              <a:gd name="connsiteX963" fmla="*/ 285074 w 7472601"/>
              <a:gd name="connsiteY963" fmla="*/ 182755 h 6858000"/>
              <a:gd name="connsiteX964" fmla="*/ 43151 w 7472601"/>
              <a:gd name="connsiteY964" fmla="*/ 0 h 6858000"/>
              <a:gd name="connsiteX0" fmla="*/ 369702 w 7472601"/>
              <a:gd name="connsiteY0" fmla="*/ 6712169 h 6858000"/>
              <a:gd name="connsiteX1" fmla="*/ 366575 w 7472601"/>
              <a:gd name="connsiteY1" fmla="*/ 6715556 h 6858000"/>
              <a:gd name="connsiteX2" fmla="*/ 371637 w 7472601"/>
              <a:gd name="connsiteY2" fmla="*/ 6713954 h 6858000"/>
              <a:gd name="connsiteX3" fmla="*/ 369702 w 7472601"/>
              <a:gd name="connsiteY3" fmla="*/ 6712169 h 6858000"/>
              <a:gd name="connsiteX4" fmla="*/ 7088673 w 7472601"/>
              <a:gd name="connsiteY4" fmla="*/ 6610396 h 6858000"/>
              <a:gd name="connsiteX5" fmla="*/ 7440138 w 7472601"/>
              <a:gd name="connsiteY5" fmla="*/ 6622648 h 6858000"/>
              <a:gd name="connsiteX6" fmla="*/ 7467600 w 7472601"/>
              <a:gd name="connsiteY6" fmla="*/ 6628217 h 6858000"/>
              <a:gd name="connsiteX7" fmla="*/ 7467600 w 7472601"/>
              <a:gd name="connsiteY7" fmla="*/ 6668575 h 6858000"/>
              <a:gd name="connsiteX8" fmla="*/ 7392322 w 7472601"/>
              <a:gd name="connsiteY8" fmla="*/ 6658238 h 6858000"/>
              <a:gd name="connsiteX9" fmla="*/ 7467600 w 7472601"/>
              <a:gd name="connsiteY9" fmla="*/ 6683873 h 6858000"/>
              <a:gd name="connsiteX10" fmla="*/ 7467600 w 7472601"/>
              <a:gd name="connsiteY10" fmla="*/ 6714215 h 6858000"/>
              <a:gd name="connsiteX11" fmla="*/ 7447383 w 7472601"/>
              <a:gd name="connsiteY11" fmla="*/ 6707202 h 6858000"/>
              <a:gd name="connsiteX12" fmla="*/ 7289862 w 7472601"/>
              <a:gd name="connsiteY12" fmla="*/ 6659827 h 6858000"/>
              <a:gd name="connsiteX13" fmla="*/ 7434024 w 7472601"/>
              <a:gd name="connsiteY13" fmla="*/ 6722130 h 6858000"/>
              <a:gd name="connsiteX14" fmla="*/ 7467600 w 7472601"/>
              <a:gd name="connsiteY14" fmla="*/ 6736157 h 6858000"/>
              <a:gd name="connsiteX15" fmla="*/ 7467600 w 7472601"/>
              <a:gd name="connsiteY15" fmla="*/ 6767913 h 6858000"/>
              <a:gd name="connsiteX16" fmla="*/ 7392158 w 7472601"/>
              <a:gd name="connsiteY16" fmla="*/ 6771365 h 6858000"/>
              <a:gd name="connsiteX17" fmla="*/ 7467600 w 7472601"/>
              <a:gd name="connsiteY17" fmla="*/ 6805948 h 6858000"/>
              <a:gd name="connsiteX18" fmla="*/ 7467600 w 7472601"/>
              <a:gd name="connsiteY18" fmla="*/ 6831490 h 6858000"/>
              <a:gd name="connsiteX19" fmla="*/ 7410696 w 7472601"/>
              <a:gd name="connsiteY19" fmla="*/ 6803861 h 6858000"/>
              <a:gd name="connsiteX20" fmla="*/ 7088673 w 7472601"/>
              <a:gd name="connsiteY20" fmla="*/ 6610396 h 6858000"/>
              <a:gd name="connsiteX21" fmla="*/ 1019354 w 7472601"/>
              <a:gd name="connsiteY21" fmla="*/ 6315006 h 6858000"/>
              <a:gd name="connsiteX22" fmla="*/ 441046 w 7472601"/>
              <a:gd name="connsiteY22" fmla="*/ 6691153 h 6858000"/>
              <a:gd name="connsiteX23" fmla="*/ 1019354 w 7472601"/>
              <a:gd name="connsiteY23" fmla="*/ 6315006 h 6858000"/>
              <a:gd name="connsiteX24" fmla="*/ 991680 w 7472601"/>
              <a:gd name="connsiteY24" fmla="*/ 6298413 h 6858000"/>
              <a:gd name="connsiteX25" fmla="*/ 409060 w 7472601"/>
              <a:gd name="connsiteY25" fmla="*/ 6671470 h 6858000"/>
              <a:gd name="connsiteX26" fmla="*/ 991680 w 7472601"/>
              <a:gd name="connsiteY26" fmla="*/ 6298413 h 6858000"/>
              <a:gd name="connsiteX27" fmla="*/ 103333 w 7472601"/>
              <a:gd name="connsiteY27" fmla="*/ 5699602 h 6858000"/>
              <a:gd name="connsiteX28" fmla="*/ 233938 w 7472601"/>
              <a:gd name="connsiteY28" fmla="*/ 5809416 h 6858000"/>
              <a:gd name="connsiteX29" fmla="*/ 883580 w 7472601"/>
              <a:gd name="connsiteY29" fmla="*/ 6180710 h 6858000"/>
              <a:gd name="connsiteX30" fmla="*/ 487337 w 7472601"/>
              <a:gd name="connsiteY30" fmla="*/ 5950182 h 6858000"/>
              <a:gd name="connsiteX31" fmla="*/ 354051 w 7472601"/>
              <a:gd name="connsiteY31" fmla="*/ 5854912 h 6858000"/>
              <a:gd name="connsiteX32" fmla="*/ 195436 w 7472601"/>
              <a:gd name="connsiteY32" fmla="*/ 5755068 h 6858000"/>
              <a:gd name="connsiteX33" fmla="*/ 103333 w 7472601"/>
              <a:gd name="connsiteY33" fmla="*/ 5699602 h 6858000"/>
              <a:gd name="connsiteX34" fmla="*/ 5539432 w 7472601"/>
              <a:gd name="connsiteY34" fmla="*/ 5642928 h 6858000"/>
              <a:gd name="connsiteX35" fmla="*/ 5555462 w 7472601"/>
              <a:gd name="connsiteY35" fmla="*/ 5694454 h 6858000"/>
              <a:gd name="connsiteX36" fmla="*/ 5828270 w 7472601"/>
              <a:gd name="connsiteY36" fmla="*/ 6320663 h 6858000"/>
              <a:gd name="connsiteX37" fmla="*/ 5947416 w 7472601"/>
              <a:gd name="connsiteY37" fmla="*/ 6574846 h 6858000"/>
              <a:gd name="connsiteX38" fmla="*/ 5539432 w 7472601"/>
              <a:gd name="connsiteY38" fmla="*/ 5642928 h 6858000"/>
              <a:gd name="connsiteX39" fmla="*/ 51253 w 7472601"/>
              <a:gd name="connsiteY39" fmla="*/ 5631825 h 6858000"/>
              <a:gd name="connsiteX40" fmla="*/ 211622 w 7472601"/>
              <a:gd name="connsiteY40" fmla="*/ 5728803 h 6858000"/>
              <a:gd name="connsiteX41" fmla="*/ 371652 w 7472601"/>
              <a:gd name="connsiteY41" fmla="*/ 5829062 h 6858000"/>
              <a:gd name="connsiteX42" fmla="*/ 505903 w 7472601"/>
              <a:gd name="connsiteY42" fmla="*/ 5925221 h 6858000"/>
              <a:gd name="connsiteX43" fmla="*/ 899240 w 7472601"/>
              <a:gd name="connsiteY43" fmla="*/ 6153068 h 6858000"/>
              <a:gd name="connsiteX44" fmla="*/ 988114 w 7472601"/>
              <a:gd name="connsiteY44" fmla="*/ 6174204 h 6858000"/>
              <a:gd name="connsiteX45" fmla="*/ 845971 w 7472601"/>
              <a:gd name="connsiteY45" fmla="*/ 6067177 h 6858000"/>
              <a:gd name="connsiteX46" fmla="*/ 448057 w 7472601"/>
              <a:gd name="connsiteY46" fmla="*/ 5841376 h 6858000"/>
              <a:gd name="connsiteX47" fmla="*/ 51253 w 7472601"/>
              <a:gd name="connsiteY47" fmla="*/ 5631825 h 6858000"/>
              <a:gd name="connsiteX48" fmla="*/ 2606687 w 7472601"/>
              <a:gd name="connsiteY48" fmla="*/ 5630718 h 6858000"/>
              <a:gd name="connsiteX49" fmla="*/ 2645658 w 7472601"/>
              <a:gd name="connsiteY49" fmla="*/ 6640259 h 6858000"/>
              <a:gd name="connsiteX50" fmla="*/ 2606687 w 7472601"/>
              <a:gd name="connsiteY50" fmla="*/ 5630718 h 6858000"/>
              <a:gd name="connsiteX51" fmla="*/ 3642057 w 7472601"/>
              <a:gd name="connsiteY51" fmla="*/ 5573487 h 6858000"/>
              <a:gd name="connsiteX52" fmla="*/ 3632981 w 7472601"/>
              <a:gd name="connsiteY52" fmla="*/ 5579437 h 6858000"/>
              <a:gd name="connsiteX53" fmla="*/ 3382436 w 7472601"/>
              <a:gd name="connsiteY53" fmla="*/ 5952726 h 6858000"/>
              <a:gd name="connsiteX54" fmla="*/ 3191929 w 7472601"/>
              <a:gd name="connsiteY54" fmla="*/ 6662669 h 6858000"/>
              <a:gd name="connsiteX55" fmla="*/ 3369898 w 7472601"/>
              <a:gd name="connsiteY55" fmla="*/ 6081771 h 6858000"/>
              <a:gd name="connsiteX56" fmla="*/ 3642057 w 7472601"/>
              <a:gd name="connsiteY56" fmla="*/ 5573487 h 6858000"/>
              <a:gd name="connsiteX57" fmla="*/ 2650666 w 7472601"/>
              <a:gd name="connsiteY57" fmla="*/ 5530686 h 6858000"/>
              <a:gd name="connsiteX58" fmla="*/ 2650249 w 7472601"/>
              <a:gd name="connsiteY58" fmla="*/ 5532101 h 6858000"/>
              <a:gd name="connsiteX59" fmla="*/ 2663808 w 7472601"/>
              <a:gd name="connsiteY59" fmla="*/ 6535215 h 6858000"/>
              <a:gd name="connsiteX60" fmla="*/ 2665418 w 7472601"/>
              <a:gd name="connsiteY60" fmla="*/ 6132756 h 6858000"/>
              <a:gd name="connsiteX61" fmla="*/ 2650666 w 7472601"/>
              <a:gd name="connsiteY61" fmla="*/ 5530686 h 6858000"/>
              <a:gd name="connsiteX62" fmla="*/ 2680277 w 7472601"/>
              <a:gd name="connsiteY62" fmla="*/ 5479204 h 6858000"/>
              <a:gd name="connsiteX63" fmla="*/ 2678972 w 7472601"/>
              <a:gd name="connsiteY63" fmla="*/ 5481582 h 6858000"/>
              <a:gd name="connsiteX64" fmla="*/ 2696666 w 7472601"/>
              <a:gd name="connsiteY64" fmla="*/ 6133836 h 6858000"/>
              <a:gd name="connsiteX65" fmla="*/ 2695769 w 7472601"/>
              <a:gd name="connsiteY65" fmla="*/ 6390955 h 6858000"/>
              <a:gd name="connsiteX66" fmla="*/ 2739893 w 7472601"/>
              <a:gd name="connsiteY66" fmla="*/ 6108357 h 6858000"/>
              <a:gd name="connsiteX67" fmla="*/ 2680277 w 7472601"/>
              <a:gd name="connsiteY67" fmla="*/ 5479204 h 6858000"/>
              <a:gd name="connsiteX68" fmla="*/ 1132195 w 7472601"/>
              <a:gd name="connsiteY68" fmla="*/ 5467980 h 6858000"/>
              <a:gd name="connsiteX69" fmla="*/ 1679056 w 7472601"/>
              <a:gd name="connsiteY69" fmla="*/ 5516907 h 6858000"/>
              <a:gd name="connsiteX70" fmla="*/ 2128648 w 7472601"/>
              <a:gd name="connsiteY70" fmla="*/ 5474249 h 6858000"/>
              <a:gd name="connsiteX71" fmla="*/ 1825619 w 7472601"/>
              <a:gd name="connsiteY71" fmla="*/ 5478447 h 6858000"/>
              <a:gd name="connsiteX72" fmla="*/ 1737798 w 7472601"/>
              <a:gd name="connsiteY72" fmla="*/ 5483353 h 6858000"/>
              <a:gd name="connsiteX73" fmla="*/ 1132195 w 7472601"/>
              <a:gd name="connsiteY73" fmla="*/ 5467980 h 6858000"/>
              <a:gd name="connsiteX74" fmla="*/ 7454976 w 7472601"/>
              <a:gd name="connsiteY74" fmla="*/ 6318297 h 6858000"/>
              <a:gd name="connsiteX75" fmla="*/ 7467600 w 7472601"/>
              <a:gd name="connsiteY75" fmla="*/ 6012219 h 6858000"/>
              <a:gd name="connsiteX76" fmla="*/ 7356878 w 7472601"/>
              <a:gd name="connsiteY76" fmla="*/ 5981332 h 6858000"/>
              <a:gd name="connsiteX77" fmla="*/ 7467600 w 7472601"/>
              <a:gd name="connsiteY77" fmla="*/ 6117703 h 6858000"/>
              <a:gd name="connsiteX78" fmla="*/ 7467600 w 7472601"/>
              <a:gd name="connsiteY78" fmla="*/ 6163634 h 6858000"/>
              <a:gd name="connsiteX79" fmla="*/ 7403637 w 7472601"/>
              <a:gd name="connsiteY79" fmla="*/ 6083957 h 6858000"/>
              <a:gd name="connsiteX80" fmla="*/ 7312589 w 7472601"/>
              <a:gd name="connsiteY80" fmla="*/ 5982309 h 6858000"/>
              <a:gd name="connsiteX81" fmla="*/ 7448321 w 7472601"/>
              <a:gd name="connsiteY81" fmla="*/ 6190991 h 6858000"/>
              <a:gd name="connsiteX82" fmla="*/ 7467600 w 7472601"/>
              <a:gd name="connsiteY82" fmla="*/ 6221686 h 6858000"/>
              <a:gd name="connsiteX83" fmla="*/ 7467600 w 7472601"/>
              <a:gd name="connsiteY83" fmla="*/ 6334256 h 6858000"/>
              <a:gd name="connsiteX84" fmla="*/ 7454976 w 7472601"/>
              <a:gd name="connsiteY84" fmla="*/ 6318297 h 6858000"/>
              <a:gd name="connsiteX85" fmla="*/ 1456157 w 7472601"/>
              <a:gd name="connsiteY85" fmla="*/ 5371404 h 6858000"/>
              <a:gd name="connsiteX86" fmla="*/ 1244432 w 7472601"/>
              <a:gd name="connsiteY86" fmla="*/ 5385601 h 6858000"/>
              <a:gd name="connsiteX87" fmla="*/ 973990 w 7472601"/>
              <a:gd name="connsiteY87" fmla="*/ 5424940 h 6858000"/>
              <a:gd name="connsiteX88" fmla="*/ 1103809 w 7472601"/>
              <a:gd name="connsiteY88" fmla="*/ 5433720 h 6858000"/>
              <a:gd name="connsiteX89" fmla="*/ 1123454 w 7472601"/>
              <a:gd name="connsiteY89" fmla="*/ 5435727 h 6858000"/>
              <a:gd name="connsiteX90" fmla="*/ 1737017 w 7472601"/>
              <a:gd name="connsiteY90" fmla="*/ 5452183 h 6858000"/>
              <a:gd name="connsiteX91" fmla="*/ 1824397 w 7472601"/>
              <a:gd name="connsiteY91" fmla="*/ 5447757 h 6858000"/>
              <a:gd name="connsiteX92" fmla="*/ 2070059 w 7472601"/>
              <a:gd name="connsiteY92" fmla="*/ 5441660 h 6858000"/>
              <a:gd name="connsiteX93" fmla="*/ 1456157 w 7472601"/>
              <a:gd name="connsiteY93" fmla="*/ 5371404 h 6858000"/>
              <a:gd name="connsiteX94" fmla="*/ 4988186 w 7472601"/>
              <a:gd name="connsiteY94" fmla="*/ 5216467 h 6858000"/>
              <a:gd name="connsiteX95" fmla="*/ 4777334 w 7472601"/>
              <a:gd name="connsiteY95" fmla="*/ 5406072 h 6858000"/>
              <a:gd name="connsiteX96" fmla="*/ 4718341 w 7472601"/>
              <a:gd name="connsiteY96" fmla="*/ 5468043 h 6858000"/>
              <a:gd name="connsiteX97" fmla="*/ 4604655 w 7472601"/>
              <a:gd name="connsiteY97" fmla="*/ 5583434 h 6858000"/>
              <a:gd name="connsiteX98" fmla="*/ 4565074 w 7472601"/>
              <a:gd name="connsiteY98" fmla="*/ 5618550 h 6858000"/>
              <a:gd name="connsiteX99" fmla="*/ 4988186 w 7472601"/>
              <a:gd name="connsiteY99" fmla="*/ 5216467 h 6858000"/>
              <a:gd name="connsiteX100" fmla="*/ 4978032 w 7472601"/>
              <a:gd name="connsiteY100" fmla="*/ 5183809 h 6858000"/>
              <a:gd name="connsiteX101" fmla="*/ 4463413 w 7472601"/>
              <a:gd name="connsiteY101" fmla="*/ 5615162 h 6858000"/>
              <a:gd name="connsiteX102" fmla="*/ 4358134 w 7472601"/>
              <a:gd name="connsiteY102" fmla="*/ 5742791 h 6858000"/>
              <a:gd name="connsiteX103" fmla="*/ 4376219 w 7472601"/>
              <a:gd name="connsiteY103" fmla="*/ 5729027 h 6858000"/>
              <a:gd name="connsiteX104" fmla="*/ 4582340 w 7472601"/>
              <a:gd name="connsiteY104" fmla="*/ 5561037 h 6858000"/>
              <a:gd name="connsiteX105" fmla="*/ 4694684 w 7472601"/>
              <a:gd name="connsiteY105" fmla="*/ 5447098 h 6858000"/>
              <a:gd name="connsiteX106" fmla="*/ 4754123 w 7472601"/>
              <a:gd name="connsiteY106" fmla="*/ 5384643 h 6858000"/>
              <a:gd name="connsiteX107" fmla="*/ 4978032 w 7472601"/>
              <a:gd name="connsiteY107" fmla="*/ 5183809 h 6858000"/>
              <a:gd name="connsiteX108" fmla="*/ 1903353 w 7472601"/>
              <a:gd name="connsiteY108" fmla="*/ 5044827 h 6858000"/>
              <a:gd name="connsiteX109" fmla="*/ 1936931 w 7472601"/>
              <a:gd name="connsiteY109" fmla="*/ 5093954 h 6858000"/>
              <a:gd name="connsiteX110" fmla="*/ 2195868 w 7472601"/>
              <a:gd name="connsiteY110" fmla="*/ 5396574 h 6858000"/>
              <a:gd name="connsiteX111" fmla="*/ 2088852 w 7472601"/>
              <a:gd name="connsiteY111" fmla="*/ 5166123 h 6858000"/>
              <a:gd name="connsiteX112" fmla="*/ 1958241 w 7472601"/>
              <a:gd name="connsiteY112" fmla="*/ 5067955 h 6858000"/>
              <a:gd name="connsiteX113" fmla="*/ 1903353 w 7472601"/>
              <a:gd name="connsiteY113" fmla="*/ 5044827 h 6858000"/>
              <a:gd name="connsiteX114" fmla="*/ 1979378 w 7472601"/>
              <a:gd name="connsiteY114" fmla="*/ 4769504 h 6858000"/>
              <a:gd name="connsiteX115" fmla="*/ 2882120 w 7472601"/>
              <a:gd name="connsiteY115" fmla="*/ 5064547 h 6858000"/>
              <a:gd name="connsiteX116" fmla="*/ 2793103 w 7472601"/>
              <a:gd name="connsiteY116" fmla="*/ 5039699 h 6858000"/>
              <a:gd name="connsiteX117" fmla="*/ 2770041 w 7472601"/>
              <a:gd name="connsiteY117" fmla="*/ 5033634 h 6858000"/>
              <a:gd name="connsiteX118" fmla="*/ 1979378 w 7472601"/>
              <a:gd name="connsiteY118" fmla="*/ 4769504 h 6858000"/>
              <a:gd name="connsiteX119" fmla="*/ 1927410 w 7472601"/>
              <a:gd name="connsiteY119" fmla="*/ 4716164 h 6858000"/>
              <a:gd name="connsiteX120" fmla="*/ 1959587 w 7472601"/>
              <a:gd name="connsiteY120" fmla="*/ 4728849 h 6858000"/>
              <a:gd name="connsiteX121" fmla="*/ 2777707 w 7472601"/>
              <a:gd name="connsiteY121" fmla="*/ 5003991 h 6858000"/>
              <a:gd name="connsiteX122" fmla="*/ 2800768 w 7472601"/>
              <a:gd name="connsiteY122" fmla="*/ 5010056 h 6858000"/>
              <a:gd name="connsiteX123" fmla="*/ 2879408 w 7472601"/>
              <a:gd name="connsiteY123" fmla="*/ 5031590 h 6858000"/>
              <a:gd name="connsiteX124" fmla="*/ 2862295 w 7472601"/>
              <a:gd name="connsiteY124" fmla="*/ 5022958 h 6858000"/>
              <a:gd name="connsiteX125" fmla="*/ 2813343 w 7472601"/>
              <a:gd name="connsiteY125" fmla="*/ 4998369 h 6858000"/>
              <a:gd name="connsiteX126" fmla="*/ 2646245 w 7472601"/>
              <a:gd name="connsiteY126" fmla="*/ 4930999 h 6858000"/>
              <a:gd name="connsiteX127" fmla="*/ 1999243 w 7472601"/>
              <a:gd name="connsiteY127" fmla="*/ 4730524 h 6858000"/>
              <a:gd name="connsiteX128" fmla="*/ 1979527 w 7472601"/>
              <a:gd name="connsiteY128" fmla="*/ 4726651 h 6858000"/>
              <a:gd name="connsiteX129" fmla="*/ 1927410 w 7472601"/>
              <a:gd name="connsiteY129" fmla="*/ 4716164 h 6858000"/>
              <a:gd name="connsiteX130" fmla="*/ 1997014 w 7472601"/>
              <a:gd name="connsiteY130" fmla="*/ 4698007 h 6858000"/>
              <a:gd name="connsiteX131" fmla="*/ 2005458 w 7472601"/>
              <a:gd name="connsiteY131" fmla="*/ 4699540 h 6858000"/>
              <a:gd name="connsiteX132" fmla="*/ 2657186 w 7472601"/>
              <a:gd name="connsiteY132" fmla="*/ 4901687 h 6858000"/>
              <a:gd name="connsiteX133" fmla="*/ 2826662 w 7472601"/>
              <a:gd name="connsiteY133" fmla="*/ 4970362 h 6858000"/>
              <a:gd name="connsiteX134" fmla="*/ 2876100 w 7472601"/>
              <a:gd name="connsiteY134" fmla="*/ 4995397 h 6858000"/>
              <a:gd name="connsiteX135" fmla="*/ 3042600 w 7472601"/>
              <a:gd name="connsiteY135" fmla="*/ 5059532 h 6858000"/>
              <a:gd name="connsiteX136" fmla="*/ 1997014 w 7472601"/>
              <a:gd name="connsiteY136" fmla="*/ 4698007 h 6858000"/>
              <a:gd name="connsiteX137" fmla="*/ 2305292 w 7472601"/>
              <a:gd name="connsiteY137" fmla="*/ 4219492 h 6858000"/>
              <a:gd name="connsiteX138" fmla="*/ 3360922 w 7472601"/>
              <a:gd name="connsiteY138" fmla="*/ 4529373 h 6858000"/>
              <a:gd name="connsiteX139" fmla="*/ 3492420 w 7472601"/>
              <a:gd name="connsiteY139" fmla="*/ 4510145 h 6858000"/>
              <a:gd name="connsiteX140" fmla="*/ 3364086 w 7472601"/>
              <a:gd name="connsiteY140" fmla="*/ 4480340 h 6858000"/>
              <a:gd name="connsiteX141" fmla="*/ 3225818 w 7472601"/>
              <a:gd name="connsiteY141" fmla="*/ 4411822 h 6858000"/>
              <a:gd name="connsiteX142" fmla="*/ 3129696 w 7472601"/>
              <a:gd name="connsiteY142" fmla="*/ 4360704 h 6858000"/>
              <a:gd name="connsiteX143" fmla="*/ 2814545 w 7472601"/>
              <a:gd name="connsiteY143" fmla="*/ 4282955 h 6858000"/>
              <a:gd name="connsiteX144" fmla="*/ 2305292 w 7472601"/>
              <a:gd name="connsiteY144" fmla="*/ 4219492 h 6858000"/>
              <a:gd name="connsiteX145" fmla="*/ 2626982 w 7472601"/>
              <a:gd name="connsiteY145" fmla="*/ 4206450 h 6858000"/>
              <a:gd name="connsiteX146" fmla="*/ 2490617 w 7472601"/>
              <a:gd name="connsiteY146" fmla="*/ 4206951 h 6858000"/>
              <a:gd name="connsiteX147" fmla="*/ 2819869 w 7472601"/>
              <a:gd name="connsiteY147" fmla="*/ 4252936 h 6858000"/>
              <a:gd name="connsiteX148" fmla="*/ 3143018 w 7472601"/>
              <a:gd name="connsiteY148" fmla="*/ 4332698 h 6858000"/>
              <a:gd name="connsiteX149" fmla="*/ 3241520 w 7472601"/>
              <a:gd name="connsiteY149" fmla="*/ 4385112 h 6858000"/>
              <a:gd name="connsiteX150" fmla="*/ 3374575 w 7472601"/>
              <a:gd name="connsiteY150" fmla="*/ 4451517 h 6858000"/>
              <a:gd name="connsiteX151" fmla="*/ 3505221 w 7472601"/>
              <a:gd name="connsiteY151" fmla="*/ 4480757 h 6858000"/>
              <a:gd name="connsiteX152" fmla="*/ 2626982 w 7472601"/>
              <a:gd name="connsiteY152" fmla="*/ 4206450 h 6858000"/>
              <a:gd name="connsiteX153" fmla="*/ 1310106 w 7472601"/>
              <a:gd name="connsiteY153" fmla="*/ 3943217 h 6858000"/>
              <a:gd name="connsiteX154" fmla="*/ 854994 w 7472601"/>
              <a:gd name="connsiteY154" fmla="*/ 4399136 h 6858000"/>
              <a:gd name="connsiteX155" fmla="*/ 742462 w 7472601"/>
              <a:gd name="connsiteY155" fmla="*/ 4594648 h 6858000"/>
              <a:gd name="connsiteX156" fmla="*/ 820602 w 7472601"/>
              <a:gd name="connsiteY156" fmla="*/ 4485915 h 6858000"/>
              <a:gd name="connsiteX157" fmla="*/ 878295 w 7472601"/>
              <a:gd name="connsiteY157" fmla="*/ 4403594 h 6858000"/>
              <a:gd name="connsiteX158" fmla="*/ 1240607 w 7472601"/>
              <a:gd name="connsiteY158" fmla="*/ 4010401 h 6858000"/>
              <a:gd name="connsiteX159" fmla="*/ 1310106 w 7472601"/>
              <a:gd name="connsiteY159" fmla="*/ 3943217 h 6858000"/>
              <a:gd name="connsiteX160" fmla="*/ 1423113 w 7472601"/>
              <a:gd name="connsiteY160" fmla="*/ 3874565 h 6858000"/>
              <a:gd name="connsiteX161" fmla="*/ 1260565 w 7472601"/>
              <a:gd name="connsiteY161" fmla="*/ 4031982 h 6858000"/>
              <a:gd name="connsiteX162" fmla="*/ 901900 w 7472601"/>
              <a:gd name="connsiteY162" fmla="*/ 4421236 h 6858000"/>
              <a:gd name="connsiteX163" fmla="*/ 845044 w 7472601"/>
              <a:gd name="connsiteY163" fmla="*/ 4502436 h 6858000"/>
              <a:gd name="connsiteX164" fmla="*/ 685926 w 7472601"/>
              <a:gd name="connsiteY164" fmla="*/ 4703069 h 6858000"/>
              <a:gd name="connsiteX165" fmla="*/ 684248 w 7472601"/>
              <a:gd name="connsiteY165" fmla="*/ 4706721 h 6858000"/>
              <a:gd name="connsiteX166" fmla="*/ 1423113 w 7472601"/>
              <a:gd name="connsiteY166" fmla="*/ 3874565 h 6858000"/>
              <a:gd name="connsiteX167" fmla="*/ 3316479 w 7472601"/>
              <a:gd name="connsiteY167" fmla="*/ 3872136 h 6858000"/>
              <a:gd name="connsiteX168" fmla="*/ 3546806 w 7472601"/>
              <a:gd name="connsiteY168" fmla="*/ 4356139 h 6858000"/>
              <a:gd name="connsiteX169" fmla="*/ 3364433 w 7472601"/>
              <a:gd name="connsiteY169" fmla="*/ 3953121 h 6858000"/>
              <a:gd name="connsiteX170" fmla="*/ 3316479 w 7472601"/>
              <a:gd name="connsiteY170" fmla="*/ 3872136 h 6858000"/>
              <a:gd name="connsiteX171" fmla="*/ 3291335 w 7472601"/>
              <a:gd name="connsiteY171" fmla="*/ 3767420 h 6858000"/>
              <a:gd name="connsiteX172" fmla="*/ 3390805 w 7472601"/>
              <a:gd name="connsiteY172" fmla="*/ 3937163 h 6858000"/>
              <a:gd name="connsiteX173" fmla="*/ 3579062 w 7472601"/>
              <a:gd name="connsiteY173" fmla="*/ 4359040 h 6858000"/>
              <a:gd name="connsiteX174" fmla="*/ 3467355 w 7472601"/>
              <a:gd name="connsiteY174" fmla="*/ 3988130 h 6858000"/>
              <a:gd name="connsiteX175" fmla="*/ 3310753 w 7472601"/>
              <a:gd name="connsiteY175" fmla="*/ 3787140 h 6858000"/>
              <a:gd name="connsiteX176" fmla="*/ 3291335 w 7472601"/>
              <a:gd name="connsiteY176" fmla="*/ 3767420 h 6858000"/>
              <a:gd name="connsiteX177" fmla="*/ 1635889 w 7472601"/>
              <a:gd name="connsiteY177" fmla="*/ 3709494 h 6858000"/>
              <a:gd name="connsiteX178" fmla="*/ 1634800 w 7472601"/>
              <a:gd name="connsiteY178" fmla="*/ 3731111 h 6858000"/>
              <a:gd name="connsiteX179" fmla="*/ 1635889 w 7472601"/>
              <a:gd name="connsiteY179" fmla="*/ 3709494 h 6858000"/>
              <a:gd name="connsiteX180" fmla="*/ 1510397 w 7472601"/>
              <a:gd name="connsiteY180" fmla="*/ 3684705 h 6858000"/>
              <a:gd name="connsiteX181" fmla="*/ 1146550 w 7472601"/>
              <a:gd name="connsiteY181" fmla="*/ 3802012 h 6858000"/>
              <a:gd name="connsiteX182" fmla="*/ 698834 w 7472601"/>
              <a:gd name="connsiteY182" fmla="*/ 3952272 h 6858000"/>
              <a:gd name="connsiteX183" fmla="*/ 34256 w 7472601"/>
              <a:gd name="connsiteY183" fmla="*/ 4347603 h 6858000"/>
              <a:gd name="connsiteX184" fmla="*/ 527241 w 7472601"/>
              <a:gd name="connsiteY184" fmla="*/ 4065078 h 6858000"/>
              <a:gd name="connsiteX185" fmla="*/ 1510397 w 7472601"/>
              <a:gd name="connsiteY185" fmla="*/ 3684705 h 6858000"/>
              <a:gd name="connsiteX186" fmla="*/ 1313114 w 7472601"/>
              <a:gd name="connsiteY186" fmla="*/ 3655216 h 6858000"/>
              <a:gd name="connsiteX187" fmla="*/ 1109304 w 7472601"/>
              <a:gd name="connsiteY187" fmla="*/ 3669030 h 6858000"/>
              <a:gd name="connsiteX188" fmla="*/ 8129 w 7472601"/>
              <a:gd name="connsiteY188" fmla="*/ 4330519 h 6858000"/>
              <a:gd name="connsiteX189" fmla="*/ 687572 w 7472601"/>
              <a:gd name="connsiteY189" fmla="*/ 3925629 h 6858000"/>
              <a:gd name="connsiteX190" fmla="*/ 1138365 w 7472601"/>
              <a:gd name="connsiteY190" fmla="*/ 3774515 h 6858000"/>
              <a:gd name="connsiteX191" fmla="*/ 1505579 w 7472601"/>
              <a:gd name="connsiteY191" fmla="*/ 3655526 h 6858000"/>
              <a:gd name="connsiteX192" fmla="*/ 1313114 w 7472601"/>
              <a:gd name="connsiteY192" fmla="*/ 3655216 h 6858000"/>
              <a:gd name="connsiteX193" fmla="*/ 3655073 w 7472601"/>
              <a:gd name="connsiteY193" fmla="*/ 3650884 h 6858000"/>
              <a:gd name="connsiteX194" fmla="*/ 3989938 w 7472601"/>
              <a:gd name="connsiteY194" fmla="*/ 3991685 h 6858000"/>
              <a:gd name="connsiteX195" fmla="*/ 4393907 w 7472601"/>
              <a:gd name="connsiteY195" fmla="*/ 4261258 h 6858000"/>
              <a:gd name="connsiteX196" fmla="*/ 4648051 w 7472601"/>
              <a:gd name="connsiteY196" fmla="*/ 4374051 h 6858000"/>
              <a:gd name="connsiteX197" fmla="*/ 4383389 w 7472601"/>
              <a:gd name="connsiteY197" fmla="*/ 4184369 h 6858000"/>
              <a:gd name="connsiteX198" fmla="*/ 4165508 w 7472601"/>
              <a:gd name="connsiteY198" fmla="*/ 4035196 h 6858000"/>
              <a:gd name="connsiteX199" fmla="*/ 4068162 w 7472601"/>
              <a:gd name="connsiteY199" fmla="*/ 3953394 h 6858000"/>
              <a:gd name="connsiteX200" fmla="*/ 3981416 w 7472601"/>
              <a:gd name="connsiteY200" fmla="*/ 3880482 h 6858000"/>
              <a:gd name="connsiteX201" fmla="*/ 3800147 w 7472601"/>
              <a:gd name="connsiteY201" fmla="*/ 3749872 h 6858000"/>
              <a:gd name="connsiteX202" fmla="*/ 3655073 w 7472601"/>
              <a:gd name="connsiteY202" fmla="*/ 3650884 h 6858000"/>
              <a:gd name="connsiteX203" fmla="*/ 3670252 w 7472601"/>
              <a:gd name="connsiteY203" fmla="*/ 3622798 h 6858000"/>
              <a:gd name="connsiteX204" fmla="*/ 3817258 w 7472601"/>
              <a:gd name="connsiteY204" fmla="*/ 3723577 h 6858000"/>
              <a:gd name="connsiteX205" fmla="*/ 4000461 w 7472601"/>
              <a:gd name="connsiteY205" fmla="*/ 3855966 h 6858000"/>
              <a:gd name="connsiteX206" fmla="*/ 4088180 w 7472601"/>
              <a:gd name="connsiteY206" fmla="*/ 3929774 h 6858000"/>
              <a:gd name="connsiteX207" fmla="*/ 4184555 w 7472601"/>
              <a:gd name="connsiteY207" fmla="*/ 4010683 h 6858000"/>
              <a:gd name="connsiteX208" fmla="*/ 4399563 w 7472601"/>
              <a:gd name="connsiteY208" fmla="*/ 4158106 h 6858000"/>
              <a:gd name="connsiteX209" fmla="*/ 4684469 w 7472601"/>
              <a:gd name="connsiteY209" fmla="*/ 4364680 h 6858000"/>
              <a:gd name="connsiteX210" fmla="*/ 4690271 w 7472601"/>
              <a:gd name="connsiteY210" fmla="*/ 4370034 h 6858000"/>
              <a:gd name="connsiteX211" fmla="*/ 4136093 w 7472601"/>
              <a:gd name="connsiteY211" fmla="*/ 3858466 h 6858000"/>
              <a:gd name="connsiteX212" fmla="*/ 3670252 w 7472601"/>
              <a:gd name="connsiteY212" fmla="*/ 3622798 h 6858000"/>
              <a:gd name="connsiteX213" fmla="*/ 4440129 w 7472601"/>
              <a:gd name="connsiteY213" fmla="*/ 3448571 h 6858000"/>
              <a:gd name="connsiteX214" fmla="*/ 4856525 w 7472601"/>
              <a:gd name="connsiteY214" fmla="*/ 3915351 h 6858000"/>
              <a:gd name="connsiteX215" fmla="*/ 5059055 w 7472601"/>
              <a:gd name="connsiteY215" fmla="*/ 4108918 h 6858000"/>
              <a:gd name="connsiteX216" fmla="*/ 5290070 w 7472601"/>
              <a:gd name="connsiteY216" fmla="*/ 4263619 h 6858000"/>
              <a:gd name="connsiteX217" fmla="*/ 4834991 w 7472601"/>
              <a:gd name="connsiteY217" fmla="*/ 3830985 h 6858000"/>
              <a:gd name="connsiteX218" fmla="*/ 4440129 w 7472601"/>
              <a:gd name="connsiteY218" fmla="*/ 3448571 h 6858000"/>
              <a:gd name="connsiteX219" fmla="*/ 4441737 w 7472601"/>
              <a:gd name="connsiteY219" fmla="*/ 3399734 h 6858000"/>
              <a:gd name="connsiteX220" fmla="*/ 4431236 w 7472601"/>
              <a:gd name="connsiteY220" fmla="*/ 3400954 h 6858000"/>
              <a:gd name="connsiteX221" fmla="*/ 4557150 w 7472601"/>
              <a:gd name="connsiteY221" fmla="*/ 3510023 h 6858000"/>
              <a:gd name="connsiteX222" fmla="*/ 4856936 w 7472601"/>
              <a:gd name="connsiteY222" fmla="*/ 3809146 h 6858000"/>
              <a:gd name="connsiteX223" fmla="*/ 5111996 w 7472601"/>
              <a:gd name="connsiteY223" fmla="*/ 4065759 h 6858000"/>
              <a:gd name="connsiteX224" fmla="*/ 5388878 w 7472601"/>
              <a:gd name="connsiteY224" fmla="*/ 4300185 h 6858000"/>
              <a:gd name="connsiteX225" fmla="*/ 5425556 w 7472601"/>
              <a:gd name="connsiteY225" fmla="*/ 4308967 h 6858000"/>
              <a:gd name="connsiteX226" fmla="*/ 4943646 w 7472601"/>
              <a:gd name="connsiteY226" fmla="*/ 3822916 h 6858000"/>
              <a:gd name="connsiteX227" fmla="*/ 4594837 w 7472601"/>
              <a:gd name="connsiteY227" fmla="*/ 3532274 h 6858000"/>
              <a:gd name="connsiteX228" fmla="*/ 4441737 w 7472601"/>
              <a:gd name="connsiteY228" fmla="*/ 3399734 h 6858000"/>
              <a:gd name="connsiteX229" fmla="*/ 5425834 w 7472601"/>
              <a:gd name="connsiteY229" fmla="*/ 3162785 h 6858000"/>
              <a:gd name="connsiteX230" fmla="*/ 5401644 w 7472601"/>
              <a:gd name="connsiteY230" fmla="*/ 3617847 h 6858000"/>
              <a:gd name="connsiteX231" fmla="*/ 5467256 w 7472601"/>
              <a:gd name="connsiteY231" fmla="*/ 4175494 h 6858000"/>
              <a:gd name="connsiteX232" fmla="*/ 5448069 w 7472601"/>
              <a:gd name="connsiteY232" fmla="*/ 3567554 h 6858000"/>
              <a:gd name="connsiteX233" fmla="*/ 5425834 w 7472601"/>
              <a:gd name="connsiteY233" fmla="*/ 3162785 h 6858000"/>
              <a:gd name="connsiteX234" fmla="*/ 1318687 w 7472601"/>
              <a:gd name="connsiteY234" fmla="*/ 3113840 h 6858000"/>
              <a:gd name="connsiteX235" fmla="*/ 1066793 w 7472601"/>
              <a:gd name="connsiteY235" fmla="*/ 3212171 h 6858000"/>
              <a:gd name="connsiteX236" fmla="*/ 993319 w 7472601"/>
              <a:gd name="connsiteY236" fmla="*/ 3247648 h 6858000"/>
              <a:gd name="connsiteX237" fmla="*/ 853081 w 7472601"/>
              <a:gd name="connsiteY237" fmla="*/ 3312410 h 6858000"/>
              <a:gd name="connsiteX238" fmla="*/ 805957 w 7472601"/>
              <a:gd name="connsiteY238" fmla="*/ 3330443 h 6858000"/>
              <a:gd name="connsiteX239" fmla="*/ 1318687 w 7472601"/>
              <a:gd name="connsiteY239" fmla="*/ 3113840 h 6858000"/>
              <a:gd name="connsiteX240" fmla="*/ 5453702 w 7472601"/>
              <a:gd name="connsiteY240" fmla="*/ 3090882 h 6858000"/>
              <a:gd name="connsiteX241" fmla="*/ 5480135 w 7472601"/>
              <a:gd name="connsiteY241" fmla="*/ 3565802 h 6858000"/>
              <a:gd name="connsiteX242" fmla="*/ 5499023 w 7472601"/>
              <a:gd name="connsiteY242" fmla="*/ 4166310 h 6858000"/>
              <a:gd name="connsiteX243" fmla="*/ 5547022 w 7472601"/>
              <a:gd name="connsiteY243" fmla="*/ 3607838 h 6858000"/>
              <a:gd name="connsiteX244" fmla="*/ 5515964 w 7472601"/>
              <a:gd name="connsiteY244" fmla="*/ 3378541 h 6858000"/>
              <a:gd name="connsiteX245" fmla="*/ 5453702 w 7472601"/>
              <a:gd name="connsiteY245" fmla="*/ 3090882 h 6858000"/>
              <a:gd name="connsiteX246" fmla="*/ 1238695 w 7472601"/>
              <a:gd name="connsiteY246" fmla="*/ 3076820 h 6858000"/>
              <a:gd name="connsiteX247" fmla="*/ 716371 w 7472601"/>
              <a:gd name="connsiteY247" fmla="*/ 3293249 h 6858000"/>
              <a:gd name="connsiteX248" fmla="*/ 579522 w 7472601"/>
              <a:gd name="connsiteY248" fmla="*/ 3371759 h 6858000"/>
              <a:gd name="connsiteX249" fmla="*/ 600288 w 7472601"/>
              <a:gd name="connsiteY249" fmla="*/ 3365555 h 6858000"/>
              <a:gd name="connsiteX250" fmla="*/ 840692 w 7472601"/>
              <a:gd name="connsiteY250" fmla="*/ 3284921 h 6858000"/>
              <a:gd name="connsiteX251" fmla="*/ 979248 w 7472601"/>
              <a:gd name="connsiteY251" fmla="*/ 3221003 h 6858000"/>
              <a:gd name="connsiteX252" fmla="*/ 1053282 w 7472601"/>
              <a:gd name="connsiteY252" fmla="*/ 3185247 h 6858000"/>
              <a:gd name="connsiteX253" fmla="*/ 1320603 w 7472601"/>
              <a:gd name="connsiteY253" fmla="*/ 3081281 h 6858000"/>
              <a:gd name="connsiteX254" fmla="*/ 1238695 w 7472601"/>
              <a:gd name="connsiteY254" fmla="*/ 3076820 h 6858000"/>
              <a:gd name="connsiteX255" fmla="*/ 5425627 w 7472601"/>
              <a:gd name="connsiteY255" fmla="*/ 2954192 h 6858000"/>
              <a:gd name="connsiteX256" fmla="*/ 5470770 w 7472601"/>
              <a:gd name="connsiteY256" fmla="*/ 3005435 h 6858000"/>
              <a:gd name="connsiteX257" fmla="*/ 5519779 w 7472601"/>
              <a:gd name="connsiteY257" fmla="*/ 4359223 h 6858000"/>
              <a:gd name="connsiteX258" fmla="*/ 5520293 w 7472601"/>
              <a:gd name="connsiteY258" fmla="*/ 4360602 h 6858000"/>
              <a:gd name="connsiteX259" fmla="*/ 5767221 w 7472601"/>
              <a:gd name="connsiteY259" fmla="*/ 4665564 h 6858000"/>
              <a:gd name="connsiteX260" fmla="*/ 6937169 w 7472601"/>
              <a:gd name="connsiteY260" fmla="*/ 4815941 h 6858000"/>
              <a:gd name="connsiteX261" fmla="*/ 6953922 w 7472601"/>
              <a:gd name="connsiteY261" fmla="*/ 4890068 h 6858000"/>
              <a:gd name="connsiteX262" fmla="*/ 6071359 w 7472601"/>
              <a:gd name="connsiteY262" fmla="*/ 4770770 h 6858000"/>
              <a:gd name="connsiteX263" fmla="*/ 6038839 w 7472601"/>
              <a:gd name="connsiteY263" fmla="*/ 4764474 h 6858000"/>
              <a:gd name="connsiteX264" fmla="*/ 6038706 w 7472601"/>
              <a:gd name="connsiteY264" fmla="*/ 4763847 h 6858000"/>
              <a:gd name="connsiteX265" fmla="*/ 6037784 w 7472601"/>
              <a:gd name="connsiteY265" fmla="*/ 4764270 h 6858000"/>
              <a:gd name="connsiteX266" fmla="*/ 6038839 w 7472601"/>
              <a:gd name="connsiteY266" fmla="*/ 4764474 h 6858000"/>
              <a:gd name="connsiteX267" fmla="*/ 6040338 w 7472601"/>
              <a:gd name="connsiteY267" fmla="*/ 4771418 h 6858000"/>
              <a:gd name="connsiteX268" fmla="*/ 6024488 w 7472601"/>
              <a:gd name="connsiteY268" fmla="*/ 4809903 h 6858000"/>
              <a:gd name="connsiteX269" fmla="*/ 5599771 w 7472601"/>
              <a:gd name="connsiteY269" fmla="*/ 5509652 h 6858000"/>
              <a:gd name="connsiteX270" fmla="*/ 5548843 w 7472601"/>
              <a:gd name="connsiteY270" fmla="*/ 5563845 h 6858000"/>
              <a:gd name="connsiteX271" fmla="*/ 5940952 w 7472601"/>
              <a:gd name="connsiteY271" fmla="*/ 6250028 h 6858000"/>
              <a:gd name="connsiteX272" fmla="*/ 6043441 w 7472601"/>
              <a:gd name="connsiteY272" fmla="*/ 6665847 h 6858000"/>
              <a:gd name="connsiteX273" fmla="*/ 6093432 w 7472601"/>
              <a:gd name="connsiteY273" fmla="*/ 6858000 h 6858000"/>
              <a:gd name="connsiteX274" fmla="*/ 6034344 w 7472601"/>
              <a:gd name="connsiteY274" fmla="*/ 6858000 h 6858000"/>
              <a:gd name="connsiteX275" fmla="*/ 6026679 w 7472601"/>
              <a:gd name="connsiteY275" fmla="*/ 6836959 h 6858000"/>
              <a:gd name="connsiteX276" fmla="*/ 5800441 w 7472601"/>
              <a:gd name="connsiteY276" fmla="*/ 6335286 h 6858000"/>
              <a:gd name="connsiteX277" fmla="*/ 5526562 w 7472601"/>
              <a:gd name="connsiteY277" fmla="*/ 5705388 h 6858000"/>
              <a:gd name="connsiteX278" fmla="*/ 5519640 w 7472601"/>
              <a:gd name="connsiteY278" fmla="*/ 5683774 h 6858000"/>
              <a:gd name="connsiteX279" fmla="*/ 5844559 w 7472601"/>
              <a:gd name="connsiteY279" fmla="*/ 6553349 h 6858000"/>
              <a:gd name="connsiteX280" fmla="*/ 5975994 w 7472601"/>
              <a:gd name="connsiteY280" fmla="*/ 6858000 h 6858000"/>
              <a:gd name="connsiteX281" fmla="*/ 5898547 w 7472601"/>
              <a:gd name="connsiteY281" fmla="*/ 6858000 h 6858000"/>
              <a:gd name="connsiteX282" fmla="*/ 5682041 w 7472601"/>
              <a:gd name="connsiteY282" fmla="*/ 6355860 h 6858000"/>
              <a:gd name="connsiteX283" fmla="*/ 5461758 w 7472601"/>
              <a:gd name="connsiteY283" fmla="*/ 5820220 h 6858000"/>
              <a:gd name="connsiteX284" fmla="*/ 5237282 w 7472601"/>
              <a:gd name="connsiteY284" fmla="*/ 6579086 h 6858000"/>
              <a:gd name="connsiteX285" fmla="*/ 5115009 w 7472601"/>
              <a:gd name="connsiteY285" fmla="*/ 6858000 h 6858000"/>
              <a:gd name="connsiteX286" fmla="*/ 5028074 w 7472601"/>
              <a:gd name="connsiteY286" fmla="*/ 6858000 h 6858000"/>
              <a:gd name="connsiteX287" fmla="*/ 5079508 w 7472601"/>
              <a:gd name="connsiteY287" fmla="*/ 6749074 h 6858000"/>
              <a:gd name="connsiteX288" fmla="*/ 5371846 w 7472601"/>
              <a:gd name="connsiteY288" fmla="*/ 5924413 h 6858000"/>
              <a:gd name="connsiteX289" fmla="*/ 5270512 w 7472601"/>
              <a:gd name="connsiteY289" fmla="*/ 6138975 h 6858000"/>
              <a:gd name="connsiteX290" fmla="*/ 5062409 w 7472601"/>
              <a:gd name="connsiteY290" fmla="*/ 6653544 h 6858000"/>
              <a:gd name="connsiteX291" fmla="*/ 5036628 w 7472601"/>
              <a:gd name="connsiteY291" fmla="*/ 6754247 h 6858000"/>
              <a:gd name="connsiteX292" fmla="*/ 5009112 w 7472601"/>
              <a:gd name="connsiteY292" fmla="*/ 6858000 h 6858000"/>
              <a:gd name="connsiteX293" fmla="*/ 4976679 w 7472601"/>
              <a:gd name="connsiteY293" fmla="*/ 6858000 h 6858000"/>
              <a:gd name="connsiteX294" fmla="*/ 5006537 w 7472601"/>
              <a:gd name="connsiteY294" fmla="*/ 6747068 h 6858000"/>
              <a:gd name="connsiteX295" fmla="*/ 5032723 w 7472601"/>
              <a:gd name="connsiteY295" fmla="*/ 6644957 h 6858000"/>
              <a:gd name="connsiteX296" fmla="*/ 5242949 w 7472601"/>
              <a:gd name="connsiteY296" fmla="*/ 6125175 h 6858000"/>
              <a:gd name="connsiteX297" fmla="*/ 5286321 w 7472601"/>
              <a:gd name="connsiteY297" fmla="*/ 6033555 h 6858000"/>
              <a:gd name="connsiteX298" fmla="*/ 5008210 w 7472601"/>
              <a:gd name="connsiteY298" fmla="*/ 6649194 h 6858000"/>
              <a:gd name="connsiteX299" fmla="*/ 4986321 w 7472601"/>
              <a:gd name="connsiteY299" fmla="*/ 6765687 h 6858000"/>
              <a:gd name="connsiteX300" fmla="*/ 4973474 w 7472601"/>
              <a:gd name="connsiteY300" fmla="*/ 6858000 h 6858000"/>
              <a:gd name="connsiteX301" fmla="*/ 4907178 w 7472601"/>
              <a:gd name="connsiteY301" fmla="*/ 6858000 h 6858000"/>
              <a:gd name="connsiteX302" fmla="*/ 4910810 w 7472601"/>
              <a:gd name="connsiteY302" fmla="*/ 6829660 h 6858000"/>
              <a:gd name="connsiteX303" fmla="*/ 4987461 w 7472601"/>
              <a:gd name="connsiteY303" fmla="*/ 6432994 h 6858000"/>
              <a:gd name="connsiteX304" fmla="*/ 5179262 w 7472601"/>
              <a:gd name="connsiteY304" fmla="*/ 6035044 h 6858000"/>
              <a:gd name="connsiteX305" fmla="*/ 4689678 w 7472601"/>
              <a:gd name="connsiteY305" fmla="*/ 6440241 h 6858000"/>
              <a:gd name="connsiteX306" fmla="*/ 4477543 w 7472601"/>
              <a:gd name="connsiteY306" fmla="*/ 6674836 h 6858000"/>
              <a:gd name="connsiteX307" fmla="*/ 4329957 w 7472601"/>
              <a:gd name="connsiteY307" fmla="*/ 6858000 h 6858000"/>
              <a:gd name="connsiteX308" fmla="*/ 4218595 w 7472601"/>
              <a:gd name="connsiteY308" fmla="*/ 6858000 h 6858000"/>
              <a:gd name="connsiteX309" fmla="*/ 4368888 w 7472601"/>
              <a:gd name="connsiteY309" fmla="*/ 6668412 h 6858000"/>
              <a:gd name="connsiteX310" fmla="*/ 4563091 w 7472601"/>
              <a:gd name="connsiteY310" fmla="*/ 6442508 h 6858000"/>
              <a:gd name="connsiteX311" fmla="*/ 5387324 w 7472601"/>
              <a:gd name="connsiteY311" fmla="*/ 5705830 h 6858000"/>
              <a:gd name="connsiteX312" fmla="*/ 5073620 w 7472601"/>
              <a:gd name="connsiteY312" fmla="*/ 5955437 h 6858000"/>
              <a:gd name="connsiteX313" fmla="*/ 4689789 w 7472601"/>
              <a:gd name="connsiteY313" fmla="*/ 6268382 h 6858000"/>
              <a:gd name="connsiteX314" fmla="*/ 4418722 w 7472601"/>
              <a:gd name="connsiteY314" fmla="*/ 6570886 h 6858000"/>
              <a:gd name="connsiteX315" fmla="*/ 4214944 w 7472601"/>
              <a:gd name="connsiteY315" fmla="*/ 6858000 h 6858000"/>
              <a:gd name="connsiteX316" fmla="*/ 4177898 w 7472601"/>
              <a:gd name="connsiteY316" fmla="*/ 6858000 h 6858000"/>
              <a:gd name="connsiteX317" fmla="*/ 4391597 w 7472601"/>
              <a:gd name="connsiteY317" fmla="*/ 6556370 h 6858000"/>
              <a:gd name="connsiteX318" fmla="*/ 4668889 w 7472601"/>
              <a:gd name="connsiteY318" fmla="*/ 6246399 h 6858000"/>
              <a:gd name="connsiteX319" fmla="*/ 5055427 w 7472601"/>
              <a:gd name="connsiteY319" fmla="*/ 5931476 h 6858000"/>
              <a:gd name="connsiteX320" fmla="*/ 5371814 w 7472601"/>
              <a:gd name="connsiteY320" fmla="*/ 5678975 h 6858000"/>
              <a:gd name="connsiteX321" fmla="*/ 4987918 w 7472601"/>
              <a:gd name="connsiteY321" fmla="*/ 5838701 h 6858000"/>
              <a:gd name="connsiteX322" fmla="*/ 4317146 w 7472601"/>
              <a:gd name="connsiteY322" fmla="*/ 6587716 h 6858000"/>
              <a:gd name="connsiteX323" fmla="*/ 4171627 w 7472601"/>
              <a:gd name="connsiteY323" fmla="*/ 6858000 h 6858000"/>
              <a:gd name="connsiteX324" fmla="*/ 4081585 w 7472601"/>
              <a:gd name="connsiteY324" fmla="*/ 6858000 h 6858000"/>
              <a:gd name="connsiteX325" fmla="*/ 4238603 w 7472601"/>
              <a:gd name="connsiteY325" fmla="*/ 6559341 h 6858000"/>
              <a:gd name="connsiteX326" fmla="*/ 4778333 w 7472601"/>
              <a:gd name="connsiteY326" fmla="*/ 5873626 h 6858000"/>
              <a:gd name="connsiteX327" fmla="*/ 5414185 w 7472601"/>
              <a:gd name="connsiteY327" fmla="*/ 5573882 h 6858000"/>
              <a:gd name="connsiteX328" fmla="*/ 5959648 w 7472601"/>
              <a:gd name="connsiteY328" fmla="*/ 4760797 h 6858000"/>
              <a:gd name="connsiteX329" fmla="*/ 5355019 w 7472601"/>
              <a:gd name="connsiteY329" fmla="*/ 4734672 h 6858000"/>
              <a:gd name="connsiteX330" fmla="*/ 5083565 w 7472601"/>
              <a:gd name="connsiteY330" fmla="*/ 5179121 h 6858000"/>
              <a:gd name="connsiteX331" fmla="*/ 4713577 w 7472601"/>
              <a:gd name="connsiteY331" fmla="*/ 5616803 h 6858000"/>
              <a:gd name="connsiteX332" fmla="*/ 3989559 w 7472601"/>
              <a:gd name="connsiteY332" fmla="*/ 6145945 h 6858000"/>
              <a:gd name="connsiteX333" fmla="*/ 3939824 w 7472601"/>
              <a:gd name="connsiteY333" fmla="*/ 6066900 h 6858000"/>
              <a:gd name="connsiteX334" fmla="*/ 4584537 w 7472601"/>
              <a:gd name="connsiteY334" fmla="*/ 5324826 h 6858000"/>
              <a:gd name="connsiteX335" fmla="*/ 5037105 w 7472601"/>
              <a:gd name="connsiteY335" fmla="*/ 5088765 h 6858000"/>
              <a:gd name="connsiteX336" fmla="*/ 5039930 w 7472601"/>
              <a:gd name="connsiteY336" fmla="*/ 5089585 h 6858000"/>
              <a:gd name="connsiteX337" fmla="*/ 5263764 w 7472601"/>
              <a:gd name="connsiteY337" fmla="*/ 4735525 h 6858000"/>
              <a:gd name="connsiteX338" fmla="*/ 4086300 w 7472601"/>
              <a:gd name="connsiteY338" fmla="*/ 4884599 h 6858000"/>
              <a:gd name="connsiteX339" fmla="*/ 4085485 w 7472601"/>
              <a:gd name="connsiteY339" fmla="*/ 4899070 h 6858000"/>
              <a:gd name="connsiteX340" fmla="*/ 3871915 w 7472601"/>
              <a:gd name="connsiteY340" fmla="*/ 5253645 h 6858000"/>
              <a:gd name="connsiteX341" fmla="*/ 3799374 w 7472601"/>
              <a:gd name="connsiteY341" fmla="*/ 5466127 h 6858000"/>
              <a:gd name="connsiteX342" fmla="*/ 3498850 w 7472601"/>
              <a:gd name="connsiteY342" fmla="*/ 6661888 h 6858000"/>
              <a:gd name="connsiteX343" fmla="*/ 3399216 w 7472601"/>
              <a:gd name="connsiteY343" fmla="*/ 6858000 h 6858000"/>
              <a:gd name="connsiteX344" fmla="*/ 3303688 w 7472601"/>
              <a:gd name="connsiteY344" fmla="*/ 6858000 h 6858000"/>
              <a:gd name="connsiteX345" fmla="*/ 3391774 w 7472601"/>
              <a:gd name="connsiteY345" fmla="*/ 6697181 h 6858000"/>
              <a:gd name="connsiteX346" fmla="*/ 3735540 w 7472601"/>
              <a:gd name="connsiteY346" fmla="*/ 5546923 h 6858000"/>
              <a:gd name="connsiteX347" fmla="*/ 3729438 w 7472601"/>
              <a:gd name="connsiteY347" fmla="*/ 5569058 h 6858000"/>
              <a:gd name="connsiteX348" fmla="*/ 3707782 w 7472601"/>
              <a:gd name="connsiteY348" fmla="*/ 5644908 h 6858000"/>
              <a:gd name="connsiteX349" fmla="*/ 3583827 w 7472601"/>
              <a:gd name="connsiteY349" fmla="*/ 6039215 h 6858000"/>
              <a:gd name="connsiteX350" fmla="*/ 3547861 w 7472601"/>
              <a:gd name="connsiteY350" fmla="*/ 6129609 h 6858000"/>
              <a:gd name="connsiteX351" fmla="*/ 3490905 w 7472601"/>
              <a:gd name="connsiteY351" fmla="*/ 6277660 h 6858000"/>
              <a:gd name="connsiteX352" fmla="*/ 3455859 w 7472601"/>
              <a:gd name="connsiteY352" fmla="*/ 6391301 h 6858000"/>
              <a:gd name="connsiteX353" fmla="*/ 3429112 w 7472601"/>
              <a:gd name="connsiteY353" fmla="*/ 6479469 h 6858000"/>
              <a:gd name="connsiteX354" fmla="*/ 3304862 w 7472601"/>
              <a:gd name="connsiteY354" fmla="*/ 6796476 h 6858000"/>
              <a:gd name="connsiteX355" fmla="*/ 3276071 w 7472601"/>
              <a:gd name="connsiteY355" fmla="*/ 6858000 h 6858000"/>
              <a:gd name="connsiteX356" fmla="*/ 3240805 w 7472601"/>
              <a:gd name="connsiteY356" fmla="*/ 6858000 h 6858000"/>
              <a:gd name="connsiteX357" fmla="*/ 3275917 w 7472601"/>
              <a:gd name="connsiteY357" fmla="*/ 6783192 h 6858000"/>
              <a:gd name="connsiteX358" fmla="*/ 3399358 w 7472601"/>
              <a:gd name="connsiteY358" fmla="*/ 6469011 h 6858000"/>
              <a:gd name="connsiteX359" fmla="*/ 3425650 w 7472601"/>
              <a:gd name="connsiteY359" fmla="*/ 6381333 h 6858000"/>
              <a:gd name="connsiteX360" fmla="*/ 3460661 w 7472601"/>
              <a:gd name="connsiteY360" fmla="*/ 6266763 h 6858000"/>
              <a:gd name="connsiteX361" fmla="*/ 3518021 w 7472601"/>
              <a:gd name="connsiteY361" fmla="*/ 6117298 h 6858000"/>
              <a:gd name="connsiteX362" fmla="*/ 3554035 w 7472601"/>
              <a:gd name="connsiteY362" fmla="*/ 6027832 h 6858000"/>
              <a:gd name="connsiteX363" fmla="*/ 3677174 w 7472601"/>
              <a:gd name="connsiteY363" fmla="*/ 5636351 h 6858000"/>
              <a:gd name="connsiteX364" fmla="*/ 3698819 w 7472601"/>
              <a:gd name="connsiteY364" fmla="*/ 5560503 h 6858000"/>
              <a:gd name="connsiteX365" fmla="*/ 3702094 w 7472601"/>
              <a:gd name="connsiteY365" fmla="*/ 5549194 h 6858000"/>
              <a:gd name="connsiteX366" fmla="*/ 3398355 w 7472601"/>
              <a:gd name="connsiteY366" fmla="*/ 6094603 h 6858000"/>
              <a:gd name="connsiteX367" fmla="*/ 3193941 w 7472601"/>
              <a:gd name="connsiteY367" fmla="*/ 6798775 h 6858000"/>
              <a:gd name="connsiteX368" fmla="*/ 3184140 w 7472601"/>
              <a:gd name="connsiteY368" fmla="*/ 6858000 h 6858000"/>
              <a:gd name="connsiteX369" fmla="*/ 3099978 w 7472601"/>
              <a:gd name="connsiteY369" fmla="*/ 6858000 h 6858000"/>
              <a:gd name="connsiteX370" fmla="*/ 3101556 w 7472601"/>
              <a:gd name="connsiteY370" fmla="*/ 6843337 h 6858000"/>
              <a:gd name="connsiteX371" fmla="*/ 3370162 w 7472601"/>
              <a:gd name="connsiteY371" fmla="*/ 5785550 h 6858000"/>
              <a:gd name="connsiteX372" fmla="*/ 3746477 w 7472601"/>
              <a:gd name="connsiteY372" fmla="*/ 5377889 h 6858000"/>
              <a:gd name="connsiteX373" fmla="*/ 3863399 w 7472601"/>
              <a:gd name="connsiteY373" fmla="*/ 5087257 h 6858000"/>
              <a:gd name="connsiteX374" fmla="*/ 3968712 w 7472601"/>
              <a:gd name="connsiteY374" fmla="*/ 4913989 h 6858000"/>
              <a:gd name="connsiteX375" fmla="*/ 2792390 w 7472601"/>
              <a:gd name="connsiteY375" fmla="*/ 5382974 h 6858000"/>
              <a:gd name="connsiteX376" fmla="*/ 2714982 w 7472601"/>
              <a:gd name="connsiteY376" fmla="*/ 5427051 h 6858000"/>
              <a:gd name="connsiteX377" fmla="*/ 2813361 w 7472601"/>
              <a:gd name="connsiteY377" fmla="*/ 6023912 h 6858000"/>
              <a:gd name="connsiteX378" fmla="*/ 2688430 w 7472601"/>
              <a:gd name="connsiteY378" fmla="*/ 6801564 h 6858000"/>
              <a:gd name="connsiteX379" fmla="*/ 2629626 w 7472601"/>
              <a:gd name="connsiteY379" fmla="*/ 6763394 h 6858000"/>
              <a:gd name="connsiteX380" fmla="*/ 2565328 w 7472601"/>
              <a:gd name="connsiteY380" fmla="*/ 5516399 h 6858000"/>
              <a:gd name="connsiteX381" fmla="*/ 1922999 w 7472601"/>
              <a:gd name="connsiteY381" fmla="*/ 5980343 h 6858000"/>
              <a:gd name="connsiteX382" fmla="*/ 1950261 w 7472601"/>
              <a:gd name="connsiteY382" fmla="*/ 6405858 h 6858000"/>
              <a:gd name="connsiteX383" fmla="*/ 2365554 w 7472601"/>
              <a:gd name="connsiteY383" fmla="*/ 6759107 h 6858000"/>
              <a:gd name="connsiteX384" fmla="*/ 2424142 w 7472601"/>
              <a:gd name="connsiteY384" fmla="*/ 6858000 h 6858000"/>
              <a:gd name="connsiteX385" fmla="*/ 2395994 w 7472601"/>
              <a:gd name="connsiteY385" fmla="*/ 6858000 h 6858000"/>
              <a:gd name="connsiteX386" fmla="*/ 2392863 w 7472601"/>
              <a:gd name="connsiteY386" fmla="*/ 6852964 h 6858000"/>
              <a:gd name="connsiteX387" fmla="*/ 2017589 w 7472601"/>
              <a:gd name="connsiteY387" fmla="*/ 6493982 h 6858000"/>
              <a:gd name="connsiteX388" fmla="*/ 2147336 w 7472601"/>
              <a:gd name="connsiteY388" fmla="*/ 6594052 h 6858000"/>
              <a:gd name="connsiteX389" fmla="*/ 2207047 w 7472601"/>
              <a:gd name="connsiteY389" fmla="*/ 6654540 h 6858000"/>
              <a:gd name="connsiteX390" fmla="*/ 2299106 w 7472601"/>
              <a:gd name="connsiteY390" fmla="*/ 6778931 h 6858000"/>
              <a:gd name="connsiteX391" fmla="*/ 2314430 w 7472601"/>
              <a:gd name="connsiteY391" fmla="*/ 6801144 h 6858000"/>
              <a:gd name="connsiteX392" fmla="*/ 2352406 w 7472601"/>
              <a:gd name="connsiteY392" fmla="*/ 6858000 h 6858000"/>
              <a:gd name="connsiteX393" fmla="*/ 2314492 w 7472601"/>
              <a:gd name="connsiteY393" fmla="*/ 6858000 h 6858000"/>
              <a:gd name="connsiteX394" fmla="*/ 2288095 w 7472601"/>
              <a:gd name="connsiteY394" fmla="*/ 6818030 h 6858000"/>
              <a:gd name="connsiteX395" fmla="*/ 2272768 w 7472601"/>
              <a:gd name="connsiteY395" fmla="*/ 6795822 h 6858000"/>
              <a:gd name="connsiteX396" fmla="*/ 2182715 w 7472601"/>
              <a:gd name="connsiteY396" fmla="*/ 6675071 h 6858000"/>
              <a:gd name="connsiteX397" fmla="*/ 2032061 w 7472601"/>
              <a:gd name="connsiteY397" fmla="*/ 6541380 h 6858000"/>
              <a:gd name="connsiteX398" fmla="*/ 2257220 w 7472601"/>
              <a:gd name="connsiteY398" fmla="*/ 6826257 h 6858000"/>
              <a:gd name="connsiteX399" fmla="*/ 2281324 w 7472601"/>
              <a:gd name="connsiteY399" fmla="*/ 6858000 h 6858000"/>
              <a:gd name="connsiteX400" fmla="*/ 2242860 w 7472601"/>
              <a:gd name="connsiteY400" fmla="*/ 6858000 h 6858000"/>
              <a:gd name="connsiteX401" fmla="*/ 2232818 w 7472601"/>
              <a:gd name="connsiteY401" fmla="*/ 6844926 h 6858000"/>
              <a:gd name="connsiteX402" fmla="*/ 1990172 w 7472601"/>
              <a:gd name="connsiteY402" fmla="*/ 6542121 h 6858000"/>
              <a:gd name="connsiteX403" fmla="*/ 2124090 w 7472601"/>
              <a:gd name="connsiteY403" fmla="*/ 6761017 h 6858000"/>
              <a:gd name="connsiteX404" fmla="*/ 2200380 w 7472601"/>
              <a:gd name="connsiteY404" fmla="*/ 6858000 h 6858000"/>
              <a:gd name="connsiteX405" fmla="*/ 2147507 w 7472601"/>
              <a:gd name="connsiteY405" fmla="*/ 6858000 h 6858000"/>
              <a:gd name="connsiteX406" fmla="*/ 2070668 w 7472601"/>
              <a:gd name="connsiteY406" fmla="*/ 6761520 h 6858000"/>
              <a:gd name="connsiteX407" fmla="*/ 1975142 w 7472601"/>
              <a:gd name="connsiteY407" fmla="*/ 6585570 h 6858000"/>
              <a:gd name="connsiteX408" fmla="*/ 2050035 w 7472601"/>
              <a:gd name="connsiteY408" fmla="*/ 6813345 h 6858000"/>
              <a:gd name="connsiteX409" fmla="*/ 2063025 w 7472601"/>
              <a:gd name="connsiteY409" fmla="*/ 6858000 h 6858000"/>
              <a:gd name="connsiteX410" fmla="*/ 2021675 w 7472601"/>
              <a:gd name="connsiteY410" fmla="*/ 6858000 h 6858000"/>
              <a:gd name="connsiteX411" fmla="*/ 2019308 w 7472601"/>
              <a:gd name="connsiteY411" fmla="*/ 6847118 h 6858000"/>
              <a:gd name="connsiteX412" fmla="*/ 1938835 w 7472601"/>
              <a:gd name="connsiteY412" fmla="*/ 6551160 h 6858000"/>
              <a:gd name="connsiteX413" fmla="*/ 1953230 w 7472601"/>
              <a:gd name="connsiteY413" fmla="*/ 6759699 h 6858000"/>
              <a:gd name="connsiteX414" fmla="*/ 1956763 w 7472601"/>
              <a:gd name="connsiteY414" fmla="*/ 6778191 h 6858000"/>
              <a:gd name="connsiteX415" fmla="*/ 1967925 w 7472601"/>
              <a:gd name="connsiteY415" fmla="*/ 6858000 h 6858000"/>
              <a:gd name="connsiteX416" fmla="*/ 1936622 w 7472601"/>
              <a:gd name="connsiteY416" fmla="*/ 6858000 h 6858000"/>
              <a:gd name="connsiteX417" fmla="*/ 1926261 w 7472601"/>
              <a:gd name="connsiteY417" fmla="*/ 6784064 h 6858000"/>
              <a:gd name="connsiteX418" fmla="*/ 1922724 w 7472601"/>
              <a:gd name="connsiteY418" fmla="*/ 6765577 h 6858000"/>
              <a:gd name="connsiteX419" fmla="*/ 1904650 w 7472601"/>
              <a:gd name="connsiteY419" fmla="*/ 6639616 h 6858000"/>
              <a:gd name="connsiteX420" fmla="*/ 1885273 w 7472601"/>
              <a:gd name="connsiteY420" fmla="*/ 6858000 h 6858000"/>
              <a:gd name="connsiteX421" fmla="*/ 1854363 w 7472601"/>
              <a:gd name="connsiteY421" fmla="*/ 6858000 h 6858000"/>
              <a:gd name="connsiteX422" fmla="*/ 1880391 w 7472601"/>
              <a:gd name="connsiteY422" fmla="*/ 6603796 h 6858000"/>
              <a:gd name="connsiteX423" fmla="*/ 1818273 w 7472601"/>
              <a:gd name="connsiteY423" fmla="*/ 6715729 h 6858000"/>
              <a:gd name="connsiteX424" fmla="*/ 1794691 w 7472601"/>
              <a:gd name="connsiteY424" fmla="*/ 6843239 h 6858000"/>
              <a:gd name="connsiteX425" fmla="*/ 1794914 w 7472601"/>
              <a:gd name="connsiteY425" fmla="*/ 6858000 h 6858000"/>
              <a:gd name="connsiteX426" fmla="*/ 1746128 w 7472601"/>
              <a:gd name="connsiteY426" fmla="*/ 6858000 h 6858000"/>
              <a:gd name="connsiteX427" fmla="*/ 1753934 w 7472601"/>
              <a:gd name="connsiteY427" fmla="*/ 6724796 h 6858000"/>
              <a:gd name="connsiteX428" fmla="*/ 1792053 w 7472601"/>
              <a:gd name="connsiteY428" fmla="*/ 6572396 h 6858000"/>
              <a:gd name="connsiteX429" fmla="*/ 1862248 w 7472601"/>
              <a:gd name="connsiteY429" fmla="*/ 6266397 h 6858000"/>
              <a:gd name="connsiteX430" fmla="*/ 1862250 w 7472601"/>
              <a:gd name="connsiteY430" fmla="*/ 6033531 h 6858000"/>
              <a:gd name="connsiteX431" fmla="*/ 1211999 w 7472601"/>
              <a:gd name="connsiteY431" fmla="*/ 6683610 h 6858000"/>
              <a:gd name="connsiteX432" fmla="*/ 1213266 w 7472601"/>
              <a:gd name="connsiteY432" fmla="*/ 6691947 h 6858000"/>
              <a:gd name="connsiteX433" fmla="*/ 1203370 w 7472601"/>
              <a:gd name="connsiteY433" fmla="*/ 6850676 h 6858000"/>
              <a:gd name="connsiteX434" fmla="*/ 1203671 w 7472601"/>
              <a:gd name="connsiteY434" fmla="*/ 6858000 h 6858000"/>
              <a:gd name="connsiteX435" fmla="*/ 1143180 w 7472601"/>
              <a:gd name="connsiteY435" fmla="*/ 6858000 h 6858000"/>
              <a:gd name="connsiteX436" fmla="*/ 1142176 w 7472601"/>
              <a:gd name="connsiteY436" fmla="*/ 6766045 h 6858000"/>
              <a:gd name="connsiteX437" fmla="*/ 1067484 w 7472601"/>
              <a:gd name="connsiteY437" fmla="*/ 6858000 h 6858000"/>
              <a:gd name="connsiteX438" fmla="*/ 953928 w 7472601"/>
              <a:gd name="connsiteY438" fmla="*/ 6858000 h 6858000"/>
              <a:gd name="connsiteX439" fmla="*/ 959715 w 7472601"/>
              <a:gd name="connsiteY439" fmla="*/ 6850185 h 6858000"/>
              <a:gd name="connsiteX440" fmla="*/ 1483788 w 7472601"/>
              <a:gd name="connsiteY440" fmla="*/ 6259174 h 6858000"/>
              <a:gd name="connsiteX441" fmla="*/ 1100671 w 7472601"/>
              <a:gd name="connsiteY441" fmla="*/ 6252137 h 6858000"/>
              <a:gd name="connsiteX442" fmla="*/ 1090144 w 7472601"/>
              <a:gd name="connsiteY442" fmla="*/ 6256748 h 6858000"/>
              <a:gd name="connsiteX443" fmla="*/ 1095872 w 7472601"/>
              <a:gd name="connsiteY443" fmla="*/ 6271892 h 6858000"/>
              <a:gd name="connsiteX444" fmla="*/ 262785 w 7472601"/>
              <a:gd name="connsiteY444" fmla="*/ 6845450 h 6858000"/>
              <a:gd name="connsiteX445" fmla="*/ 209968 w 7472601"/>
              <a:gd name="connsiteY445" fmla="*/ 6770713 h 6858000"/>
              <a:gd name="connsiteX446" fmla="*/ 873460 w 7472601"/>
              <a:gd name="connsiteY446" fmla="*/ 6253768 h 6858000"/>
              <a:gd name="connsiteX447" fmla="*/ 192686 w 7472601"/>
              <a:gd name="connsiteY447" fmla="*/ 5849257 h 6858000"/>
              <a:gd name="connsiteX448" fmla="*/ 4696 w 7472601"/>
              <a:gd name="connsiteY448" fmla="*/ 5697668 h 6858000"/>
              <a:gd name="connsiteX449" fmla="*/ 0 w 7472601"/>
              <a:gd name="connsiteY449" fmla="*/ 5689984 h 6858000"/>
              <a:gd name="connsiteX450" fmla="*/ 0 w 7472601"/>
              <a:gd name="connsiteY450" fmla="*/ 5513472 h 6858000"/>
              <a:gd name="connsiteX451" fmla="*/ 174101 w 7472601"/>
              <a:gd name="connsiteY451" fmla="*/ 5620277 h 6858000"/>
              <a:gd name="connsiteX452" fmla="*/ 891800 w 7472601"/>
              <a:gd name="connsiteY452" fmla="*/ 6036935 h 6858000"/>
              <a:gd name="connsiteX453" fmla="*/ 1072219 w 7472601"/>
              <a:gd name="connsiteY453" fmla="*/ 6169443 h 6858000"/>
              <a:gd name="connsiteX454" fmla="*/ 1074117 w 7472601"/>
              <a:gd name="connsiteY454" fmla="*/ 6170301 h 6858000"/>
              <a:gd name="connsiteX455" fmla="*/ 1083114 w 7472601"/>
              <a:gd name="connsiteY455" fmla="*/ 6174131 h 6858000"/>
              <a:gd name="connsiteX456" fmla="*/ 1543010 w 7472601"/>
              <a:gd name="connsiteY456" fmla="*/ 6191140 h 6858000"/>
              <a:gd name="connsiteX457" fmla="*/ 1551080 w 7472601"/>
              <a:gd name="connsiteY457" fmla="*/ 6195006 h 6858000"/>
              <a:gd name="connsiteX458" fmla="*/ 2345443 w 7472601"/>
              <a:gd name="connsiteY458" fmla="*/ 5549882 h 6858000"/>
              <a:gd name="connsiteX459" fmla="*/ 1721499 w 7472601"/>
              <a:gd name="connsiteY459" fmla="*/ 5599969 h 6858000"/>
              <a:gd name="connsiteX460" fmla="*/ 767716 w 7472601"/>
              <a:gd name="connsiteY460" fmla="*/ 5472768 h 6858000"/>
              <a:gd name="connsiteX461" fmla="*/ 722147 w 7472601"/>
              <a:gd name="connsiteY461" fmla="*/ 5393091 h 6858000"/>
              <a:gd name="connsiteX462" fmla="*/ 1485552 w 7472601"/>
              <a:gd name="connsiteY462" fmla="*/ 5313202 h 6858000"/>
              <a:gd name="connsiteX463" fmla="*/ 2143004 w 7472601"/>
              <a:gd name="connsiteY463" fmla="*/ 5402420 h 6858000"/>
              <a:gd name="connsiteX464" fmla="*/ 1933391 w 7472601"/>
              <a:gd name="connsiteY464" fmla="*/ 5156971 h 6858000"/>
              <a:gd name="connsiteX465" fmla="*/ 1827118 w 7472601"/>
              <a:gd name="connsiteY465" fmla="*/ 4968410 h 6858000"/>
              <a:gd name="connsiteX466" fmla="*/ 1837349 w 7472601"/>
              <a:gd name="connsiteY466" fmla="*/ 4956357 h 6858000"/>
              <a:gd name="connsiteX467" fmla="*/ 2162835 w 7472601"/>
              <a:gd name="connsiteY467" fmla="*/ 5187853 h 6858000"/>
              <a:gd name="connsiteX468" fmla="*/ 2257167 w 7472601"/>
              <a:gd name="connsiteY468" fmla="*/ 5462123 h 6858000"/>
              <a:gd name="connsiteX469" fmla="*/ 2261598 w 7472601"/>
              <a:gd name="connsiteY469" fmla="*/ 5467998 h 6858000"/>
              <a:gd name="connsiteX470" fmla="*/ 2437177 w 7472601"/>
              <a:gd name="connsiteY470" fmla="*/ 5479608 h 6858000"/>
              <a:gd name="connsiteX471" fmla="*/ 2445247 w 7472601"/>
              <a:gd name="connsiteY471" fmla="*/ 5483476 h 6858000"/>
              <a:gd name="connsiteX472" fmla="*/ 2743626 w 7472601"/>
              <a:gd name="connsiteY472" fmla="*/ 5304819 h 6858000"/>
              <a:gd name="connsiteX473" fmla="*/ 3048102 w 7472601"/>
              <a:gd name="connsiteY473" fmla="*/ 5150595 h 6858000"/>
              <a:gd name="connsiteX474" fmla="*/ 1799414 w 7472601"/>
              <a:gd name="connsiteY474" fmla="*/ 4694732 h 6858000"/>
              <a:gd name="connsiteX475" fmla="*/ 1771735 w 7472601"/>
              <a:gd name="connsiteY475" fmla="*/ 4619929 h 6858000"/>
              <a:gd name="connsiteX476" fmla="*/ 3104273 w 7472601"/>
              <a:gd name="connsiteY476" fmla="*/ 5076159 h 6858000"/>
              <a:gd name="connsiteX477" fmla="*/ 3113245 w 7472601"/>
              <a:gd name="connsiteY477" fmla="*/ 5090705 h 6858000"/>
              <a:gd name="connsiteX478" fmla="*/ 3126294 w 7472601"/>
              <a:gd name="connsiteY478" fmla="*/ 5114400 h 6858000"/>
              <a:gd name="connsiteX479" fmla="*/ 3937433 w 7472601"/>
              <a:gd name="connsiteY479" fmla="*/ 4830473 h 6858000"/>
              <a:gd name="connsiteX480" fmla="*/ 3590475 w 7472601"/>
              <a:gd name="connsiteY480" fmla="*/ 4597974 h 6858000"/>
              <a:gd name="connsiteX481" fmla="*/ 3100264 w 7472601"/>
              <a:gd name="connsiteY481" fmla="*/ 4579845 h 6858000"/>
              <a:gd name="connsiteX482" fmla="*/ 2183576 w 7472601"/>
              <a:gd name="connsiteY482" fmla="*/ 4227150 h 6858000"/>
              <a:gd name="connsiteX483" fmla="*/ 2151029 w 7472601"/>
              <a:gd name="connsiteY483" fmla="*/ 4146947 h 6858000"/>
              <a:gd name="connsiteX484" fmla="*/ 3563434 w 7472601"/>
              <a:gd name="connsiteY484" fmla="*/ 4469115 h 6858000"/>
              <a:gd name="connsiteX485" fmla="*/ 3177952 w 7472601"/>
              <a:gd name="connsiteY485" fmla="*/ 3657386 h 6858000"/>
              <a:gd name="connsiteX486" fmla="*/ 3189263 w 7472601"/>
              <a:gd name="connsiteY486" fmla="*/ 3625726 h 6858000"/>
              <a:gd name="connsiteX487" fmla="*/ 3560912 w 7472601"/>
              <a:gd name="connsiteY487" fmla="*/ 4079863 h 6858000"/>
              <a:gd name="connsiteX488" fmla="*/ 3626636 w 7472601"/>
              <a:gd name="connsiteY488" fmla="*/ 4512230 h 6858000"/>
              <a:gd name="connsiteX489" fmla="*/ 3653088 w 7472601"/>
              <a:gd name="connsiteY489" fmla="*/ 4521417 h 6858000"/>
              <a:gd name="connsiteX490" fmla="*/ 3988128 w 7472601"/>
              <a:gd name="connsiteY490" fmla="*/ 4817267 h 6858000"/>
              <a:gd name="connsiteX491" fmla="*/ 4830582 w 7472601"/>
              <a:gd name="connsiteY491" fmla="*/ 4676000 h 6858000"/>
              <a:gd name="connsiteX492" fmla="*/ 4830100 w 7472601"/>
              <a:gd name="connsiteY492" fmla="*/ 4675554 h 6858000"/>
              <a:gd name="connsiteX493" fmla="*/ 4036318 w 7472601"/>
              <a:gd name="connsiteY493" fmla="*/ 4147013 h 6858000"/>
              <a:gd name="connsiteX494" fmla="*/ 3432098 w 7472601"/>
              <a:gd name="connsiteY494" fmla="*/ 3537312 h 6858000"/>
              <a:gd name="connsiteX495" fmla="*/ 3446761 w 7472601"/>
              <a:gd name="connsiteY495" fmla="*/ 3461278 h 6858000"/>
              <a:gd name="connsiteX496" fmla="*/ 4419733 w 7472601"/>
              <a:gd name="connsiteY496" fmla="*/ 3963555 h 6858000"/>
              <a:gd name="connsiteX497" fmla="*/ 4781371 w 7472601"/>
              <a:gd name="connsiteY497" fmla="*/ 4458604 h 6858000"/>
              <a:gd name="connsiteX498" fmla="*/ 4780440 w 7472601"/>
              <a:gd name="connsiteY498" fmla="*/ 4470290 h 6858000"/>
              <a:gd name="connsiteX499" fmla="*/ 4898954 w 7472601"/>
              <a:gd name="connsiteY499" fmla="*/ 4662092 h 6858000"/>
              <a:gd name="connsiteX500" fmla="*/ 4900699 w 7472601"/>
              <a:gd name="connsiteY500" fmla="*/ 4670867 h 6858000"/>
              <a:gd name="connsiteX501" fmla="*/ 5714511 w 7472601"/>
              <a:gd name="connsiteY501" fmla="*/ 4663483 h 6858000"/>
              <a:gd name="connsiteX502" fmla="*/ 5464793 w 7472601"/>
              <a:gd name="connsiteY502" fmla="*/ 4393556 h 6858000"/>
              <a:gd name="connsiteX503" fmla="*/ 5461897 w 7472601"/>
              <a:gd name="connsiteY503" fmla="*/ 4390879 h 6858000"/>
              <a:gd name="connsiteX504" fmla="*/ 4294126 w 7472601"/>
              <a:gd name="connsiteY504" fmla="*/ 3303048 h 6858000"/>
              <a:gd name="connsiteX505" fmla="*/ 4305321 w 7472601"/>
              <a:gd name="connsiteY505" fmla="*/ 3256953 h 6858000"/>
              <a:gd name="connsiteX506" fmla="*/ 4949299 w 7472601"/>
              <a:gd name="connsiteY506" fmla="*/ 3766336 h 6858000"/>
              <a:gd name="connsiteX507" fmla="*/ 5291452 w 7472601"/>
              <a:gd name="connsiteY507" fmla="*/ 4076801 h 6858000"/>
              <a:gd name="connsiteX508" fmla="*/ 5434998 w 7472601"/>
              <a:gd name="connsiteY508" fmla="*/ 4254100 h 6858000"/>
              <a:gd name="connsiteX509" fmla="*/ 5351015 w 7472601"/>
              <a:gd name="connsiteY509" fmla="*/ 3760989 h 6858000"/>
              <a:gd name="connsiteX510" fmla="*/ 5413780 w 7472601"/>
              <a:gd name="connsiteY510" fmla="*/ 2966265 h 6858000"/>
              <a:gd name="connsiteX511" fmla="*/ 5425627 w 7472601"/>
              <a:gd name="connsiteY511" fmla="*/ 2954192 h 6858000"/>
              <a:gd name="connsiteX512" fmla="*/ 6604735 w 7472601"/>
              <a:gd name="connsiteY512" fmla="*/ 2041381 h 6858000"/>
              <a:gd name="connsiteX513" fmla="*/ 7204487 w 7472601"/>
              <a:gd name="connsiteY513" fmla="*/ 2742112 h 6858000"/>
              <a:gd name="connsiteX514" fmla="*/ 7131592 w 7472601"/>
              <a:gd name="connsiteY514" fmla="*/ 2672096 h 6858000"/>
              <a:gd name="connsiteX515" fmla="*/ 6996344 w 7472601"/>
              <a:gd name="connsiteY515" fmla="*/ 2518310 h 6858000"/>
              <a:gd name="connsiteX516" fmla="*/ 6735495 w 7472601"/>
              <a:gd name="connsiteY516" fmla="*/ 2196890 h 6858000"/>
              <a:gd name="connsiteX517" fmla="*/ 6721901 w 7472601"/>
              <a:gd name="connsiteY517" fmla="*/ 2179274 h 6858000"/>
              <a:gd name="connsiteX518" fmla="*/ 6604735 w 7472601"/>
              <a:gd name="connsiteY518" fmla="*/ 2041381 h 6858000"/>
              <a:gd name="connsiteX519" fmla="*/ 6591670 w 7472601"/>
              <a:gd name="connsiteY519" fmla="*/ 1988277 h 6858000"/>
              <a:gd name="connsiteX520" fmla="*/ 6747349 w 7472601"/>
              <a:gd name="connsiteY520" fmla="*/ 2160069 h 6858000"/>
              <a:gd name="connsiteX521" fmla="*/ 6760943 w 7472601"/>
              <a:gd name="connsiteY521" fmla="*/ 2177686 h 6858000"/>
              <a:gd name="connsiteX522" fmla="*/ 7021065 w 7472601"/>
              <a:gd name="connsiteY522" fmla="*/ 2498102 h 6858000"/>
              <a:gd name="connsiteX523" fmla="*/ 7155223 w 7472601"/>
              <a:gd name="connsiteY523" fmla="*/ 2650386 h 6858000"/>
              <a:gd name="connsiteX524" fmla="*/ 7203167 w 7472601"/>
              <a:gd name="connsiteY524" fmla="*/ 2697288 h 6858000"/>
              <a:gd name="connsiteX525" fmla="*/ 6937703 w 7472601"/>
              <a:gd name="connsiteY525" fmla="*/ 2321981 h 6858000"/>
              <a:gd name="connsiteX526" fmla="*/ 6591670 w 7472601"/>
              <a:gd name="connsiteY526" fmla="*/ 1988277 h 6858000"/>
              <a:gd name="connsiteX527" fmla="*/ 5798671 w 7472601"/>
              <a:gd name="connsiteY527" fmla="*/ 1981601 h 6858000"/>
              <a:gd name="connsiteX528" fmla="*/ 5754709 w 7472601"/>
              <a:gd name="connsiteY528" fmla="*/ 2071454 h 6858000"/>
              <a:gd name="connsiteX529" fmla="*/ 5763044 w 7472601"/>
              <a:gd name="connsiteY529" fmla="*/ 2842206 h 6858000"/>
              <a:gd name="connsiteX530" fmla="*/ 5764974 w 7472601"/>
              <a:gd name="connsiteY530" fmla="*/ 2799609 h 6858000"/>
              <a:gd name="connsiteX531" fmla="*/ 5767665 w 7472601"/>
              <a:gd name="connsiteY531" fmla="*/ 2666409 h 6858000"/>
              <a:gd name="connsiteX532" fmla="*/ 5763055 w 7472601"/>
              <a:gd name="connsiteY532" fmla="*/ 2579705 h 6858000"/>
              <a:gd name="connsiteX533" fmla="*/ 5758079 w 7472601"/>
              <a:gd name="connsiteY533" fmla="*/ 2492508 h 6858000"/>
              <a:gd name="connsiteX534" fmla="*/ 5779325 w 7472601"/>
              <a:gd name="connsiteY534" fmla="*/ 2197069 h 6858000"/>
              <a:gd name="connsiteX535" fmla="*/ 5798671 w 7472601"/>
              <a:gd name="connsiteY535" fmla="*/ 1981601 h 6858000"/>
              <a:gd name="connsiteX536" fmla="*/ 5829202 w 7472601"/>
              <a:gd name="connsiteY536" fmla="*/ 1971679 h 6858000"/>
              <a:gd name="connsiteX537" fmla="*/ 5809558 w 7472601"/>
              <a:gd name="connsiteY537" fmla="*/ 2198043 h 6858000"/>
              <a:gd name="connsiteX538" fmla="*/ 5788653 w 7472601"/>
              <a:gd name="connsiteY538" fmla="*/ 2489430 h 6858000"/>
              <a:gd name="connsiteX539" fmla="*/ 5793439 w 7472601"/>
              <a:gd name="connsiteY539" fmla="*/ 2575235 h 6858000"/>
              <a:gd name="connsiteX540" fmla="*/ 5796837 w 7472601"/>
              <a:gd name="connsiteY540" fmla="*/ 2637633 h 6858000"/>
              <a:gd name="connsiteX541" fmla="*/ 5818614 w 7472601"/>
              <a:gd name="connsiteY541" fmla="*/ 2473055 h 6858000"/>
              <a:gd name="connsiteX542" fmla="*/ 5829202 w 7472601"/>
              <a:gd name="connsiteY542" fmla="*/ 1971679 h 6858000"/>
              <a:gd name="connsiteX543" fmla="*/ 5911389 w 7472601"/>
              <a:gd name="connsiteY543" fmla="*/ 1898371 h 6858000"/>
              <a:gd name="connsiteX544" fmla="*/ 6237627 w 7472601"/>
              <a:gd name="connsiteY544" fmla="*/ 2231921 h 6858000"/>
              <a:gd name="connsiteX545" fmla="*/ 5911389 w 7472601"/>
              <a:gd name="connsiteY545" fmla="*/ 1898371 h 6858000"/>
              <a:gd name="connsiteX546" fmla="*/ 6944437 w 7472601"/>
              <a:gd name="connsiteY546" fmla="*/ 1575402 h 6858000"/>
              <a:gd name="connsiteX547" fmla="*/ 6304730 w 7472601"/>
              <a:gd name="connsiteY547" fmla="*/ 1766654 h 6858000"/>
              <a:gd name="connsiteX548" fmla="*/ 6944437 w 7472601"/>
              <a:gd name="connsiteY548" fmla="*/ 1575402 h 6858000"/>
              <a:gd name="connsiteX549" fmla="*/ 7019523 w 7472601"/>
              <a:gd name="connsiteY549" fmla="*/ 1519450 h 6858000"/>
              <a:gd name="connsiteX550" fmla="*/ 6298091 w 7472601"/>
              <a:gd name="connsiteY550" fmla="*/ 1737122 h 6858000"/>
              <a:gd name="connsiteX551" fmla="*/ 7019523 w 7472601"/>
              <a:gd name="connsiteY551" fmla="*/ 1519450 h 6858000"/>
              <a:gd name="connsiteX552" fmla="*/ 2399523 w 7472601"/>
              <a:gd name="connsiteY552" fmla="*/ 1428234 h 6858000"/>
              <a:gd name="connsiteX553" fmla="*/ 2224982 w 7472601"/>
              <a:gd name="connsiteY553" fmla="*/ 1826201 h 6858000"/>
              <a:gd name="connsiteX554" fmla="*/ 2096099 w 7472601"/>
              <a:gd name="connsiteY554" fmla="*/ 2345900 h 6858000"/>
              <a:gd name="connsiteX555" fmla="*/ 2283317 w 7472601"/>
              <a:gd name="connsiteY555" fmla="*/ 1796925 h 6858000"/>
              <a:gd name="connsiteX556" fmla="*/ 2399523 w 7472601"/>
              <a:gd name="connsiteY556" fmla="*/ 1428234 h 6858000"/>
              <a:gd name="connsiteX557" fmla="*/ 2448558 w 7472601"/>
              <a:gd name="connsiteY557" fmla="*/ 1373435 h 6858000"/>
              <a:gd name="connsiteX558" fmla="*/ 2312521 w 7472601"/>
              <a:gd name="connsiteY558" fmla="*/ 1806140 h 6858000"/>
              <a:gd name="connsiteX559" fmla="*/ 2127533 w 7472601"/>
              <a:gd name="connsiteY559" fmla="*/ 2348380 h 6858000"/>
              <a:gd name="connsiteX560" fmla="*/ 2358080 w 7472601"/>
              <a:gd name="connsiteY560" fmla="*/ 1866134 h 6858000"/>
              <a:gd name="connsiteX561" fmla="*/ 2407436 w 7472601"/>
              <a:gd name="connsiteY561" fmla="*/ 1651070 h 6858000"/>
              <a:gd name="connsiteX562" fmla="*/ 2448558 w 7472601"/>
              <a:gd name="connsiteY562" fmla="*/ 1373435 h 6858000"/>
              <a:gd name="connsiteX563" fmla="*/ 278707 w 7472601"/>
              <a:gd name="connsiteY563" fmla="*/ 1352270 h 6858000"/>
              <a:gd name="connsiteX564" fmla="*/ 321570 w 7472601"/>
              <a:gd name="connsiteY564" fmla="*/ 1861610 h 6858000"/>
              <a:gd name="connsiteX565" fmla="*/ 294281 w 7472601"/>
              <a:gd name="connsiteY565" fmla="*/ 1440658 h 6858000"/>
              <a:gd name="connsiteX566" fmla="*/ 278707 w 7472601"/>
              <a:gd name="connsiteY566" fmla="*/ 1352270 h 6858000"/>
              <a:gd name="connsiteX567" fmla="*/ 1423821 w 7472601"/>
              <a:gd name="connsiteY567" fmla="*/ 1351958 h 6858000"/>
              <a:gd name="connsiteX568" fmla="*/ 1638521 w 7472601"/>
              <a:gd name="connsiteY568" fmla="*/ 1908470 h 6858000"/>
              <a:gd name="connsiteX569" fmla="*/ 1754199 w 7472601"/>
              <a:gd name="connsiteY569" fmla="*/ 2149284 h 6858000"/>
              <a:gd name="connsiteX570" fmla="*/ 1908359 w 7472601"/>
              <a:gd name="connsiteY570" fmla="*/ 2364988 h 6858000"/>
              <a:gd name="connsiteX571" fmla="*/ 1647661 w 7472601"/>
              <a:gd name="connsiteY571" fmla="*/ 1825945 h 6858000"/>
              <a:gd name="connsiteX572" fmla="*/ 1423821 w 7472601"/>
              <a:gd name="connsiteY572" fmla="*/ 1351958 h 6858000"/>
              <a:gd name="connsiteX573" fmla="*/ 1431890 w 7472601"/>
              <a:gd name="connsiteY573" fmla="*/ 1306475 h 6858000"/>
              <a:gd name="connsiteX574" fmla="*/ 1507597 w 7472601"/>
              <a:gd name="connsiteY574" fmla="*/ 1446132 h 6858000"/>
              <a:gd name="connsiteX575" fmla="*/ 1674586 w 7472601"/>
              <a:gd name="connsiteY575" fmla="*/ 1813832 h 6858000"/>
              <a:gd name="connsiteX576" fmla="*/ 1815950 w 7472601"/>
              <a:gd name="connsiteY576" fmla="*/ 2128564 h 6858000"/>
              <a:gd name="connsiteX577" fmla="*/ 1984242 w 7472601"/>
              <a:gd name="connsiteY577" fmla="*/ 2430829 h 6858000"/>
              <a:gd name="connsiteX578" fmla="*/ 2014023 w 7472601"/>
              <a:gd name="connsiteY578" fmla="*/ 2450995 h 6858000"/>
              <a:gd name="connsiteX579" fmla="*/ 1747337 w 7472601"/>
              <a:gd name="connsiteY579" fmla="*/ 1855264 h 6858000"/>
              <a:gd name="connsiteX580" fmla="*/ 1533749 w 7472601"/>
              <a:gd name="connsiteY580" fmla="*/ 1478656 h 6858000"/>
              <a:gd name="connsiteX581" fmla="*/ 1431890 w 7472601"/>
              <a:gd name="connsiteY581" fmla="*/ 1306475 h 6858000"/>
              <a:gd name="connsiteX582" fmla="*/ 5052692 w 7472601"/>
              <a:gd name="connsiteY582" fmla="*/ 1292994 h 6858000"/>
              <a:gd name="connsiteX583" fmla="*/ 5200661 w 7472601"/>
              <a:gd name="connsiteY583" fmla="*/ 1635186 h 6858000"/>
              <a:gd name="connsiteX584" fmla="*/ 5297138 w 7472601"/>
              <a:gd name="connsiteY584" fmla="*/ 1906351 h 6858000"/>
              <a:gd name="connsiteX585" fmla="*/ 5052692 w 7472601"/>
              <a:gd name="connsiteY585" fmla="*/ 1292994 h 6858000"/>
              <a:gd name="connsiteX586" fmla="*/ 5009948 w 7472601"/>
              <a:gd name="connsiteY586" fmla="*/ 1273619 h 6858000"/>
              <a:gd name="connsiteX587" fmla="*/ 5121777 w 7472601"/>
              <a:gd name="connsiteY587" fmla="*/ 1654213 h 6858000"/>
              <a:gd name="connsiteX588" fmla="*/ 5293545 w 7472601"/>
              <a:gd name="connsiteY588" fmla="*/ 2072247 h 6858000"/>
              <a:gd name="connsiteX589" fmla="*/ 5294042 w 7472601"/>
              <a:gd name="connsiteY589" fmla="*/ 2065019 h 6858000"/>
              <a:gd name="connsiteX590" fmla="*/ 5171936 w 7472601"/>
              <a:gd name="connsiteY590" fmla="*/ 1647613 h 6858000"/>
              <a:gd name="connsiteX591" fmla="*/ 5009948 w 7472601"/>
              <a:gd name="connsiteY591" fmla="*/ 1273619 h 6858000"/>
              <a:gd name="connsiteX592" fmla="*/ 655236 w 7472601"/>
              <a:gd name="connsiteY592" fmla="*/ 1268632 h 6858000"/>
              <a:gd name="connsiteX593" fmla="*/ 839521 w 7472601"/>
              <a:gd name="connsiteY593" fmla="*/ 1685315 h 6858000"/>
              <a:gd name="connsiteX594" fmla="*/ 1109416 w 7472601"/>
              <a:gd name="connsiteY594" fmla="*/ 2061663 h 6858000"/>
              <a:gd name="connsiteX595" fmla="*/ 1298300 w 7472601"/>
              <a:gd name="connsiteY595" fmla="*/ 2247742 h 6858000"/>
              <a:gd name="connsiteX596" fmla="*/ 1125871 w 7472601"/>
              <a:gd name="connsiteY596" fmla="*/ 1989513 h 6858000"/>
              <a:gd name="connsiteX597" fmla="*/ 981574 w 7472601"/>
              <a:gd name="connsiteY597" fmla="*/ 1783157 h 6858000"/>
              <a:gd name="connsiteX598" fmla="*/ 922198 w 7472601"/>
              <a:gd name="connsiteY598" fmla="*/ 1677437 h 6858000"/>
              <a:gd name="connsiteX599" fmla="*/ 869293 w 7472601"/>
              <a:gd name="connsiteY599" fmla="*/ 1583214 h 6858000"/>
              <a:gd name="connsiteX600" fmla="*/ 751431 w 7472601"/>
              <a:gd name="connsiteY600" fmla="*/ 1405731 h 6858000"/>
              <a:gd name="connsiteX601" fmla="*/ 655236 w 7472601"/>
              <a:gd name="connsiteY601" fmla="*/ 1268632 h 6858000"/>
              <a:gd name="connsiteX602" fmla="*/ 6516292 w 7472601"/>
              <a:gd name="connsiteY602" fmla="*/ 1263064 h 6858000"/>
              <a:gd name="connsiteX603" fmla="*/ 5736320 w 7472601"/>
              <a:gd name="connsiteY603" fmla="*/ 1501803 h 6858000"/>
              <a:gd name="connsiteX604" fmla="*/ 6516292 w 7472601"/>
              <a:gd name="connsiteY604" fmla="*/ 1263064 h 6858000"/>
              <a:gd name="connsiteX605" fmla="*/ 291466 w 7472601"/>
              <a:gd name="connsiteY605" fmla="*/ 1250369 h 6858000"/>
              <a:gd name="connsiteX606" fmla="*/ 323180 w 7472601"/>
              <a:gd name="connsiteY606" fmla="*/ 1435283 h 6858000"/>
              <a:gd name="connsiteX607" fmla="*/ 349381 w 7472601"/>
              <a:gd name="connsiteY607" fmla="*/ 1875041 h 6858000"/>
              <a:gd name="connsiteX608" fmla="*/ 374363 w 7472601"/>
              <a:gd name="connsiteY608" fmla="*/ 1506494 h 6858000"/>
              <a:gd name="connsiteX609" fmla="*/ 302168 w 7472601"/>
              <a:gd name="connsiteY609" fmla="*/ 1274495 h 6858000"/>
              <a:gd name="connsiteX610" fmla="*/ 291466 w 7472601"/>
              <a:gd name="connsiteY610" fmla="*/ 1250369 h 6858000"/>
              <a:gd name="connsiteX611" fmla="*/ 678222 w 7472601"/>
              <a:gd name="connsiteY611" fmla="*/ 1248670 h 6858000"/>
              <a:gd name="connsiteX612" fmla="*/ 775536 w 7472601"/>
              <a:gd name="connsiteY612" fmla="*/ 1388015 h 6858000"/>
              <a:gd name="connsiteX613" fmla="*/ 894529 w 7472601"/>
              <a:gd name="connsiteY613" fmla="*/ 1567739 h 6858000"/>
              <a:gd name="connsiteX614" fmla="*/ 948000 w 7472601"/>
              <a:gd name="connsiteY614" fmla="*/ 1663088 h 6858000"/>
              <a:gd name="connsiteX615" fmla="*/ 1006812 w 7472601"/>
              <a:gd name="connsiteY615" fmla="*/ 1767683 h 6858000"/>
              <a:gd name="connsiteX616" fmla="*/ 1149133 w 7472601"/>
              <a:gd name="connsiteY616" fmla="*/ 1971513 h 6858000"/>
              <a:gd name="connsiteX617" fmla="*/ 1333952 w 7472601"/>
              <a:gd name="connsiteY617" fmla="*/ 2251620 h 6858000"/>
              <a:gd name="connsiteX618" fmla="*/ 1337329 w 7472601"/>
              <a:gd name="connsiteY618" fmla="*/ 2258350 h 6858000"/>
              <a:gd name="connsiteX619" fmla="*/ 1014726 w 7472601"/>
              <a:gd name="connsiteY619" fmla="*/ 1615556 h 6858000"/>
              <a:gd name="connsiteX620" fmla="*/ 678222 w 7472601"/>
              <a:gd name="connsiteY620" fmla="*/ 1248670 h 6858000"/>
              <a:gd name="connsiteX621" fmla="*/ 6691602 w 7472601"/>
              <a:gd name="connsiteY621" fmla="*/ 1140573 h 6858000"/>
              <a:gd name="connsiteX622" fmla="*/ 6571100 w 7472601"/>
              <a:gd name="connsiteY622" fmla="*/ 1183662 h 6858000"/>
              <a:gd name="connsiteX623" fmla="*/ 6241687 w 7472601"/>
              <a:gd name="connsiteY623" fmla="*/ 1257600 h 6858000"/>
              <a:gd name="connsiteX624" fmla="*/ 5693009 w 7472601"/>
              <a:gd name="connsiteY624" fmla="*/ 1478256 h 6858000"/>
              <a:gd name="connsiteX625" fmla="*/ 6548420 w 7472601"/>
              <a:gd name="connsiteY625" fmla="*/ 1214599 h 6858000"/>
              <a:gd name="connsiteX626" fmla="*/ 6605473 w 7472601"/>
              <a:gd name="connsiteY626" fmla="*/ 1184686 h 6858000"/>
              <a:gd name="connsiteX627" fmla="*/ 6691602 w 7472601"/>
              <a:gd name="connsiteY627" fmla="*/ 1140573 h 6858000"/>
              <a:gd name="connsiteX628" fmla="*/ 4002475 w 7472601"/>
              <a:gd name="connsiteY628" fmla="*/ 1037802 h 6858000"/>
              <a:gd name="connsiteX629" fmla="*/ 4000324 w 7472601"/>
              <a:gd name="connsiteY629" fmla="*/ 1039362 h 6858000"/>
              <a:gd name="connsiteX630" fmla="*/ 4002862 w 7472601"/>
              <a:gd name="connsiteY630" fmla="*/ 1042866 h 6858000"/>
              <a:gd name="connsiteX631" fmla="*/ 4002475 w 7472601"/>
              <a:gd name="connsiteY631" fmla="*/ 1037802 h 6858000"/>
              <a:gd name="connsiteX632" fmla="*/ 506322 w 7472601"/>
              <a:gd name="connsiteY632" fmla="*/ 1020997 h 6858000"/>
              <a:gd name="connsiteX633" fmla="*/ 533068 w 7472601"/>
              <a:gd name="connsiteY633" fmla="*/ 1029409 h 6858000"/>
              <a:gd name="connsiteX634" fmla="*/ 1232525 w 7472601"/>
              <a:gd name="connsiteY634" fmla="*/ 1804675 h 6858000"/>
              <a:gd name="connsiteX635" fmla="*/ 1388858 w 7472601"/>
              <a:gd name="connsiteY635" fmla="*/ 2368011 h 6858000"/>
              <a:gd name="connsiteX636" fmla="*/ 1384098 w 7472601"/>
              <a:gd name="connsiteY636" fmla="*/ 2378125 h 6858000"/>
              <a:gd name="connsiteX637" fmla="*/ 1425393 w 7472601"/>
              <a:gd name="connsiteY637" fmla="*/ 2589124 h 6858000"/>
              <a:gd name="connsiteX638" fmla="*/ 1424001 w 7472601"/>
              <a:gd name="connsiteY638" fmla="*/ 2597541 h 6858000"/>
              <a:gd name="connsiteX639" fmla="*/ 2152729 w 7472601"/>
              <a:gd name="connsiteY639" fmla="*/ 2864487 h 6858000"/>
              <a:gd name="connsiteX640" fmla="*/ 2020609 w 7472601"/>
              <a:gd name="connsiteY640" fmla="*/ 2539671 h 6858000"/>
              <a:gd name="connsiteX641" fmla="*/ 2018920 w 7472601"/>
              <a:gd name="connsiteY641" fmla="*/ 2536309 h 6858000"/>
              <a:gd name="connsiteX642" fmla="*/ 1342441 w 7472601"/>
              <a:gd name="connsiteY642" fmla="*/ 1173017 h 6858000"/>
              <a:gd name="connsiteX643" fmla="*/ 1367925 w 7472601"/>
              <a:gd name="connsiteY643" fmla="*/ 1135648 h 6858000"/>
              <a:gd name="connsiteX644" fmla="*/ 1771401 w 7472601"/>
              <a:gd name="connsiteY644" fmla="*/ 1806673 h 6858000"/>
              <a:gd name="connsiteX645" fmla="*/ 1972385 w 7472601"/>
              <a:gd name="connsiteY645" fmla="*/ 2198735 h 6858000"/>
              <a:gd name="connsiteX646" fmla="*/ 2040892 w 7472601"/>
              <a:gd name="connsiteY646" fmla="*/ 2405205 h 6858000"/>
              <a:gd name="connsiteX647" fmla="*/ 2131689 w 7472601"/>
              <a:gd name="connsiteY647" fmla="*/ 1936926 h 6858000"/>
              <a:gd name="connsiteX648" fmla="*/ 2454820 w 7472601"/>
              <a:gd name="connsiteY648" fmla="*/ 1248808 h 6858000"/>
              <a:gd name="connsiteX649" fmla="*/ 2492512 w 7472601"/>
              <a:gd name="connsiteY649" fmla="*/ 1302920 h 6858000"/>
              <a:gd name="connsiteX650" fmla="*/ 2081216 w 7472601"/>
              <a:gd name="connsiteY650" fmla="*/ 2527513 h 6858000"/>
              <a:gd name="connsiteX651" fmla="*/ 2081211 w 7472601"/>
              <a:gd name="connsiteY651" fmla="*/ 2528916 h 6858000"/>
              <a:gd name="connsiteX652" fmla="*/ 2199067 w 7472601"/>
              <a:gd name="connsiteY652" fmla="*/ 2884061 h 6858000"/>
              <a:gd name="connsiteX653" fmla="*/ 3192586 w 7472601"/>
              <a:gd name="connsiteY653" fmla="*/ 3411496 h 6858000"/>
              <a:gd name="connsiteX654" fmla="*/ 3182620 w 7472601"/>
              <a:gd name="connsiteY654" fmla="*/ 3483279 h 6858000"/>
              <a:gd name="connsiteX655" fmla="*/ 2435119 w 7472601"/>
              <a:gd name="connsiteY655" fmla="*/ 3080173 h 6858000"/>
              <a:gd name="connsiteX656" fmla="*/ 2410152 w 7472601"/>
              <a:gd name="connsiteY656" fmla="*/ 3063751 h 6858000"/>
              <a:gd name="connsiteX657" fmla="*/ 2408099 w 7472601"/>
              <a:gd name="connsiteY657" fmla="*/ 3064403 h 6858000"/>
              <a:gd name="connsiteX658" fmla="*/ 2407218 w 7472601"/>
              <a:gd name="connsiteY658" fmla="*/ 3070324 h 6858000"/>
              <a:gd name="connsiteX659" fmla="*/ 2380138 w 7472601"/>
              <a:gd name="connsiteY659" fmla="*/ 3099341 h 6858000"/>
              <a:gd name="connsiteX660" fmla="*/ 1765923 w 7472601"/>
              <a:gd name="connsiteY660" fmla="*/ 3581043 h 6858000"/>
              <a:gd name="connsiteX661" fmla="*/ 1702258 w 7472601"/>
              <a:gd name="connsiteY661" fmla="*/ 3612286 h 6858000"/>
              <a:gd name="connsiteX662" fmla="*/ 1538370 w 7472601"/>
              <a:gd name="connsiteY662" fmla="*/ 3811804 h 6858000"/>
              <a:gd name="connsiteX663" fmla="*/ 542867 w 7472601"/>
              <a:gd name="connsiteY663" fmla="*/ 4944092 h 6858000"/>
              <a:gd name="connsiteX664" fmla="*/ 515800 w 7472601"/>
              <a:gd name="connsiteY664" fmla="*/ 4862180 h 6858000"/>
              <a:gd name="connsiteX665" fmla="*/ 909145 w 7472601"/>
              <a:gd name="connsiteY665" fmla="*/ 4199225 h 6858000"/>
              <a:gd name="connsiteX666" fmla="*/ 1214067 w 7472601"/>
              <a:gd name="connsiteY666" fmla="*/ 3908561 h 6858000"/>
              <a:gd name="connsiteX667" fmla="*/ 640967 w 7472601"/>
              <a:gd name="connsiteY667" fmla="*/ 4105601 h 6858000"/>
              <a:gd name="connsiteX668" fmla="*/ 112563 w 7472601"/>
              <a:gd name="connsiteY668" fmla="*/ 4396952 h 6858000"/>
              <a:gd name="connsiteX669" fmla="*/ 0 w 7472601"/>
              <a:gd name="connsiteY669" fmla="*/ 4466006 h 6858000"/>
              <a:gd name="connsiteX670" fmla="*/ 0 w 7472601"/>
              <a:gd name="connsiteY670" fmla="*/ 4233763 h 6858000"/>
              <a:gd name="connsiteX671" fmla="*/ 36881 w 7472601"/>
              <a:gd name="connsiteY671" fmla="*/ 4200118 h 6858000"/>
              <a:gd name="connsiteX672" fmla="*/ 910534 w 7472601"/>
              <a:gd name="connsiteY672" fmla="*/ 3629753 h 6858000"/>
              <a:gd name="connsiteX673" fmla="*/ 1578717 w 7472601"/>
              <a:gd name="connsiteY673" fmla="*/ 3575982 h 6858000"/>
              <a:gd name="connsiteX674" fmla="*/ 2338780 w 7472601"/>
              <a:gd name="connsiteY674" fmla="*/ 3033725 h 6858000"/>
              <a:gd name="connsiteX675" fmla="*/ 1807991 w 7472601"/>
              <a:gd name="connsiteY675" fmla="*/ 2807184 h 6858000"/>
              <a:gd name="connsiteX676" fmla="*/ 1416358 w 7472601"/>
              <a:gd name="connsiteY676" fmla="*/ 3112571 h 6858000"/>
              <a:gd name="connsiteX677" fmla="*/ 939066 w 7472601"/>
              <a:gd name="connsiteY677" fmla="*/ 3378798 h 6858000"/>
              <a:gd name="connsiteX678" fmla="*/ 115099 w 7472601"/>
              <a:gd name="connsiteY678" fmla="*/ 3607650 h 6858000"/>
              <a:gd name="connsiteX679" fmla="*/ 97284 w 7472601"/>
              <a:gd name="connsiteY679" fmla="*/ 3520393 h 6858000"/>
              <a:gd name="connsiteX680" fmla="*/ 922050 w 7472601"/>
              <a:gd name="connsiteY680" fmla="*/ 3074867 h 6858000"/>
              <a:gd name="connsiteX681" fmla="*/ 1405265 w 7472601"/>
              <a:gd name="connsiteY681" fmla="*/ 3016319 h 6858000"/>
              <a:gd name="connsiteX682" fmla="*/ 1407512 w 7472601"/>
              <a:gd name="connsiteY682" fmla="*/ 3018001 h 6858000"/>
              <a:gd name="connsiteX683" fmla="*/ 1726266 w 7472601"/>
              <a:gd name="connsiteY683" fmla="*/ 2777274 h 6858000"/>
              <a:gd name="connsiteX684" fmla="*/ 625390 w 7472601"/>
              <a:gd name="connsiteY684" fmla="*/ 2514541 h 6858000"/>
              <a:gd name="connsiteX685" fmla="*/ 619799 w 7472601"/>
              <a:gd name="connsiteY685" fmla="*/ 2527180 h 6858000"/>
              <a:gd name="connsiteX686" fmla="*/ 310030 w 7472601"/>
              <a:gd name="connsiteY686" fmla="*/ 2771818 h 6858000"/>
              <a:gd name="connsiteX687" fmla="*/ 173877 w 7472601"/>
              <a:gd name="connsiteY687" fmla="*/ 2937056 h 6858000"/>
              <a:gd name="connsiteX688" fmla="*/ 77889 w 7472601"/>
              <a:gd name="connsiteY688" fmla="*/ 3138440 h 6858000"/>
              <a:gd name="connsiteX689" fmla="*/ 0 w 7472601"/>
              <a:gd name="connsiteY689" fmla="*/ 3271395 h 6858000"/>
              <a:gd name="connsiteX690" fmla="*/ 0 w 7472601"/>
              <a:gd name="connsiteY690" fmla="*/ 3153002 h 6858000"/>
              <a:gd name="connsiteX691" fmla="*/ 2386 w 7472601"/>
              <a:gd name="connsiteY691" fmla="*/ 3149203 h 6858000"/>
              <a:gd name="connsiteX692" fmla="*/ 89753 w 7472601"/>
              <a:gd name="connsiteY692" fmla="*/ 2987702 h 6858000"/>
              <a:gd name="connsiteX693" fmla="*/ 76869 w 7472601"/>
              <a:gd name="connsiteY693" fmla="*/ 3005404 h 6858000"/>
              <a:gd name="connsiteX694" fmla="*/ 32049 w 7472601"/>
              <a:gd name="connsiteY694" fmla="*/ 3065814 h 6858000"/>
              <a:gd name="connsiteX695" fmla="*/ 0 w 7472601"/>
              <a:gd name="connsiteY695" fmla="*/ 3108744 h 6858000"/>
              <a:gd name="connsiteX696" fmla="*/ 0 w 7472601"/>
              <a:gd name="connsiteY696" fmla="*/ 3058059 h 6858000"/>
              <a:gd name="connsiteX697" fmla="*/ 7610 w 7472601"/>
              <a:gd name="connsiteY697" fmla="*/ 3047889 h 6858000"/>
              <a:gd name="connsiteX698" fmla="*/ 52419 w 7472601"/>
              <a:gd name="connsiteY698" fmla="*/ 2987479 h 6858000"/>
              <a:gd name="connsiteX699" fmla="*/ 59142 w 7472601"/>
              <a:gd name="connsiteY699" fmla="*/ 2978488 h 6858000"/>
              <a:gd name="connsiteX700" fmla="*/ 0 w 7472601"/>
              <a:gd name="connsiteY700" fmla="*/ 3015334 h 6858000"/>
              <a:gd name="connsiteX701" fmla="*/ 0 w 7472601"/>
              <a:gd name="connsiteY701" fmla="*/ 2914286 h 6858000"/>
              <a:gd name="connsiteX702" fmla="*/ 36383 w 7472601"/>
              <a:gd name="connsiteY702" fmla="*/ 2901128 h 6858000"/>
              <a:gd name="connsiteX703" fmla="*/ 156329 w 7472601"/>
              <a:gd name="connsiteY703" fmla="*/ 2840533 h 6858000"/>
              <a:gd name="connsiteX704" fmla="*/ 358355 w 7472601"/>
              <a:gd name="connsiteY704" fmla="*/ 2620471 h 6858000"/>
              <a:gd name="connsiteX705" fmla="*/ 510577 w 7472601"/>
              <a:gd name="connsiteY705" fmla="*/ 2501244 h 6858000"/>
              <a:gd name="connsiteX706" fmla="*/ 211967 w 7472601"/>
              <a:gd name="connsiteY706" fmla="*/ 2479171 h 6858000"/>
              <a:gd name="connsiteX707" fmla="*/ 0 w 7472601"/>
              <a:gd name="connsiteY707" fmla="*/ 2476398 h 6858000"/>
              <a:gd name="connsiteX708" fmla="*/ 0 w 7472601"/>
              <a:gd name="connsiteY708" fmla="*/ 2389189 h 6858000"/>
              <a:gd name="connsiteX709" fmla="*/ 103062 w 7472601"/>
              <a:gd name="connsiteY709" fmla="*/ 2389518 h 6858000"/>
              <a:gd name="connsiteX710" fmla="*/ 510734 w 7472601"/>
              <a:gd name="connsiteY710" fmla="*/ 2416201 h 6858000"/>
              <a:gd name="connsiteX711" fmla="*/ 279257 w 7472601"/>
              <a:gd name="connsiteY711" fmla="*/ 2092102 h 6858000"/>
              <a:gd name="connsiteX712" fmla="*/ 65265 w 7472601"/>
              <a:gd name="connsiteY712" fmla="*/ 2006049 h 6858000"/>
              <a:gd name="connsiteX713" fmla="*/ 0 w 7472601"/>
              <a:gd name="connsiteY713" fmla="*/ 1982532 h 6858000"/>
              <a:gd name="connsiteX714" fmla="*/ 0 w 7472601"/>
              <a:gd name="connsiteY714" fmla="*/ 1912789 h 6858000"/>
              <a:gd name="connsiteX715" fmla="*/ 97460 w 7472601"/>
              <a:gd name="connsiteY715" fmla="*/ 1953725 h 6858000"/>
              <a:gd name="connsiteX716" fmla="*/ 221272 w 7472601"/>
              <a:gd name="connsiteY716" fmla="*/ 1980766 h 6858000"/>
              <a:gd name="connsiteX717" fmla="*/ 116765 w 7472601"/>
              <a:gd name="connsiteY717" fmla="*/ 1911033 h 6858000"/>
              <a:gd name="connsiteX718" fmla="*/ 16405 w 7472601"/>
              <a:gd name="connsiteY718" fmla="*/ 1803412 h 6858000"/>
              <a:gd name="connsiteX719" fmla="*/ 0 w 7472601"/>
              <a:gd name="connsiteY719" fmla="*/ 1784777 h 6858000"/>
              <a:gd name="connsiteX720" fmla="*/ 0 w 7472601"/>
              <a:gd name="connsiteY720" fmla="*/ 1740082 h 6858000"/>
              <a:gd name="connsiteX721" fmla="*/ 39394 w 7472601"/>
              <a:gd name="connsiteY721" fmla="*/ 1784856 h 6858000"/>
              <a:gd name="connsiteX722" fmla="*/ 135813 w 7472601"/>
              <a:gd name="connsiteY722" fmla="*/ 1888838 h 6858000"/>
              <a:gd name="connsiteX723" fmla="*/ 242575 w 7472601"/>
              <a:gd name="connsiteY723" fmla="*/ 1958841 h 6858000"/>
              <a:gd name="connsiteX724" fmla="*/ 82197 w 7472601"/>
              <a:gd name="connsiteY724" fmla="*/ 1754826 h 6858000"/>
              <a:gd name="connsiteX725" fmla="*/ 0 w 7472601"/>
              <a:gd name="connsiteY725" fmla="*/ 1679650 h 6858000"/>
              <a:gd name="connsiteX726" fmla="*/ 0 w 7472601"/>
              <a:gd name="connsiteY726" fmla="*/ 1602463 h 6858000"/>
              <a:gd name="connsiteX727" fmla="*/ 84689 w 7472601"/>
              <a:gd name="connsiteY727" fmla="*/ 1677442 h 6858000"/>
              <a:gd name="connsiteX728" fmla="*/ 298437 w 7472601"/>
              <a:gd name="connsiteY728" fmla="*/ 1968019 h 6858000"/>
              <a:gd name="connsiteX729" fmla="*/ 227269 w 7472601"/>
              <a:gd name="connsiteY729" fmla="*/ 1114064 h 6858000"/>
              <a:gd name="connsiteX730" fmla="*/ 248003 w 7472601"/>
              <a:gd name="connsiteY730" fmla="*/ 1089613 h 6858000"/>
              <a:gd name="connsiteX731" fmla="*/ 427020 w 7472601"/>
              <a:gd name="connsiteY731" fmla="*/ 1619803 h 6858000"/>
              <a:gd name="connsiteX732" fmla="*/ 340345 w 7472601"/>
              <a:gd name="connsiteY732" fmla="*/ 2027739 h 6858000"/>
              <a:gd name="connsiteX733" fmla="*/ 360865 w 7472601"/>
              <a:gd name="connsiteY733" fmla="*/ 2044827 h 6858000"/>
              <a:gd name="connsiteX734" fmla="*/ 560414 w 7472601"/>
              <a:gd name="connsiteY734" fmla="*/ 2421457 h 6858000"/>
              <a:gd name="connsiteX735" fmla="*/ 1359703 w 7472601"/>
              <a:gd name="connsiteY735" fmla="*/ 2578554 h 6858000"/>
              <a:gd name="connsiteX736" fmla="*/ 1359422 w 7472601"/>
              <a:gd name="connsiteY736" fmla="*/ 2577994 h 6858000"/>
              <a:gd name="connsiteX737" fmla="*/ 828701 w 7472601"/>
              <a:gd name="connsiteY737" fmla="*/ 1839520 h 6858000"/>
              <a:gd name="connsiteX738" fmla="*/ 494427 w 7472601"/>
              <a:gd name="connsiteY738" fmla="*/ 1092333 h 6858000"/>
              <a:gd name="connsiteX739" fmla="*/ 506322 w 7472601"/>
              <a:gd name="connsiteY739" fmla="*/ 1020997 h 6858000"/>
              <a:gd name="connsiteX740" fmla="*/ 4570198 w 7472601"/>
              <a:gd name="connsiteY740" fmla="*/ 978081 h 6858000"/>
              <a:gd name="connsiteX741" fmla="*/ 4523691 w 7472601"/>
              <a:gd name="connsiteY741" fmla="*/ 1127776 h 6858000"/>
              <a:gd name="connsiteX742" fmla="*/ 4509875 w 7472601"/>
              <a:gd name="connsiteY742" fmla="*/ 1167552 h 6858000"/>
              <a:gd name="connsiteX743" fmla="*/ 4478168 w 7472601"/>
              <a:gd name="connsiteY743" fmla="*/ 1260735 h 6858000"/>
              <a:gd name="connsiteX744" fmla="*/ 4409309 w 7472601"/>
              <a:gd name="connsiteY744" fmla="*/ 1666996 h 6858000"/>
              <a:gd name="connsiteX745" fmla="*/ 4370031 w 7472601"/>
              <a:gd name="connsiteY745" fmla="*/ 1955666 h 6858000"/>
              <a:gd name="connsiteX746" fmla="*/ 4570198 w 7472601"/>
              <a:gd name="connsiteY746" fmla="*/ 978081 h 6858000"/>
              <a:gd name="connsiteX747" fmla="*/ 4557898 w 7472601"/>
              <a:gd name="connsiteY747" fmla="*/ 900011 h 6858000"/>
              <a:gd name="connsiteX748" fmla="*/ 4344840 w 7472601"/>
              <a:gd name="connsiteY748" fmla="*/ 1922038 h 6858000"/>
              <a:gd name="connsiteX749" fmla="*/ 4378710 w 7472601"/>
              <a:gd name="connsiteY749" fmla="*/ 1665516 h 6858000"/>
              <a:gd name="connsiteX750" fmla="*/ 4448798 w 7472601"/>
              <a:gd name="connsiteY750" fmla="*/ 1253024 h 6858000"/>
              <a:gd name="connsiteX751" fmla="*/ 4480315 w 7472601"/>
              <a:gd name="connsiteY751" fmla="*/ 1158454 h 6858000"/>
              <a:gd name="connsiteX752" fmla="*/ 4494133 w 7472601"/>
              <a:gd name="connsiteY752" fmla="*/ 1118676 h 6858000"/>
              <a:gd name="connsiteX753" fmla="*/ 4557898 w 7472601"/>
              <a:gd name="connsiteY753" fmla="*/ 900011 h 6858000"/>
              <a:gd name="connsiteX754" fmla="*/ 5870151 w 7472601"/>
              <a:gd name="connsiteY754" fmla="*/ 898890 h 6858000"/>
              <a:gd name="connsiteX755" fmla="*/ 5861335 w 7472601"/>
              <a:gd name="connsiteY755" fmla="*/ 899177 h 6858000"/>
              <a:gd name="connsiteX756" fmla="*/ 5843702 w 7472601"/>
              <a:gd name="connsiteY756" fmla="*/ 899748 h 6858000"/>
              <a:gd name="connsiteX757" fmla="*/ 5651107 w 7472601"/>
              <a:gd name="connsiteY757" fmla="*/ 920306 h 6858000"/>
              <a:gd name="connsiteX758" fmla="*/ 5459407 w 7472601"/>
              <a:gd name="connsiteY758" fmla="*/ 940975 h 6858000"/>
              <a:gd name="connsiteX759" fmla="*/ 5374846 w 7472601"/>
              <a:gd name="connsiteY759" fmla="*/ 941988 h 6858000"/>
              <a:gd name="connsiteX760" fmla="*/ 5256105 w 7472601"/>
              <a:gd name="connsiteY760" fmla="*/ 945632 h 6858000"/>
              <a:gd name="connsiteX761" fmla="*/ 5107071 w 7472601"/>
              <a:gd name="connsiteY761" fmla="*/ 969720 h 6858000"/>
              <a:gd name="connsiteX762" fmla="*/ 4998681 w 7472601"/>
              <a:gd name="connsiteY762" fmla="*/ 988771 h 6858000"/>
              <a:gd name="connsiteX763" fmla="*/ 5870151 w 7472601"/>
              <a:gd name="connsiteY763" fmla="*/ 898890 h 6858000"/>
              <a:gd name="connsiteX764" fmla="*/ 5504425 w 7472601"/>
              <a:gd name="connsiteY764" fmla="*/ 848067 h 6858000"/>
              <a:gd name="connsiteX765" fmla="*/ 4968849 w 7472601"/>
              <a:gd name="connsiteY765" fmla="*/ 962318 h 6858000"/>
              <a:gd name="connsiteX766" fmla="*/ 5104039 w 7472601"/>
              <a:gd name="connsiteY766" fmla="*/ 940634 h 6858000"/>
              <a:gd name="connsiteX767" fmla="*/ 5256311 w 7472601"/>
              <a:gd name="connsiteY767" fmla="*/ 916490 h 6858000"/>
              <a:gd name="connsiteX768" fmla="*/ 5377381 w 7472601"/>
              <a:gd name="connsiteY768" fmla="*/ 912671 h 6858000"/>
              <a:gd name="connsiteX769" fmla="*/ 5460148 w 7472601"/>
              <a:gd name="connsiteY769" fmla="*/ 911442 h 6858000"/>
              <a:gd name="connsiteX770" fmla="*/ 5648971 w 7472601"/>
              <a:gd name="connsiteY770" fmla="*/ 891331 h 6858000"/>
              <a:gd name="connsiteX771" fmla="*/ 5844807 w 7472601"/>
              <a:gd name="connsiteY771" fmla="*/ 870718 h 6858000"/>
              <a:gd name="connsiteX772" fmla="*/ 5862975 w 7472601"/>
              <a:gd name="connsiteY772" fmla="*/ 869756 h 6858000"/>
              <a:gd name="connsiteX773" fmla="*/ 5920887 w 7472601"/>
              <a:gd name="connsiteY773" fmla="*/ 865929 h 6858000"/>
              <a:gd name="connsiteX774" fmla="*/ 5504425 w 7472601"/>
              <a:gd name="connsiteY774" fmla="*/ 848067 h 6858000"/>
              <a:gd name="connsiteX775" fmla="*/ 3607114 w 7472601"/>
              <a:gd name="connsiteY775" fmla="*/ 467441 h 6858000"/>
              <a:gd name="connsiteX776" fmla="*/ 3296242 w 7472601"/>
              <a:gd name="connsiteY776" fmla="*/ 807991 h 6858000"/>
              <a:gd name="connsiteX777" fmla="*/ 3174674 w 7472601"/>
              <a:gd name="connsiteY777" fmla="*/ 919759 h 6858000"/>
              <a:gd name="connsiteX778" fmla="*/ 3042978 w 7472601"/>
              <a:gd name="connsiteY778" fmla="*/ 1054894 h 6858000"/>
              <a:gd name="connsiteX779" fmla="*/ 2968914 w 7472601"/>
              <a:gd name="connsiteY779" fmla="*/ 1133756 h 6858000"/>
              <a:gd name="connsiteX780" fmla="*/ 3103823 w 7472601"/>
              <a:gd name="connsiteY780" fmla="*/ 1026814 h 6858000"/>
              <a:gd name="connsiteX781" fmla="*/ 3607114 w 7472601"/>
              <a:gd name="connsiteY781" fmla="*/ 467441 h 6858000"/>
              <a:gd name="connsiteX782" fmla="*/ 3744487 w 7472601"/>
              <a:gd name="connsiteY782" fmla="*/ 383136 h 6858000"/>
              <a:gd name="connsiteX783" fmla="*/ 3970213 w 7472601"/>
              <a:gd name="connsiteY783" fmla="*/ 995559 h 6858000"/>
              <a:gd name="connsiteX784" fmla="*/ 3744487 w 7472601"/>
              <a:gd name="connsiteY784" fmla="*/ 383136 h 6858000"/>
              <a:gd name="connsiteX785" fmla="*/ 3624562 w 7472601"/>
              <a:gd name="connsiteY785" fmla="*/ 367041 h 6858000"/>
              <a:gd name="connsiteX786" fmla="*/ 3489712 w 7472601"/>
              <a:gd name="connsiteY786" fmla="*/ 485386 h 6858000"/>
              <a:gd name="connsiteX787" fmla="*/ 3182994 w 7472601"/>
              <a:gd name="connsiteY787" fmla="*/ 828265 h 6858000"/>
              <a:gd name="connsiteX788" fmla="*/ 2892114 w 7472601"/>
              <a:gd name="connsiteY788" fmla="*/ 1172635 h 6858000"/>
              <a:gd name="connsiteX789" fmla="*/ 3021459 w 7472601"/>
              <a:gd name="connsiteY789" fmla="*/ 1035385 h 6858000"/>
              <a:gd name="connsiteX790" fmla="*/ 3153873 w 7472601"/>
              <a:gd name="connsiteY790" fmla="*/ 898971 h 6858000"/>
              <a:gd name="connsiteX791" fmla="*/ 3276511 w 7472601"/>
              <a:gd name="connsiteY791" fmla="*/ 786423 h 6858000"/>
              <a:gd name="connsiteX792" fmla="*/ 3584154 w 7472601"/>
              <a:gd name="connsiteY792" fmla="*/ 448218 h 6858000"/>
              <a:gd name="connsiteX793" fmla="*/ 3624562 w 7472601"/>
              <a:gd name="connsiteY793" fmla="*/ 367041 h 6858000"/>
              <a:gd name="connsiteX794" fmla="*/ 3766672 w 7472601"/>
              <a:gd name="connsiteY794" fmla="*/ 359429 h 6858000"/>
              <a:gd name="connsiteX795" fmla="*/ 3996338 w 7472601"/>
              <a:gd name="connsiteY795" fmla="*/ 968237 h 6858000"/>
              <a:gd name="connsiteX796" fmla="*/ 3766672 w 7472601"/>
              <a:gd name="connsiteY796" fmla="*/ 359429 h 6858000"/>
              <a:gd name="connsiteX797" fmla="*/ 5805386 w 7472601"/>
              <a:gd name="connsiteY797" fmla="*/ 239240 h 6858000"/>
              <a:gd name="connsiteX798" fmla="*/ 5736947 w 7472601"/>
              <a:gd name="connsiteY798" fmla="*/ 261367 h 6858000"/>
              <a:gd name="connsiteX799" fmla="*/ 5427012 w 7472601"/>
              <a:gd name="connsiteY799" fmla="*/ 311272 h 6858000"/>
              <a:gd name="connsiteX800" fmla="*/ 5147818 w 7472601"/>
              <a:gd name="connsiteY800" fmla="*/ 322112 h 6858000"/>
              <a:gd name="connsiteX801" fmla="*/ 5060854 w 7472601"/>
              <a:gd name="connsiteY801" fmla="*/ 311882 h 6858000"/>
              <a:gd name="connsiteX802" fmla="*/ 4945989 w 7472601"/>
              <a:gd name="connsiteY802" fmla="*/ 300516 h 6858000"/>
              <a:gd name="connsiteX803" fmla="*/ 5410479 w 7472601"/>
              <a:gd name="connsiteY803" fmla="*/ 348434 h 6858000"/>
              <a:gd name="connsiteX804" fmla="*/ 5805386 w 7472601"/>
              <a:gd name="connsiteY804" fmla="*/ 239240 h 6858000"/>
              <a:gd name="connsiteX805" fmla="*/ 5905192 w 7472601"/>
              <a:gd name="connsiteY805" fmla="*/ 163079 h 6858000"/>
              <a:gd name="connsiteX806" fmla="*/ 5865655 w 7472601"/>
              <a:gd name="connsiteY806" fmla="*/ 171901 h 6858000"/>
              <a:gd name="connsiteX807" fmla="*/ 5259740 w 7472601"/>
              <a:gd name="connsiteY807" fmla="*/ 257013 h 6858000"/>
              <a:gd name="connsiteX808" fmla="*/ 5208466 w 7472601"/>
              <a:gd name="connsiteY808" fmla="*/ 257550 h 6858000"/>
              <a:gd name="connsiteX809" fmla="*/ 4980204 w 7472601"/>
              <a:gd name="connsiteY809" fmla="*/ 271903 h 6858000"/>
              <a:gd name="connsiteX810" fmla="*/ 5068068 w 7472601"/>
              <a:gd name="connsiteY810" fmla="*/ 282244 h 6858000"/>
              <a:gd name="connsiteX811" fmla="*/ 5153231 w 7472601"/>
              <a:gd name="connsiteY811" fmla="*/ 292240 h 6858000"/>
              <a:gd name="connsiteX812" fmla="*/ 5426491 w 7472601"/>
              <a:gd name="connsiteY812" fmla="*/ 281128 h 6858000"/>
              <a:gd name="connsiteX813" fmla="*/ 5731212 w 7472601"/>
              <a:gd name="connsiteY813" fmla="*/ 231951 h 6858000"/>
              <a:gd name="connsiteX814" fmla="*/ 5905192 w 7472601"/>
              <a:gd name="connsiteY814" fmla="*/ 163079 h 6858000"/>
              <a:gd name="connsiteX815" fmla="*/ 5944437 w 7472601"/>
              <a:gd name="connsiteY815" fmla="*/ 113829 h 6858000"/>
              <a:gd name="connsiteX816" fmla="*/ 5825032 w 7472601"/>
              <a:gd name="connsiteY816" fmla="*/ 146405 h 6858000"/>
              <a:gd name="connsiteX817" fmla="*/ 4955599 w 7472601"/>
              <a:gd name="connsiteY817" fmla="*/ 247008 h 6858000"/>
              <a:gd name="connsiteX818" fmla="*/ 5210104 w 7472601"/>
              <a:gd name="connsiteY818" fmla="*/ 228123 h 6858000"/>
              <a:gd name="connsiteX819" fmla="*/ 5261015 w 7472601"/>
              <a:gd name="connsiteY819" fmla="*/ 227087 h 6858000"/>
              <a:gd name="connsiteX820" fmla="*/ 5861181 w 7472601"/>
              <a:gd name="connsiteY820" fmla="*/ 143093 h 6858000"/>
              <a:gd name="connsiteX821" fmla="*/ 5961252 w 7472601"/>
              <a:gd name="connsiteY821" fmla="*/ 114820 h 6858000"/>
              <a:gd name="connsiteX822" fmla="*/ 5944437 w 7472601"/>
              <a:gd name="connsiteY822" fmla="*/ 113829 h 6858000"/>
              <a:gd name="connsiteX823" fmla="*/ 3882765 w 7472601"/>
              <a:gd name="connsiteY823" fmla="*/ 0 h 6858000"/>
              <a:gd name="connsiteX824" fmla="*/ 3995099 w 7472601"/>
              <a:gd name="connsiteY824" fmla="*/ 0 h 6858000"/>
              <a:gd name="connsiteX825" fmla="*/ 4163818 w 7472601"/>
              <a:gd name="connsiteY825" fmla="*/ 234104 h 6858000"/>
              <a:gd name="connsiteX826" fmla="*/ 4172099 w 7472601"/>
              <a:gd name="connsiteY826" fmla="*/ 234207 h 6858000"/>
              <a:gd name="connsiteX827" fmla="*/ 4784282 w 7472601"/>
              <a:gd name="connsiteY827" fmla="*/ 276561 h 6858000"/>
              <a:gd name="connsiteX828" fmla="*/ 4801687 w 7472601"/>
              <a:gd name="connsiteY828" fmla="*/ 267764 h 6858000"/>
              <a:gd name="connsiteX829" fmla="*/ 6082788 w 7472601"/>
              <a:gd name="connsiteY829" fmla="*/ 64119 h 6858000"/>
              <a:gd name="connsiteX830" fmla="*/ 6099442 w 7472601"/>
              <a:gd name="connsiteY830" fmla="*/ 82568 h 6858000"/>
              <a:gd name="connsiteX831" fmla="*/ 4804137 w 7472601"/>
              <a:gd name="connsiteY831" fmla="*/ 320931 h 6858000"/>
              <a:gd name="connsiteX832" fmla="*/ 4227047 w 7472601"/>
              <a:gd name="connsiteY832" fmla="*/ 313415 h 6858000"/>
              <a:gd name="connsiteX833" fmla="*/ 4346041 w 7472601"/>
              <a:gd name="connsiteY833" fmla="*/ 456086 h 6858000"/>
              <a:gd name="connsiteX834" fmla="*/ 4870967 w 7472601"/>
              <a:gd name="connsiteY834" fmla="*/ 963061 h 6858000"/>
              <a:gd name="connsiteX835" fmla="*/ 4889647 w 7472601"/>
              <a:gd name="connsiteY835" fmla="*/ 957147 h 6858000"/>
              <a:gd name="connsiteX836" fmla="*/ 5422504 w 7472601"/>
              <a:gd name="connsiteY836" fmla="*/ 805191 h 6858000"/>
              <a:gd name="connsiteX837" fmla="*/ 6087656 w 7472601"/>
              <a:gd name="connsiteY837" fmla="*/ 826703 h 6858000"/>
              <a:gd name="connsiteX838" fmla="*/ 6058717 w 7472601"/>
              <a:gd name="connsiteY838" fmla="*/ 865992 h 6858000"/>
              <a:gd name="connsiteX839" fmla="*/ 4974153 w 7472601"/>
              <a:gd name="connsiteY839" fmla="*/ 1045456 h 6858000"/>
              <a:gd name="connsiteX840" fmla="*/ 5627835 w 7472601"/>
              <a:gd name="connsiteY840" fmla="*/ 1472077 h 6858000"/>
              <a:gd name="connsiteX841" fmla="*/ 5629817 w 7472601"/>
              <a:gd name="connsiteY841" fmla="*/ 1471412 h 6858000"/>
              <a:gd name="connsiteX842" fmla="*/ 5634124 w 7472601"/>
              <a:gd name="connsiteY842" fmla="*/ 1470572 h 6858000"/>
              <a:gd name="connsiteX843" fmla="*/ 5755832 w 7472601"/>
              <a:gd name="connsiteY843" fmla="*/ 1383886 h 6858000"/>
              <a:gd name="connsiteX844" fmla="*/ 6014186 w 7472601"/>
              <a:gd name="connsiteY844" fmla="*/ 1279799 h 6858000"/>
              <a:gd name="connsiteX845" fmla="*/ 6901619 w 7472601"/>
              <a:gd name="connsiteY845" fmla="*/ 1047874 h 6858000"/>
              <a:gd name="connsiteX846" fmla="*/ 6931566 w 7472601"/>
              <a:gd name="connsiteY846" fmla="*/ 1062034 h 6858000"/>
              <a:gd name="connsiteX847" fmla="*/ 5790982 w 7472601"/>
              <a:gd name="connsiteY847" fmla="*/ 1561380 h 6858000"/>
              <a:gd name="connsiteX848" fmla="*/ 6188971 w 7472601"/>
              <a:gd name="connsiteY848" fmla="*/ 1755168 h 6858000"/>
              <a:gd name="connsiteX849" fmla="*/ 6202446 w 7472601"/>
              <a:gd name="connsiteY849" fmla="*/ 1752268 h 6858000"/>
              <a:gd name="connsiteX850" fmla="*/ 7179560 w 7472601"/>
              <a:gd name="connsiteY850" fmla="*/ 1467551 h 6858000"/>
              <a:gd name="connsiteX851" fmla="*/ 7158730 w 7472601"/>
              <a:gd name="connsiteY851" fmla="*/ 1507835 h 6858000"/>
              <a:gd name="connsiteX852" fmla="*/ 6326959 w 7472601"/>
              <a:gd name="connsiteY852" fmla="*/ 1817686 h 6858000"/>
              <a:gd name="connsiteX853" fmla="*/ 6537433 w 7472601"/>
              <a:gd name="connsiteY853" fmla="*/ 1907790 h 6858000"/>
              <a:gd name="connsiteX854" fmla="*/ 6550221 w 7472601"/>
              <a:gd name="connsiteY854" fmla="*/ 1910729 h 6858000"/>
              <a:gd name="connsiteX855" fmla="*/ 6964438 w 7472601"/>
              <a:gd name="connsiteY855" fmla="*/ 2209505 h 6858000"/>
              <a:gd name="connsiteX856" fmla="*/ 7367862 w 7472601"/>
              <a:gd name="connsiteY856" fmla="*/ 2806833 h 6858000"/>
              <a:gd name="connsiteX857" fmla="*/ 7364329 w 7472601"/>
              <a:gd name="connsiteY857" fmla="*/ 2826907 h 6858000"/>
              <a:gd name="connsiteX858" fmla="*/ 7290545 w 7472601"/>
              <a:gd name="connsiteY858" fmla="*/ 2850663 h 6858000"/>
              <a:gd name="connsiteX859" fmla="*/ 6472036 w 7472601"/>
              <a:gd name="connsiteY859" fmla="*/ 1959003 h 6858000"/>
              <a:gd name="connsiteX860" fmla="*/ 5792897 w 7472601"/>
              <a:gd name="connsiteY860" fmla="*/ 1647747 h 6858000"/>
              <a:gd name="connsiteX861" fmla="*/ 5842751 w 7472601"/>
              <a:gd name="connsiteY861" fmla="*/ 1816112 h 6858000"/>
              <a:gd name="connsiteX862" fmla="*/ 5847424 w 7472601"/>
              <a:gd name="connsiteY862" fmla="*/ 1815776 h 6858000"/>
              <a:gd name="connsiteX863" fmla="*/ 6399821 w 7472601"/>
              <a:gd name="connsiteY863" fmla="*/ 2344799 h 6858000"/>
              <a:gd name="connsiteX864" fmla="*/ 6323232 w 7472601"/>
              <a:gd name="connsiteY864" fmla="*/ 2389634 h 6858000"/>
              <a:gd name="connsiteX865" fmla="*/ 5942958 w 7472601"/>
              <a:gd name="connsiteY865" fmla="*/ 2077708 h 6858000"/>
              <a:gd name="connsiteX866" fmla="*/ 5921559 w 7472601"/>
              <a:gd name="connsiteY866" fmla="*/ 2378596 h 6858000"/>
              <a:gd name="connsiteX867" fmla="*/ 5817651 w 7472601"/>
              <a:gd name="connsiteY867" fmla="*/ 3023919 h 6858000"/>
              <a:gd name="connsiteX868" fmla="*/ 5729634 w 7472601"/>
              <a:gd name="connsiteY868" fmla="*/ 3051849 h 6858000"/>
              <a:gd name="connsiteX869" fmla="*/ 5611018 w 7472601"/>
              <a:gd name="connsiteY869" fmla="*/ 2316769 h 6858000"/>
              <a:gd name="connsiteX870" fmla="*/ 5687608 w 7472601"/>
              <a:gd name="connsiteY870" fmla="*/ 2039972 h 6858000"/>
              <a:gd name="connsiteX871" fmla="*/ 5657554 w 7472601"/>
              <a:gd name="connsiteY871" fmla="*/ 1576445 h 6858000"/>
              <a:gd name="connsiteX872" fmla="*/ 5150475 w 7472601"/>
              <a:gd name="connsiteY872" fmla="*/ 1274012 h 6858000"/>
              <a:gd name="connsiteX873" fmla="*/ 5349142 w 7472601"/>
              <a:gd name="connsiteY873" fmla="*/ 2204405 h 6858000"/>
              <a:gd name="connsiteX874" fmla="*/ 5262214 w 7472601"/>
              <a:gd name="connsiteY874" fmla="*/ 2233836 h 6858000"/>
              <a:gd name="connsiteX875" fmla="*/ 4981539 w 7472601"/>
              <a:gd name="connsiteY875" fmla="*/ 1542201 h 6858000"/>
              <a:gd name="connsiteX876" fmla="*/ 4958461 w 7472601"/>
              <a:gd name="connsiteY876" fmla="*/ 1136957 h 6858000"/>
              <a:gd name="connsiteX877" fmla="*/ 4655015 w 7472601"/>
              <a:gd name="connsiteY877" fmla="*/ 891426 h 6858000"/>
              <a:gd name="connsiteX878" fmla="*/ 4348002 w 7472601"/>
              <a:gd name="connsiteY878" fmla="*/ 2205895 h 6858000"/>
              <a:gd name="connsiteX879" fmla="*/ 4262250 w 7472601"/>
              <a:gd name="connsiteY879" fmla="*/ 2219972 h 6858000"/>
              <a:gd name="connsiteX880" fmla="*/ 4550611 w 7472601"/>
              <a:gd name="connsiteY880" fmla="*/ 817540 h 6858000"/>
              <a:gd name="connsiteX881" fmla="*/ 4564418 w 7472601"/>
              <a:gd name="connsiteY881" fmla="*/ 808293 h 6858000"/>
              <a:gd name="connsiteX882" fmla="*/ 4266388 w 7472601"/>
              <a:gd name="connsiteY882" fmla="*/ 500083 h 6858000"/>
              <a:gd name="connsiteX883" fmla="*/ 4032842 w 7472601"/>
              <a:gd name="connsiteY883" fmla="*/ 211809 h 6858000"/>
              <a:gd name="connsiteX884" fmla="*/ 3882765 w 7472601"/>
              <a:gd name="connsiteY884" fmla="*/ 0 h 6858000"/>
              <a:gd name="connsiteX885" fmla="*/ 3721337 w 7472601"/>
              <a:gd name="connsiteY885" fmla="*/ 0 h 6858000"/>
              <a:gd name="connsiteX886" fmla="*/ 3797544 w 7472601"/>
              <a:gd name="connsiteY886" fmla="*/ 0 h 6858000"/>
              <a:gd name="connsiteX887" fmla="*/ 3775734 w 7472601"/>
              <a:gd name="connsiteY887" fmla="*/ 95131 h 6858000"/>
              <a:gd name="connsiteX888" fmla="*/ 3724807 w 7472601"/>
              <a:gd name="connsiteY888" fmla="*/ 272257 h 6858000"/>
              <a:gd name="connsiteX889" fmla="*/ 3726844 w 7472601"/>
              <a:gd name="connsiteY889" fmla="*/ 282988 h 6858000"/>
              <a:gd name="connsiteX890" fmla="*/ 3742664 w 7472601"/>
              <a:gd name="connsiteY890" fmla="*/ 279918 h 6858000"/>
              <a:gd name="connsiteX891" fmla="*/ 4103910 w 7472601"/>
              <a:gd name="connsiteY891" fmla="*/ 1161917 h 6858000"/>
              <a:gd name="connsiteX892" fmla="*/ 4020269 w 7472601"/>
              <a:gd name="connsiteY892" fmla="*/ 1200406 h 6858000"/>
              <a:gd name="connsiteX893" fmla="*/ 3674882 w 7472601"/>
              <a:gd name="connsiteY893" fmla="*/ 488524 h 6858000"/>
              <a:gd name="connsiteX894" fmla="*/ 3132682 w 7472601"/>
              <a:gd name="connsiteY894" fmla="*/ 1072284 h 6858000"/>
              <a:gd name="connsiteX895" fmla="*/ 2716346 w 7472601"/>
              <a:gd name="connsiteY895" fmla="*/ 1276376 h 6858000"/>
              <a:gd name="connsiteX896" fmla="*/ 2716772 w 7472601"/>
              <a:gd name="connsiteY896" fmla="*/ 1255462 h 6858000"/>
              <a:gd name="connsiteX897" fmla="*/ 3471096 w 7472601"/>
              <a:gd name="connsiteY897" fmla="*/ 437072 h 6858000"/>
              <a:gd name="connsiteX898" fmla="*/ 3639057 w 7472601"/>
              <a:gd name="connsiteY898" fmla="*/ 286334 h 6858000"/>
              <a:gd name="connsiteX899" fmla="*/ 3640309 w 7472601"/>
              <a:gd name="connsiteY899" fmla="*/ 284664 h 6858000"/>
              <a:gd name="connsiteX900" fmla="*/ 3646022 w 7472601"/>
              <a:gd name="connsiteY900" fmla="*/ 276711 h 6858000"/>
              <a:gd name="connsiteX901" fmla="*/ 3707943 w 7472601"/>
              <a:gd name="connsiteY901" fmla="*/ 65958 h 6858000"/>
              <a:gd name="connsiteX902" fmla="*/ 3721337 w 7472601"/>
              <a:gd name="connsiteY902" fmla="*/ 0 h 6858000"/>
              <a:gd name="connsiteX903" fmla="*/ 2867960 w 7472601"/>
              <a:gd name="connsiteY903" fmla="*/ 0 h 6858000"/>
              <a:gd name="connsiteX904" fmla="*/ 2926351 w 7472601"/>
              <a:gd name="connsiteY904" fmla="*/ 0 h 6858000"/>
              <a:gd name="connsiteX905" fmla="*/ 2902823 w 7472601"/>
              <a:gd name="connsiteY905" fmla="*/ 262929 h 6858000"/>
              <a:gd name="connsiteX906" fmla="*/ 2940663 w 7472601"/>
              <a:gd name="connsiteY906" fmla="*/ 140884 h 6858000"/>
              <a:gd name="connsiteX907" fmla="*/ 2947039 w 7472601"/>
              <a:gd name="connsiteY907" fmla="*/ 122524 h 6858000"/>
              <a:gd name="connsiteX908" fmla="*/ 2984316 w 7472601"/>
              <a:gd name="connsiteY908" fmla="*/ 0 h 6858000"/>
              <a:gd name="connsiteX909" fmla="*/ 3016114 w 7472601"/>
              <a:gd name="connsiteY909" fmla="*/ 0 h 6858000"/>
              <a:gd name="connsiteX910" fmla="*/ 2979949 w 7472601"/>
              <a:gd name="connsiteY910" fmla="*/ 119274 h 6858000"/>
              <a:gd name="connsiteX911" fmla="*/ 3023879 w 7472601"/>
              <a:gd name="connsiteY911" fmla="*/ 0 h 6858000"/>
              <a:gd name="connsiteX912" fmla="*/ 3105400 w 7472601"/>
              <a:gd name="connsiteY912" fmla="*/ 0 h 6858000"/>
              <a:gd name="connsiteX913" fmla="*/ 3094669 w 7472601"/>
              <a:gd name="connsiteY913" fmla="*/ 30308 h 6858000"/>
              <a:gd name="connsiteX914" fmla="*/ 2901945 w 7472601"/>
              <a:gd name="connsiteY914" fmla="*/ 466538 h 6858000"/>
              <a:gd name="connsiteX915" fmla="*/ 2815209 w 7472601"/>
              <a:gd name="connsiteY915" fmla="*/ 497361 h 6858000"/>
              <a:gd name="connsiteX916" fmla="*/ 2844845 w 7472601"/>
              <a:gd name="connsiteY916" fmla="*/ 127638 h 6858000"/>
              <a:gd name="connsiteX917" fmla="*/ 2867960 w 7472601"/>
              <a:gd name="connsiteY917" fmla="*/ 0 h 6858000"/>
              <a:gd name="connsiteX918" fmla="*/ 1057230 w 7472601"/>
              <a:gd name="connsiteY918" fmla="*/ 0 h 6858000"/>
              <a:gd name="connsiteX919" fmla="*/ 1111003 w 7472601"/>
              <a:gd name="connsiteY919" fmla="*/ 0 h 6858000"/>
              <a:gd name="connsiteX920" fmla="*/ 1125553 w 7472601"/>
              <a:gd name="connsiteY920" fmla="*/ 52588 h 6858000"/>
              <a:gd name="connsiteX921" fmla="*/ 1304276 w 7472601"/>
              <a:gd name="connsiteY921" fmla="*/ 476275 h 6858000"/>
              <a:gd name="connsiteX922" fmla="*/ 1492066 w 7472601"/>
              <a:gd name="connsiteY922" fmla="*/ 886333 h 6858000"/>
              <a:gd name="connsiteX923" fmla="*/ 1423698 w 7472601"/>
              <a:gd name="connsiteY923" fmla="*/ 710817 h 6858000"/>
              <a:gd name="connsiteX924" fmla="*/ 1357609 w 7472601"/>
              <a:gd name="connsiteY924" fmla="*/ 532892 h 6858000"/>
              <a:gd name="connsiteX925" fmla="*/ 1309550 w 7472601"/>
              <a:gd name="connsiteY925" fmla="*/ 374031 h 6858000"/>
              <a:gd name="connsiteX926" fmla="*/ 1193673 w 7472601"/>
              <a:gd name="connsiteY926" fmla="*/ 49533 h 6858000"/>
              <a:gd name="connsiteX927" fmla="*/ 1164391 w 7472601"/>
              <a:gd name="connsiteY927" fmla="*/ 0 h 6858000"/>
              <a:gd name="connsiteX928" fmla="*/ 1200666 w 7472601"/>
              <a:gd name="connsiteY928" fmla="*/ 0 h 6858000"/>
              <a:gd name="connsiteX929" fmla="*/ 1223408 w 7472601"/>
              <a:gd name="connsiteY929" fmla="*/ 38996 h 6858000"/>
              <a:gd name="connsiteX930" fmla="*/ 1339635 w 7472601"/>
              <a:gd name="connsiteY930" fmla="*/ 365517 h 6858000"/>
              <a:gd name="connsiteX931" fmla="*/ 1387469 w 7472601"/>
              <a:gd name="connsiteY931" fmla="*/ 523079 h 6858000"/>
              <a:gd name="connsiteX932" fmla="*/ 1452685 w 7472601"/>
              <a:gd name="connsiteY932" fmla="*/ 699806 h 6858000"/>
              <a:gd name="connsiteX933" fmla="*/ 1492092 w 7472601"/>
              <a:gd name="connsiteY933" fmla="*/ 800424 h 6858000"/>
              <a:gd name="connsiteX934" fmla="*/ 1455302 w 7472601"/>
              <a:gd name="connsiteY934" fmla="*/ 632913 h 6858000"/>
              <a:gd name="connsiteX935" fmla="*/ 1222336 w 7472601"/>
              <a:gd name="connsiteY935" fmla="*/ 9480 h 6858000"/>
              <a:gd name="connsiteX936" fmla="*/ 1214634 w 7472601"/>
              <a:gd name="connsiteY936" fmla="*/ 0 h 6858000"/>
              <a:gd name="connsiteX937" fmla="*/ 1289827 w 7472601"/>
              <a:gd name="connsiteY937" fmla="*/ 0 h 6858000"/>
              <a:gd name="connsiteX938" fmla="*/ 1321076 w 7472601"/>
              <a:gd name="connsiteY938" fmla="*/ 59722 h 6858000"/>
              <a:gd name="connsiteX939" fmla="*/ 1512579 w 7472601"/>
              <a:gd name="connsiteY939" fmla="*/ 626441 h 6858000"/>
              <a:gd name="connsiteX940" fmla="*/ 1506076 w 7472601"/>
              <a:gd name="connsiteY940" fmla="*/ 1089289 h 6858000"/>
              <a:gd name="connsiteX941" fmla="*/ 1486346 w 7472601"/>
              <a:gd name="connsiteY941" fmla="*/ 1079919 h 6858000"/>
              <a:gd name="connsiteX942" fmla="*/ 1070511 w 7472601"/>
              <a:gd name="connsiteY942" fmla="*/ 48609 h 6858000"/>
              <a:gd name="connsiteX943" fmla="*/ 1057230 w 7472601"/>
              <a:gd name="connsiteY943" fmla="*/ 0 h 6858000"/>
              <a:gd name="connsiteX944" fmla="*/ 43151 w 7472601"/>
              <a:gd name="connsiteY944" fmla="*/ 0 h 6858000"/>
              <a:gd name="connsiteX945" fmla="*/ 95283 w 7472601"/>
              <a:gd name="connsiteY945" fmla="*/ 0 h 6858000"/>
              <a:gd name="connsiteX946" fmla="*/ 300708 w 7472601"/>
              <a:gd name="connsiteY946" fmla="*/ 154571 h 6858000"/>
              <a:gd name="connsiteX947" fmla="*/ 530414 w 7472601"/>
              <a:gd name="connsiteY947" fmla="*/ 354673 h 6858000"/>
              <a:gd name="connsiteX948" fmla="*/ 333785 w 7472601"/>
              <a:gd name="connsiteY948" fmla="*/ 161564 h 6858000"/>
              <a:gd name="connsiteX949" fmla="*/ 147005 w 7472601"/>
              <a:gd name="connsiteY949" fmla="*/ 0 h 6858000"/>
              <a:gd name="connsiteX950" fmla="*/ 272509 w 7472601"/>
              <a:gd name="connsiteY950" fmla="*/ 0 h 6858000"/>
              <a:gd name="connsiteX951" fmla="*/ 326276 w 7472601"/>
              <a:gd name="connsiteY951" fmla="*/ 45847 h 6858000"/>
              <a:gd name="connsiteX952" fmla="*/ 823759 w 7472601"/>
              <a:gd name="connsiteY952" fmla="*/ 574145 h 6858000"/>
              <a:gd name="connsiteX953" fmla="*/ 811254 w 7472601"/>
              <a:gd name="connsiteY953" fmla="*/ 665546 h 6858000"/>
              <a:gd name="connsiteX954" fmla="*/ 154042 w 7472601"/>
              <a:gd name="connsiteY954" fmla="*/ 261522 h 6858000"/>
              <a:gd name="connsiteX955" fmla="*/ 13550 w 7472601"/>
              <a:gd name="connsiteY955" fmla="*/ 158423 h 6858000"/>
              <a:gd name="connsiteX956" fmla="*/ 0 w 7472601"/>
              <a:gd name="connsiteY956" fmla="*/ 146618 h 6858000"/>
              <a:gd name="connsiteX957" fmla="*/ 0 w 7472601"/>
              <a:gd name="connsiteY957" fmla="*/ 59161 h 6858000"/>
              <a:gd name="connsiteX958" fmla="*/ 45427 w 7472601"/>
              <a:gd name="connsiteY958" fmla="*/ 101078 h 6858000"/>
              <a:gd name="connsiteX959" fmla="*/ 630103 w 7472601"/>
              <a:gd name="connsiteY959" fmla="*/ 485885 h 6858000"/>
              <a:gd name="connsiteX960" fmla="*/ 532040 w 7472601"/>
              <a:gd name="connsiteY960" fmla="*/ 399359 h 6858000"/>
              <a:gd name="connsiteX961" fmla="*/ 517618 w 7472601"/>
              <a:gd name="connsiteY961" fmla="*/ 385726 h 6858000"/>
              <a:gd name="connsiteX962" fmla="*/ 285074 w 7472601"/>
              <a:gd name="connsiteY962" fmla="*/ 182755 h 6858000"/>
              <a:gd name="connsiteX963" fmla="*/ 43151 w 7472601"/>
              <a:gd name="connsiteY963" fmla="*/ 0 h 6858000"/>
              <a:gd name="connsiteX0" fmla="*/ 369702 w 7472601"/>
              <a:gd name="connsiteY0" fmla="*/ 6712169 h 6858000"/>
              <a:gd name="connsiteX1" fmla="*/ 366575 w 7472601"/>
              <a:gd name="connsiteY1" fmla="*/ 6715556 h 6858000"/>
              <a:gd name="connsiteX2" fmla="*/ 371637 w 7472601"/>
              <a:gd name="connsiteY2" fmla="*/ 6713954 h 6858000"/>
              <a:gd name="connsiteX3" fmla="*/ 369702 w 7472601"/>
              <a:gd name="connsiteY3" fmla="*/ 6712169 h 6858000"/>
              <a:gd name="connsiteX4" fmla="*/ 7088673 w 7472601"/>
              <a:gd name="connsiteY4" fmla="*/ 6610396 h 6858000"/>
              <a:gd name="connsiteX5" fmla="*/ 7440138 w 7472601"/>
              <a:gd name="connsiteY5" fmla="*/ 6622648 h 6858000"/>
              <a:gd name="connsiteX6" fmla="*/ 7467600 w 7472601"/>
              <a:gd name="connsiteY6" fmla="*/ 6628217 h 6858000"/>
              <a:gd name="connsiteX7" fmla="*/ 7467600 w 7472601"/>
              <a:gd name="connsiteY7" fmla="*/ 6668575 h 6858000"/>
              <a:gd name="connsiteX8" fmla="*/ 7392322 w 7472601"/>
              <a:gd name="connsiteY8" fmla="*/ 6658238 h 6858000"/>
              <a:gd name="connsiteX9" fmla="*/ 7467600 w 7472601"/>
              <a:gd name="connsiteY9" fmla="*/ 6683873 h 6858000"/>
              <a:gd name="connsiteX10" fmla="*/ 7467600 w 7472601"/>
              <a:gd name="connsiteY10" fmla="*/ 6714215 h 6858000"/>
              <a:gd name="connsiteX11" fmla="*/ 7447383 w 7472601"/>
              <a:gd name="connsiteY11" fmla="*/ 6707202 h 6858000"/>
              <a:gd name="connsiteX12" fmla="*/ 7289862 w 7472601"/>
              <a:gd name="connsiteY12" fmla="*/ 6659827 h 6858000"/>
              <a:gd name="connsiteX13" fmla="*/ 7434024 w 7472601"/>
              <a:gd name="connsiteY13" fmla="*/ 6722130 h 6858000"/>
              <a:gd name="connsiteX14" fmla="*/ 7467600 w 7472601"/>
              <a:gd name="connsiteY14" fmla="*/ 6736157 h 6858000"/>
              <a:gd name="connsiteX15" fmla="*/ 7467600 w 7472601"/>
              <a:gd name="connsiteY15" fmla="*/ 6767913 h 6858000"/>
              <a:gd name="connsiteX16" fmla="*/ 7392158 w 7472601"/>
              <a:gd name="connsiteY16" fmla="*/ 6771365 h 6858000"/>
              <a:gd name="connsiteX17" fmla="*/ 7467600 w 7472601"/>
              <a:gd name="connsiteY17" fmla="*/ 6805948 h 6858000"/>
              <a:gd name="connsiteX18" fmla="*/ 7467600 w 7472601"/>
              <a:gd name="connsiteY18" fmla="*/ 6831490 h 6858000"/>
              <a:gd name="connsiteX19" fmla="*/ 7410696 w 7472601"/>
              <a:gd name="connsiteY19" fmla="*/ 6803861 h 6858000"/>
              <a:gd name="connsiteX20" fmla="*/ 7088673 w 7472601"/>
              <a:gd name="connsiteY20" fmla="*/ 6610396 h 6858000"/>
              <a:gd name="connsiteX21" fmla="*/ 1019354 w 7472601"/>
              <a:gd name="connsiteY21" fmla="*/ 6315006 h 6858000"/>
              <a:gd name="connsiteX22" fmla="*/ 441046 w 7472601"/>
              <a:gd name="connsiteY22" fmla="*/ 6691153 h 6858000"/>
              <a:gd name="connsiteX23" fmla="*/ 1019354 w 7472601"/>
              <a:gd name="connsiteY23" fmla="*/ 6315006 h 6858000"/>
              <a:gd name="connsiteX24" fmla="*/ 991680 w 7472601"/>
              <a:gd name="connsiteY24" fmla="*/ 6298413 h 6858000"/>
              <a:gd name="connsiteX25" fmla="*/ 409060 w 7472601"/>
              <a:gd name="connsiteY25" fmla="*/ 6671470 h 6858000"/>
              <a:gd name="connsiteX26" fmla="*/ 991680 w 7472601"/>
              <a:gd name="connsiteY26" fmla="*/ 6298413 h 6858000"/>
              <a:gd name="connsiteX27" fmla="*/ 103333 w 7472601"/>
              <a:gd name="connsiteY27" fmla="*/ 5699602 h 6858000"/>
              <a:gd name="connsiteX28" fmla="*/ 233938 w 7472601"/>
              <a:gd name="connsiteY28" fmla="*/ 5809416 h 6858000"/>
              <a:gd name="connsiteX29" fmla="*/ 883580 w 7472601"/>
              <a:gd name="connsiteY29" fmla="*/ 6180710 h 6858000"/>
              <a:gd name="connsiteX30" fmla="*/ 487337 w 7472601"/>
              <a:gd name="connsiteY30" fmla="*/ 5950182 h 6858000"/>
              <a:gd name="connsiteX31" fmla="*/ 354051 w 7472601"/>
              <a:gd name="connsiteY31" fmla="*/ 5854912 h 6858000"/>
              <a:gd name="connsiteX32" fmla="*/ 195436 w 7472601"/>
              <a:gd name="connsiteY32" fmla="*/ 5755068 h 6858000"/>
              <a:gd name="connsiteX33" fmla="*/ 103333 w 7472601"/>
              <a:gd name="connsiteY33" fmla="*/ 5699602 h 6858000"/>
              <a:gd name="connsiteX34" fmla="*/ 5539432 w 7472601"/>
              <a:gd name="connsiteY34" fmla="*/ 5642928 h 6858000"/>
              <a:gd name="connsiteX35" fmla="*/ 5555462 w 7472601"/>
              <a:gd name="connsiteY35" fmla="*/ 5694454 h 6858000"/>
              <a:gd name="connsiteX36" fmla="*/ 5828270 w 7472601"/>
              <a:gd name="connsiteY36" fmla="*/ 6320663 h 6858000"/>
              <a:gd name="connsiteX37" fmla="*/ 5947416 w 7472601"/>
              <a:gd name="connsiteY37" fmla="*/ 6574846 h 6858000"/>
              <a:gd name="connsiteX38" fmla="*/ 5539432 w 7472601"/>
              <a:gd name="connsiteY38" fmla="*/ 5642928 h 6858000"/>
              <a:gd name="connsiteX39" fmla="*/ 51253 w 7472601"/>
              <a:gd name="connsiteY39" fmla="*/ 5631825 h 6858000"/>
              <a:gd name="connsiteX40" fmla="*/ 211622 w 7472601"/>
              <a:gd name="connsiteY40" fmla="*/ 5728803 h 6858000"/>
              <a:gd name="connsiteX41" fmla="*/ 371652 w 7472601"/>
              <a:gd name="connsiteY41" fmla="*/ 5829062 h 6858000"/>
              <a:gd name="connsiteX42" fmla="*/ 505903 w 7472601"/>
              <a:gd name="connsiteY42" fmla="*/ 5925221 h 6858000"/>
              <a:gd name="connsiteX43" fmla="*/ 899240 w 7472601"/>
              <a:gd name="connsiteY43" fmla="*/ 6153068 h 6858000"/>
              <a:gd name="connsiteX44" fmla="*/ 988114 w 7472601"/>
              <a:gd name="connsiteY44" fmla="*/ 6174204 h 6858000"/>
              <a:gd name="connsiteX45" fmla="*/ 845971 w 7472601"/>
              <a:gd name="connsiteY45" fmla="*/ 6067177 h 6858000"/>
              <a:gd name="connsiteX46" fmla="*/ 448057 w 7472601"/>
              <a:gd name="connsiteY46" fmla="*/ 5841376 h 6858000"/>
              <a:gd name="connsiteX47" fmla="*/ 51253 w 7472601"/>
              <a:gd name="connsiteY47" fmla="*/ 5631825 h 6858000"/>
              <a:gd name="connsiteX48" fmla="*/ 2606687 w 7472601"/>
              <a:gd name="connsiteY48" fmla="*/ 5630718 h 6858000"/>
              <a:gd name="connsiteX49" fmla="*/ 2645658 w 7472601"/>
              <a:gd name="connsiteY49" fmla="*/ 6640259 h 6858000"/>
              <a:gd name="connsiteX50" fmla="*/ 2606687 w 7472601"/>
              <a:gd name="connsiteY50" fmla="*/ 5630718 h 6858000"/>
              <a:gd name="connsiteX51" fmla="*/ 3642057 w 7472601"/>
              <a:gd name="connsiteY51" fmla="*/ 5573487 h 6858000"/>
              <a:gd name="connsiteX52" fmla="*/ 3632981 w 7472601"/>
              <a:gd name="connsiteY52" fmla="*/ 5579437 h 6858000"/>
              <a:gd name="connsiteX53" fmla="*/ 3382436 w 7472601"/>
              <a:gd name="connsiteY53" fmla="*/ 5952726 h 6858000"/>
              <a:gd name="connsiteX54" fmla="*/ 3191929 w 7472601"/>
              <a:gd name="connsiteY54" fmla="*/ 6662669 h 6858000"/>
              <a:gd name="connsiteX55" fmla="*/ 3369898 w 7472601"/>
              <a:gd name="connsiteY55" fmla="*/ 6081771 h 6858000"/>
              <a:gd name="connsiteX56" fmla="*/ 3642057 w 7472601"/>
              <a:gd name="connsiteY56" fmla="*/ 5573487 h 6858000"/>
              <a:gd name="connsiteX57" fmla="*/ 2650666 w 7472601"/>
              <a:gd name="connsiteY57" fmla="*/ 5530686 h 6858000"/>
              <a:gd name="connsiteX58" fmla="*/ 2650249 w 7472601"/>
              <a:gd name="connsiteY58" fmla="*/ 5532101 h 6858000"/>
              <a:gd name="connsiteX59" fmla="*/ 2663808 w 7472601"/>
              <a:gd name="connsiteY59" fmla="*/ 6535215 h 6858000"/>
              <a:gd name="connsiteX60" fmla="*/ 2665418 w 7472601"/>
              <a:gd name="connsiteY60" fmla="*/ 6132756 h 6858000"/>
              <a:gd name="connsiteX61" fmla="*/ 2650666 w 7472601"/>
              <a:gd name="connsiteY61" fmla="*/ 5530686 h 6858000"/>
              <a:gd name="connsiteX62" fmla="*/ 2680277 w 7472601"/>
              <a:gd name="connsiteY62" fmla="*/ 5479204 h 6858000"/>
              <a:gd name="connsiteX63" fmla="*/ 2678972 w 7472601"/>
              <a:gd name="connsiteY63" fmla="*/ 5481582 h 6858000"/>
              <a:gd name="connsiteX64" fmla="*/ 2696666 w 7472601"/>
              <a:gd name="connsiteY64" fmla="*/ 6133836 h 6858000"/>
              <a:gd name="connsiteX65" fmla="*/ 2695769 w 7472601"/>
              <a:gd name="connsiteY65" fmla="*/ 6390955 h 6858000"/>
              <a:gd name="connsiteX66" fmla="*/ 2739893 w 7472601"/>
              <a:gd name="connsiteY66" fmla="*/ 6108357 h 6858000"/>
              <a:gd name="connsiteX67" fmla="*/ 2680277 w 7472601"/>
              <a:gd name="connsiteY67" fmla="*/ 5479204 h 6858000"/>
              <a:gd name="connsiteX68" fmla="*/ 1132195 w 7472601"/>
              <a:gd name="connsiteY68" fmla="*/ 5467980 h 6858000"/>
              <a:gd name="connsiteX69" fmla="*/ 1679056 w 7472601"/>
              <a:gd name="connsiteY69" fmla="*/ 5516907 h 6858000"/>
              <a:gd name="connsiteX70" fmla="*/ 2128648 w 7472601"/>
              <a:gd name="connsiteY70" fmla="*/ 5474249 h 6858000"/>
              <a:gd name="connsiteX71" fmla="*/ 1825619 w 7472601"/>
              <a:gd name="connsiteY71" fmla="*/ 5478447 h 6858000"/>
              <a:gd name="connsiteX72" fmla="*/ 1737798 w 7472601"/>
              <a:gd name="connsiteY72" fmla="*/ 5483353 h 6858000"/>
              <a:gd name="connsiteX73" fmla="*/ 1132195 w 7472601"/>
              <a:gd name="connsiteY73" fmla="*/ 5467980 h 6858000"/>
              <a:gd name="connsiteX74" fmla="*/ 7454976 w 7472601"/>
              <a:gd name="connsiteY74" fmla="*/ 6318297 h 6858000"/>
              <a:gd name="connsiteX75" fmla="*/ 7467600 w 7472601"/>
              <a:gd name="connsiteY75" fmla="*/ 6012219 h 6858000"/>
              <a:gd name="connsiteX76" fmla="*/ 7356878 w 7472601"/>
              <a:gd name="connsiteY76" fmla="*/ 5981332 h 6858000"/>
              <a:gd name="connsiteX77" fmla="*/ 7467600 w 7472601"/>
              <a:gd name="connsiteY77" fmla="*/ 6117703 h 6858000"/>
              <a:gd name="connsiteX78" fmla="*/ 7467600 w 7472601"/>
              <a:gd name="connsiteY78" fmla="*/ 6163634 h 6858000"/>
              <a:gd name="connsiteX79" fmla="*/ 7403637 w 7472601"/>
              <a:gd name="connsiteY79" fmla="*/ 6083957 h 6858000"/>
              <a:gd name="connsiteX80" fmla="*/ 7448321 w 7472601"/>
              <a:gd name="connsiteY80" fmla="*/ 6190991 h 6858000"/>
              <a:gd name="connsiteX81" fmla="*/ 7467600 w 7472601"/>
              <a:gd name="connsiteY81" fmla="*/ 6221686 h 6858000"/>
              <a:gd name="connsiteX82" fmla="*/ 7467600 w 7472601"/>
              <a:gd name="connsiteY82" fmla="*/ 6334256 h 6858000"/>
              <a:gd name="connsiteX83" fmla="*/ 7454976 w 7472601"/>
              <a:gd name="connsiteY83" fmla="*/ 6318297 h 6858000"/>
              <a:gd name="connsiteX84" fmla="*/ 1456157 w 7472601"/>
              <a:gd name="connsiteY84" fmla="*/ 5371404 h 6858000"/>
              <a:gd name="connsiteX85" fmla="*/ 1244432 w 7472601"/>
              <a:gd name="connsiteY85" fmla="*/ 5385601 h 6858000"/>
              <a:gd name="connsiteX86" fmla="*/ 973990 w 7472601"/>
              <a:gd name="connsiteY86" fmla="*/ 5424940 h 6858000"/>
              <a:gd name="connsiteX87" fmla="*/ 1103809 w 7472601"/>
              <a:gd name="connsiteY87" fmla="*/ 5433720 h 6858000"/>
              <a:gd name="connsiteX88" fmla="*/ 1123454 w 7472601"/>
              <a:gd name="connsiteY88" fmla="*/ 5435727 h 6858000"/>
              <a:gd name="connsiteX89" fmla="*/ 1737017 w 7472601"/>
              <a:gd name="connsiteY89" fmla="*/ 5452183 h 6858000"/>
              <a:gd name="connsiteX90" fmla="*/ 1824397 w 7472601"/>
              <a:gd name="connsiteY90" fmla="*/ 5447757 h 6858000"/>
              <a:gd name="connsiteX91" fmla="*/ 2070059 w 7472601"/>
              <a:gd name="connsiteY91" fmla="*/ 5441660 h 6858000"/>
              <a:gd name="connsiteX92" fmla="*/ 1456157 w 7472601"/>
              <a:gd name="connsiteY92" fmla="*/ 5371404 h 6858000"/>
              <a:gd name="connsiteX93" fmla="*/ 4988186 w 7472601"/>
              <a:gd name="connsiteY93" fmla="*/ 5216467 h 6858000"/>
              <a:gd name="connsiteX94" fmla="*/ 4777334 w 7472601"/>
              <a:gd name="connsiteY94" fmla="*/ 5406072 h 6858000"/>
              <a:gd name="connsiteX95" fmla="*/ 4718341 w 7472601"/>
              <a:gd name="connsiteY95" fmla="*/ 5468043 h 6858000"/>
              <a:gd name="connsiteX96" fmla="*/ 4604655 w 7472601"/>
              <a:gd name="connsiteY96" fmla="*/ 5583434 h 6858000"/>
              <a:gd name="connsiteX97" fmla="*/ 4565074 w 7472601"/>
              <a:gd name="connsiteY97" fmla="*/ 5618550 h 6858000"/>
              <a:gd name="connsiteX98" fmla="*/ 4988186 w 7472601"/>
              <a:gd name="connsiteY98" fmla="*/ 5216467 h 6858000"/>
              <a:gd name="connsiteX99" fmla="*/ 4978032 w 7472601"/>
              <a:gd name="connsiteY99" fmla="*/ 5183809 h 6858000"/>
              <a:gd name="connsiteX100" fmla="*/ 4463413 w 7472601"/>
              <a:gd name="connsiteY100" fmla="*/ 5615162 h 6858000"/>
              <a:gd name="connsiteX101" fmla="*/ 4358134 w 7472601"/>
              <a:gd name="connsiteY101" fmla="*/ 5742791 h 6858000"/>
              <a:gd name="connsiteX102" fmla="*/ 4376219 w 7472601"/>
              <a:gd name="connsiteY102" fmla="*/ 5729027 h 6858000"/>
              <a:gd name="connsiteX103" fmla="*/ 4582340 w 7472601"/>
              <a:gd name="connsiteY103" fmla="*/ 5561037 h 6858000"/>
              <a:gd name="connsiteX104" fmla="*/ 4694684 w 7472601"/>
              <a:gd name="connsiteY104" fmla="*/ 5447098 h 6858000"/>
              <a:gd name="connsiteX105" fmla="*/ 4754123 w 7472601"/>
              <a:gd name="connsiteY105" fmla="*/ 5384643 h 6858000"/>
              <a:gd name="connsiteX106" fmla="*/ 4978032 w 7472601"/>
              <a:gd name="connsiteY106" fmla="*/ 5183809 h 6858000"/>
              <a:gd name="connsiteX107" fmla="*/ 1903353 w 7472601"/>
              <a:gd name="connsiteY107" fmla="*/ 5044827 h 6858000"/>
              <a:gd name="connsiteX108" fmla="*/ 1936931 w 7472601"/>
              <a:gd name="connsiteY108" fmla="*/ 5093954 h 6858000"/>
              <a:gd name="connsiteX109" fmla="*/ 2195868 w 7472601"/>
              <a:gd name="connsiteY109" fmla="*/ 5396574 h 6858000"/>
              <a:gd name="connsiteX110" fmla="*/ 2088852 w 7472601"/>
              <a:gd name="connsiteY110" fmla="*/ 5166123 h 6858000"/>
              <a:gd name="connsiteX111" fmla="*/ 1958241 w 7472601"/>
              <a:gd name="connsiteY111" fmla="*/ 5067955 h 6858000"/>
              <a:gd name="connsiteX112" fmla="*/ 1903353 w 7472601"/>
              <a:gd name="connsiteY112" fmla="*/ 5044827 h 6858000"/>
              <a:gd name="connsiteX113" fmla="*/ 1979378 w 7472601"/>
              <a:gd name="connsiteY113" fmla="*/ 4769504 h 6858000"/>
              <a:gd name="connsiteX114" fmla="*/ 2882120 w 7472601"/>
              <a:gd name="connsiteY114" fmla="*/ 5064547 h 6858000"/>
              <a:gd name="connsiteX115" fmla="*/ 2793103 w 7472601"/>
              <a:gd name="connsiteY115" fmla="*/ 5039699 h 6858000"/>
              <a:gd name="connsiteX116" fmla="*/ 2770041 w 7472601"/>
              <a:gd name="connsiteY116" fmla="*/ 5033634 h 6858000"/>
              <a:gd name="connsiteX117" fmla="*/ 1979378 w 7472601"/>
              <a:gd name="connsiteY117" fmla="*/ 4769504 h 6858000"/>
              <a:gd name="connsiteX118" fmla="*/ 1927410 w 7472601"/>
              <a:gd name="connsiteY118" fmla="*/ 4716164 h 6858000"/>
              <a:gd name="connsiteX119" fmla="*/ 1959587 w 7472601"/>
              <a:gd name="connsiteY119" fmla="*/ 4728849 h 6858000"/>
              <a:gd name="connsiteX120" fmla="*/ 2777707 w 7472601"/>
              <a:gd name="connsiteY120" fmla="*/ 5003991 h 6858000"/>
              <a:gd name="connsiteX121" fmla="*/ 2800768 w 7472601"/>
              <a:gd name="connsiteY121" fmla="*/ 5010056 h 6858000"/>
              <a:gd name="connsiteX122" fmla="*/ 2879408 w 7472601"/>
              <a:gd name="connsiteY122" fmla="*/ 5031590 h 6858000"/>
              <a:gd name="connsiteX123" fmla="*/ 2862295 w 7472601"/>
              <a:gd name="connsiteY123" fmla="*/ 5022958 h 6858000"/>
              <a:gd name="connsiteX124" fmla="*/ 2813343 w 7472601"/>
              <a:gd name="connsiteY124" fmla="*/ 4998369 h 6858000"/>
              <a:gd name="connsiteX125" fmla="*/ 2646245 w 7472601"/>
              <a:gd name="connsiteY125" fmla="*/ 4930999 h 6858000"/>
              <a:gd name="connsiteX126" fmla="*/ 1999243 w 7472601"/>
              <a:gd name="connsiteY126" fmla="*/ 4730524 h 6858000"/>
              <a:gd name="connsiteX127" fmla="*/ 1979527 w 7472601"/>
              <a:gd name="connsiteY127" fmla="*/ 4726651 h 6858000"/>
              <a:gd name="connsiteX128" fmla="*/ 1927410 w 7472601"/>
              <a:gd name="connsiteY128" fmla="*/ 4716164 h 6858000"/>
              <a:gd name="connsiteX129" fmla="*/ 1997014 w 7472601"/>
              <a:gd name="connsiteY129" fmla="*/ 4698007 h 6858000"/>
              <a:gd name="connsiteX130" fmla="*/ 2005458 w 7472601"/>
              <a:gd name="connsiteY130" fmla="*/ 4699540 h 6858000"/>
              <a:gd name="connsiteX131" fmla="*/ 2657186 w 7472601"/>
              <a:gd name="connsiteY131" fmla="*/ 4901687 h 6858000"/>
              <a:gd name="connsiteX132" fmla="*/ 2826662 w 7472601"/>
              <a:gd name="connsiteY132" fmla="*/ 4970362 h 6858000"/>
              <a:gd name="connsiteX133" fmla="*/ 2876100 w 7472601"/>
              <a:gd name="connsiteY133" fmla="*/ 4995397 h 6858000"/>
              <a:gd name="connsiteX134" fmla="*/ 3042600 w 7472601"/>
              <a:gd name="connsiteY134" fmla="*/ 5059532 h 6858000"/>
              <a:gd name="connsiteX135" fmla="*/ 1997014 w 7472601"/>
              <a:gd name="connsiteY135" fmla="*/ 4698007 h 6858000"/>
              <a:gd name="connsiteX136" fmla="*/ 2305292 w 7472601"/>
              <a:gd name="connsiteY136" fmla="*/ 4219492 h 6858000"/>
              <a:gd name="connsiteX137" fmla="*/ 3360922 w 7472601"/>
              <a:gd name="connsiteY137" fmla="*/ 4529373 h 6858000"/>
              <a:gd name="connsiteX138" fmla="*/ 3492420 w 7472601"/>
              <a:gd name="connsiteY138" fmla="*/ 4510145 h 6858000"/>
              <a:gd name="connsiteX139" fmla="*/ 3364086 w 7472601"/>
              <a:gd name="connsiteY139" fmla="*/ 4480340 h 6858000"/>
              <a:gd name="connsiteX140" fmla="*/ 3225818 w 7472601"/>
              <a:gd name="connsiteY140" fmla="*/ 4411822 h 6858000"/>
              <a:gd name="connsiteX141" fmla="*/ 3129696 w 7472601"/>
              <a:gd name="connsiteY141" fmla="*/ 4360704 h 6858000"/>
              <a:gd name="connsiteX142" fmla="*/ 2814545 w 7472601"/>
              <a:gd name="connsiteY142" fmla="*/ 4282955 h 6858000"/>
              <a:gd name="connsiteX143" fmla="*/ 2305292 w 7472601"/>
              <a:gd name="connsiteY143" fmla="*/ 4219492 h 6858000"/>
              <a:gd name="connsiteX144" fmla="*/ 2626982 w 7472601"/>
              <a:gd name="connsiteY144" fmla="*/ 4206450 h 6858000"/>
              <a:gd name="connsiteX145" fmla="*/ 2490617 w 7472601"/>
              <a:gd name="connsiteY145" fmla="*/ 4206951 h 6858000"/>
              <a:gd name="connsiteX146" fmla="*/ 2819869 w 7472601"/>
              <a:gd name="connsiteY146" fmla="*/ 4252936 h 6858000"/>
              <a:gd name="connsiteX147" fmla="*/ 3143018 w 7472601"/>
              <a:gd name="connsiteY147" fmla="*/ 4332698 h 6858000"/>
              <a:gd name="connsiteX148" fmla="*/ 3241520 w 7472601"/>
              <a:gd name="connsiteY148" fmla="*/ 4385112 h 6858000"/>
              <a:gd name="connsiteX149" fmla="*/ 3374575 w 7472601"/>
              <a:gd name="connsiteY149" fmla="*/ 4451517 h 6858000"/>
              <a:gd name="connsiteX150" fmla="*/ 3505221 w 7472601"/>
              <a:gd name="connsiteY150" fmla="*/ 4480757 h 6858000"/>
              <a:gd name="connsiteX151" fmla="*/ 2626982 w 7472601"/>
              <a:gd name="connsiteY151" fmla="*/ 4206450 h 6858000"/>
              <a:gd name="connsiteX152" fmla="*/ 1310106 w 7472601"/>
              <a:gd name="connsiteY152" fmla="*/ 3943217 h 6858000"/>
              <a:gd name="connsiteX153" fmla="*/ 854994 w 7472601"/>
              <a:gd name="connsiteY153" fmla="*/ 4399136 h 6858000"/>
              <a:gd name="connsiteX154" fmla="*/ 742462 w 7472601"/>
              <a:gd name="connsiteY154" fmla="*/ 4594648 h 6858000"/>
              <a:gd name="connsiteX155" fmla="*/ 820602 w 7472601"/>
              <a:gd name="connsiteY155" fmla="*/ 4485915 h 6858000"/>
              <a:gd name="connsiteX156" fmla="*/ 878295 w 7472601"/>
              <a:gd name="connsiteY156" fmla="*/ 4403594 h 6858000"/>
              <a:gd name="connsiteX157" fmla="*/ 1240607 w 7472601"/>
              <a:gd name="connsiteY157" fmla="*/ 4010401 h 6858000"/>
              <a:gd name="connsiteX158" fmla="*/ 1310106 w 7472601"/>
              <a:gd name="connsiteY158" fmla="*/ 3943217 h 6858000"/>
              <a:gd name="connsiteX159" fmla="*/ 1423113 w 7472601"/>
              <a:gd name="connsiteY159" fmla="*/ 3874565 h 6858000"/>
              <a:gd name="connsiteX160" fmla="*/ 1260565 w 7472601"/>
              <a:gd name="connsiteY160" fmla="*/ 4031982 h 6858000"/>
              <a:gd name="connsiteX161" fmla="*/ 901900 w 7472601"/>
              <a:gd name="connsiteY161" fmla="*/ 4421236 h 6858000"/>
              <a:gd name="connsiteX162" fmla="*/ 845044 w 7472601"/>
              <a:gd name="connsiteY162" fmla="*/ 4502436 h 6858000"/>
              <a:gd name="connsiteX163" fmla="*/ 685926 w 7472601"/>
              <a:gd name="connsiteY163" fmla="*/ 4703069 h 6858000"/>
              <a:gd name="connsiteX164" fmla="*/ 684248 w 7472601"/>
              <a:gd name="connsiteY164" fmla="*/ 4706721 h 6858000"/>
              <a:gd name="connsiteX165" fmla="*/ 1423113 w 7472601"/>
              <a:gd name="connsiteY165" fmla="*/ 3874565 h 6858000"/>
              <a:gd name="connsiteX166" fmla="*/ 3316479 w 7472601"/>
              <a:gd name="connsiteY166" fmla="*/ 3872136 h 6858000"/>
              <a:gd name="connsiteX167" fmla="*/ 3546806 w 7472601"/>
              <a:gd name="connsiteY167" fmla="*/ 4356139 h 6858000"/>
              <a:gd name="connsiteX168" fmla="*/ 3364433 w 7472601"/>
              <a:gd name="connsiteY168" fmla="*/ 3953121 h 6858000"/>
              <a:gd name="connsiteX169" fmla="*/ 3316479 w 7472601"/>
              <a:gd name="connsiteY169" fmla="*/ 3872136 h 6858000"/>
              <a:gd name="connsiteX170" fmla="*/ 3291335 w 7472601"/>
              <a:gd name="connsiteY170" fmla="*/ 3767420 h 6858000"/>
              <a:gd name="connsiteX171" fmla="*/ 3390805 w 7472601"/>
              <a:gd name="connsiteY171" fmla="*/ 3937163 h 6858000"/>
              <a:gd name="connsiteX172" fmla="*/ 3579062 w 7472601"/>
              <a:gd name="connsiteY172" fmla="*/ 4359040 h 6858000"/>
              <a:gd name="connsiteX173" fmla="*/ 3467355 w 7472601"/>
              <a:gd name="connsiteY173" fmla="*/ 3988130 h 6858000"/>
              <a:gd name="connsiteX174" fmla="*/ 3310753 w 7472601"/>
              <a:gd name="connsiteY174" fmla="*/ 3787140 h 6858000"/>
              <a:gd name="connsiteX175" fmla="*/ 3291335 w 7472601"/>
              <a:gd name="connsiteY175" fmla="*/ 3767420 h 6858000"/>
              <a:gd name="connsiteX176" fmla="*/ 1635889 w 7472601"/>
              <a:gd name="connsiteY176" fmla="*/ 3709494 h 6858000"/>
              <a:gd name="connsiteX177" fmla="*/ 1634800 w 7472601"/>
              <a:gd name="connsiteY177" fmla="*/ 3731111 h 6858000"/>
              <a:gd name="connsiteX178" fmla="*/ 1635889 w 7472601"/>
              <a:gd name="connsiteY178" fmla="*/ 3709494 h 6858000"/>
              <a:gd name="connsiteX179" fmla="*/ 1510397 w 7472601"/>
              <a:gd name="connsiteY179" fmla="*/ 3684705 h 6858000"/>
              <a:gd name="connsiteX180" fmla="*/ 1146550 w 7472601"/>
              <a:gd name="connsiteY180" fmla="*/ 3802012 h 6858000"/>
              <a:gd name="connsiteX181" fmla="*/ 698834 w 7472601"/>
              <a:gd name="connsiteY181" fmla="*/ 3952272 h 6858000"/>
              <a:gd name="connsiteX182" fmla="*/ 34256 w 7472601"/>
              <a:gd name="connsiteY182" fmla="*/ 4347603 h 6858000"/>
              <a:gd name="connsiteX183" fmla="*/ 527241 w 7472601"/>
              <a:gd name="connsiteY183" fmla="*/ 4065078 h 6858000"/>
              <a:gd name="connsiteX184" fmla="*/ 1510397 w 7472601"/>
              <a:gd name="connsiteY184" fmla="*/ 3684705 h 6858000"/>
              <a:gd name="connsiteX185" fmla="*/ 1313114 w 7472601"/>
              <a:gd name="connsiteY185" fmla="*/ 3655216 h 6858000"/>
              <a:gd name="connsiteX186" fmla="*/ 1109304 w 7472601"/>
              <a:gd name="connsiteY186" fmla="*/ 3669030 h 6858000"/>
              <a:gd name="connsiteX187" fmla="*/ 8129 w 7472601"/>
              <a:gd name="connsiteY187" fmla="*/ 4330519 h 6858000"/>
              <a:gd name="connsiteX188" fmla="*/ 687572 w 7472601"/>
              <a:gd name="connsiteY188" fmla="*/ 3925629 h 6858000"/>
              <a:gd name="connsiteX189" fmla="*/ 1138365 w 7472601"/>
              <a:gd name="connsiteY189" fmla="*/ 3774515 h 6858000"/>
              <a:gd name="connsiteX190" fmla="*/ 1505579 w 7472601"/>
              <a:gd name="connsiteY190" fmla="*/ 3655526 h 6858000"/>
              <a:gd name="connsiteX191" fmla="*/ 1313114 w 7472601"/>
              <a:gd name="connsiteY191" fmla="*/ 3655216 h 6858000"/>
              <a:gd name="connsiteX192" fmla="*/ 3655073 w 7472601"/>
              <a:gd name="connsiteY192" fmla="*/ 3650884 h 6858000"/>
              <a:gd name="connsiteX193" fmla="*/ 3989938 w 7472601"/>
              <a:gd name="connsiteY193" fmla="*/ 3991685 h 6858000"/>
              <a:gd name="connsiteX194" fmla="*/ 4393907 w 7472601"/>
              <a:gd name="connsiteY194" fmla="*/ 4261258 h 6858000"/>
              <a:gd name="connsiteX195" fmla="*/ 4648051 w 7472601"/>
              <a:gd name="connsiteY195" fmla="*/ 4374051 h 6858000"/>
              <a:gd name="connsiteX196" fmla="*/ 4383389 w 7472601"/>
              <a:gd name="connsiteY196" fmla="*/ 4184369 h 6858000"/>
              <a:gd name="connsiteX197" fmla="*/ 4165508 w 7472601"/>
              <a:gd name="connsiteY197" fmla="*/ 4035196 h 6858000"/>
              <a:gd name="connsiteX198" fmla="*/ 4068162 w 7472601"/>
              <a:gd name="connsiteY198" fmla="*/ 3953394 h 6858000"/>
              <a:gd name="connsiteX199" fmla="*/ 3981416 w 7472601"/>
              <a:gd name="connsiteY199" fmla="*/ 3880482 h 6858000"/>
              <a:gd name="connsiteX200" fmla="*/ 3800147 w 7472601"/>
              <a:gd name="connsiteY200" fmla="*/ 3749872 h 6858000"/>
              <a:gd name="connsiteX201" fmla="*/ 3655073 w 7472601"/>
              <a:gd name="connsiteY201" fmla="*/ 3650884 h 6858000"/>
              <a:gd name="connsiteX202" fmla="*/ 3670252 w 7472601"/>
              <a:gd name="connsiteY202" fmla="*/ 3622798 h 6858000"/>
              <a:gd name="connsiteX203" fmla="*/ 3817258 w 7472601"/>
              <a:gd name="connsiteY203" fmla="*/ 3723577 h 6858000"/>
              <a:gd name="connsiteX204" fmla="*/ 4000461 w 7472601"/>
              <a:gd name="connsiteY204" fmla="*/ 3855966 h 6858000"/>
              <a:gd name="connsiteX205" fmla="*/ 4088180 w 7472601"/>
              <a:gd name="connsiteY205" fmla="*/ 3929774 h 6858000"/>
              <a:gd name="connsiteX206" fmla="*/ 4184555 w 7472601"/>
              <a:gd name="connsiteY206" fmla="*/ 4010683 h 6858000"/>
              <a:gd name="connsiteX207" fmla="*/ 4399563 w 7472601"/>
              <a:gd name="connsiteY207" fmla="*/ 4158106 h 6858000"/>
              <a:gd name="connsiteX208" fmla="*/ 4684469 w 7472601"/>
              <a:gd name="connsiteY208" fmla="*/ 4364680 h 6858000"/>
              <a:gd name="connsiteX209" fmla="*/ 4690271 w 7472601"/>
              <a:gd name="connsiteY209" fmla="*/ 4370034 h 6858000"/>
              <a:gd name="connsiteX210" fmla="*/ 4136093 w 7472601"/>
              <a:gd name="connsiteY210" fmla="*/ 3858466 h 6858000"/>
              <a:gd name="connsiteX211" fmla="*/ 3670252 w 7472601"/>
              <a:gd name="connsiteY211" fmla="*/ 3622798 h 6858000"/>
              <a:gd name="connsiteX212" fmla="*/ 4440129 w 7472601"/>
              <a:gd name="connsiteY212" fmla="*/ 3448571 h 6858000"/>
              <a:gd name="connsiteX213" fmla="*/ 4856525 w 7472601"/>
              <a:gd name="connsiteY213" fmla="*/ 3915351 h 6858000"/>
              <a:gd name="connsiteX214" fmla="*/ 5059055 w 7472601"/>
              <a:gd name="connsiteY214" fmla="*/ 4108918 h 6858000"/>
              <a:gd name="connsiteX215" fmla="*/ 5290070 w 7472601"/>
              <a:gd name="connsiteY215" fmla="*/ 4263619 h 6858000"/>
              <a:gd name="connsiteX216" fmla="*/ 4834991 w 7472601"/>
              <a:gd name="connsiteY216" fmla="*/ 3830985 h 6858000"/>
              <a:gd name="connsiteX217" fmla="*/ 4440129 w 7472601"/>
              <a:gd name="connsiteY217" fmla="*/ 3448571 h 6858000"/>
              <a:gd name="connsiteX218" fmla="*/ 4441737 w 7472601"/>
              <a:gd name="connsiteY218" fmla="*/ 3399734 h 6858000"/>
              <a:gd name="connsiteX219" fmla="*/ 4431236 w 7472601"/>
              <a:gd name="connsiteY219" fmla="*/ 3400954 h 6858000"/>
              <a:gd name="connsiteX220" fmla="*/ 4557150 w 7472601"/>
              <a:gd name="connsiteY220" fmla="*/ 3510023 h 6858000"/>
              <a:gd name="connsiteX221" fmla="*/ 4856936 w 7472601"/>
              <a:gd name="connsiteY221" fmla="*/ 3809146 h 6858000"/>
              <a:gd name="connsiteX222" fmla="*/ 5111996 w 7472601"/>
              <a:gd name="connsiteY222" fmla="*/ 4065759 h 6858000"/>
              <a:gd name="connsiteX223" fmla="*/ 5388878 w 7472601"/>
              <a:gd name="connsiteY223" fmla="*/ 4300185 h 6858000"/>
              <a:gd name="connsiteX224" fmla="*/ 5425556 w 7472601"/>
              <a:gd name="connsiteY224" fmla="*/ 4308967 h 6858000"/>
              <a:gd name="connsiteX225" fmla="*/ 4943646 w 7472601"/>
              <a:gd name="connsiteY225" fmla="*/ 3822916 h 6858000"/>
              <a:gd name="connsiteX226" fmla="*/ 4594837 w 7472601"/>
              <a:gd name="connsiteY226" fmla="*/ 3532274 h 6858000"/>
              <a:gd name="connsiteX227" fmla="*/ 4441737 w 7472601"/>
              <a:gd name="connsiteY227" fmla="*/ 3399734 h 6858000"/>
              <a:gd name="connsiteX228" fmla="*/ 5425834 w 7472601"/>
              <a:gd name="connsiteY228" fmla="*/ 3162785 h 6858000"/>
              <a:gd name="connsiteX229" fmla="*/ 5401644 w 7472601"/>
              <a:gd name="connsiteY229" fmla="*/ 3617847 h 6858000"/>
              <a:gd name="connsiteX230" fmla="*/ 5467256 w 7472601"/>
              <a:gd name="connsiteY230" fmla="*/ 4175494 h 6858000"/>
              <a:gd name="connsiteX231" fmla="*/ 5448069 w 7472601"/>
              <a:gd name="connsiteY231" fmla="*/ 3567554 h 6858000"/>
              <a:gd name="connsiteX232" fmla="*/ 5425834 w 7472601"/>
              <a:gd name="connsiteY232" fmla="*/ 3162785 h 6858000"/>
              <a:gd name="connsiteX233" fmla="*/ 1318687 w 7472601"/>
              <a:gd name="connsiteY233" fmla="*/ 3113840 h 6858000"/>
              <a:gd name="connsiteX234" fmla="*/ 1066793 w 7472601"/>
              <a:gd name="connsiteY234" fmla="*/ 3212171 h 6858000"/>
              <a:gd name="connsiteX235" fmla="*/ 993319 w 7472601"/>
              <a:gd name="connsiteY235" fmla="*/ 3247648 h 6858000"/>
              <a:gd name="connsiteX236" fmla="*/ 853081 w 7472601"/>
              <a:gd name="connsiteY236" fmla="*/ 3312410 h 6858000"/>
              <a:gd name="connsiteX237" fmla="*/ 805957 w 7472601"/>
              <a:gd name="connsiteY237" fmla="*/ 3330443 h 6858000"/>
              <a:gd name="connsiteX238" fmla="*/ 1318687 w 7472601"/>
              <a:gd name="connsiteY238" fmla="*/ 3113840 h 6858000"/>
              <a:gd name="connsiteX239" fmla="*/ 5453702 w 7472601"/>
              <a:gd name="connsiteY239" fmla="*/ 3090882 h 6858000"/>
              <a:gd name="connsiteX240" fmla="*/ 5480135 w 7472601"/>
              <a:gd name="connsiteY240" fmla="*/ 3565802 h 6858000"/>
              <a:gd name="connsiteX241" fmla="*/ 5499023 w 7472601"/>
              <a:gd name="connsiteY241" fmla="*/ 4166310 h 6858000"/>
              <a:gd name="connsiteX242" fmla="*/ 5547022 w 7472601"/>
              <a:gd name="connsiteY242" fmla="*/ 3607838 h 6858000"/>
              <a:gd name="connsiteX243" fmla="*/ 5515964 w 7472601"/>
              <a:gd name="connsiteY243" fmla="*/ 3378541 h 6858000"/>
              <a:gd name="connsiteX244" fmla="*/ 5453702 w 7472601"/>
              <a:gd name="connsiteY244" fmla="*/ 3090882 h 6858000"/>
              <a:gd name="connsiteX245" fmla="*/ 1238695 w 7472601"/>
              <a:gd name="connsiteY245" fmla="*/ 3076820 h 6858000"/>
              <a:gd name="connsiteX246" fmla="*/ 716371 w 7472601"/>
              <a:gd name="connsiteY246" fmla="*/ 3293249 h 6858000"/>
              <a:gd name="connsiteX247" fmla="*/ 579522 w 7472601"/>
              <a:gd name="connsiteY247" fmla="*/ 3371759 h 6858000"/>
              <a:gd name="connsiteX248" fmla="*/ 600288 w 7472601"/>
              <a:gd name="connsiteY248" fmla="*/ 3365555 h 6858000"/>
              <a:gd name="connsiteX249" fmla="*/ 840692 w 7472601"/>
              <a:gd name="connsiteY249" fmla="*/ 3284921 h 6858000"/>
              <a:gd name="connsiteX250" fmla="*/ 979248 w 7472601"/>
              <a:gd name="connsiteY250" fmla="*/ 3221003 h 6858000"/>
              <a:gd name="connsiteX251" fmla="*/ 1053282 w 7472601"/>
              <a:gd name="connsiteY251" fmla="*/ 3185247 h 6858000"/>
              <a:gd name="connsiteX252" fmla="*/ 1320603 w 7472601"/>
              <a:gd name="connsiteY252" fmla="*/ 3081281 h 6858000"/>
              <a:gd name="connsiteX253" fmla="*/ 1238695 w 7472601"/>
              <a:gd name="connsiteY253" fmla="*/ 3076820 h 6858000"/>
              <a:gd name="connsiteX254" fmla="*/ 5425627 w 7472601"/>
              <a:gd name="connsiteY254" fmla="*/ 2954192 h 6858000"/>
              <a:gd name="connsiteX255" fmla="*/ 5470770 w 7472601"/>
              <a:gd name="connsiteY255" fmla="*/ 3005435 h 6858000"/>
              <a:gd name="connsiteX256" fmla="*/ 5519779 w 7472601"/>
              <a:gd name="connsiteY256" fmla="*/ 4359223 h 6858000"/>
              <a:gd name="connsiteX257" fmla="*/ 5520293 w 7472601"/>
              <a:gd name="connsiteY257" fmla="*/ 4360602 h 6858000"/>
              <a:gd name="connsiteX258" fmla="*/ 5767221 w 7472601"/>
              <a:gd name="connsiteY258" fmla="*/ 4665564 h 6858000"/>
              <a:gd name="connsiteX259" fmla="*/ 6937169 w 7472601"/>
              <a:gd name="connsiteY259" fmla="*/ 4815941 h 6858000"/>
              <a:gd name="connsiteX260" fmla="*/ 6953922 w 7472601"/>
              <a:gd name="connsiteY260" fmla="*/ 4890068 h 6858000"/>
              <a:gd name="connsiteX261" fmla="*/ 6071359 w 7472601"/>
              <a:gd name="connsiteY261" fmla="*/ 4770770 h 6858000"/>
              <a:gd name="connsiteX262" fmla="*/ 6038839 w 7472601"/>
              <a:gd name="connsiteY262" fmla="*/ 4764474 h 6858000"/>
              <a:gd name="connsiteX263" fmla="*/ 6038706 w 7472601"/>
              <a:gd name="connsiteY263" fmla="*/ 4763847 h 6858000"/>
              <a:gd name="connsiteX264" fmla="*/ 6037784 w 7472601"/>
              <a:gd name="connsiteY264" fmla="*/ 4764270 h 6858000"/>
              <a:gd name="connsiteX265" fmla="*/ 6038839 w 7472601"/>
              <a:gd name="connsiteY265" fmla="*/ 4764474 h 6858000"/>
              <a:gd name="connsiteX266" fmla="*/ 6040338 w 7472601"/>
              <a:gd name="connsiteY266" fmla="*/ 4771418 h 6858000"/>
              <a:gd name="connsiteX267" fmla="*/ 6024488 w 7472601"/>
              <a:gd name="connsiteY267" fmla="*/ 4809903 h 6858000"/>
              <a:gd name="connsiteX268" fmla="*/ 5599771 w 7472601"/>
              <a:gd name="connsiteY268" fmla="*/ 5509652 h 6858000"/>
              <a:gd name="connsiteX269" fmla="*/ 5548843 w 7472601"/>
              <a:gd name="connsiteY269" fmla="*/ 5563845 h 6858000"/>
              <a:gd name="connsiteX270" fmla="*/ 5940952 w 7472601"/>
              <a:gd name="connsiteY270" fmla="*/ 6250028 h 6858000"/>
              <a:gd name="connsiteX271" fmla="*/ 6043441 w 7472601"/>
              <a:gd name="connsiteY271" fmla="*/ 6665847 h 6858000"/>
              <a:gd name="connsiteX272" fmla="*/ 6093432 w 7472601"/>
              <a:gd name="connsiteY272" fmla="*/ 6858000 h 6858000"/>
              <a:gd name="connsiteX273" fmla="*/ 6034344 w 7472601"/>
              <a:gd name="connsiteY273" fmla="*/ 6858000 h 6858000"/>
              <a:gd name="connsiteX274" fmla="*/ 6026679 w 7472601"/>
              <a:gd name="connsiteY274" fmla="*/ 6836959 h 6858000"/>
              <a:gd name="connsiteX275" fmla="*/ 5800441 w 7472601"/>
              <a:gd name="connsiteY275" fmla="*/ 6335286 h 6858000"/>
              <a:gd name="connsiteX276" fmla="*/ 5526562 w 7472601"/>
              <a:gd name="connsiteY276" fmla="*/ 5705388 h 6858000"/>
              <a:gd name="connsiteX277" fmla="*/ 5519640 w 7472601"/>
              <a:gd name="connsiteY277" fmla="*/ 5683774 h 6858000"/>
              <a:gd name="connsiteX278" fmla="*/ 5844559 w 7472601"/>
              <a:gd name="connsiteY278" fmla="*/ 6553349 h 6858000"/>
              <a:gd name="connsiteX279" fmla="*/ 5975994 w 7472601"/>
              <a:gd name="connsiteY279" fmla="*/ 6858000 h 6858000"/>
              <a:gd name="connsiteX280" fmla="*/ 5898547 w 7472601"/>
              <a:gd name="connsiteY280" fmla="*/ 6858000 h 6858000"/>
              <a:gd name="connsiteX281" fmla="*/ 5682041 w 7472601"/>
              <a:gd name="connsiteY281" fmla="*/ 6355860 h 6858000"/>
              <a:gd name="connsiteX282" fmla="*/ 5461758 w 7472601"/>
              <a:gd name="connsiteY282" fmla="*/ 5820220 h 6858000"/>
              <a:gd name="connsiteX283" fmla="*/ 5237282 w 7472601"/>
              <a:gd name="connsiteY283" fmla="*/ 6579086 h 6858000"/>
              <a:gd name="connsiteX284" fmla="*/ 5115009 w 7472601"/>
              <a:gd name="connsiteY284" fmla="*/ 6858000 h 6858000"/>
              <a:gd name="connsiteX285" fmla="*/ 5028074 w 7472601"/>
              <a:gd name="connsiteY285" fmla="*/ 6858000 h 6858000"/>
              <a:gd name="connsiteX286" fmla="*/ 5079508 w 7472601"/>
              <a:gd name="connsiteY286" fmla="*/ 6749074 h 6858000"/>
              <a:gd name="connsiteX287" fmla="*/ 5371846 w 7472601"/>
              <a:gd name="connsiteY287" fmla="*/ 5924413 h 6858000"/>
              <a:gd name="connsiteX288" fmla="*/ 5270512 w 7472601"/>
              <a:gd name="connsiteY288" fmla="*/ 6138975 h 6858000"/>
              <a:gd name="connsiteX289" fmla="*/ 5062409 w 7472601"/>
              <a:gd name="connsiteY289" fmla="*/ 6653544 h 6858000"/>
              <a:gd name="connsiteX290" fmla="*/ 5036628 w 7472601"/>
              <a:gd name="connsiteY290" fmla="*/ 6754247 h 6858000"/>
              <a:gd name="connsiteX291" fmla="*/ 5009112 w 7472601"/>
              <a:gd name="connsiteY291" fmla="*/ 6858000 h 6858000"/>
              <a:gd name="connsiteX292" fmla="*/ 4976679 w 7472601"/>
              <a:gd name="connsiteY292" fmla="*/ 6858000 h 6858000"/>
              <a:gd name="connsiteX293" fmla="*/ 5006537 w 7472601"/>
              <a:gd name="connsiteY293" fmla="*/ 6747068 h 6858000"/>
              <a:gd name="connsiteX294" fmla="*/ 5032723 w 7472601"/>
              <a:gd name="connsiteY294" fmla="*/ 6644957 h 6858000"/>
              <a:gd name="connsiteX295" fmla="*/ 5242949 w 7472601"/>
              <a:gd name="connsiteY295" fmla="*/ 6125175 h 6858000"/>
              <a:gd name="connsiteX296" fmla="*/ 5286321 w 7472601"/>
              <a:gd name="connsiteY296" fmla="*/ 6033555 h 6858000"/>
              <a:gd name="connsiteX297" fmla="*/ 5008210 w 7472601"/>
              <a:gd name="connsiteY297" fmla="*/ 6649194 h 6858000"/>
              <a:gd name="connsiteX298" fmla="*/ 4986321 w 7472601"/>
              <a:gd name="connsiteY298" fmla="*/ 6765687 h 6858000"/>
              <a:gd name="connsiteX299" fmla="*/ 4973474 w 7472601"/>
              <a:gd name="connsiteY299" fmla="*/ 6858000 h 6858000"/>
              <a:gd name="connsiteX300" fmla="*/ 4907178 w 7472601"/>
              <a:gd name="connsiteY300" fmla="*/ 6858000 h 6858000"/>
              <a:gd name="connsiteX301" fmla="*/ 4910810 w 7472601"/>
              <a:gd name="connsiteY301" fmla="*/ 6829660 h 6858000"/>
              <a:gd name="connsiteX302" fmla="*/ 4987461 w 7472601"/>
              <a:gd name="connsiteY302" fmla="*/ 6432994 h 6858000"/>
              <a:gd name="connsiteX303" fmla="*/ 5179262 w 7472601"/>
              <a:gd name="connsiteY303" fmla="*/ 6035044 h 6858000"/>
              <a:gd name="connsiteX304" fmla="*/ 4689678 w 7472601"/>
              <a:gd name="connsiteY304" fmla="*/ 6440241 h 6858000"/>
              <a:gd name="connsiteX305" fmla="*/ 4477543 w 7472601"/>
              <a:gd name="connsiteY305" fmla="*/ 6674836 h 6858000"/>
              <a:gd name="connsiteX306" fmla="*/ 4329957 w 7472601"/>
              <a:gd name="connsiteY306" fmla="*/ 6858000 h 6858000"/>
              <a:gd name="connsiteX307" fmla="*/ 4218595 w 7472601"/>
              <a:gd name="connsiteY307" fmla="*/ 6858000 h 6858000"/>
              <a:gd name="connsiteX308" fmla="*/ 4368888 w 7472601"/>
              <a:gd name="connsiteY308" fmla="*/ 6668412 h 6858000"/>
              <a:gd name="connsiteX309" fmla="*/ 4563091 w 7472601"/>
              <a:gd name="connsiteY309" fmla="*/ 6442508 h 6858000"/>
              <a:gd name="connsiteX310" fmla="*/ 5387324 w 7472601"/>
              <a:gd name="connsiteY310" fmla="*/ 5705830 h 6858000"/>
              <a:gd name="connsiteX311" fmla="*/ 5073620 w 7472601"/>
              <a:gd name="connsiteY311" fmla="*/ 5955437 h 6858000"/>
              <a:gd name="connsiteX312" fmla="*/ 4689789 w 7472601"/>
              <a:gd name="connsiteY312" fmla="*/ 6268382 h 6858000"/>
              <a:gd name="connsiteX313" fmla="*/ 4418722 w 7472601"/>
              <a:gd name="connsiteY313" fmla="*/ 6570886 h 6858000"/>
              <a:gd name="connsiteX314" fmla="*/ 4214944 w 7472601"/>
              <a:gd name="connsiteY314" fmla="*/ 6858000 h 6858000"/>
              <a:gd name="connsiteX315" fmla="*/ 4177898 w 7472601"/>
              <a:gd name="connsiteY315" fmla="*/ 6858000 h 6858000"/>
              <a:gd name="connsiteX316" fmla="*/ 4391597 w 7472601"/>
              <a:gd name="connsiteY316" fmla="*/ 6556370 h 6858000"/>
              <a:gd name="connsiteX317" fmla="*/ 4668889 w 7472601"/>
              <a:gd name="connsiteY317" fmla="*/ 6246399 h 6858000"/>
              <a:gd name="connsiteX318" fmla="*/ 5055427 w 7472601"/>
              <a:gd name="connsiteY318" fmla="*/ 5931476 h 6858000"/>
              <a:gd name="connsiteX319" fmla="*/ 5371814 w 7472601"/>
              <a:gd name="connsiteY319" fmla="*/ 5678975 h 6858000"/>
              <a:gd name="connsiteX320" fmla="*/ 4987918 w 7472601"/>
              <a:gd name="connsiteY320" fmla="*/ 5838701 h 6858000"/>
              <a:gd name="connsiteX321" fmla="*/ 4317146 w 7472601"/>
              <a:gd name="connsiteY321" fmla="*/ 6587716 h 6858000"/>
              <a:gd name="connsiteX322" fmla="*/ 4171627 w 7472601"/>
              <a:gd name="connsiteY322" fmla="*/ 6858000 h 6858000"/>
              <a:gd name="connsiteX323" fmla="*/ 4081585 w 7472601"/>
              <a:gd name="connsiteY323" fmla="*/ 6858000 h 6858000"/>
              <a:gd name="connsiteX324" fmla="*/ 4238603 w 7472601"/>
              <a:gd name="connsiteY324" fmla="*/ 6559341 h 6858000"/>
              <a:gd name="connsiteX325" fmla="*/ 4778333 w 7472601"/>
              <a:gd name="connsiteY325" fmla="*/ 5873626 h 6858000"/>
              <a:gd name="connsiteX326" fmla="*/ 5414185 w 7472601"/>
              <a:gd name="connsiteY326" fmla="*/ 5573882 h 6858000"/>
              <a:gd name="connsiteX327" fmla="*/ 5959648 w 7472601"/>
              <a:gd name="connsiteY327" fmla="*/ 4760797 h 6858000"/>
              <a:gd name="connsiteX328" fmla="*/ 5355019 w 7472601"/>
              <a:gd name="connsiteY328" fmla="*/ 4734672 h 6858000"/>
              <a:gd name="connsiteX329" fmla="*/ 5083565 w 7472601"/>
              <a:gd name="connsiteY329" fmla="*/ 5179121 h 6858000"/>
              <a:gd name="connsiteX330" fmla="*/ 4713577 w 7472601"/>
              <a:gd name="connsiteY330" fmla="*/ 5616803 h 6858000"/>
              <a:gd name="connsiteX331" fmla="*/ 3989559 w 7472601"/>
              <a:gd name="connsiteY331" fmla="*/ 6145945 h 6858000"/>
              <a:gd name="connsiteX332" fmla="*/ 3939824 w 7472601"/>
              <a:gd name="connsiteY332" fmla="*/ 6066900 h 6858000"/>
              <a:gd name="connsiteX333" fmla="*/ 4584537 w 7472601"/>
              <a:gd name="connsiteY333" fmla="*/ 5324826 h 6858000"/>
              <a:gd name="connsiteX334" fmla="*/ 5037105 w 7472601"/>
              <a:gd name="connsiteY334" fmla="*/ 5088765 h 6858000"/>
              <a:gd name="connsiteX335" fmla="*/ 5039930 w 7472601"/>
              <a:gd name="connsiteY335" fmla="*/ 5089585 h 6858000"/>
              <a:gd name="connsiteX336" fmla="*/ 5263764 w 7472601"/>
              <a:gd name="connsiteY336" fmla="*/ 4735525 h 6858000"/>
              <a:gd name="connsiteX337" fmla="*/ 4086300 w 7472601"/>
              <a:gd name="connsiteY337" fmla="*/ 4884599 h 6858000"/>
              <a:gd name="connsiteX338" fmla="*/ 4085485 w 7472601"/>
              <a:gd name="connsiteY338" fmla="*/ 4899070 h 6858000"/>
              <a:gd name="connsiteX339" fmla="*/ 3871915 w 7472601"/>
              <a:gd name="connsiteY339" fmla="*/ 5253645 h 6858000"/>
              <a:gd name="connsiteX340" fmla="*/ 3799374 w 7472601"/>
              <a:gd name="connsiteY340" fmla="*/ 5466127 h 6858000"/>
              <a:gd name="connsiteX341" fmla="*/ 3498850 w 7472601"/>
              <a:gd name="connsiteY341" fmla="*/ 6661888 h 6858000"/>
              <a:gd name="connsiteX342" fmla="*/ 3399216 w 7472601"/>
              <a:gd name="connsiteY342" fmla="*/ 6858000 h 6858000"/>
              <a:gd name="connsiteX343" fmla="*/ 3303688 w 7472601"/>
              <a:gd name="connsiteY343" fmla="*/ 6858000 h 6858000"/>
              <a:gd name="connsiteX344" fmla="*/ 3391774 w 7472601"/>
              <a:gd name="connsiteY344" fmla="*/ 6697181 h 6858000"/>
              <a:gd name="connsiteX345" fmla="*/ 3735540 w 7472601"/>
              <a:gd name="connsiteY345" fmla="*/ 5546923 h 6858000"/>
              <a:gd name="connsiteX346" fmla="*/ 3729438 w 7472601"/>
              <a:gd name="connsiteY346" fmla="*/ 5569058 h 6858000"/>
              <a:gd name="connsiteX347" fmla="*/ 3707782 w 7472601"/>
              <a:gd name="connsiteY347" fmla="*/ 5644908 h 6858000"/>
              <a:gd name="connsiteX348" fmla="*/ 3583827 w 7472601"/>
              <a:gd name="connsiteY348" fmla="*/ 6039215 h 6858000"/>
              <a:gd name="connsiteX349" fmla="*/ 3547861 w 7472601"/>
              <a:gd name="connsiteY349" fmla="*/ 6129609 h 6858000"/>
              <a:gd name="connsiteX350" fmla="*/ 3490905 w 7472601"/>
              <a:gd name="connsiteY350" fmla="*/ 6277660 h 6858000"/>
              <a:gd name="connsiteX351" fmla="*/ 3455859 w 7472601"/>
              <a:gd name="connsiteY351" fmla="*/ 6391301 h 6858000"/>
              <a:gd name="connsiteX352" fmla="*/ 3429112 w 7472601"/>
              <a:gd name="connsiteY352" fmla="*/ 6479469 h 6858000"/>
              <a:gd name="connsiteX353" fmla="*/ 3304862 w 7472601"/>
              <a:gd name="connsiteY353" fmla="*/ 6796476 h 6858000"/>
              <a:gd name="connsiteX354" fmla="*/ 3276071 w 7472601"/>
              <a:gd name="connsiteY354" fmla="*/ 6858000 h 6858000"/>
              <a:gd name="connsiteX355" fmla="*/ 3240805 w 7472601"/>
              <a:gd name="connsiteY355" fmla="*/ 6858000 h 6858000"/>
              <a:gd name="connsiteX356" fmla="*/ 3275917 w 7472601"/>
              <a:gd name="connsiteY356" fmla="*/ 6783192 h 6858000"/>
              <a:gd name="connsiteX357" fmla="*/ 3399358 w 7472601"/>
              <a:gd name="connsiteY357" fmla="*/ 6469011 h 6858000"/>
              <a:gd name="connsiteX358" fmla="*/ 3425650 w 7472601"/>
              <a:gd name="connsiteY358" fmla="*/ 6381333 h 6858000"/>
              <a:gd name="connsiteX359" fmla="*/ 3460661 w 7472601"/>
              <a:gd name="connsiteY359" fmla="*/ 6266763 h 6858000"/>
              <a:gd name="connsiteX360" fmla="*/ 3518021 w 7472601"/>
              <a:gd name="connsiteY360" fmla="*/ 6117298 h 6858000"/>
              <a:gd name="connsiteX361" fmla="*/ 3554035 w 7472601"/>
              <a:gd name="connsiteY361" fmla="*/ 6027832 h 6858000"/>
              <a:gd name="connsiteX362" fmla="*/ 3677174 w 7472601"/>
              <a:gd name="connsiteY362" fmla="*/ 5636351 h 6858000"/>
              <a:gd name="connsiteX363" fmla="*/ 3698819 w 7472601"/>
              <a:gd name="connsiteY363" fmla="*/ 5560503 h 6858000"/>
              <a:gd name="connsiteX364" fmla="*/ 3702094 w 7472601"/>
              <a:gd name="connsiteY364" fmla="*/ 5549194 h 6858000"/>
              <a:gd name="connsiteX365" fmla="*/ 3398355 w 7472601"/>
              <a:gd name="connsiteY365" fmla="*/ 6094603 h 6858000"/>
              <a:gd name="connsiteX366" fmla="*/ 3193941 w 7472601"/>
              <a:gd name="connsiteY366" fmla="*/ 6798775 h 6858000"/>
              <a:gd name="connsiteX367" fmla="*/ 3184140 w 7472601"/>
              <a:gd name="connsiteY367" fmla="*/ 6858000 h 6858000"/>
              <a:gd name="connsiteX368" fmla="*/ 3099978 w 7472601"/>
              <a:gd name="connsiteY368" fmla="*/ 6858000 h 6858000"/>
              <a:gd name="connsiteX369" fmla="*/ 3101556 w 7472601"/>
              <a:gd name="connsiteY369" fmla="*/ 6843337 h 6858000"/>
              <a:gd name="connsiteX370" fmla="*/ 3370162 w 7472601"/>
              <a:gd name="connsiteY370" fmla="*/ 5785550 h 6858000"/>
              <a:gd name="connsiteX371" fmla="*/ 3746477 w 7472601"/>
              <a:gd name="connsiteY371" fmla="*/ 5377889 h 6858000"/>
              <a:gd name="connsiteX372" fmla="*/ 3863399 w 7472601"/>
              <a:gd name="connsiteY372" fmla="*/ 5087257 h 6858000"/>
              <a:gd name="connsiteX373" fmla="*/ 3968712 w 7472601"/>
              <a:gd name="connsiteY373" fmla="*/ 4913989 h 6858000"/>
              <a:gd name="connsiteX374" fmla="*/ 2792390 w 7472601"/>
              <a:gd name="connsiteY374" fmla="*/ 5382974 h 6858000"/>
              <a:gd name="connsiteX375" fmla="*/ 2714982 w 7472601"/>
              <a:gd name="connsiteY375" fmla="*/ 5427051 h 6858000"/>
              <a:gd name="connsiteX376" fmla="*/ 2813361 w 7472601"/>
              <a:gd name="connsiteY376" fmla="*/ 6023912 h 6858000"/>
              <a:gd name="connsiteX377" fmla="*/ 2688430 w 7472601"/>
              <a:gd name="connsiteY377" fmla="*/ 6801564 h 6858000"/>
              <a:gd name="connsiteX378" fmla="*/ 2629626 w 7472601"/>
              <a:gd name="connsiteY378" fmla="*/ 6763394 h 6858000"/>
              <a:gd name="connsiteX379" fmla="*/ 2565328 w 7472601"/>
              <a:gd name="connsiteY379" fmla="*/ 5516399 h 6858000"/>
              <a:gd name="connsiteX380" fmla="*/ 1922999 w 7472601"/>
              <a:gd name="connsiteY380" fmla="*/ 5980343 h 6858000"/>
              <a:gd name="connsiteX381" fmla="*/ 1950261 w 7472601"/>
              <a:gd name="connsiteY381" fmla="*/ 6405858 h 6858000"/>
              <a:gd name="connsiteX382" fmla="*/ 2365554 w 7472601"/>
              <a:gd name="connsiteY382" fmla="*/ 6759107 h 6858000"/>
              <a:gd name="connsiteX383" fmla="*/ 2424142 w 7472601"/>
              <a:gd name="connsiteY383" fmla="*/ 6858000 h 6858000"/>
              <a:gd name="connsiteX384" fmla="*/ 2395994 w 7472601"/>
              <a:gd name="connsiteY384" fmla="*/ 6858000 h 6858000"/>
              <a:gd name="connsiteX385" fmla="*/ 2392863 w 7472601"/>
              <a:gd name="connsiteY385" fmla="*/ 6852964 h 6858000"/>
              <a:gd name="connsiteX386" fmla="*/ 2017589 w 7472601"/>
              <a:gd name="connsiteY386" fmla="*/ 6493982 h 6858000"/>
              <a:gd name="connsiteX387" fmla="*/ 2147336 w 7472601"/>
              <a:gd name="connsiteY387" fmla="*/ 6594052 h 6858000"/>
              <a:gd name="connsiteX388" fmla="*/ 2207047 w 7472601"/>
              <a:gd name="connsiteY388" fmla="*/ 6654540 h 6858000"/>
              <a:gd name="connsiteX389" fmla="*/ 2299106 w 7472601"/>
              <a:gd name="connsiteY389" fmla="*/ 6778931 h 6858000"/>
              <a:gd name="connsiteX390" fmla="*/ 2314430 w 7472601"/>
              <a:gd name="connsiteY390" fmla="*/ 6801144 h 6858000"/>
              <a:gd name="connsiteX391" fmla="*/ 2352406 w 7472601"/>
              <a:gd name="connsiteY391" fmla="*/ 6858000 h 6858000"/>
              <a:gd name="connsiteX392" fmla="*/ 2314492 w 7472601"/>
              <a:gd name="connsiteY392" fmla="*/ 6858000 h 6858000"/>
              <a:gd name="connsiteX393" fmla="*/ 2288095 w 7472601"/>
              <a:gd name="connsiteY393" fmla="*/ 6818030 h 6858000"/>
              <a:gd name="connsiteX394" fmla="*/ 2272768 w 7472601"/>
              <a:gd name="connsiteY394" fmla="*/ 6795822 h 6858000"/>
              <a:gd name="connsiteX395" fmla="*/ 2182715 w 7472601"/>
              <a:gd name="connsiteY395" fmla="*/ 6675071 h 6858000"/>
              <a:gd name="connsiteX396" fmla="*/ 2032061 w 7472601"/>
              <a:gd name="connsiteY396" fmla="*/ 6541380 h 6858000"/>
              <a:gd name="connsiteX397" fmla="*/ 2257220 w 7472601"/>
              <a:gd name="connsiteY397" fmla="*/ 6826257 h 6858000"/>
              <a:gd name="connsiteX398" fmla="*/ 2281324 w 7472601"/>
              <a:gd name="connsiteY398" fmla="*/ 6858000 h 6858000"/>
              <a:gd name="connsiteX399" fmla="*/ 2242860 w 7472601"/>
              <a:gd name="connsiteY399" fmla="*/ 6858000 h 6858000"/>
              <a:gd name="connsiteX400" fmla="*/ 2232818 w 7472601"/>
              <a:gd name="connsiteY400" fmla="*/ 6844926 h 6858000"/>
              <a:gd name="connsiteX401" fmla="*/ 1990172 w 7472601"/>
              <a:gd name="connsiteY401" fmla="*/ 6542121 h 6858000"/>
              <a:gd name="connsiteX402" fmla="*/ 2124090 w 7472601"/>
              <a:gd name="connsiteY402" fmla="*/ 6761017 h 6858000"/>
              <a:gd name="connsiteX403" fmla="*/ 2200380 w 7472601"/>
              <a:gd name="connsiteY403" fmla="*/ 6858000 h 6858000"/>
              <a:gd name="connsiteX404" fmla="*/ 2147507 w 7472601"/>
              <a:gd name="connsiteY404" fmla="*/ 6858000 h 6858000"/>
              <a:gd name="connsiteX405" fmla="*/ 2070668 w 7472601"/>
              <a:gd name="connsiteY405" fmla="*/ 6761520 h 6858000"/>
              <a:gd name="connsiteX406" fmla="*/ 1975142 w 7472601"/>
              <a:gd name="connsiteY406" fmla="*/ 6585570 h 6858000"/>
              <a:gd name="connsiteX407" fmla="*/ 2050035 w 7472601"/>
              <a:gd name="connsiteY407" fmla="*/ 6813345 h 6858000"/>
              <a:gd name="connsiteX408" fmla="*/ 2063025 w 7472601"/>
              <a:gd name="connsiteY408" fmla="*/ 6858000 h 6858000"/>
              <a:gd name="connsiteX409" fmla="*/ 2021675 w 7472601"/>
              <a:gd name="connsiteY409" fmla="*/ 6858000 h 6858000"/>
              <a:gd name="connsiteX410" fmla="*/ 2019308 w 7472601"/>
              <a:gd name="connsiteY410" fmla="*/ 6847118 h 6858000"/>
              <a:gd name="connsiteX411" fmla="*/ 1938835 w 7472601"/>
              <a:gd name="connsiteY411" fmla="*/ 6551160 h 6858000"/>
              <a:gd name="connsiteX412" fmla="*/ 1953230 w 7472601"/>
              <a:gd name="connsiteY412" fmla="*/ 6759699 h 6858000"/>
              <a:gd name="connsiteX413" fmla="*/ 1956763 w 7472601"/>
              <a:gd name="connsiteY413" fmla="*/ 6778191 h 6858000"/>
              <a:gd name="connsiteX414" fmla="*/ 1967925 w 7472601"/>
              <a:gd name="connsiteY414" fmla="*/ 6858000 h 6858000"/>
              <a:gd name="connsiteX415" fmla="*/ 1936622 w 7472601"/>
              <a:gd name="connsiteY415" fmla="*/ 6858000 h 6858000"/>
              <a:gd name="connsiteX416" fmla="*/ 1926261 w 7472601"/>
              <a:gd name="connsiteY416" fmla="*/ 6784064 h 6858000"/>
              <a:gd name="connsiteX417" fmla="*/ 1922724 w 7472601"/>
              <a:gd name="connsiteY417" fmla="*/ 6765577 h 6858000"/>
              <a:gd name="connsiteX418" fmla="*/ 1904650 w 7472601"/>
              <a:gd name="connsiteY418" fmla="*/ 6639616 h 6858000"/>
              <a:gd name="connsiteX419" fmla="*/ 1885273 w 7472601"/>
              <a:gd name="connsiteY419" fmla="*/ 6858000 h 6858000"/>
              <a:gd name="connsiteX420" fmla="*/ 1854363 w 7472601"/>
              <a:gd name="connsiteY420" fmla="*/ 6858000 h 6858000"/>
              <a:gd name="connsiteX421" fmla="*/ 1880391 w 7472601"/>
              <a:gd name="connsiteY421" fmla="*/ 6603796 h 6858000"/>
              <a:gd name="connsiteX422" fmla="*/ 1818273 w 7472601"/>
              <a:gd name="connsiteY422" fmla="*/ 6715729 h 6858000"/>
              <a:gd name="connsiteX423" fmla="*/ 1794691 w 7472601"/>
              <a:gd name="connsiteY423" fmla="*/ 6843239 h 6858000"/>
              <a:gd name="connsiteX424" fmla="*/ 1794914 w 7472601"/>
              <a:gd name="connsiteY424" fmla="*/ 6858000 h 6858000"/>
              <a:gd name="connsiteX425" fmla="*/ 1746128 w 7472601"/>
              <a:gd name="connsiteY425" fmla="*/ 6858000 h 6858000"/>
              <a:gd name="connsiteX426" fmla="*/ 1753934 w 7472601"/>
              <a:gd name="connsiteY426" fmla="*/ 6724796 h 6858000"/>
              <a:gd name="connsiteX427" fmla="*/ 1792053 w 7472601"/>
              <a:gd name="connsiteY427" fmla="*/ 6572396 h 6858000"/>
              <a:gd name="connsiteX428" fmla="*/ 1862248 w 7472601"/>
              <a:gd name="connsiteY428" fmla="*/ 6266397 h 6858000"/>
              <a:gd name="connsiteX429" fmla="*/ 1862250 w 7472601"/>
              <a:gd name="connsiteY429" fmla="*/ 6033531 h 6858000"/>
              <a:gd name="connsiteX430" fmla="*/ 1211999 w 7472601"/>
              <a:gd name="connsiteY430" fmla="*/ 6683610 h 6858000"/>
              <a:gd name="connsiteX431" fmla="*/ 1213266 w 7472601"/>
              <a:gd name="connsiteY431" fmla="*/ 6691947 h 6858000"/>
              <a:gd name="connsiteX432" fmla="*/ 1203370 w 7472601"/>
              <a:gd name="connsiteY432" fmla="*/ 6850676 h 6858000"/>
              <a:gd name="connsiteX433" fmla="*/ 1203671 w 7472601"/>
              <a:gd name="connsiteY433" fmla="*/ 6858000 h 6858000"/>
              <a:gd name="connsiteX434" fmla="*/ 1143180 w 7472601"/>
              <a:gd name="connsiteY434" fmla="*/ 6858000 h 6858000"/>
              <a:gd name="connsiteX435" fmla="*/ 1142176 w 7472601"/>
              <a:gd name="connsiteY435" fmla="*/ 6766045 h 6858000"/>
              <a:gd name="connsiteX436" fmla="*/ 1067484 w 7472601"/>
              <a:gd name="connsiteY436" fmla="*/ 6858000 h 6858000"/>
              <a:gd name="connsiteX437" fmla="*/ 953928 w 7472601"/>
              <a:gd name="connsiteY437" fmla="*/ 6858000 h 6858000"/>
              <a:gd name="connsiteX438" fmla="*/ 959715 w 7472601"/>
              <a:gd name="connsiteY438" fmla="*/ 6850185 h 6858000"/>
              <a:gd name="connsiteX439" fmla="*/ 1483788 w 7472601"/>
              <a:gd name="connsiteY439" fmla="*/ 6259174 h 6858000"/>
              <a:gd name="connsiteX440" fmla="*/ 1100671 w 7472601"/>
              <a:gd name="connsiteY440" fmla="*/ 6252137 h 6858000"/>
              <a:gd name="connsiteX441" fmla="*/ 1090144 w 7472601"/>
              <a:gd name="connsiteY441" fmla="*/ 6256748 h 6858000"/>
              <a:gd name="connsiteX442" fmla="*/ 1095872 w 7472601"/>
              <a:gd name="connsiteY442" fmla="*/ 6271892 h 6858000"/>
              <a:gd name="connsiteX443" fmla="*/ 262785 w 7472601"/>
              <a:gd name="connsiteY443" fmla="*/ 6845450 h 6858000"/>
              <a:gd name="connsiteX444" fmla="*/ 209968 w 7472601"/>
              <a:gd name="connsiteY444" fmla="*/ 6770713 h 6858000"/>
              <a:gd name="connsiteX445" fmla="*/ 873460 w 7472601"/>
              <a:gd name="connsiteY445" fmla="*/ 6253768 h 6858000"/>
              <a:gd name="connsiteX446" fmla="*/ 192686 w 7472601"/>
              <a:gd name="connsiteY446" fmla="*/ 5849257 h 6858000"/>
              <a:gd name="connsiteX447" fmla="*/ 4696 w 7472601"/>
              <a:gd name="connsiteY447" fmla="*/ 5697668 h 6858000"/>
              <a:gd name="connsiteX448" fmla="*/ 0 w 7472601"/>
              <a:gd name="connsiteY448" fmla="*/ 5689984 h 6858000"/>
              <a:gd name="connsiteX449" fmla="*/ 0 w 7472601"/>
              <a:gd name="connsiteY449" fmla="*/ 5513472 h 6858000"/>
              <a:gd name="connsiteX450" fmla="*/ 174101 w 7472601"/>
              <a:gd name="connsiteY450" fmla="*/ 5620277 h 6858000"/>
              <a:gd name="connsiteX451" fmla="*/ 891800 w 7472601"/>
              <a:gd name="connsiteY451" fmla="*/ 6036935 h 6858000"/>
              <a:gd name="connsiteX452" fmla="*/ 1072219 w 7472601"/>
              <a:gd name="connsiteY452" fmla="*/ 6169443 h 6858000"/>
              <a:gd name="connsiteX453" fmla="*/ 1074117 w 7472601"/>
              <a:gd name="connsiteY453" fmla="*/ 6170301 h 6858000"/>
              <a:gd name="connsiteX454" fmla="*/ 1083114 w 7472601"/>
              <a:gd name="connsiteY454" fmla="*/ 6174131 h 6858000"/>
              <a:gd name="connsiteX455" fmla="*/ 1543010 w 7472601"/>
              <a:gd name="connsiteY455" fmla="*/ 6191140 h 6858000"/>
              <a:gd name="connsiteX456" fmla="*/ 1551080 w 7472601"/>
              <a:gd name="connsiteY456" fmla="*/ 6195006 h 6858000"/>
              <a:gd name="connsiteX457" fmla="*/ 2345443 w 7472601"/>
              <a:gd name="connsiteY457" fmla="*/ 5549882 h 6858000"/>
              <a:gd name="connsiteX458" fmla="*/ 1721499 w 7472601"/>
              <a:gd name="connsiteY458" fmla="*/ 5599969 h 6858000"/>
              <a:gd name="connsiteX459" fmla="*/ 767716 w 7472601"/>
              <a:gd name="connsiteY459" fmla="*/ 5472768 h 6858000"/>
              <a:gd name="connsiteX460" fmla="*/ 722147 w 7472601"/>
              <a:gd name="connsiteY460" fmla="*/ 5393091 h 6858000"/>
              <a:gd name="connsiteX461" fmla="*/ 1485552 w 7472601"/>
              <a:gd name="connsiteY461" fmla="*/ 5313202 h 6858000"/>
              <a:gd name="connsiteX462" fmla="*/ 2143004 w 7472601"/>
              <a:gd name="connsiteY462" fmla="*/ 5402420 h 6858000"/>
              <a:gd name="connsiteX463" fmla="*/ 1933391 w 7472601"/>
              <a:gd name="connsiteY463" fmla="*/ 5156971 h 6858000"/>
              <a:gd name="connsiteX464" fmla="*/ 1827118 w 7472601"/>
              <a:gd name="connsiteY464" fmla="*/ 4968410 h 6858000"/>
              <a:gd name="connsiteX465" fmla="*/ 1837349 w 7472601"/>
              <a:gd name="connsiteY465" fmla="*/ 4956357 h 6858000"/>
              <a:gd name="connsiteX466" fmla="*/ 2162835 w 7472601"/>
              <a:gd name="connsiteY466" fmla="*/ 5187853 h 6858000"/>
              <a:gd name="connsiteX467" fmla="*/ 2257167 w 7472601"/>
              <a:gd name="connsiteY467" fmla="*/ 5462123 h 6858000"/>
              <a:gd name="connsiteX468" fmla="*/ 2261598 w 7472601"/>
              <a:gd name="connsiteY468" fmla="*/ 5467998 h 6858000"/>
              <a:gd name="connsiteX469" fmla="*/ 2437177 w 7472601"/>
              <a:gd name="connsiteY469" fmla="*/ 5479608 h 6858000"/>
              <a:gd name="connsiteX470" fmla="*/ 2445247 w 7472601"/>
              <a:gd name="connsiteY470" fmla="*/ 5483476 h 6858000"/>
              <a:gd name="connsiteX471" fmla="*/ 2743626 w 7472601"/>
              <a:gd name="connsiteY471" fmla="*/ 5304819 h 6858000"/>
              <a:gd name="connsiteX472" fmla="*/ 3048102 w 7472601"/>
              <a:gd name="connsiteY472" fmla="*/ 5150595 h 6858000"/>
              <a:gd name="connsiteX473" fmla="*/ 1799414 w 7472601"/>
              <a:gd name="connsiteY473" fmla="*/ 4694732 h 6858000"/>
              <a:gd name="connsiteX474" fmla="*/ 1771735 w 7472601"/>
              <a:gd name="connsiteY474" fmla="*/ 4619929 h 6858000"/>
              <a:gd name="connsiteX475" fmla="*/ 3104273 w 7472601"/>
              <a:gd name="connsiteY475" fmla="*/ 5076159 h 6858000"/>
              <a:gd name="connsiteX476" fmla="*/ 3113245 w 7472601"/>
              <a:gd name="connsiteY476" fmla="*/ 5090705 h 6858000"/>
              <a:gd name="connsiteX477" fmla="*/ 3126294 w 7472601"/>
              <a:gd name="connsiteY477" fmla="*/ 5114400 h 6858000"/>
              <a:gd name="connsiteX478" fmla="*/ 3937433 w 7472601"/>
              <a:gd name="connsiteY478" fmla="*/ 4830473 h 6858000"/>
              <a:gd name="connsiteX479" fmla="*/ 3590475 w 7472601"/>
              <a:gd name="connsiteY479" fmla="*/ 4597974 h 6858000"/>
              <a:gd name="connsiteX480" fmla="*/ 3100264 w 7472601"/>
              <a:gd name="connsiteY480" fmla="*/ 4579845 h 6858000"/>
              <a:gd name="connsiteX481" fmla="*/ 2183576 w 7472601"/>
              <a:gd name="connsiteY481" fmla="*/ 4227150 h 6858000"/>
              <a:gd name="connsiteX482" fmla="*/ 2151029 w 7472601"/>
              <a:gd name="connsiteY482" fmla="*/ 4146947 h 6858000"/>
              <a:gd name="connsiteX483" fmla="*/ 3563434 w 7472601"/>
              <a:gd name="connsiteY483" fmla="*/ 4469115 h 6858000"/>
              <a:gd name="connsiteX484" fmla="*/ 3177952 w 7472601"/>
              <a:gd name="connsiteY484" fmla="*/ 3657386 h 6858000"/>
              <a:gd name="connsiteX485" fmla="*/ 3189263 w 7472601"/>
              <a:gd name="connsiteY485" fmla="*/ 3625726 h 6858000"/>
              <a:gd name="connsiteX486" fmla="*/ 3560912 w 7472601"/>
              <a:gd name="connsiteY486" fmla="*/ 4079863 h 6858000"/>
              <a:gd name="connsiteX487" fmla="*/ 3626636 w 7472601"/>
              <a:gd name="connsiteY487" fmla="*/ 4512230 h 6858000"/>
              <a:gd name="connsiteX488" fmla="*/ 3653088 w 7472601"/>
              <a:gd name="connsiteY488" fmla="*/ 4521417 h 6858000"/>
              <a:gd name="connsiteX489" fmla="*/ 3988128 w 7472601"/>
              <a:gd name="connsiteY489" fmla="*/ 4817267 h 6858000"/>
              <a:gd name="connsiteX490" fmla="*/ 4830582 w 7472601"/>
              <a:gd name="connsiteY490" fmla="*/ 4676000 h 6858000"/>
              <a:gd name="connsiteX491" fmla="*/ 4830100 w 7472601"/>
              <a:gd name="connsiteY491" fmla="*/ 4675554 h 6858000"/>
              <a:gd name="connsiteX492" fmla="*/ 4036318 w 7472601"/>
              <a:gd name="connsiteY492" fmla="*/ 4147013 h 6858000"/>
              <a:gd name="connsiteX493" fmla="*/ 3432098 w 7472601"/>
              <a:gd name="connsiteY493" fmla="*/ 3537312 h 6858000"/>
              <a:gd name="connsiteX494" fmla="*/ 3446761 w 7472601"/>
              <a:gd name="connsiteY494" fmla="*/ 3461278 h 6858000"/>
              <a:gd name="connsiteX495" fmla="*/ 4419733 w 7472601"/>
              <a:gd name="connsiteY495" fmla="*/ 3963555 h 6858000"/>
              <a:gd name="connsiteX496" fmla="*/ 4781371 w 7472601"/>
              <a:gd name="connsiteY496" fmla="*/ 4458604 h 6858000"/>
              <a:gd name="connsiteX497" fmla="*/ 4780440 w 7472601"/>
              <a:gd name="connsiteY497" fmla="*/ 4470290 h 6858000"/>
              <a:gd name="connsiteX498" fmla="*/ 4898954 w 7472601"/>
              <a:gd name="connsiteY498" fmla="*/ 4662092 h 6858000"/>
              <a:gd name="connsiteX499" fmla="*/ 4900699 w 7472601"/>
              <a:gd name="connsiteY499" fmla="*/ 4670867 h 6858000"/>
              <a:gd name="connsiteX500" fmla="*/ 5714511 w 7472601"/>
              <a:gd name="connsiteY500" fmla="*/ 4663483 h 6858000"/>
              <a:gd name="connsiteX501" fmla="*/ 5464793 w 7472601"/>
              <a:gd name="connsiteY501" fmla="*/ 4393556 h 6858000"/>
              <a:gd name="connsiteX502" fmla="*/ 5461897 w 7472601"/>
              <a:gd name="connsiteY502" fmla="*/ 4390879 h 6858000"/>
              <a:gd name="connsiteX503" fmla="*/ 4294126 w 7472601"/>
              <a:gd name="connsiteY503" fmla="*/ 3303048 h 6858000"/>
              <a:gd name="connsiteX504" fmla="*/ 4305321 w 7472601"/>
              <a:gd name="connsiteY504" fmla="*/ 3256953 h 6858000"/>
              <a:gd name="connsiteX505" fmla="*/ 4949299 w 7472601"/>
              <a:gd name="connsiteY505" fmla="*/ 3766336 h 6858000"/>
              <a:gd name="connsiteX506" fmla="*/ 5291452 w 7472601"/>
              <a:gd name="connsiteY506" fmla="*/ 4076801 h 6858000"/>
              <a:gd name="connsiteX507" fmla="*/ 5434998 w 7472601"/>
              <a:gd name="connsiteY507" fmla="*/ 4254100 h 6858000"/>
              <a:gd name="connsiteX508" fmla="*/ 5351015 w 7472601"/>
              <a:gd name="connsiteY508" fmla="*/ 3760989 h 6858000"/>
              <a:gd name="connsiteX509" fmla="*/ 5413780 w 7472601"/>
              <a:gd name="connsiteY509" fmla="*/ 2966265 h 6858000"/>
              <a:gd name="connsiteX510" fmla="*/ 5425627 w 7472601"/>
              <a:gd name="connsiteY510" fmla="*/ 2954192 h 6858000"/>
              <a:gd name="connsiteX511" fmla="*/ 6604735 w 7472601"/>
              <a:gd name="connsiteY511" fmla="*/ 2041381 h 6858000"/>
              <a:gd name="connsiteX512" fmla="*/ 7204487 w 7472601"/>
              <a:gd name="connsiteY512" fmla="*/ 2742112 h 6858000"/>
              <a:gd name="connsiteX513" fmla="*/ 7131592 w 7472601"/>
              <a:gd name="connsiteY513" fmla="*/ 2672096 h 6858000"/>
              <a:gd name="connsiteX514" fmla="*/ 6996344 w 7472601"/>
              <a:gd name="connsiteY514" fmla="*/ 2518310 h 6858000"/>
              <a:gd name="connsiteX515" fmla="*/ 6735495 w 7472601"/>
              <a:gd name="connsiteY515" fmla="*/ 2196890 h 6858000"/>
              <a:gd name="connsiteX516" fmla="*/ 6721901 w 7472601"/>
              <a:gd name="connsiteY516" fmla="*/ 2179274 h 6858000"/>
              <a:gd name="connsiteX517" fmla="*/ 6604735 w 7472601"/>
              <a:gd name="connsiteY517" fmla="*/ 2041381 h 6858000"/>
              <a:gd name="connsiteX518" fmla="*/ 6591670 w 7472601"/>
              <a:gd name="connsiteY518" fmla="*/ 1988277 h 6858000"/>
              <a:gd name="connsiteX519" fmla="*/ 6747349 w 7472601"/>
              <a:gd name="connsiteY519" fmla="*/ 2160069 h 6858000"/>
              <a:gd name="connsiteX520" fmla="*/ 6760943 w 7472601"/>
              <a:gd name="connsiteY520" fmla="*/ 2177686 h 6858000"/>
              <a:gd name="connsiteX521" fmla="*/ 7021065 w 7472601"/>
              <a:gd name="connsiteY521" fmla="*/ 2498102 h 6858000"/>
              <a:gd name="connsiteX522" fmla="*/ 7155223 w 7472601"/>
              <a:gd name="connsiteY522" fmla="*/ 2650386 h 6858000"/>
              <a:gd name="connsiteX523" fmla="*/ 7203167 w 7472601"/>
              <a:gd name="connsiteY523" fmla="*/ 2697288 h 6858000"/>
              <a:gd name="connsiteX524" fmla="*/ 6937703 w 7472601"/>
              <a:gd name="connsiteY524" fmla="*/ 2321981 h 6858000"/>
              <a:gd name="connsiteX525" fmla="*/ 6591670 w 7472601"/>
              <a:gd name="connsiteY525" fmla="*/ 1988277 h 6858000"/>
              <a:gd name="connsiteX526" fmla="*/ 5798671 w 7472601"/>
              <a:gd name="connsiteY526" fmla="*/ 1981601 h 6858000"/>
              <a:gd name="connsiteX527" fmla="*/ 5754709 w 7472601"/>
              <a:gd name="connsiteY527" fmla="*/ 2071454 h 6858000"/>
              <a:gd name="connsiteX528" fmla="*/ 5763044 w 7472601"/>
              <a:gd name="connsiteY528" fmla="*/ 2842206 h 6858000"/>
              <a:gd name="connsiteX529" fmla="*/ 5764974 w 7472601"/>
              <a:gd name="connsiteY529" fmla="*/ 2799609 h 6858000"/>
              <a:gd name="connsiteX530" fmla="*/ 5767665 w 7472601"/>
              <a:gd name="connsiteY530" fmla="*/ 2666409 h 6858000"/>
              <a:gd name="connsiteX531" fmla="*/ 5763055 w 7472601"/>
              <a:gd name="connsiteY531" fmla="*/ 2579705 h 6858000"/>
              <a:gd name="connsiteX532" fmla="*/ 5758079 w 7472601"/>
              <a:gd name="connsiteY532" fmla="*/ 2492508 h 6858000"/>
              <a:gd name="connsiteX533" fmla="*/ 5779325 w 7472601"/>
              <a:gd name="connsiteY533" fmla="*/ 2197069 h 6858000"/>
              <a:gd name="connsiteX534" fmla="*/ 5798671 w 7472601"/>
              <a:gd name="connsiteY534" fmla="*/ 1981601 h 6858000"/>
              <a:gd name="connsiteX535" fmla="*/ 5829202 w 7472601"/>
              <a:gd name="connsiteY535" fmla="*/ 1971679 h 6858000"/>
              <a:gd name="connsiteX536" fmla="*/ 5809558 w 7472601"/>
              <a:gd name="connsiteY536" fmla="*/ 2198043 h 6858000"/>
              <a:gd name="connsiteX537" fmla="*/ 5788653 w 7472601"/>
              <a:gd name="connsiteY537" fmla="*/ 2489430 h 6858000"/>
              <a:gd name="connsiteX538" fmla="*/ 5793439 w 7472601"/>
              <a:gd name="connsiteY538" fmla="*/ 2575235 h 6858000"/>
              <a:gd name="connsiteX539" fmla="*/ 5796837 w 7472601"/>
              <a:gd name="connsiteY539" fmla="*/ 2637633 h 6858000"/>
              <a:gd name="connsiteX540" fmla="*/ 5818614 w 7472601"/>
              <a:gd name="connsiteY540" fmla="*/ 2473055 h 6858000"/>
              <a:gd name="connsiteX541" fmla="*/ 5829202 w 7472601"/>
              <a:gd name="connsiteY541" fmla="*/ 1971679 h 6858000"/>
              <a:gd name="connsiteX542" fmla="*/ 5911389 w 7472601"/>
              <a:gd name="connsiteY542" fmla="*/ 1898371 h 6858000"/>
              <a:gd name="connsiteX543" fmla="*/ 6237627 w 7472601"/>
              <a:gd name="connsiteY543" fmla="*/ 2231921 h 6858000"/>
              <a:gd name="connsiteX544" fmla="*/ 5911389 w 7472601"/>
              <a:gd name="connsiteY544" fmla="*/ 1898371 h 6858000"/>
              <a:gd name="connsiteX545" fmla="*/ 6944437 w 7472601"/>
              <a:gd name="connsiteY545" fmla="*/ 1575402 h 6858000"/>
              <a:gd name="connsiteX546" fmla="*/ 6304730 w 7472601"/>
              <a:gd name="connsiteY546" fmla="*/ 1766654 h 6858000"/>
              <a:gd name="connsiteX547" fmla="*/ 6944437 w 7472601"/>
              <a:gd name="connsiteY547" fmla="*/ 1575402 h 6858000"/>
              <a:gd name="connsiteX548" fmla="*/ 7019523 w 7472601"/>
              <a:gd name="connsiteY548" fmla="*/ 1519450 h 6858000"/>
              <a:gd name="connsiteX549" fmla="*/ 6298091 w 7472601"/>
              <a:gd name="connsiteY549" fmla="*/ 1737122 h 6858000"/>
              <a:gd name="connsiteX550" fmla="*/ 7019523 w 7472601"/>
              <a:gd name="connsiteY550" fmla="*/ 1519450 h 6858000"/>
              <a:gd name="connsiteX551" fmla="*/ 2399523 w 7472601"/>
              <a:gd name="connsiteY551" fmla="*/ 1428234 h 6858000"/>
              <a:gd name="connsiteX552" fmla="*/ 2224982 w 7472601"/>
              <a:gd name="connsiteY552" fmla="*/ 1826201 h 6858000"/>
              <a:gd name="connsiteX553" fmla="*/ 2096099 w 7472601"/>
              <a:gd name="connsiteY553" fmla="*/ 2345900 h 6858000"/>
              <a:gd name="connsiteX554" fmla="*/ 2283317 w 7472601"/>
              <a:gd name="connsiteY554" fmla="*/ 1796925 h 6858000"/>
              <a:gd name="connsiteX555" fmla="*/ 2399523 w 7472601"/>
              <a:gd name="connsiteY555" fmla="*/ 1428234 h 6858000"/>
              <a:gd name="connsiteX556" fmla="*/ 2448558 w 7472601"/>
              <a:gd name="connsiteY556" fmla="*/ 1373435 h 6858000"/>
              <a:gd name="connsiteX557" fmla="*/ 2312521 w 7472601"/>
              <a:gd name="connsiteY557" fmla="*/ 1806140 h 6858000"/>
              <a:gd name="connsiteX558" fmla="*/ 2127533 w 7472601"/>
              <a:gd name="connsiteY558" fmla="*/ 2348380 h 6858000"/>
              <a:gd name="connsiteX559" fmla="*/ 2358080 w 7472601"/>
              <a:gd name="connsiteY559" fmla="*/ 1866134 h 6858000"/>
              <a:gd name="connsiteX560" fmla="*/ 2407436 w 7472601"/>
              <a:gd name="connsiteY560" fmla="*/ 1651070 h 6858000"/>
              <a:gd name="connsiteX561" fmla="*/ 2448558 w 7472601"/>
              <a:gd name="connsiteY561" fmla="*/ 1373435 h 6858000"/>
              <a:gd name="connsiteX562" fmla="*/ 278707 w 7472601"/>
              <a:gd name="connsiteY562" fmla="*/ 1352270 h 6858000"/>
              <a:gd name="connsiteX563" fmla="*/ 321570 w 7472601"/>
              <a:gd name="connsiteY563" fmla="*/ 1861610 h 6858000"/>
              <a:gd name="connsiteX564" fmla="*/ 294281 w 7472601"/>
              <a:gd name="connsiteY564" fmla="*/ 1440658 h 6858000"/>
              <a:gd name="connsiteX565" fmla="*/ 278707 w 7472601"/>
              <a:gd name="connsiteY565" fmla="*/ 1352270 h 6858000"/>
              <a:gd name="connsiteX566" fmla="*/ 1423821 w 7472601"/>
              <a:gd name="connsiteY566" fmla="*/ 1351958 h 6858000"/>
              <a:gd name="connsiteX567" fmla="*/ 1638521 w 7472601"/>
              <a:gd name="connsiteY567" fmla="*/ 1908470 h 6858000"/>
              <a:gd name="connsiteX568" fmla="*/ 1754199 w 7472601"/>
              <a:gd name="connsiteY568" fmla="*/ 2149284 h 6858000"/>
              <a:gd name="connsiteX569" fmla="*/ 1908359 w 7472601"/>
              <a:gd name="connsiteY569" fmla="*/ 2364988 h 6858000"/>
              <a:gd name="connsiteX570" fmla="*/ 1647661 w 7472601"/>
              <a:gd name="connsiteY570" fmla="*/ 1825945 h 6858000"/>
              <a:gd name="connsiteX571" fmla="*/ 1423821 w 7472601"/>
              <a:gd name="connsiteY571" fmla="*/ 1351958 h 6858000"/>
              <a:gd name="connsiteX572" fmla="*/ 1431890 w 7472601"/>
              <a:gd name="connsiteY572" fmla="*/ 1306475 h 6858000"/>
              <a:gd name="connsiteX573" fmla="*/ 1507597 w 7472601"/>
              <a:gd name="connsiteY573" fmla="*/ 1446132 h 6858000"/>
              <a:gd name="connsiteX574" fmla="*/ 1674586 w 7472601"/>
              <a:gd name="connsiteY574" fmla="*/ 1813832 h 6858000"/>
              <a:gd name="connsiteX575" fmla="*/ 1815950 w 7472601"/>
              <a:gd name="connsiteY575" fmla="*/ 2128564 h 6858000"/>
              <a:gd name="connsiteX576" fmla="*/ 1984242 w 7472601"/>
              <a:gd name="connsiteY576" fmla="*/ 2430829 h 6858000"/>
              <a:gd name="connsiteX577" fmla="*/ 2014023 w 7472601"/>
              <a:gd name="connsiteY577" fmla="*/ 2450995 h 6858000"/>
              <a:gd name="connsiteX578" fmla="*/ 1747337 w 7472601"/>
              <a:gd name="connsiteY578" fmla="*/ 1855264 h 6858000"/>
              <a:gd name="connsiteX579" fmla="*/ 1533749 w 7472601"/>
              <a:gd name="connsiteY579" fmla="*/ 1478656 h 6858000"/>
              <a:gd name="connsiteX580" fmla="*/ 1431890 w 7472601"/>
              <a:gd name="connsiteY580" fmla="*/ 1306475 h 6858000"/>
              <a:gd name="connsiteX581" fmla="*/ 5052692 w 7472601"/>
              <a:gd name="connsiteY581" fmla="*/ 1292994 h 6858000"/>
              <a:gd name="connsiteX582" fmla="*/ 5200661 w 7472601"/>
              <a:gd name="connsiteY582" fmla="*/ 1635186 h 6858000"/>
              <a:gd name="connsiteX583" fmla="*/ 5297138 w 7472601"/>
              <a:gd name="connsiteY583" fmla="*/ 1906351 h 6858000"/>
              <a:gd name="connsiteX584" fmla="*/ 5052692 w 7472601"/>
              <a:gd name="connsiteY584" fmla="*/ 1292994 h 6858000"/>
              <a:gd name="connsiteX585" fmla="*/ 5009948 w 7472601"/>
              <a:gd name="connsiteY585" fmla="*/ 1273619 h 6858000"/>
              <a:gd name="connsiteX586" fmla="*/ 5121777 w 7472601"/>
              <a:gd name="connsiteY586" fmla="*/ 1654213 h 6858000"/>
              <a:gd name="connsiteX587" fmla="*/ 5293545 w 7472601"/>
              <a:gd name="connsiteY587" fmla="*/ 2072247 h 6858000"/>
              <a:gd name="connsiteX588" fmla="*/ 5294042 w 7472601"/>
              <a:gd name="connsiteY588" fmla="*/ 2065019 h 6858000"/>
              <a:gd name="connsiteX589" fmla="*/ 5171936 w 7472601"/>
              <a:gd name="connsiteY589" fmla="*/ 1647613 h 6858000"/>
              <a:gd name="connsiteX590" fmla="*/ 5009948 w 7472601"/>
              <a:gd name="connsiteY590" fmla="*/ 1273619 h 6858000"/>
              <a:gd name="connsiteX591" fmla="*/ 655236 w 7472601"/>
              <a:gd name="connsiteY591" fmla="*/ 1268632 h 6858000"/>
              <a:gd name="connsiteX592" fmla="*/ 839521 w 7472601"/>
              <a:gd name="connsiteY592" fmla="*/ 1685315 h 6858000"/>
              <a:gd name="connsiteX593" fmla="*/ 1109416 w 7472601"/>
              <a:gd name="connsiteY593" fmla="*/ 2061663 h 6858000"/>
              <a:gd name="connsiteX594" fmla="*/ 1298300 w 7472601"/>
              <a:gd name="connsiteY594" fmla="*/ 2247742 h 6858000"/>
              <a:gd name="connsiteX595" fmla="*/ 1125871 w 7472601"/>
              <a:gd name="connsiteY595" fmla="*/ 1989513 h 6858000"/>
              <a:gd name="connsiteX596" fmla="*/ 981574 w 7472601"/>
              <a:gd name="connsiteY596" fmla="*/ 1783157 h 6858000"/>
              <a:gd name="connsiteX597" fmla="*/ 922198 w 7472601"/>
              <a:gd name="connsiteY597" fmla="*/ 1677437 h 6858000"/>
              <a:gd name="connsiteX598" fmla="*/ 869293 w 7472601"/>
              <a:gd name="connsiteY598" fmla="*/ 1583214 h 6858000"/>
              <a:gd name="connsiteX599" fmla="*/ 751431 w 7472601"/>
              <a:gd name="connsiteY599" fmla="*/ 1405731 h 6858000"/>
              <a:gd name="connsiteX600" fmla="*/ 655236 w 7472601"/>
              <a:gd name="connsiteY600" fmla="*/ 1268632 h 6858000"/>
              <a:gd name="connsiteX601" fmla="*/ 6516292 w 7472601"/>
              <a:gd name="connsiteY601" fmla="*/ 1263064 h 6858000"/>
              <a:gd name="connsiteX602" fmla="*/ 5736320 w 7472601"/>
              <a:gd name="connsiteY602" fmla="*/ 1501803 h 6858000"/>
              <a:gd name="connsiteX603" fmla="*/ 6516292 w 7472601"/>
              <a:gd name="connsiteY603" fmla="*/ 1263064 h 6858000"/>
              <a:gd name="connsiteX604" fmla="*/ 291466 w 7472601"/>
              <a:gd name="connsiteY604" fmla="*/ 1250369 h 6858000"/>
              <a:gd name="connsiteX605" fmla="*/ 323180 w 7472601"/>
              <a:gd name="connsiteY605" fmla="*/ 1435283 h 6858000"/>
              <a:gd name="connsiteX606" fmla="*/ 349381 w 7472601"/>
              <a:gd name="connsiteY606" fmla="*/ 1875041 h 6858000"/>
              <a:gd name="connsiteX607" fmla="*/ 374363 w 7472601"/>
              <a:gd name="connsiteY607" fmla="*/ 1506494 h 6858000"/>
              <a:gd name="connsiteX608" fmla="*/ 302168 w 7472601"/>
              <a:gd name="connsiteY608" fmla="*/ 1274495 h 6858000"/>
              <a:gd name="connsiteX609" fmla="*/ 291466 w 7472601"/>
              <a:gd name="connsiteY609" fmla="*/ 1250369 h 6858000"/>
              <a:gd name="connsiteX610" fmla="*/ 678222 w 7472601"/>
              <a:gd name="connsiteY610" fmla="*/ 1248670 h 6858000"/>
              <a:gd name="connsiteX611" fmla="*/ 775536 w 7472601"/>
              <a:gd name="connsiteY611" fmla="*/ 1388015 h 6858000"/>
              <a:gd name="connsiteX612" fmla="*/ 894529 w 7472601"/>
              <a:gd name="connsiteY612" fmla="*/ 1567739 h 6858000"/>
              <a:gd name="connsiteX613" fmla="*/ 948000 w 7472601"/>
              <a:gd name="connsiteY613" fmla="*/ 1663088 h 6858000"/>
              <a:gd name="connsiteX614" fmla="*/ 1006812 w 7472601"/>
              <a:gd name="connsiteY614" fmla="*/ 1767683 h 6858000"/>
              <a:gd name="connsiteX615" fmla="*/ 1149133 w 7472601"/>
              <a:gd name="connsiteY615" fmla="*/ 1971513 h 6858000"/>
              <a:gd name="connsiteX616" fmla="*/ 1333952 w 7472601"/>
              <a:gd name="connsiteY616" fmla="*/ 2251620 h 6858000"/>
              <a:gd name="connsiteX617" fmla="*/ 1337329 w 7472601"/>
              <a:gd name="connsiteY617" fmla="*/ 2258350 h 6858000"/>
              <a:gd name="connsiteX618" fmla="*/ 1014726 w 7472601"/>
              <a:gd name="connsiteY618" fmla="*/ 1615556 h 6858000"/>
              <a:gd name="connsiteX619" fmla="*/ 678222 w 7472601"/>
              <a:gd name="connsiteY619" fmla="*/ 1248670 h 6858000"/>
              <a:gd name="connsiteX620" fmla="*/ 6691602 w 7472601"/>
              <a:gd name="connsiteY620" fmla="*/ 1140573 h 6858000"/>
              <a:gd name="connsiteX621" fmla="*/ 6571100 w 7472601"/>
              <a:gd name="connsiteY621" fmla="*/ 1183662 h 6858000"/>
              <a:gd name="connsiteX622" fmla="*/ 6241687 w 7472601"/>
              <a:gd name="connsiteY622" fmla="*/ 1257600 h 6858000"/>
              <a:gd name="connsiteX623" fmla="*/ 5693009 w 7472601"/>
              <a:gd name="connsiteY623" fmla="*/ 1478256 h 6858000"/>
              <a:gd name="connsiteX624" fmla="*/ 6548420 w 7472601"/>
              <a:gd name="connsiteY624" fmla="*/ 1214599 h 6858000"/>
              <a:gd name="connsiteX625" fmla="*/ 6605473 w 7472601"/>
              <a:gd name="connsiteY625" fmla="*/ 1184686 h 6858000"/>
              <a:gd name="connsiteX626" fmla="*/ 6691602 w 7472601"/>
              <a:gd name="connsiteY626" fmla="*/ 1140573 h 6858000"/>
              <a:gd name="connsiteX627" fmla="*/ 4002475 w 7472601"/>
              <a:gd name="connsiteY627" fmla="*/ 1037802 h 6858000"/>
              <a:gd name="connsiteX628" fmla="*/ 4000324 w 7472601"/>
              <a:gd name="connsiteY628" fmla="*/ 1039362 h 6858000"/>
              <a:gd name="connsiteX629" fmla="*/ 4002862 w 7472601"/>
              <a:gd name="connsiteY629" fmla="*/ 1042866 h 6858000"/>
              <a:gd name="connsiteX630" fmla="*/ 4002475 w 7472601"/>
              <a:gd name="connsiteY630" fmla="*/ 1037802 h 6858000"/>
              <a:gd name="connsiteX631" fmla="*/ 506322 w 7472601"/>
              <a:gd name="connsiteY631" fmla="*/ 1020997 h 6858000"/>
              <a:gd name="connsiteX632" fmla="*/ 533068 w 7472601"/>
              <a:gd name="connsiteY632" fmla="*/ 1029409 h 6858000"/>
              <a:gd name="connsiteX633" fmla="*/ 1232525 w 7472601"/>
              <a:gd name="connsiteY633" fmla="*/ 1804675 h 6858000"/>
              <a:gd name="connsiteX634" fmla="*/ 1388858 w 7472601"/>
              <a:gd name="connsiteY634" fmla="*/ 2368011 h 6858000"/>
              <a:gd name="connsiteX635" fmla="*/ 1384098 w 7472601"/>
              <a:gd name="connsiteY635" fmla="*/ 2378125 h 6858000"/>
              <a:gd name="connsiteX636" fmla="*/ 1425393 w 7472601"/>
              <a:gd name="connsiteY636" fmla="*/ 2589124 h 6858000"/>
              <a:gd name="connsiteX637" fmla="*/ 1424001 w 7472601"/>
              <a:gd name="connsiteY637" fmla="*/ 2597541 h 6858000"/>
              <a:gd name="connsiteX638" fmla="*/ 2152729 w 7472601"/>
              <a:gd name="connsiteY638" fmla="*/ 2864487 h 6858000"/>
              <a:gd name="connsiteX639" fmla="*/ 2020609 w 7472601"/>
              <a:gd name="connsiteY639" fmla="*/ 2539671 h 6858000"/>
              <a:gd name="connsiteX640" fmla="*/ 2018920 w 7472601"/>
              <a:gd name="connsiteY640" fmla="*/ 2536309 h 6858000"/>
              <a:gd name="connsiteX641" fmla="*/ 1342441 w 7472601"/>
              <a:gd name="connsiteY641" fmla="*/ 1173017 h 6858000"/>
              <a:gd name="connsiteX642" fmla="*/ 1367925 w 7472601"/>
              <a:gd name="connsiteY642" fmla="*/ 1135648 h 6858000"/>
              <a:gd name="connsiteX643" fmla="*/ 1771401 w 7472601"/>
              <a:gd name="connsiteY643" fmla="*/ 1806673 h 6858000"/>
              <a:gd name="connsiteX644" fmla="*/ 1972385 w 7472601"/>
              <a:gd name="connsiteY644" fmla="*/ 2198735 h 6858000"/>
              <a:gd name="connsiteX645" fmla="*/ 2040892 w 7472601"/>
              <a:gd name="connsiteY645" fmla="*/ 2405205 h 6858000"/>
              <a:gd name="connsiteX646" fmla="*/ 2131689 w 7472601"/>
              <a:gd name="connsiteY646" fmla="*/ 1936926 h 6858000"/>
              <a:gd name="connsiteX647" fmla="*/ 2454820 w 7472601"/>
              <a:gd name="connsiteY647" fmla="*/ 1248808 h 6858000"/>
              <a:gd name="connsiteX648" fmla="*/ 2492512 w 7472601"/>
              <a:gd name="connsiteY648" fmla="*/ 1302920 h 6858000"/>
              <a:gd name="connsiteX649" fmla="*/ 2081216 w 7472601"/>
              <a:gd name="connsiteY649" fmla="*/ 2527513 h 6858000"/>
              <a:gd name="connsiteX650" fmla="*/ 2081211 w 7472601"/>
              <a:gd name="connsiteY650" fmla="*/ 2528916 h 6858000"/>
              <a:gd name="connsiteX651" fmla="*/ 2199067 w 7472601"/>
              <a:gd name="connsiteY651" fmla="*/ 2884061 h 6858000"/>
              <a:gd name="connsiteX652" fmla="*/ 3192586 w 7472601"/>
              <a:gd name="connsiteY652" fmla="*/ 3411496 h 6858000"/>
              <a:gd name="connsiteX653" fmla="*/ 3182620 w 7472601"/>
              <a:gd name="connsiteY653" fmla="*/ 3483279 h 6858000"/>
              <a:gd name="connsiteX654" fmla="*/ 2435119 w 7472601"/>
              <a:gd name="connsiteY654" fmla="*/ 3080173 h 6858000"/>
              <a:gd name="connsiteX655" fmla="*/ 2410152 w 7472601"/>
              <a:gd name="connsiteY655" fmla="*/ 3063751 h 6858000"/>
              <a:gd name="connsiteX656" fmla="*/ 2408099 w 7472601"/>
              <a:gd name="connsiteY656" fmla="*/ 3064403 h 6858000"/>
              <a:gd name="connsiteX657" fmla="*/ 2407218 w 7472601"/>
              <a:gd name="connsiteY657" fmla="*/ 3070324 h 6858000"/>
              <a:gd name="connsiteX658" fmla="*/ 2380138 w 7472601"/>
              <a:gd name="connsiteY658" fmla="*/ 3099341 h 6858000"/>
              <a:gd name="connsiteX659" fmla="*/ 1765923 w 7472601"/>
              <a:gd name="connsiteY659" fmla="*/ 3581043 h 6858000"/>
              <a:gd name="connsiteX660" fmla="*/ 1702258 w 7472601"/>
              <a:gd name="connsiteY660" fmla="*/ 3612286 h 6858000"/>
              <a:gd name="connsiteX661" fmla="*/ 1538370 w 7472601"/>
              <a:gd name="connsiteY661" fmla="*/ 3811804 h 6858000"/>
              <a:gd name="connsiteX662" fmla="*/ 542867 w 7472601"/>
              <a:gd name="connsiteY662" fmla="*/ 4944092 h 6858000"/>
              <a:gd name="connsiteX663" fmla="*/ 515800 w 7472601"/>
              <a:gd name="connsiteY663" fmla="*/ 4862180 h 6858000"/>
              <a:gd name="connsiteX664" fmla="*/ 909145 w 7472601"/>
              <a:gd name="connsiteY664" fmla="*/ 4199225 h 6858000"/>
              <a:gd name="connsiteX665" fmla="*/ 1214067 w 7472601"/>
              <a:gd name="connsiteY665" fmla="*/ 3908561 h 6858000"/>
              <a:gd name="connsiteX666" fmla="*/ 640967 w 7472601"/>
              <a:gd name="connsiteY666" fmla="*/ 4105601 h 6858000"/>
              <a:gd name="connsiteX667" fmla="*/ 112563 w 7472601"/>
              <a:gd name="connsiteY667" fmla="*/ 4396952 h 6858000"/>
              <a:gd name="connsiteX668" fmla="*/ 0 w 7472601"/>
              <a:gd name="connsiteY668" fmla="*/ 4466006 h 6858000"/>
              <a:gd name="connsiteX669" fmla="*/ 0 w 7472601"/>
              <a:gd name="connsiteY669" fmla="*/ 4233763 h 6858000"/>
              <a:gd name="connsiteX670" fmla="*/ 36881 w 7472601"/>
              <a:gd name="connsiteY670" fmla="*/ 4200118 h 6858000"/>
              <a:gd name="connsiteX671" fmla="*/ 910534 w 7472601"/>
              <a:gd name="connsiteY671" fmla="*/ 3629753 h 6858000"/>
              <a:gd name="connsiteX672" fmla="*/ 1578717 w 7472601"/>
              <a:gd name="connsiteY672" fmla="*/ 3575982 h 6858000"/>
              <a:gd name="connsiteX673" fmla="*/ 2338780 w 7472601"/>
              <a:gd name="connsiteY673" fmla="*/ 3033725 h 6858000"/>
              <a:gd name="connsiteX674" fmla="*/ 1807991 w 7472601"/>
              <a:gd name="connsiteY674" fmla="*/ 2807184 h 6858000"/>
              <a:gd name="connsiteX675" fmla="*/ 1416358 w 7472601"/>
              <a:gd name="connsiteY675" fmla="*/ 3112571 h 6858000"/>
              <a:gd name="connsiteX676" fmla="*/ 939066 w 7472601"/>
              <a:gd name="connsiteY676" fmla="*/ 3378798 h 6858000"/>
              <a:gd name="connsiteX677" fmla="*/ 115099 w 7472601"/>
              <a:gd name="connsiteY677" fmla="*/ 3607650 h 6858000"/>
              <a:gd name="connsiteX678" fmla="*/ 97284 w 7472601"/>
              <a:gd name="connsiteY678" fmla="*/ 3520393 h 6858000"/>
              <a:gd name="connsiteX679" fmla="*/ 922050 w 7472601"/>
              <a:gd name="connsiteY679" fmla="*/ 3074867 h 6858000"/>
              <a:gd name="connsiteX680" fmla="*/ 1405265 w 7472601"/>
              <a:gd name="connsiteY680" fmla="*/ 3016319 h 6858000"/>
              <a:gd name="connsiteX681" fmla="*/ 1407512 w 7472601"/>
              <a:gd name="connsiteY681" fmla="*/ 3018001 h 6858000"/>
              <a:gd name="connsiteX682" fmla="*/ 1726266 w 7472601"/>
              <a:gd name="connsiteY682" fmla="*/ 2777274 h 6858000"/>
              <a:gd name="connsiteX683" fmla="*/ 625390 w 7472601"/>
              <a:gd name="connsiteY683" fmla="*/ 2514541 h 6858000"/>
              <a:gd name="connsiteX684" fmla="*/ 619799 w 7472601"/>
              <a:gd name="connsiteY684" fmla="*/ 2527180 h 6858000"/>
              <a:gd name="connsiteX685" fmla="*/ 310030 w 7472601"/>
              <a:gd name="connsiteY685" fmla="*/ 2771818 h 6858000"/>
              <a:gd name="connsiteX686" fmla="*/ 173877 w 7472601"/>
              <a:gd name="connsiteY686" fmla="*/ 2937056 h 6858000"/>
              <a:gd name="connsiteX687" fmla="*/ 77889 w 7472601"/>
              <a:gd name="connsiteY687" fmla="*/ 3138440 h 6858000"/>
              <a:gd name="connsiteX688" fmla="*/ 0 w 7472601"/>
              <a:gd name="connsiteY688" fmla="*/ 3271395 h 6858000"/>
              <a:gd name="connsiteX689" fmla="*/ 0 w 7472601"/>
              <a:gd name="connsiteY689" fmla="*/ 3153002 h 6858000"/>
              <a:gd name="connsiteX690" fmla="*/ 2386 w 7472601"/>
              <a:gd name="connsiteY690" fmla="*/ 3149203 h 6858000"/>
              <a:gd name="connsiteX691" fmla="*/ 89753 w 7472601"/>
              <a:gd name="connsiteY691" fmla="*/ 2987702 h 6858000"/>
              <a:gd name="connsiteX692" fmla="*/ 76869 w 7472601"/>
              <a:gd name="connsiteY692" fmla="*/ 3005404 h 6858000"/>
              <a:gd name="connsiteX693" fmla="*/ 32049 w 7472601"/>
              <a:gd name="connsiteY693" fmla="*/ 3065814 h 6858000"/>
              <a:gd name="connsiteX694" fmla="*/ 0 w 7472601"/>
              <a:gd name="connsiteY694" fmla="*/ 3108744 h 6858000"/>
              <a:gd name="connsiteX695" fmla="*/ 0 w 7472601"/>
              <a:gd name="connsiteY695" fmla="*/ 3058059 h 6858000"/>
              <a:gd name="connsiteX696" fmla="*/ 7610 w 7472601"/>
              <a:gd name="connsiteY696" fmla="*/ 3047889 h 6858000"/>
              <a:gd name="connsiteX697" fmla="*/ 52419 w 7472601"/>
              <a:gd name="connsiteY697" fmla="*/ 2987479 h 6858000"/>
              <a:gd name="connsiteX698" fmla="*/ 59142 w 7472601"/>
              <a:gd name="connsiteY698" fmla="*/ 2978488 h 6858000"/>
              <a:gd name="connsiteX699" fmla="*/ 0 w 7472601"/>
              <a:gd name="connsiteY699" fmla="*/ 3015334 h 6858000"/>
              <a:gd name="connsiteX700" fmla="*/ 0 w 7472601"/>
              <a:gd name="connsiteY700" fmla="*/ 2914286 h 6858000"/>
              <a:gd name="connsiteX701" fmla="*/ 36383 w 7472601"/>
              <a:gd name="connsiteY701" fmla="*/ 2901128 h 6858000"/>
              <a:gd name="connsiteX702" fmla="*/ 156329 w 7472601"/>
              <a:gd name="connsiteY702" fmla="*/ 2840533 h 6858000"/>
              <a:gd name="connsiteX703" fmla="*/ 358355 w 7472601"/>
              <a:gd name="connsiteY703" fmla="*/ 2620471 h 6858000"/>
              <a:gd name="connsiteX704" fmla="*/ 510577 w 7472601"/>
              <a:gd name="connsiteY704" fmla="*/ 2501244 h 6858000"/>
              <a:gd name="connsiteX705" fmla="*/ 211967 w 7472601"/>
              <a:gd name="connsiteY705" fmla="*/ 2479171 h 6858000"/>
              <a:gd name="connsiteX706" fmla="*/ 0 w 7472601"/>
              <a:gd name="connsiteY706" fmla="*/ 2476398 h 6858000"/>
              <a:gd name="connsiteX707" fmla="*/ 0 w 7472601"/>
              <a:gd name="connsiteY707" fmla="*/ 2389189 h 6858000"/>
              <a:gd name="connsiteX708" fmla="*/ 103062 w 7472601"/>
              <a:gd name="connsiteY708" fmla="*/ 2389518 h 6858000"/>
              <a:gd name="connsiteX709" fmla="*/ 510734 w 7472601"/>
              <a:gd name="connsiteY709" fmla="*/ 2416201 h 6858000"/>
              <a:gd name="connsiteX710" fmla="*/ 279257 w 7472601"/>
              <a:gd name="connsiteY710" fmla="*/ 2092102 h 6858000"/>
              <a:gd name="connsiteX711" fmla="*/ 65265 w 7472601"/>
              <a:gd name="connsiteY711" fmla="*/ 2006049 h 6858000"/>
              <a:gd name="connsiteX712" fmla="*/ 0 w 7472601"/>
              <a:gd name="connsiteY712" fmla="*/ 1982532 h 6858000"/>
              <a:gd name="connsiteX713" fmla="*/ 0 w 7472601"/>
              <a:gd name="connsiteY713" fmla="*/ 1912789 h 6858000"/>
              <a:gd name="connsiteX714" fmla="*/ 97460 w 7472601"/>
              <a:gd name="connsiteY714" fmla="*/ 1953725 h 6858000"/>
              <a:gd name="connsiteX715" fmla="*/ 221272 w 7472601"/>
              <a:gd name="connsiteY715" fmla="*/ 1980766 h 6858000"/>
              <a:gd name="connsiteX716" fmla="*/ 116765 w 7472601"/>
              <a:gd name="connsiteY716" fmla="*/ 1911033 h 6858000"/>
              <a:gd name="connsiteX717" fmla="*/ 16405 w 7472601"/>
              <a:gd name="connsiteY717" fmla="*/ 1803412 h 6858000"/>
              <a:gd name="connsiteX718" fmla="*/ 0 w 7472601"/>
              <a:gd name="connsiteY718" fmla="*/ 1784777 h 6858000"/>
              <a:gd name="connsiteX719" fmla="*/ 0 w 7472601"/>
              <a:gd name="connsiteY719" fmla="*/ 1740082 h 6858000"/>
              <a:gd name="connsiteX720" fmla="*/ 39394 w 7472601"/>
              <a:gd name="connsiteY720" fmla="*/ 1784856 h 6858000"/>
              <a:gd name="connsiteX721" fmla="*/ 135813 w 7472601"/>
              <a:gd name="connsiteY721" fmla="*/ 1888838 h 6858000"/>
              <a:gd name="connsiteX722" fmla="*/ 242575 w 7472601"/>
              <a:gd name="connsiteY722" fmla="*/ 1958841 h 6858000"/>
              <a:gd name="connsiteX723" fmla="*/ 82197 w 7472601"/>
              <a:gd name="connsiteY723" fmla="*/ 1754826 h 6858000"/>
              <a:gd name="connsiteX724" fmla="*/ 0 w 7472601"/>
              <a:gd name="connsiteY724" fmla="*/ 1679650 h 6858000"/>
              <a:gd name="connsiteX725" fmla="*/ 0 w 7472601"/>
              <a:gd name="connsiteY725" fmla="*/ 1602463 h 6858000"/>
              <a:gd name="connsiteX726" fmla="*/ 84689 w 7472601"/>
              <a:gd name="connsiteY726" fmla="*/ 1677442 h 6858000"/>
              <a:gd name="connsiteX727" fmla="*/ 298437 w 7472601"/>
              <a:gd name="connsiteY727" fmla="*/ 1968019 h 6858000"/>
              <a:gd name="connsiteX728" fmla="*/ 227269 w 7472601"/>
              <a:gd name="connsiteY728" fmla="*/ 1114064 h 6858000"/>
              <a:gd name="connsiteX729" fmla="*/ 248003 w 7472601"/>
              <a:gd name="connsiteY729" fmla="*/ 1089613 h 6858000"/>
              <a:gd name="connsiteX730" fmla="*/ 427020 w 7472601"/>
              <a:gd name="connsiteY730" fmla="*/ 1619803 h 6858000"/>
              <a:gd name="connsiteX731" fmla="*/ 340345 w 7472601"/>
              <a:gd name="connsiteY731" fmla="*/ 2027739 h 6858000"/>
              <a:gd name="connsiteX732" fmla="*/ 360865 w 7472601"/>
              <a:gd name="connsiteY732" fmla="*/ 2044827 h 6858000"/>
              <a:gd name="connsiteX733" fmla="*/ 560414 w 7472601"/>
              <a:gd name="connsiteY733" fmla="*/ 2421457 h 6858000"/>
              <a:gd name="connsiteX734" fmla="*/ 1359703 w 7472601"/>
              <a:gd name="connsiteY734" fmla="*/ 2578554 h 6858000"/>
              <a:gd name="connsiteX735" fmla="*/ 1359422 w 7472601"/>
              <a:gd name="connsiteY735" fmla="*/ 2577994 h 6858000"/>
              <a:gd name="connsiteX736" fmla="*/ 828701 w 7472601"/>
              <a:gd name="connsiteY736" fmla="*/ 1839520 h 6858000"/>
              <a:gd name="connsiteX737" fmla="*/ 494427 w 7472601"/>
              <a:gd name="connsiteY737" fmla="*/ 1092333 h 6858000"/>
              <a:gd name="connsiteX738" fmla="*/ 506322 w 7472601"/>
              <a:gd name="connsiteY738" fmla="*/ 1020997 h 6858000"/>
              <a:gd name="connsiteX739" fmla="*/ 4570198 w 7472601"/>
              <a:gd name="connsiteY739" fmla="*/ 978081 h 6858000"/>
              <a:gd name="connsiteX740" fmla="*/ 4523691 w 7472601"/>
              <a:gd name="connsiteY740" fmla="*/ 1127776 h 6858000"/>
              <a:gd name="connsiteX741" fmla="*/ 4509875 w 7472601"/>
              <a:gd name="connsiteY741" fmla="*/ 1167552 h 6858000"/>
              <a:gd name="connsiteX742" fmla="*/ 4478168 w 7472601"/>
              <a:gd name="connsiteY742" fmla="*/ 1260735 h 6858000"/>
              <a:gd name="connsiteX743" fmla="*/ 4409309 w 7472601"/>
              <a:gd name="connsiteY743" fmla="*/ 1666996 h 6858000"/>
              <a:gd name="connsiteX744" fmla="*/ 4370031 w 7472601"/>
              <a:gd name="connsiteY744" fmla="*/ 1955666 h 6858000"/>
              <a:gd name="connsiteX745" fmla="*/ 4570198 w 7472601"/>
              <a:gd name="connsiteY745" fmla="*/ 978081 h 6858000"/>
              <a:gd name="connsiteX746" fmla="*/ 4557898 w 7472601"/>
              <a:gd name="connsiteY746" fmla="*/ 900011 h 6858000"/>
              <a:gd name="connsiteX747" fmla="*/ 4344840 w 7472601"/>
              <a:gd name="connsiteY747" fmla="*/ 1922038 h 6858000"/>
              <a:gd name="connsiteX748" fmla="*/ 4378710 w 7472601"/>
              <a:gd name="connsiteY748" fmla="*/ 1665516 h 6858000"/>
              <a:gd name="connsiteX749" fmla="*/ 4448798 w 7472601"/>
              <a:gd name="connsiteY749" fmla="*/ 1253024 h 6858000"/>
              <a:gd name="connsiteX750" fmla="*/ 4480315 w 7472601"/>
              <a:gd name="connsiteY750" fmla="*/ 1158454 h 6858000"/>
              <a:gd name="connsiteX751" fmla="*/ 4494133 w 7472601"/>
              <a:gd name="connsiteY751" fmla="*/ 1118676 h 6858000"/>
              <a:gd name="connsiteX752" fmla="*/ 4557898 w 7472601"/>
              <a:gd name="connsiteY752" fmla="*/ 900011 h 6858000"/>
              <a:gd name="connsiteX753" fmla="*/ 5870151 w 7472601"/>
              <a:gd name="connsiteY753" fmla="*/ 898890 h 6858000"/>
              <a:gd name="connsiteX754" fmla="*/ 5861335 w 7472601"/>
              <a:gd name="connsiteY754" fmla="*/ 899177 h 6858000"/>
              <a:gd name="connsiteX755" fmla="*/ 5843702 w 7472601"/>
              <a:gd name="connsiteY755" fmla="*/ 899748 h 6858000"/>
              <a:gd name="connsiteX756" fmla="*/ 5651107 w 7472601"/>
              <a:gd name="connsiteY756" fmla="*/ 920306 h 6858000"/>
              <a:gd name="connsiteX757" fmla="*/ 5459407 w 7472601"/>
              <a:gd name="connsiteY757" fmla="*/ 940975 h 6858000"/>
              <a:gd name="connsiteX758" fmla="*/ 5374846 w 7472601"/>
              <a:gd name="connsiteY758" fmla="*/ 941988 h 6858000"/>
              <a:gd name="connsiteX759" fmla="*/ 5256105 w 7472601"/>
              <a:gd name="connsiteY759" fmla="*/ 945632 h 6858000"/>
              <a:gd name="connsiteX760" fmla="*/ 5107071 w 7472601"/>
              <a:gd name="connsiteY760" fmla="*/ 969720 h 6858000"/>
              <a:gd name="connsiteX761" fmla="*/ 4998681 w 7472601"/>
              <a:gd name="connsiteY761" fmla="*/ 988771 h 6858000"/>
              <a:gd name="connsiteX762" fmla="*/ 5870151 w 7472601"/>
              <a:gd name="connsiteY762" fmla="*/ 898890 h 6858000"/>
              <a:gd name="connsiteX763" fmla="*/ 5504425 w 7472601"/>
              <a:gd name="connsiteY763" fmla="*/ 848067 h 6858000"/>
              <a:gd name="connsiteX764" fmla="*/ 4968849 w 7472601"/>
              <a:gd name="connsiteY764" fmla="*/ 962318 h 6858000"/>
              <a:gd name="connsiteX765" fmla="*/ 5104039 w 7472601"/>
              <a:gd name="connsiteY765" fmla="*/ 940634 h 6858000"/>
              <a:gd name="connsiteX766" fmla="*/ 5256311 w 7472601"/>
              <a:gd name="connsiteY766" fmla="*/ 916490 h 6858000"/>
              <a:gd name="connsiteX767" fmla="*/ 5377381 w 7472601"/>
              <a:gd name="connsiteY767" fmla="*/ 912671 h 6858000"/>
              <a:gd name="connsiteX768" fmla="*/ 5460148 w 7472601"/>
              <a:gd name="connsiteY768" fmla="*/ 911442 h 6858000"/>
              <a:gd name="connsiteX769" fmla="*/ 5648971 w 7472601"/>
              <a:gd name="connsiteY769" fmla="*/ 891331 h 6858000"/>
              <a:gd name="connsiteX770" fmla="*/ 5844807 w 7472601"/>
              <a:gd name="connsiteY770" fmla="*/ 870718 h 6858000"/>
              <a:gd name="connsiteX771" fmla="*/ 5862975 w 7472601"/>
              <a:gd name="connsiteY771" fmla="*/ 869756 h 6858000"/>
              <a:gd name="connsiteX772" fmla="*/ 5920887 w 7472601"/>
              <a:gd name="connsiteY772" fmla="*/ 865929 h 6858000"/>
              <a:gd name="connsiteX773" fmla="*/ 5504425 w 7472601"/>
              <a:gd name="connsiteY773" fmla="*/ 848067 h 6858000"/>
              <a:gd name="connsiteX774" fmla="*/ 3607114 w 7472601"/>
              <a:gd name="connsiteY774" fmla="*/ 467441 h 6858000"/>
              <a:gd name="connsiteX775" fmla="*/ 3296242 w 7472601"/>
              <a:gd name="connsiteY775" fmla="*/ 807991 h 6858000"/>
              <a:gd name="connsiteX776" fmla="*/ 3174674 w 7472601"/>
              <a:gd name="connsiteY776" fmla="*/ 919759 h 6858000"/>
              <a:gd name="connsiteX777" fmla="*/ 3042978 w 7472601"/>
              <a:gd name="connsiteY777" fmla="*/ 1054894 h 6858000"/>
              <a:gd name="connsiteX778" fmla="*/ 2968914 w 7472601"/>
              <a:gd name="connsiteY778" fmla="*/ 1133756 h 6858000"/>
              <a:gd name="connsiteX779" fmla="*/ 3103823 w 7472601"/>
              <a:gd name="connsiteY779" fmla="*/ 1026814 h 6858000"/>
              <a:gd name="connsiteX780" fmla="*/ 3607114 w 7472601"/>
              <a:gd name="connsiteY780" fmla="*/ 467441 h 6858000"/>
              <a:gd name="connsiteX781" fmla="*/ 3744487 w 7472601"/>
              <a:gd name="connsiteY781" fmla="*/ 383136 h 6858000"/>
              <a:gd name="connsiteX782" fmla="*/ 3970213 w 7472601"/>
              <a:gd name="connsiteY782" fmla="*/ 995559 h 6858000"/>
              <a:gd name="connsiteX783" fmla="*/ 3744487 w 7472601"/>
              <a:gd name="connsiteY783" fmla="*/ 383136 h 6858000"/>
              <a:gd name="connsiteX784" fmla="*/ 3624562 w 7472601"/>
              <a:gd name="connsiteY784" fmla="*/ 367041 h 6858000"/>
              <a:gd name="connsiteX785" fmla="*/ 3489712 w 7472601"/>
              <a:gd name="connsiteY785" fmla="*/ 485386 h 6858000"/>
              <a:gd name="connsiteX786" fmla="*/ 3182994 w 7472601"/>
              <a:gd name="connsiteY786" fmla="*/ 828265 h 6858000"/>
              <a:gd name="connsiteX787" fmla="*/ 2892114 w 7472601"/>
              <a:gd name="connsiteY787" fmla="*/ 1172635 h 6858000"/>
              <a:gd name="connsiteX788" fmla="*/ 3021459 w 7472601"/>
              <a:gd name="connsiteY788" fmla="*/ 1035385 h 6858000"/>
              <a:gd name="connsiteX789" fmla="*/ 3153873 w 7472601"/>
              <a:gd name="connsiteY789" fmla="*/ 898971 h 6858000"/>
              <a:gd name="connsiteX790" fmla="*/ 3276511 w 7472601"/>
              <a:gd name="connsiteY790" fmla="*/ 786423 h 6858000"/>
              <a:gd name="connsiteX791" fmla="*/ 3584154 w 7472601"/>
              <a:gd name="connsiteY791" fmla="*/ 448218 h 6858000"/>
              <a:gd name="connsiteX792" fmla="*/ 3624562 w 7472601"/>
              <a:gd name="connsiteY792" fmla="*/ 367041 h 6858000"/>
              <a:gd name="connsiteX793" fmla="*/ 3766672 w 7472601"/>
              <a:gd name="connsiteY793" fmla="*/ 359429 h 6858000"/>
              <a:gd name="connsiteX794" fmla="*/ 3996338 w 7472601"/>
              <a:gd name="connsiteY794" fmla="*/ 968237 h 6858000"/>
              <a:gd name="connsiteX795" fmla="*/ 3766672 w 7472601"/>
              <a:gd name="connsiteY795" fmla="*/ 359429 h 6858000"/>
              <a:gd name="connsiteX796" fmla="*/ 5805386 w 7472601"/>
              <a:gd name="connsiteY796" fmla="*/ 239240 h 6858000"/>
              <a:gd name="connsiteX797" fmla="*/ 5736947 w 7472601"/>
              <a:gd name="connsiteY797" fmla="*/ 261367 h 6858000"/>
              <a:gd name="connsiteX798" fmla="*/ 5427012 w 7472601"/>
              <a:gd name="connsiteY798" fmla="*/ 311272 h 6858000"/>
              <a:gd name="connsiteX799" fmla="*/ 5147818 w 7472601"/>
              <a:gd name="connsiteY799" fmla="*/ 322112 h 6858000"/>
              <a:gd name="connsiteX800" fmla="*/ 5060854 w 7472601"/>
              <a:gd name="connsiteY800" fmla="*/ 311882 h 6858000"/>
              <a:gd name="connsiteX801" fmla="*/ 4945989 w 7472601"/>
              <a:gd name="connsiteY801" fmla="*/ 300516 h 6858000"/>
              <a:gd name="connsiteX802" fmla="*/ 5410479 w 7472601"/>
              <a:gd name="connsiteY802" fmla="*/ 348434 h 6858000"/>
              <a:gd name="connsiteX803" fmla="*/ 5805386 w 7472601"/>
              <a:gd name="connsiteY803" fmla="*/ 239240 h 6858000"/>
              <a:gd name="connsiteX804" fmla="*/ 5905192 w 7472601"/>
              <a:gd name="connsiteY804" fmla="*/ 163079 h 6858000"/>
              <a:gd name="connsiteX805" fmla="*/ 5865655 w 7472601"/>
              <a:gd name="connsiteY805" fmla="*/ 171901 h 6858000"/>
              <a:gd name="connsiteX806" fmla="*/ 5259740 w 7472601"/>
              <a:gd name="connsiteY806" fmla="*/ 257013 h 6858000"/>
              <a:gd name="connsiteX807" fmla="*/ 5208466 w 7472601"/>
              <a:gd name="connsiteY807" fmla="*/ 257550 h 6858000"/>
              <a:gd name="connsiteX808" fmla="*/ 4980204 w 7472601"/>
              <a:gd name="connsiteY808" fmla="*/ 271903 h 6858000"/>
              <a:gd name="connsiteX809" fmla="*/ 5068068 w 7472601"/>
              <a:gd name="connsiteY809" fmla="*/ 282244 h 6858000"/>
              <a:gd name="connsiteX810" fmla="*/ 5153231 w 7472601"/>
              <a:gd name="connsiteY810" fmla="*/ 292240 h 6858000"/>
              <a:gd name="connsiteX811" fmla="*/ 5426491 w 7472601"/>
              <a:gd name="connsiteY811" fmla="*/ 281128 h 6858000"/>
              <a:gd name="connsiteX812" fmla="*/ 5731212 w 7472601"/>
              <a:gd name="connsiteY812" fmla="*/ 231951 h 6858000"/>
              <a:gd name="connsiteX813" fmla="*/ 5905192 w 7472601"/>
              <a:gd name="connsiteY813" fmla="*/ 163079 h 6858000"/>
              <a:gd name="connsiteX814" fmla="*/ 5944437 w 7472601"/>
              <a:gd name="connsiteY814" fmla="*/ 113829 h 6858000"/>
              <a:gd name="connsiteX815" fmla="*/ 5825032 w 7472601"/>
              <a:gd name="connsiteY815" fmla="*/ 146405 h 6858000"/>
              <a:gd name="connsiteX816" fmla="*/ 4955599 w 7472601"/>
              <a:gd name="connsiteY816" fmla="*/ 247008 h 6858000"/>
              <a:gd name="connsiteX817" fmla="*/ 5210104 w 7472601"/>
              <a:gd name="connsiteY817" fmla="*/ 228123 h 6858000"/>
              <a:gd name="connsiteX818" fmla="*/ 5261015 w 7472601"/>
              <a:gd name="connsiteY818" fmla="*/ 227087 h 6858000"/>
              <a:gd name="connsiteX819" fmla="*/ 5861181 w 7472601"/>
              <a:gd name="connsiteY819" fmla="*/ 143093 h 6858000"/>
              <a:gd name="connsiteX820" fmla="*/ 5961252 w 7472601"/>
              <a:gd name="connsiteY820" fmla="*/ 114820 h 6858000"/>
              <a:gd name="connsiteX821" fmla="*/ 5944437 w 7472601"/>
              <a:gd name="connsiteY821" fmla="*/ 113829 h 6858000"/>
              <a:gd name="connsiteX822" fmla="*/ 3882765 w 7472601"/>
              <a:gd name="connsiteY822" fmla="*/ 0 h 6858000"/>
              <a:gd name="connsiteX823" fmla="*/ 3995099 w 7472601"/>
              <a:gd name="connsiteY823" fmla="*/ 0 h 6858000"/>
              <a:gd name="connsiteX824" fmla="*/ 4163818 w 7472601"/>
              <a:gd name="connsiteY824" fmla="*/ 234104 h 6858000"/>
              <a:gd name="connsiteX825" fmla="*/ 4172099 w 7472601"/>
              <a:gd name="connsiteY825" fmla="*/ 234207 h 6858000"/>
              <a:gd name="connsiteX826" fmla="*/ 4784282 w 7472601"/>
              <a:gd name="connsiteY826" fmla="*/ 276561 h 6858000"/>
              <a:gd name="connsiteX827" fmla="*/ 4801687 w 7472601"/>
              <a:gd name="connsiteY827" fmla="*/ 267764 h 6858000"/>
              <a:gd name="connsiteX828" fmla="*/ 6082788 w 7472601"/>
              <a:gd name="connsiteY828" fmla="*/ 64119 h 6858000"/>
              <a:gd name="connsiteX829" fmla="*/ 6099442 w 7472601"/>
              <a:gd name="connsiteY829" fmla="*/ 82568 h 6858000"/>
              <a:gd name="connsiteX830" fmla="*/ 4804137 w 7472601"/>
              <a:gd name="connsiteY830" fmla="*/ 320931 h 6858000"/>
              <a:gd name="connsiteX831" fmla="*/ 4227047 w 7472601"/>
              <a:gd name="connsiteY831" fmla="*/ 313415 h 6858000"/>
              <a:gd name="connsiteX832" fmla="*/ 4346041 w 7472601"/>
              <a:gd name="connsiteY832" fmla="*/ 456086 h 6858000"/>
              <a:gd name="connsiteX833" fmla="*/ 4870967 w 7472601"/>
              <a:gd name="connsiteY833" fmla="*/ 963061 h 6858000"/>
              <a:gd name="connsiteX834" fmla="*/ 4889647 w 7472601"/>
              <a:gd name="connsiteY834" fmla="*/ 957147 h 6858000"/>
              <a:gd name="connsiteX835" fmla="*/ 5422504 w 7472601"/>
              <a:gd name="connsiteY835" fmla="*/ 805191 h 6858000"/>
              <a:gd name="connsiteX836" fmla="*/ 6087656 w 7472601"/>
              <a:gd name="connsiteY836" fmla="*/ 826703 h 6858000"/>
              <a:gd name="connsiteX837" fmla="*/ 6058717 w 7472601"/>
              <a:gd name="connsiteY837" fmla="*/ 865992 h 6858000"/>
              <a:gd name="connsiteX838" fmla="*/ 4974153 w 7472601"/>
              <a:gd name="connsiteY838" fmla="*/ 1045456 h 6858000"/>
              <a:gd name="connsiteX839" fmla="*/ 5627835 w 7472601"/>
              <a:gd name="connsiteY839" fmla="*/ 1472077 h 6858000"/>
              <a:gd name="connsiteX840" fmla="*/ 5629817 w 7472601"/>
              <a:gd name="connsiteY840" fmla="*/ 1471412 h 6858000"/>
              <a:gd name="connsiteX841" fmla="*/ 5634124 w 7472601"/>
              <a:gd name="connsiteY841" fmla="*/ 1470572 h 6858000"/>
              <a:gd name="connsiteX842" fmla="*/ 5755832 w 7472601"/>
              <a:gd name="connsiteY842" fmla="*/ 1383886 h 6858000"/>
              <a:gd name="connsiteX843" fmla="*/ 6014186 w 7472601"/>
              <a:gd name="connsiteY843" fmla="*/ 1279799 h 6858000"/>
              <a:gd name="connsiteX844" fmla="*/ 6901619 w 7472601"/>
              <a:gd name="connsiteY844" fmla="*/ 1047874 h 6858000"/>
              <a:gd name="connsiteX845" fmla="*/ 6931566 w 7472601"/>
              <a:gd name="connsiteY845" fmla="*/ 1062034 h 6858000"/>
              <a:gd name="connsiteX846" fmla="*/ 5790982 w 7472601"/>
              <a:gd name="connsiteY846" fmla="*/ 1561380 h 6858000"/>
              <a:gd name="connsiteX847" fmla="*/ 6188971 w 7472601"/>
              <a:gd name="connsiteY847" fmla="*/ 1755168 h 6858000"/>
              <a:gd name="connsiteX848" fmla="*/ 6202446 w 7472601"/>
              <a:gd name="connsiteY848" fmla="*/ 1752268 h 6858000"/>
              <a:gd name="connsiteX849" fmla="*/ 7179560 w 7472601"/>
              <a:gd name="connsiteY849" fmla="*/ 1467551 h 6858000"/>
              <a:gd name="connsiteX850" fmla="*/ 7158730 w 7472601"/>
              <a:gd name="connsiteY850" fmla="*/ 1507835 h 6858000"/>
              <a:gd name="connsiteX851" fmla="*/ 6326959 w 7472601"/>
              <a:gd name="connsiteY851" fmla="*/ 1817686 h 6858000"/>
              <a:gd name="connsiteX852" fmla="*/ 6537433 w 7472601"/>
              <a:gd name="connsiteY852" fmla="*/ 1907790 h 6858000"/>
              <a:gd name="connsiteX853" fmla="*/ 6550221 w 7472601"/>
              <a:gd name="connsiteY853" fmla="*/ 1910729 h 6858000"/>
              <a:gd name="connsiteX854" fmla="*/ 6964438 w 7472601"/>
              <a:gd name="connsiteY854" fmla="*/ 2209505 h 6858000"/>
              <a:gd name="connsiteX855" fmla="*/ 7367862 w 7472601"/>
              <a:gd name="connsiteY855" fmla="*/ 2806833 h 6858000"/>
              <a:gd name="connsiteX856" fmla="*/ 7364329 w 7472601"/>
              <a:gd name="connsiteY856" fmla="*/ 2826907 h 6858000"/>
              <a:gd name="connsiteX857" fmla="*/ 7290545 w 7472601"/>
              <a:gd name="connsiteY857" fmla="*/ 2850663 h 6858000"/>
              <a:gd name="connsiteX858" fmla="*/ 6472036 w 7472601"/>
              <a:gd name="connsiteY858" fmla="*/ 1959003 h 6858000"/>
              <a:gd name="connsiteX859" fmla="*/ 5792897 w 7472601"/>
              <a:gd name="connsiteY859" fmla="*/ 1647747 h 6858000"/>
              <a:gd name="connsiteX860" fmla="*/ 5842751 w 7472601"/>
              <a:gd name="connsiteY860" fmla="*/ 1816112 h 6858000"/>
              <a:gd name="connsiteX861" fmla="*/ 5847424 w 7472601"/>
              <a:gd name="connsiteY861" fmla="*/ 1815776 h 6858000"/>
              <a:gd name="connsiteX862" fmla="*/ 6399821 w 7472601"/>
              <a:gd name="connsiteY862" fmla="*/ 2344799 h 6858000"/>
              <a:gd name="connsiteX863" fmla="*/ 6323232 w 7472601"/>
              <a:gd name="connsiteY863" fmla="*/ 2389634 h 6858000"/>
              <a:gd name="connsiteX864" fmla="*/ 5942958 w 7472601"/>
              <a:gd name="connsiteY864" fmla="*/ 2077708 h 6858000"/>
              <a:gd name="connsiteX865" fmla="*/ 5921559 w 7472601"/>
              <a:gd name="connsiteY865" fmla="*/ 2378596 h 6858000"/>
              <a:gd name="connsiteX866" fmla="*/ 5817651 w 7472601"/>
              <a:gd name="connsiteY866" fmla="*/ 3023919 h 6858000"/>
              <a:gd name="connsiteX867" fmla="*/ 5729634 w 7472601"/>
              <a:gd name="connsiteY867" fmla="*/ 3051849 h 6858000"/>
              <a:gd name="connsiteX868" fmla="*/ 5611018 w 7472601"/>
              <a:gd name="connsiteY868" fmla="*/ 2316769 h 6858000"/>
              <a:gd name="connsiteX869" fmla="*/ 5687608 w 7472601"/>
              <a:gd name="connsiteY869" fmla="*/ 2039972 h 6858000"/>
              <a:gd name="connsiteX870" fmla="*/ 5657554 w 7472601"/>
              <a:gd name="connsiteY870" fmla="*/ 1576445 h 6858000"/>
              <a:gd name="connsiteX871" fmla="*/ 5150475 w 7472601"/>
              <a:gd name="connsiteY871" fmla="*/ 1274012 h 6858000"/>
              <a:gd name="connsiteX872" fmla="*/ 5349142 w 7472601"/>
              <a:gd name="connsiteY872" fmla="*/ 2204405 h 6858000"/>
              <a:gd name="connsiteX873" fmla="*/ 5262214 w 7472601"/>
              <a:gd name="connsiteY873" fmla="*/ 2233836 h 6858000"/>
              <a:gd name="connsiteX874" fmla="*/ 4981539 w 7472601"/>
              <a:gd name="connsiteY874" fmla="*/ 1542201 h 6858000"/>
              <a:gd name="connsiteX875" fmla="*/ 4958461 w 7472601"/>
              <a:gd name="connsiteY875" fmla="*/ 1136957 h 6858000"/>
              <a:gd name="connsiteX876" fmla="*/ 4655015 w 7472601"/>
              <a:gd name="connsiteY876" fmla="*/ 891426 h 6858000"/>
              <a:gd name="connsiteX877" fmla="*/ 4348002 w 7472601"/>
              <a:gd name="connsiteY877" fmla="*/ 2205895 h 6858000"/>
              <a:gd name="connsiteX878" fmla="*/ 4262250 w 7472601"/>
              <a:gd name="connsiteY878" fmla="*/ 2219972 h 6858000"/>
              <a:gd name="connsiteX879" fmla="*/ 4550611 w 7472601"/>
              <a:gd name="connsiteY879" fmla="*/ 817540 h 6858000"/>
              <a:gd name="connsiteX880" fmla="*/ 4564418 w 7472601"/>
              <a:gd name="connsiteY880" fmla="*/ 808293 h 6858000"/>
              <a:gd name="connsiteX881" fmla="*/ 4266388 w 7472601"/>
              <a:gd name="connsiteY881" fmla="*/ 500083 h 6858000"/>
              <a:gd name="connsiteX882" fmla="*/ 4032842 w 7472601"/>
              <a:gd name="connsiteY882" fmla="*/ 211809 h 6858000"/>
              <a:gd name="connsiteX883" fmla="*/ 3882765 w 7472601"/>
              <a:gd name="connsiteY883" fmla="*/ 0 h 6858000"/>
              <a:gd name="connsiteX884" fmla="*/ 3721337 w 7472601"/>
              <a:gd name="connsiteY884" fmla="*/ 0 h 6858000"/>
              <a:gd name="connsiteX885" fmla="*/ 3797544 w 7472601"/>
              <a:gd name="connsiteY885" fmla="*/ 0 h 6858000"/>
              <a:gd name="connsiteX886" fmla="*/ 3775734 w 7472601"/>
              <a:gd name="connsiteY886" fmla="*/ 95131 h 6858000"/>
              <a:gd name="connsiteX887" fmla="*/ 3724807 w 7472601"/>
              <a:gd name="connsiteY887" fmla="*/ 272257 h 6858000"/>
              <a:gd name="connsiteX888" fmla="*/ 3726844 w 7472601"/>
              <a:gd name="connsiteY888" fmla="*/ 282988 h 6858000"/>
              <a:gd name="connsiteX889" fmla="*/ 3742664 w 7472601"/>
              <a:gd name="connsiteY889" fmla="*/ 279918 h 6858000"/>
              <a:gd name="connsiteX890" fmla="*/ 4103910 w 7472601"/>
              <a:gd name="connsiteY890" fmla="*/ 1161917 h 6858000"/>
              <a:gd name="connsiteX891" fmla="*/ 4020269 w 7472601"/>
              <a:gd name="connsiteY891" fmla="*/ 1200406 h 6858000"/>
              <a:gd name="connsiteX892" fmla="*/ 3674882 w 7472601"/>
              <a:gd name="connsiteY892" fmla="*/ 488524 h 6858000"/>
              <a:gd name="connsiteX893" fmla="*/ 3132682 w 7472601"/>
              <a:gd name="connsiteY893" fmla="*/ 1072284 h 6858000"/>
              <a:gd name="connsiteX894" fmla="*/ 2716346 w 7472601"/>
              <a:gd name="connsiteY894" fmla="*/ 1276376 h 6858000"/>
              <a:gd name="connsiteX895" fmla="*/ 2716772 w 7472601"/>
              <a:gd name="connsiteY895" fmla="*/ 1255462 h 6858000"/>
              <a:gd name="connsiteX896" fmla="*/ 3471096 w 7472601"/>
              <a:gd name="connsiteY896" fmla="*/ 437072 h 6858000"/>
              <a:gd name="connsiteX897" fmla="*/ 3639057 w 7472601"/>
              <a:gd name="connsiteY897" fmla="*/ 286334 h 6858000"/>
              <a:gd name="connsiteX898" fmla="*/ 3640309 w 7472601"/>
              <a:gd name="connsiteY898" fmla="*/ 284664 h 6858000"/>
              <a:gd name="connsiteX899" fmla="*/ 3646022 w 7472601"/>
              <a:gd name="connsiteY899" fmla="*/ 276711 h 6858000"/>
              <a:gd name="connsiteX900" fmla="*/ 3707943 w 7472601"/>
              <a:gd name="connsiteY900" fmla="*/ 65958 h 6858000"/>
              <a:gd name="connsiteX901" fmla="*/ 3721337 w 7472601"/>
              <a:gd name="connsiteY901" fmla="*/ 0 h 6858000"/>
              <a:gd name="connsiteX902" fmla="*/ 2867960 w 7472601"/>
              <a:gd name="connsiteY902" fmla="*/ 0 h 6858000"/>
              <a:gd name="connsiteX903" fmla="*/ 2926351 w 7472601"/>
              <a:gd name="connsiteY903" fmla="*/ 0 h 6858000"/>
              <a:gd name="connsiteX904" fmla="*/ 2902823 w 7472601"/>
              <a:gd name="connsiteY904" fmla="*/ 262929 h 6858000"/>
              <a:gd name="connsiteX905" fmla="*/ 2940663 w 7472601"/>
              <a:gd name="connsiteY905" fmla="*/ 140884 h 6858000"/>
              <a:gd name="connsiteX906" fmla="*/ 2947039 w 7472601"/>
              <a:gd name="connsiteY906" fmla="*/ 122524 h 6858000"/>
              <a:gd name="connsiteX907" fmla="*/ 2984316 w 7472601"/>
              <a:gd name="connsiteY907" fmla="*/ 0 h 6858000"/>
              <a:gd name="connsiteX908" fmla="*/ 3016114 w 7472601"/>
              <a:gd name="connsiteY908" fmla="*/ 0 h 6858000"/>
              <a:gd name="connsiteX909" fmla="*/ 2979949 w 7472601"/>
              <a:gd name="connsiteY909" fmla="*/ 119274 h 6858000"/>
              <a:gd name="connsiteX910" fmla="*/ 3023879 w 7472601"/>
              <a:gd name="connsiteY910" fmla="*/ 0 h 6858000"/>
              <a:gd name="connsiteX911" fmla="*/ 3105400 w 7472601"/>
              <a:gd name="connsiteY911" fmla="*/ 0 h 6858000"/>
              <a:gd name="connsiteX912" fmla="*/ 3094669 w 7472601"/>
              <a:gd name="connsiteY912" fmla="*/ 30308 h 6858000"/>
              <a:gd name="connsiteX913" fmla="*/ 2901945 w 7472601"/>
              <a:gd name="connsiteY913" fmla="*/ 466538 h 6858000"/>
              <a:gd name="connsiteX914" fmla="*/ 2815209 w 7472601"/>
              <a:gd name="connsiteY914" fmla="*/ 497361 h 6858000"/>
              <a:gd name="connsiteX915" fmla="*/ 2844845 w 7472601"/>
              <a:gd name="connsiteY915" fmla="*/ 127638 h 6858000"/>
              <a:gd name="connsiteX916" fmla="*/ 2867960 w 7472601"/>
              <a:gd name="connsiteY916" fmla="*/ 0 h 6858000"/>
              <a:gd name="connsiteX917" fmla="*/ 1057230 w 7472601"/>
              <a:gd name="connsiteY917" fmla="*/ 0 h 6858000"/>
              <a:gd name="connsiteX918" fmla="*/ 1111003 w 7472601"/>
              <a:gd name="connsiteY918" fmla="*/ 0 h 6858000"/>
              <a:gd name="connsiteX919" fmla="*/ 1125553 w 7472601"/>
              <a:gd name="connsiteY919" fmla="*/ 52588 h 6858000"/>
              <a:gd name="connsiteX920" fmla="*/ 1304276 w 7472601"/>
              <a:gd name="connsiteY920" fmla="*/ 476275 h 6858000"/>
              <a:gd name="connsiteX921" fmla="*/ 1492066 w 7472601"/>
              <a:gd name="connsiteY921" fmla="*/ 886333 h 6858000"/>
              <a:gd name="connsiteX922" fmla="*/ 1423698 w 7472601"/>
              <a:gd name="connsiteY922" fmla="*/ 710817 h 6858000"/>
              <a:gd name="connsiteX923" fmla="*/ 1357609 w 7472601"/>
              <a:gd name="connsiteY923" fmla="*/ 532892 h 6858000"/>
              <a:gd name="connsiteX924" fmla="*/ 1309550 w 7472601"/>
              <a:gd name="connsiteY924" fmla="*/ 374031 h 6858000"/>
              <a:gd name="connsiteX925" fmla="*/ 1193673 w 7472601"/>
              <a:gd name="connsiteY925" fmla="*/ 49533 h 6858000"/>
              <a:gd name="connsiteX926" fmla="*/ 1164391 w 7472601"/>
              <a:gd name="connsiteY926" fmla="*/ 0 h 6858000"/>
              <a:gd name="connsiteX927" fmla="*/ 1200666 w 7472601"/>
              <a:gd name="connsiteY927" fmla="*/ 0 h 6858000"/>
              <a:gd name="connsiteX928" fmla="*/ 1223408 w 7472601"/>
              <a:gd name="connsiteY928" fmla="*/ 38996 h 6858000"/>
              <a:gd name="connsiteX929" fmla="*/ 1339635 w 7472601"/>
              <a:gd name="connsiteY929" fmla="*/ 365517 h 6858000"/>
              <a:gd name="connsiteX930" fmla="*/ 1387469 w 7472601"/>
              <a:gd name="connsiteY930" fmla="*/ 523079 h 6858000"/>
              <a:gd name="connsiteX931" fmla="*/ 1452685 w 7472601"/>
              <a:gd name="connsiteY931" fmla="*/ 699806 h 6858000"/>
              <a:gd name="connsiteX932" fmla="*/ 1492092 w 7472601"/>
              <a:gd name="connsiteY932" fmla="*/ 800424 h 6858000"/>
              <a:gd name="connsiteX933" fmla="*/ 1455302 w 7472601"/>
              <a:gd name="connsiteY933" fmla="*/ 632913 h 6858000"/>
              <a:gd name="connsiteX934" fmla="*/ 1222336 w 7472601"/>
              <a:gd name="connsiteY934" fmla="*/ 9480 h 6858000"/>
              <a:gd name="connsiteX935" fmla="*/ 1214634 w 7472601"/>
              <a:gd name="connsiteY935" fmla="*/ 0 h 6858000"/>
              <a:gd name="connsiteX936" fmla="*/ 1289827 w 7472601"/>
              <a:gd name="connsiteY936" fmla="*/ 0 h 6858000"/>
              <a:gd name="connsiteX937" fmla="*/ 1321076 w 7472601"/>
              <a:gd name="connsiteY937" fmla="*/ 59722 h 6858000"/>
              <a:gd name="connsiteX938" fmla="*/ 1512579 w 7472601"/>
              <a:gd name="connsiteY938" fmla="*/ 626441 h 6858000"/>
              <a:gd name="connsiteX939" fmla="*/ 1506076 w 7472601"/>
              <a:gd name="connsiteY939" fmla="*/ 1089289 h 6858000"/>
              <a:gd name="connsiteX940" fmla="*/ 1486346 w 7472601"/>
              <a:gd name="connsiteY940" fmla="*/ 1079919 h 6858000"/>
              <a:gd name="connsiteX941" fmla="*/ 1070511 w 7472601"/>
              <a:gd name="connsiteY941" fmla="*/ 48609 h 6858000"/>
              <a:gd name="connsiteX942" fmla="*/ 1057230 w 7472601"/>
              <a:gd name="connsiteY942" fmla="*/ 0 h 6858000"/>
              <a:gd name="connsiteX943" fmla="*/ 43151 w 7472601"/>
              <a:gd name="connsiteY943" fmla="*/ 0 h 6858000"/>
              <a:gd name="connsiteX944" fmla="*/ 95283 w 7472601"/>
              <a:gd name="connsiteY944" fmla="*/ 0 h 6858000"/>
              <a:gd name="connsiteX945" fmla="*/ 300708 w 7472601"/>
              <a:gd name="connsiteY945" fmla="*/ 154571 h 6858000"/>
              <a:gd name="connsiteX946" fmla="*/ 530414 w 7472601"/>
              <a:gd name="connsiteY946" fmla="*/ 354673 h 6858000"/>
              <a:gd name="connsiteX947" fmla="*/ 333785 w 7472601"/>
              <a:gd name="connsiteY947" fmla="*/ 161564 h 6858000"/>
              <a:gd name="connsiteX948" fmla="*/ 147005 w 7472601"/>
              <a:gd name="connsiteY948" fmla="*/ 0 h 6858000"/>
              <a:gd name="connsiteX949" fmla="*/ 272509 w 7472601"/>
              <a:gd name="connsiteY949" fmla="*/ 0 h 6858000"/>
              <a:gd name="connsiteX950" fmla="*/ 326276 w 7472601"/>
              <a:gd name="connsiteY950" fmla="*/ 45847 h 6858000"/>
              <a:gd name="connsiteX951" fmla="*/ 823759 w 7472601"/>
              <a:gd name="connsiteY951" fmla="*/ 574145 h 6858000"/>
              <a:gd name="connsiteX952" fmla="*/ 811254 w 7472601"/>
              <a:gd name="connsiteY952" fmla="*/ 665546 h 6858000"/>
              <a:gd name="connsiteX953" fmla="*/ 154042 w 7472601"/>
              <a:gd name="connsiteY953" fmla="*/ 261522 h 6858000"/>
              <a:gd name="connsiteX954" fmla="*/ 13550 w 7472601"/>
              <a:gd name="connsiteY954" fmla="*/ 158423 h 6858000"/>
              <a:gd name="connsiteX955" fmla="*/ 0 w 7472601"/>
              <a:gd name="connsiteY955" fmla="*/ 146618 h 6858000"/>
              <a:gd name="connsiteX956" fmla="*/ 0 w 7472601"/>
              <a:gd name="connsiteY956" fmla="*/ 59161 h 6858000"/>
              <a:gd name="connsiteX957" fmla="*/ 45427 w 7472601"/>
              <a:gd name="connsiteY957" fmla="*/ 101078 h 6858000"/>
              <a:gd name="connsiteX958" fmla="*/ 630103 w 7472601"/>
              <a:gd name="connsiteY958" fmla="*/ 485885 h 6858000"/>
              <a:gd name="connsiteX959" fmla="*/ 532040 w 7472601"/>
              <a:gd name="connsiteY959" fmla="*/ 399359 h 6858000"/>
              <a:gd name="connsiteX960" fmla="*/ 517618 w 7472601"/>
              <a:gd name="connsiteY960" fmla="*/ 385726 h 6858000"/>
              <a:gd name="connsiteX961" fmla="*/ 285074 w 7472601"/>
              <a:gd name="connsiteY961" fmla="*/ 182755 h 6858000"/>
              <a:gd name="connsiteX962" fmla="*/ 43151 w 7472601"/>
              <a:gd name="connsiteY962" fmla="*/ 0 h 6858000"/>
              <a:gd name="connsiteX0" fmla="*/ 369702 w 7472601"/>
              <a:gd name="connsiteY0" fmla="*/ 6712169 h 6858000"/>
              <a:gd name="connsiteX1" fmla="*/ 366575 w 7472601"/>
              <a:gd name="connsiteY1" fmla="*/ 6715556 h 6858000"/>
              <a:gd name="connsiteX2" fmla="*/ 371637 w 7472601"/>
              <a:gd name="connsiteY2" fmla="*/ 6713954 h 6858000"/>
              <a:gd name="connsiteX3" fmla="*/ 369702 w 7472601"/>
              <a:gd name="connsiteY3" fmla="*/ 6712169 h 6858000"/>
              <a:gd name="connsiteX4" fmla="*/ 7088673 w 7472601"/>
              <a:gd name="connsiteY4" fmla="*/ 6610396 h 6858000"/>
              <a:gd name="connsiteX5" fmla="*/ 7440138 w 7472601"/>
              <a:gd name="connsiteY5" fmla="*/ 6622648 h 6858000"/>
              <a:gd name="connsiteX6" fmla="*/ 7467600 w 7472601"/>
              <a:gd name="connsiteY6" fmla="*/ 6628217 h 6858000"/>
              <a:gd name="connsiteX7" fmla="*/ 7467600 w 7472601"/>
              <a:gd name="connsiteY7" fmla="*/ 6668575 h 6858000"/>
              <a:gd name="connsiteX8" fmla="*/ 7392322 w 7472601"/>
              <a:gd name="connsiteY8" fmla="*/ 6658238 h 6858000"/>
              <a:gd name="connsiteX9" fmla="*/ 7467600 w 7472601"/>
              <a:gd name="connsiteY9" fmla="*/ 6683873 h 6858000"/>
              <a:gd name="connsiteX10" fmla="*/ 7467600 w 7472601"/>
              <a:gd name="connsiteY10" fmla="*/ 6714215 h 6858000"/>
              <a:gd name="connsiteX11" fmla="*/ 7447383 w 7472601"/>
              <a:gd name="connsiteY11" fmla="*/ 6707202 h 6858000"/>
              <a:gd name="connsiteX12" fmla="*/ 7289862 w 7472601"/>
              <a:gd name="connsiteY12" fmla="*/ 6659827 h 6858000"/>
              <a:gd name="connsiteX13" fmla="*/ 7434024 w 7472601"/>
              <a:gd name="connsiteY13" fmla="*/ 6722130 h 6858000"/>
              <a:gd name="connsiteX14" fmla="*/ 7467600 w 7472601"/>
              <a:gd name="connsiteY14" fmla="*/ 6736157 h 6858000"/>
              <a:gd name="connsiteX15" fmla="*/ 7467600 w 7472601"/>
              <a:gd name="connsiteY15" fmla="*/ 6767913 h 6858000"/>
              <a:gd name="connsiteX16" fmla="*/ 7392158 w 7472601"/>
              <a:gd name="connsiteY16" fmla="*/ 6771365 h 6858000"/>
              <a:gd name="connsiteX17" fmla="*/ 7467600 w 7472601"/>
              <a:gd name="connsiteY17" fmla="*/ 6805948 h 6858000"/>
              <a:gd name="connsiteX18" fmla="*/ 7467600 w 7472601"/>
              <a:gd name="connsiteY18" fmla="*/ 6831490 h 6858000"/>
              <a:gd name="connsiteX19" fmla="*/ 7410696 w 7472601"/>
              <a:gd name="connsiteY19" fmla="*/ 6803861 h 6858000"/>
              <a:gd name="connsiteX20" fmla="*/ 7088673 w 7472601"/>
              <a:gd name="connsiteY20" fmla="*/ 6610396 h 6858000"/>
              <a:gd name="connsiteX21" fmla="*/ 1019354 w 7472601"/>
              <a:gd name="connsiteY21" fmla="*/ 6315006 h 6858000"/>
              <a:gd name="connsiteX22" fmla="*/ 441046 w 7472601"/>
              <a:gd name="connsiteY22" fmla="*/ 6691153 h 6858000"/>
              <a:gd name="connsiteX23" fmla="*/ 1019354 w 7472601"/>
              <a:gd name="connsiteY23" fmla="*/ 6315006 h 6858000"/>
              <a:gd name="connsiteX24" fmla="*/ 991680 w 7472601"/>
              <a:gd name="connsiteY24" fmla="*/ 6298413 h 6858000"/>
              <a:gd name="connsiteX25" fmla="*/ 409060 w 7472601"/>
              <a:gd name="connsiteY25" fmla="*/ 6671470 h 6858000"/>
              <a:gd name="connsiteX26" fmla="*/ 991680 w 7472601"/>
              <a:gd name="connsiteY26" fmla="*/ 6298413 h 6858000"/>
              <a:gd name="connsiteX27" fmla="*/ 103333 w 7472601"/>
              <a:gd name="connsiteY27" fmla="*/ 5699602 h 6858000"/>
              <a:gd name="connsiteX28" fmla="*/ 233938 w 7472601"/>
              <a:gd name="connsiteY28" fmla="*/ 5809416 h 6858000"/>
              <a:gd name="connsiteX29" fmla="*/ 883580 w 7472601"/>
              <a:gd name="connsiteY29" fmla="*/ 6180710 h 6858000"/>
              <a:gd name="connsiteX30" fmla="*/ 487337 w 7472601"/>
              <a:gd name="connsiteY30" fmla="*/ 5950182 h 6858000"/>
              <a:gd name="connsiteX31" fmla="*/ 354051 w 7472601"/>
              <a:gd name="connsiteY31" fmla="*/ 5854912 h 6858000"/>
              <a:gd name="connsiteX32" fmla="*/ 195436 w 7472601"/>
              <a:gd name="connsiteY32" fmla="*/ 5755068 h 6858000"/>
              <a:gd name="connsiteX33" fmla="*/ 103333 w 7472601"/>
              <a:gd name="connsiteY33" fmla="*/ 5699602 h 6858000"/>
              <a:gd name="connsiteX34" fmla="*/ 5539432 w 7472601"/>
              <a:gd name="connsiteY34" fmla="*/ 5642928 h 6858000"/>
              <a:gd name="connsiteX35" fmla="*/ 5555462 w 7472601"/>
              <a:gd name="connsiteY35" fmla="*/ 5694454 h 6858000"/>
              <a:gd name="connsiteX36" fmla="*/ 5828270 w 7472601"/>
              <a:gd name="connsiteY36" fmla="*/ 6320663 h 6858000"/>
              <a:gd name="connsiteX37" fmla="*/ 5947416 w 7472601"/>
              <a:gd name="connsiteY37" fmla="*/ 6574846 h 6858000"/>
              <a:gd name="connsiteX38" fmla="*/ 5539432 w 7472601"/>
              <a:gd name="connsiteY38" fmla="*/ 5642928 h 6858000"/>
              <a:gd name="connsiteX39" fmla="*/ 51253 w 7472601"/>
              <a:gd name="connsiteY39" fmla="*/ 5631825 h 6858000"/>
              <a:gd name="connsiteX40" fmla="*/ 211622 w 7472601"/>
              <a:gd name="connsiteY40" fmla="*/ 5728803 h 6858000"/>
              <a:gd name="connsiteX41" fmla="*/ 371652 w 7472601"/>
              <a:gd name="connsiteY41" fmla="*/ 5829062 h 6858000"/>
              <a:gd name="connsiteX42" fmla="*/ 505903 w 7472601"/>
              <a:gd name="connsiteY42" fmla="*/ 5925221 h 6858000"/>
              <a:gd name="connsiteX43" fmla="*/ 899240 w 7472601"/>
              <a:gd name="connsiteY43" fmla="*/ 6153068 h 6858000"/>
              <a:gd name="connsiteX44" fmla="*/ 988114 w 7472601"/>
              <a:gd name="connsiteY44" fmla="*/ 6174204 h 6858000"/>
              <a:gd name="connsiteX45" fmla="*/ 845971 w 7472601"/>
              <a:gd name="connsiteY45" fmla="*/ 6067177 h 6858000"/>
              <a:gd name="connsiteX46" fmla="*/ 448057 w 7472601"/>
              <a:gd name="connsiteY46" fmla="*/ 5841376 h 6858000"/>
              <a:gd name="connsiteX47" fmla="*/ 51253 w 7472601"/>
              <a:gd name="connsiteY47" fmla="*/ 5631825 h 6858000"/>
              <a:gd name="connsiteX48" fmla="*/ 2606687 w 7472601"/>
              <a:gd name="connsiteY48" fmla="*/ 5630718 h 6858000"/>
              <a:gd name="connsiteX49" fmla="*/ 2645658 w 7472601"/>
              <a:gd name="connsiteY49" fmla="*/ 6640259 h 6858000"/>
              <a:gd name="connsiteX50" fmla="*/ 2606687 w 7472601"/>
              <a:gd name="connsiteY50" fmla="*/ 5630718 h 6858000"/>
              <a:gd name="connsiteX51" fmla="*/ 3642057 w 7472601"/>
              <a:gd name="connsiteY51" fmla="*/ 5573487 h 6858000"/>
              <a:gd name="connsiteX52" fmla="*/ 3632981 w 7472601"/>
              <a:gd name="connsiteY52" fmla="*/ 5579437 h 6858000"/>
              <a:gd name="connsiteX53" fmla="*/ 3382436 w 7472601"/>
              <a:gd name="connsiteY53" fmla="*/ 5952726 h 6858000"/>
              <a:gd name="connsiteX54" fmla="*/ 3191929 w 7472601"/>
              <a:gd name="connsiteY54" fmla="*/ 6662669 h 6858000"/>
              <a:gd name="connsiteX55" fmla="*/ 3369898 w 7472601"/>
              <a:gd name="connsiteY55" fmla="*/ 6081771 h 6858000"/>
              <a:gd name="connsiteX56" fmla="*/ 3642057 w 7472601"/>
              <a:gd name="connsiteY56" fmla="*/ 5573487 h 6858000"/>
              <a:gd name="connsiteX57" fmla="*/ 2650666 w 7472601"/>
              <a:gd name="connsiteY57" fmla="*/ 5530686 h 6858000"/>
              <a:gd name="connsiteX58" fmla="*/ 2650249 w 7472601"/>
              <a:gd name="connsiteY58" fmla="*/ 5532101 h 6858000"/>
              <a:gd name="connsiteX59" fmla="*/ 2663808 w 7472601"/>
              <a:gd name="connsiteY59" fmla="*/ 6535215 h 6858000"/>
              <a:gd name="connsiteX60" fmla="*/ 2665418 w 7472601"/>
              <a:gd name="connsiteY60" fmla="*/ 6132756 h 6858000"/>
              <a:gd name="connsiteX61" fmla="*/ 2650666 w 7472601"/>
              <a:gd name="connsiteY61" fmla="*/ 5530686 h 6858000"/>
              <a:gd name="connsiteX62" fmla="*/ 2680277 w 7472601"/>
              <a:gd name="connsiteY62" fmla="*/ 5479204 h 6858000"/>
              <a:gd name="connsiteX63" fmla="*/ 2678972 w 7472601"/>
              <a:gd name="connsiteY63" fmla="*/ 5481582 h 6858000"/>
              <a:gd name="connsiteX64" fmla="*/ 2696666 w 7472601"/>
              <a:gd name="connsiteY64" fmla="*/ 6133836 h 6858000"/>
              <a:gd name="connsiteX65" fmla="*/ 2695769 w 7472601"/>
              <a:gd name="connsiteY65" fmla="*/ 6390955 h 6858000"/>
              <a:gd name="connsiteX66" fmla="*/ 2739893 w 7472601"/>
              <a:gd name="connsiteY66" fmla="*/ 6108357 h 6858000"/>
              <a:gd name="connsiteX67" fmla="*/ 2680277 w 7472601"/>
              <a:gd name="connsiteY67" fmla="*/ 5479204 h 6858000"/>
              <a:gd name="connsiteX68" fmla="*/ 1132195 w 7472601"/>
              <a:gd name="connsiteY68" fmla="*/ 5467980 h 6858000"/>
              <a:gd name="connsiteX69" fmla="*/ 1679056 w 7472601"/>
              <a:gd name="connsiteY69" fmla="*/ 5516907 h 6858000"/>
              <a:gd name="connsiteX70" fmla="*/ 2128648 w 7472601"/>
              <a:gd name="connsiteY70" fmla="*/ 5474249 h 6858000"/>
              <a:gd name="connsiteX71" fmla="*/ 1825619 w 7472601"/>
              <a:gd name="connsiteY71" fmla="*/ 5478447 h 6858000"/>
              <a:gd name="connsiteX72" fmla="*/ 1737798 w 7472601"/>
              <a:gd name="connsiteY72" fmla="*/ 5483353 h 6858000"/>
              <a:gd name="connsiteX73" fmla="*/ 1132195 w 7472601"/>
              <a:gd name="connsiteY73" fmla="*/ 5467980 h 6858000"/>
              <a:gd name="connsiteX74" fmla="*/ 7454976 w 7472601"/>
              <a:gd name="connsiteY74" fmla="*/ 6318297 h 6858000"/>
              <a:gd name="connsiteX75" fmla="*/ 7467600 w 7472601"/>
              <a:gd name="connsiteY75" fmla="*/ 6012219 h 6858000"/>
              <a:gd name="connsiteX76" fmla="*/ 7356878 w 7472601"/>
              <a:gd name="connsiteY76" fmla="*/ 5981332 h 6858000"/>
              <a:gd name="connsiteX77" fmla="*/ 7467600 w 7472601"/>
              <a:gd name="connsiteY77" fmla="*/ 6117703 h 6858000"/>
              <a:gd name="connsiteX78" fmla="*/ 7467600 w 7472601"/>
              <a:gd name="connsiteY78" fmla="*/ 6163634 h 6858000"/>
              <a:gd name="connsiteX79" fmla="*/ 7448321 w 7472601"/>
              <a:gd name="connsiteY79" fmla="*/ 6190991 h 6858000"/>
              <a:gd name="connsiteX80" fmla="*/ 7467600 w 7472601"/>
              <a:gd name="connsiteY80" fmla="*/ 6221686 h 6858000"/>
              <a:gd name="connsiteX81" fmla="*/ 7467600 w 7472601"/>
              <a:gd name="connsiteY81" fmla="*/ 6334256 h 6858000"/>
              <a:gd name="connsiteX82" fmla="*/ 7454976 w 7472601"/>
              <a:gd name="connsiteY82" fmla="*/ 6318297 h 6858000"/>
              <a:gd name="connsiteX83" fmla="*/ 1456157 w 7472601"/>
              <a:gd name="connsiteY83" fmla="*/ 5371404 h 6858000"/>
              <a:gd name="connsiteX84" fmla="*/ 1244432 w 7472601"/>
              <a:gd name="connsiteY84" fmla="*/ 5385601 h 6858000"/>
              <a:gd name="connsiteX85" fmla="*/ 973990 w 7472601"/>
              <a:gd name="connsiteY85" fmla="*/ 5424940 h 6858000"/>
              <a:gd name="connsiteX86" fmla="*/ 1103809 w 7472601"/>
              <a:gd name="connsiteY86" fmla="*/ 5433720 h 6858000"/>
              <a:gd name="connsiteX87" fmla="*/ 1123454 w 7472601"/>
              <a:gd name="connsiteY87" fmla="*/ 5435727 h 6858000"/>
              <a:gd name="connsiteX88" fmla="*/ 1737017 w 7472601"/>
              <a:gd name="connsiteY88" fmla="*/ 5452183 h 6858000"/>
              <a:gd name="connsiteX89" fmla="*/ 1824397 w 7472601"/>
              <a:gd name="connsiteY89" fmla="*/ 5447757 h 6858000"/>
              <a:gd name="connsiteX90" fmla="*/ 2070059 w 7472601"/>
              <a:gd name="connsiteY90" fmla="*/ 5441660 h 6858000"/>
              <a:gd name="connsiteX91" fmla="*/ 1456157 w 7472601"/>
              <a:gd name="connsiteY91" fmla="*/ 5371404 h 6858000"/>
              <a:gd name="connsiteX92" fmla="*/ 4988186 w 7472601"/>
              <a:gd name="connsiteY92" fmla="*/ 5216467 h 6858000"/>
              <a:gd name="connsiteX93" fmla="*/ 4777334 w 7472601"/>
              <a:gd name="connsiteY93" fmla="*/ 5406072 h 6858000"/>
              <a:gd name="connsiteX94" fmla="*/ 4718341 w 7472601"/>
              <a:gd name="connsiteY94" fmla="*/ 5468043 h 6858000"/>
              <a:gd name="connsiteX95" fmla="*/ 4604655 w 7472601"/>
              <a:gd name="connsiteY95" fmla="*/ 5583434 h 6858000"/>
              <a:gd name="connsiteX96" fmla="*/ 4565074 w 7472601"/>
              <a:gd name="connsiteY96" fmla="*/ 5618550 h 6858000"/>
              <a:gd name="connsiteX97" fmla="*/ 4988186 w 7472601"/>
              <a:gd name="connsiteY97" fmla="*/ 5216467 h 6858000"/>
              <a:gd name="connsiteX98" fmla="*/ 4978032 w 7472601"/>
              <a:gd name="connsiteY98" fmla="*/ 5183809 h 6858000"/>
              <a:gd name="connsiteX99" fmla="*/ 4463413 w 7472601"/>
              <a:gd name="connsiteY99" fmla="*/ 5615162 h 6858000"/>
              <a:gd name="connsiteX100" fmla="*/ 4358134 w 7472601"/>
              <a:gd name="connsiteY100" fmla="*/ 5742791 h 6858000"/>
              <a:gd name="connsiteX101" fmla="*/ 4376219 w 7472601"/>
              <a:gd name="connsiteY101" fmla="*/ 5729027 h 6858000"/>
              <a:gd name="connsiteX102" fmla="*/ 4582340 w 7472601"/>
              <a:gd name="connsiteY102" fmla="*/ 5561037 h 6858000"/>
              <a:gd name="connsiteX103" fmla="*/ 4694684 w 7472601"/>
              <a:gd name="connsiteY103" fmla="*/ 5447098 h 6858000"/>
              <a:gd name="connsiteX104" fmla="*/ 4754123 w 7472601"/>
              <a:gd name="connsiteY104" fmla="*/ 5384643 h 6858000"/>
              <a:gd name="connsiteX105" fmla="*/ 4978032 w 7472601"/>
              <a:gd name="connsiteY105" fmla="*/ 5183809 h 6858000"/>
              <a:gd name="connsiteX106" fmla="*/ 1903353 w 7472601"/>
              <a:gd name="connsiteY106" fmla="*/ 5044827 h 6858000"/>
              <a:gd name="connsiteX107" fmla="*/ 1936931 w 7472601"/>
              <a:gd name="connsiteY107" fmla="*/ 5093954 h 6858000"/>
              <a:gd name="connsiteX108" fmla="*/ 2195868 w 7472601"/>
              <a:gd name="connsiteY108" fmla="*/ 5396574 h 6858000"/>
              <a:gd name="connsiteX109" fmla="*/ 2088852 w 7472601"/>
              <a:gd name="connsiteY109" fmla="*/ 5166123 h 6858000"/>
              <a:gd name="connsiteX110" fmla="*/ 1958241 w 7472601"/>
              <a:gd name="connsiteY110" fmla="*/ 5067955 h 6858000"/>
              <a:gd name="connsiteX111" fmla="*/ 1903353 w 7472601"/>
              <a:gd name="connsiteY111" fmla="*/ 5044827 h 6858000"/>
              <a:gd name="connsiteX112" fmla="*/ 1979378 w 7472601"/>
              <a:gd name="connsiteY112" fmla="*/ 4769504 h 6858000"/>
              <a:gd name="connsiteX113" fmla="*/ 2882120 w 7472601"/>
              <a:gd name="connsiteY113" fmla="*/ 5064547 h 6858000"/>
              <a:gd name="connsiteX114" fmla="*/ 2793103 w 7472601"/>
              <a:gd name="connsiteY114" fmla="*/ 5039699 h 6858000"/>
              <a:gd name="connsiteX115" fmla="*/ 2770041 w 7472601"/>
              <a:gd name="connsiteY115" fmla="*/ 5033634 h 6858000"/>
              <a:gd name="connsiteX116" fmla="*/ 1979378 w 7472601"/>
              <a:gd name="connsiteY116" fmla="*/ 4769504 h 6858000"/>
              <a:gd name="connsiteX117" fmla="*/ 1927410 w 7472601"/>
              <a:gd name="connsiteY117" fmla="*/ 4716164 h 6858000"/>
              <a:gd name="connsiteX118" fmla="*/ 1959587 w 7472601"/>
              <a:gd name="connsiteY118" fmla="*/ 4728849 h 6858000"/>
              <a:gd name="connsiteX119" fmla="*/ 2777707 w 7472601"/>
              <a:gd name="connsiteY119" fmla="*/ 5003991 h 6858000"/>
              <a:gd name="connsiteX120" fmla="*/ 2800768 w 7472601"/>
              <a:gd name="connsiteY120" fmla="*/ 5010056 h 6858000"/>
              <a:gd name="connsiteX121" fmla="*/ 2879408 w 7472601"/>
              <a:gd name="connsiteY121" fmla="*/ 5031590 h 6858000"/>
              <a:gd name="connsiteX122" fmla="*/ 2862295 w 7472601"/>
              <a:gd name="connsiteY122" fmla="*/ 5022958 h 6858000"/>
              <a:gd name="connsiteX123" fmla="*/ 2813343 w 7472601"/>
              <a:gd name="connsiteY123" fmla="*/ 4998369 h 6858000"/>
              <a:gd name="connsiteX124" fmla="*/ 2646245 w 7472601"/>
              <a:gd name="connsiteY124" fmla="*/ 4930999 h 6858000"/>
              <a:gd name="connsiteX125" fmla="*/ 1999243 w 7472601"/>
              <a:gd name="connsiteY125" fmla="*/ 4730524 h 6858000"/>
              <a:gd name="connsiteX126" fmla="*/ 1979527 w 7472601"/>
              <a:gd name="connsiteY126" fmla="*/ 4726651 h 6858000"/>
              <a:gd name="connsiteX127" fmla="*/ 1927410 w 7472601"/>
              <a:gd name="connsiteY127" fmla="*/ 4716164 h 6858000"/>
              <a:gd name="connsiteX128" fmla="*/ 1997014 w 7472601"/>
              <a:gd name="connsiteY128" fmla="*/ 4698007 h 6858000"/>
              <a:gd name="connsiteX129" fmla="*/ 2005458 w 7472601"/>
              <a:gd name="connsiteY129" fmla="*/ 4699540 h 6858000"/>
              <a:gd name="connsiteX130" fmla="*/ 2657186 w 7472601"/>
              <a:gd name="connsiteY130" fmla="*/ 4901687 h 6858000"/>
              <a:gd name="connsiteX131" fmla="*/ 2826662 w 7472601"/>
              <a:gd name="connsiteY131" fmla="*/ 4970362 h 6858000"/>
              <a:gd name="connsiteX132" fmla="*/ 2876100 w 7472601"/>
              <a:gd name="connsiteY132" fmla="*/ 4995397 h 6858000"/>
              <a:gd name="connsiteX133" fmla="*/ 3042600 w 7472601"/>
              <a:gd name="connsiteY133" fmla="*/ 5059532 h 6858000"/>
              <a:gd name="connsiteX134" fmla="*/ 1997014 w 7472601"/>
              <a:gd name="connsiteY134" fmla="*/ 4698007 h 6858000"/>
              <a:gd name="connsiteX135" fmla="*/ 2305292 w 7472601"/>
              <a:gd name="connsiteY135" fmla="*/ 4219492 h 6858000"/>
              <a:gd name="connsiteX136" fmla="*/ 3360922 w 7472601"/>
              <a:gd name="connsiteY136" fmla="*/ 4529373 h 6858000"/>
              <a:gd name="connsiteX137" fmla="*/ 3492420 w 7472601"/>
              <a:gd name="connsiteY137" fmla="*/ 4510145 h 6858000"/>
              <a:gd name="connsiteX138" fmla="*/ 3364086 w 7472601"/>
              <a:gd name="connsiteY138" fmla="*/ 4480340 h 6858000"/>
              <a:gd name="connsiteX139" fmla="*/ 3225818 w 7472601"/>
              <a:gd name="connsiteY139" fmla="*/ 4411822 h 6858000"/>
              <a:gd name="connsiteX140" fmla="*/ 3129696 w 7472601"/>
              <a:gd name="connsiteY140" fmla="*/ 4360704 h 6858000"/>
              <a:gd name="connsiteX141" fmla="*/ 2814545 w 7472601"/>
              <a:gd name="connsiteY141" fmla="*/ 4282955 h 6858000"/>
              <a:gd name="connsiteX142" fmla="*/ 2305292 w 7472601"/>
              <a:gd name="connsiteY142" fmla="*/ 4219492 h 6858000"/>
              <a:gd name="connsiteX143" fmla="*/ 2626982 w 7472601"/>
              <a:gd name="connsiteY143" fmla="*/ 4206450 h 6858000"/>
              <a:gd name="connsiteX144" fmla="*/ 2490617 w 7472601"/>
              <a:gd name="connsiteY144" fmla="*/ 4206951 h 6858000"/>
              <a:gd name="connsiteX145" fmla="*/ 2819869 w 7472601"/>
              <a:gd name="connsiteY145" fmla="*/ 4252936 h 6858000"/>
              <a:gd name="connsiteX146" fmla="*/ 3143018 w 7472601"/>
              <a:gd name="connsiteY146" fmla="*/ 4332698 h 6858000"/>
              <a:gd name="connsiteX147" fmla="*/ 3241520 w 7472601"/>
              <a:gd name="connsiteY147" fmla="*/ 4385112 h 6858000"/>
              <a:gd name="connsiteX148" fmla="*/ 3374575 w 7472601"/>
              <a:gd name="connsiteY148" fmla="*/ 4451517 h 6858000"/>
              <a:gd name="connsiteX149" fmla="*/ 3505221 w 7472601"/>
              <a:gd name="connsiteY149" fmla="*/ 4480757 h 6858000"/>
              <a:gd name="connsiteX150" fmla="*/ 2626982 w 7472601"/>
              <a:gd name="connsiteY150" fmla="*/ 4206450 h 6858000"/>
              <a:gd name="connsiteX151" fmla="*/ 1310106 w 7472601"/>
              <a:gd name="connsiteY151" fmla="*/ 3943217 h 6858000"/>
              <a:gd name="connsiteX152" fmla="*/ 854994 w 7472601"/>
              <a:gd name="connsiteY152" fmla="*/ 4399136 h 6858000"/>
              <a:gd name="connsiteX153" fmla="*/ 742462 w 7472601"/>
              <a:gd name="connsiteY153" fmla="*/ 4594648 h 6858000"/>
              <a:gd name="connsiteX154" fmla="*/ 820602 w 7472601"/>
              <a:gd name="connsiteY154" fmla="*/ 4485915 h 6858000"/>
              <a:gd name="connsiteX155" fmla="*/ 878295 w 7472601"/>
              <a:gd name="connsiteY155" fmla="*/ 4403594 h 6858000"/>
              <a:gd name="connsiteX156" fmla="*/ 1240607 w 7472601"/>
              <a:gd name="connsiteY156" fmla="*/ 4010401 h 6858000"/>
              <a:gd name="connsiteX157" fmla="*/ 1310106 w 7472601"/>
              <a:gd name="connsiteY157" fmla="*/ 3943217 h 6858000"/>
              <a:gd name="connsiteX158" fmla="*/ 1423113 w 7472601"/>
              <a:gd name="connsiteY158" fmla="*/ 3874565 h 6858000"/>
              <a:gd name="connsiteX159" fmla="*/ 1260565 w 7472601"/>
              <a:gd name="connsiteY159" fmla="*/ 4031982 h 6858000"/>
              <a:gd name="connsiteX160" fmla="*/ 901900 w 7472601"/>
              <a:gd name="connsiteY160" fmla="*/ 4421236 h 6858000"/>
              <a:gd name="connsiteX161" fmla="*/ 845044 w 7472601"/>
              <a:gd name="connsiteY161" fmla="*/ 4502436 h 6858000"/>
              <a:gd name="connsiteX162" fmla="*/ 685926 w 7472601"/>
              <a:gd name="connsiteY162" fmla="*/ 4703069 h 6858000"/>
              <a:gd name="connsiteX163" fmla="*/ 684248 w 7472601"/>
              <a:gd name="connsiteY163" fmla="*/ 4706721 h 6858000"/>
              <a:gd name="connsiteX164" fmla="*/ 1423113 w 7472601"/>
              <a:gd name="connsiteY164" fmla="*/ 3874565 h 6858000"/>
              <a:gd name="connsiteX165" fmla="*/ 3316479 w 7472601"/>
              <a:gd name="connsiteY165" fmla="*/ 3872136 h 6858000"/>
              <a:gd name="connsiteX166" fmla="*/ 3546806 w 7472601"/>
              <a:gd name="connsiteY166" fmla="*/ 4356139 h 6858000"/>
              <a:gd name="connsiteX167" fmla="*/ 3364433 w 7472601"/>
              <a:gd name="connsiteY167" fmla="*/ 3953121 h 6858000"/>
              <a:gd name="connsiteX168" fmla="*/ 3316479 w 7472601"/>
              <a:gd name="connsiteY168" fmla="*/ 3872136 h 6858000"/>
              <a:gd name="connsiteX169" fmla="*/ 3291335 w 7472601"/>
              <a:gd name="connsiteY169" fmla="*/ 3767420 h 6858000"/>
              <a:gd name="connsiteX170" fmla="*/ 3390805 w 7472601"/>
              <a:gd name="connsiteY170" fmla="*/ 3937163 h 6858000"/>
              <a:gd name="connsiteX171" fmla="*/ 3579062 w 7472601"/>
              <a:gd name="connsiteY171" fmla="*/ 4359040 h 6858000"/>
              <a:gd name="connsiteX172" fmla="*/ 3467355 w 7472601"/>
              <a:gd name="connsiteY172" fmla="*/ 3988130 h 6858000"/>
              <a:gd name="connsiteX173" fmla="*/ 3310753 w 7472601"/>
              <a:gd name="connsiteY173" fmla="*/ 3787140 h 6858000"/>
              <a:gd name="connsiteX174" fmla="*/ 3291335 w 7472601"/>
              <a:gd name="connsiteY174" fmla="*/ 3767420 h 6858000"/>
              <a:gd name="connsiteX175" fmla="*/ 1635889 w 7472601"/>
              <a:gd name="connsiteY175" fmla="*/ 3709494 h 6858000"/>
              <a:gd name="connsiteX176" fmla="*/ 1634800 w 7472601"/>
              <a:gd name="connsiteY176" fmla="*/ 3731111 h 6858000"/>
              <a:gd name="connsiteX177" fmla="*/ 1635889 w 7472601"/>
              <a:gd name="connsiteY177" fmla="*/ 3709494 h 6858000"/>
              <a:gd name="connsiteX178" fmla="*/ 1510397 w 7472601"/>
              <a:gd name="connsiteY178" fmla="*/ 3684705 h 6858000"/>
              <a:gd name="connsiteX179" fmla="*/ 1146550 w 7472601"/>
              <a:gd name="connsiteY179" fmla="*/ 3802012 h 6858000"/>
              <a:gd name="connsiteX180" fmla="*/ 698834 w 7472601"/>
              <a:gd name="connsiteY180" fmla="*/ 3952272 h 6858000"/>
              <a:gd name="connsiteX181" fmla="*/ 34256 w 7472601"/>
              <a:gd name="connsiteY181" fmla="*/ 4347603 h 6858000"/>
              <a:gd name="connsiteX182" fmla="*/ 527241 w 7472601"/>
              <a:gd name="connsiteY182" fmla="*/ 4065078 h 6858000"/>
              <a:gd name="connsiteX183" fmla="*/ 1510397 w 7472601"/>
              <a:gd name="connsiteY183" fmla="*/ 3684705 h 6858000"/>
              <a:gd name="connsiteX184" fmla="*/ 1313114 w 7472601"/>
              <a:gd name="connsiteY184" fmla="*/ 3655216 h 6858000"/>
              <a:gd name="connsiteX185" fmla="*/ 1109304 w 7472601"/>
              <a:gd name="connsiteY185" fmla="*/ 3669030 h 6858000"/>
              <a:gd name="connsiteX186" fmla="*/ 8129 w 7472601"/>
              <a:gd name="connsiteY186" fmla="*/ 4330519 h 6858000"/>
              <a:gd name="connsiteX187" fmla="*/ 687572 w 7472601"/>
              <a:gd name="connsiteY187" fmla="*/ 3925629 h 6858000"/>
              <a:gd name="connsiteX188" fmla="*/ 1138365 w 7472601"/>
              <a:gd name="connsiteY188" fmla="*/ 3774515 h 6858000"/>
              <a:gd name="connsiteX189" fmla="*/ 1505579 w 7472601"/>
              <a:gd name="connsiteY189" fmla="*/ 3655526 h 6858000"/>
              <a:gd name="connsiteX190" fmla="*/ 1313114 w 7472601"/>
              <a:gd name="connsiteY190" fmla="*/ 3655216 h 6858000"/>
              <a:gd name="connsiteX191" fmla="*/ 3655073 w 7472601"/>
              <a:gd name="connsiteY191" fmla="*/ 3650884 h 6858000"/>
              <a:gd name="connsiteX192" fmla="*/ 3989938 w 7472601"/>
              <a:gd name="connsiteY192" fmla="*/ 3991685 h 6858000"/>
              <a:gd name="connsiteX193" fmla="*/ 4393907 w 7472601"/>
              <a:gd name="connsiteY193" fmla="*/ 4261258 h 6858000"/>
              <a:gd name="connsiteX194" fmla="*/ 4648051 w 7472601"/>
              <a:gd name="connsiteY194" fmla="*/ 4374051 h 6858000"/>
              <a:gd name="connsiteX195" fmla="*/ 4383389 w 7472601"/>
              <a:gd name="connsiteY195" fmla="*/ 4184369 h 6858000"/>
              <a:gd name="connsiteX196" fmla="*/ 4165508 w 7472601"/>
              <a:gd name="connsiteY196" fmla="*/ 4035196 h 6858000"/>
              <a:gd name="connsiteX197" fmla="*/ 4068162 w 7472601"/>
              <a:gd name="connsiteY197" fmla="*/ 3953394 h 6858000"/>
              <a:gd name="connsiteX198" fmla="*/ 3981416 w 7472601"/>
              <a:gd name="connsiteY198" fmla="*/ 3880482 h 6858000"/>
              <a:gd name="connsiteX199" fmla="*/ 3800147 w 7472601"/>
              <a:gd name="connsiteY199" fmla="*/ 3749872 h 6858000"/>
              <a:gd name="connsiteX200" fmla="*/ 3655073 w 7472601"/>
              <a:gd name="connsiteY200" fmla="*/ 3650884 h 6858000"/>
              <a:gd name="connsiteX201" fmla="*/ 3670252 w 7472601"/>
              <a:gd name="connsiteY201" fmla="*/ 3622798 h 6858000"/>
              <a:gd name="connsiteX202" fmla="*/ 3817258 w 7472601"/>
              <a:gd name="connsiteY202" fmla="*/ 3723577 h 6858000"/>
              <a:gd name="connsiteX203" fmla="*/ 4000461 w 7472601"/>
              <a:gd name="connsiteY203" fmla="*/ 3855966 h 6858000"/>
              <a:gd name="connsiteX204" fmla="*/ 4088180 w 7472601"/>
              <a:gd name="connsiteY204" fmla="*/ 3929774 h 6858000"/>
              <a:gd name="connsiteX205" fmla="*/ 4184555 w 7472601"/>
              <a:gd name="connsiteY205" fmla="*/ 4010683 h 6858000"/>
              <a:gd name="connsiteX206" fmla="*/ 4399563 w 7472601"/>
              <a:gd name="connsiteY206" fmla="*/ 4158106 h 6858000"/>
              <a:gd name="connsiteX207" fmla="*/ 4684469 w 7472601"/>
              <a:gd name="connsiteY207" fmla="*/ 4364680 h 6858000"/>
              <a:gd name="connsiteX208" fmla="*/ 4690271 w 7472601"/>
              <a:gd name="connsiteY208" fmla="*/ 4370034 h 6858000"/>
              <a:gd name="connsiteX209" fmla="*/ 4136093 w 7472601"/>
              <a:gd name="connsiteY209" fmla="*/ 3858466 h 6858000"/>
              <a:gd name="connsiteX210" fmla="*/ 3670252 w 7472601"/>
              <a:gd name="connsiteY210" fmla="*/ 3622798 h 6858000"/>
              <a:gd name="connsiteX211" fmla="*/ 4440129 w 7472601"/>
              <a:gd name="connsiteY211" fmla="*/ 3448571 h 6858000"/>
              <a:gd name="connsiteX212" fmla="*/ 4856525 w 7472601"/>
              <a:gd name="connsiteY212" fmla="*/ 3915351 h 6858000"/>
              <a:gd name="connsiteX213" fmla="*/ 5059055 w 7472601"/>
              <a:gd name="connsiteY213" fmla="*/ 4108918 h 6858000"/>
              <a:gd name="connsiteX214" fmla="*/ 5290070 w 7472601"/>
              <a:gd name="connsiteY214" fmla="*/ 4263619 h 6858000"/>
              <a:gd name="connsiteX215" fmla="*/ 4834991 w 7472601"/>
              <a:gd name="connsiteY215" fmla="*/ 3830985 h 6858000"/>
              <a:gd name="connsiteX216" fmla="*/ 4440129 w 7472601"/>
              <a:gd name="connsiteY216" fmla="*/ 3448571 h 6858000"/>
              <a:gd name="connsiteX217" fmla="*/ 4441737 w 7472601"/>
              <a:gd name="connsiteY217" fmla="*/ 3399734 h 6858000"/>
              <a:gd name="connsiteX218" fmla="*/ 4431236 w 7472601"/>
              <a:gd name="connsiteY218" fmla="*/ 3400954 h 6858000"/>
              <a:gd name="connsiteX219" fmla="*/ 4557150 w 7472601"/>
              <a:gd name="connsiteY219" fmla="*/ 3510023 h 6858000"/>
              <a:gd name="connsiteX220" fmla="*/ 4856936 w 7472601"/>
              <a:gd name="connsiteY220" fmla="*/ 3809146 h 6858000"/>
              <a:gd name="connsiteX221" fmla="*/ 5111996 w 7472601"/>
              <a:gd name="connsiteY221" fmla="*/ 4065759 h 6858000"/>
              <a:gd name="connsiteX222" fmla="*/ 5388878 w 7472601"/>
              <a:gd name="connsiteY222" fmla="*/ 4300185 h 6858000"/>
              <a:gd name="connsiteX223" fmla="*/ 5425556 w 7472601"/>
              <a:gd name="connsiteY223" fmla="*/ 4308967 h 6858000"/>
              <a:gd name="connsiteX224" fmla="*/ 4943646 w 7472601"/>
              <a:gd name="connsiteY224" fmla="*/ 3822916 h 6858000"/>
              <a:gd name="connsiteX225" fmla="*/ 4594837 w 7472601"/>
              <a:gd name="connsiteY225" fmla="*/ 3532274 h 6858000"/>
              <a:gd name="connsiteX226" fmla="*/ 4441737 w 7472601"/>
              <a:gd name="connsiteY226" fmla="*/ 3399734 h 6858000"/>
              <a:gd name="connsiteX227" fmla="*/ 5425834 w 7472601"/>
              <a:gd name="connsiteY227" fmla="*/ 3162785 h 6858000"/>
              <a:gd name="connsiteX228" fmla="*/ 5401644 w 7472601"/>
              <a:gd name="connsiteY228" fmla="*/ 3617847 h 6858000"/>
              <a:gd name="connsiteX229" fmla="*/ 5467256 w 7472601"/>
              <a:gd name="connsiteY229" fmla="*/ 4175494 h 6858000"/>
              <a:gd name="connsiteX230" fmla="*/ 5448069 w 7472601"/>
              <a:gd name="connsiteY230" fmla="*/ 3567554 h 6858000"/>
              <a:gd name="connsiteX231" fmla="*/ 5425834 w 7472601"/>
              <a:gd name="connsiteY231" fmla="*/ 3162785 h 6858000"/>
              <a:gd name="connsiteX232" fmla="*/ 1318687 w 7472601"/>
              <a:gd name="connsiteY232" fmla="*/ 3113840 h 6858000"/>
              <a:gd name="connsiteX233" fmla="*/ 1066793 w 7472601"/>
              <a:gd name="connsiteY233" fmla="*/ 3212171 h 6858000"/>
              <a:gd name="connsiteX234" fmla="*/ 993319 w 7472601"/>
              <a:gd name="connsiteY234" fmla="*/ 3247648 h 6858000"/>
              <a:gd name="connsiteX235" fmla="*/ 853081 w 7472601"/>
              <a:gd name="connsiteY235" fmla="*/ 3312410 h 6858000"/>
              <a:gd name="connsiteX236" fmla="*/ 805957 w 7472601"/>
              <a:gd name="connsiteY236" fmla="*/ 3330443 h 6858000"/>
              <a:gd name="connsiteX237" fmla="*/ 1318687 w 7472601"/>
              <a:gd name="connsiteY237" fmla="*/ 3113840 h 6858000"/>
              <a:gd name="connsiteX238" fmla="*/ 5453702 w 7472601"/>
              <a:gd name="connsiteY238" fmla="*/ 3090882 h 6858000"/>
              <a:gd name="connsiteX239" fmla="*/ 5480135 w 7472601"/>
              <a:gd name="connsiteY239" fmla="*/ 3565802 h 6858000"/>
              <a:gd name="connsiteX240" fmla="*/ 5499023 w 7472601"/>
              <a:gd name="connsiteY240" fmla="*/ 4166310 h 6858000"/>
              <a:gd name="connsiteX241" fmla="*/ 5547022 w 7472601"/>
              <a:gd name="connsiteY241" fmla="*/ 3607838 h 6858000"/>
              <a:gd name="connsiteX242" fmla="*/ 5515964 w 7472601"/>
              <a:gd name="connsiteY242" fmla="*/ 3378541 h 6858000"/>
              <a:gd name="connsiteX243" fmla="*/ 5453702 w 7472601"/>
              <a:gd name="connsiteY243" fmla="*/ 3090882 h 6858000"/>
              <a:gd name="connsiteX244" fmla="*/ 1238695 w 7472601"/>
              <a:gd name="connsiteY244" fmla="*/ 3076820 h 6858000"/>
              <a:gd name="connsiteX245" fmla="*/ 716371 w 7472601"/>
              <a:gd name="connsiteY245" fmla="*/ 3293249 h 6858000"/>
              <a:gd name="connsiteX246" fmla="*/ 579522 w 7472601"/>
              <a:gd name="connsiteY246" fmla="*/ 3371759 h 6858000"/>
              <a:gd name="connsiteX247" fmla="*/ 600288 w 7472601"/>
              <a:gd name="connsiteY247" fmla="*/ 3365555 h 6858000"/>
              <a:gd name="connsiteX248" fmla="*/ 840692 w 7472601"/>
              <a:gd name="connsiteY248" fmla="*/ 3284921 h 6858000"/>
              <a:gd name="connsiteX249" fmla="*/ 979248 w 7472601"/>
              <a:gd name="connsiteY249" fmla="*/ 3221003 h 6858000"/>
              <a:gd name="connsiteX250" fmla="*/ 1053282 w 7472601"/>
              <a:gd name="connsiteY250" fmla="*/ 3185247 h 6858000"/>
              <a:gd name="connsiteX251" fmla="*/ 1320603 w 7472601"/>
              <a:gd name="connsiteY251" fmla="*/ 3081281 h 6858000"/>
              <a:gd name="connsiteX252" fmla="*/ 1238695 w 7472601"/>
              <a:gd name="connsiteY252" fmla="*/ 3076820 h 6858000"/>
              <a:gd name="connsiteX253" fmla="*/ 5425627 w 7472601"/>
              <a:gd name="connsiteY253" fmla="*/ 2954192 h 6858000"/>
              <a:gd name="connsiteX254" fmla="*/ 5470770 w 7472601"/>
              <a:gd name="connsiteY254" fmla="*/ 3005435 h 6858000"/>
              <a:gd name="connsiteX255" fmla="*/ 5519779 w 7472601"/>
              <a:gd name="connsiteY255" fmla="*/ 4359223 h 6858000"/>
              <a:gd name="connsiteX256" fmla="*/ 5520293 w 7472601"/>
              <a:gd name="connsiteY256" fmla="*/ 4360602 h 6858000"/>
              <a:gd name="connsiteX257" fmla="*/ 5767221 w 7472601"/>
              <a:gd name="connsiteY257" fmla="*/ 4665564 h 6858000"/>
              <a:gd name="connsiteX258" fmla="*/ 6937169 w 7472601"/>
              <a:gd name="connsiteY258" fmla="*/ 4815941 h 6858000"/>
              <a:gd name="connsiteX259" fmla="*/ 6953922 w 7472601"/>
              <a:gd name="connsiteY259" fmla="*/ 4890068 h 6858000"/>
              <a:gd name="connsiteX260" fmla="*/ 6071359 w 7472601"/>
              <a:gd name="connsiteY260" fmla="*/ 4770770 h 6858000"/>
              <a:gd name="connsiteX261" fmla="*/ 6038839 w 7472601"/>
              <a:gd name="connsiteY261" fmla="*/ 4764474 h 6858000"/>
              <a:gd name="connsiteX262" fmla="*/ 6038706 w 7472601"/>
              <a:gd name="connsiteY262" fmla="*/ 4763847 h 6858000"/>
              <a:gd name="connsiteX263" fmla="*/ 6037784 w 7472601"/>
              <a:gd name="connsiteY263" fmla="*/ 4764270 h 6858000"/>
              <a:gd name="connsiteX264" fmla="*/ 6038839 w 7472601"/>
              <a:gd name="connsiteY264" fmla="*/ 4764474 h 6858000"/>
              <a:gd name="connsiteX265" fmla="*/ 6040338 w 7472601"/>
              <a:gd name="connsiteY265" fmla="*/ 4771418 h 6858000"/>
              <a:gd name="connsiteX266" fmla="*/ 6024488 w 7472601"/>
              <a:gd name="connsiteY266" fmla="*/ 4809903 h 6858000"/>
              <a:gd name="connsiteX267" fmla="*/ 5599771 w 7472601"/>
              <a:gd name="connsiteY267" fmla="*/ 5509652 h 6858000"/>
              <a:gd name="connsiteX268" fmla="*/ 5548843 w 7472601"/>
              <a:gd name="connsiteY268" fmla="*/ 5563845 h 6858000"/>
              <a:gd name="connsiteX269" fmla="*/ 5940952 w 7472601"/>
              <a:gd name="connsiteY269" fmla="*/ 6250028 h 6858000"/>
              <a:gd name="connsiteX270" fmla="*/ 6043441 w 7472601"/>
              <a:gd name="connsiteY270" fmla="*/ 6665847 h 6858000"/>
              <a:gd name="connsiteX271" fmla="*/ 6093432 w 7472601"/>
              <a:gd name="connsiteY271" fmla="*/ 6858000 h 6858000"/>
              <a:gd name="connsiteX272" fmla="*/ 6034344 w 7472601"/>
              <a:gd name="connsiteY272" fmla="*/ 6858000 h 6858000"/>
              <a:gd name="connsiteX273" fmla="*/ 6026679 w 7472601"/>
              <a:gd name="connsiteY273" fmla="*/ 6836959 h 6858000"/>
              <a:gd name="connsiteX274" fmla="*/ 5800441 w 7472601"/>
              <a:gd name="connsiteY274" fmla="*/ 6335286 h 6858000"/>
              <a:gd name="connsiteX275" fmla="*/ 5526562 w 7472601"/>
              <a:gd name="connsiteY275" fmla="*/ 5705388 h 6858000"/>
              <a:gd name="connsiteX276" fmla="*/ 5519640 w 7472601"/>
              <a:gd name="connsiteY276" fmla="*/ 5683774 h 6858000"/>
              <a:gd name="connsiteX277" fmla="*/ 5844559 w 7472601"/>
              <a:gd name="connsiteY277" fmla="*/ 6553349 h 6858000"/>
              <a:gd name="connsiteX278" fmla="*/ 5975994 w 7472601"/>
              <a:gd name="connsiteY278" fmla="*/ 6858000 h 6858000"/>
              <a:gd name="connsiteX279" fmla="*/ 5898547 w 7472601"/>
              <a:gd name="connsiteY279" fmla="*/ 6858000 h 6858000"/>
              <a:gd name="connsiteX280" fmla="*/ 5682041 w 7472601"/>
              <a:gd name="connsiteY280" fmla="*/ 6355860 h 6858000"/>
              <a:gd name="connsiteX281" fmla="*/ 5461758 w 7472601"/>
              <a:gd name="connsiteY281" fmla="*/ 5820220 h 6858000"/>
              <a:gd name="connsiteX282" fmla="*/ 5237282 w 7472601"/>
              <a:gd name="connsiteY282" fmla="*/ 6579086 h 6858000"/>
              <a:gd name="connsiteX283" fmla="*/ 5115009 w 7472601"/>
              <a:gd name="connsiteY283" fmla="*/ 6858000 h 6858000"/>
              <a:gd name="connsiteX284" fmla="*/ 5028074 w 7472601"/>
              <a:gd name="connsiteY284" fmla="*/ 6858000 h 6858000"/>
              <a:gd name="connsiteX285" fmla="*/ 5079508 w 7472601"/>
              <a:gd name="connsiteY285" fmla="*/ 6749074 h 6858000"/>
              <a:gd name="connsiteX286" fmla="*/ 5371846 w 7472601"/>
              <a:gd name="connsiteY286" fmla="*/ 5924413 h 6858000"/>
              <a:gd name="connsiteX287" fmla="*/ 5270512 w 7472601"/>
              <a:gd name="connsiteY287" fmla="*/ 6138975 h 6858000"/>
              <a:gd name="connsiteX288" fmla="*/ 5062409 w 7472601"/>
              <a:gd name="connsiteY288" fmla="*/ 6653544 h 6858000"/>
              <a:gd name="connsiteX289" fmla="*/ 5036628 w 7472601"/>
              <a:gd name="connsiteY289" fmla="*/ 6754247 h 6858000"/>
              <a:gd name="connsiteX290" fmla="*/ 5009112 w 7472601"/>
              <a:gd name="connsiteY290" fmla="*/ 6858000 h 6858000"/>
              <a:gd name="connsiteX291" fmla="*/ 4976679 w 7472601"/>
              <a:gd name="connsiteY291" fmla="*/ 6858000 h 6858000"/>
              <a:gd name="connsiteX292" fmla="*/ 5006537 w 7472601"/>
              <a:gd name="connsiteY292" fmla="*/ 6747068 h 6858000"/>
              <a:gd name="connsiteX293" fmla="*/ 5032723 w 7472601"/>
              <a:gd name="connsiteY293" fmla="*/ 6644957 h 6858000"/>
              <a:gd name="connsiteX294" fmla="*/ 5242949 w 7472601"/>
              <a:gd name="connsiteY294" fmla="*/ 6125175 h 6858000"/>
              <a:gd name="connsiteX295" fmla="*/ 5286321 w 7472601"/>
              <a:gd name="connsiteY295" fmla="*/ 6033555 h 6858000"/>
              <a:gd name="connsiteX296" fmla="*/ 5008210 w 7472601"/>
              <a:gd name="connsiteY296" fmla="*/ 6649194 h 6858000"/>
              <a:gd name="connsiteX297" fmla="*/ 4986321 w 7472601"/>
              <a:gd name="connsiteY297" fmla="*/ 6765687 h 6858000"/>
              <a:gd name="connsiteX298" fmla="*/ 4973474 w 7472601"/>
              <a:gd name="connsiteY298" fmla="*/ 6858000 h 6858000"/>
              <a:gd name="connsiteX299" fmla="*/ 4907178 w 7472601"/>
              <a:gd name="connsiteY299" fmla="*/ 6858000 h 6858000"/>
              <a:gd name="connsiteX300" fmla="*/ 4910810 w 7472601"/>
              <a:gd name="connsiteY300" fmla="*/ 6829660 h 6858000"/>
              <a:gd name="connsiteX301" fmla="*/ 4987461 w 7472601"/>
              <a:gd name="connsiteY301" fmla="*/ 6432994 h 6858000"/>
              <a:gd name="connsiteX302" fmla="*/ 5179262 w 7472601"/>
              <a:gd name="connsiteY302" fmla="*/ 6035044 h 6858000"/>
              <a:gd name="connsiteX303" fmla="*/ 4689678 w 7472601"/>
              <a:gd name="connsiteY303" fmla="*/ 6440241 h 6858000"/>
              <a:gd name="connsiteX304" fmla="*/ 4477543 w 7472601"/>
              <a:gd name="connsiteY304" fmla="*/ 6674836 h 6858000"/>
              <a:gd name="connsiteX305" fmla="*/ 4329957 w 7472601"/>
              <a:gd name="connsiteY305" fmla="*/ 6858000 h 6858000"/>
              <a:gd name="connsiteX306" fmla="*/ 4218595 w 7472601"/>
              <a:gd name="connsiteY306" fmla="*/ 6858000 h 6858000"/>
              <a:gd name="connsiteX307" fmla="*/ 4368888 w 7472601"/>
              <a:gd name="connsiteY307" fmla="*/ 6668412 h 6858000"/>
              <a:gd name="connsiteX308" fmla="*/ 4563091 w 7472601"/>
              <a:gd name="connsiteY308" fmla="*/ 6442508 h 6858000"/>
              <a:gd name="connsiteX309" fmla="*/ 5387324 w 7472601"/>
              <a:gd name="connsiteY309" fmla="*/ 5705830 h 6858000"/>
              <a:gd name="connsiteX310" fmla="*/ 5073620 w 7472601"/>
              <a:gd name="connsiteY310" fmla="*/ 5955437 h 6858000"/>
              <a:gd name="connsiteX311" fmla="*/ 4689789 w 7472601"/>
              <a:gd name="connsiteY311" fmla="*/ 6268382 h 6858000"/>
              <a:gd name="connsiteX312" fmla="*/ 4418722 w 7472601"/>
              <a:gd name="connsiteY312" fmla="*/ 6570886 h 6858000"/>
              <a:gd name="connsiteX313" fmla="*/ 4214944 w 7472601"/>
              <a:gd name="connsiteY313" fmla="*/ 6858000 h 6858000"/>
              <a:gd name="connsiteX314" fmla="*/ 4177898 w 7472601"/>
              <a:gd name="connsiteY314" fmla="*/ 6858000 h 6858000"/>
              <a:gd name="connsiteX315" fmla="*/ 4391597 w 7472601"/>
              <a:gd name="connsiteY315" fmla="*/ 6556370 h 6858000"/>
              <a:gd name="connsiteX316" fmla="*/ 4668889 w 7472601"/>
              <a:gd name="connsiteY316" fmla="*/ 6246399 h 6858000"/>
              <a:gd name="connsiteX317" fmla="*/ 5055427 w 7472601"/>
              <a:gd name="connsiteY317" fmla="*/ 5931476 h 6858000"/>
              <a:gd name="connsiteX318" fmla="*/ 5371814 w 7472601"/>
              <a:gd name="connsiteY318" fmla="*/ 5678975 h 6858000"/>
              <a:gd name="connsiteX319" fmla="*/ 4987918 w 7472601"/>
              <a:gd name="connsiteY319" fmla="*/ 5838701 h 6858000"/>
              <a:gd name="connsiteX320" fmla="*/ 4317146 w 7472601"/>
              <a:gd name="connsiteY320" fmla="*/ 6587716 h 6858000"/>
              <a:gd name="connsiteX321" fmla="*/ 4171627 w 7472601"/>
              <a:gd name="connsiteY321" fmla="*/ 6858000 h 6858000"/>
              <a:gd name="connsiteX322" fmla="*/ 4081585 w 7472601"/>
              <a:gd name="connsiteY322" fmla="*/ 6858000 h 6858000"/>
              <a:gd name="connsiteX323" fmla="*/ 4238603 w 7472601"/>
              <a:gd name="connsiteY323" fmla="*/ 6559341 h 6858000"/>
              <a:gd name="connsiteX324" fmla="*/ 4778333 w 7472601"/>
              <a:gd name="connsiteY324" fmla="*/ 5873626 h 6858000"/>
              <a:gd name="connsiteX325" fmla="*/ 5414185 w 7472601"/>
              <a:gd name="connsiteY325" fmla="*/ 5573882 h 6858000"/>
              <a:gd name="connsiteX326" fmla="*/ 5959648 w 7472601"/>
              <a:gd name="connsiteY326" fmla="*/ 4760797 h 6858000"/>
              <a:gd name="connsiteX327" fmla="*/ 5355019 w 7472601"/>
              <a:gd name="connsiteY327" fmla="*/ 4734672 h 6858000"/>
              <a:gd name="connsiteX328" fmla="*/ 5083565 w 7472601"/>
              <a:gd name="connsiteY328" fmla="*/ 5179121 h 6858000"/>
              <a:gd name="connsiteX329" fmla="*/ 4713577 w 7472601"/>
              <a:gd name="connsiteY329" fmla="*/ 5616803 h 6858000"/>
              <a:gd name="connsiteX330" fmla="*/ 3989559 w 7472601"/>
              <a:gd name="connsiteY330" fmla="*/ 6145945 h 6858000"/>
              <a:gd name="connsiteX331" fmla="*/ 3939824 w 7472601"/>
              <a:gd name="connsiteY331" fmla="*/ 6066900 h 6858000"/>
              <a:gd name="connsiteX332" fmla="*/ 4584537 w 7472601"/>
              <a:gd name="connsiteY332" fmla="*/ 5324826 h 6858000"/>
              <a:gd name="connsiteX333" fmla="*/ 5037105 w 7472601"/>
              <a:gd name="connsiteY333" fmla="*/ 5088765 h 6858000"/>
              <a:gd name="connsiteX334" fmla="*/ 5039930 w 7472601"/>
              <a:gd name="connsiteY334" fmla="*/ 5089585 h 6858000"/>
              <a:gd name="connsiteX335" fmla="*/ 5263764 w 7472601"/>
              <a:gd name="connsiteY335" fmla="*/ 4735525 h 6858000"/>
              <a:gd name="connsiteX336" fmla="*/ 4086300 w 7472601"/>
              <a:gd name="connsiteY336" fmla="*/ 4884599 h 6858000"/>
              <a:gd name="connsiteX337" fmla="*/ 4085485 w 7472601"/>
              <a:gd name="connsiteY337" fmla="*/ 4899070 h 6858000"/>
              <a:gd name="connsiteX338" fmla="*/ 3871915 w 7472601"/>
              <a:gd name="connsiteY338" fmla="*/ 5253645 h 6858000"/>
              <a:gd name="connsiteX339" fmla="*/ 3799374 w 7472601"/>
              <a:gd name="connsiteY339" fmla="*/ 5466127 h 6858000"/>
              <a:gd name="connsiteX340" fmla="*/ 3498850 w 7472601"/>
              <a:gd name="connsiteY340" fmla="*/ 6661888 h 6858000"/>
              <a:gd name="connsiteX341" fmla="*/ 3399216 w 7472601"/>
              <a:gd name="connsiteY341" fmla="*/ 6858000 h 6858000"/>
              <a:gd name="connsiteX342" fmla="*/ 3303688 w 7472601"/>
              <a:gd name="connsiteY342" fmla="*/ 6858000 h 6858000"/>
              <a:gd name="connsiteX343" fmla="*/ 3391774 w 7472601"/>
              <a:gd name="connsiteY343" fmla="*/ 6697181 h 6858000"/>
              <a:gd name="connsiteX344" fmla="*/ 3735540 w 7472601"/>
              <a:gd name="connsiteY344" fmla="*/ 5546923 h 6858000"/>
              <a:gd name="connsiteX345" fmla="*/ 3729438 w 7472601"/>
              <a:gd name="connsiteY345" fmla="*/ 5569058 h 6858000"/>
              <a:gd name="connsiteX346" fmla="*/ 3707782 w 7472601"/>
              <a:gd name="connsiteY346" fmla="*/ 5644908 h 6858000"/>
              <a:gd name="connsiteX347" fmla="*/ 3583827 w 7472601"/>
              <a:gd name="connsiteY347" fmla="*/ 6039215 h 6858000"/>
              <a:gd name="connsiteX348" fmla="*/ 3547861 w 7472601"/>
              <a:gd name="connsiteY348" fmla="*/ 6129609 h 6858000"/>
              <a:gd name="connsiteX349" fmla="*/ 3490905 w 7472601"/>
              <a:gd name="connsiteY349" fmla="*/ 6277660 h 6858000"/>
              <a:gd name="connsiteX350" fmla="*/ 3455859 w 7472601"/>
              <a:gd name="connsiteY350" fmla="*/ 6391301 h 6858000"/>
              <a:gd name="connsiteX351" fmla="*/ 3429112 w 7472601"/>
              <a:gd name="connsiteY351" fmla="*/ 6479469 h 6858000"/>
              <a:gd name="connsiteX352" fmla="*/ 3304862 w 7472601"/>
              <a:gd name="connsiteY352" fmla="*/ 6796476 h 6858000"/>
              <a:gd name="connsiteX353" fmla="*/ 3276071 w 7472601"/>
              <a:gd name="connsiteY353" fmla="*/ 6858000 h 6858000"/>
              <a:gd name="connsiteX354" fmla="*/ 3240805 w 7472601"/>
              <a:gd name="connsiteY354" fmla="*/ 6858000 h 6858000"/>
              <a:gd name="connsiteX355" fmla="*/ 3275917 w 7472601"/>
              <a:gd name="connsiteY355" fmla="*/ 6783192 h 6858000"/>
              <a:gd name="connsiteX356" fmla="*/ 3399358 w 7472601"/>
              <a:gd name="connsiteY356" fmla="*/ 6469011 h 6858000"/>
              <a:gd name="connsiteX357" fmla="*/ 3425650 w 7472601"/>
              <a:gd name="connsiteY357" fmla="*/ 6381333 h 6858000"/>
              <a:gd name="connsiteX358" fmla="*/ 3460661 w 7472601"/>
              <a:gd name="connsiteY358" fmla="*/ 6266763 h 6858000"/>
              <a:gd name="connsiteX359" fmla="*/ 3518021 w 7472601"/>
              <a:gd name="connsiteY359" fmla="*/ 6117298 h 6858000"/>
              <a:gd name="connsiteX360" fmla="*/ 3554035 w 7472601"/>
              <a:gd name="connsiteY360" fmla="*/ 6027832 h 6858000"/>
              <a:gd name="connsiteX361" fmla="*/ 3677174 w 7472601"/>
              <a:gd name="connsiteY361" fmla="*/ 5636351 h 6858000"/>
              <a:gd name="connsiteX362" fmla="*/ 3698819 w 7472601"/>
              <a:gd name="connsiteY362" fmla="*/ 5560503 h 6858000"/>
              <a:gd name="connsiteX363" fmla="*/ 3702094 w 7472601"/>
              <a:gd name="connsiteY363" fmla="*/ 5549194 h 6858000"/>
              <a:gd name="connsiteX364" fmla="*/ 3398355 w 7472601"/>
              <a:gd name="connsiteY364" fmla="*/ 6094603 h 6858000"/>
              <a:gd name="connsiteX365" fmla="*/ 3193941 w 7472601"/>
              <a:gd name="connsiteY365" fmla="*/ 6798775 h 6858000"/>
              <a:gd name="connsiteX366" fmla="*/ 3184140 w 7472601"/>
              <a:gd name="connsiteY366" fmla="*/ 6858000 h 6858000"/>
              <a:gd name="connsiteX367" fmla="*/ 3099978 w 7472601"/>
              <a:gd name="connsiteY367" fmla="*/ 6858000 h 6858000"/>
              <a:gd name="connsiteX368" fmla="*/ 3101556 w 7472601"/>
              <a:gd name="connsiteY368" fmla="*/ 6843337 h 6858000"/>
              <a:gd name="connsiteX369" fmla="*/ 3370162 w 7472601"/>
              <a:gd name="connsiteY369" fmla="*/ 5785550 h 6858000"/>
              <a:gd name="connsiteX370" fmla="*/ 3746477 w 7472601"/>
              <a:gd name="connsiteY370" fmla="*/ 5377889 h 6858000"/>
              <a:gd name="connsiteX371" fmla="*/ 3863399 w 7472601"/>
              <a:gd name="connsiteY371" fmla="*/ 5087257 h 6858000"/>
              <a:gd name="connsiteX372" fmla="*/ 3968712 w 7472601"/>
              <a:gd name="connsiteY372" fmla="*/ 4913989 h 6858000"/>
              <a:gd name="connsiteX373" fmla="*/ 2792390 w 7472601"/>
              <a:gd name="connsiteY373" fmla="*/ 5382974 h 6858000"/>
              <a:gd name="connsiteX374" fmla="*/ 2714982 w 7472601"/>
              <a:gd name="connsiteY374" fmla="*/ 5427051 h 6858000"/>
              <a:gd name="connsiteX375" fmla="*/ 2813361 w 7472601"/>
              <a:gd name="connsiteY375" fmla="*/ 6023912 h 6858000"/>
              <a:gd name="connsiteX376" fmla="*/ 2688430 w 7472601"/>
              <a:gd name="connsiteY376" fmla="*/ 6801564 h 6858000"/>
              <a:gd name="connsiteX377" fmla="*/ 2629626 w 7472601"/>
              <a:gd name="connsiteY377" fmla="*/ 6763394 h 6858000"/>
              <a:gd name="connsiteX378" fmla="*/ 2565328 w 7472601"/>
              <a:gd name="connsiteY378" fmla="*/ 5516399 h 6858000"/>
              <a:gd name="connsiteX379" fmla="*/ 1922999 w 7472601"/>
              <a:gd name="connsiteY379" fmla="*/ 5980343 h 6858000"/>
              <a:gd name="connsiteX380" fmla="*/ 1950261 w 7472601"/>
              <a:gd name="connsiteY380" fmla="*/ 6405858 h 6858000"/>
              <a:gd name="connsiteX381" fmla="*/ 2365554 w 7472601"/>
              <a:gd name="connsiteY381" fmla="*/ 6759107 h 6858000"/>
              <a:gd name="connsiteX382" fmla="*/ 2424142 w 7472601"/>
              <a:gd name="connsiteY382" fmla="*/ 6858000 h 6858000"/>
              <a:gd name="connsiteX383" fmla="*/ 2395994 w 7472601"/>
              <a:gd name="connsiteY383" fmla="*/ 6858000 h 6858000"/>
              <a:gd name="connsiteX384" fmla="*/ 2392863 w 7472601"/>
              <a:gd name="connsiteY384" fmla="*/ 6852964 h 6858000"/>
              <a:gd name="connsiteX385" fmla="*/ 2017589 w 7472601"/>
              <a:gd name="connsiteY385" fmla="*/ 6493982 h 6858000"/>
              <a:gd name="connsiteX386" fmla="*/ 2147336 w 7472601"/>
              <a:gd name="connsiteY386" fmla="*/ 6594052 h 6858000"/>
              <a:gd name="connsiteX387" fmla="*/ 2207047 w 7472601"/>
              <a:gd name="connsiteY387" fmla="*/ 6654540 h 6858000"/>
              <a:gd name="connsiteX388" fmla="*/ 2299106 w 7472601"/>
              <a:gd name="connsiteY388" fmla="*/ 6778931 h 6858000"/>
              <a:gd name="connsiteX389" fmla="*/ 2314430 w 7472601"/>
              <a:gd name="connsiteY389" fmla="*/ 6801144 h 6858000"/>
              <a:gd name="connsiteX390" fmla="*/ 2352406 w 7472601"/>
              <a:gd name="connsiteY390" fmla="*/ 6858000 h 6858000"/>
              <a:gd name="connsiteX391" fmla="*/ 2314492 w 7472601"/>
              <a:gd name="connsiteY391" fmla="*/ 6858000 h 6858000"/>
              <a:gd name="connsiteX392" fmla="*/ 2288095 w 7472601"/>
              <a:gd name="connsiteY392" fmla="*/ 6818030 h 6858000"/>
              <a:gd name="connsiteX393" fmla="*/ 2272768 w 7472601"/>
              <a:gd name="connsiteY393" fmla="*/ 6795822 h 6858000"/>
              <a:gd name="connsiteX394" fmla="*/ 2182715 w 7472601"/>
              <a:gd name="connsiteY394" fmla="*/ 6675071 h 6858000"/>
              <a:gd name="connsiteX395" fmla="*/ 2032061 w 7472601"/>
              <a:gd name="connsiteY395" fmla="*/ 6541380 h 6858000"/>
              <a:gd name="connsiteX396" fmla="*/ 2257220 w 7472601"/>
              <a:gd name="connsiteY396" fmla="*/ 6826257 h 6858000"/>
              <a:gd name="connsiteX397" fmla="*/ 2281324 w 7472601"/>
              <a:gd name="connsiteY397" fmla="*/ 6858000 h 6858000"/>
              <a:gd name="connsiteX398" fmla="*/ 2242860 w 7472601"/>
              <a:gd name="connsiteY398" fmla="*/ 6858000 h 6858000"/>
              <a:gd name="connsiteX399" fmla="*/ 2232818 w 7472601"/>
              <a:gd name="connsiteY399" fmla="*/ 6844926 h 6858000"/>
              <a:gd name="connsiteX400" fmla="*/ 1990172 w 7472601"/>
              <a:gd name="connsiteY400" fmla="*/ 6542121 h 6858000"/>
              <a:gd name="connsiteX401" fmla="*/ 2124090 w 7472601"/>
              <a:gd name="connsiteY401" fmla="*/ 6761017 h 6858000"/>
              <a:gd name="connsiteX402" fmla="*/ 2200380 w 7472601"/>
              <a:gd name="connsiteY402" fmla="*/ 6858000 h 6858000"/>
              <a:gd name="connsiteX403" fmla="*/ 2147507 w 7472601"/>
              <a:gd name="connsiteY403" fmla="*/ 6858000 h 6858000"/>
              <a:gd name="connsiteX404" fmla="*/ 2070668 w 7472601"/>
              <a:gd name="connsiteY404" fmla="*/ 6761520 h 6858000"/>
              <a:gd name="connsiteX405" fmla="*/ 1975142 w 7472601"/>
              <a:gd name="connsiteY405" fmla="*/ 6585570 h 6858000"/>
              <a:gd name="connsiteX406" fmla="*/ 2050035 w 7472601"/>
              <a:gd name="connsiteY406" fmla="*/ 6813345 h 6858000"/>
              <a:gd name="connsiteX407" fmla="*/ 2063025 w 7472601"/>
              <a:gd name="connsiteY407" fmla="*/ 6858000 h 6858000"/>
              <a:gd name="connsiteX408" fmla="*/ 2021675 w 7472601"/>
              <a:gd name="connsiteY408" fmla="*/ 6858000 h 6858000"/>
              <a:gd name="connsiteX409" fmla="*/ 2019308 w 7472601"/>
              <a:gd name="connsiteY409" fmla="*/ 6847118 h 6858000"/>
              <a:gd name="connsiteX410" fmla="*/ 1938835 w 7472601"/>
              <a:gd name="connsiteY410" fmla="*/ 6551160 h 6858000"/>
              <a:gd name="connsiteX411" fmla="*/ 1953230 w 7472601"/>
              <a:gd name="connsiteY411" fmla="*/ 6759699 h 6858000"/>
              <a:gd name="connsiteX412" fmla="*/ 1956763 w 7472601"/>
              <a:gd name="connsiteY412" fmla="*/ 6778191 h 6858000"/>
              <a:gd name="connsiteX413" fmla="*/ 1967925 w 7472601"/>
              <a:gd name="connsiteY413" fmla="*/ 6858000 h 6858000"/>
              <a:gd name="connsiteX414" fmla="*/ 1936622 w 7472601"/>
              <a:gd name="connsiteY414" fmla="*/ 6858000 h 6858000"/>
              <a:gd name="connsiteX415" fmla="*/ 1926261 w 7472601"/>
              <a:gd name="connsiteY415" fmla="*/ 6784064 h 6858000"/>
              <a:gd name="connsiteX416" fmla="*/ 1922724 w 7472601"/>
              <a:gd name="connsiteY416" fmla="*/ 6765577 h 6858000"/>
              <a:gd name="connsiteX417" fmla="*/ 1904650 w 7472601"/>
              <a:gd name="connsiteY417" fmla="*/ 6639616 h 6858000"/>
              <a:gd name="connsiteX418" fmla="*/ 1885273 w 7472601"/>
              <a:gd name="connsiteY418" fmla="*/ 6858000 h 6858000"/>
              <a:gd name="connsiteX419" fmla="*/ 1854363 w 7472601"/>
              <a:gd name="connsiteY419" fmla="*/ 6858000 h 6858000"/>
              <a:gd name="connsiteX420" fmla="*/ 1880391 w 7472601"/>
              <a:gd name="connsiteY420" fmla="*/ 6603796 h 6858000"/>
              <a:gd name="connsiteX421" fmla="*/ 1818273 w 7472601"/>
              <a:gd name="connsiteY421" fmla="*/ 6715729 h 6858000"/>
              <a:gd name="connsiteX422" fmla="*/ 1794691 w 7472601"/>
              <a:gd name="connsiteY422" fmla="*/ 6843239 h 6858000"/>
              <a:gd name="connsiteX423" fmla="*/ 1794914 w 7472601"/>
              <a:gd name="connsiteY423" fmla="*/ 6858000 h 6858000"/>
              <a:gd name="connsiteX424" fmla="*/ 1746128 w 7472601"/>
              <a:gd name="connsiteY424" fmla="*/ 6858000 h 6858000"/>
              <a:gd name="connsiteX425" fmla="*/ 1753934 w 7472601"/>
              <a:gd name="connsiteY425" fmla="*/ 6724796 h 6858000"/>
              <a:gd name="connsiteX426" fmla="*/ 1792053 w 7472601"/>
              <a:gd name="connsiteY426" fmla="*/ 6572396 h 6858000"/>
              <a:gd name="connsiteX427" fmla="*/ 1862248 w 7472601"/>
              <a:gd name="connsiteY427" fmla="*/ 6266397 h 6858000"/>
              <a:gd name="connsiteX428" fmla="*/ 1862250 w 7472601"/>
              <a:gd name="connsiteY428" fmla="*/ 6033531 h 6858000"/>
              <a:gd name="connsiteX429" fmla="*/ 1211999 w 7472601"/>
              <a:gd name="connsiteY429" fmla="*/ 6683610 h 6858000"/>
              <a:gd name="connsiteX430" fmla="*/ 1213266 w 7472601"/>
              <a:gd name="connsiteY430" fmla="*/ 6691947 h 6858000"/>
              <a:gd name="connsiteX431" fmla="*/ 1203370 w 7472601"/>
              <a:gd name="connsiteY431" fmla="*/ 6850676 h 6858000"/>
              <a:gd name="connsiteX432" fmla="*/ 1203671 w 7472601"/>
              <a:gd name="connsiteY432" fmla="*/ 6858000 h 6858000"/>
              <a:gd name="connsiteX433" fmla="*/ 1143180 w 7472601"/>
              <a:gd name="connsiteY433" fmla="*/ 6858000 h 6858000"/>
              <a:gd name="connsiteX434" fmla="*/ 1142176 w 7472601"/>
              <a:gd name="connsiteY434" fmla="*/ 6766045 h 6858000"/>
              <a:gd name="connsiteX435" fmla="*/ 1067484 w 7472601"/>
              <a:gd name="connsiteY435" fmla="*/ 6858000 h 6858000"/>
              <a:gd name="connsiteX436" fmla="*/ 953928 w 7472601"/>
              <a:gd name="connsiteY436" fmla="*/ 6858000 h 6858000"/>
              <a:gd name="connsiteX437" fmla="*/ 959715 w 7472601"/>
              <a:gd name="connsiteY437" fmla="*/ 6850185 h 6858000"/>
              <a:gd name="connsiteX438" fmla="*/ 1483788 w 7472601"/>
              <a:gd name="connsiteY438" fmla="*/ 6259174 h 6858000"/>
              <a:gd name="connsiteX439" fmla="*/ 1100671 w 7472601"/>
              <a:gd name="connsiteY439" fmla="*/ 6252137 h 6858000"/>
              <a:gd name="connsiteX440" fmla="*/ 1090144 w 7472601"/>
              <a:gd name="connsiteY440" fmla="*/ 6256748 h 6858000"/>
              <a:gd name="connsiteX441" fmla="*/ 1095872 w 7472601"/>
              <a:gd name="connsiteY441" fmla="*/ 6271892 h 6858000"/>
              <a:gd name="connsiteX442" fmla="*/ 262785 w 7472601"/>
              <a:gd name="connsiteY442" fmla="*/ 6845450 h 6858000"/>
              <a:gd name="connsiteX443" fmla="*/ 209968 w 7472601"/>
              <a:gd name="connsiteY443" fmla="*/ 6770713 h 6858000"/>
              <a:gd name="connsiteX444" fmla="*/ 873460 w 7472601"/>
              <a:gd name="connsiteY444" fmla="*/ 6253768 h 6858000"/>
              <a:gd name="connsiteX445" fmla="*/ 192686 w 7472601"/>
              <a:gd name="connsiteY445" fmla="*/ 5849257 h 6858000"/>
              <a:gd name="connsiteX446" fmla="*/ 4696 w 7472601"/>
              <a:gd name="connsiteY446" fmla="*/ 5697668 h 6858000"/>
              <a:gd name="connsiteX447" fmla="*/ 0 w 7472601"/>
              <a:gd name="connsiteY447" fmla="*/ 5689984 h 6858000"/>
              <a:gd name="connsiteX448" fmla="*/ 0 w 7472601"/>
              <a:gd name="connsiteY448" fmla="*/ 5513472 h 6858000"/>
              <a:gd name="connsiteX449" fmla="*/ 174101 w 7472601"/>
              <a:gd name="connsiteY449" fmla="*/ 5620277 h 6858000"/>
              <a:gd name="connsiteX450" fmla="*/ 891800 w 7472601"/>
              <a:gd name="connsiteY450" fmla="*/ 6036935 h 6858000"/>
              <a:gd name="connsiteX451" fmla="*/ 1072219 w 7472601"/>
              <a:gd name="connsiteY451" fmla="*/ 6169443 h 6858000"/>
              <a:gd name="connsiteX452" fmla="*/ 1074117 w 7472601"/>
              <a:gd name="connsiteY452" fmla="*/ 6170301 h 6858000"/>
              <a:gd name="connsiteX453" fmla="*/ 1083114 w 7472601"/>
              <a:gd name="connsiteY453" fmla="*/ 6174131 h 6858000"/>
              <a:gd name="connsiteX454" fmla="*/ 1543010 w 7472601"/>
              <a:gd name="connsiteY454" fmla="*/ 6191140 h 6858000"/>
              <a:gd name="connsiteX455" fmla="*/ 1551080 w 7472601"/>
              <a:gd name="connsiteY455" fmla="*/ 6195006 h 6858000"/>
              <a:gd name="connsiteX456" fmla="*/ 2345443 w 7472601"/>
              <a:gd name="connsiteY456" fmla="*/ 5549882 h 6858000"/>
              <a:gd name="connsiteX457" fmla="*/ 1721499 w 7472601"/>
              <a:gd name="connsiteY457" fmla="*/ 5599969 h 6858000"/>
              <a:gd name="connsiteX458" fmla="*/ 767716 w 7472601"/>
              <a:gd name="connsiteY458" fmla="*/ 5472768 h 6858000"/>
              <a:gd name="connsiteX459" fmla="*/ 722147 w 7472601"/>
              <a:gd name="connsiteY459" fmla="*/ 5393091 h 6858000"/>
              <a:gd name="connsiteX460" fmla="*/ 1485552 w 7472601"/>
              <a:gd name="connsiteY460" fmla="*/ 5313202 h 6858000"/>
              <a:gd name="connsiteX461" fmla="*/ 2143004 w 7472601"/>
              <a:gd name="connsiteY461" fmla="*/ 5402420 h 6858000"/>
              <a:gd name="connsiteX462" fmla="*/ 1933391 w 7472601"/>
              <a:gd name="connsiteY462" fmla="*/ 5156971 h 6858000"/>
              <a:gd name="connsiteX463" fmla="*/ 1827118 w 7472601"/>
              <a:gd name="connsiteY463" fmla="*/ 4968410 h 6858000"/>
              <a:gd name="connsiteX464" fmla="*/ 1837349 w 7472601"/>
              <a:gd name="connsiteY464" fmla="*/ 4956357 h 6858000"/>
              <a:gd name="connsiteX465" fmla="*/ 2162835 w 7472601"/>
              <a:gd name="connsiteY465" fmla="*/ 5187853 h 6858000"/>
              <a:gd name="connsiteX466" fmla="*/ 2257167 w 7472601"/>
              <a:gd name="connsiteY466" fmla="*/ 5462123 h 6858000"/>
              <a:gd name="connsiteX467" fmla="*/ 2261598 w 7472601"/>
              <a:gd name="connsiteY467" fmla="*/ 5467998 h 6858000"/>
              <a:gd name="connsiteX468" fmla="*/ 2437177 w 7472601"/>
              <a:gd name="connsiteY468" fmla="*/ 5479608 h 6858000"/>
              <a:gd name="connsiteX469" fmla="*/ 2445247 w 7472601"/>
              <a:gd name="connsiteY469" fmla="*/ 5483476 h 6858000"/>
              <a:gd name="connsiteX470" fmla="*/ 2743626 w 7472601"/>
              <a:gd name="connsiteY470" fmla="*/ 5304819 h 6858000"/>
              <a:gd name="connsiteX471" fmla="*/ 3048102 w 7472601"/>
              <a:gd name="connsiteY471" fmla="*/ 5150595 h 6858000"/>
              <a:gd name="connsiteX472" fmla="*/ 1799414 w 7472601"/>
              <a:gd name="connsiteY472" fmla="*/ 4694732 h 6858000"/>
              <a:gd name="connsiteX473" fmla="*/ 1771735 w 7472601"/>
              <a:gd name="connsiteY473" fmla="*/ 4619929 h 6858000"/>
              <a:gd name="connsiteX474" fmla="*/ 3104273 w 7472601"/>
              <a:gd name="connsiteY474" fmla="*/ 5076159 h 6858000"/>
              <a:gd name="connsiteX475" fmla="*/ 3113245 w 7472601"/>
              <a:gd name="connsiteY475" fmla="*/ 5090705 h 6858000"/>
              <a:gd name="connsiteX476" fmla="*/ 3126294 w 7472601"/>
              <a:gd name="connsiteY476" fmla="*/ 5114400 h 6858000"/>
              <a:gd name="connsiteX477" fmla="*/ 3937433 w 7472601"/>
              <a:gd name="connsiteY477" fmla="*/ 4830473 h 6858000"/>
              <a:gd name="connsiteX478" fmla="*/ 3590475 w 7472601"/>
              <a:gd name="connsiteY478" fmla="*/ 4597974 h 6858000"/>
              <a:gd name="connsiteX479" fmla="*/ 3100264 w 7472601"/>
              <a:gd name="connsiteY479" fmla="*/ 4579845 h 6858000"/>
              <a:gd name="connsiteX480" fmla="*/ 2183576 w 7472601"/>
              <a:gd name="connsiteY480" fmla="*/ 4227150 h 6858000"/>
              <a:gd name="connsiteX481" fmla="*/ 2151029 w 7472601"/>
              <a:gd name="connsiteY481" fmla="*/ 4146947 h 6858000"/>
              <a:gd name="connsiteX482" fmla="*/ 3563434 w 7472601"/>
              <a:gd name="connsiteY482" fmla="*/ 4469115 h 6858000"/>
              <a:gd name="connsiteX483" fmla="*/ 3177952 w 7472601"/>
              <a:gd name="connsiteY483" fmla="*/ 3657386 h 6858000"/>
              <a:gd name="connsiteX484" fmla="*/ 3189263 w 7472601"/>
              <a:gd name="connsiteY484" fmla="*/ 3625726 h 6858000"/>
              <a:gd name="connsiteX485" fmla="*/ 3560912 w 7472601"/>
              <a:gd name="connsiteY485" fmla="*/ 4079863 h 6858000"/>
              <a:gd name="connsiteX486" fmla="*/ 3626636 w 7472601"/>
              <a:gd name="connsiteY486" fmla="*/ 4512230 h 6858000"/>
              <a:gd name="connsiteX487" fmla="*/ 3653088 w 7472601"/>
              <a:gd name="connsiteY487" fmla="*/ 4521417 h 6858000"/>
              <a:gd name="connsiteX488" fmla="*/ 3988128 w 7472601"/>
              <a:gd name="connsiteY488" fmla="*/ 4817267 h 6858000"/>
              <a:gd name="connsiteX489" fmla="*/ 4830582 w 7472601"/>
              <a:gd name="connsiteY489" fmla="*/ 4676000 h 6858000"/>
              <a:gd name="connsiteX490" fmla="*/ 4830100 w 7472601"/>
              <a:gd name="connsiteY490" fmla="*/ 4675554 h 6858000"/>
              <a:gd name="connsiteX491" fmla="*/ 4036318 w 7472601"/>
              <a:gd name="connsiteY491" fmla="*/ 4147013 h 6858000"/>
              <a:gd name="connsiteX492" fmla="*/ 3432098 w 7472601"/>
              <a:gd name="connsiteY492" fmla="*/ 3537312 h 6858000"/>
              <a:gd name="connsiteX493" fmla="*/ 3446761 w 7472601"/>
              <a:gd name="connsiteY493" fmla="*/ 3461278 h 6858000"/>
              <a:gd name="connsiteX494" fmla="*/ 4419733 w 7472601"/>
              <a:gd name="connsiteY494" fmla="*/ 3963555 h 6858000"/>
              <a:gd name="connsiteX495" fmla="*/ 4781371 w 7472601"/>
              <a:gd name="connsiteY495" fmla="*/ 4458604 h 6858000"/>
              <a:gd name="connsiteX496" fmla="*/ 4780440 w 7472601"/>
              <a:gd name="connsiteY496" fmla="*/ 4470290 h 6858000"/>
              <a:gd name="connsiteX497" fmla="*/ 4898954 w 7472601"/>
              <a:gd name="connsiteY497" fmla="*/ 4662092 h 6858000"/>
              <a:gd name="connsiteX498" fmla="*/ 4900699 w 7472601"/>
              <a:gd name="connsiteY498" fmla="*/ 4670867 h 6858000"/>
              <a:gd name="connsiteX499" fmla="*/ 5714511 w 7472601"/>
              <a:gd name="connsiteY499" fmla="*/ 4663483 h 6858000"/>
              <a:gd name="connsiteX500" fmla="*/ 5464793 w 7472601"/>
              <a:gd name="connsiteY500" fmla="*/ 4393556 h 6858000"/>
              <a:gd name="connsiteX501" fmla="*/ 5461897 w 7472601"/>
              <a:gd name="connsiteY501" fmla="*/ 4390879 h 6858000"/>
              <a:gd name="connsiteX502" fmla="*/ 4294126 w 7472601"/>
              <a:gd name="connsiteY502" fmla="*/ 3303048 h 6858000"/>
              <a:gd name="connsiteX503" fmla="*/ 4305321 w 7472601"/>
              <a:gd name="connsiteY503" fmla="*/ 3256953 h 6858000"/>
              <a:gd name="connsiteX504" fmla="*/ 4949299 w 7472601"/>
              <a:gd name="connsiteY504" fmla="*/ 3766336 h 6858000"/>
              <a:gd name="connsiteX505" fmla="*/ 5291452 w 7472601"/>
              <a:gd name="connsiteY505" fmla="*/ 4076801 h 6858000"/>
              <a:gd name="connsiteX506" fmla="*/ 5434998 w 7472601"/>
              <a:gd name="connsiteY506" fmla="*/ 4254100 h 6858000"/>
              <a:gd name="connsiteX507" fmla="*/ 5351015 w 7472601"/>
              <a:gd name="connsiteY507" fmla="*/ 3760989 h 6858000"/>
              <a:gd name="connsiteX508" fmla="*/ 5413780 w 7472601"/>
              <a:gd name="connsiteY508" fmla="*/ 2966265 h 6858000"/>
              <a:gd name="connsiteX509" fmla="*/ 5425627 w 7472601"/>
              <a:gd name="connsiteY509" fmla="*/ 2954192 h 6858000"/>
              <a:gd name="connsiteX510" fmla="*/ 6604735 w 7472601"/>
              <a:gd name="connsiteY510" fmla="*/ 2041381 h 6858000"/>
              <a:gd name="connsiteX511" fmla="*/ 7204487 w 7472601"/>
              <a:gd name="connsiteY511" fmla="*/ 2742112 h 6858000"/>
              <a:gd name="connsiteX512" fmla="*/ 7131592 w 7472601"/>
              <a:gd name="connsiteY512" fmla="*/ 2672096 h 6858000"/>
              <a:gd name="connsiteX513" fmla="*/ 6996344 w 7472601"/>
              <a:gd name="connsiteY513" fmla="*/ 2518310 h 6858000"/>
              <a:gd name="connsiteX514" fmla="*/ 6735495 w 7472601"/>
              <a:gd name="connsiteY514" fmla="*/ 2196890 h 6858000"/>
              <a:gd name="connsiteX515" fmla="*/ 6721901 w 7472601"/>
              <a:gd name="connsiteY515" fmla="*/ 2179274 h 6858000"/>
              <a:gd name="connsiteX516" fmla="*/ 6604735 w 7472601"/>
              <a:gd name="connsiteY516" fmla="*/ 2041381 h 6858000"/>
              <a:gd name="connsiteX517" fmla="*/ 6591670 w 7472601"/>
              <a:gd name="connsiteY517" fmla="*/ 1988277 h 6858000"/>
              <a:gd name="connsiteX518" fmla="*/ 6747349 w 7472601"/>
              <a:gd name="connsiteY518" fmla="*/ 2160069 h 6858000"/>
              <a:gd name="connsiteX519" fmla="*/ 6760943 w 7472601"/>
              <a:gd name="connsiteY519" fmla="*/ 2177686 h 6858000"/>
              <a:gd name="connsiteX520" fmla="*/ 7021065 w 7472601"/>
              <a:gd name="connsiteY520" fmla="*/ 2498102 h 6858000"/>
              <a:gd name="connsiteX521" fmla="*/ 7155223 w 7472601"/>
              <a:gd name="connsiteY521" fmla="*/ 2650386 h 6858000"/>
              <a:gd name="connsiteX522" fmla="*/ 7203167 w 7472601"/>
              <a:gd name="connsiteY522" fmla="*/ 2697288 h 6858000"/>
              <a:gd name="connsiteX523" fmla="*/ 6937703 w 7472601"/>
              <a:gd name="connsiteY523" fmla="*/ 2321981 h 6858000"/>
              <a:gd name="connsiteX524" fmla="*/ 6591670 w 7472601"/>
              <a:gd name="connsiteY524" fmla="*/ 1988277 h 6858000"/>
              <a:gd name="connsiteX525" fmla="*/ 5798671 w 7472601"/>
              <a:gd name="connsiteY525" fmla="*/ 1981601 h 6858000"/>
              <a:gd name="connsiteX526" fmla="*/ 5754709 w 7472601"/>
              <a:gd name="connsiteY526" fmla="*/ 2071454 h 6858000"/>
              <a:gd name="connsiteX527" fmla="*/ 5763044 w 7472601"/>
              <a:gd name="connsiteY527" fmla="*/ 2842206 h 6858000"/>
              <a:gd name="connsiteX528" fmla="*/ 5764974 w 7472601"/>
              <a:gd name="connsiteY528" fmla="*/ 2799609 h 6858000"/>
              <a:gd name="connsiteX529" fmla="*/ 5767665 w 7472601"/>
              <a:gd name="connsiteY529" fmla="*/ 2666409 h 6858000"/>
              <a:gd name="connsiteX530" fmla="*/ 5763055 w 7472601"/>
              <a:gd name="connsiteY530" fmla="*/ 2579705 h 6858000"/>
              <a:gd name="connsiteX531" fmla="*/ 5758079 w 7472601"/>
              <a:gd name="connsiteY531" fmla="*/ 2492508 h 6858000"/>
              <a:gd name="connsiteX532" fmla="*/ 5779325 w 7472601"/>
              <a:gd name="connsiteY532" fmla="*/ 2197069 h 6858000"/>
              <a:gd name="connsiteX533" fmla="*/ 5798671 w 7472601"/>
              <a:gd name="connsiteY533" fmla="*/ 1981601 h 6858000"/>
              <a:gd name="connsiteX534" fmla="*/ 5829202 w 7472601"/>
              <a:gd name="connsiteY534" fmla="*/ 1971679 h 6858000"/>
              <a:gd name="connsiteX535" fmla="*/ 5809558 w 7472601"/>
              <a:gd name="connsiteY535" fmla="*/ 2198043 h 6858000"/>
              <a:gd name="connsiteX536" fmla="*/ 5788653 w 7472601"/>
              <a:gd name="connsiteY536" fmla="*/ 2489430 h 6858000"/>
              <a:gd name="connsiteX537" fmla="*/ 5793439 w 7472601"/>
              <a:gd name="connsiteY537" fmla="*/ 2575235 h 6858000"/>
              <a:gd name="connsiteX538" fmla="*/ 5796837 w 7472601"/>
              <a:gd name="connsiteY538" fmla="*/ 2637633 h 6858000"/>
              <a:gd name="connsiteX539" fmla="*/ 5818614 w 7472601"/>
              <a:gd name="connsiteY539" fmla="*/ 2473055 h 6858000"/>
              <a:gd name="connsiteX540" fmla="*/ 5829202 w 7472601"/>
              <a:gd name="connsiteY540" fmla="*/ 1971679 h 6858000"/>
              <a:gd name="connsiteX541" fmla="*/ 5911389 w 7472601"/>
              <a:gd name="connsiteY541" fmla="*/ 1898371 h 6858000"/>
              <a:gd name="connsiteX542" fmla="*/ 6237627 w 7472601"/>
              <a:gd name="connsiteY542" fmla="*/ 2231921 h 6858000"/>
              <a:gd name="connsiteX543" fmla="*/ 5911389 w 7472601"/>
              <a:gd name="connsiteY543" fmla="*/ 1898371 h 6858000"/>
              <a:gd name="connsiteX544" fmla="*/ 6944437 w 7472601"/>
              <a:gd name="connsiteY544" fmla="*/ 1575402 h 6858000"/>
              <a:gd name="connsiteX545" fmla="*/ 6304730 w 7472601"/>
              <a:gd name="connsiteY545" fmla="*/ 1766654 h 6858000"/>
              <a:gd name="connsiteX546" fmla="*/ 6944437 w 7472601"/>
              <a:gd name="connsiteY546" fmla="*/ 1575402 h 6858000"/>
              <a:gd name="connsiteX547" fmla="*/ 7019523 w 7472601"/>
              <a:gd name="connsiteY547" fmla="*/ 1519450 h 6858000"/>
              <a:gd name="connsiteX548" fmla="*/ 6298091 w 7472601"/>
              <a:gd name="connsiteY548" fmla="*/ 1737122 h 6858000"/>
              <a:gd name="connsiteX549" fmla="*/ 7019523 w 7472601"/>
              <a:gd name="connsiteY549" fmla="*/ 1519450 h 6858000"/>
              <a:gd name="connsiteX550" fmla="*/ 2399523 w 7472601"/>
              <a:gd name="connsiteY550" fmla="*/ 1428234 h 6858000"/>
              <a:gd name="connsiteX551" fmla="*/ 2224982 w 7472601"/>
              <a:gd name="connsiteY551" fmla="*/ 1826201 h 6858000"/>
              <a:gd name="connsiteX552" fmla="*/ 2096099 w 7472601"/>
              <a:gd name="connsiteY552" fmla="*/ 2345900 h 6858000"/>
              <a:gd name="connsiteX553" fmla="*/ 2283317 w 7472601"/>
              <a:gd name="connsiteY553" fmla="*/ 1796925 h 6858000"/>
              <a:gd name="connsiteX554" fmla="*/ 2399523 w 7472601"/>
              <a:gd name="connsiteY554" fmla="*/ 1428234 h 6858000"/>
              <a:gd name="connsiteX555" fmla="*/ 2448558 w 7472601"/>
              <a:gd name="connsiteY555" fmla="*/ 1373435 h 6858000"/>
              <a:gd name="connsiteX556" fmla="*/ 2312521 w 7472601"/>
              <a:gd name="connsiteY556" fmla="*/ 1806140 h 6858000"/>
              <a:gd name="connsiteX557" fmla="*/ 2127533 w 7472601"/>
              <a:gd name="connsiteY557" fmla="*/ 2348380 h 6858000"/>
              <a:gd name="connsiteX558" fmla="*/ 2358080 w 7472601"/>
              <a:gd name="connsiteY558" fmla="*/ 1866134 h 6858000"/>
              <a:gd name="connsiteX559" fmla="*/ 2407436 w 7472601"/>
              <a:gd name="connsiteY559" fmla="*/ 1651070 h 6858000"/>
              <a:gd name="connsiteX560" fmla="*/ 2448558 w 7472601"/>
              <a:gd name="connsiteY560" fmla="*/ 1373435 h 6858000"/>
              <a:gd name="connsiteX561" fmla="*/ 278707 w 7472601"/>
              <a:gd name="connsiteY561" fmla="*/ 1352270 h 6858000"/>
              <a:gd name="connsiteX562" fmla="*/ 321570 w 7472601"/>
              <a:gd name="connsiteY562" fmla="*/ 1861610 h 6858000"/>
              <a:gd name="connsiteX563" fmla="*/ 294281 w 7472601"/>
              <a:gd name="connsiteY563" fmla="*/ 1440658 h 6858000"/>
              <a:gd name="connsiteX564" fmla="*/ 278707 w 7472601"/>
              <a:gd name="connsiteY564" fmla="*/ 1352270 h 6858000"/>
              <a:gd name="connsiteX565" fmla="*/ 1423821 w 7472601"/>
              <a:gd name="connsiteY565" fmla="*/ 1351958 h 6858000"/>
              <a:gd name="connsiteX566" fmla="*/ 1638521 w 7472601"/>
              <a:gd name="connsiteY566" fmla="*/ 1908470 h 6858000"/>
              <a:gd name="connsiteX567" fmla="*/ 1754199 w 7472601"/>
              <a:gd name="connsiteY567" fmla="*/ 2149284 h 6858000"/>
              <a:gd name="connsiteX568" fmla="*/ 1908359 w 7472601"/>
              <a:gd name="connsiteY568" fmla="*/ 2364988 h 6858000"/>
              <a:gd name="connsiteX569" fmla="*/ 1647661 w 7472601"/>
              <a:gd name="connsiteY569" fmla="*/ 1825945 h 6858000"/>
              <a:gd name="connsiteX570" fmla="*/ 1423821 w 7472601"/>
              <a:gd name="connsiteY570" fmla="*/ 1351958 h 6858000"/>
              <a:gd name="connsiteX571" fmla="*/ 1431890 w 7472601"/>
              <a:gd name="connsiteY571" fmla="*/ 1306475 h 6858000"/>
              <a:gd name="connsiteX572" fmla="*/ 1507597 w 7472601"/>
              <a:gd name="connsiteY572" fmla="*/ 1446132 h 6858000"/>
              <a:gd name="connsiteX573" fmla="*/ 1674586 w 7472601"/>
              <a:gd name="connsiteY573" fmla="*/ 1813832 h 6858000"/>
              <a:gd name="connsiteX574" fmla="*/ 1815950 w 7472601"/>
              <a:gd name="connsiteY574" fmla="*/ 2128564 h 6858000"/>
              <a:gd name="connsiteX575" fmla="*/ 1984242 w 7472601"/>
              <a:gd name="connsiteY575" fmla="*/ 2430829 h 6858000"/>
              <a:gd name="connsiteX576" fmla="*/ 2014023 w 7472601"/>
              <a:gd name="connsiteY576" fmla="*/ 2450995 h 6858000"/>
              <a:gd name="connsiteX577" fmla="*/ 1747337 w 7472601"/>
              <a:gd name="connsiteY577" fmla="*/ 1855264 h 6858000"/>
              <a:gd name="connsiteX578" fmla="*/ 1533749 w 7472601"/>
              <a:gd name="connsiteY578" fmla="*/ 1478656 h 6858000"/>
              <a:gd name="connsiteX579" fmla="*/ 1431890 w 7472601"/>
              <a:gd name="connsiteY579" fmla="*/ 1306475 h 6858000"/>
              <a:gd name="connsiteX580" fmla="*/ 5052692 w 7472601"/>
              <a:gd name="connsiteY580" fmla="*/ 1292994 h 6858000"/>
              <a:gd name="connsiteX581" fmla="*/ 5200661 w 7472601"/>
              <a:gd name="connsiteY581" fmla="*/ 1635186 h 6858000"/>
              <a:gd name="connsiteX582" fmla="*/ 5297138 w 7472601"/>
              <a:gd name="connsiteY582" fmla="*/ 1906351 h 6858000"/>
              <a:gd name="connsiteX583" fmla="*/ 5052692 w 7472601"/>
              <a:gd name="connsiteY583" fmla="*/ 1292994 h 6858000"/>
              <a:gd name="connsiteX584" fmla="*/ 5009948 w 7472601"/>
              <a:gd name="connsiteY584" fmla="*/ 1273619 h 6858000"/>
              <a:gd name="connsiteX585" fmla="*/ 5121777 w 7472601"/>
              <a:gd name="connsiteY585" fmla="*/ 1654213 h 6858000"/>
              <a:gd name="connsiteX586" fmla="*/ 5293545 w 7472601"/>
              <a:gd name="connsiteY586" fmla="*/ 2072247 h 6858000"/>
              <a:gd name="connsiteX587" fmla="*/ 5294042 w 7472601"/>
              <a:gd name="connsiteY587" fmla="*/ 2065019 h 6858000"/>
              <a:gd name="connsiteX588" fmla="*/ 5171936 w 7472601"/>
              <a:gd name="connsiteY588" fmla="*/ 1647613 h 6858000"/>
              <a:gd name="connsiteX589" fmla="*/ 5009948 w 7472601"/>
              <a:gd name="connsiteY589" fmla="*/ 1273619 h 6858000"/>
              <a:gd name="connsiteX590" fmla="*/ 655236 w 7472601"/>
              <a:gd name="connsiteY590" fmla="*/ 1268632 h 6858000"/>
              <a:gd name="connsiteX591" fmla="*/ 839521 w 7472601"/>
              <a:gd name="connsiteY591" fmla="*/ 1685315 h 6858000"/>
              <a:gd name="connsiteX592" fmla="*/ 1109416 w 7472601"/>
              <a:gd name="connsiteY592" fmla="*/ 2061663 h 6858000"/>
              <a:gd name="connsiteX593" fmla="*/ 1298300 w 7472601"/>
              <a:gd name="connsiteY593" fmla="*/ 2247742 h 6858000"/>
              <a:gd name="connsiteX594" fmla="*/ 1125871 w 7472601"/>
              <a:gd name="connsiteY594" fmla="*/ 1989513 h 6858000"/>
              <a:gd name="connsiteX595" fmla="*/ 981574 w 7472601"/>
              <a:gd name="connsiteY595" fmla="*/ 1783157 h 6858000"/>
              <a:gd name="connsiteX596" fmla="*/ 922198 w 7472601"/>
              <a:gd name="connsiteY596" fmla="*/ 1677437 h 6858000"/>
              <a:gd name="connsiteX597" fmla="*/ 869293 w 7472601"/>
              <a:gd name="connsiteY597" fmla="*/ 1583214 h 6858000"/>
              <a:gd name="connsiteX598" fmla="*/ 751431 w 7472601"/>
              <a:gd name="connsiteY598" fmla="*/ 1405731 h 6858000"/>
              <a:gd name="connsiteX599" fmla="*/ 655236 w 7472601"/>
              <a:gd name="connsiteY599" fmla="*/ 1268632 h 6858000"/>
              <a:gd name="connsiteX600" fmla="*/ 6516292 w 7472601"/>
              <a:gd name="connsiteY600" fmla="*/ 1263064 h 6858000"/>
              <a:gd name="connsiteX601" fmla="*/ 5736320 w 7472601"/>
              <a:gd name="connsiteY601" fmla="*/ 1501803 h 6858000"/>
              <a:gd name="connsiteX602" fmla="*/ 6516292 w 7472601"/>
              <a:gd name="connsiteY602" fmla="*/ 1263064 h 6858000"/>
              <a:gd name="connsiteX603" fmla="*/ 291466 w 7472601"/>
              <a:gd name="connsiteY603" fmla="*/ 1250369 h 6858000"/>
              <a:gd name="connsiteX604" fmla="*/ 323180 w 7472601"/>
              <a:gd name="connsiteY604" fmla="*/ 1435283 h 6858000"/>
              <a:gd name="connsiteX605" fmla="*/ 349381 w 7472601"/>
              <a:gd name="connsiteY605" fmla="*/ 1875041 h 6858000"/>
              <a:gd name="connsiteX606" fmla="*/ 374363 w 7472601"/>
              <a:gd name="connsiteY606" fmla="*/ 1506494 h 6858000"/>
              <a:gd name="connsiteX607" fmla="*/ 302168 w 7472601"/>
              <a:gd name="connsiteY607" fmla="*/ 1274495 h 6858000"/>
              <a:gd name="connsiteX608" fmla="*/ 291466 w 7472601"/>
              <a:gd name="connsiteY608" fmla="*/ 1250369 h 6858000"/>
              <a:gd name="connsiteX609" fmla="*/ 678222 w 7472601"/>
              <a:gd name="connsiteY609" fmla="*/ 1248670 h 6858000"/>
              <a:gd name="connsiteX610" fmla="*/ 775536 w 7472601"/>
              <a:gd name="connsiteY610" fmla="*/ 1388015 h 6858000"/>
              <a:gd name="connsiteX611" fmla="*/ 894529 w 7472601"/>
              <a:gd name="connsiteY611" fmla="*/ 1567739 h 6858000"/>
              <a:gd name="connsiteX612" fmla="*/ 948000 w 7472601"/>
              <a:gd name="connsiteY612" fmla="*/ 1663088 h 6858000"/>
              <a:gd name="connsiteX613" fmla="*/ 1006812 w 7472601"/>
              <a:gd name="connsiteY613" fmla="*/ 1767683 h 6858000"/>
              <a:gd name="connsiteX614" fmla="*/ 1149133 w 7472601"/>
              <a:gd name="connsiteY614" fmla="*/ 1971513 h 6858000"/>
              <a:gd name="connsiteX615" fmla="*/ 1333952 w 7472601"/>
              <a:gd name="connsiteY615" fmla="*/ 2251620 h 6858000"/>
              <a:gd name="connsiteX616" fmla="*/ 1337329 w 7472601"/>
              <a:gd name="connsiteY616" fmla="*/ 2258350 h 6858000"/>
              <a:gd name="connsiteX617" fmla="*/ 1014726 w 7472601"/>
              <a:gd name="connsiteY617" fmla="*/ 1615556 h 6858000"/>
              <a:gd name="connsiteX618" fmla="*/ 678222 w 7472601"/>
              <a:gd name="connsiteY618" fmla="*/ 1248670 h 6858000"/>
              <a:gd name="connsiteX619" fmla="*/ 6691602 w 7472601"/>
              <a:gd name="connsiteY619" fmla="*/ 1140573 h 6858000"/>
              <a:gd name="connsiteX620" fmla="*/ 6571100 w 7472601"/>
              <a:gd name="connsiteY620" fmla="*/ 1183662 h 6858000"/>
              <a:gd name="connsiteX621" fmla="*/ 6241687 w 7472601"/>
              <a:gd name="connsiteY621" fmla="*/ 1257600 h 6858000"/>
              <a:gd name="connsiteX622" fmla="*/ 5693009 w 7472601"/>
              <a:gd name="connsiteY622" fmla="*/ 1478256 h 6858000"/>
              <a:gd name="connsiteX623" fmla="*/ 6548420 w 7472601"/>
              <a:gd name="connsiteY623" fmla="*/ 1214599 h 6858000"/>
              <a:gd name="connsiteX624" fmla="*/ 6605473 w 7472601"/>
              <a:gd name="connsiteY624" fmla="*/ 1184686 h 6858000"/>
              <a:gd name="connsiteX625" fmla="*/ 6691602 w 7472601"/>
              <a:gd name="connsiteY625" fmla="*/ 1140573 h 6858000"/>
              <a:gd name="connsiteX626" fmla="*/ 4002475 w 7472601"/>
              <a:gd name="connsiteY626" fmla="*/ 1037802 h 6858000"/>
              <a:gd name="connsiteX627" fmla="*/ 4000324 w 7472601"/>
              <a:gd name="connsiteY627" fmla="*/ 1039362 h 6858000"/>
              <a:gd name="connsiteX628" fmla="*/ 4002862 w 7472601"/>
              <a:gd name="connsiteY628" fmla="*/ 1042866 h 6858000"/>
              <a:gd name="connsiteX629" fmla="*/ 4002475 w 7472601"/>
              <a:gd name="connsiteY629" fmla="*/ 1037802 h 6858000"/>
              <a:gd name="connsiteX630" fmla="*/ 506322 w 7472601"/>
              <a:gd name="connsiteY630" fmla="*/ 1020997 h 6858000"/>
              <a:gd name="connsiteX631" fmla="*/ 533068 w 7472601"/>
              <a:gd name="connsiteY631" fmla="*/ 1029409 h 6858000"/>
              <a:gd name="connsiteX632" fmla="*/ 1232525 w 7472601"/>
              <a:gd name="connsiteY632" fmla="*/ 1804675 h 6858000"/>
              <a:gd name="connsiteX633" fmla="*/ 1388858 w 7472601"/>
              <a:gd name="connsiteY633" fmla="*/ 2368011 h 6858000"/>
              <a:gd name="connsiteX634" fmla="*/ 1384098 w 7472601"/>
              <a:gd name="connsiteY634" fmla="*/ 2378125 h 6858000"/>
              <a:gd name="connsiteX635" fmla="*/ 1425393 w 7472601"/>
              <a:gd name="connsiteY635" fmla="*/ 2589124 h 6858000"/>
              <a:gd name="connsiteX636" fmla="*/ 1424001 w 7472601"/>
              <a:gd name="connsiteY636" fmla="*/ 2597541 h 6858000"/>
              <a:gd name="connsiteX637" fmla="*/ 2152729 w 7472601"/>
              <a:gd name="connsiteY637" fmla="*/ 2864487 h 6858000"/>
              <a:gd name="connsiteX638" fmla="*/ 2020609 w 7472601"/>
              <a:gd name="connsiteY638" fmla="*/ 2539671 h 6858000"/>
              <a:gd name="connsiteX639" fmla="*/ 2018920 w 7472601"/>
              <a:gd name="connsiteY639" fmla="*/ 2536309 h 6858000"/>
              <a:gd name="connsiteX640" fmla="*/ 1342441 w 7472601"/>
              <a:gd name="connsiteY640" fmla="*/ 1173017 h 6858000"/>
              <a:gd name="connsiteX641" fmla="*/ 1367925 w 7472601"/>
              <a:gd name="connsiteY641" fmla="*/ 1135648 h 6858000"/>
              <a:gd name="connsiteX642" fmla="*/ 1771401 w 7472601"/>
              <a:gd name="connsiteY642" fmla="*/ 1806673 h 6858000"/>
              <a:gd name="connsiteX643" fmla="*/ 1972385 w 7472601"/>
              <a:gd name="connsiteY643" fmla="*/ 2198735 h 6858000"/>
              <a:gd name="connsiteX644" fmla="*/ 2040892 w 7472601"/>
              <a:gd name="connsiteY644" fmla="*/ 2405205 h 6858000"/>
              <a:gd name="connsiteX645" fmla="*/ 2131689 w 7472601"/>
              <a:gd name="connsiteY645" fmla="*/ 1936926 h 6858000"/>
              <a:gd name="connsiteX646" fmla="*/ 2454820 w 7472601"/>
              <a:gd name="connsiteY646" fmla="*/ 1248808 h 6858000"/>
              <a:gd name="connsiteX647" fmla="*/ 2492512 w 7472601"/>
              <a:gd name="connsiteY647" fmla="*/ 1302920 h 6858000"/>
              <a:gd name="connsiteX648" fmla="*/ 2081216 w 7472601"/>
              <a:gd name="connsiteY648" fmla="*/ 2527513 h 6858000"/>
              <a:gd name="connsiteX649" fmla="*/ 2081211 w 7472601"/>
              <a:gd name="connsiteY649" fmla="*/ 2528916 h 6858000"/>
              <a:gd name="connsiteX650" fmla="*/ 2199067 w 7472601"/>
              <a:gd name="connsiteY650" fmla="*/ 2884061 h 6858000"/>
              <a:gd name="connsiteX651" fmla="*/ 3192586 w 7472601"/>
              <a:gd name="connsiteY651" fmla="*/ 3411496 h 6858000"/>
              <a:gd name="connsiteX652" fmla="*/ 3182620 w 7472601"/>
              <a:gd name="connsiteY652" fmla="*/ 3483279 h 6858000"/>
              <a:gd name="connsiteX653" fmla="*/ 2435119 w 7472601"/>
              <a:gd name="connsiteY653" fmla="*/ 3080173 h 6858000"/>
              <a:gd name="connsiteX654" fmla="*/ 2410152 w 7472601"/>
              <a:gd name="connsiteY654" fmla="*/ 3063751 h 6858000"/>
              <a:gd name="connsiteX655" fmla="*/ 2408099 w 7472601"/>
              <a:gd name="connsiteY655" fmla="*/ 3064403 h 6858000"/>
              <a:gd name="connsiteX656" fmla="*/ 2407218 w 7472601"/>
              <a:gd name="connsiteY656" fmla="*/ 3070324 h 6858000"/>
              <a:gd name="connsiteX657" fmla="*/ 2380138 w 7472601"/>
              <a:gd name="connsiteY657" fmla="*/ 3099341 h 6858000"/>
              <a:gd name="connsiteX658" fmla="*/ 1765923 w 7472601"/>
              <a:gd name="connsiteY658" fmla="*/ 3581043 h 6858000"/>
              <a:gd name="connsiteX659" fmla="*/ 1702258 w 7472601"/>
              <a:gd name="connsiteY659" fmla="*/ 3612286 h 6858000"/>
              <a:gd name="connsiteX660" fmla="*/ 1538370 w 7472601"/>
              <a:gd name="connsiteY660" fmla="*/ 3811804 h 6858000"/>
              <a:gd name="connsiteX661" fmla="*/ 542867 w 7472601"/>
              <a:gd name="connsiteY661" fmla="*/ 4944092 h 6858000"/>
              <a:gd name="connsiteX662" fmla="*/ 515800 w 7472601"/>
              <a:gd name="connsiteY662" fmla="*/ 4862180 h 6858000"/>
              <a:gd name="connsiteX663" fmla="*/ 909145 w 7472601"/>
              <a:gd name="connsiteY663" fmla="*/ 4199225 h 6858000"/>
              <a:gd name="connsiteX664" fmla="*/ 1214067 w 7472601"/>
              <a:gd name="connsiteY664" fmla="*/ 3908561 h 6858000"/>
              <a:gd name="connsiteX665" fmla="*/ 640967 w 7472601"/>
              <a:gd name="connsiteY665" fmla="*/ 4105601 h 6858000"/>
              <a:gd name="connsiteX666" fmla="*/ 112563 w 7472601"/>
              <a:gd name="connsiteY666" fmla="*/ 4396952 h 6858000"/>
              <a:gd name="connsiteX667" fmla="*/ 0 w 7472601"/>
              <a:gd name="connsiteY667" fmla="*/ 4466006 h 6858000"/>
              <a:gd name="connsiteX668" fmla="*/ 0 w 7472601"/>
              <a:gd name="connsiteY668" fmla="*/ 4233763 h 6858000"/>
              <a:gd name="connsiteX669" fmla="*/ 36881 w 7472601"/>
              <a:gd name="connsiteY669" fmla="*/ 4200118 h 6858000"/>
              <a:gd name="connsiteX670" fmla="*/ 910534 w 7472601"/>
              <a:gd name="connsiteY670" fmla="*/ 3629753 h 6858000"/>
              <a:gd name="connsiteX671" fmla="*/ 1578717 w 7472601"/>
              <a:gd name="connsiteY671" fmla="*/ 3575982 h 6858000"/>
              <a:gd name="connsiteX672" fmla="*/ 2338780 w 7472601"/>
              <a:gd name="connsiteY672" fmla="*/ 3033725 h 6858000"/>
              <a:gd name="connsiteX673" fmla="*/ 1807991 w 7472601"/>
              <a:gd name="connsiteY673" fmla="*/ 2807184 h 6858000"/>
              <a:gd name="connsiteX674" fmla="*/ 1416358 w 7472601"/>
              <a:gd name="connsiteY674" fmla="*/ 3112571 h 6858000"/>
              <a:gd name="connsiteX675" fmla="*/ 939066 w 7472601"/>
              <a:gd name="connsiteY675" fmla="*/ 3378798 h 6858000"/>
              <a:gd name="connsiteX676" fmla="*/ 115099 w 7472601"/>
              <a:gd name="connsiteY676" fmla="*/ 3607650 h 6858000"/>
              <a:gd name="connsiteX677" fmla="*/ 97284 w 7472601"/>
              <a:gd name="connsiteY677" fmla="*/ 3520393 h 6858000"/>
              <a:gd name="connsiteX678" fmla="*/ 922050 w 7472601"/>
              <a:gd name="connsiteY678" fmla="*/ 3074867 h 6858000"/>
              <a:gd name="connsiteX679" fmla="*/ 1405265 w 7472601"/>
              <a:gd name="connsiteY679" fmla="*/ 3016319 h 6858000"/>
              <a:gd name="connsiteX680" fmla="*/ 1407512 w 7472601"/>
              <a:gd name="connsiteY680" fmla="*/ 3018001 h 6858000"/>
              <a:gd name="connsiteX681" fmla="*/ 1726266 w 7472601"/>
              <a:gd name="connsiteY681" fmla="*/ 2777274 h 6858000"/>
              <a:gd name="connsiteX682" fmla="*/ 625390 w 7472601"/>
              <a:gd name="connsiteY682" fmla="*/ 2514541 h 6858000"/>
              <a:gd name="connsiteX683" fmla="*/ 619799 w 7472601"/>
              <a:gd name="connsiteY683" fmla="*/ 2527180 h 6858000"/>
              <a:gd name="connsiteX684" fmla="*/ 310030 w 7472601"/>
              <a:gd name="connsiteY684" fmla="*/ 2771818 h 6858000"/>
              <a:gd name="connsiteX685" fmla="*/ 173877 w 7472601"/>
              <a:gd name="connsiteY685" fmla="*/ 2937056 h 6858000"/>
              <a:gd name="connsiteX686" fmla="*/ 77889 w 7472601"/>
              <a:gd name="connsiteY686" fmla="*/ 3138440 h 6858000"/>
              <a:gd name="connsiteX687" fmla="*/ 0 w 7472601"/>
              <a:gd name="connsiteY687" fmla="*/ 3271395 h 6858000"/>
              <a:gd name="connsiteX688" fmla="*/ 0 w 7472601"/>
              <a:gd name="connsiteY688" fmla="*/ 3153002 h 6858000"/>
              <a:gd name="connsiteX689" fmla="*/ 2386 w 7472601"/>
              <a:gd name="connsiteY689" fmla="*/ 3149203 h 6858000"/>
              <a:gd name="connsiteX690" fmla="*/ 89753 w 7472601"/>
              <a:gd name="connsiteY690" fmla="*/ 2987702 h 6858000"/>
              <a:gd name="connsiteX691" fmla="*/ 76869 w 7472601"/>
              <a:gd name="connsiteY691" fmla="*/ 3005404 h 6858000"/>
              <a:gd name="connsiteX692" fmla="*/ 32049 w 7472601"/>
              <a:gd name="connsiteY692" fmla="*/ 3065814 h 6858000"/>
              <a:gd name="connsiteX693" fmla="*/ 0 w 7472601"/>
              <a:gd name="connsiteY693" fmla="*/ 3108744 h 6858000"/>
              <a:gd name="connsiteX694" fmla="*/ 0 w 7472601"/>
              <a:gd name="connsiteY694" fmla="*/ 3058059 h 6858000"/>
              <a:gd name="connsiteX695" fmla="*/ 7610 w 7472601"/>
              <a:gd name="connsiteY695" fmla="*/ 3047889 h 6858000"/>
              <a:gd name="connsiteX696" fmla="*/ 52419 w 7472601"/>
              <a:gd name="connsiteY696" fmla="*/ 2987479 h 6858000"/>
              <a:gd name="connsiteX697" fmla="*/ 59142 w 7472601"/>
              <a:gd name="connsiteY697" fmla="*/ 2978488 h 6858000"/>
              <a:gd name="connsiteX698" fmla="*/ 0 w 7472601"/>
              <a:gd name="connsiteY698" fmla="*/ 3015334 h 6858000"/>
              <a:gd name="connsiteX699" fmla="*/ 0 w 7472601"/>
              <a:gd name="connsiteY699" fmla="*/ 2914286 h 6858000"/>
              <a:gd name="connsiteX700" fmla="*/ 36383 w 7472601"/>
              <a:gd name="connsiteY700" fmla="*/ 2901128 h 6858000"/>
              <a:gd name="connsiteX701" fmla="*/ 156329 w 7472601"/>
              <a:gd name="connsiteY701" fmla="*/ 2840533 h 6858000"/>
              <a:gd name="connsiteX702" fmla="*/ 358355 w 7472601"/>
              <a:gd name="connsiteY702" fmla="*/ 2620471 h 6858000"/>
              <a:gd name="connsiteX703" fmla="*/ 510577 w 7472601"/>
              <a:gd name="connsiteY703" fmla="*/ 2501244 h 6858000"/>
              <a:gd name="connsiteX704" fmla="*/ 211967 w 7472601"/>
              <a:gd name="connsiteY704" fmla="*/ 2479171 h 6858000"/>
              <a:gd name="connsiteX705" fmla="*/ 0 w 7472601"/>
              <a:gd name="connsiteY705" fmla="*/ 2476398 h 6858000"/>
              <a:gd name="connsiteX706" fmla="*/ 0 w 7472601"/>
              <a:gd name="connsiteY706" fmla="*/ 2389189 h 6858000"/>
              <a:gd name="connsiteX707" fmla="*/ 103062 w 7472601"/>
              <a:gd name="connsiteY707" fmla="*/ 2389518 h 6858000"/>
              <a:gd name="connsiteX708" fmla="*/ 510734 w 7472601"/>
              <a:gd name="connsiteY708" fmla="*/ 2416201 h 6858000"/>
              <a:gd name="connsiteX709" fmla="*/ 279257 w 7472601"/>
              <a:gd name="connsiteY709" fmla="*/ 2092102 h 6858000"/>
              <a:gd name="connsiteX710" fmla="*/ 65265 w 7472601"/>
              <a:gd name="connsiteY710" fmla="*/ 2006049 h 6858000"/>
              <a:gd name="connsiteX711" fmla="*/ 0 w 7472601"/>
              <a:gd name="connsiteY711" fmla="*/ 1982532 h 6858000"/>
              <a:gd name="connsiteX712" fmla="*/ 0 w 7472601"/>
              <a:gd name="connsiteY712" fmla="*/ 1912789 h 6858000"/>
              <a:gd name="connsiteX713" fmla="*/ 97460 w 7472601"/>
              <a:gd name="connsiteY713" fmla="*/ 1953725 h 6858000"/>
              <a:gd name="connsiteX714" fmla="*/ 221272 w 7472601"/>
              <a:gd name="connsiteY714" fmla="*/ 1980766 h 6858000"/>
              <a:gd name="connsiteX715" fmla="*/ 116765 w 7472601"/>
              <a:gd name="connsiteY715" fmla="*/ 1911033 h 6858000"/>
              <a:gd name="connsiteX716" fmla="*/ 16405 w 7472601"/>
              <a:gd name="connsiteY716" fmla="*/ 1803412 h 6858000"/>
              <a:gd name="connsiteX717" fmla="*/ 0 w 7472601"/>
              <a:gd name="connsiteY717" fmla="*/ 1784777 h 6858000"/>
              <a:gd name="connsiteX718" fmla="*/ 0 w 7472601"/>
              <a:gd name="connsiteY718" fmla="*/ 1740082 h 6858000"/>
              <a:gd name="connsiteX719" fmla="*/ 39394 w 7472601"/>
              <a:gd name="connsiteY719" fmla="*/ 1784856 h 6858000"/>
              <a:gd name="connsiteX720" fmla="*/ 135813 w 7472601"/>
              <a:gd name="connsiteY720" fmla="*/ 1888838 h 6858000"/>
              <a:gd name="connsiteX721" fmla="*/ 242575 w 7472601"/>
              <a:gd name="connsiteY721" fmla="*/ 1958841 h 6858000"/>
              <a:gd name="connsiteX722" fmla="*/ 82197 w 7472601"/>
              <a:gd name="connsiteY722" fmla="*/ 1754826 h 6858000"/>
              <a:gd name="connsiteX723" fmla="*/ 0 w 7472601"/>
              <a:gd name="connsiteY723" fmla="*/ 1679650 h 6858000"/>
              <a:gd name="connsiteX724" fmla="*/ 0 w 7472601"/>
              <a:gd name="connsiteY724" fmla="*/ 1602463 h 6858000"/>
              <a:gd name="connsiteX725" fmla="*/ 84689 w 7472601"/>
              <a:gd name="connsiteY725" fmla="*/ 1677442 h 6858000"/>
              <a:gd name="connsiteX726" fmla="*/ 298437 w 7472601"/>
              <a:gd name="connsiteY726" fmla="*/ 1968019 h 6858000"/>
              <a:gd name="connsiteX727" fmla="*/ 227269 w 7472601"/>
              <a:gd name="connsiteY727" fmla="*/ 1114064 h 6858000"/>
              <a:gd name="connsiteX728" fmla="*/ 248003 w 7472601"/>
              <a:gd name="connsiteY728" fmla="*/ 1089613 h 6858000"/>
              <a:gd name="connsiteX729" fmla="*/ 427020 w 7472601"/>
              <a:gd name="connsiteY729" fmla="*/ 1619803 h 6858000"/>
              <a:gd name="connsiteX730" fmla="*/ 340345 w 7472601"/>
              <a:gd name="connsiteY730" fmla="*/ 2027739 h 6858000"/>
              <a:gd name="connsiteX731" fmla="*/ 360865 w 7472601"/>
              <a:gd name="connsiteY731" fmla="*/ 2044827 h 6858000"/>
              <a:gd name="connsiteX732" fmla="*/ 560414 w 7472601"/>
              <a:gd name="connsiteY732" fmla="*/ 2421457 h 6858000"/>
              <a:gd name="connsiteX733" fmla="*/ 1359703 w 7472601"/>
              <a:gd name="connsiteY733" fmla="*/ 2578554 h 6858000"/>
              <a:gd name="connsiteX734" fmla="*/ 1359422 w 7472601"/>
              <a:gd name="connsiteY734" fmla="*/ 2577994 h 6858000"/>
              <a:gd name="connsiteX735" fmla="*/ 828701 w 7472601"/>
              <a:gd name="connsiteY735" fmla="*/ 1839520 h 6858000"/>
              <a:gd name="connsiteX736" fmla="*/ 494427 w 7472601"/>
              <a:gd name="connsiteY736" fmla="*/ 1092333 h 6858000"/>
              <a:gd name="connsiteX737" fmla="*/ 506322 w 7472601"/>
              <a:gd name="connsiteY737" fmla="*/ 1020997 h 6858000"/>
              <a:gd name="connsiteX738" fmla="*/ 4570198 w 7472601"/>
              <a:gd name="connsiteY738" fmla="*/ 978081 h 6858000"/>
              <a:gd name="connsiteX739" fmla="*/ 4523691 w 7472601"/>
              <a:gd name="connsiteY739" fmla="*/ 1127776 h 6858000"/>
              <a:gd name="connsiteX740" fmla="*/ 4509875 w 7472601"/>
              <a:gd name="connsiteY740" fmla="*/ 1167552 h 6858000"/>
              <a:gd name="connsiteX741" fmla="*/ 4478168 w 7472601"/>
              <a:gd name="connsiteY741" fmla="*/ 1260735 h 6858000"/>
              <a:gd name="connsiteX742" fmla="*/ 4409309 w 7472601"/>
              <a:gd name="connsiteY742" fmla="*/ 1666996 h 6858000"/>
              <a:gd name="connsiteX743" fmla="*/ 4370031 w 7472601"/>
              <a:gd name="connsiteY743" fmla="*/ 1955666 h 6858000"/>
              <a:gd name="connsiteX744" fmla="*/ 4570198 w 7472601"/>
              <a:gd name="connsiteY744" fmla="*/ 978081 h 6858000"/>
              <a:gd name="connsiteX745" fmla="*/ 4557898 w 7472601"/>
              <a:gd name="connsiteY745" fmla="*/ 900011 h 6858000"/>
              <a:gd name="connsiteX746" fmla="*/ 4344840 w 7472601"/>
              <a:gd name="connsiteY746" fmla="*/ 1922038 h 6858000"/>
              <a:gd name="connsiteX747" fmla="*/ 4378710 w 7472601"/>
              <a:gd name="connsiteY747" fmla="*/ 1665516 h 6858000"/>
              <a:gd name="connsiteX748" fmla="*/ 4448798 w 7472601"/>
              <a:gd name="connsiteY748" fmla="*/ 1253024 h 6858000"/>
              <a:gd name="connsiteX749" fmla="*/ 4480315 w 7472601"/>
              <a:gd name="connsiteY749" fmla="*/ 1158454 h 6858000"/>
              <a:gd name="connsiteX750" fmla="*/ 4494133 w 7472601"/>
              <a:gd name="connsiteY750" fmla="*/ 1118676 h 6858000"/>
              <a:gd name="connsiteX751" fmla="*/ 4557898 w 7472601"/>
              <a:gd name="connsiteY751" fmla="*/ 900011 h 6858000"/>
              <a:gd name="connsiteX752" fmla="*/ 5870151 w 7472601"/>
              <a:gd name="connsiteY752" fmla="*/ 898890 h 6858000"/>
              <a:gd name="connsiteX753" fmla="*/ 5861335 w 7472601"/>
              <a:gd name="connsiteY753" fmla="*/ 899177 h 6858000"/>
              <a:gd name="connsiteX754" fmla="*/ 5843702 w 7472601"/>
              <a:gd name="connsiteY754" fmla="*/ 899748 h 6858000"/>
              <a:gd name="connsiteX755" fmla="*/ 5651107 w 7472601"/>
              <a:gd name="connsiteY755" fmla="*/ 920306 h 6858000"/>
              <a:gd name="connsiteX756" fmla="*/ 5459407 w 7472601"/>
              <a:gd name="connsiteY756" fmla="*/ 940975 h 6858000"/>
              <a:gd name="connsiteX757" fmla="*/ 5374846 w 7472601"/>
              <a:gd name="connsiteY757" fmla="*/ 941988 h 6858000"/>
              <a:gd name="connsiteX758" fmla="*/ 5256105 w 7472601"/>
              <a:gd name="connsiteY758" fmla="*/ 945632 h 6858000"/>
              <a:gd name="connsiteX759" fmla="*/ 5107071 w 7472601"/>
              <a:gd name="connsiteY759" fmla="*/ 969720 h 6858000"/>
              <a:gd name="connsiteX760" fmla="*/ 4998681 w 7472601"/>
              <a:gd name="connsiteY760" fmla="*/ 988771 h 6858000"/>
              <a:gd name="connsiteX761" fmla="*/ 5870151 w 7472601"/>
              <a:gd name="connsiteY761" fmla="*/ 898890 h 6858000"/>
              <a:gd name="connsiteX762" fmla="*/ 5504425 w 7472601"/>
              <a:gd name="connsiteY762" fmla="*/ 848067 h 6858000"/>
              <a:gd name="connsiteX763" fmla="*/ 4968849 w 7472601"/>
              <a:gd name="connsiteY763" fmla="*/ 962318 h 6858000"/>
              <a:gd name="connsiteX764" fmla="*/ 5104039 w 7472601"/>
              <a:gd name="connsiteY764" fmla="*/ 940634 h 6858000"/>
              <a:gd name="connsiteX765" fmla="*/ 5256311 w 7472601"/>
              <a:gd name="connsiteY765" fmla="*/ 916490 h 6858000"/>
              <a:gd name="connsiteX766" fmla="*/ 5377381 w 7472601"/>
              <a:gd name="connsiteY766" fmla="*/ 912671 h 6858000"/>
              <a:gd name="connsiteX767" fmla="*/ 5460148 w 7472601"/>
              <a:gd name="connsiteY767" fmla="*/ 911442 h 6858000"/>
              <a:gd name="connsiteX768" fmla="*/ 5648971 w 7472601"/>
              <a:gd name="connsiteY768" fmla="*/ 891331 h 6858000"/>
              <a:gd name="connsiteX769" fmla="*/ 5844807 w 7472601"/>
              <a:gd name="connsiteY769" fmla="*/ 870718 h 6858000"/>
              <a:gd name="connsiteX770" fmla="*/ 5862975 w 7472601"/>
              <a:gd name="connsiteY770" fmla="*/ 869756 h 6858000"/>
              <a:gd name="connsiteX771" fmla="*/ 5920887 w 7472601"/>
              <a:gd name="connsiteY771" fmla="*/ 865929 h 6858000"/>
              <a:gd name="connsiteX772" fmla="*/ 5504425 w 7472601"/>
              <a:gd name="connsiteY772" fmla="*/ 848067 h 6858000"/>
              <a:gd name="connsiteX773" fmla="*/ 3607114 w 7472601"/>
              <a:gd name="connsiteY773" fmla="*/ 467441 h 6858000"/>
              <a:gd name="connsiteX774" fmla="*/ 3296242 w 7472601"/>
              <a:gd name="connsiteY774" fmla="*/ 807991 h 6858000"/>
              <a:gd name="connsiteX775" fmla="*/ 3174674 w 7472601"/>
              <a:gd name="connsiteY775" fmla="*/ 919759 h 6858000"/>
              <a:gd name="connsiteX776" fmla="*/ 3042978 w 7472601"/>
              <a:gd name="connsiteY776" fmla="*/ 1054894 h 6858000"/>
              <a:gd name="connsiteX777" fmla="*/ 2968914 w 7472601"/>
              <a:gd name="connsiteY777" fmla="*/ 1133756 h 6858000"/>
              <a:gd name="connsiteX778" fmla="*/ 3103823 w 7472601"/>
              <a:gd name="connsiteY778" fmla="*/ 1026814 h 6858000"/>
              <a:gd name="connsiteX779" fmla="*/ 3607114 w 7472601"/>
              <a:gd name="connsiteY779" fmla="*/ 467441 h 6858000"/>
              <a:gd name="connsiteX780" fmla="*/ 3744487 w 7472601"/>
              <a:gd name="connsiteY780" fmla="*/ 383136 h 6858000"/>
              <a:gd name="connsiteX781" fmla="*/ 3970213 w 7472601"/>
              <a:gd name="connsiteY781" fmla="*/ 995559 h 6858000"/>
              <a:gd name="connsiteX782" fmla="*/ 3744487 w 7472601"/>
              <a:gd name="connsiteY782" fmla="*/ 383136 h 6858000"/>
              <a:gd name="connsiteX783" fmla="*/ 3624562 w 7472601"/>
              <a:gd name="connsiteY783" fmla="*/ 367041 h 6858000"/>
              <a:gd name="connsiteX784" fmla="*/ 3489712 w 7472601"/>
              <a:gd name="connsiteY784" fmla="*/ 485386 h 6858000"/>
              <a:gd name="connsiteX785" fmla="*/ 3182994 w 7472601"/>
              <a:gd name="connsiteY785" fmla="*/ 828265 h 6858000"/>
              <a:gd name="connsiteX786" fmla="*/ 2892114 w 7472601"/>
              <a:gd name="connsiteY786" fmla="*/ 1172635 h 6858000"/>
              <a:gd name="connsiteX787" fmla="*/ 3021459 w 7472601"/>
              <a:gd name="connsiteY787" fmla="*/ 1035385 h 6858000"/>
              <a:gd name="connsiteX788" fmla="*/ 3153873 w 7472601"/>
              <a:gd name="connsiteY788" fmla="*/ 898971 h 6858000"/>
              <a:gd name="connsiteX789" fmla="*/ 3276511 w 7472601"/>
              <a:gd name="connsiteY789" fmla="*/ 786423 h 6858000"/>
              <a:gd name="connsiteX790" fmla="*/ 3584154 w 7472601"/>
              <a:gd name="connsiteY790" fmla="*/ 448218 h 6858000"/>
              <a:gd name="connsiteX791" fmla="*/ 3624562 w 7472601"/>
              <a:gd name="connsiteY791" fmla="*/ 367041 h 6858000"/>
              <a:gd name="connsiteX792" fmla="*/ 3766672 w 7472601"/>
              <a:gd name="connsiteY792" fmla="*/ 359429 h 6858000"/>
              <a:gd name="connsiteX793" fmla="*/ 3996338 w 7472601"/>
              <a:gd name="connsiteY793" fmla="*/ 968237 h 6858000"/>
              <a:gd name="connsiteX794" fmla="*/ 3766672 w 7472601"/>
              <a:gd name="connsiteY794" fmla="*/ 359429 h 6858000"/>
              <a:gd name="connsiteX795" fmla="*/ 5805386 w 7472601"/>
              <a:gd name="connsiteY795" fmla="*/ 239240 h 6858000"/>
              <a:gd name="connsiteX796" fmla="*/ 5736947 w 7472601"/>
              <a:gd name="connsiteY796" fmla="*/ 261367 h 6858000"/>
              <a:gd name="connsiteX797" fmla="*/ 5427012 w 7472601"/>
              <a:gd name="connsiteY797" fmla="*/ 311272 h 6858000"/>
              <a:gd name="connsiteX798" fmla="*/ 5147818 w 7472601"/>
              <a:gd name="connsiteY798" fmla="*/ 322112 h 6858000"/>
              <a:gd name="connsiteX799" fmla="*/ 5060854 w 7472601"/>
              <a:gd name="connsiteY799" fmla="*/ 311882 h 6858000"/>
              <a:gd name="connsiteX800" fmla="*/ 4945989 w 7472601"/>
              <a:gd name="connsiteY800" fmla="*/ 300516 h 6858000"/>
              <a:gd name="connsiteX801" fmla="*/ 5410479 w 7472601"/>
              <a:gd name="connsiteY801" fmla="*/ 348434 h 6858000"/>
              <a:gd name="connsiteX802" fmla="*/ 5805386 w 7472601"/>
              <a:gd name="connsiteY802" fmla="*/ 239240 h 6858000"/>
              <a:gd name="connsiteX803" fmla="*/ 5905192 w 7472601"/>
              <a:gd name="connsiteY803" fmla="*/ 163079 h 6858000"/>
              <a:gd name="connsiteX804" fmla="*/ 5865655 w 7472601"/>
              <a:gd name="connsiteY804" fmla="*/ 171901 h 6858000"/>
              <a:gd name="connsiteX805" fmla="*/ 5259740 w 7472601"/>
              <a:gd name="connsiteY805" fmla="*/ 257013 h 6858000"/>
              <a:gd name="connsiteX806" fmla="*/ 5208466 w 7472601"/>
              <a:gd name="connsiteY806" fmla="*/ 257550 h 6858000"/>
              <a:gd name="connsiteX807" fmla="*/ 4980204 w 7472601"/>
              <a:gd name="connsiteY807" fmla="*/ 271903 h 6858000"/>
              <a:gd name="connsiteX808" fmla="*/ 5068068 w 7472601"/>
              <a:gd name="connsiteY808" fmla="*/ 282244 h 6858000"/>
              <a:gd name="connsiteX809" fmla="*/ 5153231 w 7472601"/>
              <a:gd name="connsiteY809" fmla="*/ 292240 h 6858000"/>
              <a:gd name="connsiteX810" fmla="*/ 5426491 w 7472601"/>
              <a:gd name="connsiteY810" fmla="*/ 281128 h 6858000"/>
              <a:gd name="connsiteX811" fmla="*/ 5731212 w 7472601"/>
              <a:gd name="connsiteY811" fmla="*/ 231951 h 6858000"/>
              <a:gd name="connsiteX812" fmla="*/ 5905192 w 7472601"/>
              <a:gd name="connsiteY812" fmla="*/ 163079 h 6858000"/>
              <a:gd name="connsiteX813" fmla="*/ 5944437 w 7472601"/>
              <a:gd name="connsiteY813" fmla="*/ 113829 h 6858000"/>
              <a:gd name="connsiteX814" fmla="*/ 5825032 w 7472601"/>
              <a:gd name="connsiteY814" fmla="*/ 146405 h 6858000"/>
              <a:gd name="connsiteX815" fmla="*/ 4955599 w 7472601"/>
              <a:gd name="connsiteY815" fmla="*/ 247008 h 6858000"/>
              <a:gd name="connsiteX816" fmla="*/ 5210104 w 7472601"/>
              <a:gd name="connsiteY816" fmla="*/ 228123 h 6858000"/>
              <a:gd name="connsiteX817" fmla="*/ 5261015 w 7472601"/>
              <a:gd name="connsiteY817" fmla="*/ 227087 h 6858000"/>
              <a:gd name="connsiteX818" fmla="*/ 5861181 w 7472601"/>
              <a:gd name="connsiteY818" fmla="*/ 143093 h 6858000"/>
              <a:gd name="connsiteX819" fmla="*/ 5961252 w 7472601"/>
              <a:gd name="connsiteY819" fmla="*/ 114820 h 6858000"/>
              <a:gd name="connsiteX820" fmla="*/ 5944437 w 7472601"/>
              <a:gd name="connsiteY820" fmla="*/ 113829 h 6858000"/>
              <a:gd name="connsiteX821" fmla="*/ 3882765 w 7472601"/>
              <a:gd name="connsiteY821" fmla="*/ 0 h 6858000"/>
              <a:gd name="connsiteX822" fmla="*/ 3995099 w 7472601"/>
              <a:gd name="connsiteY822" fmla="*/ 0 h 6858000"/>
              <a:gd name="connsiteX823" fmla="*/ 4163818 w 7472601"/>
              <a:gd name="connsiteY823" fmla="*/ 234104 h 6858000"/>
              <a:gd name="connsiteX824" fmla="*/ 4172099 w 7472601"/>
              <a:gd name="connsiteY824" fmla="*/ 234207 h 6858000"/>
              <a:gd name="connsiteX825" fmla="*/ 4784282 w 7472601"/>
              <a:gd name="connsiteY825" fmla="*/ 276561 h 6858000"/>
              <a:gd name="connsiteX826" fmla="*/ 4801687 w 7472601"/>
              <a:gd name="connsiteY826" fmla="*/ 267764 h 6858000"/>
              <a:gd name="connsiteX827" fmla="*/ 6082788 w 7472601"/>
              <a:gd name="connsiteY827" fmla="*/ 64119 h 6858000"/>
              <a:gd name="connsiteX828" fmla="*/ 6099442 w 7472601"/>
              <a:gd name="connsiteY828" fmla="*/ 82568 h 6858000"/>
              <a:gd name="connsiteX829" fmla="*/ 4804137 w 7472601"/>
              <a:gd name="connsiteY829" fmla="*/ 320931 h 6858000"/>
              <a:gd name="connsiteX830" fmla="*/ 4227047 w 7472601"/>
              <a:gd name="connsiteY830" fmla="*/ 313415 h 6858000"/>
              <a:gd name="connsiteX831" fmla="*/ 4346041 w 7472601"/>
              <a:gd name="connsiteY831" fmla="*/ 456086 h 6858000"/>
              <a:gd name="connsiteX832" fmla="*/ 4870967 w 7472601"/>
              <a:gd name="connsiteY832" fmla="*/ 963061 h 6858000"/>
              <a:gd name="connsiteX833" fmla="*/ 4889647 w 7472601"/>
              <a:gd name="connsiteY833" fmla="*/ 957147 h 6858000"/>
              <a:gd name="connsiteX834" fmla="*/ 5422504 w 7472601"/>
              <a:gd name="connsiteY834" fmla="*/ 805191 h 6858000"/>
              <a:gd name="connsiteX835" fmla="*/ 6087656 w 7472601"/>
              <a:gd name="connsiteY835" fmla="*/ 826703 h 6858000"/>
              <a:gd name="connsiteX836" fmla="*/ 6058717 w 7472601"/>
              <a:gd name="connsiteY836" fmla="*/ 865992 h 6858000"/>
              <a:gd name="connsiteX837" fmla="*/ 4974153 w 7472601"/>
              <a:gd name="connsiteY837" fmla="*/ 1045456 h 6858000"/>
              <a:gd name="connsiteX838" fmla="*/ 5627835 w 7472601"/>
              <a:gd name="connsiteY838" fmla="*/ 1472077 h 6858000"/>
              <a:gd name="connsiteX839" fmla="*/ 5629817 w 7472601"/>
              <a:gd name="connsiteY839" fmla="*/ 1471412 h 6858000"/>
              <a:gd name="connsiteX840" fmla="*/ 5634124 w 7472601"/>
              <a:gd name="connsiteY840" fmla="*/ 1470572 h 6858000"/>
              <a:gd name="connsiteX841" fmla="*/ 5755832 w 7472601"/>
              <a:gd name="connsiteY841" fmla="*/ 1383886 h 6858000"/>
              <a:gd name="connsiteX842" fmla="*/ 6014186 w 7472601"/>
              <a:gd name="connsiteY842" fmla="*/ 1279799 h 6858000"/>
              <a:gd name="connsiteX843" fmla="*/ 6901619 w 7472601"/>
              <a:gd name="connsiteY843" fmla="*/ 1047874 h 6858000"/>
              <a:gd name="connsiteX844" fmla="*/ 6931566 w 7472601"/>
              <a:gd name="connsiteY844" fmla="*/ 1062034 h 6858000"/>
              <a:gd name="connsiteX845" fmla="*/ 5790982 w 7472601"/>
              <a:gd name="connsiteY845" fmla="*/ 1561380 h 6858000"/>
              <a:gd name="connsiteX846" fmla="*/ 6188971 w 7472601"/>
              <a:gd name="connsiteY846" fmla="*/ 1755168 h 6858000"/>
              <a:gd name="connsiteX847" fmla="*/ 6202446 w 7472601"/>
              <a:gd name="connsiteY847" fmla="*/ 1752268 h 6858000"/>
              <a:gd name="connsiteX848" fmla="*/ 7179560 w 7472601"/>
              <a:gd name="connsiteY848" fmla="*/ 1467551 h 6858000"/>
              <a:gd name="connsiteX849" fmla="*/ 7158730 w 7472601"/>
              <a:gd name="connsiteY849" fmla="*/ 1507835 h 6858000"/>
              <a:gd name="connsiteX850" fmla="*/ 6326959 w 7472601"/>
              <a:gd name="connsiteY850" fmla="*/ 1817686 h 6858000"/>
              <a:gd name="connsiteX851" fmla="*/ 6537433 w 7472601"/>
              <a:gd name="connsiteY851" fmla="*/ 1907790 h 6858000"/>
              <a:gd name="connsiteX852" fmla="*/ 6550221 w 7472601"/>
              <a:gd name="connsiteY852" fmla="*/ 1910729 h 6858000"/>
              <a:gd name="connsiteX853" fmla="*/ 6964438 w 7472601"/>
              <a:gd name="connsiteY853" fmla="*/ 2209505 h 6858000"/>
              <a:gd name="connsiteX854" fmla="*/ 7367862 w 7472601"/>
              <a:gd name="connsiteY854" fmla="*/ 2806833 h 6858000"/>
              <a:gd name="connsiteX855" fmla="*/ 7364329 w 7472601"/>
              <a:gd name="connsiteY855" fmla="*/ 2826907 h 6858000"/>
              <a:gd name="connsiteX856" fmla="*/ 7290545 w 7472601"/>
              <a:gd name="connsiteY856" fmla="*/ 2850663 h 6858000"/>
              <a:gd name="connsiteX857" fmla="*/ 6472036 w 7472601"/>
              <a:gd name="connsiteY857" fmla="*/ 1959003 h 6858000"/>
              <a:gd name="connsiteX858" fmla="*/ 5792897 w 7472601"/>
              <a:gd name="connsiteY858" fmla="*/ 1647747 h 6858000"/>
              <a:gd name="connsiteX859" fmla="*/ 5842751 w 7472601"/>
              <a:gd name="connsiteY859" fmla="*/ 1816112 h 6858000"/>
              <a:gd name="connsiteX860" fmla="*/ 5847424 w 7472601"/>
              <a:gd name="connsiteY860" fmla="*/ 1815776 h 6858000"/>
              <a:gd name="connsiteX861" fmla="*/ 6399821 w 7472601"/>
              <a:gd name="connsiteY861" fmla="*/ 2344799 h 6858000"/>
              <a:gd name="connsiteX862" fmla="*/ 6323232 w 7472601"/>
              <a:gd name="connsiteY862" fmla="*/ 2389634 h 6858000"/>
              <a:gd name="connsiteX863" fmla="*/ 5942958 w 7472601"/>
              <a:gd name="connsiteY863" fmla="*/ 2077708 h 6858000"/>
              <a:gd name="connsiteX864" fmla="*/ 5921559 w 7472601"/>
              <a:gd name="connsiteY864" fmla="*/ 2378596 h 6858000"/>
              <a:gd name="connsiteX865" fmla="*/ 5817651 w 7472601"/>
              <a:gd name="connsiteY865" fmla="*/ 3023919 h 6858000"/>
              <a:gd name="connsiteX866" fmla="*/ 5729634 w 7472601"/>
              <a:gd name="connsiteY866" fmla="*/ 3051849 h 6858000"/>
              <a:gd name="connsiteX867" fmla="*/ 5611018 w 7472601"/>
              <a:gd name="connsiteY867" fmla="*/ 2316769 h 6858000"/>
              <a:gd name="connsiteX868" fmla="*/ 5687608 w 7472601"/>
              <a:gd name="connsiteY868" fmla="*/ 2039972 h 6858000"/>
              <a:gd name="connsiteX869" fmla="*/ 5657554 w 7472601"/>
              <a:gd name="connsiteY869" fmla="*/ 1576445 h 6858000"/>
              <a:gd name="connsiteX870" fmla="*/ 5150475 w 7472601"/>
              <a:gd name="connsiteY870" fmla="*/ 1274012 h 6858000"/>
              <a:gd name="connsiteX871" fmla="*/ 5349142 w 7472601"/>
              <a:gd name="connsiteY871" fmla="*/ 2204405 h 6858000"/>
              <a:gd name="connsiteX872" fmla="*/ 5262214 w 7472601"/>
              <a:gd name="connsiteY872" fmla="*/ 2233836 h 6858000"/>
              <a:gd name="connsiteX873" fmla="*/ 4981539 w 7472601"/>
              <a:gd name="connsiteY873" fmla="*/ 1542201 h 6858000"/>
              <a:gd name="connsiteX874" fmla="*/ 4958461 w 7472601"/>
              <a:gd name="connsiteY874" fmla="*/ 1136957 h 6858000"/>
              <a:gd name="connsiteX875" fmla="*/ 4655015 w 7472601"/>
              <a:gd name="connsiteY875" fmla="*/ 891426 h 6858000"/>
              <a:gd name="connsiteX876" fmla="*/ 4348002 w 7472601"/>
              <a:gd name="connsiteY876" fmla="*/ 2205895 h 6858000"/>
              <a:gd name="connsiteX877" fmla="*/ 4262250 w 7472601"/>
              <a:gd name="connsiteY877" fmla="*/ 2219972 h 6858000"/>
              <a:gd name="connsiteX878" fmla="*/ 4550611 w 7472601"/>
              <a:gd name="connsiteY878" fmla="*/ 817540 h 6858000"/>
              <a:gd name="connsiteX879" fmla="*/ 4564418 w 7472601"/>
              <a:gd name="connsiteY879" fmla="*/ 808293 h 6858000"/>
              <a:gd name="connsiteX880" fmla="*/ 4266388 w 7472601"/>
              <a:gd name="connsiteY880" fmla="*/ 500083 h 6858000"/>
              <a:gd name="connsiteX881" fmla="*/ 4032842 w 7472601"/>
              <a:gd name="connsiteY881" fmla="*/ 211809 h 6858000"/>
              <a:gd name="connsiteX882" fmla="*/ 3882765 w 7472601"/>
              <a:gd name="connsiteY882" fmla="*/ 0 h 6858000"/>
              <a:gd name="connsiteX883" fmla="*/ 3721337 w 7472601"/>
              <a:gd name="connsiteY883" fmla="*/ 0 h 6858000"/>
              <a:gd name="connsiteX884" fmla="*/ 3797544 w 7472601"/>
              <a:gd name="connsiteY884" fmla="*/ 0 h 6858000"/>
              <a:gd name="connsiteX885" fmla="*/ 3775734 w 7472601"/>
              <a:gd name="connsiteY885" fmla="*/ 95131 h 6858000"/>
              <a:gd name="connsiteX886" fmla="*/ 3724807 w 7472601"/>
              <a:gd name="connsiteY886" fmla="*/ 272257 h 6858000"/>
              <a:gd name="connsiteX887" fmla="*/ 3726844 w 7472601"/>
              <a:gd name="connsiteY887" fmla="*/ 282988 h 6858000"/>
              <a:gd name="connsiteX888" fmla="*/ 3742664 w 7472601"/>
              <a:gd name="connsiteY888" fmla="*/ 279918 h 6858000"/>
              <a:gd name="connsiteX889" fmla="*/ 4103910 w 7472601"/>
              <a:gd name="connsiteY889" fmla="*/ 1161917 h 6858000"/>
              <a:gd name="connsiteX890" fmla="*/ 4020269 w 7472601"/>
              <a:gd name="connsiteY890" fmla="*/ 1200406 h 6858000"/>
              <a:gd name="connsiteX891" fmla="*/ 3674882 w 7472601"/>
              <a:gd name="connsiteY891" fmla="*/ 488524 h 6858000"/>
              <a:gd name="connsiteX892" fmla="*/ 3132682 w 7472601"/>
              <a:gd name="connsiteY892" fmla="*/ 1072284 h 6858000"/>
              <a:gd name="connsiteX893" fmla="*/ 2716346 w 7472601"/>
              <a:gd name="connsiteY893" fmla="*/ 1276376 h 6858000"/>
              <a:gd name="connsiteX894" fmla="*/ 2716772 w 7472601"/>
              <a:gd name="connsiteY894" fmla="*/ 1255462 h 6858000"/>
              <a:gd name="connsiteX895" fmla="*/ 3471096 w 7472601"/>
              <a:gd name="connsiteY895" fmla="*/ 437072 h 6858000"/>
              <a:gd name="connsiteX896" fmla="*/ 3639057 w 7472601"/>
              <a:gd name="connsiteY896" fmla="*/ 286334 h 6858000"/>
              <a:gd name="connsiteX897" fmla="*/ 3640309 w 7472601"/>
              <a:gd name="connsiteY897" fmla="*/ 284664 h 6858000"/>
              <a:gd name="connsiteX898" fmla="*/ 3646022 w 7472601"/>
              <a:gd name="connsiteY898" fmla="*/ 276711 h 6858000"/>
              <a:gd name="connsiteX899" fmla="*/ 3707943 w 7472601"/>
              <a:gd name="connsiteY899" fmla="*/ 65958 h 6858000"/>
              <a:gd name="connsiteX900" fmla="*/ 3721337 w 7472601"/>
              <a:gd name="connsiteY900" fmla="*/ 0 h 6858000"/>
              <a:gd name="connsiteX901" fmla="*/ 2867960 w 7472601"/>
              <a:gd name="connsiteY901" fmla="*/ 0 h 6858000"/>
              <a:gd name="connsiteX902" fmla="*/ 2926351 w 7472601"/>
              <a:gd name="connsiteY902" fmla="*/ 0 h 6858000"/>
              <a:gd name="connsiteX903" fmla="*/ 2902823 w 7472601"/>
              <a:gd name="connsiteY903" fmla="*/ 262929 h 6858000"/>
              <a:gd name="connsiteX904" fmla="*/ 2940663 w 7472601"/>
              <a:gd name="connsiteY904" fmla="*/ 140884 h 6858000"/>
              <a:gd name="connsiteX905" fmla="*/ 2947039 w 7472601"/>
              <a:gd name="connsiteY905" fmla="*/ 122524 h 6858000"/>
              <a:gd name="connsiteX906" fmla="*/ 2984316 w 7472601"/>
              <a:gd name="connsiteY906" fmla="*/ 0 h 6858000"/>
              <a:gd name="connsiteX907" fmla="*/ 3016114 w 7472601"/>
              <a:gd name="connsiteY907" fmla="*/ 0 h 6858000"/>
              <a:gd name="connsiteX908" fmla="*/ 2979949 w 7472601"/>
              <a:gd name="connsiteY908" fmla="*/ 119274 h 6858000"/>
              <a:gd name="connsiteX909" fmla="*/ 3023879 w 7472601"/>
              <a:gd name="connsiteY909" fmla="*/ 0 h 6858000"/>
              <a:gd name="connsiteX910" fmla="*/ 3105400 w 7472601"/>
              <a:gd name="connsiteY910" fmla="*/ 0 h 6858000"/>
              <a:gd name="connsiteX911" fmla="*/ 3094669 w 7472601"/>
              <a:gd name="connsiteY911" fmla="*/ 30308 h 6858000"/>
              <a:gd name="connsiteX912" fmla="*/ 2901945 w 7472601"/>
              <a:gd name="connsiteY912" fmla="*/ 466538 h 6858000"/>
              <a:gd name="connsiteX913" fmla="*/ 2815209 w 7472601"/>
              <a:gd name="connsiteY913" fmla="*/ 497361 h 6858000"/>
              <a:gd name="connsiteX914" fmla="*/ 2844845 w 7472601"/>
              <a:gd name="connsiteY914" fmla="*/ 127638 h 6858000"/>
              <a:gd name="connsiteX915" fmla="*/ 2867960 w 7472601"/>
              <a:gd name="connsiteY915" fmla="*/ 0 h 6858000"/>
              <a:gd name="connsiteX916" fmla="*/ 1057230 w 7472601"/>
              <a:gd name="connsiteY916" fmla="*/ 0 h 6858000"/>
              <a:gd name="connsiteX917" fmla="*/ 1111003 w 7472601"/>
              <a:gd name="connsiteY917" fmla="*/ 0 h 6858000"/>
              <a:gd name="connsiteX918" fmla="*/ 1125553 w 7472601"/>
              <a:gd name="connsiteY918" fmla="*/ 52588 h 6858000"/>
              <a:gd name="connsiteX919" fmla="*/ 1304276 w 7472601"/>
              <a:gd name="connsiteY919" fmla="*/ 476275 h 6858000"/>
              <a:gd name="connsiteX920" fmla="*/ 1492066 w 7472601"/>
              <a:gd name="connsiteY920" fmla="*/ 886333 h 6858000"/>
              <a:gd name="connsiteX921" fmla="*/ 1423698 w 7472601"/>
              <a:gd name="connsiteY921" fmla="*/ 710817 h 6858000"/>
              <a:gd name="connsiteX922" fmla="*/ 1357609 w 7472601"/>
              <a:gd name="connsiteY922" fmla="*/ 532892 h 6858000"/>
              <a:gd name="connsiteX923" fmla="*/ 1309550 w 7472601"/>
              <a:gd name="connsiteY923" fmla="*/ 374031 h 6858000"/>
              <a:gd name="connsiteX924" fmla="*/ 1193673 w 7472601"/>
              <a:gd name="connsiteY924" fmla="*/ 49533 h 6858000"/>
              <a:gd name="connsiteX925" fmla="*/ 1164391 w 7472601"/>
              <a:gd name="connsiteY925" fmla="*/ 0 h 6858000"/>
              <a:gd name="connsiteX926" fmla="*/ 1200666 w 7472601"/>
              <a:gd name="connsiteY926" fmla="*/ 0 h 6858000"/>
              <a:gd name="connsiteX927" fmla="*/ 1223408 w 7472601"/>
              <a:gd name="connsiteY927" fmla="*/ 38996 h 6858000"/>
              <a:gd name="connsiteX928" fmla="*/ 1339635 w 7472601"/>
              <a:gd name="connsiteY928" fmla="*/ 365517 h 6858000"/>
              <a:gd name="connsiteX929" fmla="*/ 1387469 w 7472601"/>
              <a:gd name="connsiteY929" fmla="*/ 523079 h 6858000"/>
              <a:gd name="connsiteX930" fmla="*/ 1452685 w 7472601"/>
              <a:gd name="connsiteY930" fmla="*/ 699806 h 6858000"/>
              <a:gd name="connsiteX931" fmla="*/ 1492092 w 7472601"/>
              <a:gd name="connsiteY931" fmla="*/ 800424 h 6858000"/>
              <a:gd name="connsiteX932" fmla="*/ 1455302 w 7472601"/>
              <a:gd name="connsiteY932" fmla="*/ 632913 h 6858000"/>
              <a:gd name="connsiteX933" fmla="*/ 1222336 w 7472601"/>
              <a:gd name="connsiteY933" fmla="*/ 9480 h 6858000"/>
              <a:gd name="connsiteX934" fmla="*/ 1214634 w 7472601"/>
              <a:gd name="connsiteY934" fmla="*/ 0 h 6858000"/>
              <a:gd name="connsiteX935" fmla="*/ 1289827 w 7472601"/>
              <a:gd name="connsiteY935" fmla="*/ 0 h 6858000"/>
              <a:gd name="connsiteX936" fmla="*/ 1321076 w 7472601"/>
              <a:gd name="connsiteY936" fmla="*/ 59722 h 6858000"/>
              <a:gd name="connsiteX937" fmla="*/ 1512579 w 7472601"/>
              <a:gd name="connsiteY937" fmla="*/ 626441 h 6858000"/>
              <a:gd name="connsiteX938" fmla="*/ 1506076 w 7472601"/>
              <a:gd name="connsiteY938" fmla="*/ 1089289 h 6858000"/>
              <a:gd name="connsiteX939" fmla="*/ 1486346 w 7472601"/>
              <a:gd name="connsiteY939" fmla="*/ 1079919 h 6858000"/>
              <a:gd name="connsiteX940" fmla="*/ 1070511 w 7472601"/>
              <a:gd name="connsiteY940" fmla="*/ 48609 h 6858000"/>
              <a:gd name="connsiteX941" fmla="*/ 1057230 w 7472601"/>
              <a:gd name="connsiteY941" fmla="*/ 0 h 6858000"/>
              <a:gd name="connsiteX942" fmla="*/ 43151 w 7472601"/>
              <a:gd name="connsiteY942" fmla="*/ 0 h 6858000"/>
              <a:gd name="connsiteX943" fmla="*/ 95283 w 7472601"/>
              <a:gd name="connsiteY943" fmla="*/ 0 h 6858000"/>
              <a:gd name="connsiteX944" fmla="*/ 300708 w 7472601"/>
              <a:gd name="connsiteY944" fmla="*/ 154571 h 6858000"/>
              <a:gd name="connsiteX945" fmla="*/ 530414 w 7472601"/>
              <a:gd name="connsiteY945" fmla="*/ 354673 h 6858000"/>
              <a:gd name="connsiteX946" fmla="*/ 333785 w 7472601"/>
              <a:gd name="connsiteY946" fmla="*/ 161564 h 6858000"/>
              <a:gd name="connsiteX947" fmla="*/ 147005 w 7472601"/>
              <a:gd name="connsiteY947" fmla="*/ 0 h 6858000"/>
              <a:gd name="connsiteX948" fmla="*/ 272509 w 7472601"/>
              <a:gd name="connsiteY948" fmla="*/ 0 h 6858000"/>
              <a:gd name="connsiteX949" fmla="*/ 326276 w 7472601"/>
              <a:gd name="connsiteY949" fmla="*/ 45847 h 6858000"/>
              <a:gd name="connsiteX950" fmla="*/ 823759 w 7472601"/>
              <a:gd name="connsiteY950" fmla="*/ 574145 h 6858000"/>
              <a:gd name="connsiteX951" fmla="*/ 811254 w 7472601"/>
              <a:gd name="connsiteY951" fmla="*/ 665546 h 6858000"/>
              <a:gd name="connsiteX952" fmla="*/ 154042 w 7472601"/>
              <a:gd name="connsiteY952" fmla="*/ 261522 h 6858000"/>
              <a:gd name="connsiteX953" fmla="*/ 13550 w 7472601"/>
              <a:gd name="connsiteY953" fmla="*/ 158423 h 6858000"/>
              <a:gd name="connsiteX954" fmla="*/ 0 w 7472601"/>
              <a:gd name="connsiteY954" fmla="*/ 146618 h 6858000"/>
              <a:gd name="connsiteX955" fmla="*/ 0 w 7472601"/>
              <a:gd name="connsiteY955" fmla="*/ 59161 h 6858000"/>
              <a:gd name="connsiteX956" fmla="*/ 45427 w 7472601"/>
              <a:gd name="connsiteY956" fmla="*/ 101078 h 6858000"/>
              <a:gd name="connsiteX957" fmla="*/ 630103 w 7472601"/>
              <a:gd name="connsiteY957" fmla="*/ 485885 h 6858000"/>
              <a:gd name="connsiteX958" fmla="*/ 532040 w 7472601"/>
              <a:gd name="connsiteY958" fmla="*/ 399359 h 6858000"/>
              <a:gd name="connsiteX959" fmla="*/ 517618 w 7472601"/>
              <a:gd name="connsiteY959" fmla="*/ 385726 h 6858000"/>
              <a:gd name="connsiteX960" fmla="*/ 285074 w 7472601"/>
              <a:gd name="connsiteY960" fmla="*/ 182755 h 6858000"/>
              <a:gd name="connsiteX961" fmla="*/ 43151 w 7472601"/>
              <a:gd name="connsiteY961" fmla="*/ 0 h 6858000"/>
              <a:gd name="connsiteX0" fmla="*/ 369702 w 7472601"/>
              <a:gd name="connsiteY0" fmla="*/ 6712169 h 6858000"/>
              <a:gd name="connsiteX1" fmla="*/ 366575 w 7472601"/>
              <a:gd name="connsiteY1" fmla="*/ 6715556 h 6858000"/>
              <a:gd name="connsiteX2" fmla="*/ 371637 w 7472601"/>
              <a:gd name="connsiteY2" fmla="*/ 6713954 h 6858000"/>
              <a:gd name="connsiteX3" fmla="*/ 369702 w 7472601"/>
              <a:gd name="connsiteY3" fmla="*/ 6712169 h 6858000"/>
              <a:gd name="connsiteX4" fmla="*/ 7088673 w 7472601"/>
              <a:gd name="connsiteY4" fmla="*/ 6610396 h 6858000"/>
              <a:gd name="connsiteX5" fmla="*/ 7440138 w 7472601"/>
              <a:gd name="connsiteY5" fmla="*/ 6622648 h 6858000"/>
              <a:gd name="connsiteX6" fmla="*/ 7467600 w 7472601"/>
              <a:gd name="connsiteY6" fmla="*/ 6628217 h 6858000"/>
              <a:gd name="connsiteX7" fmla="*/ 7467600 w 7472601"/>
              <a:gd name="connsiteY7" fmla="*/ 6668575 h 6858000"/>
              <a:gd name="connsiteX8" fmla="*/ 7392322 w 7472601"/>
              <a:gd name="connsiteY8" fmla="*/ 6658238 h 6858000"/>
              <a:gd name="connsiteX9" fmla="*/ 7467600 w 7472601"/>
              <a:gd name="connsiteY9" fmla="*/ 6683873 h 6858000"/>
              <a:gd name="connsiteX10" fmla="*/ 7467600 w 7472601"/>
              <a:gd name="connsiteY10" fmla="*/ 6714215 h 6858000"/>
              <a:gd name="connsiteX11" fmla="*/ 7447383 w 7472601"/>
              <a:gd name="connsiteY11" fmla="*/ 6707202 h 6858000"/>
              <a:gd name="connsiteX12" fmla="*/ 7289862 w 7472601"/>
              <a:gd name="connsiteY12" fmla="*/ 6659827 h 6858000"/>
              <a:gd name="connsiteX13" fmla="*/ 7434024 w 7472601"/>
              <a:gd name="connsiteY13" fmla="*/ 6722130 h 6858000"/>
              <a:gd name="connsiteX14" fmla="*/ 7467600 w 7472601"/>
              <a:gd name="connsiteY14" fmla="*/ 6736157 h 6858000"/>
              <a:gd name="connsiteX15" fmla="*/ 7467600 w 7472601"/>
              <a:gd name="connsiteY15" fmla="*/ 6767913 h 6858000"/>
              <a:gd name="connsiteX16" fmla="*/ 7392158 w 7472601"/>
              <a:gd name="connsiteY16" fmla="*/ 6771365 h 6858000"/>
              <a:gd name="connsiteX17" fmla="*/ 7467600 w 7472601"/>
              <a:gd name="connsiteY17" fmla="*/ 6805948 h 6858000"/>
              <a:gd name="connsiteX18" fmla="*/ 7467600 w 7472601"/>
              <a:gd name="connsiteY18" fmla="*/ 6831490 h 6858000"/>
              <a:gd name="connsiteX19" fmla="*/ 7410696 w 7472601"/>
              <a:gd name="connsiteY19" fmla="*/ 6803861 h 6858000"/>
              <a:gd name="connsiteX20" fmla="*/ 7088673 w 7472601"/>
              <a:gd name="connsiteY20" fmla="*/ 6610396 h 6858000"/>
              <a:gd name="connsiteX21" fmla="*/ 1019354 w 7472601"/>
              <a:gd name="connsiteY21" fmla="*/ 6315006 h 6858000"/>
              <a:gd name="connsiteX22" fmla="*/ 441046 w 7472601"/>
              <a:gd name="connsiteY22" fmla="*/ 6691153 h 6858000"/>
              <a:gd name="connsiteX23" fmla="*/ 1019354 w 7472601"/>
              <a:gd name="connsiteY23" fmla="*/ 6315006 h 6858000"/>
              <a:gd name="connsiteX24" fmla="*/ 991680 w 7472601"/>
              <a:gd name="connsiteY24" fmla="*/ 6298413 h 6858000"/>
              <a:gd name="connsiteX25" fmla="*/ 409060 w 7472601"/>
              <a:gd name="connsiteY25" fmla="*/ 6671470 h 6858000"/>
              <a:gd name="connsiteX26" fmla="*/ 991680 w 7472601"/>
              <a:gd name="connsiteY26" fmla="*/ 6298413 h 6858000"/>
              <a:gd name="connsiteX27" fmla="*/ 103333 w 7472601"/>
              <a:gd name="connsiteY27" fmla="*/ 5699602 h 6858000"/>
              <a:gd name="connsiteX28" fmla="*/ 233938 w 7472601"/>
              <a:gd name="connsiteY28" fmla="*/ 5809416 h 6858000"/>
              <a:gd name="connsiteX29" fmla="*/ 883580 w 7472601"/>
              <a:gd name="connsiteY29" fmla="*/ 6180710 h 6858000"/>
              <a:gd name="connsiteX30" fmla="*/ 487337 w 7472601"/>
              <a:gd name="connsiteY30" fmla="*/ 5950182 h 6858000"/>
              <a:gd name="connsiteX31" fmla="*/ 354051 w 7472601"/>
              <a:gd name="connsiteY31" fmla="*/ 5854912 h 6858000"/>
              <a:gd name="connsiteX32" fmla="*/ 195436 w 7472601"/>
              <a:gd name="connsiteY32" fmla="*/ 5755068 h 6858000"/>
              <a:gd name="connsiteX33" fmla="*/ 103333 w 7472601"/>
              <a:gd name="connsiteY33" fmla="*/ 5699602 h 6858000"/>
              <a:gd name="connsiteX34" fmla="*/ 5539432 w 7472601"/>
              <a:gd name="connsiteY34" fmla="*/ 5642928 h 6858000"/>
              <a:gd name="connsiteX35" fmla="*/ 5555462 w 7472601"/>
              <a:gd name="connsiteY35" fmla="*/ 5694454 h 6858000"/>
              <a:gd name="connsiteX36" fmla="*/ 5828270 w 7472601"/>
              <a:gd name="connsiteY36" fmla="*/ 6320663 h 6858000"/>
              <a:gd name="connsiteX37" fmla="*/ 5947416 w 7472601"/>
              <a:gd name="connsiteY37" fmla="*/ 6574846 h 6858000"/>
              <a:gd name="connsiteX38" fmla="*/ 5539432 w 7472601"/>
              <a:gd name="connsiteY38" fmla="*/ 5642928 h 6858000"/>
              <a:gd name="connsiteX39" fmla="*/ 51253 w 7472601"/>
              <a:gd name="connsiteY39" fmla="*/ 5631825 h 6858000"/>
              <a:gd name="connsiteX40" fmla="*/ 211622 w 7472601"/>
              <a:gd name="connsiteY40" fmla="*/ 5728803 h 6858000"/>
              <a:gd name="connsiteX41" fmla="*/ 371652 w 7472601"/>
              <a:gd name="connsiteY41" fmla="*/ 5829062 h 6858000"/>
              <a:gd name="connsiteX42" fmla="*/ 505903 w 7472601"/>
              <a:gd name="connsiteY42" fmla="*/ 5925221 h 6858000"/>
              <a:gd name="connsiteX43" fmla="*/ 899240 w 7472601"/>
              <a:gd name="connsiteY43" fmla="*/ 6153068 h 6858000"/>
              <a:gd name="connsiteX44" fmla="*/ 988114 w 7472601"/>
              <a:gd name="connsiteY44" fmla="*/ 6174204 h 6858000"/>
              <a:gd name="connsiteX45" fmla="*/ 845971 w 7472601"/>
              <a:gd name="connsiteY45" fmla="*/ 6067177 h 6858000"/>
              <a:gd name="connsiteX46" fmla="*/ 448057 w 7472601"/>
              <a:gd name="connsiteY46" fmla="*/ 5841376 h 6858000"/>
              <a:gd name="connsiteX47" fmla="*/ 51253 w 7472601"/>
              <a:gd name="connsiteY47" fmla="*/ 5631825 h 6858000"/>
              <a:gd name="connsiteX48" fmla="*/ 2606687 w 7472601"/>
              <a:gd name="connsiteY48" fmla="*/ 5630718 h 6858000"/>
              <a:gd name="connsiteX49" fmla="*/ 2645658 w 7472601"/>
              <a:gd name="connsiteY49" fmla="*/ 6640259 h 6858000"/>
              <a:gd name="connsiteX50" fmla="*/ 2606687 w 7472601"/>
              <a:gd name="connsiteY50" fmla="*/ 5630718 h 6858000"/>
              <a:gd name="connsiteX51" fmla="*/ 3642057 w 7472601"/>
              <a:gd name="connsiteY51" fmla="*/ 5573487 h 6858000"/>
              <a:gd name="connsiteX52" fmla="*/ 3632981 w 7472601"/>
              <a:gd name="connsiteY52" fmla="*/ 5579437 h 6858000"/>
              <a:gd name="connsiteX53" fmla="*/ 3382436 w 7472601"/>
              <a:gd name="connsiteY53" fmla="*/ 5952726 h 6858000"/>
              <a:gd name="connsiteX54" fmla="*/ 3191929 w 7472601"/>
              <a:gd name="connsiteY54" fmla="*/ 6662669 h 6858000"/>
              <a:gd name="connsiteX55" fmla="*/ 3369898 w 7472601"/>
              <a:gd name="connsiteY55" fmla="*/ 6081771 h 6858000"/>
              <a:gd name="connsiteX56" fmla="*/ 3642057 w 7472601"/>
              <a:gd name="connsiteY56" fmla="*/ 5573487 h 6858000"/>
              <a:gd name="connsiteX57" fmla="*/ 2650666 w 7472601"/>
              <a:gd name="connsiteY57" fmla="*/ 5530686 h 6858000"/>
              <a:gd name="connsiteX58" fmla="*/ 2650249 w 7472601"/>
              <a:gd name="connsiteY58" fmla="*/ 5532101 h 6858000"/>
              <a:gd name="connsiteX59" fmla="*/ 2663808 w 7472601"/>
              <a:gd name="connsiteY59" fmla="*/ 6535215 h 6858000"/>
              <a:gd name="connsiteX60" fmla="*/ 2665418 w 7472601"/>
              <a:gd name="connsiteY60" fmla="*/ 6132756 h 6858000"/>
              <a:gd name="connsiteX61" fmla="*/ 2650666 w 7472601"/>
              <a:gd name="connsiteY61" fmla="*/ 5530686 h 6858000"/>
              <a:gd name="connsiteX62" fmla="*/ 2680277 w 7472601"/>
              <a:gd name="connsiteY62" fmla="*/ 5479204 h 6858000"/>
              <a:gd name="connsiteX63" fmla="*/ 2678972 w 7472601"/>
              <a:gd name="connsiteY63" fmla="*/ 5481582 h 6858000"/>
              <a:gd name="connsiteX64" fmla="*/ 2696666 w 7472601"/>
              <a:gd name="connsiteY64" fmla="*/ 6133836 h 6858000"/>
              <a:gd name="connsiteX65" fmla="*/ 2695769 w 7472601"/>
              <a:gd name="connsiteY65" fmla="*/ 6390955 h 6858000"/>
              <a:gd name="connsiteX66" fmla="*/ 2739893 w 7472601"/>
              <a:gd name="connsiteY66" fmla="*/ 6108357 h 6858000"/>
              <a:gd name="connsiteX67" fmla="*/ 2680277 w 7472601"/>
              <a:gd name="connsiteY67" fmla="*/ 5479204 h 6858000"/>
              <a:gd name="connsiteX68" fmla="*/ 1132195 w 7472601"/>
              <a:gd name="connsiteY68" fmla="*/ 5467980 h 6858000"/>
              <a:gd name="connsiteX69" fmla="*/ 1679056 w 7472601"/>
              <a:gd name="connsiteY69" fmla="*/ 5516907 h 6858000"/>
              <a:gd name="connsiteX70" fmla="*/ 2128648 w 7472601"/>
              <a:gd name="connsiteY70" fmla="*/ 5474249 h 6858000"/>
              <a:gd name="connsiteX71" fmla="*/ 1825619 w 7472601"/>
              <a:gd name="connsiteY71" fmla="*/ 5478447 h 6858000"/>
              <a:gd name="connsiteX72" fmla="*/ 1737798 w 7472601"/>
              <a:gd name="connsiteY72" fmla="*/ 5483353 h 6858000"/>
              <a:gd name="connsiteX73" fmla="*/ 1132195 w 7472601"/>
              <a:gd name="connsiteY73" fmla="*/ 5467980 h 6858000"/>
              <a:gd name="connsiteX74" fmla="*/ 7454976 w 7472601"/>
              <a:gd name="connsiteY74" fmla="*/ 6318297 h 6858000"/>
              <a:gd name="connsiteX75" fmla="*/ 7467600 w 7472601"/>
              <a:gd name="connsiteY75" fmla="*/ 6012219 h 6858000"/>
              <a:gd name="connsiteX76" fmla="*/ 7356878 w 7472601"/>
              <a:gd name="connsiteY76" fmla="*/ 5981332 h 6858000"/>
              <a:gd name="connsiteX77" fmla="*/ 7467600 w 7472601"/>
              <a:gd name="connsiteY77" fmla="*/ 6163634 h 6858000"/>
              <a:gd name="connsiteX78" fmla="*/ 7448321 w 7472601"/>
              <a:gd name="connsiteY78" fmla="*/ 6190991 h 6858000"/>
              <a:gd name="connsiteX79" fmla="*/ 7467600 w 7472601"/>
              <a:gd name="connsiteY79" fmla="*/ 6221686 h 6858000"/>
              <a:gd name="connsiteX80" fmla="*/ 7467600 w 7472601"/>
              <a:gd name="connsiteY80" fmla="*/ 6334256 h 6858000"/>
              <a:gd name="connsiteX81" fmla="*/ 7454976 w 7472601"/>
              <a:gd name="connsiteY81" fmla="*/ 6318297 h 6858000"/>
              <a:gd name="connsiteX82" fmla="*/ 1456157 w 7472601"/>
              <a:gd name="connsiteY82" fmla="*/ 5371404 h 6858000"/>
              <a:gd name="connsiteX83" fmla="*/ 1244432 w 7472601"/>
              <a:gd name="connsiteY83" fmla="*/ 5385601 h 6858000"/>
              <a:gd name="connsiteX84" fmla="*/ 973990 w 7472601"/>
              <a:gd name="connsiteY84" fmla="*/ 5424940 h 6858000"/>
              <a:gd name="connsiteX85" fmla="*/ 1103809 w 7472601"/>
              <a:gd name="connsiteY85" fmla="*/ 5433720 h 6858000"/>
              <a:gd name="connsiteX86" fmla="*/ 1123454 w 7472601"/>
              <a:gd name="connsiteY86" fmla="*/ 5435727 h 6858000"/>
              <a:gd name="connsiteX87" fmla="*/ 1737017 w 7472601"/>
              <a:gd name="connsiteY87" fmla="*/ 5452183 h 6858000"/>
              <a:gd name="connsiteX88" fmla="*/ 1824397 w 7472601"/>
              <a:gd name="connsiteY88" fmla="*/ 5447757 h 6858000"/>
              <a:gd name="connsiteX89" fmla="*/ 2070059 w 7472601"/>
              <a:gd name="connsiteY89" fmla="*/ 5441660 h 6858000"/>
              <a:gd name="connsiteX90" fmla="*/ 1456157 w 7472601"/>
              <a:gd name="connsiteY90" fmla="*/ 5371404 h 6858000"/>
              <a:gd name="connsiteX91" fmla="*/ 4988186 w 7472601"/>
              <a:gd name="connsiteY91" fmla="*/ 5216467 h 6858000"/>
              <a:gd name="connsiteX92" fmla="*/ 4777334 w 7472601"/>
              <a:gd name="connsiteY92" fmla="*/ 5406072 h 6858000"/>
              <a:gd name="connsiteX93" fmla="*/ 4718341 w 7472601"/>
              <a:gd name="connsiteY93" fmla="*/ 5468043 h 6858000"/>
              <a:gd name="connsiteX94" fmla="*/ 4604655 w 7472601"/>
              <a:gd name="connsiteY94" fmla="*/ 5583434 h 6858000"/>
              <a:gd name="connsiteX95" fmla="*/ 4565074 w 7472601"/>
              <a:gd name="connsiteY95" fmla="*/ 5618550 h 6858000"/>
              <a:gd name="connsiteX96" fmla="*/ 4988186 w 7472601"/>
              <a:gd name="connsiteY96" fmla="*/ 5216467 h 6858000"/>
              <a:gd name="connsiteX97" fmla="*/ 4978032 w 7472601"/>
              <a:gd name="connsiteY97" fmla="*/ 5183809 h 6858000"/>
              <a:gd name="connsiteX98" fmla="*/ 4463413 w 7472601"/>
              <a:gd name="connsiteY98" fmla="*/ 5615162 h 6858000"/>
              <a:gd name="connsiteX99" fmla="*/ 4358134 w 7472601"/>
              <a:gd name="connsiteY99" fmla="*/ 5742791 h 6858000"/>
              <a:gd name="connsiteX100" fmla="*/ 4376219 w 7472601"/>
              <a:gd name="connsiteY100" fmla="*/ 5729027 h 6858000"/>
              <a:gd name="connsiteX101" fmla="*/ 4582340 w 7472601"/>
              <a:gd name="connsiteY101" fmla="*/ 5561037 h 6858000"/>
              <a:gd name="connsiteX102" fmla="*/ 4694684 w 7472601"/>
              <a:gd name="connsiteY102" fmla="*/ 5447098 h 6858000"/>
              <a:gd name="connsiteX103" fmla="*/ 4754123 w 7472601"/>
              <a:gd name="connsiteY103" fmla="*/ 5384643 h 6858000"/>
              <a:gd name="connsiteX104" fmla="*/ 4978032 w 7472601"/>
              <a:gd name="connsiteY104" fmla="*/ 5183809 h 6858000"/>
              <a:gd name="connsiteX105" fmla="*/ 1903353 w 7472601"/>
              <a:gd name="connsiteY105" fmla="*/ 5044827 h 6858000"/>
              <a:gd name="connsiteX106" fmla="*/ 1936931 w 7472601"/>
              <a:gd name="connsiteY106" fmla="*/ 5093954 h 6858000"/>
              <a:gd name="connsiteX107" fmla="*/ 2195868 w 7472601"/>
              <a:gd name="connsiteY107" fmla="*/ 5396574 h 6858000"/>
              <a:gd name="connsiteX108" fmla="*/ 2088852 w 7472601"/>
              <a:gd name="connsiteY108" fmla="*/ 5166123 h 6858000"/>
              <a:gd name="connsiteX109" fmla="*/ 1958241 w 7472601"/>
              <a:gd name="connsiteY109" fmla="*/ 5067955 h 6858000"/>
              <a:gd name="connsiteX110" fmla="*/ 1903353 w 7472601"/>
              <a:gd name="connsiteY110" fmla="*/ 5044827 h 6858000"/>
              <a:gd name="connsiteX111" fmla="*/ 1979378 w 7472601"/>
              <a:gd name="connsiteY111" fmla="*/ 4769504 h 6858000"/>
              <a:gd name="connsiteX112" fmla="*/ 2882120 w 7472601"/>
              <a:gd name="connsiteY112" fmla="*/ 5064547 h 6858000"/>
              <a:gd name="connsiteX113" fmla="*/ 2793103 w 7472601"/>
              <a:gd name="connsiteY113" fmla="*/ 5039699 h 6858000"/>
              <a:gd name="connsiteX114" fmla="*/ 2770041 w 7472601"/>
              <a:gd name="connsiteY114" fmla="*/ 5033634 h 6858000"/>
              <a:gd name="connsiteX115" fmla="*/ 1979378 w 7472601"/>
              <a:gd name="connsiteY115" fmla="*/ 4769504 h 6858000"/>
              <a:gd name="connsiteX116" fmla="*/ 1927410 w 7472601"/>
              <a:gd name="connsiteY116" fmla="*/ 4716164 h 6858000"/>
              <a:gd name="connsiteX117" fmla="*/ 1959587 w 7472601"/>
              <a:gd name="connsiteY117" fmla="*/ 4728849 h 6858000"/>
              <a:gd name="connsiteX118" fmla="*/ 2777707 w 7472601"/>
              <a:gd name="connsiteY118" fmla="*/ 5003991 h 6858000"/>
              <a:gd name="connsiteX119" fmla="*/ 2800768 w 7472601"/>
              <a:gd name="connsiteY119" fmla="*/ 5010056 h 6858000"/>
              <a:gd name="connsiteX120" fmla="*/ 2879408 w 7472601"/>
              <a:gd name="connsiteY120" fmla="*/ 5031590 h 6858000"/>
              <a:gd name="connsiteX121" fmla="*/ 2862295 w 7472601"/>
              <a:gd name="connsiteY121" fmla="*/ 5022958 h 6858000"/>
              <a:gd name="connsiteX122" fmla="*/ 2813343 w 7472601"/>
              <a:gd name="connsiteY122" fmla="*/ 4998369 h 6858000"/>
              <a:gd name="connsiteX123" fmla="*/ 2646245 w 7472601"/>
              <a:gd name="connsiteY123" fmla="*/ 4930999 h 6858000"/>
              <a:gd name="connsiteX124" fmla="*/ 1999243 w 7472601"/>
              <a:gd name="connsiteY124" fmla="*/ 4730524 h 6858000"/>
              <a:gd name="connsiteX125" fmla="*/ 1979527 w 7472601"/>
              <a:gd name="connsiteY125" fmla="*/ 4726651 h 6858000"/>
              <a:gd name="connsiteX126" fmla="*/ 1927410 w 7472601"/>
              <a:gd name="connsiteY126" fmla="*/ 4716164 h 6858000"/>
              <a:gd name="connsiteX127" fmla="*/ 1997014 w 7472601"/>
              <a:gd name="connsiteY127" fmla="*/ 4698007 h 6858000"/>
              <a:gd name="connsiteX128" fmla="*/ 2005458 w 7472601"/>
              <a:gd name="connsiteY128" fmla="*/ 4699540 h 6858000"/>
              <a:gd name="connsiteX129" fmla="*/ 2657186 w 7472601"/>
              <a:gd name="connsiteY129" fmla="*/ 4901687 h 6858000"/>
              <a:gd name="connsiteX130" fmla="*/ 2826662 w 7472601"/>
              <a:gd name="connsiteY130" fmla="*/ 4970362 h 6858000"/>
              <a:gd name="connsiteX131" fmla="*/ 2876100 w 7472601"/>
              <a:gd name="connsiteY131" fmla="*/ 4995397 h 6858000"/>
              <a:gd name="connsiteX132" fmla="*/ 3042600 w 7472601"/>
              <a:gd name="connsiteY132" fmla="*/ 5059532 h 6858000"/>
              <a:gd name="connsiteX133" fmla="*/ 1997014 w 7472601"/>
              <a:gd name="connsiteY133" fmla="*/ 4698007 h 6858000"/>
              <a:gd name="connsiteX134" fmla="*/ 2305292 w 7472601"/>
              <a:gd name="connsiteY134" fmla="*/ 4219492 h 6858000"/>
              <a:gd name="connsiteX135" fmla="*/ 3360922 w 7472601"/>
              <a:gd name="connsiteY135" fmla="*/ 4529373 h 6858000"/>
              <a:gd name="connsiteX136" fmla="*/ 3492420 w 7472601"/>
              <a:gd name="connsiteY136" fmla="*/ 4510145 h 6858000"/>
              <a:gd name="connsiteX137" fmla="*/ 3364086 w 7472601"/>
              <a:gd name="connsiteY137" fmla="*/ 4480340 h 6858000"/>
              <a:gd name="connsiteX138" fmla="*/ 3225818 w 7472601"/>
              <a:gd name="connsiteY138" fmla="*/ 4411822 h 6858000"/>
              <a:gd name="connsiteX139" fmla="*/ 3129696 w 7472601"/>
              <a:gd name="connsiteY139" fmla="*/ 4360704 h 6858000"/>
              <a:gd name="connsiteX140" fmla="*/ 2814545 w 7472601"/>
              <a:gd name="connsiteY140" fmla="*/ 4282955 h 6858000"/>
              <a:gd name="connsiteX141" fmla="*/ 2305292 w 7472601"/>
              <a:gd name="connsiteY141" fmla="*/ 4219492 h 6858000"/>
              <a:gd name="connsiteX142" fmla="*/ 2626982 w 7472601"/>
              <a:gd name="connsiteY142" fmla="*/ 4206450 h 6858000"/>
              <a:gd name="connsiteX143" fmla="*/ 2490617 w 7472601"/>
              <a:gd name="connsiteY143" fmla="*/ 4206951 h 6858000"/>
              <a:gd name="connsiteX144" fmla="*/ 2819869 w 7472601"/>
              <a:gd name="connsiteY144" fmla="*/ 4252936 h 6858000"/>
              <a:gd name="connsiteX145" fmla="*/ 3143018 w 7472601"/>
              <a:gd name="connsiteY145" fmla="*/ 4332698 h 6858000"/>
              <a:gd name="connsiteX146" fmla="*/ 3241520 w 7472601"/>
              <a:gd name="connsiteY146" fmla="*/ 4385112 h 6858000"/>
              <a:gd name="connsiteX147" fmla="*/ 3374575 w 7472601"/>
              <a:gd name="connsiteY147" fmla="*/ 4451517 h 6858000"/>
              <a:gd name="connsiteX148" fmla="*/ 3505221 w 7472601"/>
              <a:gd name="connsiteY148" fmla="*/ 4480757 h 6858000"/>
              <a:gd name="connsiteX149" fmla="*/ 2626982 w 7472601"/>
              <a:gd name="connsiteY149" fmla="*/ 4206450 h 6858000"/>
              <a:gd name="connsiteX150" fmla="*/ 1310106 w 7472601"/>
              <a:gd name="connsiteY150" fmla="*/ 3943217 h 6858000"/>
              <a:gd name="connsiteX151" fmla="*/ 854994 w 7472601"/>
              <a:gd name="connsiteY151" fmla="*/ 4399136 h 6858000"/>
              <a:gd name="connsiteX152" fmla="*/ 742462 w 7472601"/>
              <a:gd name="connsiteY152" fmla="*/ 4594648 h 6858000"/>
              <a:gd name="connsiteX153" fmla="*/ 820602 w 7472601"/>
              <a:gd name="connsiteY153" fmla="*/ 4485915 h 6858000"/>
              <a:gd name="connsiteX154" fmla="*/ 878295 w 7472601"/>
              <a:gd name="connsiteY154" fmla="*/ 4403594 h 6858000"/>
              <a:gd name="connsiteX155" fmla="*/ 1240607 w 7472601"/>
              <a:gd name="connsiteY155" fmla="*/ 4010401 h 6858000"/>
              <a:gd name="connsiteX156" fmla="*/ 1310106 w 7472601"/>
              <a:gd name="connsiteY156" fmla="*/ 3943217 h 6858000"/>
              <a:gd name="connsiteX157" fmla="*/ 1423113 w 7472601"/>
              <a:gd name="connsiteY157" fmla="*/ 3874565 h 6858000"/>
              <a:gd name="connsiteX158" fmla="*/ 1260565 w 7472601"/>
              <a:gd name="connsiteY158" fmla="*/ 4031982 h 6858000"/>
              <a:gd name="connsiteX159" fmla="*/ 901900 w 7472601"/>
              <a:gd name="connsiteY159" fmla="*/ 4421236 h 6858000"/>
              <a:gd name="connsiteX160" fmla="*/ 845044 w 7472601"/>
              <a:gd name="connsiteY160" fmla="*/ 4502436 h 6858000"/>
              <a:gd name="connsiteX161" fmla="*/ 685926 w 7472601"/>
              <a:gd name="connsiteY161" fmla="*/ 4703069 h 6858000"/>
              <a:gd name="connsiteX162" fmla="*/ 684248 w 7472601"/>
              <a:gd name="connsiteY162" fmla="*/ 4706721 h 6858000"/>
              <a:gd name="connsiteX163" fmla="*/ 1423113 w 7472601"/>
              <a:gd name="connsiteY163" fmla="*/ 3874565 h 6858000"/>
              <a:gd name="connsiteX164" fmla="*/ 3316479 w 7472601"/>
              <a:gd name="connsiteY164" fmla="*/ 3872136 h 6858000"/>
              <a:gd name="connsiteX165" fmla="*/ 3546806 w 7472601"/>
              <a:gd name="connsiteY165" fmla="*/ 4356139 h 6858000"/>
              <a:gd name="connsiteX166" fmla="*/ 3364433 w 7472601"/>
              <a:gd name="connsiteY166" fmla="*/ 3953121 h 6858000"/>
              <a:gd name="connsiteX167" fmla="*/ 3316479 w 7472601"/>
              <a:gd name="connsiteY167" fmla="*/ 3872136 h 6858000"/>
              <a:gd name="connsiteX168" fmla="*/ 3291335 w 7472601"/>
              <a:gd name="connsiteY168" fmla="*/ 3767420 h 6858000"/>
              <a:gd name="connsiteX169" fmla="*/ 3390805 w 7472601"/>
              <a:gd name="connsiteY169" fmla="*/ 3937163 h 6858000"/>
              <a:gd name="connsiteX170" fmla="*/ 3579062 w 7472601"/>
              <a:gd name="connsiteY170" fmla="*/ 4359040 h 6858000"/>
              <a:gd name="connsiteX171" fmla="*/ 3467355 w 7472601"/>
              <a:gd name="connsiteY171" fmla="*/ 3988130 h 6858000"/>
              <a:gd name="connsiteX172" fmla="*/ 3310753 w 7472601"/>
              <a:gd name="connsiteY172" fmla="*/ 3787140 h 6858000"/>
              <a:gd name="connsiteX173" fmla="*/ 3291335 w 7472601"/>
              <a:gd name="connsiteY173" fmla="*/ 3767420 h 6858000"/>
              <a:gd name="connsiteX174" fmla="*/ 1635889 w 7472601"/>
              <a:gd name="connsiteY174" fmla="*/ 3709494 h 6858000"/>
              <a:gd name="connsiteX175" fmla="*/ 1634800 w 7472601"/>
              <a:gd name="connsiteY175" fmla="*/ 3731111 h 6858000"/>
              <a:gd name="connsiteX176" fmla="*/ 1635889 w 7472601"/>
              <a:gd name="connsiteY176" fmla="*/ 3709494 h 6858000"/>
              <a:gd name="connsiteX177" fmla="*/ 1510397 w 7472601"/>
              <a:gd name="connsiteY177" fmla="*/ 3684705 h 6858000"/>
              <a:gd name="connsiteX178" fmla="*/ 1146550 w 7472601"/>
              <a:gd name="connsiteY178" fmla="*/ 3802012 h 6858000"/>
              <a:gd name="connsiteX179" fmla="*/ 698834 w 7472601"/>
              <a:gd name="connsiteY179" fmla="*/ 3952272 h 6858000"/>
              <a:gd name="connsiteX180" fmla="*/ 34256 w 7472601"/>
              <a:gd name="connsiteY180" fmla="*/ 4347603 h 6858000"/>
              <a:gd name="connsiteX181" fmla="*/ 527241 w 7472601"/>
              <a:gd name="connsiteY181" fmla="*/ 4065078 h 6858000"/>
              <a:gd name="connsiteX182" fmla="*/ 1510397 w 7472601"/>
              <a:gd name="connsiteY182" fmla="*/ 3684705 h 6858000"/>
              <a:gd name="connsiteX183" fmla="*/ 1313114 w 7472601"/>
              <a:gd name="connsiteY183" fmla="*/ 3655216 h 6858000"/>
              <a:gd name="connsiteX184" fmla="*/ 1109304 w 7472601"/>
              <a:gd name="connsiteY184" fmla="*/ 3669030 h 6858000"/>
              <a:gd name="connsiteX185" fmla="*/ 8129 w 7472601"/>
              <a:gd name="connsiteY185" fmla="*/ 4330519 h 6858000"/>
              <a:gd name="connsiteX186" fmla="*/ 687572 w 7472601"/>
              <a:gd name="connsiteY186" fmla="*/ 3925629 h 6858000"/>
              <a:gd name="connsiteX187" fmla="*/ 1138365 w 7472601"/>
              <a:gd name="connsiteY187" fmla="*/ 3774515 h 6858000"/>
              <a:gd name="connsiteX188" fmla="*/ 1505579 w 7472601"/>
              <a:gd name="connsiteY188" fmla="*/ 3655526 h 6858000"/>
              <a:gd name="connsiteX189" fmla="*/ 1313114 w 7472601"/>
              <a:gd name="connsiteY189" fmla="*/ 3655216 h 6858000"/>
              <a:gd name="connsiteX190" fmla="*/ 3655073 w 7472601"/>
              <a:gd name="connsiteY190" fmla="*/ 3650884 h 6858000"/>
              <a:gd name="connsiteX191" fmla="*/ 3989938 w 7472601"/>
              <a:gd name="connsiteY191" fmla="*/ 3991685 h 6858000"/>
              <a:gd name="connsiteX192" fmla="*/ 4393907 w 7472601"/>
              <a:gd name="connsiteY192" fmla="*/ 4261258 h 6858000"/>
              <a:gd name="connsiteX193" fmla="*/ 4648051 w 7472601"/>
              <a:gd name="connsiteY193" fmla="*/ 4374051 h 6858000"/>
              <a:gd name="connsiteX194" fmla="*/ 4383389 w 7472601"/>
              <a:gd name="connsiteY194" fmla="*/ 4184369 h 6858000"/>
              <a:gd name="connsiteX195" fmla="*/ 4165508 w 7472601"/>
              <a:gd name="connsiteY195" fmla="*/ 4035196 h 6858000"/>
              <a:gd name="connsiteX196" fmla="*/ 4068162 w 7472601"/>
              <a:gd name="connsiteY196" fmla="*/ 3953394 h 6858000"/>
              <a:gd name="connsiteX197" fmla="*/ 3981416 w 7472601"/>
              <a:gd name="connsiteY197" fmla="*/ 3880482 h 6858000"/>
              <a:gd name="connsiteX198" fmla="*/ 3800147 w 7472601"/>
              <a:gd name="connsiteY198" fmla="*/ 3749872 h 6858000"/>
              <a:gd name="connsiteX199" fmla="*/ 3655073 w 7472601"/>
              <a:gd name="connsiteY199" fmla="*/ 3650884 h 6858000"/>
              <a:gd name="connsiteX200" fmla="*/ 3670252 w 7472601"/>
              <a:gd name="connsiteY200" fmla="*/ 3622798 h 6858000"/>
              <a:gd name="connsiteX201" fmla="*/ 3817258 w 7472601"/>
              <a:gd name="connsiteY201" fmla="*/ 3723577 h 6858000"/>
              <a:gd name="connsiteX202" fmla="*/ 4000461 w 7472601"/>
              <a:gd name="connsiteY202" fmla="*/ 3855966 h 6858000"/>
              <a:gd name="connsiteX203" fmla="*/ 4088180 w 7472601"/>
              <a:gd name="connsiteY203" fmla="*/ 3929774 h 6858000"/>
              <a:gd name="connsiteX204" fmla="*/ 4184555 w 7472601"/>
              <a:gd name="connsiteY204" fmla="*/ 4010683 h 6858000"/>
              <a:gd name="connsiteX205" fmla="*/ 4399563 w 7472601"/>
              <a:gd name="connsiteY205" fmla="*/ 4158106 h 6858000"/>
              <a:gd name="connsiteX206" fmla="*/ 4684469 w 7472601"/>
              <a:gd name="connsiteY206" fmla="*/ 4364680 h 6858000"/>
              <a:gd name="connsiteX207" fmla="*/ 4690271 w 7472601"/>
              <a:gd name="connsiteY207" fmla="*/ 4370034 h 6858000"/>
              <a:gd name="connsiteX208" fmla="*/ 4136093 w 7472601"/>
              <a:gd name="connsiteY208" fmla="*/ 3858466 h 6858000"/>
              <a:gd name="connsiteX209" fmla="*/ 3670252 w 7472601"/>
              <a:gd name="connsiteY209" fmla="*/ 3622798 h 6858000"/>
              <a:gd name="connsiteX210" fmla="*/ 4440129 w 7472601"/>
              <a:gd name="connsiteY210" fmla="*/ 3448571 h 6858000"/>
              <a:gd name="connsiteX211" fmla="*/ 4856525 w 7472601"/>
              <a:gd name="connsiteY211" fmla="*/ 3915351 h 6858000"/>
              <a:gd name="connsiteX212" fmla="*/ 5059055 w 7472601"/>
              <a:gd name="connsiteY212" fmla="*/ 4108918 h 6858000"/>
              <a:gd name="connsiteX213" fmla="*/ 5290070 w 7472601"/>
              <a:gd name="connsiteY213" fmla="*/ 4263619 h 6858000"/>
              <a:gd name="connsiteX214" fmla="*/ 4834991 w 7472601"/>
              <a:gd name="connsiteY214" fmla="*/ 3830985 h 6858000"/>
              <a:gd name="connsiteX215" fmla="*/ 4440129 w 7472601"/>
              <a:gd name="connsiteY215" fmla="*/ 3448571 h 6858000"/>
              <a:gd name="connsiteX216" fmla="*/ 4441737 w 7472601"/>
              <a:gd name="connsiteY216" fmla="*/ 3399734 h 6858000"/>
              <a:gd name="connsiteX217" fmla="*/ 4431236 w 7472601"/>
              <a:gd name="connsiteY217" fmla="*/ 3400954 h 6858000"/>
              <a:gd name="connsiteX218" fmla="*/ 4557150 w 7472601"/>
              <a:gd name="connsiteY218" fmla="*/ 3510023 h 6858000"/>
              <a:gd name="connsiteX219" fmla="*/ 4856936 w 7472601"/>
              <a:gd name="connsiteY219" fmla="*/ 3809146 h 6858000"/>
              <a:gd name="connsiteX220" fmla="*/ 5111996 w 7472601"/>
              <a:gd name="connsiteY220" fmla="*/ 4065759 h 6858000"/>
              <a:gd name="connsiteX221" fmla="*/ 5388878 w 7472601"/>
              <a:gd name="connsiteY221" fmla="*/ 4300185 h 6858000"/>
              <a:gd name="connsiteX222" fmla="*/ 5425556 w 7472601"/>
              <a:gd name="connsiteY222" fmla="*/ 4308967 h 6858000"/>
              <a:gd name="connsiteX223" fmla="*/ 4943646 w 7472601"/>
              <a:gd name="connsiteY223" fmla="*/ 3822916 h 6858000"/>
              <a:gd name="connsiteX224" fmla="*/ 4594837 w 7472601"/>
              <a:gd name="connsiteY224" fmla="*/ 3532274 h 6858000"/>
              <a:gd name="connsiteX225" fmla="*/ 4441737 w 7472601"/>
              <a:gd name="connsiteY225" fmla="*/ 3399734 h 6858000"/>
              <a:gd name="connsiteX226" fmla="*/ 5425834 w 7472601"/>
              <a:gd name="connsiteY226" fmla="*/ 3162785 h 6858000"/>
              <a:gd name="connsiteX227" fmla="*/ 5401644 w 7472601"/>
              <a:gd name="connsiteY227" fmla="*/ 3617847 h 6858000"/>
              <a:gd name="connsiteX228" fmla="*/ 5467256 w 7472601"/>
              <a:gd name="connsiteY228" fmla="*/ 4175494 h 6858000"/>
              <a:gd name="connsiteX229" fmla="*/ 5448069 w 7472601"/>
              <a:gd name="connsiteY229" fmla="*/ 3567554 h 6858000"/>
              <a:gd name="connsiteX230" fmla="*/ 5425834 w 7472601"/>
              <a:gd name="connsiteY230" fmla="*/ 3162785 h 6858000"/>
              <a:gd name="connsiteX231" fmla="*/ 1318687 w 7472601"/>
              <a:gd name="connsiteY231" fmla="*/ 3113840 h 6858000"/>
              <a:gd name="connsiteX232" fmla="*/ 1066793 w 7472601"/>
              <a:gd name="connsiteY232" fmla="*/ 3212171 h 6858000"/>
              <a:gd name="connsiteX233" fmla="*/ 993319 w 7472601"/>
              <a:gd name="connsiteY233" fmla="*/ 3247648 h 6858000"/>
              <a:gd name="connsiteX234" fmla="*/ 853081 w 7472601"/>
              <a:gd name="connsiteY234" fmla="*/ 3312410 h 6858000"/>
              <a:gd name="connsiteX235" fmla="*/ 805957 w 7472601"/>
              <a:gd name="connsiteY235" fmla="*/ 3330443 h 6858000"/>
              <a:gd name="connsiteX236" fmla="*/ 1318687 w 7472601"/>
              <a:gd name="connsiteY236" fmla="*/ 3113840 h 6858000"/>
              <a:gd name="connsiteX237" fmla="*/ 5453702 w 7472601"/>
              <a:gd name="connsiteY237" fmla="*/ 3090882 h 6858000"/>
              <a:gd name="connsiteX238" fmla="*/ 5480135 w 7472601"/>
              <a:gd name="connsiteY238" fmla="*/ 3565802 h 6858000"/>
              <a:gd name="connsiteX239" fmla="*/ 5499023 w 7472601"/>
              <a:gd name="connsiteY239" fmla="*/ 4166310 h 6858000"/>
              <a:gd name="connsiteX240" fmla="*/ 5547022 w 7472601"/>
              <a:gd name="connsiteY240" fmla="*/ 3607838 h 6858000"/>
              <a:gd name="connsiteX241" fmla="*/ 5515964 w 7472601"/>
              <a:gd name="connsiteY241" fmla="*/ 3378541 h 6858000"/>
              <a:gd name="connsiteX242" fmla="*/ 5453702 w 7472601"/>
              <a:gd name="connsiteY242" fmla="*/ 3090882 h 6858000"/>
              <a:gd name="connsiteX243" fmla="*/ 1238695 w 7472601"/>
              <a:gd name="connsiteY243" fmla="*/ 3076820 h 6858000"/>
              <a:gd name="connsiteX244" fmla="*/ 716371 w 7472601"/>
              <a:gd name="connsiteY244" fmla="*/ 3293249 h 6858000"/>
              <a:gd name="connsiteX245" fmla="*/ 579522 w 7472601"/>
              <a:gd name="connsiteY245" fmla="*/ 3371759 h 6858000"/>
              <a:gd name="connsiteX246" fmla="*/ 600288 w 7472601"/>
              <a:gd name="connsiteY246" fmla="*/ 3365555 h 6858000"/>
              <a:gd name="connsiteX247" fmla="*/ 840692 w 7472601"/>
              <a:gd name="connsiteY247" fmla="*/ 3284921 h 6858000"/>
              <a:gd name="connsiteX248" fmla="*/ 979248 w 7472601"/>
              <a:gd name="connsiteY248" fmla="*/ 3221003 h 6858000"/>
              <a:gd name="connsiteX249" fmla="*/ 1053282 w 7472601"/>
              <a:gd name="connsiteY249" fmla="*/ 3185247 h 6858000"/>
              <a:gd name="connsiteX250" fmla="*/ 1320603 w 7472601"/>
              <a:gd name="connsiteY250" fmla="*/ 3081281 h 6858000"/>
              <a:gd name="connsiteX251" fmla="*/ 1238695 w 7472601"/>
              <a:gd name="connsiteY251" fmla="*/ 3076820 h 6858000"/>
              <a:gd name="connsiteX252" fmla="*/ 5425627 w 7472601"/>
              <a:gd name="connsiteY252" fmla="*/ 2954192 h 6858000"/>
              <a:gd name="connsiteX253" fmla="*/ 5470770 w 7472601"/>
              <a:gd name="connsiteY253" fmla="*/ 3005435 h 6858000"/>
              <a:gd name="connsiteX254" fmla="*/ 5519779 w 7472601"/>
              <a:gd name="connsiteY254" fmla="*/ 4359223 h 6858000"/>
              <a:gd name="connsiteX255" fmla="*/ 5520293 w 7472601"/>
              <a:gd name="connsiteY255" fmla="*/ 4360602 h 6858000"/>
              <a:gd name="connsiteX256" fmla="*/ 5767221 w 7472601"/>
              <a:gd name="connsiteY256" fmla="*/ 4665564 h 6858000"/>
              <a:gd name="connsiteX257" fmla="*/ 6937169 w 7472601"/>
              <a:gd name="connsiteY257" fmla="*/ 4815941 h 6858000"/>
              <a:gd name="connsiteX258" fmla="*/ 6953922 w 7472601"/>
              <a:gd name="connsiteY258" fmla="*/ 4890068 h 6858000"/>
              <a:gd name="connsiteX259" fmla="*/ 6071359 w 7472601"/>
              <a:gd name="connsiteY259" fmla="*/ 4770770 h 6858000"/>
              <a:gd name="connsiteX260" fmla="*/ 6038839 w 7472601"/>
              <a:gd name="connsiteY260" fmla="*/ 4764474 h 6858000"/>
              <a:gd name="connsiteX261" fmla="*/ 6038706 w 7472601"/>
              <a:gd name="connsiteY261" fmla="*/ 4763847 h 6858000"/>
              <a:gd name="connsiteX262" fmla="*/ 6037784 w 7472601"/>
              <a:gd name="connsiteY262" fmla="*/ 4764270 h 6858000"/>
              <a:gd name="connsiteX263" fmla="*/ 6038839 w 7472601"/>
              <a:gd name="connsiteY263" fmla="*/ 4764474 h 6858000"/>
              <a:gd name="connsiteX264" fmla="*/ 6040338 w 7472601"/>
              <a:gd name="connsiteY264" fmla="*/ 4771418 h 6858000"/>
              <a:gd name="connsiteX265" fmla="*/ 6024488 w 7472601"/>
              <a:gd name="connsiteY265" fmla="*/ 4809903 h 6858000"/>
              <a:gd name="connsiteX266" fmla="*/ 5599771 w 7472601"/>
              <a:gd name="connsiteY266" fmla="*/ 5509652 h 6858000"/>
              <a:gd name="connsiteX267" fmla="*/ 5548843 w 7472601"/>
              <a:gd name="connsiteY267" fmla="*/ 5563845 h 6858000"/>
              <a:gd name="connsiteX268" fmla="*/ 5940952 w 7472601"/>
              <a:gd name="connsiteY268" fmla="*/ 6250028 h 6858000"/>
              <a:gd name="connsiteX269" fmla="*/ 6043441 w 7472601"/>
              <a:gd name="connsiteY269" fmla="*/ 6665847 h 6858000"/>
              <a:gd name="connsiteX270" fmla="*/ 6093432 w 7472601"/>
              <a:gd name="connsiteY270" fmla="*/ 6858000 h 6858000"/>
              <a:gd name="connsiteX271" fmla="*/ 6034344 w 7472601"/>
              <a:gd name="connsiteY271" fmla="*/ 6858000 h 6858000"/>
              <a:gd name="connsiteX272" fmla="*/ 6026679 w 7472601"/>
              <a:gd name="connsiteY272" fmla="*/ 6836959 h 6858000"/>
              <a:gd name="connsiteX273" fmla="*/ 5800441 w 7472601"/>
              <a:gd name="connsiteY273" fmla="*/ 6335286 h 6858000"/>
              <a:gd name="connsiteX274" fmla="*/ 5526562 w 7472601"/>
              <a:gd name="connsiteY274" fmla="*/ 5705388 h 6858000"/>
              <a:gd name="connsiteX275" fmla="*/ 5519640 w 7472601"/>
              <a:gd name="connsiteY275" fmla="*/ 5683774 h 6858000"/>
              <a:gd name="connsiteX276" fmla="*/ 5844559 w 7472601"/>
              <a:gd name="connsiteY276" fmla="*/ 6553349 h 6858000"/>
              <a:gd name="connsiteX277" fmla="*/ 5975994 w 7472601"/>
              <a:gd name="connsiteY277" fmla="*/ 6858000 h 6858000"/>
              <a:gd name="connsiteX278" fmla="*/ 5898547 w 7472601"/>
              <a:gd name="connsiteY278" fmla="*/ 6858000 h 6858000"/>
              <a:gd name="connsiteX279" fmla="*/ 5682041 w 7472601"/>
              <a:gd name="connsiteY279" fmla="*/ 6355860 h 6858000"/>
              <a:gd name="connsiteX280" fmla="*/ 5461758 w 7472601"/>
              <a:gd name="connsiteY280" fmla="*/ 5820220 h 6858000"/>
              <a:gd name="connsiteX281" fmla="*/ 5237282 w 7472601"/>
              <a:gd name="connsiteY281" fmla="*/ 6579086 h 6858000"/>
              <a:gd name="connsiteX282" fmla="*/ 5115009 w 7472601"/>
              <a:gd name="connsiteY282" fmla="*/ 6858000 h 6858000"/>
              <a:gd name="connsiteX283" fmla="*/ 5028074 w 7472601"/>
              <a:gd name="connsiteY283" fmla="*/ 6858000 h 6858000"/>
              <a:gd name="connsiteX284" fmla="*/ 5079508 w 7472601"/>
              <a:gd name="connsiteY284" fmla="*/ 6749074 h 6858000"/>
              <a:gd name="connsiteX285" fmla="*/ 5371846 w 7472601"/>
              <a:gd name="connsiteY285" fmla="*/ 5924413 h 6858000"/>
              <a:gd name="connsiteX286" fmla="*/ 5270512 w 7472601"/>
              <a:gd name="connsiteY286" fmla="*/ 6138975 h 6858000"/>
              <a:gd name="connsiteX287" fmla="*/ 5062409 w 7472601"/>
              <a:gd name="connsiteY287" fmla="*/ 6653544 h 6858000"/>
              <a:gd name="connsiteX288" fmla="*/ 5036628 w 7472601"/>
              <a:gd name="connsiteY288" fmla="*/ 6754247 h 6858000"/>
              <a:gd name="connsiteX289" fmla="*/ 5009112 w 7472601"/>
              <a:gd name="connsiteY289" fmla="*/ 6858000 h 6858000"/>
              <a:gd name="connsiteX290" fmla="*/ 4976679 w 7472601"/>
              <a:gd name="connsiteY290" fmla="*/ 6858000 h 6858000"/>
              <a:gd name="connsiteX291" fmla="*/ 5006537 w 7472601"/>
              <a:gd name="connsiteY291" fmla="*/ 6747068 h 6858000"/>
              <a:gd name="connsiteX292" fmla="*/ 5032723 w 7472601"/>
              <a:gd name="connsiteY292" fmla="*/ 6644957 h 6858000"/>
              <a:gd name="connsiteX293" fmla="*/ 5242949 w 7472601"/>
              <a:gd name="connsiteY293" fmla="*/ 6125175 h 6858000"/>
              <a:gd name="connsiteX294" fmla="*/ 5286321 w 7472601"/>
              <a:gd name="connsiteY294" fmla="*/ 6033555 h 6858000"/>
              <a:gd name="connsiteX295" fmla="*/ 5008210 w 7472601"/>
              <a:gd name="connsiteY295" fmla="*/ 6649194 h 6858000"/>
              <a:gd name="connsiteX296" fmla="*/ 4986321 w 7472601"/>
              <a:gd name="connsiteY296" fmla="*/ 6765687 h 6858000"/>
              <a:gd name="connsiteX297" fmla="*/ 4973474 w 7472601"/>
              <a:gd name="connsiteY297" fmla="*/ 6858000 h 6858000"/>
              <a:gd name="connsiteX298" fmla="*/ 4907178 w 7472601"/>
              <a:gd name="connsiteY298" fmla="*/ 6858000 h 6858000"/>
              <a:gd name="connsiteX299" fmla="*/ 4910810 w 7472601"/>
              <a:gd name="connsiteY299" fmla="*/ 6829660 h 6858000"/>
              <a:gd name="connsiteX300" fmla="*/ 4987461 w 7472601"/>
              <a:gd name="connsiteY300" fmla="*/ 6432994 h 6858000"/>
              <a:gd name="connsiteX301" fmla="*/ 5179262 w 7472601"/>
              <a:gd name="connsiteY301" fmla="*/ 6035044 h 6858000"/>
              <a:gd name="connsiteX302" fmla="*/ 4689678 w 7472601"/>
              <a:gd name="connsiteY302" fmla="*/ 6440241 h 6858000"/>
              <a:gd name="connsiteX303" fmla="*/ 4477543 w 7472601"/>
              <a:gd name="connsiteY303" fmla="*/ 6674836 h 6858000"/>
              <a:gd name="connsiteX304" fmla="*/ 4329957 w 7472601"/>
              <a:gd name="connsiteY304" fmla="*/ 6858000 h 6858000"/>
              <a:gd name="connsiteX305" fmla="*/ 4218595 w 7472601"/>
              <a:gd name="connsiteY305" fmla="*/ 6858000 h 6858000"/>
              <a:gd name="connsiteX306" fmla="*/ 4368888 w 7472601"/>
              <a:gd name="connsiteY306" fmla="*/ 6668412 h 6858000"/>
              <a:gd name="connsiteX307" fmla="*/ 4563091 w 7472601"/>
              <a:gd name="connsiteY307" fmla="*/ 6442508 h 6858000"/>
              <a:gd name="connsiteX308" fmla="*/ 5387324 w 7472601"/>
              <a:gd name="connsiteY308" fmla="*/ 5705830 h 6858000"/>
              <a:gd name="connsiteX309" fmla="*/ 5073620 w 7472601"/>
              <a:gd name="connsiteY309" fmla="*/ 5955437 h 6858000"/>
              <a:gd name="connsiteX310" fmla="*/ 4689789 w 7472601"/>
              <a:gd name="connsiteY310" fmla="*/ 6268382 h 6858000"/>
              <a:gd name="connsiteX311" fmla="*/ 4418722 w 7472601"/>
              <a:gd name="connsiteY311" fmla="*/ 6570886 h 6858000"/>
              <a:gd name="connsiteX312" fmla="*/ 4214944 w 7472601"/>
              <a:gd name="connsiteY312" fmla="*/ 6858000 h 6858000"/>
              <a:gd name="connsiteX313" fmla="*/ 4177898 w 7472601"/>
              <a:gd name="connsiteY313" fmla="*/ 6858000 h 6858000"/>
              <a:gd name="connsiteX314" fmla="*/ 4391597 w 7472601"/>
              <a:gd name="connsiteY314" fmla="*/ 6556370 h 6858000"/>
              <a:gd name="connsiteX315" fmla="*/ 4668889 w 7472601"/>
              <a:gd name="connsiteY315" fmla="*/ 6246399 h 6858000"/>
              <a:gd name="connsiteX316" fmla="*/ 5055427 w 7472601"/>
              <a:gd name="connsiteY316" fmla="*/ 5931476 h 6858000"/>
              <a:gd name="connsiteX317" fmla="*/ 5371814 w 7472601"/>
              <a:gd name="connsiteY317" fmla="*/ 5678975 h 6858000"/>
              <a:gd name="connsiteX318" fmla="*/ 4987918 w 7472601"/>
              <a:gd name="connsiteY318" fmla="*/ 5838701 h 6858000"/>
              <a:gd name="connsiteX319" fmla="*/ 4317146 w 7472601"/>
              <a:gd name="connsiteY319" fmla="*/ 6587716 h 6858000"/>
              <a:gd name="connsiteX320" fmla="*/ 4171627 w 7472601"/>
              <a:gd name="connsiteY320" fmla="*/ 6858000 h 6858000"/>
              <a:gd name="connsiteX321" fmla="*/ 4081585 w 7472601"/>
              <a:gd name="connsiteY321" fmla="*/ 6858000 h 6858000"/>
              <a:gd name="connsiteX322" fmla="*/ 4238603 w 7472601"/>
              <a:gd name="connsiteY322" fmla="*/ 6559341 h 6858000"/>
              <a:gd name="connsiteX323" fmla="*/ 4778333 w 7472601"/>
              <a:gd name="connsiteY323" fmla="*/ 5873626 h 6858000"/>
              <a:gd name="connsiteX324" fmla="*/ 5414185 w 7472601"/>
              <a:gd name="connsiteY324" fmla="*/ 5573882 h 6858000"/>
              <a:gd name="connsiteX325" fmla="*/ 5959648 w 7472601"/>
              <a:gd name="connsiteY325" fmla="*/ 4760797 h 6858000"/>
              <a:gd name="connsiteX326" fmla="*/ 5355019 w 7472601"/>
              <a:gd name="connsiteY326" fmla="*/ 4734672 h 6858000"/>
              <a:gd name="connsiteX327" fmla="*/ 5083565 w 7472601"/>
              <a:gd name="connsiteY327" fmla="*/ 5179121 h 6858000"/>
              <a:gd name="connsiteX328" fmla="*/ 4713577 w 7472601"/>
              <a:gd name="connsiteY328" fmla="*/ 5616803 h 6858000"/>
              <a:gd name="connsiteX329" fmla="*/ 3989559 w 7472601"/>
              <a:gd name="connsiteY329" fmla="*/ 6145945 h 6858000"/>
              <a:gd name="connsiteX330" fmla="*/ 3939824 w 7472601"/>
              <a:gd name="connsiteY330" fmla="*/ 6066900 h 6858000"/>
              <a:gd name="connsiteX331" fmla="*/ 4584537 w 7472601"/>
              <a:gd name="connsiteY331" fmla="*/ 5324826 h 6858000"/>
              <a:gd name="connsiteX332" fmla="*/ 5037105 w 7472601"/>
              <a:gd name="connsiteY332" fmla="*/ 5088765 h 6858000"/>
              <a:gd name="connsiteX333" fmla="*/ 5039930 w 7472601"/>
              <a:gd name="connsiteY333" fmla="*/ 5089585 h 6858000"/>
              <a:gd name="connsiteX334" fmla="*/ 5263764 w 7472601"/>
              <a:gd name="connsiteY334" fmla="*/ 4735525 h 6858000"/>
              <a:gd name="connsiteX335" fmla="*/ 4086300 w 7472601"/>
              <a:gd name="connsiteY335" fmla="*/ 4884599 h 6858000"/>
              <a:gd name="connsiteX336" fmla="*/ 4085485 w 7472601"/>
              <a:gd name="connsiteY336" fmla="*/ 4899070 h 6858000"/>
              <a:gd name="connsiteX337" fmla="*/ 3871915 w 7472601"/>
              <a:gd name="connsiteY337" fmla="*/ 5253645 h 6858000"/>
              <a:gd name="connsiteX338" fmla="*/ 3799374 w 7472601"/>
              <a:gd name="connsiteY338" fmla="*/ 5466127 h 6858000"/>
              <a:gd name="connsiteX339" fmla="*/ 3498850 w 7472601"/>
              <a:gd name="connsiteY339" fmla="*/ 6661888 h 6858000"/>
              <a:gd name="connsiteX340" fmla="*/ 3399216 w 7472601"/>
              <a:gd name="connsiteY340" fmla="*/ 6858000 h 6858000"/>
              <a:gd name="connsiteX341" fmla="*/ 3303688 w 7472601"/>
              <a:gd name="connsiteY341" fmla="*/ 6858000 h 6858000"/>
              <a:gd name="connsiteX342" fmla="*/ 3391774 w 7472601"/>
              <a:gd name="connsiteY342" fmla="*/ 6697181 h 6858000"/>
              <a:gd name="connsiteX343" fmla="*/ 3735540 w 7472601"/>
              <a:gd name="connsiteY343" fmla="*/ 5546923 h 6858000"/>
              <a:gd name="connsiteX344" fmla="*/ 3729438 w 7472601"/>
              <a:gd name="connsiteY344" fmla="*/ 5569058 h 6858000"/>
              <a:gd name="connsiteX345" fmla="*/ 3707782 w 7472601"/>
              <a:gd name="connsiteY345" fmla="*/ 5644908 h 6858000"/>
              <a:gd name="connsiteX346" fmla="*/ 3583827 w 7472601"/>
              <a:gd name="connsiteY346" fmla="*/ 6039215 h 6858000"/>
              <a:gd name="connsiteX347" fmla="*/ 3547861 w 7472601"/>
              <a:gd name="connsiteY347" fmla="*/ 6129609 h 6858000"/>
              <a:gd name="connsiteX348" fmla="*/ 3490905 w 7472601"/>
              <a:gd name="connsiteY348" fmla="*/ 6277660 h 6858000"/>
              <a:gd name="connsiteX349" fmla="*/ 3455859 w 7472601"/>
              <a:gd name="connsiteY349" fmla="*/ 6391301 h 6858000"/>
              <a:gd name="connsiteX350" fmla="*/ 3429112 w 7472601"/>
              <a:gd name="connsiteY350" fmla="*/ 6479469 h 6858000"/>
              <a:gd name="connsiteX351" fmla="*/ 3304862 w 7472601"/>
              <a:gd name="connsiteY351" fmla="*/ 6796476 h 6858000"/>
              <a:gd name="connsiteX352" fmla="*/ 3276071 w 7472601"/>
              <a:gd name="connsiteY352" fmla="*/ 6858000 h 6858000"/>
              <a:gd name="connsiteX353" fmla="*/ 3240805 w 7472601"/>
              <a:gd name="connsiteY353" fmla="*/ 6858000 h 6858000"/>
              <a:gd name="connsiteX354" fmla="*/ 3275917 w 7472601"/>
              <a:gd name="connsiteY354" fmla="*/ 6783192 h 6858000"/>
              <a:gd name="connsiteX355" fmla="*/ 3399358 w 7472601"/>
              <a:gd name="connsiteY355" fmla="*/ 6469011 h 6858000"/>
              <a:gd name="connsiteX356" fmla="*/ 3425650 w 7472601"/>
              <a:gd name="connsiteY356" fmla="*/ 6381333 h 6858000"/>
              <a:gd name="connsiteX357" fmla="*/ 3460661 w 7472601"/>
              <a:gd name="connsiteY357" fmla="*/ 6266763 h 6858000"/>
              <a:gd name="connsiteX358" fmla="*/ 3518021 w 7472601"/>
              <a:gd name="connsiteY358" fmla="*/ 6117298 h 6858000"/>
              <a:gd name="connsiteX359" fmla="*/ 3554035 w 7472601"/>
              <a:gd name="connsiteY359" fmla="*/ 6027832 h 6858000"/>
              <a:gd name="connsiteX360" fmla="*/ 3677174 w 7472601"/>
              <a:gd name="connsiteY360" fmla="*/ 5636351 h 6858000"/>
              <a:gd name="connsiteX361" fmla="*/ 3698819 w 7472601"/>
              <a:gd name="connsiteY361" fmla="*/ 5560503 h 6858000"/>
              <a:gd name="connsiteX362" fmla="*/ 3702094 w 7472601"/>
              <a:gd name="connsiteY362" fmla="*/ 5549194 h 6858000"/>
              <a:gd name="connsiteX363" fmla="*/ 3398355 w 7472601"/>
              <a:gd name="connsiteY363" fmla="*/ 6094603 h 6858000"/>
              <a:gd name="connsiteX364" fmla="*/ 3193941 w 7472601"/>
              <a:gd name="connsiteY364" fmla="*/ 6798775 h 6858000"/>
              <a:gd name="connsiteX365" fmla="*/ 3184140 w 7472601"/>
              <a:gd name="connsiteY365" fmla="*/ 6858000 h 6858000"/>
              <a:gd name="connsiteX366" fmla="*/ 3099978 w 7472601"/>
              <a:gd name="connsiteY366" fmla="*/ 6858000 h 6858000"/>
              <a:gd name="connsiteX367" fmla="*/ 3101556 w 7472601"/>
              <a:gd name="connsiteY367" fmla="*/ 6843337 h 6858000"/>
              <a:gd name="connsiteX368" fmla="*/ 3370162 w 7472601"/>
              <a:gd name="connsiteY368" fmla="*/ 5785550 h 6858000"/>
              <a:gd name="connsiteX369" fmla="*/ 3746477 w 7472601"/>
              <a:gd name="connsiteY369" fmla="*/ 5377889 h 6858000"/>
              <a:gd name="connsiteX370" fmla="*/ 3863399 w 7472601"/>
              <a:gd name="connsiteY370" fmla="*/ 5087257 h 6858000"/>
              <a:gd name="connsiteX371" fmla="*/ 3968712 w 7472601"/>
              <a:gd name="connsiteY371" fmla="*/ 4913989 h 6858000"/>
              <a:gd name="connsiteX372" fmla="*/ 2792390 w 7472601"/>
              <a:gd name="connsiteY372" fmla="*/ 5382974 h 6858000"/>
              <a:gd name="connsiteX373" fmla="*/ 2714982 w 7472601"/>
              <a:gd name="connsiteY373" fmla="*/ 5427051 h 6858000"/>
              <a:gd name="connsiteX374" fmla="*/ 2813361 w 7472601"/>
              <a:gd name="connsiteY374" fmla="*/ 6023912 h 6858000"/>
              <a:gd name="connsiteX375" fmla="*/ 2688430 w 7472601"/>
              <a:gd name="connsiteY375" fmla="*/ 6801564 h 6858000"/>
              <a:gd name="connsiteX376" fmla="*/ 2629626 w 7472601"/>
              <a:gd name="connsiteY376" fmla="*/ 6763394 h 6858000"/>
              <a:gd name="connsiteX377" fmla="*/ 2565328 w 7472601"/>
              <a:gd name="connsiteY377" fmla="*/ 5516399 h 6858000"/>
              <a:gd name="connsiteX378" fmla="*/ 1922999 w 7472601"/>
              <a:gd name="connsiteY378" fmla="*/ 5980343 h 6858000"/>
              <a:gd name="connsiteX379" fmla="*/ 1950261 w 7472601"/>
              <a:gd name="connsiteY379" fmla="*/ 6405858 h 6858000"/>
              <a:gd name="connsiteX380" fmla="*/ 2365554 w 7472601"/>
              <a:gd name="connsiteY380" fmla="*/ 6759107 h 6858000"/>
              <a:gd name="connsiteX381" fmla="*/ 2424142 w 7472601"/>
              <a:gd name="connsiteY381" fmla="*/ 6858000 h 6858000"/>
              <a:gd name="connsiteX382" fmla="*/ 2395994 w 7472601"/>
              <a:gd name="connsiteY382" fmla="*/ 6858000 h 6858000"/>
              <a:gd name="connsiteX383" fmla="*/ 2392863 w 7472601"/>
              <a:gd name="connsiteY383" fmla="*/ 6852964 h 6858000"/>
              <a:gd name="connsiteX384" fmla="*/ 2017589 w 7472601"/>
              <a:gd name="connsiteY384" fmla="*/ 6493982 h 6858000"/>
              <a:gd name="connsiteX385" fmla="*/ 2147336 w 7472601"/>
              <a:gd name="connsiteY385" fmla="*/ 6594052 h 6858000"/>
              <a:gd name="connsiteX386" fmla="*/ 2207047 w 7472601"/>
              <a:gd name="connsiteY386" fmla="*/ 6654540 h 6858000"/>
              <a:gd name="connsiteX387" fmla="*/ 2299106 w 7472601"/>
              <a:gd name="connsiteY387" fmla="*/ 6778931 h 6858000"/>
              <a:gd name="connsiteX388" fmla="*/ 2314430 w 7472601"/>
              <a:gd name="connsiteY388" fmla="*/ 6801144 h 6858000"/>
              <a:gd name="connsiteX389" fmla="*/ 2352406 w 7472601"/>
              <a:gd name="connsiteY389" fmla="*/ 6858000 h 6858000"/>
              <a:gd name="connsiteX390" fmla="*/ 2314492 w 7472601"/>
              <a:gd name="connsiteY390" fmla="*/ 6858000 h 6858000"/>
              <a:gd name="connsiteX391" fmla="*/ 2288095 w 7472601"/>
              <a:gd name="connsiteY391" fmla="*/ 6818030 h 6858000"/>
              <a:gd name="connsiteX392" fmla="*/ 2272768 w 7472601"/>
              <a:gd name="connsiteY392" fmla="*/ 6795822 h 6858000"/>
              <a:gd name="connsiteX393" fmla="*/ 2182715 w 7472601"/>
              <a:gd name="connsiteY393" fmla="*/ 6675071 h 6858000"/>
              <a:gd name="connsiteX394" fmla="*/ 2032061 w 7472601"/>
              <a:gd name="connsiteY394" fmla="*/ 6541380 h 6858000"/>
              <a:gd name="connsiteX395" fmla="*/ 2257220 w 7472601"/>
              <a:gd name="connsiteY395" fmla="*/ 6826257 h 6858000"/>
              <a:gd name="connsiteX396" fmla="*/ 2281324 w 7472601"/>
              <a:gd name="connsiteY396" fmla="*/ 6858000 h 6858000"/>
              <a:gd name="connsiteX397" fmla="*/ 2242860 w 7472601"/>
              <a:gd name="connsiteY397" fmla="*/ 6858000 h 6858000"/>
              <a:gd name="connsiteX398" fmla="*/ 2232818 w 7472601"/>
              <a:gd name="connsiteY398" fmla="*/ 6844926 h 6858000"/>
              <a:gd name="connsiteX399" fmla="*/ 1990172 w 7472601"/>
              <a:gd name="connsiteY399" fmla="*/ 6542121 h 6858000"/>
              <a:gd name="connsiteX400" fmla="*/ 2124090 w 7472601"/>
              <a:gd name="connsiteY400" fmla="*/ 6761017 h 6858000"/>
              <a:gd name="connsiteX401" fmla="*/ 2200380 w 7472601"/>
              <a:gd name="connsiteY401" fmla="*/ 6858000 h 6858000"/>
              <a:gd name="connsiteX402" fmla="*/ 2147507 w 7472601"/>
              <a:gd name="connsiteY402" fmla="*/ 6858000 h 6858000"/>
              <a:gd name="connsiteX403" fmla="*/ 2070668 w 7472601"/>
              <a:gd name="connsiteY403" fmla="*/ 6761520 h 6858000"/>
              <a:gd name="connsiteX404" fmla="*/ 1975142 w 7472601"/>
              <a:gd name="connsiteY404" fmla="*/ 6585570 h 6858000"/>
              <a:gd name="connsiteX405" fmla="*/ 2050035 w 7472601"/>
              <a:gd name="connsiteY405" fmla="*/ 6813345 h 6858000"/>
              <a:gd name="connsiteX406" fmla="*/ 2063025 w 7472601"/>
              <a:gd name="connsiteY406" fmla="*/ 6858000 h 6858000"/>
              <a:gd name="connsiteX407" fmla="*/ 2021675 w 7472601"/>
              <a:gd name="connsiteY407" fmla="*/ 6858000 h 6858000"/>
              <a:gd name="connsiteX408" fmla="*/ 2019308 w 7472601"/>
              <a:gd name="connsiteY408" fmla="*/ 6847118 h 6858000"/>
              <a:gd name="connsiteX409" fmla="*/ 1938835 w 7472601"/>
              <a:gd name="connsiteY409" fmla="*/ 6551160 h 6858000"/>
              <a:gd name="connsiteX410" fmla="*/ 1953230 w 7472601"/>
              <a:gd name="connsiteY410" fmla="*/ 6759699 h 6858000"/>
              <a:gd name="connsiteX411" fmla="*/ 1956763 w 7472601"/>
              <a:gd name="connsiteY411" fmla="*/ 6778191 h 6858000"/>
              <a:gd name="connsiteX412" fmla="*/ 1967925 w 7472601"/>
              <a:gd name="connsiteY412" fmla="*/ 6858000 h 6858000"/>
              <a:gd name="connsiteX413" fmla="*/ 1936622 w 7472601"/>
              <a:gd name="connsiteY413" fmla="*/ 6858000 h 6858000"/>
              <a:gd name="connsiteX414" fmla="*/ 1926261 w 7472601"/>
              <a:gd name="connsiteY414" fmla="*/ 6784064 h 6858000"/>
              <a:gd name="connsiteX415" fmla="*/ 1922724 w 7472601"/>
              <a:gd name="connsiteY415" fmla="*/ 6765577 h 6858000"/>
              <a:gd name="connsiteX416" fmla="*/ 1904650 w 7472601"/>
              <a:gd name="connsiteY416" fmla="*/ 6639616 h 6858000"/>
              <a:gd name="connsiteX417" fmla="*/ 1885273 w 7472601"/>
              <a:gd name="connsiteY417" fmla="*/ 6858000 h 6858000"/>
              <a:gd name="connsiteX418" fmla="*/ 1854363 w 7472601"/>
              <a:gd name="connsiteY418" fmla="*/ 6858000 h 6858000"/>
              <a:gd name="connsiteX419" fmla="*/ 1880391 w 7472601"/>
              <a:gd name="connsiteY419" fmla="*/ 6603796 h 6858000"/>
              <a:gd name="connsiteX420" fmla="*/ 1818273 w 7472601"/>
              <a:gd name="connsiteY420" fmla="*/ 6715729 h 6858000"/>
              <a:gd name="connsiteX421" fmla="*/ 1794691 w 7472601"/>
              <a:gd name="connsiteY421" fmla="*/ 6843239 h 6858000"/>
              <a:gd name="connsiteX422" fmla="*/ 1794914 w 7472601"/>
              <a:gd name="connsiteY422" fmla="*/ 6858000 h 6858000"/>
              <a:gd name="connsiteX423" fmla="*/ 1746128 w 7472601"/>
              <a:gd name="connsiteY423" fmla="*/ 6858000 h 6858000"/>
              <a:gd name="connsiteX424" fmla="*/ 1753934 w 7472601"/>
              <a:gd name="connsiteY424" fmla="*/ 6724796 h 6858000"/>
              <a:gd name="connsiteX425" fmla="*/ 1792053 w 7472601"/>
              <a:gd name="connsiteY425" fmla="*/ 6572396 h 6858000"/>
              <a:gd name="connsiteX426" fmla="*/ 1862248 w 7472601"/>
              <a:gd name="connsiteY426" fmla="*/ 6266397 h 6858000"/>
              <a:gd name="connsiteX427" fmla="*/ 1862250 w 7472601"/>
              <a:gd name="connsiteY427" fmla="*/ 6033531 h 6858000"/>
              <a:gd name="connsiteX428" fmla="*/ 1211999 w 7472601"/>
              <a:gd name="connsiteY428" fmla="*/ 6683610 h 6858000"/>
              <a:gd name="connsiteX429" fmla="*/ 1213266 w 7472601"/>
              <a:gd name="connsiteY429" fmla="*/ 6691947 h 6858000"/>
              <a:gd name="connsiteX430" fmla="*/ 1203370 w 7472601"/>
              <a:gd name="connsiteY430" fmla="*/ 6850676 h 6858000"/>
              <a:gd name="connsiteX431" fmla="*/ 1203671 w 7472601"/>
              <a:gd name="connsiteY431" fmla="*/ 6858000 h 6858000"/>
              <a:gd name="connsiteX432" fmla="*/ 1143180 w 7472601"/>
              <a:gd name="connsiteY432" fmla="*/ 6858000 h 6858000"/>
              <a:gd name="connsiteX433" fmla="*/ 1142176 w 7472601"/>
              <a:gd name="connsiteY433" fmla="*/ 6766045 h 6858000"/>
              <a:gd name="connsiteX434" fmla="*/ 1067484 w 7472601"/>
              <a:gd name="connsiteY434" fmla="*/ 6858000 h 6858000"/>
              <a:gd name="connsiteX435" fmla="*/ 953928 w 7472601"/>
              <a:gd name="connsiteY435" fmla="*/ 6858000 h 6858000"/>
              <a:gd name="connsiteX436" fmla="*/ 959715 w 7472601"/>
              <a:gd name="connsiteY436" fmla="*/ 6850185 h 6858000"/>
              <a:gd name="connsiteX437" fmla="*/ 1483788 w 7472601"/>
              <a:gd name="connsiteY437" fmla="*/ 6259174 h 6858000"/>
              <a:gd name="connsiteX438" fmla="*/ 1100671 w 7472601"/>
              <a:gd name="connsiteY438" fmla="*/ 6252137 h 6858000"/>
              <a:gd name="connsiteX439" fmla="*/ 1090144 w 7472601"/>
              <a:gd name="connsiteY439" fmla="*/ 6256748 h 6858000"/>
              <a:gd name="connsiteX440" fmla="*/ 1095872 w 7472601"/>
              <a:gd name="connsiteY440" fmla="*/ 6271892 h 6858000"/>
              <a:gd name="connsiteX441" fmla="*/ 262785 w 7472601"/>
              <a:gd name="connsiteY441" fmla="*/ 6845450 h 6858000"/>
              <a:gd name="connsiteX442" fmla="*/ 209968 w 7472601"/>
              <a:gd name="connsiteY442" fmla="*/ 6770713 h 6858000"/>
              <a:gd name="connsiteX443" fmla="*/ 873460 w 7472601"/>
              <a:gd name="connsiteY443" fmla="*/ 6253768 h 6858000"/>
              <a:gd name="connsiteX444" fmla="*/ 192686 w 7472601"/>
              <a:gd name="connsiteY444" fmla="*/ 5849257 h 6858000"/>
              <a:gd name="connsiteX445" fmla="*/ 4696 w 7472601"/>
              <a:gd name="connsiteY445" fmla="*/ 5697668 h 6858000"/>
              <a:gd name="connsiteX446" fmla="*/ 0 w 7472601"/>
              <a:gd name="connsiteY446" fmla="*/ 5689984 h 6858000"/>
              <a:gd name="connsiteX447" fmla="*/ 0 w 7472601"/>
              <a:gd name="connsiteY447" fmla="*/ 5513472 h 6858000"/>
              <a:gd name="connsiteX448" fmla="*/ 174101 w 7472601"/>
              <a:gd name="connsiteY448" fmla="*/ 5620277 h 6858000"/>
              <a:gd name="connsiteX449" fmla="*/ 891800 w 7472601"/>
              <a:gd name="connsiteY449" fmla="*/ 6036935 h 6858000"/>
              <a:gd name="connsiteX450" fmla="*/ 1072219 w 7472601"/>
              <a:gd name="connsiteY450" fmla="*/ 6169443 h 6858000"/>
              <a:gd name="connsiteX451" fmla="*/ 1074117 w 7472601"/>
              <a:gd name="connsiteY451" fmla="*/ 6170301 h 6858000"/>
              <a:gd name="connsiteX452" fmla="*/ 1083114 w 7472601"/>
              <a:gd name="connsiteY452" fmla="*/ 6174131 h 6858000"/>
              <a:gd name="connsiteX453" fmla="*/ 1543010 w 7472601"/>
              <a:gd name="connsiteY453" fmla="*/ 6191140 h 6858000"/>
              <a:gd name="connsiteX454" fmla="*/ 1551080 w 7472601"/>
              <a:gd name="connsiteY454" fmla="*/ 6195006 h 6858000"/>
              <a:gd name="connsiteX455" fmla="*/ 2345443 w 7472601"/>
              <a:gd name="connsiteY455" fmla="*/ 5549882 h 6858000"/>
              <a:gd name="connsiteX456" fmla="*/ 1721499 w 7472601"/>
              <a:gd name="connsiteY456" fmla="*/ 5599969 h 6858000"/>
              <a:gd name="connsiteX457" fmla="*/ 767716 w 7472601"/>
              <a:gd name="connsiteY457" fmla="*/ 5472768 h 6858000"/>
              <a:gd name="connsiteX458" fmla="*/ 722147 w 7472601"/>
              <a:gd name="connsiteY458" fmla="*/ 5393091 h 6858000"/>
              <a:gd name="connsiteX459" fmla="*/ 1485552 w 7472601"/>
              <a:gd name="connsiteY459" fmla="*/ 5313202 h 6858000"/>
              <a:gd name="connsiteX460" fmla="*/ 2143004 w 7472601"/>
              <a:gd name="connsiteY460" fmla="*/ 5402420 h 6858000"/>
              <a:gd name="connsiteX461" fmla="*/ 1933391 w 7472601"/>
              <a:gd name="connsiteY461" fmla="*/ 5156971 h 6858000"/>
              <a:gd name="connsiteX462" fmla="*/ 1827118 w 7472601"/>
              <a:gd name="connsiteY462" fmla="*/ 4968410 h 6858000"/>
              <a:gd name="connsiteX463" fmla="*/ 1837349 w 7472601"/>
              <a:gd name="connsiteY463" fmla="*/ 4956357 h 6858000"/>
              <a:gd name="connsiteX464" fmla="*/ 2162835 w 7472601"/>
              <a:gd name="connsiteY464" fmla="*/ 5187853 h 6858000"/>
              <a:gd name="connsiteX465" fmla="*/ 2257167 w 7472601"/>
              <a:gd name="connsiteY465" fmla="*/ 5462123 h 6858000"/>
              <a:gd name="connsiteX466" fmla="*/ 2261598 w 7472601"/>
              <a:gd name="connsiteY466" fmla="*/ 5467998 h 6858000"/>
              <a:gd name="connsiteX467" fmla="*/ 2437177 w 7472601"/>
              <a:gd name="connsiteY467" fmla="*/ 5479608 h 6858000"/>
              <a:gd name="connsiteX468" fmla="*/ 2445247 w 7472601"/>
              <a:gd name="connsiteY468" fmla="*/ 5483476 h 6858000"/>
              <a:gd name="connsiteX469" fmla="*/ 2743626 w 7472601"/>
              <a:gd name="connsiteY469" fmla="*/ 5304819 h 6858000"/>
              <a:gd name="connsiteX470" fmla="*/ 3048102 w 7472601"/>
              <a:gd name="connsiteY470" fmla="*/ 5150595 h 6858000"/>
              <a:gd name="connsiteX471" fmla="*/ 1799414 w 7472601"/>
              <a:gd name="connsiteY471" fmla="*/ 4694732 h 6858000"/>
              <a:gd name="connsiteX472" fmla="*/ 1771735 w 7472601"/>
              <a:gd name="connsiteY472" fmla="*/ 4619929 h 6858000"/>
              <a:gd name="connsiteX473" fmla="*/ 3104273 w 7472601"/>
              <a:gd name="connsiteY473" fmla="*/ 5076159 h 6858000"/>
              <a:gd name="connsiteX474" fmla="*/ 3113245 w 7472601"/>
              <a:gd name="connsiteY474" fmla="*/ 5090705 h 6858000"/>
              <a:gd name="connsiteX475" fmla="*/ 3126294 w 7472601"/>
              <a:gd name="connsiteY475" fmla="*/ 5114400 h 6858000"/>
              <a:gd name="connsiteX476" fmla="*/ 3937433 w 7472601"/>
              <a:gd name="connsiteY476" fmla="*/ 4830473 h 6858000"/>
              <a:gd name="connsiteX477" fmla="*/ 3590475 w 7472601"/>
              <a:gd name="connsiteY477" fmla="*/ 4597974 h 6858000"/>
              <a:gd name="connsiteX478" fmla="*/ 3100264 w 7472601"/>
              <a:gd name="connsiteY478" fmla="*/ 4579845 h 6858000"/>
              <a:gd name="connsiteX479" fmla="*/ 2183576 w 7472601"/>
              <a:gd name="connsiteY479" fmla="*/ 4227150 h 6858000"/>
              <a:gd name="connsiteX480" fmla="*/ 2151029 w 7472601"/>
              <a:gd name="connsiteY480" fmla="*/ 4146947 h 6858000"/>
              <a:gd name="connsiteX481" fmla="*/ 3563434 w 7472601"/>
              <a:gd name="connsiteY481" fmla="*/ 4469115 h 6858000"/>
              <a:gd name="connsiteX482" fmla="*/ 3177952 w 7472601"/>
              <a:gd name="connsiteY482" fmla="*/ 3657386 h 6858000"/>
              <a:gd name="connsiteX483" fmla="*/ 3189263 w 7472601"/>
              <a:gd name="connsiteY483" fmla="*/ 3625726 h 6858000"/>
              <a:gd name="connsiteX484" fmla="*/ 3560912 w 7472601"/>
              <a:gd name="connsiteY484" fmla="*/ 4079863 h 6858000"/>
              <a:gd name="connsiteX485" fmla="*/ 3626636 w 7472601"/>
              <a:gd name="connsiteY485" fmla="*/ 4512230 h 6858000"/>
              <a:gd name="connsiteX486" fmla="*/ 3653088 w 7472601"/>
              <a:gd name="connsiteY486" fmla="*/ 4521417 h 6858000"/>
              <a:gd name="connsiteX487" fmla="*/ 3988128 w 7472601"/>
              <a:gd name="connsiteY487" fmla="*/ 4817267 h 6858000"/>
              <a:gd name="connsiteX488" fmla="*/ 4830582 w 7472601"/>
              <a:gd name="connsiteY488" fmla="*/ 4676000 h 6858000"/>
              <a:gd name="connsiteX489" fmla="*/ 4830100 w 7472601"/>
              <a:gd name="connsiteY489" fmla="*/ 4675554 h 6858000"/>
              <a:gd name="connsiteX490" fmla="*/ 4036318 w 7472601"/>
              <a:gd name="connsiteY490" fmla="*/ 4147013 h 6858000"/>
              <a:gd name="connsiteX491" fmla="*/ 3432098 w 7472601"/>
              <a:gd name="connsiteY491" fmla="*/ 3537312 h 6858000"/>
              <a:gd name="connsiteX492" fmla="*/ 3446761 w 7472601"/>
              <a:gd name="connsiteY492" fmla="*/ 3461278 h 6858000"/>
              <a:gd name="connsiteX493" fmla="*/ 4419733 w 7472601"/>
              <a:gd name="connsiteY493" fmla="*/ 3963555 h 6858000"/>
              <a:gd name="connsiteX494" fmla="*/ 4781371 w 7472601"/>
              <a:gd name="connsiteY494" fmla="*/ 4458604 h 6858000"/>
              <a:gd name="connsiteX495" fmla="*/ 4780440 w 7472601"/>
              <a:gd name="connsiteY495" fmla="*/ 4470290 h 6858000"/>
              <a:gd name="connsiteX496" fmla="*/ 4898954 w 7472601"/>
              <a:gd name="connsiteY496" fmla="*/ 4662092 h 6858000"/>
              <a:gd name="connsiteX497" fmla="*/ 4900699 w 7472601"/>
              <a:gd name="connsiteY497" fmla="*/ 4670867 h 6858000"/>
              <a:gd name="connsiteX498" fmla="*/ 5714511 w 7472601"/>
              <a:gd name="connsiteY498" fmla="*/ 4663483 h 6858000"/>
              <a:gd name="connsiteX499" fmla="*/ 5464793 w 7472601"/>
              <a:gd name="connsiteY499" fmla="*/ 4393556 h 6858000"/>
              <a:gd name="connsiteX500" fmla="*/ 5461897 w 7472601"/>
              <a:gd name="connsiteY500" fmla="*/ 4390879 h 6858000"/>
              <a:gd name="connsiteX501" fmla="*/ 4294126 w 7472601"/>
              <a:gd name="connsiteY501" fmla="*/ 3303048 h 6858000"/>
              <a:gd name="connsiteX502" fmla="*/ 4305321 w 7472601"/>
              <a:gd name="connsiteY502" fmla="*/ 3256953 h 6858000"/>
              <a:gd name="connsiteX503" fmla="*/ 4949299 w 7472601"/>
              <a:gd name="connsiteY503" fmla="*/ 3766336 h 6858000"/>
              <a:gd name="connsiteX504" fmla="*/ 5291452 w 7472601"/>
              <a:gd name="connsiteY504" fmla="*/ 4076801 h 6858000"/>
              <a:gd name="connsiteX505" fmla="*/ 5434998 w 7472601"/>
              <a:gd name="connsiteY505" fmla="*/ 4254100 h 6858000"/>
              <a:gd name="connsiteX506" fmla="*/ 5351015 w 7472601"/>
              <a:gd name="connsiteY506" fmla="*/ 3760989 h 6858000"/>
              <a:gd name="connsiteX507" fmla="*/ 5413780 w 7472601"/>
              <a:gd name="connsiteY507" fmla="*/ 2966265 h 6858000"/>
              <a:gd name="connsiteX508" fmla="*/ 5425627 w 7472601"/>
              <a:gd name="connsiteY508" fmla="*/ 2954192 h 6858000"/>
              <a:gd name="connsiteX509" fmla="*/ 6604735 w 7472601"/>
              <a:gd name="connsiteY509" fmla="*/ 2041381 h 6858000"/>
              <a:gd name="connsiteX510" fmla="*/ 7204487 w 7472601"/>
              <a:gd name="connsiteY510" fmla="*/ 2742112 h 6858000"/>
              <a:gd name="connsiteX511" fmla="*/ 7131592 w 7472601"/>
              <a:gd name="connsiteY511" fmla="*/ 2672096 h 6858000"/>
              <a:gd name="connsiteX512" fmla="*/ 6996344 w 7472601"/>
              <a:gd name="connsiteY512" fmla="*/ 2518310 h 6858000"/>
              <a:gd name="connsiteX513" fmla="*/ 6735495 w 7472601"/>
              <a:gd name="connsiteY513" fmla="*/ 2196890 h 6858000"/>
              <a:gd name="connsiteX514" fmla="*/ 6721901 w 7472601"/>
              <a:gd name="connsiteY514" fmla="*/ 2179274 h 6858000"/>
              <a:gd name="connsiteX515" fmla="*/ 6604735 w 7472601"/>
              <a:gd name="connsiteY515" fmla="*/ 2041381 h 6858000"/>
              <a:gd name="connsiteX516" fmla="*/ 6591670 w 7472601"/>
              <a:gd name="connsiteY516" fmla="*/ 1988277 h 6858000"/>
              <a:gd name="connsiteX517" fmla="*/ 6747349 w 7472601"/>
              <a:gd name="connsiteY517" fmla="*/ 2160069 h 6858000"/>
              <a:gd name="connsiteX518" fmla="*/ 6760943 w 7472601"/>
              <a:gd name="connsiteY518" fmla="*/ 2177686 h 6858000"/>
              <a:gd name="connsiteX519" fmla="*/ 7021065 w 7472601"/>
              <a:gd name="connsiteY519" fmla="*/ 2498102 h 6858000"/>
              <a:gd name="connsiteX520" fmla="*/ 7155223 w 7472601"/>
              <a:gd name="connsiteY520" fmla="*/ 2650386 h 6858000"/>
              <a:gd name="connsiteX521" fmla="*/ 7203167 w 7472601"/>
              <a:gd name="connsiteY521" fmla="*/ 2697288 h 6858000"/>
              <a:gd name="connsiteX522" fmla="*/ 6937703 w 7472601"/>
              <a:gd name="connsiteY522" fmla="*/ 2321981 h 6858000"/>
              <a:gd name="connsiteX523" fmla="*/ 6591670 w 7472601"/>
              <a:gd name="connsiteY523" fmla="*/ 1988277 h 6858000"/>
              <a:gd name="connsiteX524" fmla="*/ 5798671 w 7472601"/>
              <a:gd name="connsiteY524" fmla="*/ 1981601 h 6858000"/>
              <a:gd name="connsiteX525" fmla="*/ 5754709 w 7472601"/>
              <a:gd name="connsiteY525" fmla="*/ 2071454 h 6858000"/>
              <a:gd name="connsiteX526" fmla="*/ 5763044 w 7472601"/>
              <a:gd name="connsiteY526" fmla="*/ 2842206 h 6858000"/>
              <a:gd name="connsiteX527" fmla="*/ 5764974 w 7472601"/>
              <a:gd name="connsiteY527" fmla="*/ 2799609 h 6858000"/>
              <a:gd name="connsiteX528" fmla="*/ 5767665 w 7472601"/>
              <a:gd name="connsiteY528" fmla="*/ 2666409 h 6858000"/>
              <a:gd name="connsiteX529" fmla="*/ 5763055 w 7472601"/>
              <a:gd name="connsiteY529" fmla="*/ 2579705 h 6858000"/>
              <a:gd name="connsiteX530" fmla="*/ 5758079 w 7472601"/>
              <a:gd name="connsiteY530" fmla="*/ 2492508 h 6858000"/>
              <a:gd name="connsiteX531" fmla="*/ 5779325 w 7472601"/>
              <a:gd name="connsiteY531" fmla="*/ 2197069 h 6858000"/>
              <a:gd name="connsiteX532" fmla="*/ 5798671 w 7472601"/>
              <a:gd name="connsiteY532" fmla="*/ 1981601 h 6858000"/>
              <a:gd name="connsiteX533" fmla="*/ 5829202 w 7472601"/>
              <a:gd name="connsiteY533" fmla="*/ 1971679 h 6858000"/>
              <a:gd name="connsiteX534" fmla="*/ 5809558 w 7472601"/>
              <a:gd name="connsiteY534" fmla="*/ 2198043 h 6858000"/>
              <a:gd name="connsiteX535" fmla="*/ 5788653 w 7472601"/>
              <a:gd name="connsiteY535" fmla="*/ 2489430 h 6858000"/>
              <a:gd name="connsiteX536" fmla="*/ 5793439 w 7472601"/>
              <a:gd name="connsiteY536" fmla="*/ 2575235 h 6858000"/>
              <a:gd name="connsiteX537" fmla="*/ 5796837 w 7472601"/>
              <a:gd name="connsiteY537" fmla="*/ 2637633 h 6858000"/>
              <a:gd name="connsiteX538" fmla="*/ 5818614 w 7472601"/>
              <a:gd name="connsiteY538" fmla="*/ 2473055 h 6858000"/>
              <a:gd name="connsiteX539" fmla="*/ 5829202 w 7472601"/>
              <a:gd name="connsiteY539" fmla="*/ 1971679 h 6858000"/>
              <a:gd name="connsiteX540" fmla="*/ 5911389 w 7472601"/>
              <a:gd name="connsiteY540" fmla="*/ 1898371 h 6858000"/>
              <a:gd name="connsiteX541" fmla="*/ 6237627 w 7472601"/>
              <a:gd name="connsiteY541" fmla="*/ 2231921 h 6858000"/>
              <a:gd name="connsiteX542" fmla="*/ 5911389 w 7472601"/>
              <a:gd name="connsiteY542" fmla="*/ 1898371 h 6858000"/>
              <a:gd name="connsiteX543" fmla="*/ 6944437 w 7472601"/>
              <a:gd name="connsiteY543" fmla="*/ 1575402 h 6858000"/>
              <a:gd name="connsiteX544" fmla="*/ 6304730 w 7472601"/>
              <a:gd name="connsiteY544" fmla="*/ 1766654 h 6858000"/>
              <a:gd name="connsiteX545" fmla="*/ 6944437 w 7472601"/>
              <a:gd name="connsiteY545" fmla="*/ 1575402 h 6858000"/>
              <a:gd name="connsiteX546" fmla="*/ 7019523 w 7472601"/>
              <a:gd name="connsiteY546" fmla="*/ 1519450 h 6858000"/>
              <a:gd name="connsiteX547" fmla="*/ 6298091 w 7472601"/>
              <a:gd name="connsiteY547" fmla="*/ 1737122 h 6858000"/>
              <a:gd name="connsiteX548" fmla="*/ 7019523 w 7472601"/>
              <a:gd name="connsiteY548" fmla="*/ 1519450 h 6858000"/>
              <a:gd name="connsiteX549" fmla="*/ 2399523 w 7472601"/>
              <a:gd name="connsiteY549" fmla="*/ 1428234 h 6858000"/>
              <a:gd name="connsiteX550" fmla="*/ 2224982 w 7472601"/>
              <a:gd name="connsiteY550" fmla="*/ 1826201 h 6858000"/>
              <a:gd name="connsiteX551" fmla="*/ 2096099 w 7472601"/>
              <a:gd name="connsiteY551" fmla="*/ 2345900 h 6858000"/>
              <a:gd name="connsiteX552" fmla="*/ 2283317 w 7472601"/>
              <a:gd name="connsiteY552" fmla="*/ 1796925 h 6858000"/>
              <a:gd name="connsiteX553" fmla="*/ 2399523 w 7472601"/>
              <a:gd name="connsiteY553" fmla="*/ 1428234 h 6858000"/>
              <a:gd name="connsiteX554" fmla="*/ 2448558 w 7472601"/>
              <a:gd name="connsiteY554" fmla="*/ 1373435 h 6858000"/>
              <a:gd name="connsiteX555" fmla="*/ 2312521 w 7472601"/>
              <a:gd name="connsiteY555" fmla="*/ 1806140 h 6858000"/>
              <a:gd name="connsiteX556" fmla="*/ 2127533 w 7472601"/>
              <a:gd name="connsiteY556" fmla="*/ 2348380 h 6858000"/>
              <a:gd name="connsiteX557" fmla="*/ 2358080 w 7472601"/>
              <a:gd name="connsiteY557" fmla="*/ 1866134 h 6858000"/>
              <a:gd name="connsiteX558" fmla="*/ 2407436 w 7472601"/>
              <a:gd name="connsiteY558" fmla="*/ 1651070 h 6858000"/>
              <a:gd name="connsiteX559" fmla="*/ 2448558 w 7472601"/>
              <a:gd name="connsiteY559" fmla="*/ 1373435 h 6858000"/>
              <a:gd name="connsiteX560" fmla="*/ 278707 w 7472601"/>
              <a:gd name="connsiteY560" fmla="*/ 1352270 h 6858000"/>
              <a:gd name="connsiteX561" fmla="*/ 321570 w 7472601"/>
              <a:gd name="connsiteY561" fmla="*/ 1861610 h 6858000"/>
              <a:gd name="connsiteX562" fmla="*/ 294281 w 7472601"/>
              <a:gd name="connsiteY562" fmla="*/ 1440658 h 6858000"/>
              <a:gd name="connsiteX563" fmla="*/ 278707 w 7472601"/>
              <a:gd name="connsiteY563" fmla="*/ 1352270 h 6858000"/>
              <a:gd name="connsiteX564" fmla="*/ 1423821 w 7472601"/>
              <a:gd name="connsiteY564" fmla="*/ 1351958 h 6858000"/>
              <a:gd name="connsiteX565" fmla="*/ 1638521 w 7472601"/>
              <a:gd name="connsiteY565" fmla="*/ 1908470 h 6858000"/>
              <a:gd name="connsiteX566" fmla="*/ 1754199 w 7472601"/>
              <a:gd name="connsiteY566" fmla="*/ 2149284 h 6858000"/>
              <a:gd name="connsiteX567" fmla="*/ 1908359 w 7472601"/>
              <a:gd name="connsiteY567" fmla="*/ 2364988 h 6858000"/>
              <a:gd name="connsiteX568" fmla="*/ 1647661 w 7472601"/>
              <a:gd name="connsiteY568" fmla="*/ 1825945 h 6858000"/>
              <a:gd name="connsiteX569" fmla="*/ 1423821 w 7472601"/>
              <a:gd name="connsiteY569" fmla="*/ 1351958 h 6858000"/>
              <a:gd name="connsiteX570" fmla="*/ 1431890 w 7472601"/>
              <a:gd name="connsiteY570" fmla="*/ 1306475 h 6858000"/>
              <a:gd name="connsiteX571" fmla="*/ 1507597 w 7472601"/>
              <a:gd name="connsiteY571" fmla="*/ 1446132 h 6858000"/>
              <a:gd name="connsiteX572" fmla="*/ 1674586 w 7472601"/>
              <a:gd name="connsiteY572" fmla="*/ 1813832 h 6858000"/>
              <a:gd name="connsiteX573" fmla="*/ 1815950 w 7472601"/>
              <a:gd name="connsiteY573" fmla="*/ 2128564 h 6858000"/>
              <a:gd name="connsiteX574" fmla="*/ 1984242 w 7472601"/>
              <a:gd name="connsiteY574" fmla="*/ 2430829 h 6858000"/>
              <a:gd name="connsiteX575" fmla="*/ 2014023 w 7472601"/>
              <a:gd name="connsiteY575" fmla="*/ 2450995 h 6858000"/>
              <a:gd name="connsiteX576" fmla="*/ 1747337 w 7472601"/>
              <a:gd name="connsiteY576" fmla="*/ 1855264 h 6858000"/>
              <a:gd name="connsiteX577" fmla="*/ 1533749 w 7472601"/>
              <a:gd name="connsiteY577" fmla="*/ 1478656 h 6858000"/>
              <a:gd name="connsiteX578" fmla="*/ 1431890 w 7472601"/>
              <a:gd name="connsiteY578" fmla="*/ 1306475 h 6858000"/>
              <a:gd name="connsiteX579" fmla="*/ 5052692 w 7472601"/>
              <a:gd name="connsiteY579" fmla="*/ 1292994 h 6858000"/>
              <a:gd name="connsiteX580" fmla="*/ 5200661 w 7472601"/>
              <a:gd name="connsiteY580" fmla="*/ 1635186 h 6858000"/>
              <a:gd name="connsiteX581" fmla="*/ 5297138 w 7472601"/>
              <a:gd name="connsiteY581" fmla="*/ 1906351 h 6858000"/>
              <a:gd name="connsiteX582" fmla="*/ 5052692 w 7472601"/>
              <a:gd name="connsiteY582" fmla="*/ 1292994 h 6858000"/>
              <a:gd name="connsiteX583" fmla="*/ 5009948 w 7472601"/>
              <a:gd name="connsiteY583" fmla="*/ 1273619 h 6858000"/>
              <a:gd name="connsiteX584" fmla="*/ 5121777 w 7472601"/>
              <a:gd name="connsiteY584" fmla="*/ 1654213 h 6858000"/>
              <a:gd name="connsiteX585" fmla="*/ 5293545 w 7472601"/>
              <a:gd name="connsiteY585" fmla="*/ 2072247 h 6858000"/>
              <a:gd name="connsiteX586" fmla="*/ 5294042 w 7472601"/>
              <a:gd name="connsiteY586" fmla="*/ 2065019 h 6858000"/>
              <a:gd name="connsiteX587" fmla="*/ 5171936 w 7472601"/>
              <a:gd name="connsiteY587" fmla="*/ 1647613 h 6858000"/>
              <a:gd name="connsiteX588" fmla="*/ 5009948 w 7472601"/>
              <a:gd name="connsiteY588" fmla="*/ 1273619 h 6858000"/>
              <a:gd name="connsiteX589" fmla="*/ 655236 w 7472601"/>
              <a:gd name="connsiteY589" fmla="*/ 1268632 h 6858000"/>
              <a:gd name="connsiteX590" fmla="*/ 839521 w 7472601"/>
              <a:gd name="connsiteY590" fmla="*/ 1685315 h 6858000"/>
              <a:gd name="connsiteX591" fmla="*/ 1109416 w 7472601"/>
              <a:gd name="connsiteY591" fmla="*/ 2061663 h 6858000"/>
              <a:gd name="connsiteX592" fmla="*/ 1298300 w 7472601"/>
              <a:gd name="connsiteY592" fmla="*/ 2247742 h 6858000"/>
              <a:gd name="connsiteX593" fmla="*/ 1125871 w 7472601"/>
              <a:gd name="connsiteY593" fmla="*/ 1989513 h 6858000"/>
              <a:gd name="connsiteX594" fmla="*/ 981574 w 7472601"/>
              <a:gd name="connsiteY594" fmla="*/ 1783157 h 6858000"/>
              <a:gd name="connsiteX595" fmla="*/ 922198 w 7472601"/>
              <a:gd name="connsiteY595" fmla="*/ 1677437 h 6858000"/>
              <a:gd name="connsiteX596" fmla="*/ 869293 w 7472601"/>
              <a:gd name="connsiteY596" fmla="*/ 1583214 h 6858000"/>
              <a:gd name="connsiteX597" fmla="*/ 751431 w 7472601"/>
              <a:gd name="connsiteY597" fmla="*/ 1405731 h 6858000"/>
              <a:gd name="connsiteX598" fmla="*/ 655236 w 7472601"/>
              <a:gd name="connsiteY598" fmla="*/ 1268632 h 6858000"/>
              <a:gd name="connsiteX599" fmla="*/ 6516292 w 7472601"/>
              <a:gd name="connsiteY599" fmla="*/ 1263064 h 6858000"/>
              <a:gd name="connsiteX600" fmla="*/ 5736320 w 7472601"/>
              <a:gd name="connsiteY600" fmla="*/ 1501803 h 6858000"/>
              <a:gd name="connsiteX601" fmla="*/ 6516292 w 7472601"/>
              <a:gd name="connsiteY601" fmla="*/ 1263064 h 6858000"/>
              <a:gd name="connsiteX602" fmla="*/ 291466 w 7472601"/>
              <a:gd name="connsiteY602" fmla="*/ 1250369 h 6858000"/>
              <a:gd name="connsiteX603" fmla="*/ 323180 w 7472601"/>
              <a:gd name="connsiteY603" fmla="*/ 1435283 h 6858000"/>
              <a:gd name="connsiteX604" fmla="*/ 349381 w 7472601"/>
              <a:gd name="connsiteY604" fmla="*/ 1875041 h 6858000"/>
              <a:gd name="connsiteX605" fmla="*/ 374363 w 7472601"/>
              <a:gd name="connsiteY605" fmla="*/ 1506494 h 6858000"/>
              <a:gd name="connsiteX606" fmla="*/ 302168 w 7472601"/>
              <a:gd name="connsiteY606" fmla="*/ 1274495 h 6858000"/>
              <a:gd name="connsiteX607" fmla="*/ 291466 w 7472601"/>
              <a:gd name="connsiteY607" fmla="*/ 1250369 h 6858000"/>
              <a:gd name="connsiteX608" fmla="*/ 678222 w 7472601"/>
              <a:gd name="connsiteY608" fmla="*/ 1248670 h 6858000"/>
              <a:gd name="connsiteX609" fmla="*/ 775536 w 7472601"/>
              <a:gd name="connsiteY609" fmla="*/ 1388015 h 6858000"/>
              <a:gd name="connsiteX610" fmla="*/ 894529 w 7472601"/>
              <a:gd name="connsiteY610" fmla="*/ 1567739 h 6858000"/>
              <a:gd name="connsiteX611" fmla="*/ 948000 w 7472601"/>
              <a:gd name="connsiteY611" fmla="*/ 1663088 h 6858000"/>
              <a:gd name="connsiteX612" fmla="*/ 1006812 w 7472601"/>
              <a:gd name="connsiteY612" fmla="*/ 1767683 h 6858000"/>
              <a:gd name="connsiteX613" fmla="*/ 1149133 w 7472601"/>
              <a:gd name="connsiteY613" fmla="*/ 1971513 h 6858000"/>
              <a:gd name="connsiteX614" fmla="*/ 1333952 w 7472601"/>
              <a:gd name="connsiteY614" fmla="*/ 2251620 h 6858000"/>
              <a:gd name="connsiteX615" fmla="*/ 1337329 w 7472601"/>
              <a:gd name="connsiteY615" fmla="*/ 2258350 h 6858000"/>
              <a:gd name="connsiteX616" fmla="*/ 1014726 w 7472601"/>
              <a:gd name="connsiteY616" fmla="*/ 1615556 h 6858000"/>
              <a:gd name="connsiteX617" fmla="*/ 678222 w 7472601"/>
              <a:gd name="connsiteY617" fmla="*/ 1248670 h 6858000"/>
              <a:gd name="connsiteX618" fmla="*/ 6691602 w 7472601"/>
              <a:gd name="connsiteY618" fmla="*/ 1140573 h 6858000"/>
              <a:gd name="connsiteX619" fmla="*/ 6571100 w 7472601"/>
              <a:gd name="connsiteY619" fmla="*/ 1183662 h 6858000"/>
              <a:gd name="connsiteX620" fmla="*/ 6241687 w 7472601"/>
              <a:gd name="connsiteY620" fmla="*/ 1257600 h 6858000"/>
              <a:gd name="connsiteX621" fmla="*/ 5693009 w 7472601"/>
              <a:gd name="connsiteY621" fmla="*/ 1478256 h 6858000"/>
              <a:gd name="connsiteX622" fmla="*/ 6548420 w 7472601"/>
              <a:gd name="connsiteY622" fmla="*/ 1214599 h 6858000"/>
              <a:gd name="connsiteX623" fmla="*/ 6605473 w 7472601"/>
              <a:gd name="connsiteY623" fmla="*/ 1184686 h 6858000"/>
              <a:gd name="connsiteX624" fmla="*/ 6691602 w 7472601"/>
              <a:gd name="connsiteY624" fmla="*/ 1140573 h 6858000"/>
              <a:gd name="connsiteX625" fmla="*/ 4002475 w 7472601"/>
              <a:gd name="connsiteY625" fmla="*/ 1037802 h 6858000"/>
              <a:gd name="connsiteX626" fmla="*/ 4000324 w 7472601"/>
              <a:gd name="connsiteY626" fmla="*/ 1039362 h 6858000"/>
              <a:gd name="connsiteX627" fmla="*/ 4002862 w 7472601"/>
              <a:gd name="connsiteY627" fmla="*/ 1042866 h 6858000"/>
              <a:gd name="connsiteX628" fmla="*/ 4002475 w 7472601"/>
              <a:gd name="connsiteY628" fmla="*/ 1037802 h 6858000"/>
              <a:gd name="connsiteX629" fmla="*/ 506322 w 7472601"/>
              <a:gd name="connsiteY629" fmla="*/ 1020997 h 6858000"/>
              <a:gd name="connsiteX630" fmla="*/ 533068 w 7472601"/>
              <a:gd name="connsiteY630" fmla="*/ 1029409 h 6858000"/>
              <a:gd name="connsiteX631" fmla="*/ 1232525 w 7472601"/>
              <a:gd name="connsiteY631" fmla="*/ 1804675 h 6858000"/>
              <a:gd name="connsiteX632" fmla="*/ 1388858 w 7472601"/>
              <a:gd name="connsiteY632" fmla="*/ 2368011 h 6858000"/>
              <a:gd name="connsiteX633" fmla="*/ 1384098 w 7472601"/>
              <a:gd name="connsiteY633" fmla="*/ 2378125 h 6858000"/>
              <a:gd name="connsiteX634" fmla="*/ 1425393 w 7472601"/>
              <a:gd name="connsiteY634" fmla="*/ 2589124 h 6858000"/>
              <a:gd name="connsiteX635" fmla="*/ 1424001 w 7472601"/>
              <a:gd name="connsiteY635" fmla="*/ 2597541 h 6858000"/>
              <a:gd name="connsiteX636" fmla="*/ 2152729 w 7472601"/>
              <a:gd name="connsiteY636" fmla="*/ 2864487 h 6858000"/>
              <a:gd name="connsiteX637" fmla="*/ 2020609 w 7472601"/>
              <a:gd name="connsiteY637" fmla="*/ 2539671 h 6858000"/>
              <a:gd name="connsiteX638" fmla="*/ 2018920 w 7472601"/>
              <a:gd name="connsiteY638" fmla="*/ 2536309 h 6858000"/>
              <a:gd name="connsiteX639" fmla="*/ 1342441 w 7472601"/>
              <a:gd name="connsiteY639" fmla="*/ 1173017 h 6858000"/>
              <a:gd name="connsiteX640" fmla="*/ 1367925 w 7472601"/>
              <a:gd name="connsiteY640" fmla="*/ 1135648 h 6858000"/>
              <a:gd name="connsiteX641" fmla="*/ 1771401 w 7472601"/>
              <a:gd name="connsiteY641" fmla="*/ 1806673 h 6858000"/>
              <a:gd name="connsiteX642" fmla="*/ 1972385 w 7472601"/>
              <a:gd name="connsiteY642" fmla="*/ 2198735 h 6858000"/>
              <a:gd name="connsiteX643" fmla="*/ 2040892 w 7472601"/>
              <a:gd name="connsiteY643" fmla="*/ 2405205 h 6858000"/>
              <a:gd name="connsiteX644" fmla="*/ 2131689 w 7472601"/>
              <a:gd name="connsiteY644" fmla="*/ 1936926 h 6858000"/>
              <a:gd name="connsiteX645" fmla="*/ 2454820 w 7472601"/>
              <a:gd name="connsiteY645" fmla="*/ 1248808 h 6858000"/>
              <a:gd name="connsiteX646" fmla="*/ 2492512 w 7472601"/>
              <a:gd name="connsiteY646" fmla="*/ 1302920 h 6858000"/>
              <a:gd name="connsiteX647" fmla="*/ 2081216 w 7472601"/>
              <a:gd name="connsiteY647" fmla="*/ 2527513 h 6858000"/>
              <a:gd name="connsiteX648" fmla="*/ 2081211 w 7472601"/>
              <a:gd name="connsiteY648" fmla="*/ 2528916 h 6858000"/>
              <a:gd name="connsiteX649" fmla="*/ 2199067 w 7472601"/>
              <a:gd name="connsiteY649" fmla="*/ 2884061 h 6858000"/>
              <a:gd name="connsiteX650" fmla="*/ 3192586 w 7472601"/>
              <a:gd name="connsiteY650" fmla="*/ 3411496 h 6858000"/>
              <a:gd name="connsiteX651" fmla="*/ 3182620 w 7472601"/>
              <a:gd name="connsiteY651" fmla="*/ 3483279 h 6858000"/>
              <a:gd name="connsiteX652" fmla="*/ 2435119 w 7472601"/>
              <a:gd name="connsiteY652" fmla="*/ 3080173 h 6858000"/>
              <a:gd name="connsiteX653" fmla="*/ 2410152 w 7472601"/>
              <a:gd name="connsiteY653" fmla="*/ 3063751 h 6858000"/>
              <a:gd name="connsiteX654" fmla="*/ 2408099 w 7472601"/>
              <a:gd name="connsiteY654" fmla="*/ 3064403 h 6858000"/>
              <a:gd name="connsiteX655" fmla="*/ 2407218 w 7472601"/>
              <a:gd name="connsiteY655" fmla="*/ 3070324 h 6858000"/>
              <a:gd name="connsiteX656" fmla="*/ 2380138 w 7472601"/>
              <a:gd name="connsiteY656" fmla="*/ 3099341 h 6858000"/>
              <a:gd name="connsiteX657" fmla="*/ 1765923 w 7472601"/>
              <a:gd name="connsiteY657" fmla="*/ 3581043 h 6858000"/>
              <a:gd name="connsiteX658" fmla="*/ 1702258 w 7472601"/>
              <a:gd name="connsiteY658" fmla="*/ 3612286 h 6858000"/>
              <a:gd name="connsiteX659" fmla="*/ 1538370 w 7472601"/>
              <a:gd name="connsiteY659" fmla="*/ 3811804 h 6858000"/>
              <a:gd name="connsiteX660" fmla="*/ 542867 w 7472601"/>
              <a:gd name="connsiteY660" fmla="*/ 4944092 h 6858000"/>
              <a:gd name="connsiteX661" fmla="*/ 515800 w 7472601"/>
              <a:gd name="connsiteY661" fmla="*/ 4862180 h 6858000"/>
              <a:gd name="connsiteX662" fmla="*/ 909145 w 7472601"/>
              <a:gd name="connsiteY662" fmla="*/ 4199225 h 6858000"/>
              <a:gd name="connsiteX663" fmla="*/ 1214067 w 7472601"/>
              <a:gd name="connsiteY663" fmla="*/ 3908561 h 6858000"/>
              <a:gd name="connsiteX664" fmla="*/ 640967 w 7472601"/>
              <a:gd name="connsiteY664" fmla="*/ 4105601 h 6858000"/>
              <a:gd name="connsiteX665" fmla="*/ 112563 w 7472601"/>
              <a:gd name="connsiteY665" fmla="*/ 4396952 h 6858000"/>
              <a:gd name="connsiteX666" fmla="*/ 0 w 7472601"/>
              <a:gd name="connsiteY666" fmla="*/ 4466006 h 6858000"/>
              <a:gd name="connsiteX667" fmla="*/ 0 w 7472601"/>
              <a:gd name="connsiteY667" fmla="*/ 4233763 h 6858000"/>
              <a:gd name="connsiteX668" fmla="*/ 36881 w 7472601"/>
              <a:gd name="connsiteY668" fmla="*/ 4200118 h 6858000"/>
              <a:gd name="connsiteX669" fmla="*/ 910534 w 7472601"/>
              <a:gd name="connsiteY669" fmla="*/ 3629753 h 6858000"/>
              <a:gd name="connsiteX670" fmla="*/ 1578717 w 7472601"/>
              <a:gd name="connsiteY670" fmla="*/ 3575982 h 6858000"/>
              <a:gd name="connsiteX671" fmla="*/ 2338780 w 7472601"/>
              <a:gd name="connsiteY671" fmla="*/ 3033725 h 6858000"/>
              <a:gd name="connsiteX672" fmla="*/ 1807991 w 7472601"/>
              <a:gd name="connsiteY672" fmla="*/ 2807184 h 6858000"/>
              <a:gd name="connsiteX673" fmla="*/ 1416358 w 7472601"/>
              <a:gd name="connsiteY673" fmla="*/ 3112571 h 6858000"/>
              <a:gd name="connsiteX674" fmla="*/ 939066 w 7472601"/>
              <a:gd name="connsiteY674" fmla="*/ 3378798 h 6858000"/>
              <a:gd name="connsiteX675" fmla="*/ 115099 w 7472601"/>
              <a:gd name="connsiteY675" fmla="*/ 3607650 h 6858000"/>
              <a:gd name="connsiteX676" fmla="*/ 97284 w 7472601"/>
              <a:gd name="connsiteY676" fmla="*/ 3520393 h 6858000"/>
              <a:gd name="connsiteX677" fmla="*/ 922050 w 7472601"/>
              <a:gd name="connsiteY677" fmla="*/ 3074867 h 6858000"/>
              <a:gd name="connsiteX678" fmla="*/ 1405265 w 7472601"/>
              <a:gd name="connsiteY678" fmla="*/ 3016319 h 6858000"/>
              <a:gd name="connsiteX679" fmla="*/ 1407512 w 7472601"/>
              <a:gd name="connsiteY679" fmla="*/ 3018001 h 6858000"/>
              <a:gd name="connsiteX680" fmla="*/ 1726266 w 7472601"/>
              <a:gd name="connsiteY680" fmla="*/ 2777274 h 6858000"/>
              <a:gd name="connsiteX681" fmla="*/ 625390 w 7472601"/>
              <a:gd name="connsiteY681" fmla="*/ 2514541 h 6858000"/>
              <a:gd name="connsiteX682" fmla="*/ 619799 w 7472601"/>
              <a:gd name="connsiteY682" fmla="*/ 2527180 h 6858000"/>
              <a:gd name="connsiteX683" fmla="*/ 310030 w 7472601"/>
              <a:gd name="connsiteY683" fmla="*/ 2771818 h 6858000"/>
              <a:gd name="connsiteX684" fmla="*/ 173877 w 7472601"/>
              <a:gd name="connsiteY684" fmla="*/ 2937056 h 6858000"/>
              <a:gd name="connsiteX685" fmla="*/ 77889 w 7472601"/>
              <a:gd name="connsiteY685" fmla="*/ 3138440 h 6858000"/>
              <a:gd name="connsiteX686" fmla="*/ 0 w 7472601"/>
              <a:gd name="connsiteY686" fmla="*/ 3271395 h 6858000"/>
              <a:gd name="connsiteX687" fmla="*/ 0 w 7472601"/>
              <a:gd name="connsiteY687" fmla="*/ 3153002 h 6858000"/>
              <a:gd name="connsiteX688" fmla="*/ 2386 w 7472601"/>
              <a:gd name="connsiteY688" fmla="*/ 3149203 h 6858000"/>
              <a:gd name="connsiteX689" fmla="*/ 89753 w 7472601"/>
              <a:gd name="connsiteY689" fmla="*/ 2987702 h 6858000"/>
              <a:gd name="connsiteX690" fmla="*/ 76869 w 7472601"/>
              <a:gd name="connsiteY690" fmla="*/ 3005404 h 6858000"/>
              <a:gd name="connsiteX691" fmla="*/ 32049 w 7472601"/>
              <a:gd name="connsiteY691" fmla="*/ 3065814 h 6858000"/>
              <a:gd name="connsiteX692" fmla="*/ 0 w 7472601"/>
              <a:gd name="connsiteY692" fmla="*/ 3108744 h 6858000"/>
              <a:gd name="connsiteX693" fmla="*/ 0 w 7472601"/>
              <a:gd name="connsiteY693" fmla="*/ 3058059 h 6858000"/>
              <a:gd name="connsiteX694" fmla="*/ 7610 w 7472601"/>
              <a:gd name="connsiteY694" fmla="*/ 3047889 h 6858000"/>
              <a:gd name="connsiteX695" fmla="*/ 52419 w 7472601"/>
              <a:gd name="connsiteY695" fmla="*/ 2987479 h 6858000"/>
              <a:gd name="connsiteX696" fmla="*/ 59142 w 7472601"/>
              <a:gd name="connsiteY696" fmla="*/ 2978488 h 6858000"/>
              <a:gd name="connsiteX697" fmla="*/ 0 w 7472601"/>
              <a:gd name="connsiteY697" fmla="*/ 3015334 h 6858000"/>
              <a:gd name="connsiteX698" fmla="*/ 0 w 7472601"/>
              <a:gd name="connsiteY698" fmla="*/ 2914286 h 6858000"/>
              <a:gd name="connsiteX699" fmla="*/ 36383 w 7472601"/>
              <a:gd name="connsiteY699" fmla="*/ 2901128 h 6858000"/>
              <a:gd name="connsiteX700" fmla="*/ 156329 w 7472601"/>
              <a:gd name="connsiteY700" fmla="*/ 2840533 h 6858000"/>
              <a:gd name="connsiteX701" fmla="*/ 358355 w 7472601"/>
              <a:gd name="connsiteY701" fmla="*/ 2620471 h 6858000"/>
              <a:gd name="connsiteX702" fmla="*/ 510577 w 7472601"/>
              <a:gd name="connsiteY702" fmla="*/ 2501244 h 6858000"/>
              <a:gd name="connsiteX703" fmla="*/ 211967 w 7472601"/>
              <a:gd name="connsiteY703" fmla="*/ 2479171 h 6858000"/>
              <a:gd name="connsiteX704" fmla="*/ 0 w 7472601"/>
              <a:gd name="connsiteY704" fmla="*/ 2476398 h 6858000"/>
              <a:gd name="connsiteX705" fmla="*/ 0 w 7472601"/>
              <a:gd name="connsiteY705" fmla="*/ 2389189 h 6858000"/>
              <a:gd name="connsiteX706" fmla="*/ 103062 w 7472601"/>
              <a:gd name="connsiteY706" fmla="*/ 2389518 h 6858000"/>
              <a:gd name="connsiteX707" fmla="*/ 510734 w 7472601"/>
              <a:gd name="connsiteY707" fmla="*/ 2416201 h 6858000"/>
              <a:gd name="connsiteX708" fmla="*/ 279257 w 7472601"/>
              <a:gd name="connsiteY708" fmla="*/ 2092102 h 6858000"/>
              <a:gd name="connsiteX709" fmla="*/ 65265 w 7472601"/>
              <a:gd name="connsiteY709" fmla="*/ 2006049 h 6858000"/>
              <a:gd name="connsiteX710" fmla="*/ 0 w 7472601"/>
              <a:gd name="connsiteY710" fmla="*/ 1982532 h 6858000"/>
              <a:gd name="connsiteX711" fmla="*/ 0 w 7472601"/>
              <a:gd name="connsiteY711" fmla="*/ 1912789 h 6858000"/>
              <a:gd name="connsiteX712" fmla="*/ 97460 w 7472601"/>
              <a:gd name="connsiteY712" fmla="*/ 1953725 h 6858000"/>
              <a:gd name="connsiteX713" fmla="*/ 221272 w 7472601"/>
              <a:gd name="connsiteY713" fmla="*/ 1980766 h 6858000"/>
              <a:gd name="connsiteX714" fmla="*/ 116765 w 7472601"/>
              <a:gd name="connsiteY714" fmla="*/ 1911033 h 6858000"/>
              <a:gd name="connsiteX715" fmla="*/ 16405 w 7472601"/>
              <a:gd name="connsiteY715" fmla="*/ 1803412 h 6858000"/>
              <a:gd name="connsiteX716" fmla="*/ 0 w 7472601"/>
              <a:gd name="connsiteY716" fmla="*/ 1784777 h 6858000"/>
              <a:gd name="connsiteX717" fmla="*/ 0 w 7472601"/>
              <a:gd name="connsiteY717" fmla="*/ 1740082 h 6858000"/>
              <a:gd name="connsiteX718" fmla="*/ 39394 w 7472601"/>
              <a:gd name="connsiteY718" fmla="*/ 1784856 h 6858000"/>
              <a:gd name="connsiteX719" fmla="*/ 135813 w 7472601"/>
              <a:gd name="connsiteY719" fmla="*/ 1888838 h 6858000"/>
              <a:gd name="connsiteX720" fmla="*/ 242575 w 7472601"/>
              <a:gd name="connsiteY720" fmla="*/ 1958841 h 6858000"/>
              <a:gd name="connsiteX721" fmla="*/ 82197 w 7472601"/>
              <a:gd name="connsiteY721" fmla="*/ 1754826 h 6858000"/>
              <a:gd name="connsiteX722" fmla="*/ 0 w 7472601"/>
              <a:gd name="connsiteY722" fmla="*/ 1679650 h 6858000"/>
              <a:gd name="connsiteX723" fmla="*/ 0 w 7472601"/>
              <a:gd name="connsiteY723" fmla="*/ 1602463 h 6858000"/>
              <a:gd name="connsiteX724" fmla="*/ 84689 w 7472601"/>
              <a:gd name="connsiteY724" fmla="*/ 1677442 h 6858000"/>
              <a:gd name="connsiteX725" fmla="*/ 298437 w 7472601"/>
              <a:gd name="connsiteY725" fmla="*/ 1968019 h 6858000"/>
              <a:gd name="connsiteX726" fmla="*/ 227269 w 7472601"/>
              <a:gd name="connsiteY726" fmla="*/ 1114064 h 6858000"/>
              <a:gd name="connsiteX727" fmla="*/ 248003 w 7472601"/>
              <a:gd name="connsiteY727" fmla="*/ 1089613 h 6858000"/>
              <a:gd name="connsiteX728" fmla="*/ 427020 w 7472601"/>
              <a:gd name="connsiteY728" fmla="*/ 1619803 h 6858000"/>
              <a:gd name="connsiteX729" fmla="*/ 340345 w 7472601"/>
              <a:gd name="connsiteY729" fmla="*/ 2027739 h 6858000"/>
              <a:gd name="connsiteX730" fmla="*/ 360865 w 7472601"/>
              <a:gd name="connsiteY730" fmla="*/ 2044827 h 6858000"/>
              <a:gd name="connsiteX731" fmla="*/ 560414 w 7472601"/>
              <a:gd name="connsiteY731" fmla="*/ 2421457 h 6858000"/>
              <a:gd name="connsiteX732" fmla="*/ 1359703 w 7472601"/>
              <a:gd name="connsiteY732" fmla="*/ 2578554 h 6858000"/>
              <a:gd name="connsiteX733" fmla="*/ 1359422 w 7472601"/>
              <a:gd name="connsiteY733" fmla="*/ 2577994 h 6858000"/>
              <a:gd name="connsiteX734" fmla="*/ 828701 w 7472601"/>
              <a:gd name="connsiteY734" fmla="*/ 1839520 h 6858000"/>
              <a:gd name="connsiteX735" fmla="*/ 494427 w 7472601"/>
              <a:gd name="connsiteY735" fmla="*/ 1092333 h 6858000"/>
              <a:gd name="connsiteX736" fmla="*/ 506322 w 7472601"/>
              <a:gd name="connsiteY736" fmla="*/ 1020997 h 6858000"/>
              <a:gd name="connsiteX737" fmla="*/ 4570198 w 7472601"/>
              <a:gd name="connsiteY737" fmla="*/ 978081 h 6858000"/>
              <a:gd name="connsiteX738" fmla="*/ 4523691 w 7472601"/>
              <a:gd name="connsiteY738" fmla="*/ 1127776 h 6858000"/>
              <a:gd name="connsiteX739" fmla="*/ 4509875 w 7472601"/>
              <a:gd name="connsiteY739" fmla="*/ 1167552 h 6858000"/>
              <a:gd name="connsiteX740" fmla="*/ 4478168 w 7472601"/>
              <a:gd name="connsiteY740" fmla="*/ 1260735 h 6858000"/>
              <a:gd name="connsiteX741" fmla="*/ 4409309 w 7472601"/>
              <a:gd name="connsiteY741" fmla="*/ 1666996 h 6858000"/>
              <a:gd name="connsiteX742" fmla="*/ 4370031 w 7472601"/>
              <a:gd name="connsiteY742" fmla="*/ 1955666 h 6858000"/>
              <a:gd name="connsiteX743" fmla="*/ 4570198 w 7472601"/>
              <a:gd name="connsiteY743" fmla="*/ 978081 h 6858000"/>
              <a:gd name="connsiteX744" fmla="*/ 4557898 w 7472601"/>
              <a:gd name="connsiteY744" fmla="*/ 900011 h 6858000"/>
              <a:gd name="connsiteX745" fmla="*/ 4344840 w 7472601"/>
              <a:gd name="connsiteY745" fmla="*/ 1922038 h 6858000"/>
              <a:gd name="connsiteX746" fmla="*/ 4378710 w 7472601"/>
              <a:gd name="connsiteY746" fmla="*/ 1665516 h 6858000"/>
              <a:gd name="connsiteX747" fmla="*/ 4448798 w 7472601"/>
              <a:gd name="connsiteY747" fmla="*/ 1253024 h 6858000"/>
              <a:gd name="connsiteX748" fmla="*/ 4480315 w 7472601"/>
              <a:gd name="connsiteY748" fmla="*/ 1158454 h 6858000"/>
              <a:gd name="connsiteX749" fmla="*/ 4494133 w 7472601"/>
              <a:gd name="connsiteY749" fmla="*/ 1118676 h 6858000"/>
              <a:gd name="connsiteX750" fmla="*/ 4557898 w 7472601"/>
              <a:gd name="connsiteY750" fmla="*/ 900011 h 6858000"/>
              <a:gd name="connsiteX751" fmla="*/ 5870151 w 7472601"/>
              <a:gd name="connsiteY751" fmla="*/ 898890 h 6858000"/>
              <a:gd name="connsiteX752" fmla="*/ 5861335 w 7472601"/>
              <a:gd name="connsiteY752" fmla="*/ 899177 h 6858000"/>
              <a:gd name="connsiteX753" fmla="*/ 5843702 w 7472601"/>
              <a:gd name="connsiteY753" fmla="*/ 899748 h 6858000"/>
              <a:gd name="connsiteX754" fmla="*/ 5651107 w 7472601"/>
              <a:gd name="connsiteY754" fmla="*/ 920306 h 6858000"/>
              <a:gd name="connsiteX755" fmla="*/ 5459407 w 7472601"/>
              <a:gd name="connsiteY755" fmla="*/ 940975 h 6858000"/>
              <a:gd name="connsiteX756" fmla="*/ 5374846 w 7472601"/>
              <a:gd name="connsiteY756" fmla="*/ 941988 h 6858000"/>
              <a:gd name="connsiteX757" fmla="*/ 5256105 w 7472601"/>
              <a:gd name="connsiteY757" fmla="*/ 945632 h 6858000"/>
              <a:gd name="connsiteX758" fmla="*/ 5107071 w 7472601"/>
              <a:gd name="connsiteY758" fmla="*/ 969720 h 6858000"/>
              <a:gd name="connsiteX759" fmla="*/ 4998681 w 7472601"/>
              <a:gd name="connsiteY759" fmla="*/ 988771 h 6858000"/>
              <a:gd name="connsiteX760" fmla="*/ 5870151 w 7472601"/>
              <a:gd name="connsiteY760" fmla="*/ 898890 h 6858000"/>
              <a:gd name="connsiteX761" fmla="*/ 5504425 w 7472601"/>
              <a:gd name="connsiteY761" fmla="*/ 848067 h 6858000"/>
              <a:gd name="connsiteX762" fmla="*/ 4968849 w 7472601"/>
              <a:gd name="connsiteY762" fmla="*/ 962318 h 6858000"/>
              <a:gd name="connsiteX763" fmla="*/ 5104039 w 7472601"/>
              <a:gd name="connsiteY763" fmla="*/ 940634 h 6858000"/>
              <a:gd name="connsiteX764" fmla="*/ 5256311 w 7472601"/>
              <a:gd name="connsiteY764" fmla="*/ 916490 h 6858000"/>
              <a:gd name="connsiteX765" fmla="*/ 5377381 w 7472601"/>
              <a:gd name="connsiteY765" fmla="*/ 912671 h 6858000"/>
              <a:gd name="connsiteX766" fmla="*/ 5460148 w 7472601"/>
              <a:gd name="connsiteY766" fmla="*/ 911442 h 6858000"/>
              <a:gd name="connsiteX767" fmla="*/ 5648971 w 7472601"/>
              <a:gd name="connsiteY767" fmla="*/ 891331 h 6858000"/>
              <a:gd name="connsiteX768" fmla="*/ 5844807 w 7472601"/>
              <a:gd name="connsiteY768" fmla="*/ 870718 h 6858000"/>
              <a:gd name="connsiteX769" fmla="*/ 5862975 w 7472601"/>
              <a:gd name="connsiteY769" fmla="*/ 869756 h 6858000"/>
              <a:gd name="connsiteX770" fmla="*/ 5920887 w 7472601"/>
              <a:gd name="connsiteY770" fmla="*/ 865929 h 6858000"/>
              <a:gd name="connsiteX771" fmla="*/ 5504425 w 7472601"/>
              <a:gd name="connsiteY771" fmla="*/ 848067 h 6858000"/>
              <a:gd name="connsiteX772" fmla="*/ 3607114 w 7472601"/>
              <a:gd name="connsiteY772" fmla="*/ 467441 h 6858000"/>
              <a:gd name="connsiteX773" fmla="*/ 3296242 w 7472601"/>
              <a:gd name="connsiteY773" fmla="*/ 807991 h 6858000"/>
              <a:gd name="connsiteX774" fmla="*/ 3174674 w 7472601"/>
              <a:gd name="connsiteY774" fmla="*/ 919759 h 6858000"/>
              <a:gd name="connsiteX775" fmla="*/ 3042978 w 7472601"/>
              <a:gd name="connsiteY775" fmla="*/ 1054894 h 6858000"/>
              <a:gd name="connsiteX776" fmla="*/ 2968914 w 7472601"/>
              <a:gd name="connsiteY776" fmla="*/ 1133756 h 6858000"/>
              <a:gd name="connsiteX777" fmla="*/ 3103823 w 7472601"/>
              <a:gd name="connsiteY777" fmla="*/ 1026814 h 6858000"/>
              <a:gd name="connsiteX778" fmla="*/ 3607114 w 7472601"/>
              <a:gd name="connsiteY778" fmla="*/ 467441 h 6858000"/>
              <a:gd name="connsiteX779" fmla="*/ 3744487 w 7472601"/>
              <a:gd name="connsiteY779" fmla="*/ 383136 h 6858000"/>
              <a:gd name="connsiteX780" fmla="*/ 3970213 w 7472601"/>
              <a:gd name="connsiteY780" fmla="*/ 995559 h 6858000"/>
              <a:gd name="connsiteX781" fmla="*/ 3744487 w 7472601"/>
              <a:gd name="connsiteY781" fmla="*/ 383136 h 6858000"/>
              <a:gd name="connsiteX782" fmla="*/ 3624562 w 7472601"/>
              <a:gd name="connsiteY782" fmla="*/ 367041 h 6858000"/>
              <a:gd name="connsiteX783" fmla="*/ 3489712 w 7472601"/>
              <a:gd name="connsiteY783" fmla="*/ 485386 h 6858000"/>
              <a:gd name="connsiteX784" fmla="*/ 3182994 w 7472601"/>
              <a:gd name="connsiteY784" fmla="*/ 828265 h 6858000"/>
              <a:gd name="connsiteX785" fmla="*/ 2892114 w 7472601"/>
              <a:gd name="connsiteY785" fmla="*/ 1172635 h 6858000"/>
              <a:gd name="connsiteX786" fmla="*/ 3021459 w 7472601"/>
              <a:gd name="connsiteY786" fmla="*/ 1035385 h 6858000"/>
              <a:gd name="connsiteX787" fmla="*/ 3153873 w 7472601"/>
              <a:gd name="connsiteY787" fmla="*/ 898971 h 6858000"/>
              <a:gd name="connsiteX788" fmla="*/ 3276511 w 7472601"/>
              <a:gd name="connsiteY788" fmla="*/ 786423 h 6858000"/>
              <a:gd name="connsiteX789" fmla="*/ 3584154 w 7472601"/>
              <a:gd name="connsiteY789" fmla="*/ 448218 h 6858000"/>
              <a:gd name="connsiteX790" fmla="*/ 3624562 w 7472601"/>
              <a:gd name="connsiteY790" fmla="*/ 367041 h 6858000"/>
              <a:gd name="connsiteX791" fmla="*/ 3766672 w 7472601"/>
              <a:gd name="connsiteY791" fmla="*/ 359429 h 6858000"/>
              <a:gd name="connsiteX792" fmla="*/ 3996338 w 7472601"/>
              <a:gd name="connsiteY792" fmla="*/ 968237 h 6858000"/>
              <a:gd name="connsiteX793" fmla="*/ 3766672 w 7472601"/>
              <a:gd name="connsiteY793" fmla="*/ 359429 h 6858000"/>
              <a:gd name="connsiteX794" fmla="*/ 5805386 w 7472601"/>
              <a:gd name="connsiteY794" fmla="*/ 239240 h 6858000"/>
              <a:gd name="connsiteX795" fmla="*/ 5736947 w 7472601"/>
              <a:gd name="connsiteY795" fmla="*/ 261367 h 6858000"/>
              <a:gd name="connsiteX796" fmla="*/ 5427012 w 7472601"/>
              <a:gd name="connsiteY796" fmla="*/ 311272 h 6858000"/>
              <a:gd name="connsiteX797" fmla="*/ 5147818 w 7472601"/>
              <a:gd name="connsiteY797" fmla="*/ 322112 h 6858000"/>
              <a:gd name="connsiteX798" fmla="*/ 5060854 w 7472601"/>
              <a:gd name="connsiteY798" fmla="*/ 311882 h 6858000"/>
              <a:gd name="connsiteX799" fmla="*/ 4945989 w 7472601"/>
              <a:gd name="connsiteY799" fmla="*/ 300516 h 6858000"/>
              <a:gd name="connsiteX800" fmla="*/ 5410479 w 7472601"/>
              <a:gd name="connsiteY800" fmla="*/ 348434 h 6858000"/>
              <a:gd name="connsiteX801" fmla="*/ 5805386 w 7472601"/>
              <a:gd name="connsiteY801" fmla="*/ 239240 h 6858000"/>
              <a:gd name="connsiteX802" fmla="*/ 5905192 w 7472601"/>
              <a:gd name="connsiteY802" fmla="*/ 163079 h 6858000"/>
              <a:gd name="connsiteX803" fmla="*/ 5865655 w 7472601"/>
              <a:gd name="connsiteY803" fmla="*/ 171901 h 6858000"/>
              <a:gd name="connsiteX804" fmla="*/ 5259740 w 7472601"/>
              <a:gd name="connsiteY804" fmla="*/ 257013 h 6858000"/>
              <a:gd name="connsiteX805" fmla="*/ 5208466 w 7472601"/>
              <a:gd name="connsiteY805" fmla="*/ 257550 h 6858000"/>
              <a:gd name="connsiteX806" fmla="*/ 4980204 w 7472601"/>
              <a:gd name="connsiteY806" fmla="*/ 271903 h 6858000"/>
              <a:gd name="connsiteX807" fmla="*/ 5068068 w 7472601"/>
              <a:gd name="connsiteY807" fmla="*/ 282244 h 6858000"/>
              <a:gd name="connsiteX808" fmla="*/ 5153231 w 7472601"/>
              <a:gd name="connsiteY808" fmla="*/ 292240 h 6858000"/>
              <a:gd name="connsiteX809" fmla="*/ 5426491 w 7472601"/>
              <a:gd name="connsiteY809" fmla="*/ 281128 h 6858000"/>
              <a:gd name="connsiteX810" fmla="*/ 5731212 w 7472601"/>
              <a:gd name="connsiteY810" fmla="*/ 231951 h 6858000"/>
              <a:gd name="connsiteX811" fmla="*/ 5905192 w 7472601"/>
              <a:gd name="connsiteY811" fmla="*/ 163079 h 6858000"/>
              <a:gd name="connsiteX812" fmla="*/ 5944437 w 7472601"/>
              <a:gd name="connsiteY812" fmla="*/ 113829 h 6858000"/>
              <a:gd name="connsiteX813" fmla="*/ 5825032 w 7472601"/>
              <a:gd name="connsiteY813" fmla="*/ 146405 h 6858000"/>
              <a:gd name="connsiteX814" fmla="*/ 4955599 w 7472601"/>
              <a:gd name="connsiteY814" fmla="*/ 247008 h 6858000"/>
              <a:gd name="connsiteX815" fmla="*/ 5210104 w 7472601"/>
              <a:gd name="connsiteY815" fmla="*/ 228123 h 6858000"/>
              <a:gd name="connsiteX816" fmla="*/ 5261015 w 7472601"/>
              <a:gd name="connsiteY816" fmla="*/ 227087 h 6858000"/>
              <a:gd name="connsiteX817" fmla="*/ 5861181 w 7472601"/>
              <a:gd name="connsiteY817" fmla="*/ 143093 h 6858000"/>
              <a:gd name="connsiteX818" fmla="*/ 5961252 w 7472601"/>
              <a:gd name="connsiteY818" fmla="*/ 114820 h 6858000"/>
              <a:gd name="connsiteX819" fmla="*/ 5944437 w 7472601"/>
              <a:gd name="connsiteY819" fmla="*/ 113829 h 6858000"/>
              <a:gd name="connsiteX820" fmla="*/ 3882765 w 7472601"/>
              <a:gd name="connsiteY820" fmla="*/ 0 h 6858000"/>
              <a:gd name="connsiteX821" fmla="*/ 3995099 w 7472601"/>
              <a:gd name="connsiteY821" fmla="*/ 0 h 6858000"/>
              <a:gd name="connsiteX822" fmla="*/ 4163818 w 7472601"/>
              <a:gd name="connsiteY822" fmla="*/ 234104 h 6858000"/>
              <a:gd name="connsiteX823" fmla="*/ 4172099 w 7472601"/>
              <a:gd name="connsiteY823" fmla="*/ 234207 h 6858000"/>
              <a:gd name="connsiteX824" fmla="*/ 4784282 w 7472601"/>
              <a:gd name="connsiteY824" fmla="*/ 276561 h 6858000"/>
              <a:gd name="connsiteX825" fmla="*/ 4801687 w 7472601"/>
              <a:gd name="connsiteY825" fmla="*/ 267764 h 6858000"/>
              <a:gd name="connsiteX826" fmla="*/ 6082788 w 7472601"/>
              <a:gd name="connsiteY826" fmla="*/ 64119 h 6858000"/>
              <a:gd name="connsiteX827" fmla="*/ 6099442 w 7472601"/>
              <a:gd name="connsiteY827" fmla="*/ 82568 h 6858000"/>
              <a:gd name="connsiteX828" fmla="*/ 4804137 w 7472601"/>
              <a:gd name="connsiteY828" fmla="*/ 320931 h 6858000"/>
              <a:gd name="connsiteX829" fmla="*/ 4227047 w 7472601"/>
              <a:gd name="connsiteY829" fmla="*/ 313415 h 6858000"/>
              <a:gd name="connsiteX830" fmla="*/ 4346041 w 7472601"/>
              <a:gd name="connsiteY830" fmla="*/ 456086 h 6858000"/>
              <a:gd name="connsiteX831" fmla="*/ 4870967 w 7472601"/>
              <a:gd name="connsiteY831" fmla="*/ 963061 h 6858000"/>
              <a:gd name="connsiteX832" fmla="*/ 4889647 w 7472601"/>
              <a:gd name="connsiteY832" fmla="*/ 957147 h 6858000"/>
              <a:gd name="connsiteX833" fmla="*/ 5422504 w 7472601"/>
              <a:gd name="connsiteY833" fmla="*/ 805191 h 6858000"/>
              <a:gd name="connsiteX834" fmla="*/ 6087656 w 7472601"/>
              <a:gd name="connsiteY834" fmla="*/ 826703 h 6858000"/>
              <a:gd name="connsiteX835" fmla="*/ 6058717 w 7472601"/>
              <a:gd name="connsiteY835" fmla="*/ 865992 h 6858000"/>
              <a:gd name="connsiteX836" fmla="*/ 4974153 w 7472601"/>
              <a:gd name="connsiteY836" fmla="*/ 1045456 h 6858000"/>
              <a:gd name="connsiteX837" fmla="*/ 5627835 w 7472601"/>
              <a:gd name="connsiteY837" fmla="*/ 1472077 h 6858000"/>
              <a:gd name="connsiteX838" fmla="*/ 5629817 w 7472601"/>
              <a:gd name="connsiteY838" fmla="*/ 1471412 h 6858000"/>
              <a:gd name="connsiteX839" fmla="*/ 5634124 w 7472601"/>
              <a:gd name="connsiteY839" fmla="*/ 1470572 h 6858000"/>
              <a:gd name="connsiteX840" fmla="*/ 5755832 w 7472601"/>
              <a:gd name="connsiteY840" fmla="*/ 1383886 h 6858000"/>
              <a:gd name="connsiteX841" fmla="*/ 6014186 w 7472601"/>
              <a:gd name="connsiteY841" fmla="*/ 1279799 h 6858000"/>
              <a:gd name="connsiteX842" fmla="*/ 6901619 w 7472601"/>
              <a:gd name="connsiteY842" fmla="*/ 1047874 h 6858000"/>
              <a:gd name="connsiteX843" fmla="*/ 6931566 w 7472601"/>
              <a:gd name="connsiteY843" fmla="*/ 1062034 h 6858000"/>
              <a:gd name="connsiteX844" fmla="*/ 5790982 w 7472601"/>
              <a:gd name="connsiteY844" fmla="*/ 1561380 h 6858000"/>
              <a:gd name="connsiteX845" fmla="*/ 6188971 w 7472601"/>
              <a:gd name="connsiteY845" fmla="*/ 1755168 h 6858000"/>
              <a:gd name="connsiteX846" fmla="*/ 6202446 w 7472601"/>
              <a:gd name="connsiteY846" fmla="*/ 1752268 h 6858000"/>
              <a:gd name="connsiteX847" fmla="*/ 7179560 w 7472601"/>
              <a:gd name="connsiteY847" fmla="*/ 1467551 h 6858000"/>
              <a:gd name="connsiteX848" fmla="*/ 7158730 w 7472601"/>
              <a:gd name="connsiteY848" fmla="*/ 1507835 h 6858000"/>
              <a:gd name="connsiteX849" fmla="*/ 6326959 w 7472601"/>
              <a:gd name="connsiteY849" fmla="*/ 1817686 h 6858000"/>
              <a:gd name="connsiteX850" fmla="*/ 6537433 w 7472601"/>
              <a:gd name="connsiteY850" fmla="*/ 1907790 h 6858000"/>
              <a:gd name="connsiteX851" fmla="*/ 6550221 w 7472601"/>
              <a:gd name="connsiteY851" fmla="*/ 1910729 h 6858000"/>
              <a:gd name="connsiteX852" fmla="*/ 6964438 w 7472601"/>
              <a:gd name="connsiteY852" fmla="*/ 2209505 h 6858000"/>
              <a:gd name="connsiteX853" fmla="*/ 7367862 w 7472601"/>
              <a:gd name="connsiteY853" fmla="*/ 2806833 h 6858000"/>
              <a:gd name="connsiteX854" fmla="*/ 7364329 w 7472601"/>
              <a:gd name="connsiteY854" fmla="*/ 2826907 h 6858000"/>
              <a:gd name="connsiteX855" fmla="*/ 7290545 w 7472601"/>
              <a:gd name="connsiteY855" fmla="*/ 2850663 h 6858000"/>
              <a:gd name="connsiteX856" fmla="*/ 6472036 w 7472601"/>
              <a:gd name="connsiteY856" fmla="*/ 1959003 h 6858000"/>
              <a:gd name="connsiteX857" fmla="*/ 5792897 w 7472601"/>
              <a:gd name="connsiteY857" fmla="*/ 1647747 h 6858000"/>
              <a:gd name="connsiteX858" fmla="*/ 5842751 w 7472601"/>
              <a:gd name="connsiteY858" fmla="*/ 1816112 h 6858000"/>
              <a:gd name="connsiteX859" fmla="*/ 5847424 w 7472601"/>
              <a:gd name="connsiteY859" fmla="*/ 1815776 h 6858000"/>
              <a:gd name="connsiteX860" fmla="*/ 6399821 w 7472601"/>
              <a:gd name="connsiteY860" fmla="*/ 2344799 h 6858000"/>
              <a:gd name="connsiteX861" fmla="*/ 6323232 w 7472601"/>
              <a:gd name="connsiteY861" fmla="*/ 2389634 h 6858000"/>
              <a:gd name="connsiteX862" fmla="*/ 5942958 w 7472601"/>
              <a:gd name="connsiteY862" fmla="*/ 2077708 h 6858000"/>
              <a:gd name="connsiteX863" fmla="*/ 5921559 w 7472601"/>
              <a:gd name="connsiteY863" fmla="*/ 2378596 h 6858000"/>
              <a:gd name="connsiteX864" fmla="*/ 5817651 w 7472601"/>
              <a:gd name="connsiteY864" fmla="*/ 3023919 h 6858000"/>
              <a:gd name="connsiteX865" fmla="*/ 5729634 w 7472601"/>
              <a:gd name="connsiteY865" fmla="*/ 3051849 h 6858000"/>
              <a:gd name="connsiteX866" fmla="*/ 5611018 w 7472601"/>
              <a:gd name="connsiteY866" fmla="*/ 2316769 h 6858000"/>
              <a:gd name="connsiteX867" fmla="*/ 5687608 w 7472601"/>
              <a:gd name="connsiteY867" fmla="*/ 2039972 h 6858000"/>
              <a:gd name="connsiteX868" fmla="*/ 5657554 w 7472601"/>
              <a:gd name="connsiteY868" fmla="*/ 1576445 h 6858000"/>
              <a:gd name="connsiteX869" fmla="*/ 5150475 w 7472601"/>
              <a:gd name="connsiteY869" fmla="*/ 1274012 h 6858000"/>
              <a:gd name="connsiteX870" fmla="*/ 5349142 w 7472601"/>
              <a:gd name="connsiteY870" fmla="*/ 2204405 h 6858000"/>
              <a:gd name="connsiteX871" fmla="*/ 5262214 w 7472601"/>
              <a:gd name="connsiteY871" fmla="*/ 2233836 h 6858000"/>
              <a:gd name="connsiteX872" fmla="*/ 4981539 w 7472601"/>
              <a:gd name="connsiteY872" fmla="*/ 1542201 h 6858000"/>
              <a:gd name="connsiteX873" fmla="*/ 4958461 w 7472601"/>
              <a:gd name="connsiteY873" fmla="*/ 1136957 h 6858000"/>
              <a:gd name="connsiteX874" fmla="*/ 4655015 w 7472601"/>
              <a:gd name="connsiteY874" fmla="*/ 891426 h 6858000"/>
              <a:gd name="connsiteX875" fmla="*/ 4348002 w 7472601"/>
              <a:gd name="connsiteY875" fmla="*/ 2205895 h 6858000"/>
              <a:gd name="connsiteX876" fmla="*/ 4262250 w 7472601"/>
              <a:gd name="connsiteY876" fmla="*/ 2219972 h 6858000"/>
              <a:gd name="connsiteX877" fmla="*/ 4550611 w 7472601"/>
              <a:gd name="connsiteY877" fmla="*/ 817540 h 6858000"/>
              <a:gd name="connsiteX878" fmla="*/ 4564418 w 7472601"/>
              <a:gd name="connsiteY878" fmla="*/ 808293 h 6858000"/>
              <a:gd name="connsiteX879" fmla="*/ 4266388 w 7472601"/>
              <a:gd name="connsiteY879" fmla="*/ 500083 h 6858000"/>
              <a:gd name="connsiteX880" fmla="*/ 4032842 w 7472601"/>
              <a:gd name="connsiteY880" fmla="*/ 211809 h 6858000"/>
              <a:gd name="connsiteX881" fmla="*/ 3882765 w 7472601"/>
              <a:gd name="connsiteY881" fmla="*/ 0 h 6858000"/>
              <a:gd name="connsiteX882" fmla="*/ 3721337 w 7472601"/>
              <a:gd name="connsiteY882" fmla="*/ 0 h 6858000"/>
              <a:gd name="connsiteX883" fmla="*/ 3797544 w 7472601"/>
              <a:gd name="connsiteY883" fmla="*/ 0 h 6858000"/>
              <a:gd name="connsiteX884" fmla="*/ 3775734 w 7472601"/>
              <a:gd name="connsiteY884" fmla="*/ 95131 h 6858000"/>
              <a:gd name="connsiteX885" fmla="*/ 3724807 w 7472601"/>
              <a:gd name="connsiteY885" fmla="*/ 272257 h 6858000"/>
              <a:gd name="connsiteX886" fmla="*/ 3726844 w 7472601"/>
              <a:gd name="connsiteY886" fmla="*/ 282988 h 6858000"/>
              <a:gd name="connsiteX887" fmla="*/ 3742664 w 7472601"/>
              <a:gd name="connsiteY887" fmla="*/ 279918 h 6858000"/>
              <a:gd name="connsiteX888" fmla="*/ 4103910 w 7472601"/>
              <a:gd name="connsiteY888" fmla="*/ 1161917 h 6858000"/>
              <a:gd name="connsiteX889" fmla="*/ 4020269 w 7472601"/>
              <a:gd name="connsiteY889" fmla="*/ 1200406 h 6858000"/>
              <a:gd name="connsiteX890" fmla="*/ 3674882 w 7472601"/>
              <a:gd name="connsiteY890" fmla="*/ 488524 h 6858000"/>
              <a:gd name="connsiteX891" fmla="*/ 3132682 w 7472601"/>
              <a:gd name="connsiteY891" fmla="*/ 1072284 h 6858000"/>
              <a:gd name="connsiteX892" fmla="*/ 2716346 w 7472601"/>
              <a:gd name="connsiteY892" fmla="*/ 1276376 h 6858000"/>
              <a:gd name="connsiteX893" fmla="*/ 2716772 w 7472601"/>
              <a:gd name="connsiteY893" fmla="*/ 1255462 h 6858000"/>
              <a:gd name="connsiteX894" fmla="*/ 3471096 w 7472601"/>
              <a:gd name="connsiteY894" fmla="*/ 437072 h 6858000"/>
              <a:gd name="connsiteX895" fmla="*/ 3639057 w 7472601"/>
              <a:gd name="connsiteY895" fmla="*/ 286334 h 6858000"/>
              <a:gd name="connsiteX896" fmla="*/ 3640309 w 7472601"/>
              <a:gd name="connsiteY896" fmla="*/ 284664 h 6858000"/>
              <a:gd name="connsiteX897" fmla="*/ 3646022 w 7472601"/>
              <a:gd name="connsiteY897" fmla="*/ 276711 h 6858000"/>
              <a:gd name="connsiteX898" fmla="*/ 3707943 w 7472601"/>
              <a:gd name="connsiteY898" fmla="*/ 65958 h 6858000"/>
              <a:gd name="connsiteX899" fmla="*/ 3721337 w 7472601"/>
              <a:gd name="connsiteY899" fmla="*/ 0 h 6858000"/>
              <a:gd name="connsiteX900" fmla="*/ 2867960 w 7472601"/>
              <a:gd name="connsiteY900" fmla="*/ 0 h 6858000"/>
              <a:gd name="connsiteX901" fmla="*/ 2926351 w 7472601"/>
              <a:gd name="connsiteY901" fmla="*/ 0 h 6858000"/>
              <a:gd name="connsiteX902" fmla="*/ 2902823 w 7472601"/>
              <a:gd name="connsiteY902" fmla="*/ 262929 h 6858000"/>
              <a:gd name="connsiteX903" fmla="*/ 2940663 w 7472601"/>
              <a:gd name="connsiteY903" fmla="*/ 140884 h 6858000"/>
              <a:gd name="connsiteX904" fmla="*/ 2947039 w 7472601"/>
              <a:gd name="connsiteY904" fmla="*/ 122524 h 6858000"/>
              <a:gd name="connsiteX905" fmla="*/ 2984316 w 7472601"/>
              <a:gd name="connsiteY905" fmla="*/ 0 h 6858000"/>
              <a:gd name="connsiteX906" fmla="*/ 3016114 w 7472601"/>
              <a:gd name="connsiteY906" fmla="*/ 0 h 6858000"/>
              <a:gd name="connsiteX907" fmla="*/ 2979949 w 7472601"/>
              <a:gd name="connsiteY907" fmla="*/ 119274 h 6858000"/>
              <a:gd name="connsiteX908" fmla="*/ 3023879 w 7472601"/>
              <a:gd name="connsiteY908" fmla="*/ 0 h 6858000"/>
              <a:gd name="connsiteX909" fmla="*/ 3105400 w 7472601"/>
              <a:gd name="connsiteY909" fmla="*/ 0 h 6858000"/>
              <a:gd name="connsiteX910" fmla="*/ 3094669 w 7472601"/>
              <a:gd name="connsiteY910" fmla="*/ 30308 h 6858000"/>
              <a:gd name="connsiteX911" fmla="*/ 2901945 w 7472601"/>
              <a:gd name="connsiteY911" fmla="*/ 466538 h 6858000"/>
              <a:gd name="connsiteX912" fmla="*/ 2815209 w 7472601"/>
              <a:gd name="connsiteY912" fmla="*/ 497361 h 6858000"/>
              <a:gd name="connsiteX913" fmla="*/ 2844845 w 7472601"/>
              <a:gd name="connsiteY913" fmla="*/ 127638 h 6858000"/>
              <a:gd name="connsiteX914" fmla="*/ 2867960 w 7472601"/>
              <a:gd name="connsiteY914" fmla="*/ 0 h 6858000"/>
              <a:gd name="connsiteX915" fmla="*/ 1057230 w 7472601"/>
              <a:gd name="connsiteY915" fmla="*/ 0 h 6858000"/>
              <a:gd name="connsiteX916" fmla="*/ 1111003 w 7472601"/>
              <a:gd name="connsiteY916" fmla="*/ 0 h 6858000"/>
              <a:gd name="connsiteX917" fmla="*/ 1125553 w 7472601"/>
              <a:gd name="connsiteY917" fmla="*/ 52588 h 6858000"/>
              <a:gd name="connsiteX918" fmla="*/ 1304276 w 7472601"/>
              <a:gd name="connsiteY918" fmla="*/ 476275 h 6858000"/>
              <a:gd name="connsiteX919" fmla="*/ 1492066 w 7472601"/>
              <a:gd name="connsiteY919" fmla="*/ 886333 h 6858000"/>
              <a:gd name="connsiteX920" fmla="*/ 1423698 w 7472601"/>
              <a:gd name="connsiteY920" fmla="*/ 710817 h 6858000"/>
              <a:gd name="connsiteX921" fmla="*/ 1357609 w 7472601"/>
              <a:gd name="connsiteY921" fmla="*/ 532892 h 6858000"/>
              <a:gd name="connsiteX922" fmla="*/ 1309550 w 7472601"/>
              <a:gd name="connsiteY922" fmla="*/ 374031 h 6858000"/>
              <a:gd name="connsiteX923" fmla="*/ 1193673 w 7472601"/>
              <a:gd name="connsiteY923" fmla="*/ 49533 h 6858000"/>
              <a:gd name="connsiteX924" fmla="*/ 1164391 w 7472601"/>
              <a:gd name="connsiteY924" fmla="*/ 0 h 6858000"/>
              <a:gd name="connsiteX925" fmla="*/ 1200666 w 7472601"/>
              <a:gd name="connsiteY925" fmla="*/ 0 h 6858000"/>
              <a:gd name="connsiteX926" fmla="*/ 1223408 w 7472601"/>
              <a:gd name="connsiteY926" fmla="*/ 38996 h 6858000"/>
              <a:gd name="connsiteX927" fmla="*/ 1339635 w 7472601"/>
              <a:gd name="connsiteY927" fmla="*/ 365517 h 6858000"/>
              <a:gd name="connsiteX928" fmla="*/ 1387469 w 7472601"/>
              <a:gd name="connsiteY928" fmla="*/ 523079 h 6858000"/>
              <a:gd name="connsiteX929" fmla="*/ 1452685 w 7472601"/>
              <a:gd name="connsiteY929" fmla="*/ 699806 h 6858000"/>
              <a:gd name="connsiteX930" fmla="*/ 1492092 w 7472601"/>
              <a:gd name="connsiteY930" fmla="*/ 800424 h 6858000"/>
              <a:gd name="connsiteX931" fmla="*/ 1455302 w 7472601"/>
              <a:gd name="connsiteY931" fmla="*/ 632913 h 6858000"/>
              <a:gd name="connsiteX932" fmla="*/ 1222336 w 7472601"/>
              <a:gd name="connsiteY932" fmla="*/ 9480 h 6858000"/>
              <a:gd name="connsiteX933" fmla="*/ 1214634 w 7472601"/>
              <a:gd name="connsiteY933" fmla="*/ 0 h 6858000"/>
              <a:gd name="connsiteX934" fmla="*/ 1289827 w 7472601"/>
              <a:gd name="connsiteY934" fmla="*/ 0 h 6858000"/>
              <a:gd name="connsiteX935" fmla="*/ 1321076 w 7472601"/>
              <a:gd name="connsiteY935" fmla="*/ 59722 h 6858000"/>
              <a:gd name="connsiteX936" fmla="*/ 1512579 w 7472601"/>
              <a:gd name="connsiteY936" fmla="*/ 626441 h 6858000"/>
              <a:gd name="connsiteX937" fmla="*/ 1506076 w 7472601"/>
              <a:gd name="connsiteY937" fmla="*/ 1089289 h 6858000"/>
              <a:gd name="connsiteX938" fmla="*/ 1486346 w 7472601"/>
              <a:gd name="connsiteY938" fmla="*/ 1079919 h 6858000"/>
              <a:gd name="connsiteX939" fmla="*/ 1070511 w 7472601"/>
              <a:gd name="connsiteY939" fmla="*/ 48609 h 6858000"/>
              <a:gd name="connsiteX940" fmla="*/ 1057230 w 7472601"/>
              <a:gd name="connsiteY940" fmla="*/ 0 h 6858000"/>
              <a:gd name="connsiteX941" fmla="*/ 43151 w 7472601"/>
              <a:gd name="connsiteY941" fmla="*/ 0 h 6858000"/>
              <a:gd name="connsiteX942" fmla="*/ 95283 w 7472601"/>
              <a:gd name="connsiteY942" fmla="*/ 0 h 6858000"/>
              <a:gd name="connsiteX943" fmla="*/ 300708 w 7472601"/>
              <a:gd name="connsiteY943" fmla="*/ 154571 h 6858000"/>
              <a:gd name="connsiteX944" fmla="*/ 530414 w 7472601"/>
              <a:gd name="connsiteY944" fmla="*/ 354673 h 6858000"/>
              <a:gd name="connsiteX945" fmla="*/ 333785 w 7472601"/>
              <a:gd name="connsiteY945" fmla="*/ 161564 h 6858000"/>
              <a:gd name="connsiteX946" fmla="*/ 147005 w 7472601"/>
              <a:gd name="connsiteY946" fmla="*/ 0 h 6858000"/>
              <a:gd name="connsiteX947" fmla="*/ 272509 w 7472601"/>
              <a:gd name="connsiteY947" fmla="*/ 0 h 6858000"/>
              <a:gd name="connsiteX948" fmla="*/ 326276 w 7472601"/>
              <a:gd name="connsiteY948" fmla="*/ 45847 h 6858000"/>
              <a:gd name="connsiteX949" fmla="*/ 823759 w 7472601"/>
              <a:gd name="connsiteY949" fmla="*/ 574145 h 6858000"/>
              <a:gd name="connsiteX950" fmla="*/ 811254 w 7472601"/>
              <a:gd name="connsiteY950" fmla="*/ 665546 h 6858000"/>
              <a:gd name="connsiteX951" fmla="*/ 154042 w 7472601"/>
              <a:gd name="connsiteY951" fmla="*/ 261522 h 6858000"/>
              <a:gd name="connsiteX952" fmla="*/ 13550 w 7472601"/>
              <a:gd name="connsiteY952" fmla="*/ 158423 h 6858000"/>
              <a:gd name="connsiteX953" fmla="*/ 0 w 7472601"/>
              <a:gd name="connsiteY953" fmla="*/ 146618 h 6858000"/>
              <a:gd name="connsiteX954" fmla="*/ 0 w 7472601"/>
              <a:gd name="connsiteY954" fmla="*/ 59161 h 6858000"/>
              <a:gd name="connsiteX955" fmla="*/ 45427 w 7472601"/>
              <a:gd name="connsiteY955" fmla="*/ 101078 h 6858000"/>
              <a:gd name="connsiteX956" fmla="*/ 630103 w 7472601"/>
              <a:gd name="connsiteY956" fmla="*/ 485885 h 6858000"/>
              <a:gd name="connsiteX957" fmla="*/ 532040 w 7472601"/>
              <a:gd name="connsiteY957" fmla="*/ 399359 h 6858000"/>
              <a:gd name="connsiteX958" fmla="*/ 517618 w 7472601"/>
              <a:gd name="connsiteY958" fmla="*/ 385726 h 6858000"/>
              <a:gd name="connsiteX959" fmla="*/ 285074 w 7472601"/>
              <a:gd name="connsiteY959" fmla="*/ 182755 h 6858000"/>
              <a:gd name="connsiteX960" fmla="*/ 43151 w 7472601"/>
              <a:gd name="connsiteY960" fmla="*/ 0 h 6858000"/>
              <a:gd name="connsiteX0" fmla="*/ 369702 w 7472601"/>
              <a:gd name="connsiteY0" fmla="*/ 6712169 h 6858000"/>
              <a:gd name="connsiteX1" fmla="*/ 366575 w 7472601"/>
              <a:gd name="connsiteY1" fmla="*/ 6715556 h 6858000"/>
              <a:gd name="connsiteX2" fmla="*/ 371637 w 7472601"/>
              <a:gd name="connsiteY2" fmla="*/ 6713954 h 6858000"/>
              <a:gd name="connsiteX3" fmla="*/ 369702 w 7472601"/>
              <a:gd name="connsiteY3" fmla="*/ 6712169 h 6858000"/>
              <a:gd name="connsiteX4" fmla="*/ 7088673 w 7472601"/>
              <a:gd name="connsiteY4" fmla="*/ 6610396 h 6858000"/>
              <a:gd name="connsiteX5" fmla="*/ 7440138 w 7472601"/>
              <a:gd name="connsiteY5" fmla="*/ 6622648 h 6858000"/>
              <a:gd name="connsiteX6" fmla="*/ 7467600 w 7472601"/>
              <a:gd name="connsiteY6" fmla="*/ 6628217 h 6858000"/>
              <a:gd name="connsiteX7" fmla="*/ 7467600 w 7472601"/>
              <a:gd name="connsiteY7" fmla="*/ 6668575 h 6858000"/>
              <a:gd name="connsiteX8" fmla="*/ 7392322 w 7472601"/>
              <a:gd name="connsiteY8" fmla="*/ 6658238 h 6858000"/>
              <a:gd name="connsiteX9" fmla="*/ 7467600 w 7472601"/>
              <a:gd name="connsiteY9" fmla="*/ 6683873 h 6858000"/>
              <a:gd name="connsiteX10" fmla="*/ 7467600 w 7472601"/>
              <a:gd name="connsiteY10" fmla="*/ 6714215 h 6858000"/>
              <a:gd name="connsiteX11" fmla="*/ 7447383 w 7472601"/>
              <a:gd name="connsiteY11" fmla="*/ 6707202 h 6858000"/>
              <a:gd name="connsiteX12" fmla="*/ 7289862 w 7472601"/>
              <a:gd name="connsiteY12" fmla="*/ 6659827 h 6858000"/>
              <a:gd name="connsiteX13" fmla="*/ 7434024 w 7472601"/>
              <a:gd name="connsiteY13" fmla="*/ 6722130 h 6858000"/>
              <a:gd name="connsiteX14" fmla="*/ 7467600 w 7472601"/>
              <a:gd name="connsiteY14" fmla="*/ 6736157 h 6858000"/>
              <a:gd name="connsiteX15" fmla="*/ 7467600 w 7472601"/>
              <a:gd name="connsiteY15" fmla="*/ 6767913 h 6858000"/>
              <a:gd name="connsiteX16" fmla="*/ 7392158 w 7472601"/>
              <a:gd name="connsiteY16" fmla="*/ 6771365 h 6858000"/>
              <a:gd name="connsiteX17" fmla="*/ 7467600 w 7472601"/>
              <a:gd name="connsiteY17" fmla="*/ 6805948 h 6858000"/>
              <a:gd name="connsiteX18" fmla="*/ 7467600 w 7472601"/>
              <a:gd name="connsiteY18" fmla="*/ 6831490 h 6858000"/>
              <a:gd name="connsiteX19" fmla="*/ 7410696 w 7472601"/>
              <a:gd name="connsiteY19" fmla="*/ 6803861 h 6858000"/>
              <a:gd name="connsiteX20" fmla="*/ 7088673 w 7472601"/>
              <a:gd name="connsiteY20" fmla="*/ 6610396 h 6858000"/>
              <a:gd name="connsiteX21" fmla="*/ 1019354 w 7472601"/>
              <a:gd name="connsiteY21" fmla="*/ 6315006 h 6858000"/>
              <a:gd name="connsiteX22" fmla="*/ 441046 w 7472601"/>
              <a:gd name="connsiteY22" fmla="*/ 6691153 h 6858000"/>
              <a:gd name="connsiteX23" fmla="*/ 1019354 w 7472601"/>
              <a:gd name="connsiteY23" fmla="*/ 6315006 h 6858000"/>
              <a:gd name="connsiteX24" fmla="*/ 991680 w 7472601"/>
              <a:gd name="connsiteY24" fmla="*/ 6298413 h 6858000"/>
              <a:gd name="connsiteX25" fmla="*/ 409060 w 7472601"/>
              <a:gd name="connsiteY25" fmla="*/ 6671470 h 6858000"/>
              <a:gd name="connsiteX26" fmla="*/ 991680 w 7472601"/>
              <a:gd name="connsiteY26" fmla="*/ 6298413 h 6858000"/>
              <a:gd name="connsiteX27" fmla="*/ 103333 w 7472601"/>
              <a:gd name="connsiteY27" fmla="*/ 5699602 h 6858000"/>
              <a:gd name="connsiteX28" fmla="*/ 233938 w 7472601"/>
              <a:gd name="connsiteY28" fmla="*/ 5809416 h 6858000"/>
              <a:gd name="connsiteX29" fmla="*/ 883580 w 7472601"/>
              <a:gd name="connsiteY29" fmla="*/ 6180710 h 6858000"/>
              <a:gd name="connsiteX30" fmla="*/ 487337 w 7472601"/>
              <a:gd name="connsiteY30" fmla="*/ 5950182 h 6858000"/>
              <a:gd name="connsiteX31" fmla="*/ 354051 w 7472601"/>
              <a:gd name="connsiteY31" fmla="*/ 5854912 h 6858000"/>
              <a:gd name="connsiteX32" fmla="*/ 195436 w 7472601"/>
              <a:gd name="connsiteY32" fmla="*/ 5755068 h 6858000"/>
              <a:gd name="connsiteX33" fmla="*/ 103333 w 7472601"/>
              <a:gd name="connsiteY33" fmla="*/ 5699602 h 6858000"/>
              <a:gd name="connsiteX34" fmla="*/ 5539432 w 7472601"/>
              <a:gd name="connsiteY34" fmla="*/ 5642928 h 6858000"/>
              <a:gd name="connsiteX35" fmla="*/ 5555462 w 7472601"/>
              <a:gd name="connsiteY35" fmla="*/ 5694454 h 6858000"/>
              <a:gd name="connsiteX36" fmla="*/ 5828270 w 7472601"/>
              <a:gd name="connsiteY36" fmla="*/ 6320663 h 6858000"/>
              <a:gd name="connsiteX37" fmla="*/ 5947416 w 7472601"/>
              <a:gd name="connsiteY37" fmla="*/ 6574846 h 6858000"/>
              <a:gd name="connsiteX38" fmla="*/ 5539432 w 7472601"/>
              <a:gd name="connsiteY38" fmla="*/ 5642928 h 6858000"/>
              <a:gd name="connsiteX39" fmla="*/ 51253 w 7472601"/>
              <a:gd name="connsiteY39" fmla="*/ 5631825 h 6858000"/>
              <a:gd name="connsiteX40" fmla="*/ 211622 w 7472601"/>
              <a:gd name="connsiteY40" fmla="*/ 5728803 h 6858000"/>
              <a:gd name="connsiteX41" fmla="*/ 371652 w 7472601"/>
              <a:gd name="connsiteY41" fmla="*/ 5829062 h 6858000"/>
              <a:gd name="connsiteX42" fmla="*/ 505903 w 7472601"/>
              <a:gd name="connsiteY42" fmla="*/ 5925221 h 6858000"/>
              <a:gd name="connsiteX43" fmla="*/ 899240 w 7472601"/>
              <a:gd name="connsiteY43" fmla="*/ 6153068 h 6858000"/>
              <a:gd name="connsiteX44" fmla="*/ 988114 w 7472601"/>
              <a:gd name="connsiteY44" fmla="*/ 6174204 h 6858000"/>
              <a:gd name="connsiteX45" fmla="*/ 845971 w 7472601"/>
              <a:gd name="connsiteY45" fmla="*/ 6067177 h 6858000"/>
              <a:gd name="connsiteX46" fmla="*/ 448057 w 7472601"/>
              <a:gd name="connsiteY46" fmla="*/ 5841376 h 6858000"/>
              <a:gd name="connsiteX47" fmla="*/ 51253 w 7472601"/>
              <a:gd name="connsiteY47" fmla="*/ 5631825 h 6858000"/>
              <a:gd name="connsiteX48" fmla="*/ 2606687 w 7472601"/>
              <a:gd name="connsiteY48" fmla="*/ 5630718 h 6858000"/>
              <a:gd name="connsiteX49" fmla="*/ 2645658 w 7472601"/>
              <a:gd name="connsiteY49" fmla="*/ 6640259 h 6858000"/>
              <a:gd name="connsiteX50" fmla="*/ 2606687 w 7472601"/>
              <a:gd name="connsiteY50" fmla="*/ 5630718 h 6858000"/>
              <a:gd name="connsiteX51" fmla="*/ 3642057 w 7472601"/>
              <a:gd name="connsiteY51" fmla="*/ 5573487 h 6858000"/>
              <a:gd name="connsiteX52" fmla="*/ 3632981 w 7472601"/>
              <a:gd name="connsiteY52" fmla="*/ 5579437 h 6858000"/>
              <a:gd name="connsiteX53" fmla="*/ 3382436 w 7472601"/>
              <a:gd name="connsiteY53" fmla="*/ 5952726 h 6858000"/>
              <a:gd name="connsiteX54" fmla="*/ 3191929 w 7472601"/>
              <a:gd name="connsiteY54" fmla="*/ 6662669 h 6858000"/>
              <a:gd name="connsiteX55" fmla="*/ 3369898 w 7472601"/>
              <a:gd name="connsiteY55" fmla="*/ 6081771 h 6858000"/>
              <a:gd name="connsiteX56" fmla="*/ 3642057 w 7472601"/>
              <a:gd name="connsiteY56" fmla="*/ 5573487 h 6858000"/>
              <a:gd name="connsiteX57" fmla="*/ 2650666 w 7472601"/>
              <a:gd name="connsiteY57" fmla="*/ 5530686 h 6858000"/>
              <a:gd name="connsiteX58" fmla="*/ 2650249 w 7472601"/>
              <a:gd name="connsiteY58" fmla="*/ 5532101 h 6858000"/>
              <a:gd name="connsiteX59" fmla="*/ 2663808 w 7472601"/>
              <a:gd name="connsiteY59" fmla="*/ 6535215 h 6858000"/>
              <a:gd name="connsiteX60" fmla="*/ 2665418 w 7472601"/>
              <a:gd name="connsiteY60" fmla="*/ 6132756 h 6858000"/>
              <a:gd name="connsiteX61" fmla="*/ 2650666 w 7472601"/>
              <a:gd name="connsiteY61" fmla="*/ 5530686 h 6858000"/>
              <a:gd name="connsiteX62" fmla="*/ 2680277 w 7472601"/>
              <a:gd name="connsiteY62" fmla="*/ 5479204 h 6858000"/>
              <a:gd name="connsiteX63" fmla="*/ 2678972 w 7472601"/>
              <a:gd name="connsiteY63" fmla="*/ 5481582 h 6858000"/>
              <a:gd name="connsiteX64" fmla="*/ 2696666 w 7472601"/>
              <a:gd name="connsiteY64" fmla="*/ 6133836 h 6858000"/>
              <a:gd name="connsiteX65" fmla="*/ 2695769 w 7472601"/>
              <a:gd name="connsiteY65" fmla="*/ 6390955 h 6858000"/>
              <a:gd name="connsiteX66" fmla="*/ 2739893 w 7472601"/>
              <a:gd name="connsiteY66" fmla="*/ 6108357 h 6858000"/>
              <a:gd name="connsiteX67" fmla="*/ 2680277 w 7472601"/>
              <a:gd name="connsiteY67" fmla="*/ 5479204 h 6858000"/>
              <a:gd name="connsiteX68" fmla="*/ 1132195 w 7472601"/>
              <a:gd name="connsiteY68" fmla="*/ 5467980 h 6858000"/>
              <a:gd name="connsiteX69" fmla="*/ 1679056 w 7472601"/>
              <a:gd name="connsiteY69" fmla="*/ 5516907 h 6858000"/>
              <a:gd name="connsiteX70" fmla="*/ 2128648 w 7472601"/>
              <a:gd name="connsiteY70" fmla="*/ 5474249 h 6858000"/>
              <a:gd name="connsiteX71" fmla="*/ 1825619 w 7472601"/>
              <a:gd name="connsiteY71" fmla="*/ 5478447 h 6858000"/>
              <a:gd name="connsiteX72" fmla="*/ 1737798 w 7472601"/>
              <a:gd name="connsiteY72" fmla="*/ 5483353 h 6858000"/>
              <a:gd name="connsiteX73" fmla="*/ 1132195 w 7472601"/>
              <a:gd name="connsiteY73" fmla="*/ 5467980 h 6858000"/>
              <a:gd name="connsiteX74" fmla="*/ 7454976 w 7472601"/>
              <a:gd name="connsiteY74" fmla="*/ 6318297 h 6858000"/>
              <a:gd name="connsiteX75" fmla="*/ 7467600 w 7472601"/>
              <a:gd name="connsiteY75" fmla="*/ 6012219 h 6858000"/>
              <a:gd name="connsiteX76" fmla="*/ 7467600 w 7472601"/>
              <a:gd name="connsiteY76" fmla="*/ 6163634 h 6858000"/>
              <a:gd name="connsiteX77" fmla="*/ 7448321 w 7472601"/>
              <a:gd name="connsiteY77" fmla="*/ 6190991 h 6858000"/>
              <a:gd name="connsiteX78" fmla="*/ 7467600 w 7472601"/>
              <a:gd name="connsiteY78" fmla="*/ 6221686 h 6858000"/>
              <a:gd name="connsiteX79" fmla="*/ 7467600 w 7472601"/>
              <a:gd name="connsiteY79" fmla="*/ 6334256 h 6858000"/>
              <a:gd name="connsiteX80" fmla="*/ 7454976 w 7472601"/>
              <a:gd name="connsiteY80" fmla="*/ 6318297 h 6858000"/>
              <a:gd name="connsiteX81" fmla="*/ 1456157 w 7472601"/>
              <a:gd name="connsiteY81" fmla="*/ 5371404 h 6858000"/>
              <a:gd name="connsiteX82" fmla="*/ 1244432 w 7472601"/>
              <a:gd name="connsiteY82" fmla="*/ 5385601 h 6858000"/>
              <a:gd name="connsiteX83" fmla="*/ 973990 w 7472601"/>
              <a:gd name="connsiteY83" fmla="*/ 5424940 h 6858000"/>
              <a:gd name="connsiteX84" fmla="*/ 1103809 w 7472601"/>
              <a:gd name="connsiteY84" fmla="*/ 5433720 h 6858000"/>
              <a:gd name="connsiteX85" fmla="*/ 1123454 w 7472601"/>
              <a:gd name="connsiteY85" fmla="*/ 5435727 h 6858000"/>
              <a:gd name="connsiteX86" fmla="*/ 1737017 w 7472601"/>
              <a:gd name="connsiteY86" fmla="*/ 5452183 h 6858000"/>
              <a:gd name="connsiteX87" fmla="*/ 1824397 w 7472601"/>
              <a:gd name="connsiteY87" fmla="*/ 5447757 h 6858000"/>
              <a:gd name="connsiteX88" fmla="*/ 2070059 w 7472601"/>
              <a:gd name="connsiteY88" fmla="*/ 5441660 h 6858000"/>
              <a:gd name="connsiteX89" fmla="*/ 1456157 w 7472601"/>
              <a:gd name="connsiteY89" fmla="*/ 5371404 h 6858000"/>
              <a:gd name="connsiteX90" fmla="*/ 4988186 w 7472601"/>
              <a:gd name="connsiteY90" fmla="*/ 5216467 h 6858000"/>
              <a:gd name="connsiteX91" fmla="*/ 4777334 w 7472601"/>
              <a:gd name="connsiteY91" fmla="*/ 5406072 h 6858000"/>
              <a:gd name="connsiteX92" fmla="*/ 4718341 w 7472601"/>
              <a:gd name="connsiteY92" fmla="*/ 5468043 h 6858000"/>
              <a:gd name="connsiteX93" fmla="*/ 4604655 w 7472601"/>
              <a:gd name="connsiteY93" fmla="*/ 5583434 h 6858000"/>
              <a:gd name="connsiteX94" fmla="*/ 4565074 w 7472601"/>
              <a:gd name="connsiteY94" fmla="*/ 5618550 h 6858000"/>
              <a:gd name="connsiteX95" fmla="*/ 4988186 w 7472601"/>
              <a:gd name="connsiteY95" fmla="*/ 5216467 h 6858000"/>
              <a:gd name="connsiteX96" fmla="*/ 4978032 w 7472601"/>
              <a:gd name="connsiteY96" fmla="*/ 5183809 h 6858000"/>
              <a:gd name="connsiteX97" fmla="*/ 4463413 w 7472601"/>
              <a:gd name="connsiteY97" fmla="*/ 5615162 h 6858000"/>
              <a:gd name="connsiteX98" fmla="*/ 4358134 w 7472601"/>
              <a:gd name="connsiteY98" fmla="*/ 5742791 h 6858000"/>
              <a:gd name="connsiteX99" fmla="*/ 4376219 w 7472601"/>
              <a:gd name="connsiteY99" fmla="*/ 5729027 h 6858000"/>
              <a:gd name="connsiteX100" fmla="*/ 4582340 w 7472601"/>
              <a:gd name="connsiteY100" fmla="*/ 5561037 h 6858000"/>
              <a:gd name="connsiteX101" fmla="*/ 4694684 w 7472601"/>
              <a:gd name="connsiteY101" fmla="*/ 5447098 h 6858000"/>
              <a:gd name="connsiteX102" fmla="*/ 4754123 w 7472601"/>
              <a:gd name="connsiteY102" fmla="*/ 5384643 h 6858000"/>
              <a:gd name="connsiteX103" fmla="*/ 4978032 w 7472601"/>
              <a:gd name="connsiteY103" fmla="*/ 5183809 h 6858000"/>
              <a:gd name="connsiteX104" fmla="*/ 1903353 w 7472601"/>
              <a:gd name="connsiteY104" fmla="*/ 5044827 h 6858000"/>
              <a:gd name="connsiteX105" fmla="*/ 1936931 w 7472601"/>
              <a:gd name="connsiteY105" fmla="*/ 5093954 h 6858000"/>
              <a:gd name="connsiteX106" fmla="*/ 2195868 w 7472601"/>
              <a:gd name="connsiteY106" fmla="*/ 5396574 h 6858000"/>
              <a:gd name="connsiteX107" fmla="*/ 2088852 w 7472601"/>
              <a:gd name="connsiteY107" fmla="*/ 5166123 h 6858000"/>
              <a:gd name="connsiteX108" fmla="*/ 1958241 w 7472601"/>
              <a:gd name="connsiteY108" fmla="*/ 5067955 h 6858000"/>
              <a:gd name="connsiteX109" fmla="*/ 1903353 w 7472601"/>
              <a:gd name="connsiteY109" fmla="*/ 5044827 h 6858000"/>
              <a:gd name="connsiteX110" fmla="*/ 1979378 w 7472601"/>
              <a:gd name="connsiteY110" fmla="*/ 4769504 h 6858000"/>
              <a:gd name="connsiteX111" fmla="*/ 2882120 w 7472601"/>
              <a:gd name="connsiteY111" fmla="*/ 5064547 h 6858000"/>
              <a:gd name="connsiteX112" fmla="*/ 2793103 w 7472601"/>
              <a:gd name="connsiteY112" fmla="*/ 5039699 h 6858000"/>
              <a:gd name="connsiteX113" fmla="*/ 2770041 w 7472601"/>
              <a:gd name="connsiteY113" fmla="*/ 5033634 h 6858000"/>
              <a:gd name="connsiteX114" fmla="*/ 1979378 w 7472601"/>
              <a:gd name="connsiteY114" fmla="*/ 4769504 h 6858000"/>
              <a:gd name="connsiteX115" fmla="*/ 1927410 w 7472601"/>
              <a:gd name="connsiteY115" fmla="*/ 4716164 h 6858000"/>
              <a:gd name="connsiteX116" fmla="*/ 1959587 w 7472601"/>
              <a:gd name="connsiteY116" fmla="*/ 4728849 h 6858000"/>
              <a:gd name="connsiteX117" fmla="*/ 2777707 w 7472601"/>
              <a:gd name="connsiteY117" fmla="*/ 5003991 h 6858000"/>
              <a:gd name="connsiteX118" fmla="*/ 2800768 w 7472601"/>
              <a:gd name="connsiteY118" fmla="*/ 5010056 h 6858000"/>
              <a:gd name="connsiteX119" fmla="*/ 2879408 w 7472601"/>
              <a:gd name="connsiteY119" fmla="*/ 5031590 h 6858000"/>
              <a:gd name="connsiteX120" fmla="*/ 2862295 w 7472601"/>
              <a:gd name="connsiteY120" fmla="*/ 5022958 h 6858000"/>
              <a:gd name="connsiteX121" fmla="*/ 2813343 w 7472601"/>
              <a:gd name="connsiteY121" fmla="*/ 4998369 h 6858000"/>
              <a:gd name="connsiteX122" fmla="*/ 2646245 w 7472601"/>
              <a:gd name="connsiteY122" fmla="*/ 4930999 h 6858000"/>
              <a:gd name="connsiteX123" fmla="*/ 1999243 w 7472601"/>
              <a:gd name="connsiteY123" fmla="*/ 4730524 h 6858000"/>
              <a:gd name="connsiteX124" fmla="*/ 1979527 w 7472601"/>
              <a:gd name="connsiteY124" fmla="*/ 4726651 h 6858000"/>
              <a:gd name="connsiteX125" fmla="*/ 1927410 w 7472601"/>
              <a:gd name="connsiteY125" fmla="*/ 4716164 h 6858000"/>
              <a:gd name="connsiteX126" fmla="*/ 1997014 w 7472601"/>
              <a:gd name="connsiteY126" fmla="*/ 4698007 h 6858000"/>
              <a:gd name="connsiteX127" fmla="*/ 2005458 w 7472601"/>
              <a:gd name="connsiteY127" fmla="*/ 4699540 h 6858000"/>
              <a:gd name="connsiteX128" fmla="*/ 2657186 w 7472601"/>
              <a:gd name="connsiteY128" fmla="*/ 4901687 h 6858000"/>
              <a:gd name="connsiteX129" fmla="*/ 2826662 w 7472601"/>
              <a:gd name="connsiteY129" fmla="*/ 4970362 h 6858000"/>
              <a:gd name="connsiteX130" fmla="*/ 2876100 w 7472601"/>
              <a:gd name="connsiteY130" fmla="*/ 4995397 h 6858000"/>
              <a:gd name="connsiteX131" fmla="*/ 3042600 w 7472601"/>
              <a:gd name="connsiteY131" fmla="*/ 5059532 h 6858000"/>
              <a:gd name="connsiteX132" fmla="*/ 1997014 w 7472601"/>
              <a:gd name="connsiteY132" fmla="*/ 4698007 h 6858000"/>
              <a:gd name="connsiteX133" fmla="*/ 2305292 w 7472601"/>
              <a:gd name="connsiteY133" fmla="*/ 4219492 h 6858000"/>
              <a:gd name="connsiteX134" fmla="*/ 3360922 w 7472601"/>
              <a:gd name="connsiteY134" fmla="*/ 4529373 h 6858000"/>
              <a:gd name="connsiteX135" fmla="*/ 3492420 w 7472601"/>
              <a:gd name="connsiteY135" fmla="*/ 4510145 h 6858000"/>
              <a:gd name="connsiteX136" fmla="*/ 3364086 w 7472601"/>
              <a:gd name="connsiteY136" fmla="*/ 4480340 h 6858000"/>
              <a:gd name="connsiteX137" fmla="*/ 3225818 w 7472601"/>
              <a:gd name="connsiteY137" fmla="*/ 4411822 h 6858000"/>
              <a:gd name="connsiteX138" fmla="*/ 3129696 w 7472601"/>
              <a:gd name="connsiteY138" fmla="*/ 4360704 h 6858000"/>
              <a:gd name="connsiteX139" fmla="*/ 2814545 w 7472601"/>
              <a:gd name="connsiteY139" fmla="*/ 4282955 h 6858000"/>
              <a:gd name="connsiteX140" fmla="*/ 2305292 w 7472601"/>
              <a:gd name="connsiteY140" fmla="*/ 4219492 h 6858000"/>
              <a:gd name="connsiteX141" fmla="*/ 2626982 w 7472601"/>
              <a:gd name="connsiteY141" fmla="*/ 4206450 h 6858000"/>
              <a:gd name="connsiteX142" fmla="*/ 2490617 w 7472601"/>
              <a:gd name="connsiteY142" fmla="*/ 4206951 h 6858000"/>
              <a:gd name="connsiteX143" fmla="*/ 2819869 w 7472601"/>
              <a:gd name="connsiteY143" fmla="*/ 4252936 h 6858000"/>
              <a:gd name="connsiteX144" fmla="*/ 3143018 w 7472601"/>
              <a:gd name="connsiteY144" fmla="*/ 4332698 h 6858000"/>
              <a:gd name="connsiteX145" fmla="*/ 3241520 w 7472601"/>
              <a:gd name="connsiteY145" fmla="*/ 4385112 h 6858000"/>
              <a:gd name="connsiteX146" fmla="*/ 3374575 w 7472601"/>
              <a:gd name="connsiteY146" fmla="*/ 4451517 h 6858000"/>
              <a:gd name="connsiteX147" fmla="*/ 3505221 w 7472601"/>
              <a:gd name="connsiteY147" fmla="*/ 4480757 h 6858000"/>
              <a:gd name="connsiteX148" fmla="*/ 2626982 w 7472601"/>
              <a:gd name="connsiteY148" fmla="*/ 4206450 h 6858000"/>
              <a:gd name="connsiteX149" fmla="*/ 1310106 w 7472601"/>
              <a:gd name="connsiteY149" fmla="*/ 3943217 h 6858000"/>
              <a:gd name="connsiteX150" fmla="*/ 854994 w 7472601"/>
              <a:gd name="connsiteY150" fmla="*/ 4399136 h 6858000"/>
              <a:gd name="connsiteX151" fmla="*/ 742462 w 7472601"/>
              <a:gd name="connsiteY151" fmla="*/ 4594648 h 6858000"/>
              <a:gd name="connsiteX152" fmla="*/ 820602 w 7472601"/>
              <a:gd name="connsiteY152" fmla="*/ 4485915 h 6858000"/>
              <a:gd name="connsiteX153" fmla="*/ 878295 w 7472601"/>
              <a:gd name="connsiteY153" fmla="*/ 4403594 h 6858000"/>
              <a:gd name="connsiteX154" fmla="*/ 1240607 w 7472601"/>
              <a:gd name="connsiteY154" fmla="*/ 4010401 h 6858000"/>
              <a:gd name="connsiteX155" fmla="*/ 1310106 w 7472601"/>
              <a:gd name="connsiteY155" fmla="*/ 3943217 h 6858000"/>
              <a:gd name="connsiteX156" fmla="*/ 1423113 w 7472601"/>
              <a:gd name="connsiteY156" fmla="*/ 3874565 h 6858000"/>
              <a:gd name="connsiteX157" fmla="*/ 1260565 w 7472601"/>
              <a:gd name="connsiteY157" fmla="*/ 4031982 h 6858000"/>
              <a:gd name="connsiteX158" fmla="*/ 901900 w 7472601"/>
              <a:gd name="connsiteY158" fmla="*/ 4421236 h 6858000"/>
              <a:gd name="connsiteX159" fmla="*/ 845044 w 7472601"/>
              <a:gd name="connsiteY159" fmla="*/ 4502436 h 6858000"/>
              <a:gd name="connsiteX160" fmla="*/ 685926 w 7472601"/>
              <a:gd name="connsiteY160" fmla="*/ 4703069 h 6858000"/>
              <a:gd name="connsiteX161" fmla="*/ 684248 w 7472601"/>
              <a:gd name="connsiteY161" fmla="*/ 4706721 h 6858000"/>
              <a:gd name="connsiteX162" fmla="*/ 1423113 w 7472601"/>
              <a:gd name="connsiteY162" fmla="*/ 3874565 h 6858000"/>
              <a:gd name="connsiteX163" fmla="*/ 3316479 w 7472601"/>
              <a:gd name="connsiteY163" fmla="*/ 3872136 h 6858000"/>
              <a:gd name="connsiteX164" fmla="*/ 3546806 w 7472601"/>
              <a:gd name="connsiteY164" fmla="*/ 4356139 h 6858000"/>
              <a:gd name="connsiteX165" fmla="*/ 3364433 w 7472601"/>
              <a:gd name="connsiteY165" fmla="*/ 3953121 h 6858000"/>
              <a:gd name="connsiteX166" fmla="*/ 3316479 w 7472601"/>
              <a:gd name="connsiteY166" fmla="*/ 3872136 h 6858000"/>
              <a:gd name="connsiteX167" fmla="*/ 3291335 w 7472601"/>
              <a:gd name="connsiteY167" fmla="*/ 3767420 h 6858000"/>
              <a:gd name="connsiteX168" fmla="*/ 3390805 w 7472601"/>
              <a:gd name="connsiteY168" fmla="*/ 3937163 h 6858000"/>
              <a:gd name="connsiteX169" fmla="*/ 3579062 w 7472601"/>
              <a:gd name="connsiteY169" fmla="*/ 4359040 h 6858000"/>
              <a:gd name="connsiteX170" fmla="*/ 3467355 w 7472601"/>
              <a:gd name="connsiteY170" fmla="*/ 3988130 h 6858000"/>
              <a:gd name="connsiteX171" fmla="*/ 3310753 w 7472601"/>
              <a:gd name="connsiteY171" fmla="*/ 3787140 h 6858000"/>
              <a:gd name="connsiteX172" fmla="*/ 3291335 w 7472601"/>
              <a:gd name="connsiteY172" fmla="*/ 3767420 h 6858000"/>
              <a:gd name="connsiteX173" fmla="*/ 1635889 w 7472601"/>
              <a:gd name="connsiteY173" fmla="*/ 3709494 h 6858000"/>
              <a:gd name="connsiteX174" fmla="*/ 1634800 w 7472601"/>
              <a:gd name="connsiteY174" fmla="*/ 3731111 h 6858000"/>
              <a:gd name="connsiteX175" fmla="*/ 1635889 w 7472601"/>
              <a:gd name="connsiteY175" fmla="*/ 3709494 h 6858000"/>
              <a:gd name="connsiteX176" fmla="*/ 1510397 w 7472601"/>
              <a:gd name="connsiteY176" fmla="*/ 3684705 h 6858000"/>
              <a:gd name="connsiteX177" fmla="*/ 1146550 w 7472601"/>
              <a:gd name="connsiteY177" fmla="*/ 3802012 h 6858000"/>
              <a:gd name="connsiteX178" fmla="*/ 698834 w 7472601"/>
              <a:gd name="connsiteY178" fmla="*/ 3952272 h 6858000"/>
              <a:gd name="connsiteX179" fmla="*/ 34256 w 7472601"/>
              <a:gd name="connsiteY179" fmla="*/ 4347603 h 6858000"/>
              <a:gd name="connsiteX180" fmla="*/ 527241 w 7472601"/>
              <a:gd name="connsiteY180" fmla="*/ 4065078 h 6858000"/>
              <a:gd name="connsiteX181" fmla="*/ 1510397 w 7472601"/>
              <a:gd name="connsiteY181" fmla="*/ 3684705 h 6858000"/>
              <a:gd name="connsiteX182" fmla="*/ 1313114 w 7472601"/>
              <a:gd name="connsiteY182" fmla="*/ 3655216 h 6858000"/>
              <a:gd name="connsiteX183" fmla="*/ 1109304 w 7472601"/>
              <a:gd name="connsiteY183" fmla="*/ 3669030 h 6858000"/>
              <a:gd name="connsiteX184" fmla="*/ 8129 w 7472601"/>
              <a:gd name="connsiteY184" fmla="*/ 4330519 h 6858000"/>
              <a:gd name="connsiteX185" fmla="*/ 687572 w 7472601"/>
              <a:gd name="connsiteY185" fmla="*/ 3925629 h 6858000"/>
              <a:gd name="connsiteX186" fmla="*/ 1138365 w 7472601"/>
              <a:gd name="connsiteY186" fmla="*/ 3774515 h 6858000"/>
              <a:gd name="connsiteX187" fmla="*/ 1505579 w 7472601"/>
              <a:gd name="connsiteY187" fmla="*/ 3655526 h 6858000"/>
              <a:gd name="connsiteX188" fmla="*/ 1313114 w 7472601"/>
              <a:gd name="connsiteY188" fmla="*/ 3655216 h 6858000"/>
              <a:gd name="connsiteX189" fmla="*/ 3655073 w 7472601"/>
              <a:gd name="connsiteY189" fmla="*/ 3650884 h 6858000"/>
              <a:gd name="connsiteX190" fmla="*/ 3989938 w 7472601"/>
              <a:gd name="connsiteY190" fmla="*/ 3991685 h 6858000"/>
              <a:gd name="connsiteX191" fmla="*/ 4393907 w 7472601"/>
              <a:gd name="connsiteY191" fmla="*/ 4261258 h 6858000"/>
              <a:gd name="connsiteX192" fmla="*/ 4648051 w 7472601"/>
              <a:gd name="connsiteY192" fmla="*/ 4374051 h 6858000"/>
              <a:gd name="connsiteX193" fmla="*/ 4383389 w 7472601"/>
              <a:gd name="connsiteY193" fmla="*/ 4184369 h 6858000"/>
              <a:gd name="connsiteX194" fmla="*/ 4165508 w 7472601"/>
              <a:gd name="connsiteY194" fmla="*/ 4035196 h 6858000"/>
              <a:gd name="connsiteX195" fmla="*/ 4068162 w 7472601"/>
              <a:gd name="connsiteY195" fmla="*/ 3953394 h 6858000"/>
              <a:gd name="connsiteX196" fmla="*/ 3981416 w 7472601"/>
              <a:gd name="connsiteY196" fmla="*/ 3880482 h 6858000"/>
              <a:gd name="connsiteX197" fmla="*/ 3800147 w 7472601"/>
              <a:gd name="connsiteY197" fmla="*/ 3749872 h 6858000"/>
              <a:gd name="connsiteX198" fmla="*/ 3655073 w 7472601"/>
              <a:gd name="connsiteY198" fmla="*/ 3650884 h 6858000"/>
              <a:gd name="connsiteX199" fmla="*/ 3670252 w 7472601"/>
              <a:gd name="connsiteY199" fmla="*/ 3622798 h 6858000"/>
              <a:gd name="connsiteX200" fmla="*/ 3817258 w 7472601"/>
              <a:gd name="connsiteY200" fmla="*/ 3723577 h 6858000"/>
              <a:gd name="connsiteX201" fmla="*/ 4000461 w 7472601"/>
              <a:gd name="connsiteY201" fmla="*/ 3855966 h 6858000"/>
              <a:gd name="connsiteX202" fmla="*/ 4088180 w 7472601"/>
              <a:gd name="connsiteY202" fmla="*/ 3929774 h 6858000"/>
              <a:gd name="connsiteX203" fmla="*/ 4184555 w 7472601"/>
              <a:gd name="connsiteY203" fmla="*/ 4010683 h 6858000"/>
              <a:gd name="connsiteX204" fmla="*/ 4399563 w 7472601"/>
              <a:gd name="connsiteY204" fmla="*/ 4158106 h 6858000"/>
              <a:gd name="connsiteX205" fmla="*/ 4684469 w 7472601"/>
              <a:gd name="connsiteY205" fmla="*/ 4364680 h 6858000"/>
              <a:gd name="connsiteX206" fmla="*/ 4690271 w 7472601"/>
              <a:gd name="connsiteY206" fmla="*/ 4370034 h 6858000"/>
              <a:gd name="connsiteX207" fmla="*/ 4136093 w 7472601"/>
              <a:gd name="connsiteY207" fmla="*/ 3858466 h 6858000"/>
              <a:gd name="connsiteX208" fmla="*/ 3670252 w 7472601"/>
              <a:gd name="connsiteY208" fmla="*/ 3622798 h 6858000"/>
              <a:gd name="connsiteX209" fmla="*/ 4440129 w 7472601"/>
              <a:gd name="connsiteY209" fmla="*/ 3448571 h 6858000"/>
              <a:gd name="connsiteX210" fmla="*/ 4856525 w 7472601"/>
              <a:gd name="connsiteY210" fmla="*/ 3915351 h 6858000"/>
              <a:gd name="connsiteX211" fmla="*/ 5059055 w 7472601"/>
              <a:gd name="connsiteY211" fmla="*/ 4108918 h 6858000"/>
              <a:gd name="connsiteX212" fmla="*/ 5290070 w 7472601"/>
              <a:gd name="connsiteY212" fmla="*/ 4263619 h 6858000"/>
              <a:gd name="connsiteX213" fmla="*/ 4834991 w 7472601"/>
              <a:gd name="connsiteY213" fmla="*/ 3830985 h 6858000"/>
              <a:gd name="connsiteX214" fmla="*/ 4440129 w 7472601"/>
              <a:gd name="connsiteY214" fmla="*/ 3448571 h 6858000"/>
              <a:gd name="connsiteX215" fmla="*/ 4441737 w 7472601"/>
              <a:gd name="connsiteY215" fmla="*/ 3399734 h 6858000"/>
              <a:gd name="connsiteX216" fmla="*/ 4431236 w 7472601"/>
              <a:gd name="connsiteY216" fmla="*/ 3400954 h 6858000"/>
              <a:gd name="connsiteX217" fmla="*/ 4557150 w 7472601"/>
              <a:gd name="connsiteY217" fmla="*/ 3510023 h 6858000"/>
              <a:gd name="connsiteX218" fmla="*/ 4856936 w 7472601"/>
              <a:gd name="connsiteY218" fmla="*/ 3809146 h 6858000"/>
              <a:gd name="connsiteX219" fmla="*/ 5111996 w 7472601"/>
              <a:gd name="connsiteY219" fmla="*/ 4065759 h 6858000"/>
              <a:gd name="connsiteX220" fmla="*/ 5388878 w 7472601"/>
              <a:gd name="connsiteY220" fmla="*/ 4300185 h 6858000"/>
              <a:gd name="connsiteX221" fmla="*/ 5425556 w 7472601"/>
              <a:gd name="connsiteY221" fmla="*/ 4308967 h 6858000"/>
              <a:gd name="connsiteX222" fmla="*/ 4943646 w 7472601"/>
              <a:gd name="connsiteY222" fmla="*/ 3822916 h 6858000"/>
              <a:gd name="connsiteX223" fmla="*/ 4594837 w 7472601"/>
              <a:gd name="connsiteY223" fmla="*/ 3532274 h 6858000"/>
              <a:gd name="connsiteX224" fmla="*/ 4441737 w 7472601"/>
              <a:gd name="connsiteY224" fmla="*/ 3399734 h 6858000"/>
              <a:gd name="connsiteX225" fmla="*/ 5425834 w 7472601"/>
              <a:gd name="connsiteY225" fmla="*/ 3162785 h 6858000"/>
              <a:gd name="connsiteX226" fmla="*/ 5401644 w 7472601"/>
              <a:gd name="connsiteY226" fmla="*/ 3617847 h 6858000"/>
              <a:gd name="connsiteX227" fmla="*/ 5467256 w 7472601"/>
              <a:gd name="connsiteY227" fmla="*/ 4175494 h 6858000"/>
              <a:gd name="connsiteX228" fmla="*/ 5448069 w 7472601"/>
              <a:gd name="connsiteY228" fmla="*/ 3567554 h 6858000"/>
              <a:gd name="connsiteX229" fmla="*/ 5425834 w 7472601"/>
              <a:gd name="connsiteY229" fmla="*/ 3162785 h 6858000"/>
              <a:gd name="connsiteX230" fmla="*/ 1318687 w 7472601"/>
              <a:gd name="connsiteY230" fmla="*/ 3113840 h 6858000"/>
              <a:gd name="connsiteX231" fmla="*/ 1066793 w 7472601"/>
              <a:gd name="connsiteY231" fmla="*/ 3212171 h 6858000"/>
              <a:gd name="connsiteX232" fmla="*/ 993319 w 7472601"/>
              <a:gd name="connsiteY232" fmla="*/ 3247648 h 6858000"/>
              <a:gd name="connsiteX233" fmla="*/ 853081 w 7472601"/>
              <a:gd name="connsiteY233" fmla="*/ 3312410 h 6858000"/>
              <a:gd name="connsiteX234" fmla="*/ 805957 w 7472601"/>
              <a:gd name="connsiteY234" fmla="*/ 3330443 h 6858000"/>
              <a:gd name="connsiteX235" fmla="*/ 1318687 w 7472601"/>
              <a:gd name="connsiteY235" fmla="*/ 3113840 h 6858000"/>
              <a:gd name="connsiteX236" fmla="*/ 5453702 w 7472601"/>
              <a:gd name="connsiteY236" fmla="*/ 3090882 h 6858000"/>
              <a:gd name="connsiteX237" fmla="*/ 5480135 w 7472601"/>
              <a:gd name="connsiteY237" fmla="*/ 3565802 h 6858000"/>
              <a:gd name="connsiteX238" fmla="*/ 5499023 w 7472601"/>
              <a:gd name="connsiteY238" fmla="*/ 4166310 h 6858000"/>
              <a:gd name="connsiteX239" fmla="*/ 5547022 w 7472601"/>
              <a:gd name="connsiteY239" fmla="*/ 3607838 h 6858000"/>
              <a:gd name="connsiteX240" fmla="*/ 5515964 w 7472601"/>
              <a:gd name="connsiteY240" fmla="*/ 3378541 h 6858000"/>
              <a:gd name="connsiteX241" fmla="*/ 5453702 w 7472601"/>
              <a:gd name="connsiteY241" fmla="*/ 3090882 h 6858000"/>
              <a:gd name="connsiteX242" fmla="*/ 1238695 w 7472601"/>
              <a:gd name="connsiteY242" fmla="*/ 3076820 h 6858000"/>
              <a:gd name="connsiteX243" fmla="*/ 716371 w 7472601"/>
              <a:gd name="connsiteY243" fmla="*/ 3293249 h 6858000"/>
              <a:gd name="connsiteX244" fmla="*/ 579522 w 7472601"/>
              <a:gd name="connsiteY244" fmla="*/ 3371759 h 6858000"/>
              <a:gd name="connsiteX245" fmla="*/ 600288 w 7472601"/>
              <a:gd name="connsiteY245" fmla="*/ 3365555 h 6858000"/>
              <a:gd name="connsiteX246" fmla="*/ 840692 w 7472601"/>
              <a:gd name="connsiteY246" fmla="*/ 3284921 h 6858000"/>
              <a:gd name="connsiteX247" fmla="*/ 979248 w 7472601"/>
              <a:gd name="connsiteY247" fmla="*/ 3221003 h 6858000"/>
              <a:gd name="connsiteX248" fmla="*/ 1053282 w 7472601"/>
              <a:gd name="connsiteY248" fmla="*/ 3185247 h 6858000"/>
              <a:gd name="connsiteX249" fmla="*/ 1320603 w 7472601"/>
              <a:gd name="connsiteY249" fmla="*/ 3081281 h 6858000"/>
              <a:gd name="connsiteX250" fmla="*/ 1238695 w 7472601"/>
              <a:gd name="connsiteY250" fmla="*/ 3076820 h 6858000"/>
              <a:gd name="connsiteX251" fmla="*/ 5425627 w 7472601"/>
              <a:gd name="connsiteY251" fmla="*/ 2954192 h 6858000"/>
              <a:gd name="connsiteX252" fmla="*/ 5470770 w 7472601"/>
              <a:gd name="connsiteY252" fmla="*/ 3005435 h 6858000"/>
              <a:gd name="connsiteX253" fmla="*/ 5519779 w 7472601"/>
              <a:gd name="connsiteY253" fmla="*/ 4359223 h 6858000"/>
              <a:gd name="connsiteX254" fmla="*/ 5520293 w 7472601"/>
              <a:gd name="connsiteY254" fmla="*/ 4360602 h 6858000"/>
              <a:gd name="connsiteX255" fmla="*/ 5767221 w 7472601"/>
              <a:gd name="connsiteY255" fmla="*/ 4665564 h 6858000"/>
              <a:gd name="connsiteX256" fmla="*/ 6937169 w 7472601"/>
              <a:gd name="connsiteY256" fmla="*/ 4815941 h 6858000"/>
              <a:gd name="connsiteX257" fmla="*/ 6953922 w 7472601"/>
              <a:gd name="connsiteY257" fmla="*/ 4890068 h 6858000"/>
              <a:gd name="connsiteX258" fmla="*/ 6071359 w 7472601"/>
              <a:gd name="connsiteY258" fmla="*/ 4770770 h 6858000"/>
              <a:gd name="connsiteX259" fmla="*/ 6038839 w 7472601"/>
              <a:gd name="connsiteY259" fmla="*/ 4764474 h 6858000"/>
              <a:gd name="connsiteX260" fmla="*/ 6038706 w 7472601"/>
              <a:gd name="connsiteY260" fmla="*/ 4763847 h 6858000"/>
              <a:gd name="connsiteX261" fmla="*/ 6037784 w 7472601"/>
              <a:gd name="connsiteY261" fmla="*/ 4764270 h 6858000"/>
              <a:gd name="connsiteX262" fmla="*/ 6038839 w 7472601"/>
              <a:gd name="connsiteY262" fmla="*/ 4764474 h 6858000"/>
              <a:gd name="connsiteX263" fmla="*/ 6040338 w 7472601"/>
              <a:gd name="connsiteY263" fmla="*/ 4771418 h 6858000"/>
              <a:gd name="connsiteX264" fmla="*/ 6024488 w 7472601"/>
              <a:gd name="connsiteY264" fmla="*/ 4809903 h 6858000"/>
              <a:gd name="connsiteX265" fmla="*/ 5599771 w 7472601"/>
              <a:gd name="connsiteY265" fmla="*/ 5509652 h 6858000"/>
              <a:gd name="connsiteX266" fmla="*/ 5548843 w 7472601"/>
              <a:gd name="connsiteY266" fmla="*/ 5563845 h 6858000"/>
              <a:gd name="connsiteX267" fmla="*/ 5940952 w 7472601"/>
              <a:gd name="connsiteY267" fmla="*/ 6250028 h 6858000"/>
              <a:gd name="connsiteX268" fmla="*/ 6043441 w 7472601"/>
              <a:gd name="connsiteY268" fmla="*/ 6665847 h 6858000"/>
              <a:gd name="connsiteX269" fmla="*/ 6093432 w 7472601"/>
              <a:gd name="connsiteY269" fmla="*/ 6858000 h 6858000"/>
              <a:gd name="connsiteX270" fmla="*/ 6034344 w 7472601"/>
              <a:gd name="connsiteY270" fmla="*/ 6858000 h 6858000"/>
              <a:gd name="connsiteX271" fmla="*/ 6026679 w 7472601"/>
              <a:gd name="connsiteY271" fmla="*/ 6836959 h 6858000"/>
              <a:gd name="connsiteX272" fmla="*/ 5800441 w 7472601"/>
              <a:gd name="connsiteY272" fmla="*/ 6335286 h 6858000"/>
              <a:gd name="connsiteX273" fmla="*/ 5526562 w 7472601"/>
              <a:gd name="connsiteY273" fmla="*/ 5705388 h 6858000"/>
              <a:gd name="connsiteX274" fmla="*/ 5519640 w 7472601"/>
              <a:gd name="connsiteY274" fmla="*/ 5683774 h 6858000"/>
              <a:gd name="connsiteX275" fmla="*/ 5844559 w 7472601"/>
              <a:gd name="connsiteY275" fmla="*/ 6553349 h 6858000"/>
              <a:gd name="connsiteX276" fmla="*/ 5975994 w 7472601"/>
              <a:gd name="connsiteY276" fmla="*/ 6858000 h 6858000"/>
              <a:gd name="connsiteX277" fmla="*/ 5898547 w 7472601"/>
              <a:gd name="connsiteY277" fmla="*/ 6858000 h 6858000"/>
              <a:gd name="connsiteX278" fmla="*/ 5682041 w 7472601"/>
              <a:gd name="connsiteY278" fmla="*/ 6355860 h 6858000"/>
              <a:gd name="connsiteX279" fmla="*/ 5461758 w 7472601"/>
              <a:gd name="connsiteY279" fmla="*/ 5820220 h 6858000"/>
              <a:gd name="connsiteX280" fmla="*/ 5237282 w 7472601"/>
              <a:gd name="connsiteY280" fmla="*/ 6579086 h 6858000"/>
              <a:gd name="connsiteX281" fmla="*/ 5115009 w 7472601"/>
              <a:gd name="connsiteY281" fmla="*/ 6858000 h 6858000"/>
              <a:gd name="connsiteX282" fmla="*/ 5028074 w 7472601"/>
              <a:gd name="connsiteY282" fmla="*/ 6858000 h 6858000"/>
              <a:gd name="connsiteX283" fmla="*/ 5079508 w 7472601"/>
              <a:gd name="connsiteY283" fmla="*/ 6749074 h 6858000"/>
              <a:gd name="connsiteX284" fmla="*/ 5371846 w 7472601"/>
              <a:gd name="connsiteY284" fmla="*/ 5924413 h 6858000"/>
              <a:gd name="connsiteX285" fmla="*/ 5270512 w 7472601"/>
              <a:gd name="connsiteY285" fmla="*/ 6138975 h 6858000"/>
              <a:gd name="connsiteX286" fmla="*/ 5062409 w 7472601"/>
              <a:gd name="connsiteY286" fmla="*/ 6653544 h 6858000"/>
              <a:gd name="connsiteX287" fmla="*/ 5036628 w 7472601"/>
              <a:gd name="connsiteY287" fmla="*/ 6754247 h 6858000"/>
              <a:gd name="connsiteX288" fmla="*/ 5009112 w 7472601"/>
              <a:gd name="connsiteY288" fmla="*/ 6858000 h 6858000"/>
              <a:gd name="connsiteX289" fmla="*/ 4976679 w 7472601"/>
              <a:gd name="connsiteY289" fmla="*/ 6858000 h 6858000"/>
              <a:gd name="connsiteX290" fmla="*/ 5006537 w 7472601"/>
              <a:gd name="connsiteY290" fmla="*/ 6747068 h 6858000"/>
              <a:gd name="connsiteX291" fmla="*/ 5032723 w 7472601"/>
              <a:gd name="connsiteY291" fmla="*/ 6644957 h 6858000"/>
              <a:gd name="connsiteX292" fmla="*/ 5242949 w 7472601"/>
              <a:gd name="connsiteY292" fmla="*/ 6125175 h 6858000"/>
              <a:gd name="connsiteX293" fmla="*/ 5286321 w 7472601"/>
              <a:gd name="connsiteY293" fmla="*/ 6033555 h 6858000"/>
              <a:gd name="connsiteX294" fmla="*/ 5008210 w 7472601"/>
              <a:gd name="connsiteY294" fmla="*/ 6649194 h 6858000"/>
              <a:gd name="connsiteX295" fmla="*/ 4986321 w 7472601"/>
              <a:gd name="connsiteY295" fmla="*/ 6765687 h 6858000"/>
              <a:gd name="connsiteX296" fmla="*/ 4973474 w 7472601"/>
              <a:gd name="connsiteY296" fmla="*/ 6858000 h 6858000"/>
              <a:gd name="connsiteX297" fmla="*/ 4907178 w 7472601"/>
              <a:gd name="connsiteY297" fmla="*/ 6858000 h 6858000"/>
              <a:gd name="connsiteX298" fmla="*/ 4910810 w 7472601"/>
              <a:gd name="connsiteY298" fmla="*/ 6829660 h 6858000"/>
              <a:gd name="connsiteX299" fmla="*/ 4987461 w 7472601"/>
              <a:gd name="connsiteY299" fmla="*/ 6432994 h 6858000"/>
              <a:gd name="connsiteX300" fmla="*/ 5179262 w 7472601"/>
              <a:gd name="connsiteY300" fmla="*/ 6035044 h 6858000"/>
              <a:gd name="connsiteX301" fmla="*/ 4689678 w 7472601"/>
              <a:gd name="connsiteY301" fmla="*/ 6440241 h 6858000"/>
              <a:gd name="connsiteX302" fmla="*/ 4477543 w 7472601"/>
              <a:gd name="connsiteY302" fmla="*/ 6674836 h 6858000"/>
              <a:gd name="connsiteX303" fmla="*/ 4329957 w 7472601"/>
              <a:gd name="connsiteY303" fmla="*/ 6858000 h 6858000"/>
              <a:gd name="connsiteX304" fmla="*/ 4218595 w 7472601"/>
              <a:gd name="connsiteY304" fmla="*/ 6858000 h 6858000"/>
              <a:gd name="connsiteX305" fmla="*/ 4368888 w 7472601"/>
              <a:gd name="connsiteY305" fmla="*/ 6668412 h 6858000"/>
              <a:gd name="connsiteX306" fmla="*/ 4563091 w 7472601"/>
              <a:gd name="connsiteY306" fmla="*/ 6442508 h 6858000"/>
              <a:gd name="connsiteX307" fmla="*/ 5387324 w 7472601"/>
              <a:gd name="connsiteY307" fmla="*/ 5705830 h 6858000"/>
              <a:gd name="connsiteX308" fmla="*/ 5073620 w 7472601"/>
              <a:gd name="connsiteY308" fmla="*/ 5955437 h 6858000"/>
              <a:gd name="connsiteX309" fmla="*/ 4689789 w 7472601"/>
              <a:gd name="connsiteY309" fmla="*/ 6268382 h 6858000"/>
              <a:gd name="connsiteX310" fmla="*/ 4418722 w 7472601"/>
              <a:gd name="connsiteY310" fmla="*/ 6570886 h 6858000"/>
              <a:gd name="connsiteX311" fmla="*/ 4214944 w 7472601"/>
              <a:gd name="connsiteY311" fmla="*/ 6858000 h 6858000"/>
              <a:gd name="connsiteX312" fmla="*/ 4177898 w 7472601"/>
              <a:gd name="connsiteY312" fmla="*/ 6858000 h 6858000"/>
              <a:gd name="connsiteX313" fmla="*/ 4391597 w 7472601"/>
              <a:gd name="connsiteY313" fmla="*/ 6556370 h 6858000"/>
              <a:gd name="connsiteX314" fmla="*/ 4668889 w 7472601"/>
              <a:gd name="connsiteY314" fmla="*/ 6246399 h 6858000"/>
              <a:gd name="connsiteX315" fmla="*/ 5055427 w 7472601"/>
              <a:gd name="connsiteY315" fmla="*/ 5931476 h 6858000"/>
              <a:gd name="connsiteX316" fmla="*/ 5371814 w 7472601"/>
              <a:gd name="connsiteY316" fmla="*/ 5678975 h 6858000"/>
              <a:gd name="connsiteX317" fmla="*/ 4987918 w 7472601"/>
              <a:gd name="connsiteY317" fmla="*/ 5838701 h 6858000"/>
              <a:gd name="connsiteX318" fmla="*/ 4317146 w 7472601"/>
              <a:gd name="connsiteY318" fmla="*/ 6587716 h 6858000"/>
              <a:gd name="connsiteX319" fmla="*/ 4171627 w 7472601"/>
              <a:gd name="connsiteY319" fmla="*/ 6858000 h 6858000"/>
              <a:gd name="connsiteX320" fmla="*/ 4081585 w 7472601"/>
              <a:gd name="connsiteY320" fmla="*/ 6858000 h 6858000"/>
              <a:gd name="connsiteX321" fmla="*/ 4238603 w 7472601"/>
              <a:gd name="connsiteY321" fmla="*/ 6559341 h 6858000"/>
              <a:gd name="connsiteX322" fmla="*/ 4778333 w 7472601"/>
              <a:gd name="connsiteY322" fmla="*/ 5873626 h 6858000"/>
              <a:gd name="connsiteX323" fmla="*/ 5414185 w 7472601"/>
              <a:gd name="connsiteY323" fmla="*/ 5573882 h 6858000"/>
              <a:gd name="connsiteX324" fmla="*/ 5959648 w 7472601"/>
              <a:gd name="connsiteY324" fmla="*/ 4760797 h 6858000"/>
              <a:gd name="connsiteX325" fmla="*/ 5355019 w 7472601"/>
              <a:gd name="connsiteY325" fmla="*/ 4734672 h 6858000"/>
              <a:gd name="connsiteX326" fmla="*/ 5083565 w 7472601"/>
              <a:gd name="connsiteY326" fmla="*/ 5179121 h 6858000"/>
              <a:gd name="connsiteX327" fmla="*/ 4713577 w 7472601"/>
              <a:gd name="connsiteY327" fmla="*/ 5616803 h 6858000"/>
              <a:gd name="connsiteX328" fmla="*/ 3989559 w 7472601"/>
              <a:gd name="connsiteY328" fmla="*/ 6145945 h 6858000"/>
              <a:gd name="connsiteX329" fmla="*/ 3939824 w 7472601"/>
              <a:gd name="connsiteY329" fmla="*/ 6066900 h 6858000"/>
              <a:gd name="connsiteX330" fmla="*/ 4584537 w 7472601"/>
              <a:gd name="connsiteY330" fmla="*/ 5324826 h 6858000"/>
              <a:gd name="connsiteX331" fmla="*/ 5037105 w 7472601"/>
              <a:gd name="connsiteY331" fmla="*/ 5088765 h 6858000"/>
              <a:gd name="connsiteX332" fmla="*/ 5039930 w 7472601"/>
              <a:gd name="connsiteY332" fmla="*/ 5089585 h 6858000"/>
              <a:gd name="connsiteX333" fmla="*/ 5263764 w 7472601"/>
              <a:gd name="connsiteY333" fmla="*/ 4735525 h 6858000"/>
              <a:gd name="connsiteX334" fmla="*/ 4086300 w 7472601"/>
              <a:gd name="connsiteY334" fmla="*/ 4884599 h 6858000"/>
              <a:gd name="connsiteX335" fmla="*/ 4085485 w 7472601"/>
              <a:gd name="connsiteY335" fmla="*/ 4899070 h 6858000"/>
              <a:gd name="connsiteX336" fmla="*/ 3871915 w 7472601"/>
              <a:gd name="connsiteY336" fmla="*/ 5253645 h 6858000"/>
              <a:gd name="connsiteX337" fmla="*/ 3799374 w 7472601"/>
              <a:gd name="connsiteY337" fmla="*/ 5466127 h 6858000"/>
              <a:gd name="connsiteX338" fmla="*/ 3498850 w 7472601"/>
              <a:gd name="connsiteY338" fmla="*/ 6661888 h 6858000"/>
              <a:gd name="connsiteX339" fmla="*/ 3399216 w 7472601"/>
              <a:gd name="connsiteY339" fmla="*/ 6858000 h 6858000"/>
              <a:gd name="connsiteX340" fmla="*/ 3303688 w 7472601"/>
              <a:gd name="connsiteY340" fmla="*/ 6858000 h 6858000"/>
              <a:gd name="connsiteX341" fmla="*/ 3391774 w 7472601"/>
              <a:gd name="connsiteY341" fmla="*/ 6697181 h 6858000"/>
              <a:gd name="connsiteX342" fmla="*/ 3735540 w 7472601"/>
              <a:gd name="connsiteY342" fmla="*/ 5546923 h 6858000"/>
              <a:gd name="connsiteX343" fmla="*/ 3729438 w 7472601"/>
              <a:gd name="connsiteY343" fmla="*/ 5569058 h 6858000"/>
              <a:gd name="connsiteX344" fmla="*/ 3707782 w 7472601"/>
              <a:gd name="connsiteY344" fmla="*/ 5644908 h 6858000"/>
              <a:gd name="connsiteX345" fmla="*/ 3583827 w 7472601"/>
              <a:gd name="connsiteY345" fmla="*/ 6039215 h 6858000"/>
              <a:gd name="connsiteX346" fmla="*/ 3547861 w 7472601"/>
              <a:gd name="connsiteY346" fmla="*/ 6129609 h 6858000"/>
              <a:gd name="connsiteX347" fmla="*/ 3490905 w 7472601"/>
              <a:gd name="connsiteY347" fmla="*/ 6277660 h 6858000"/>
              <a:gd name="connsiteX348" fmla="*/ 3455859 w 7472601"/>
              <a:gd name="connsiteY348" fmla="*/ 6391301 h 6858000"/>
              <a:gd name="connsiteX349" fmla="*/ 3429112 w 7472601"/>
              <a:gd name="connsiteY349" fmla="*/ 6479469 h 6858000"/>
              <a:gd name="connsiteX350" fmla="*/ 3304862 w 7472601"/>
              <a:gd name="connsiteY350" fmla="*/ 6796476 h 6858000"/>
              <a:gd name="connsiteX351" fmla="*/ 3276071 w 7472601"/>
              <a:gd name="connsiteY351" fmla="*/ 6858000 h 6858000"/>
              <a:gd name="connsiteX352" fmla="*/ 3240805 w 7472601"/>
              <a:gd name="connsiteY352" fmla="*/ 6858000 h 6858000"/>
              <a:gd name="connsiteX353" fmla="*/ 3275917 w 7472601"/>
              <a:gd name="connsiteY353" fmla="*/ 6783192 h 6858000"/>
              <a:gd name="connsiteX354" fmla="*/ 3399358 w 7472601"/>
              <a:gd name="connsiteY354" fmla="*/ 6469011 h 6858000"/>
              <a:gd name="connsiteX355" fmla="*/ 3425650 w 7472601"/>
              <a:gd name="connsiteY355" fmla="*/ 6381333 h 6858000"/>
              <a:gd name="connsiteX356" fmla="*/ 3460661 w 7472601"/>
              <a:gd name="connsiteY356" fmla="*/ 6266763 h 6858000"/>
              <a:gd name="connsiteX357" fmla="*/ 3518021 w 7472601"/>
              <a:gd name="connsiteY357" fmla="*/ 6117298 h 6858000"/>
              <a:gd name="connsiteX358" fmla="*/ 3554035 w 7472601"/>
              <a:gd name="connsiteY358" fmla="*/ 6027832 h 6858000"/>
              <a:gd name="connsiteX359" fmla="*/ 3677174 w 7472601"/>
              <a:gd name="connsiteY359" fmla="*/ 5636351 h 6858000"/>
              <a:gd name="connsiteX360" fmla="*/ 3698819 w 7472601"/>
              <a:gd name="connsiteY360" fmla="*/ 5560503 h 6858000"/>
              <a:gd name="connsiteX361" fmla="*/ 3702094 w 7472601"/>
              <a:gd name="connsiteY361" fmla="*/ 5549194 h 6858000"/>
              <a:gd name="connsiteX362" fmla="*/ 3398355 w 7472601"/>
              <a:gd name="connsiteY362" fmla="*/ 6094603 h 6858000"/>
              <a:gd name="connsiteX363" fmla="*/ 3193941 w 7472601"/>
              <a:gd name="connsiteY363" fmla="*/ 6798775 h 6858000"/>
              <a:gd name="connsiteX364" fmla="*/ 3184140 w 7472601"/>
              <a:gd name="connsiteY364" fmla="*/ 6858000 h 6858000"/>
              <a:gd name="connsiteX365" fmla="*/ 3099978 w 7472601"/>
              <a:gd name="connsiteY365" fmla="*/ 6858000 h 6858000"/>
              <a:gd name="connsiteX366" fmla="*/ 3101556 w 7472601"/>
              <a:gd name="connsiteY366" fmla="*/ 6843337 h 6858000"/>
              <a:gd name="connsiteX367" fmla="*/ 3370162 w 7472601"/>
              <a:gd name="connsiteY367" fmla="*/ 5785550 h 6858000"/>
              <a:gd name="connsiteX368" fmla="*/ 3746477 w 7472601"/>
              <a:gd name="connsiteY368" fmla="*/ 5377889 h 6858000"/>
              <a:gd name="connsiteX369" fmla="*/ 3863399 w 7472601"/>
              <a:gd name="connsiteY369" fmla="*/ 5087257 h 6858000"/>
              <a:gd name="connsiteX370" fmla="*/ 3968712 w 7472601"/>
              <a:gd name="connsiteY370" fmla="*/ 4913989 h 6858000"/>
              <a:gd name="connsiteX371" fmla="*/ 2792390 w 7472601"/>
              <a:gd name="connsiteY371" fmla="*/ 5382974 h 6858000"/>
              <a:gd name="connsiteX372" fmla="*/ 2714982 w 7472601"/>
              <a:gd name="connsiteY372" fmla="*/ 5427051 h 6858000"/>
              <a:gd name="connsiteX373" fmla="*/ 2813361 w 7472601"/>
              <a:gd name="connsiteY373" fmla="*/ 6023912 h 6858000"/>
              <a:gd name="connsiteX374" fmla="*/ 2688430 w 7472601"/>
              <a:gd name="connsiteY374" fmla="*/ 6801564 h 6858000"/>
              <a:gd name="connsiteX375" fmla="*/ 2629626 w 7472601"/>
              <a:gd name="connsiteY375" fmla="*/ 6763394 h 6858000"/>
              <a:gd name="connsiteX376" fmla="*/ 2565328 w 7472601"/>
              <a:gd name="connsiteY376" fmla="*/ 5516399 h 6858000"/>
              <a:gd name="connsiteX377" fmla="*/ 1922999 w 7472601"/>
              <a:gd name="connsiteY377" fmla="*/ 5980343 h 6858000"/>
              <a:gd name="connsiteX378" fmla="*/ 1950261 w 7472601"/>
              <a:gd name="connsiteY378" fmla="*/ 6405858 h 6858000"/>
              <a:gd name="connsiteX379" fmla="*/ 2365554 w 7472601"/>
              <a:gd name="connsiteY379" fmla="*/ 6759107 h 6858000"/>
              <a:gd name="connsiteX380" fmla="*/ 2424142 w 7472601"/>
              <a:gd name="connsiteY380" fmla="*/ 6858000 h 6858000"/>
              <a:gd name="connsiteX381" fmla="*/ 2395994 w 7472601"/>
              <a:gd name="connsiteY381" fmla="*/ 6858000 h 6858000"/>
              <a:gd name="connsiteX382" fmla="*/ 2392863 w 7472601"/>
              <a:gd name="connsiteY382" fmla="*/ 6852964 h 6858000"/>
              <a:gd name="connsiteX383" fmla="*/ 2017589 w 7472601"/>
              <a:gd name="connsiteY383" fmla="*/ 6493982 h 6858000"/>
              <a:gd name="connsiteX384" fmla="*/ 2147336 w 7472601"/>
              <a:gd name="connsiteY384" fmla="*/ 6594052 h 6858000"/>
              <a:gd name="connsiteX385" fmla="*/ 2207047 w 7472601"/>
              <a:gd name="connsiteY385" fmla="*/ 6654540 h 6858000"/>
              <a:gd name="connsiteX386" fmla="*/ 2299106 w 7472601"/>
              <a:gd name="connsiteY386" fmla="*/ 6778931 h 6858000"/>
              <a:gd name="connsiteX387" fmla="*/ 2314430 w 7472601"/>
              <a:gd name="connsiteY387" fmla="*/ 6801144 h 6858000"/>
              <a:gd name="connsiteX388" fmla="*/ 2352406 w 7472601"/>
              <a:gd name="connsiteY388" fmla="*/ 6858000 h 6858000"/>
              <a:gd name="connsiteX389" fmla="*/ 2314492 w 7472601"/>
              <a:gd name="connsiteY389" fmla="*/ 6858000 h 6858000"/>
              <a:gd name="connsiteX390" fmla="*/ 2288095 w 7472601"/>
              <a:gd name="connsiteY390" fmla="*/ 6818030 h 6858000"/>
              <a:gd name="connsiteX391" fmla="*/ 2272768 w 7472601"/>
              <a:gd name="connsiteY391" fmla="*/ 6795822 h 6858000"/>
              <a:gd name="connsiteX392" fmla="*/ 2182715 w 7472601"/>
              <a:gd name="connsiteY392" fmla="*/ 6675071 h 6858000"/>
              <a:gd name="connsiteX393" fmla="*/ 2032061 w 7472601"/>
              <a:gd name="connsiteY393" fmla="*/ 6541380 h 6858000"/>
              <a:gd name="connsiteX394" fmla="*/ 2257220 w 7472601"/>
              <a:gd name="connsiteY394" fmla="*/ 6826257 h 6858000"/>
              <a:gd name="connsiteX395" fmla="*/ 2281324 w 7472601"/>
              <a:gd name="connsiteY395" fmla="*/ 6858000 h 6858000"/>
              <a:gd name="connsiteX396" fmla="*/ 2242860 w 7472601"/>
              <a:gd name="connsiteY396" fmla="*/ 6858000 h 6858000"/>
              <a:gd name="connsiteX397" fmla="*/ 2232818 w 7472601"/>
              <a:gd name="connsiteY397" fmla="*/ 6844926 h 6858000"/>
              <a:gd name="connsiteX398" fmla="*/ 1990172 w 7472601"/>
              <a:gd name="connsiteY398" fmla="*/ 6542121 h 6858000"/>
              <a:gd name="connsiteX399" fmla="*/ 2124090 w 7472601"/>
              <a:gd name="connsiteY399" fmla="*/ 6761017 h 6858000"/>
              <a:gd name="connsiteX400" fmla="*/ 2200380 w 7472601"/>
              <a:gd name="connsiteY400" fmla="*/ 6858000 h 6858000"/>
              <a:gd name="connsiteX401" fmla="*/ 2147507 w 7472601"/>
              <a:gd name="connsiteY401" fmla="*/ 6858000 h 6858000"/>
              <a:gd name="connsiteX402" fmla="*/ 2070668 w 7472601"/>
              <a:gd name="connsiteY402" fmla="*/ 6761520 h 6858000"/>
              <a:gd name="connsiteX403" fmla="*/ 1975142 w 7472601"/>
              <a:gd name="connsiteY403" fmla="*/ 6585570 h 6858000"/>
              <a:gd name="connsiteX404" fmla="*/ 2050035 w 7472601"/>
              <a:gd name="connsiteY404" fmla="*/ 6813345 h 6858000"/>
              <a:gd name="connsiteX405" fmla="*/ 2063025 w 7472601"/>
              <a:gd name="connsiteY405" fmla="*/ 6858000 h 6858000"/>
              <a:gd name="connsiteX406" fmla="*/ 2021675 w 7472601"/>
              <a:gd name="connsiteY406" fmla="*/ 6858000 h 6858000"/>
              <a:gd name="connsiteX407" fmla="*/ 2019308 w 7472601"/>
              <a:gd name="connsiteY407" fmla="*/ 6847118 h 6858000"/>
              <a:gd name="connsiteX408" fmla="*/ 1938835 w 7472601"/>
              <a:gd name="connsiteY408" fmla="*/ 6551160 h 6858000"/>
              <a:gd name="connsiteX409" fmla="*/ 1953230 w 7472601"/>
              <a:gd name="connsiteY409" fmla="*/ 6759699 h 6858000"/>
              <a:gd name="connsiteX410" fmla="*/ 1956763 w 7472601"/>
              <a:gd name="connsiteY410" fmla="*/ 6778191 h 6858000"/>
              <a:gd name="connsiteX411" fmla="*/ 1967925 w 7472601"/>
              <a:gd name="connsiteY411" fmla="*/ 6858000 h 6858000"/>
              <a:gd name="connsiteX412" fmla="*/ 1936622 w 7472601"/>
              <a:gd name="connsiteY412" fmla="*/ 6858000 h 6858000"/>
              <a:gd name="connsiteX413" fmla="*/ 1926261 w 7472601"/>
              <a:gd name="connsiteY413" fmla="*/ 6784064 h 6858000"/>
              <a:gd name="connsiteX414" fmla="*/ 1922724 w 7472601"/>
              <a:gd name="connsiteY414" fmla="*/ 6765577 h 6858000"/>
              <a:gd name="connsiteX415" fmla="*/ 1904650 w 7472601"/>
              <a:gd name="connsiteY415" fmla="*/ 6639616 h 6858000"/>
              <a:gd name="connsiteX416" fmla="*/ 1885273 w 7472601"/>
              <a:gd name="connsiteY416" fmla="*/ 6858000 h 6858000"/>
              <a:gd name="connsiteX417" fmla="*/ 1854363 w 7472601"/>
              <a:gd name="connsiteY417" fmla="*/ 6858000 h 6858000"/>
              <a:gd name="connsiteX418" fmla="*/ 1880391 w 7472601"/>
              <a:gd name="connsiteY418" fmla="*/ 6603796 h 6858000"/>
              <a:gd name="connsiteX419" fmla="*/ 1818273 w 7472601"/>
              <a:gd name="connsiteY419" fmla="*/ 6715729 h 6858000"/>
              <a:gd name="connsiteX420" fmla="*/ 1794691 w 7472601"/>
              <a:gd name="connsiteY420" fmla="*/ 6843239 h 6858000"/>
              <a:gd name="connsiteX421" fmla="*/ 1794914 w 7472601"/>
              <a:gd name="connsiteY421" fmla="*/ 6858000 h 6858000"/>
              <a:gd name="connsiteX422" fmla="*/ 1746128 w 7472601"/>
              <a:gd name="connsiteY422" fmla="*/ 6858000 h 6858000"/>
              <a:gd name="connsiteX423" fmla="*/ 1753934 w 7472601"/>
              <a:gd name="connsiteY423" fmla="*/ 6724796 h 6858000"/>
              <a:gd name="connsiteX424" fmla="*/ 1792053 w 7472601"/>
              <a:gd name="connsiteY424" fmla="*/ 6572396 h 6858000"/>
              <a:gd name="connsiteX425" fmla="*/ 1862248 w 7472601"/>
              <a:gd name="connsiteY425" fmla="*/ 6266397 h 6858000"/>
              <a:gd name="connsiteX426" fmla="*/ 1862250 w 7472601"/>
              <a:gd name="connsiteY426" fmla="*/ 6033531 h 6858000"/>
              <a:gd name="connsiteX427" fmla="*/ 1211999 w 7472601"/>
              <a:gd name="connsiteY427" fmla="*/ 6683610 h 6858000"/>
              <a:gd name="connsiteX428" fmla="*/ 1213266 w 7472601"/>
              <a:gd name="connsiteY428" fmla="*/ 6691947 h 6858000"/>
              <a:gd name="connsiteX429" fmla="*/ 1203370 w 7472601"/>
              <a:gd name="connsiteY429" fmla="*/ 6850676 h 6858000"/>
              <a:gd name="connsiteX430" fmla="*/ 1203671 w 7472601"/>
              <a:gd name="connsiteY430" fmla="*/ 6858000 h 6858000"/>
              <a:gd name="connsiteX431" fmla="*/ 1143180 w 7472601"/>
              <a:gd name="connsiteY431" fmla="*/ 6858000 h 6858000"/>
              <a:gd name="connsiteX432" fmla="*/ 1142176 w 7472601"/>
              <a:gd name="connsiteY432" fmla="*/ 6766045 h 6858000"/>
              <a:gd name="connsiteX433" fmla="*/ 1067484 w 7472601"/>
              <a:gd name="connsiteY433" fmla="*/ 6858000 h 6858000"/>
              <a:gd name="connsiteX434" fmla="*/ 953928 w 7472601"/>
              <a:gd name="connsiteY434" fmla="*/ 6858000 h 6858000"/>
              <a:gd name="connsiteX435" fmla="*/ 959715 w 7472601"/>
              <a:gd name="connsiteY435" fmla="*/ 6850185 h 6858000"/>
              <a:gd name="connsiteX436" fmla="*/ 1483788 w 7472601"/>
              <a:gd name="connsiteY436" fmla="*/ 6259174 h 6858000"/>
              <a:gd name="connsiteX437" fmla="*/ 1100671 w 7472601"/>
              <a:gd name="connsiteY437" fmla="*/ 6252137 h 6858000"/>
              <a:gd name="connsiteX438" fmla="*/ 1090144 w 7472601"/>
              <a:gd name="connsiteY438" fmla="*/ 6256748 h 6858000"/>
              <a:gd name="connsiteX439" fmla="*/ 1095872 w 7472601"/>
              <a:gd name="connsiteY439" fmla="*/ 6271892 h 6858000"/>
              <a:gd name="connsiteX440" fmla="*/ 262785 w 7472601"/>
              <a:gd name="connsiteY440" fmla="*/ 6845450 h 6858000"/>
              <a:gd name="connsiteX441" fmla="*/ 209968 w 7472601"/>
              <a:gd name="connsiteY441" fmla="*/ 6770713 h 6858000"/>
              <a:gd name="connsiteX442" fmla="*/ 873460 w 7472601"/>
              <a:gd name="connsiteY442" fmla="*/ 6253768 h 6858000"/>
              <a:gd name="connsiteX443" fmla="*/ 192686 w 7472601"/>
              <a:gd name="connsiteY443" fmla="*/ 5849257 h 6858000"/>
              <a:gd name="connsiteX444" fmla="*/ 4696 w 7472601"/>
              <a:gd name="connsiteY444" fmla="*/ 5697668 h 6858000"/>
              <a:gd name="connsiteX445" fmla="*/ 0 w 7472601"/>
              <a:gd name="connsiteY445" fmla="*/ 5689984 h 6858000"/>
              <a:gd name="connsiteX446" fmla="*/ 0 w 7472601"/>
              <a:gd name="connsiteY446" fmla="*/ 5513472 h 6858000"/>
              <a:gd name="connsiteX447" fmla="*/ 174101 w 7472601"/>
              <a:gd name="connsiteY447" fmla="*/ 5620277 h 6858000"/>
              <a:gd name="connsiteX448" fmla="*/ 891800 w 7472601"/>
              <a:gd name="connsiteY448" fmla="*/ 6036935 h 6858000"/>
              <a:gd name="connsiteX449" fmla="*/ 1072219 w 7472601"/>
              <a:gd name="connsiteY449" fmla="*/ 6169443 h 6858000"/>
              <a:gd name="connsiteX450" fmla="*/ 1074117 w 7472601"/>
              <a:gd name="connsiteY450" fmla="*/ 6170301 h 6858000"/>
              <a:gd name="connsiteX451" fmla="*/ 1083114 w 7472601"/>
              <a:gd name="connsiteY451" fmla="*/ 6174131 h 6858000"/>
              <a:gd name="connsiteX452" fmla="*/ 1543010 w 7472601"/>
              <a:gd name="connsiteY452" fmla="*/ 6191140 h 6858000"/>
              <a:gd name="connsiteX453" fmla="*/ 1551080 w 7472601"/>
              <a:gd name="connsiteY453" fmla="*/ 6195006 h 6858000"/>
              <a:gd name="connsiteX454" fmla="*/ 2345443 w 7472601"/>
              <a:gd name="connsiteY454" fmla="*/ 5549882 h 6858000"/>
              <a:gd name="connsiteX455" fmla="*/ 1721499 w 7472601"/>
              <a:gd name="connsiteY455" fmla="*/ 5599969 h 6858000"/>
              <a:gd name="connsiteX456" fmla="*/ 767716 w 7472601"/>
              <a:gd name="connsiteY456" fmla="*/ 5472768 h 6858000"/>
              <a:gd name="connsiteX457" fmla="*/ 722147 w 7472601"/>
              <a:gd name="connsiteY457" fmla="*/ 5393091 h 6858000"/>
              <a:gd name="connsiteX458" fmla="*/ 1485552 w 7472601"/>
              <a:gd name="connsiteY458" fmla="*/ 5313202 h 6858000"/>
              <a:gd name="connsiteX459" fmla="*/ 2143004 w 7472601"/>
              <a:gd name="connsiteY459" fmla="*/ 5402420 h 6858000"/>
              <a:gd name="connsiteX460" fmla="*/ 1933391 w 7472601"/>
              <a:gd name="connsiteY460" fmla="*/ 5156971 h 6858000"/>
              <a:gd name="connsiteX461" fmla="*/ 1827118 w 7472601"/>
              <a:gd name="connsiteY461" fmla="*/ 4968410 h 6858000"/>
              <a:gd name="connsiteX462" fmla="*/ 1837349 w 7472601"/>
              <a:gd name="connsiteY462" fmla="*/ 4956357 h 6858000"/>
              <a:gd name="connsiteX463" fmla="*/ 2162835 w 7472601"/>
              <a:gd name="connsiteY463" fmla="*/ 5187853 h 6858000"/>
              <a:gd name="connsiteX464" fmla="*/ 2257167 w 7472601"/>
              <a:gd name="connsiteY464" fmla="*/ 5462123 h 6858000"/>
              <a:gd name="connsiteX465" fmla="*/ 2261598 w 7472601"/>
              <a:gd name="connsiteY465" fmla="*/ 5467998 h 6858000"/>
              <a:gd name="connsiteX466" fmla="*/ 2437177 w 7472601"/>
              <a:gd name="connsiteY466" fmla="*/ 5479608 h 6858000"/>
              <a:gd name="connsiteX467" fmla="*/ 2445247 w 7472601"/>
              <a:gd name="connsiteY467" fmla="*/ 5483476 h 6858000"/>
              <a:gd name="connsiteX468" fmla="*/ 2743626 w 7472601"/>
              <a:gd name="connsiteY468" fmla="*/ 5304819 h 6858000"/>
              <a:gd name="connsiteX469" fmla="*/ 3048102 w 7472601"/>
              <a:gd name="connsiteY469" fmla="*/ 5150595 h 6858000"/>
              <a:gd name="connsiteX470" fmla="*/ 1799414 w 7472601"/>
              <a:gd name="connsiteY470" fmla="*/ 4694732 h 6858000"/>
              <a:gd name="connsiteX471" fmla="*/ 1771735 w 7472601"/>
              <a:gd name="connsiteY471" fmla="*/ 4619929 h 6858000"/>
              <a:gd name="connsiteX472" fmla="*/ 3104273 w 7472601"/>
              <a:gd name="connsiteY472" fmla="*/ 5076159 h 6858000"/>
              <a:gd name="connsiteX473" fmla="*/ 3113245 w 7472601"/>
              <a:gd name="connsiteY473" fmla="*/ 5090705 h 6858000"/>
              <a:gd name="connsiteX474" fmla="*/ 3126294 w 7472601"/>
              <a:gd name="connsiteY474" fmla="*/ 5114400 h 6858000"/>
              <a:gd name="connsiteX475" fmla="*/ 3937433 w 7472601"/>
              <a:gd name="connsiteY475" fmla="*/ 4830473 h 6858000"/>
              <a:gd name="connsiteX476" fmla="*/ 3590475 w 7472601"/>
              <a:gd name="connsiteY476" fmla="*/ 4597974 h 6858000"/>
              <a:gd name="connsiteX477" fmla="*/ 3100264 w 7472601"/>
              <a:gd name="connsiteY477" fmla="*/ 4579845 h 6858000"/>
              <a:gd name="connsiteX478" fmla="*/ 2183576 w 7472601"/>
              <a:gd name="connsiteY478" fmla="*/ 4227150 h 6858000"/>
              <a:gd name="connsiteX479" fmla="*/ 2151029 w 7472601"/>
              <a:gd name="connsiteY479" fmla="*/ 4146947 h 6858000"/>
              <a:gd name="connsiteX480" fmla="*/ 3563434 w 7472601"/>
              <a:gd name="connsiteY480" fmla="*/ 4469115 h 6858000"/>
              <a:gd name="connsiteX481" fmla="*/ 3177952 w 7472601"/>
              <a:gd name="connsiteY481" fmla="*/ 3657386 h 6858000"/>
              <a:gd name="connsiteX482" fmla="*/ 3189263 w 7472601"/>
              <a:gd name="connsiteY482" fmla="*/ 3625726 h 6858000"/>
              <a:gd name="connsiteX483" fmla="*/ 3560912 w 7472601"/>
              <a:gd name="connsiteY483" fmla="*/ 4079863 h 6858000"/>
              <a:gd name="connsiteX484" fmla="*/ 3626636 w 7472601"/>
              <a:gd name="connsiteY484" fmla="*/ 4512230 h 6858000"/>
              <a:gd name="connsiteX485" fmla="*/ 3653088 w 7472601"/>
              <a:gd name="connsiteY485" fmla="*/ 4521417 h 6858000"/>
              <a:gd name="connsiteX486" fmla="*/ 3988128 w 7472601"/>
              <a:gd name="connsiteY486" fmla="*/ 4817267 h 6858000"/>
              <a:gd name="connsiteX487" fmla="*/ 4830582 w 7472601"/>
              <a:gd name="connsiteY487" fmla="*/ 4676000 h 6858000"/>
              <a:gd name="connsiteX488" fmla="*/ 4830100 w 7472601"/>
              <a:gd name="connsiteY488" fmla="*/ 4675554 h 6858000"/>
              <a:gd name="connsiteX489" fmla="*/ 4036318 w 7472601"/>
              <a:gd name="connsiteY489" fmla="*/ 4147013 h 6858000"/>
              <a:gd name="connsiteX490" fmla="*/ 3432098 w 7472601"/>
              <a:gd name="connsiteY490" fmla="*/ 3537312 h 6858000"/>
              <a:gd name="connsiteX491" fmla="*/ 3446761 w 7472601"/>
              <a:gd name="connsiteY491" fmla="*/ 3461278 h 6858000"/>
              <a:gd name="connsiteX492" fmla="*/ 4419733 w 7472601"/>
              <a:gd name="connsiteY492" fmla="*/ 3963555 h 6858000"/>
              <a:gd name="connsiteX493" fmla="*/ 4781371 w 7472601"/>
              <a:gd name="connsiteY493" fmla="*/ 4458604 h 6858000"/>
              <a:gd name="connsiteX494" fmla="*/ 4780440 w 7472601"/>
              <a:gd name="connsiteY494" fmla="*/ 4470290 h 6858000"/>
              <a:gd name="connsiteX495" fmla="*/ 4898954 w 7472601"/>
              <a:gd name="connsiteY495" fmla="*/ 4662092 h 6858000"/>
              <a:gd name="connsiteX496" fmla="*/ 4900699 w 7472601"/>
              <a:gd name="connsiteY496" fmla="*/ 4670867 h 6858000"/>
              <a:gd name="connsiteX497" fmla="*/ 5714511 w 7472601"/>
              <a:gd name="connsiteY497" fmla="*/ 4663483 h 6858000"/>
              <a:gd name="connsiteX498" fmla="*/ 5464793 w 7472601"/>
              <a:gd name="connsiteY498" fmla="*/ 4393556 h 6858000"/>
              <a:gd name="connsiteX499" fmla="*/ 5461897 w 7472601"/>
              <a:gd name="connsiteY499" fmla="*/ 4390879 h 6858000"/>
              <a:gd name="connsiteX500" fmla="*/ 4294126 w 7472601"/>
              <a:gd name="connsiteY500" fmla="*/ 3303048 h 6858000"/>
              <a:gd name="connsiteX501" fmla="*/ 4305321 w 7472601"/>
              <a:gd name="connsiteY501" fmla="*/ 3256953 h 6858000"/>
              <a:gd name="connsiteX502" fmla="*/ 4949299 w 7472601"/>
              <a:gd name="connsiteY502" fmla="*/ 3766336 h 6858000"/>
              <a:gd name="connsiteX503" fmla="*/ 5291452 w 7472601"/>
              <a:gd name="connsiteY503" fmla="*/ 4076801 h 6858000"/>
              <a:gd name="connsiteX504" fmla="*/ 5434998 w 7472601"/>
              <a:gd name="connsiteY504" fmla="*/ 4254100 h 6858000"/>
              <a:gd name="connsiteX505" fmla="*/ 5351015 w 7472601"/>
              <a:gd name="connsiteY505" fmla="*/ 3760989 h 6858000"/>
              <a:gd name="connsiteX506" fmla="*/ 5413780 w 7472601"/>
              <a:gd name="connsiteY506" fmla="*/ 2966265 h 6858000"/>
              <a:gd name="connsiteX507" fmla="*/ 5425627 w 7472601"/>
              <a:gd name="connsiteY507" fmla="*/ 2954192 h 6858000"/>
              <a:gd name="connsiteX508" fmla="*/ 6604735 w 7472601"/>
              <a:gd name="connsiteY508" fmla="*/ 2041381 h 6858000"/>
              <a:gd name="connsiteX509" fmla="*/ 7204487 w 7472601"/>
              <a:gd name="connsiteY509" fmla="*/ 2742112 h 6858000"/>
              <a:gd name="connsiteX510" fmla="*/ 7131592 w 7472601"/>
              <a:gd name="connsiteY510" fmla="*/ 2672096 h 6858000"/>
              <a:gd name="connsiteX511" fmla="*/ 6996344 w 7472601"/>
              <a:gd name="connsiteY511" fmla="*/ 2518310 h 6858000"/>
              <a:gd name="connsiteX512" fmla="*/ 6735495 w 7472601"/>
              <a:gd name="connsiteY512" fmla="*/ 2196890 h 6858000"/>
              <a:gd name="connsiteX513" fmla="*/ 6721901 w 7472601"/>
              <a:gd name="connsiteY513" fmla="*/ 2179274 h 6858000"/>
              <a:gd name="connsiteX514" fmla="*/ 6604735 w 7472601"/>
              <a:gd name="connsiteY514" fmla="*/ 2041381 h 6858000"/>
              <a:gd name="connsiteX515" fmla="*/ 6591670 w 7472601"/>
              <a:gd name="connsiteY515" fmla="*/ 1988277 h 6858000"/>
              <a:gd name="connsiteX516" fmla="*/ 6747349 w 7472601"/>
              <a:gd name="connsiteY516" fmla="*/ 2160069 h 6858000"/>
              <a:gd name="connsiteX517" fmla="*/ 6760943 w 7472601"/>
              <a:gd name="connsiteY517" fmla="*/ 2177686 h 6858000"/>
              <a:gd name="connsiteX518" fmla="*/ 7021065 w 7472601"/>
              <a:gd name="connsiteY518" fmla="*/ 2498102 h 6858000"/>
              <a:gd name="connsiteX519" fmla="*/ 7155223 w 7472601"/>
              <a:gd name="connsiteY519" fmla="*/ 2650386 h 6858000"/>
              <a:gd name="connsiteX520" fmla="*/ 7203167 w 7472601"/>
              <a:gd name="connsiteY520" fmla="*/ 2697288 h 6858000"/>
              <a:gd name="connsiteX521" fmla="*/ 6937703 w 7472601"/>
              <a:gd name="connsiteY521" fmla="*/ 2321981 h 6858000"/>
              <a:gd name="connsiteX522" fmla="*/ 6591670 w 7472601"/>
              <a:gd name="connsiteY522" fmla="*/ 1988277 h 6858000"/>
              <a:gd name="connsiteX523" fmla="*/ 5798671 w 7472601"/>
              <a:gd name="connsiteY523" fmla="*/ 1981601 h 6858000"/>
              <a:gd name="connsiteX524" fmla="*/ 5754709 w 7472601"/>
              <a:gd name="connsiteY524" fmla="*/ 2071454 h 6858000"/>
              <a:gd name="connsiteX525" fmla="*/ 5763044 w 7472601"/>
              <a:gd name="connsiteY525" fmla="*/ 2842206 h 6858000"/>
              <a:gd name="connsiteX526" fmla="*/ 5764974 w 7472601"/>
              <a:gd name="connsiteY526" fmla="*/ 2799609 h 6858000"/>
              <a:gd name="connsiteX527" fmla="*/ 5767665 w 7472601"/>
              <a:gd name="connsiteY527" fmla="*/ 2666409 h 6858000"/>
              <a:gd name="connsiteX528" fmla="*/ 5763055 w 7472601"/>
              <a:gd name="connsiteY528" fmla="*/ 2579705 h 6858000"/>
              <a:gd name="connsiteX529" fmla="*/ 5758079 w 7472601"/>
              <a:gd name="connsiteY529" fmla="*/ 2492508 h 6858000"/>
              <a:gd name="connsiteX530" fmla="*/ 5779325 w 7472601"/>
              <a:gd name="connsiteY530" fmla="*/ 2197069 h 6858000"/>
              <a:gd name="connsiteX531" fmla="*/ 5798671 w 7472601"/>
              <a:gd name="connsiteY531" fmla="*/ 1981601 h 6858000"/>
              <a:gd name="connsiteX532" fmla="*/ 5829202 w 7472601"/>
              <a:gd name="connsiteY532" fmla="*/ 1971679 h 6858000"/>
              <a:gd name="connsiteX533" fmla="*/ 5809558 w 7472601"/>
              <a:gd name="connsiteY533" fmla="*/ 2198043 h 6858000"/>
              <a:gd name="connsiteX534" fmla="*/ 5788653 w 7472601"/>
              <a:gd name="connsiteY534" fmla="*/ 2489430 h 6858000"/>
              <a:gd name="connsiteX535" fmla="*/ 5793439 w 7472601"/>
              <a:gd name="connsiteY535" fmla="*/ 2575235 h 6858000"/>
              <a:gd name="connsiteX536" fmla="*/ 5796837 w 7472601"/>
              <a:gd name="connsiteY536" fmla="*/ 2637633 h 6858000"/>
              <a:gd name="connsiteX537" fmla="*/ 5818614 w 7472601"/>
              <a:gd name="connsiteY537" fmla="*/ 2473055 h 6858000"/>
              <a:gd name="connsiteX538" fmla="*/ 5829202 w 7472601"/>
              <a:gd name="connsiteY538" fmla="*/ 1971679 h 6858000"/>
              <a:gd name="connsiteX539" fmla="*/ 5911389 w 7472601"/>
              <a:gd name="connsiteY539" fmla="*/ 1898371 h 6858000"/>
              <a:gd name="connsiteX540" fmla="*/ 6237627 w 7472601"/>
              <a:gd name="connsiteY540" fmla="*/ 2231921 h 6858000"/>
              <a:gd name="connsiteX541" fmla="*/ 5911389 w 7472601"/>
              <a:gd name="connsiteY541" fmla="*/ 1898371 h 6858000"/>
              <a:gd name="connsiteX542" fmla="*/ 6944437 w 7472601"/>
              <a:gd name="connsiteY542" fmla="*/ 1575402 h 6858000"/>
              <a:gd name="connsiteX543" fmla="*/ 6304730 w 7472601"/>
              <a:gd name="connsiteY543" fmla="*/ 1766654 h 6858000"/>
              <a:gd name="connsiteX544" fmla="*/ 6944437 w 7472601"/>
              <a:gd name="connsiteY544" fmla="*/ 1575402 h 6858000"/>
              <a:gd name="connsiteX545" fmla="*/ 7019523 w 7472601"/>
              <a:gd name="connsiteY545" fmla="*/ 1519450 h 6858000"/>
              <a:gd name="connsiteX546" fmla="*/ 6298091 w 7472601"/>
              <a:gd name="connsiteY546" fmla="*/ 1737122 h 6858000"/>
              <a:gd name="connsiteX547" fmla="*/ 7019523 w 7472601"/>
              <a:gd name="connsiteY547" fmla="*/ 1519450 h 6858000"/>
              <a:gd name="connsiteX548" fmla="*/ 2399523 w 7472601"/>
              <a:gd name="connsiteY548" fmla="*/ 1428234 h 6858000"/>
              <a:gd name="connsiteX549" fmla="*/ 2224982 w 7472601"/>
              <a:gd name="connsiteY549" fmla="*/ 1826201 h 6858000"/>
              <a:gd name="connsiteX550" fmla="*/ 2096099 w 7472601"/>
              <a:gd name="connsiteY550" fmla="*/ 2345900 h 6858000"/>
              <a:gd name="connsiteX551" fmla="*/ 2283317 w 7472601"/>
              <a:gd name="connsiteY551" fmla="*/ 1796925 h 6858000"/>
              <a:gd name="connsiteX552" fmla="*/ 2399523 w 7472601"/>
              <a:gd name="connsiteY552" fmla="*/ 1428234 h 6858000"/>
              <a:gd name="connsiteX553" fmla="*/ 2448558 w 7472601"/>
              <a:gd name="connsiteY553" fmla="*/ 1373435 h 6858000"/>
              <a:gd name="connsiteX554" fmla="*/ 2312521 w 7472601"/>
              <a:gd name="connsiteY554" fmla="*/ 1806140 h 6858000"/>
              <a:gd name="connsiteX555" fmla="*/ 2127533 w 7472601"/>
              <a:gd name="connsiteY555" fmla="*/ 2348380 h 6858000"/>
              <a:gd name="connsiteX556" fmla="*/ 2358080 w 7472601"/>
              <a:gd name="connsiteY556" fmla="*/ 1866134 h 6858000"/>
              <a:gd name="connsiteX557" fmla="*/ 2407436 w 7472601"/>
              <a:gd name="connsiteY557" fmla="*/ 1651070 h 6858000"/>
              <a:gd name="connsiteX558" fmla="*/ 2448558 w 7472601"/>
              <a:gd name="connsiteY558" fmla="*/ 1373435 h 6858000"/>
              <a:gd name="connsiteX559" fmla="*/ 278707 w 7472601"/>
              <a:gd name="connsiteY559" fmla="*/ 1352270 h 6858000"/>
              <a:gd name="connsiteX560" fmla="*/ 321570 w 7472601"/>
              <a:gd name="connsiteY560" fmla="*/ 1861610 h 6858000"/>
              <a:gd name="connsiteX561" fmla="*/ 294281 w 7472601"/>
              <a:gd name="connsiteY561" fmla="*/ 1440658 h 6858000"/>
              <a:gd name="connsiteX562" fmla="*/ 278707 w 7472601"/>
              <a:gd name="connsiteY562" fmla="*/ 1352270 h 6858000"/>
              <a:gd name="connsiteX563" fmla="*/ 1423821 w 7472601"/>
              <a:gd name="connsiteY563" fmla="*/ 1351958 h 6858000"/>
              <a:gd name="connsiteX564" fmla="*/ 1638521 w 7472601"/>
              <a:gd name="connsiteY564" fmla="*/ 1908470 h 6858000"/>
              <a:gd name="connsiteX565" fmla="*/ 1754199 w 7472601"/>
              <a:gd name="connsiteY565" fmla="*/ 2149284 h 6858000"/>
              <a:gd name="connsiteX566" fmla="*/ 1908359 w 7472601"/>
              <a:gd name="connsiteY566" fmla="*/ 2364988 h 6858000"/>
              <a:gd name="connsiteX567" fmla="*/ 1647661 w 7472601"/>
              <a:gd name="connsiteY567" fmla="*/ 1825945 h 6858000"/>
              <a:gd name="connsiteX568" fmla="*/ 1423821 w 7472601"/>
              <a:gd name="connsiteY568" fmla="*/ 1351958 h 6858000"/>
              <a:gd name="connsiteX569" fmla="*/ 1431890 w 7472601"/>
              <a:gd name="connsiteY569" fmla="*/ 1306475 h 6858000"/>
              <a:gd name="connsiteX570" fmla="*/ 1507597 w 7472601"/>
              <a:gd name="connsiteY570" fmla="*/ 1446132 h 6858000"/>
              <a:gd name="connsiteX571" fmla="*/ 1674586 w 7472601"/>
              <a:gd name="connsiteY571" fmla="*/ 1813832 h 6858000"/>
              <a:gd name="connsiteX572" fmla="*/ 1815950 w 7472601"/>
              <a:gd name="connsiteY572" fmla="*/ 2128564 h 6858000"/>
              <a:gd name="connsiteX573" fmla="*/ 1984242 w 7472601"/>
              <a:gd name="connsiteY573" fmla="*/ 2430829 h 6858000"/>
              <a:gd name="connsiteX574" fmla="*/ 2014023 w 7472601"/>
              <a:gd name="connsiteY574" fmla="*/ 2450995 h 6858000"/>
              <a:gd name="connsiteX575" fmla="*/ 1747337 w 7472601"/>
              <a:gd name="connsiteY575" fmla="*/ 1855264 h 6858000"/>
              <a:gd name="connsiteX576" fmla="*/ 1533749 w 7472601"/>
              <a:gd name="connsiteY576" fmla="*/ 1478656 h 6858000"/>
              <a:gd name="connsiteX577" fmla="*/ 1431890 w 7472601"/>
              <a:gd name="connsiteY577" fmla="*/ 1306475 h 6858000"/>
              <a:gd name="connsiteX578" fmla="*/ 5052692 w 7472601"/>
              <a:gd name="connsiteY578" fmla="*/ 1292994 h 6858000"/>
              <a:gd name="connsiteX579" fmla="*/ 5200661 w 7472601"/>
              <a:gd name="connsiteY579" fmla="*/ 1635186 h 6858000"/>
              <a:gd name="connsiteX580" fmla="*/ 5297138 w 7472601"/>
              <a:gd name="connsiteY580" fmla="*/ 1906351 h 6858000"/>
              <a:gd name="connsiteX581" fmla="*/ 5052692 w 7472601"/>
              <a:gd name="connsiteY581" fmla="*/ 1292994 h 6858000"/>
              <a:gd name="connsiteX582" fmla="*/ 5009948 w 7472601"/>
              <a:gd name="connsiteY582" fmla="*/ 1273619 h 6858000"/>
              <a:gd name="connsiteX583" fmla="*/ 5121777 w 7472601"/>
              <a:gd name="connsiteY583" fmla="*/ 1654213 h 6858000"/>
              <a:gd name="connsiteX584" fmla="*/ 5293545 w 7472601"/>
              <a:gd name="connsiteY584" fmla="*/ 2072247 h 6858000"/>
              <a:gd name="connsiteX585" fmla="*/ 5294042 w 7472601"/>
              <a:gd name="connsiteY585" fmla="*/ 2065019 h 6858000"/>
              <a:gd name="connsiteX586" fmla="*/ 5171936 w 7472601"/>
              <a:gd name="connsiteY586" fmla="*/ 1647613 h 6858000"/>
              <a:gd name="connsiteX587" fmla="*/ 5009948 w 7472601"/>
              <a:gd name="connsiteY587" fmla="*/ 1273619 h 6858000"/>
              <a:gd name="connsiteX588" fmla="*/ 655236 w 7472601"/>
              <a:gd name="connsiteY588" fmla="*/ 1268632 h 6858000"/>
              <a:gd name="connsiteX589" fmla="*/ 839521 w 7472601"/>
              <a:gd name="connsiteY589" fmla="*/ 1685315 h 6858000"/>
              <a:gd name="connsiteX590" fmla="*/ 1109416 w 7472601"/>
              <a:gd name="connsiteY590" fmla="*/ 2061663 h 6858000"/>
              <a:gd name="connsiteX591" fmla="*/ 1298300 w 7472601"/>
              <a:gd name="connsiteY591" fmla="*/ 2247742 h 6858000"/>
              <a:gd name="connsiteX592" fmla="*/ 1125871 w 7472601"/>
              <a:gd name="connsiteY592" fmla="*/ 1989513 h 6858000"/>
              <a:gd name="connsiteX593" fmla="*/ 981574 w 7472601"/>
              <a:gd name="connsiteY593" fmla="*/ 1783157 h 6858000"/>
              <a:gd name="connsiteX594" fmla="*/ 922198 w 7472601"/>
              <a:gd name="connsiteY594" fmla="*/ 1677437 h 6858000"/>
              <a:gd name="connsiteX595" fmla="*/ 869293 w 7472601"/>
              <a:gd name="connsiteY595" fmla="*/ 1583214 h 6858000"/>
              <a:gd name="connsiteX596" fmla="*/ 751431 w 7472601"/>
              <a:gd name="connsiteY596" fmla="*/ 1405731 h 6858000"/>
              <a:gd name="connsiteX597" fmla="*/ 655236 w 7472601"/>
              <a:gd name="connsiteY597" fmla="*/ 1268632 h 6858000"/>
              <a:gd name="connsiteX598" fmla="*/ 6516292 w 7472601"/>
              <a:gd name="connsiteY598" fmla="*/ 1263064 h 6858000"/>
              <a:gd name="connsiteX599" fmla="*/ 5736320 w 7472601"/>
              <a:gd name="connsiteY599" fmla="*/ 1501803 h 6858000"/>
              <a:gd name="connsiteX600" fmla="*/ 6516292 w 7472601"/>
              <a:gd name="connsiteY600" fmla="*/ 1263064 h 6858000"/>
              <a:gd name="connsiteX601" fmla="*/ 291466 w 7472601"/>
              <a:gd name="connsiteY601" fmla="*/ 1250369 h 6858000"/>
              <a:gd name="connsiteX602" fmla="*/ 323180 w 7472601"/>
              <a:gd name="connsiteY602" fmla="*/ 1435283 h 6858000"/>
              <a:gd name="connsiteX603" fmla="*/ 349381 w 7472601"/>
              <a:gd name="connsiteY603" fmla="*/ 1875041 h 6858000"/>
              <a:gd name="connsiteX604" fmla="*/ 374363 w 7472601"/>
              <a:gd name="connsiteY604" fmla="*/ 1506494 h 6858000"/>
              <a:gd name="connsiteX605" fmla="*/ 302168 w 7472601"/>
              <a:gd name="connsiteY605" fmla="*/ 1274495 h 6858000"/>
              <a:gd name="connsiteX606" fmla="*/ 291466 w 7472601"/>
              <a:gd name="connsiteY606" fmla="*/ 1250369 h 6858000"/>
              <a:gd name="connsiteX607" fmla="*/ 678222 w 7472601"/>
              <a:gd name="connsiteY607" fmla="*/ 1248670 h 6858000"/>
              <a:gd name="connsiteX608" fmla="*/ 775536 w 7472601"/>
              <a:gd name="connsiteY608" fmla="*/ 1388015 h 6858000"/>
              <a:gd name="connsiteX609" fmla="*/ 894529 w 7472601"/>
              <a:gd name="connsiteY609" fmla="*/ 1567739 h 6858000"/>
              <a:gd name="connsiteX610" fmla="*/ 948000 w 7472601"/>
              <a:gd name="connsiteY610" fmla="*/ 1663088 h 6858000"/>
              <a:gd name="connsiteX611" fmla="*/ 1006812 w 7472601"/>
              <a:gd name="connsiteY611" fmla="*/ 1767683 h 6858000"/>
              <a:gd name="connsiteX612" fmla="*/ 1149133 w 7472601"/>
              <a:gd name="connsiteY612" fmla="*/ 1971513 h 6858000"/>
              <a:gd name="connsiteX613" fmla="*/ 1333952 w 7472601"/>
              <a:gd name="connsiteY613" fmla="*/ 2251620 h 6858000"/>
              <a:gd name="connsiteX614" fmla="*/ 1337329 w 7472601"/>
              <a:gd name="connsiteY614" fmla="*/ 2258350 h 6858000"/>
              <a:gd name="connsiteX615" fmla="*/ 1014726 w 7472601"/>
              <a:gd name="connsiteY615" fmla="*/ 1615556 h 6858000"/>
              <a:gd name="connsiteX616" fmla="*/ 678222 w 7472601"/>
              <a:gd name="connsiteY616" fmla="*/ 1248670 h 6858000"/>
              <a:gd name="connsiteX617" fmla="*/ 6691602 w 7472601"/>
              <a:gd name="connsiteY617" fmla="*/ 1140573 h 6858000"/>
              <a:gd name="connsiteX618" fmla="*/ 6571100 w 7472601"/>
              <a:gd name="connsiteY618" fmla="*/ 1183662 h 6858000"/>
              <a:gd name="connsiteX619" fmla="*/ 6241687 w 7472601"/>
              <a:gd name="connsiteY619" fmla="*/ 1257600 h 6858000"/>
              <a:gd name="connsiteX620" fmla="*/ 5693009 w 7472601"/>
              <a:gd name="connsiteY620" fmla="*/ 1478256 h 6858000"/>
              <a:gd name="connsiteX621" fmla="*/ 6548420 w 7472601"/>
              <a:gd name="connsiteY621" fmla="*/ 1214599 h 6858000"/>
              <a:gd name="connsiteX622" fmla="*/ 6605473 w 7472601"/>
              <a:gd name="connsiteY622" fmla="*/ 1184686 h 6858000"/>
              <a:gd name="connsiteX623" fmla="*/ 6691602 w 7472601"/>
              <a:gd name="connsiteY623" fmla="*/ 1140573 h 6858000"/>
              <a:gd name="connsiteX624" fmla="*/ 4002475 w 7472601"/>
              <a:gd name="connsiteY624" fmla="*/ 1037802 h 6858000"/>
              <a:gd name="connsiteX625" fmla="*/ 4000324 w 7472601"/>
              <a:gd name="connsiteY625" fmla="*/ 1039362 h 6858000"/>
              <a:gd name="connsiteX626" fmla="*/ 4002862 w 7472601"/>
              <a:gd name="connsiteY626" fmla="*/ 1042866 h 6858000"/>
              <a:gd name="connsiteX627" fmla="*/ 4002475 w 7472601"/>
              <a:gd name="connsiteY627" fmla="*/ 1037802 h 6858000"/>
              <a:gd name="connsiteX628" fmla="*/ 506322 w 7472601"/>
              <a:gd name="connsiteY628" fmla="*/ 1020997 h 6858000"/>
              <a:gd name="connsiteX629" fmla="*/ 533068 w 7472601"/>
              <a:gd name="connsiteY629" fmla="*/ 1029409 h 6858000"/>
              <a:gd name="connsiteX630" fmla="*/ 1232525 w 7472601"/>
              <a:gd name="connsiteY630" fmla="*/ 1804675 h 6858000"/>
              <a:gd name="connsiteX631" fmla="*/ 1388858 w 7472601"/>
              <a:gd name="connsiteY631" fmla="*/ 2368011 h 6858000"/>
              <a:gd name="connsiteX632" fmla="*/ 1384098 w 7472601"/>
              <a:gd name="connsiteY632" fmla="*/ 2378125 h 6858000"/>
              <a:gd name="connsiteX633" fmla="*/ 1425393 w 7472601"/>
              <a:gd name="connsiteY633" fmla="*/ 2589124 h 6858000"/>
              <a:gd name="connsiteX634" fmla="*/ 1424001 w 7472601"/>
              <a:gd name="connsiteY634" fmla="*/ 2597541 h 6858000"/>
              <a:gd name="connsiteX635" fmla="*/ 2152729 w 7472601"/>
              <a:gd name="connsiteY635" fmla="*/ 2864487 h 6858000"/>
              <a:gd name="connsiteX636" fmla="*/ 2020609 w 7472601"/>
              <a:gd name="connsiteY636" fmla="*/ 2539671 h 6858000"/>
              <a:gd name="connsiteX637" fmla="*/ 2018920 w 7472601"/>
              <a:gd name="connsiteY637" fmla="*/ 2536309 h 6858000"/>
              <a:gd name="connsiteX638" fmla="*/ 1342441 w 7472601"/>
              <a:gd name="connsiteY638" fmla="*/ 1173017 h 6858000"/>
              <a:gd name="connsiteX639" fmla="*/ 1367925 w 7472601"/>
              <a:gd name="connsiteY639" fmla="*/ 1135648 h 6858000"/>
              <a:gd name="connsiteX640" fmla="*/ 1771401 w 7472601"/>
              <a:gd name="connsiteY640" fmla="*/ 1806673 h 6858000"/>
              <a:gd name="connsiteX641" fmla="*/ 1972385 w 7472601"/>
              <a:gd name="connsiteY641" fmla="*/ 2198735 h 6858000"/>
              <a:gd name="connsiteX642" fmla="*/ 2040892 w 7472601"/>
              <a:gd name="connsiteY642" fmla="*/ 2405205 h 6858000"/>
              <a:gd name="connsiteX643" fmla="*/ 2131689 w 7472601"/>
              <a:gd name="connsiteY643" fmla="*/ 1936926 h 6858000"/>
              <a:gd name="connsiteX644" fmla="*/ 2454820 w 7472601"/>
              <a:gd name="connsiteY644" fmla="*/ 1248808 h 6858000"/>
              <a:gd name="connsiteX645" fmla="*/ 2492512 w 7472601"/>
              <a:gd name="connsiteY645" fmla="*/ 1302920 h 6858000"/>
              <a:gd name="connsiteX646" fmla="*/ 2081216 w 7472601"/>
              <a:gd name="connsiteY646" fmla="*/ 2527513 h 6858000"/>
              <a:gd name="connsiteX647" fmla="*/ 2081211 w 7472601"/>
              <a:gd name="connsiteY647" fmla="*/ 2528916 h 6858000"/>
              <a:gd name="connsiteX648" fmla="*/ 2199067 w 7472601"/>
              <a:gd name="connsiteY648" fmla="*/ 2884061 h 6858000"/>
              <a:gd name="connsiteX649" fmla="*/ 3192586 w 7472601"/>
              <a:gd name="connsiteY649" fmla="*/ 3411496 h 6858000"/>
              <a:gd name="connsiteX650" fmla="*/ 3182620 w 7472601"/>
              <a:gd name="connsiteY650" fmla="*/ 3483279 h 6858000"/>
              <a:gd name="connsiteX651" fmla="*/ 2435119 w 7472601"/>
              <a:gd name="connsiteY651" fmla="*/ 3080173 h 6858000"/>
              <a:gd name="connsiteX652" fmla="*/ 2410152 w 7472601"/>
              <a:gd name="connsiteY652" fmla="*/ 3063751 h 6858000"/>
              <a:gd name="connsiteX653" fmla="*/ 2408099 w 7472601"/>
              <a:gd name="connsiteY653" fmla="*/ 3064403 h 6858000"/>
              <a:gd name="connsiteX654" fmla="*/ 2407218 w 7472601"/>
              <a:gd name="connsiteY654" fmla="*/ 3070324 h 6858000"/>
              <a:gd name="connsiteX655" fmla="*/ 2380138 w 7472601"/>
              <a:gd name="connsiteY655" fmla="*/ 3099341 h 6858000"/>
              <a:gd name="connsiteX656" fmla="*/ 1765923 w 7472601"/>
              <a:gd name="connsiteY656" fmla="*/ 3581043 h 6858000"/>
              <a:gd name="connsiteX657" fmla="*/ 1702258 w 7472601"/>
              <a:gd name="connsiteY657" fmla="*/ 3612286 h 6858000"/>
              <a:gd name="connsiteX658" fmla="*/ 1538370 w 7472601"/>
              <a:gd name="connsiteY658" fmla="*/ 3811804 h 6858000"/>
              <a:gd name="connsiteX659" fmla="*/ 542867 w 7472601"/>
              <a:gd name="connsiteY659" fmla="*/ 4944092 h 6858000"/>
              <a:gd name="connsiteX660" fmla="*/ 515800 w 7472601"/>
              <a:gd name="connsiteY660" fmla="*/ 4862180 h 6858000"/>
              <a:gd name="connsiteX661" fmla="*/ 909145 w 7472601"/>
              <a:gd name="connsiteY661" fmla="*/ 4199225 h 6858000"/>
              <a:gd name="connsiteX662" fmla="*/ 1214067 w 7472601"/>
              <a:gd name="connsiteY662" fmla="*/ 3908561 h 6858000"/>
              <a:gd name="connsiteX663" fmla="*/ 640967 w 7472601"/>
              <a:gd name="connsiteY663" fmla="*/ 4105601 h 6858000"/>
              <a:gd name="connsiteX664" fmla="*/ 112563 w 7472601"/>
              <a:gd name="connsiteY664" fmla="*/ 4396952 h 6858000"/>
              <a:gd name="connsiteX665" fmla="*/ 0 w 7472601"/>
              <a:gd name="connsiteY665" fmla="*/ 4466006 h 6858000"/>
              <a:gd name="connsiteX666" fmla="*/ 0 w 7472601"/>
              <a:gd name="connsiteY666" fmla="*/ 4233763 h 6858000"/>
              <a:gd name="connsiteX667" fmla="*/ 36881 w 7472601"/>
              <a:gd name="connsiteY667" fmla="*/ 4200118 h 6858000"/>
              <a:gd name="connsiteX668" fmla="*/ 910534 w 7472601"/>
              <a:gd name="connsiteY668" fmla="*/ 3629753 h 6858000"/>
              <a:gd name="connsiteX669" fmla="*/ 1578717 w 7472601"/>
              <a:gd name="connsiteY669" fmla="*/ 3575982 h 6858000"/>
              <a:gd name="connsiteX670" fmla="*/ 2338780 w 7472601"/>
              <a:gd name="connsiteY670" fmla="*/ 3033725 h 6858000"/>
              <a:gd name="connsiteX671" fmla="*/ 1807991 w 7472601"/>
              <a:gd name="connsiteY671" fmla="*/ 2807184 h 6858000"/>
              <a:gd name="connsiteX672" fmla="*/ 1416358 w 7472601"/>
              <a:gd name="connsiteY672" fmla="*/ 3112571 h 6858000"/>
              <a:gd name="connsiteX673" fmla="*/ 939066 w 7472601"/>
              <a:gd name="connsiteY673" fmla="*/ 3378798 h 6858000"/>
              <a:gd name="connsiteX674" fmla="*/ 115099 w 7472601"/>
              <a:gd name="connsiteY674" fmla="*/ 3607650 h 6858000"/>
              <a:gd name="connsiteX675" fmla="*/ 97284 w 7472601"/>
              <a:gd name="connsiteY675" fmla="*/ 3520393 h 6858000"/>
              <a:gd name="connsiteX676" fmla="*/ 922050 w 7472601"/>
              <a:gd name="connsiteY676" fmla="*/ 3074867 h 6858000"/>
              <a:gd name="connsiteX677" fmla="*/ 1405265 w 7472601"/>
              <a:gd name="connsiteY677" fmla="*/ 3016319 h 6858000"/>
              <a:gd name="connsiteX678" fmla="*/ 1407512 w 7472601"/>
              <a:gd name="connsiteY678" fmla="*/ 3018001 h 6858000"/>
              <a:gd name="connsiteX679" fmla="*/ 1726266 w 7472601"/>
              <a:gd name="connsiteY679" fmla="*/ 2777274 h 6858000"/>
              <a:gd name="connsiteX680" fmla="*/ 625390 w 7472601"/>
              <a:gd name="connsiteY680" fmla="*/ 2514541 h 6858000"/>
              <a:gd name="connsiteX681" fmla="*/ 619799 w 7472601"/>
              <a:gd name="connsiteY681" fmla="*/ 2527180 h 6858000"/>
              <a:gd name="connsiteX682" fmla="*/ 310030 w 7472601"/>
              <a:gd name="connsiteY682" fmla="*/ 2771818 h 6858000"/>
              <a:gd name="connsiteX683" fmla="*/ 173877 w 7472601"/>
              <a:gd name="connsiteY683" fmla="*/ 2937056 h 6858000"/>
              <a:gd name="connsiteX684" fmla="*/ 77889 w 7472601"/>
              <a:gd name="connsiteY684" fmla="*/ 3138440 h 6858000"/>
              <a:gd name="connsiteX685" fmla="*/ 0 w 7472601"/>
              <a:gd name="connsiteY685" fmla="*/ 3271395 h 6858000"/>
              <a:gd name="connsiteX686" fmla="*/ 0 w 7472601"/>
              <a:gd name="connsiteY686" fmla="*/ 3153002 h 6858000"/>
              <a:gd name="connsiteX687" fmla="*/ 2386 w 7472601"/>
              <a:gd name="connsiteY687" fmla="*/ 3149203 h 6858000"/>
              <a:gd name="connsiteX688" fmla="*/ 89753 w 7472601"/>
              <a:gd name="connsiteY688" fmla="*/ 2987702 h 6858000"/>
              <a:gd name="connsiteX689" fmla="*/ 76869 w 7472601"/>
              <a:gd name="connsiteY689" fmla="*/ 3005404 h 6858000"/>
              <a:gd name="connsiteX690" fmla="*/ 32049 w 7472601"/>
              <a:gd name="connsiteY690" fmla="*/ 3065814 h 6858000"/>
              <a:gd name="connsiteX691" fmla="*/ 0 w 7472601"/>
              <a:gd name="connsiteY691" fmla="*/ 3108744 h 6858000"/>
              <a:gd name="connsiteX692" fmla="*/ 0 w 7472601"/>
              <a:gd name="connsiteY692" fmla="*/ 3058059 h 6858000"/>
              <a:gd name="connsiteX693" fmla="*/ 7610 w 7472601"/>
              <a:gd name="connsiteY693" fmla="*/ 3047889 h 6858000"/>
              <a:gd name="connsiteX694" fmla="*/ 52419 w 7472601"/>
              <a:gd name="connsiteY694" fmla="*/ 2987479 h 6858000"/>
              <a:gd name="connsiteX695" fmla="*/ 59142 w 7472601"/>
              <a:gd name="connsiteY695" fmla="*/ 2978488 h 6858000"/>
              <a:gd name="connsiteX696" fmla="*/ 0 w 7472601"/>
              <a:gd name="connsiteY696" fmla="*/ 3015334 h 6858000"/>
              <a:gd name="connsiteX697" fmla="*/ 0 w 7472601"/>
              <a:gd name="connsiteY697" fmla="*/ 2914286 h 6858000"/>
              <a:gd name="connsiteX698" fmla="*/ 36383 w 7472601"/>
              <a:gd name="connsiteY698" fmla="*/ 2901128 h 6858000"/>
              <a:gd name="connsiteX699" fmla="*/ 156329 w 7472601"/>
              <a:gd name="connsiteY699" fmla="*/ 2840533 h 6858000"/>
              <a:gd name="connsiteX700" fmla="*/ 358355 w 7472601"/>
              <a:gd name="connsiteY700" fmla="*/ 2620471 h 6858000"/>
              <a:gd name="connsiteX701" fmla="*/ 510577 w 7472601"/>
              <a:gd name="connsiteY701" fmla="*/ 2501244 h 6858000"/>
              <a:gd name="connsiteX702" fmla="*/ 211967 w 7472601"/>
              <a:gd name="connsiteY702" fmla="*/ 2479171 h 6858000"/>
              <a:gd name="connsiteX703" fmla="*/ 0 w 7472601"/>
              <a:gd name="connsiteY703" fmla="*/ 2476398 h 6858000"/>
              <a:gd name="connsiteX704" fmla="*/ 0 w 7472601"/>
              <a:gd name="connsiteY704" fmla="*/ 2389189 h 6858000"/>
              <a:gd name="connsiteX705" fmla="*/ 103062 w 7472601"/>
              <a:gd name="connsiteY705" fmla="*/ 2389518 h 6858000"/>
              <a:gd name="connsiteX706" fmla="*/ 510734 w 7472601"/>
              <a:gd name="connsiteY706" fmla="*/ 2416201 h 6858000"/>
              <a:gd name="connsiteX707" fmla="*/ 279257 w 7472601"/>
              <a:gd name="connsiteY707" fmla="*/ 2092102 h 6858000"/>
              <a:gd name="connsiteX708" fmla="*/ 65265 w 7472601"/>
              <a:gd name="connsiteY708" fmla="*/ 2006049 h 6858000"/>
              <a:gd name="connsiteX709" fmla="*/ 0 w 7472601"/>
              <a:gd name="connsiteY709" fmla="*/ 1982532 h 6858000"/>
              <a:gd name="connsiteX710" fmla="*/ 0 w 7472601"/>
              <a:gd name="connsiteY710" fmla="*/ 1912789 h 6858000"/>
              <a:gd name="connsiteX711" fmla="*/ 97460 w 7472601"/>
              <a:gd name="connsiteY711" fmla="*/ 1953725 h 6858000"/>
              <a:gd name="connsiteX712" fmla="*/ 221272 w 7472601"/>
              <a:gd name="connsiteY712" fmla="*/ 1980766 h 6858000"/>
              <a:gd name="connsiteX713" fmla="*/ 116765 w 7472601"/>
              <a:gd name="connsiteY713" fmla="*/ 1911033 h 6858000"/>
              <a:gd name="connsiteX714" fmla="*/ 16405 w 7472601"/>
              <a:gd name="connsiteY714" fmla="*/ 1803412 h 6858000"/>
              <a:gd name="connsiteX715" fmla="*/ 0 w 7472601"/>
              <a:gd name="connsiteY715" fmla="*/ 1784777 h 6858000"/>
              <a:gd name="connsiteX716" fmla="*/ 0 w 7472601"/>
              <a:gd name="connsiteY716" fmla="*/ 1740082 h 6858000"/>
              <a:gd name="connsiteX717" fmla="*/ 39394 w 7472601"/>
              <a:gd name="connsiteY717" fmla="*/ 1784856 h 6858000"/>
              <a:gd name="connsiteX718" fmla="*/ 135813 w 7472601"/>
              <a:gd name="connsiteY718" fmla="*/ 1888838 h 6858000"/>
              <a:gd name="connsiteX719" fmla="*/ 242575 w 7472601"/>
              <a:gd name="connsiteY719" fmla="*/ 1958841 h 6858000"/>
              <a:gd name="connsiteX720" fmla="*/ 82197 w 7472601"/>
              <a:gd name="connsiteY720" fmla="*/ 1754826 h 6858000"/>
              <a:gd name="connsiteX721" fmla="*/ 0 w 7472601"/>
              <a:gd name="connsiteY721" fmla="*/ 1679650 h 6858000"/>
              <a:gd name="connsiteX722" fmla="*/ 0 w 7472601"/>
              <a:gd name="connsiteY722" fmla="*/ 1602463 h 6858000"/>
              <a:gd name="connsiteX723" fmla="*/ 84689 w 7472601"/>
              <a:gd name="connsiteY723" fmla="*/ 1677442 h 6858000"/>
              <a:gd name="connsiteX724" fmla="*/ 298437 w 7472601"/>
              <a:gd name="connsiteY724" fmla="*/ 1968019 h 6858000"/>
              <a:gd name="connsiteX725" fmla="*/ 227269 w 7472601"/>
              <a:gd name="connsiteY725" fmla="*/ 1114064 h 6858000"/>
              <a:gd name="connsiteX726" fmla="*/ 248003 w 7472601"/>
              <a:gd name="connsiteY726" fmla="*/ 1089613 h 6858000"/>
              <a:gd name="connsiteX727" fmla="*/ 427020 w 7472601"/>
              <a:gd name="connsiteY727" fmla="*/ 1619803 h 6858000"/>
              <a:gd name="connsiteX728" fmla="*/ 340345 w 7472601"/>
              <a:gd name="connsiteY728" fmla="*/ 2027739 h 6858000"/>
              <a:gd name="connsiteX729" fmla="*/ 360865 w 7472601"/>
              <a:gd name="connsiteY729" fmla="*/ 2044827 h 6858000"/>
              <a:gd name="connsiteX730" fmla="*/ 560414 w 7472601"/>
              <a:gd name="connsiteY730" fmla="*/ 2421457 h 6858000"/>
              <a:gd name="connsiteX731" fmla="*/ 1359703 w 7472601"/>
              <a:gd name="connsiteY731" fmla="*/ 2578554 h 6858000"/>
              <a:gd name="connsiteX732" fmla="*/ 1359422 w 7472601"/>
              <a:gd name="connsiteY732" fmla="*/ 2577994 h 6858000"/>
              <a:gd name="connsiteX733" fmla="*/ 828701 w 7472601"/>
              <a:gd name="connsiteY733" fmla="*/ 1839520 h 6858000"/>
              <a:gd name="connsiteX734" fmla="*/ 494427 w 7472601"/>
              <a:gd name="connsiteY734" fmla="*/ 1092333 h 6858000"/>
              <a:gd name="connsiteX735" fmla="*/ 506322 w 7472601"/>
              <a:gd name="connsiteY735" fmla="*/ 1020997 h 6858000"/>
              <a:gd name="connsiteX736" fmla="*/ 4570198 w 7472601"/>
              <a:gd name="connsiteY736" fmla="*/ 978081 h 6858000"/>
              <a:gd name="connsiteX737" fmla="*/ 4523691 w 7472601"/>
              <a:gd name="connsiteY737" fmla="*/ 1127776 h 6858000"/>
              <a:gd name="connsiteX738" fmla="*/ 4509875 w 7472601"/>
              <a:gd name="connsiteY738" fmla="*/ 1167552 h 6858000"/>
              <a:gd name="connsiteX739" fmla="*/ 4478168 w 7472601"/>
              <a:gd name="connsiteY739" fmla="*/ 1260735 h 6858000"/>
              <a:gd name="connsiteX740" fmla="*/ 4409309 w 7472601"/>
              <a:gd name="connsiteY740" fmla="*/ 1666996 h 6858000"/>
              <a:gd name="connsiteX741" fmla="*/ 4370031 w 7472601"/>
              <a:gd name="connsiteY741" fmla="*/ 1955666 h 6858000"/>
              <a:gd name="connsiteX742" fmla="*/ 4570198 w 7472601"/>
              <a:gd name="connsiteY742" fmla="*/ 978081 h 6858000"/>
              <a:gd name="connsiteX743" fmla="*/ 4557898 w 7472601"/>
              <a:gd name="connsiteY743" fmla="*/ 900011 h 6858000"/>
              <a:gd name="connsiteX744" fmla="*/ 4344840 w 7472601"/>
              <a:gd name="connsiteY744" fmla="*/ 1922038 h 6858000"/>
              <a:gd name="connsiteX745" fmla="*/ 4378710 w 7472601"/>
              <a:gd name="connsiteY745" fmla="*/ 1665516 h 6858000"/>
              <a:gd name="connsiteX746" fmla="*/ 4448798 w 7472601"/>
              <a:gd name="connsiteY746" fmla="*/ 1253024 h 6858000"/>
              <a:gd name="connsiteX747" fmla="*/ 4480315 w 7472601"/>
              <a:gd name="connsiteY747" fmla="*/ 1158454 h 6858000"/>
              <a:gd name="connsiteX748" fmla="*/ 4494133 w 7472601"/>
              <a:gd name="connsiteY748" fmla="*/ 1118676 h 6858000"/>
              <a:gd name="connsiteX749" fmla="*/ 4557898 w 7472601"/>
              <a:gd name="connsiteY749" fmla="*/ 900011 h 6858000"/>
              <a:gd name="connsiteX750" fmla="*/ 5870151 w 7472601"/>
              <a:gd name="connsiteY750" fmla="*/ 898890 h 6858000"/>
              <a:gd name="connsiteX751" fmla="*/ 5861335 w 7472601"/>
              <a:gd name="connsiteY751" fmla="*/ 899177 h 6858000"/>
              <a:gd name="connsiteX752" fmla="*/ 5843702 w 7472601"/>
              <a:gd name="connsiteY752" fmla="*/ 899748 h 6858000"/>
              <a:gd name="connsiteX753" fmla="*/ 5651107 w 7472601"/>
              <a:gd name="connsiteY753" fmla="*/ 920306 h 6858000"/>
              <a:gd name="connsiteX754" fmla="*/ 5459407 w 7472601"/>
              <a:gd name="connsiteY754" fmla="*/ 940975 h 6858000"/>
              <a:gd name="connsiteX755" fmla="*/ 5374846 w 7472601"/>
              <a:gd name="connsiteY755" fmla="*/ 941988 h 6858000"/>
              <a:gd name="connsiteX756" fmla="*/ 5256105 w 7472601"/>
              <a:gd name="connsiteY756" fmla="*/ 945632 h 6858000"/>
              <a:gd name="connsiteX757" fmla="*/ 5107071 w 7472601"/>
              <a:gd name="connsiteY757" fmla="*/ 969720 h 6858000"/>
              <a:gd name="connsiteX758" fmla="*/ 4998681 w 7472601"/>
              <a:gd name="connsiteY758" fmla="*/ 988771 h 6858000"/>
              <a:gd name="connsiteX759" fmla="*/ 5870151 w 7472601"/>
              <a:gd name="connsiteY759" fmla="*/ 898890 h 6858000"/>
              <a:gd name="connsiteX760" fmla="*/ 5504425 w 7472601"/>
              <a:gd name="connsiteY760" fmla="*/ 848067 h 6858000"/>
              <a:gd name="connsiteX761" fmla="*/ 4968849 w 7472601"/>
              <a:gd name="connsiteY761" fmla="*/ 962318 h 6858000"/>
              <a:gd name="connsiteX762" fmla="*/ 5104039 w 7472601"/>
              <a:gd name="connsiteY762" fmla="*/ 940634 h 6858000"/>
              <a:gd name="connsiteX763" fmla="*/ 5256311 w 7472601"/>
              <a:gd name="connsiteY763" fmla="*/ 916490 h 6858000"/>
              <a:gd name="connsiteX764" fmla="*/ 5377381 w 7472601"/>
              <a:gd name="connsiteY764" fmla="*/ 912671 h 6858000"/>
              <a:gd name="connsiteX765" fmla="*/ 5460148 w 7472601"/>
              <a:gd name="connsiteY765" fmla="*/ 911442 h 6858000"/>
              <a:gd name="connsiteX766" fmla="*/ 5648971 w 7472601"/>
              <a:gd name="connsiteY766" fmla="*/ 891331 h 6858000"/>
              <a:gd name="connsiteX767" fmla="*/ 5844807 w 7472601"/>
              <a:gd name="connsiteY767" fmla="*/ 870718 h 6858000"/>
              <a:gd name="connsiteX768" fmla="*/ 5862975 w 7472601"/>
              <a:gd name="connsiteY768" fmla="*/ 869756 h 6858000"/>
              <a:gd name="connsiteX769" fmla="*/ 5920887 w 7472601"/>
              <a:gd name="connsiteY769" fmla="*/ 865929 h 6858000"/>
              <a:gd name="connsiteX770" fmla="*/ 5504425 w 7472601"/>
              <a:gd name="connsiteY770" fmla="*/ 848067 h 6858000"/>
              <a:gd name="connsiteX771" fmla="*/ 3607114 w 7472601"/>
              <a:gd name="connsiteY771" fmla="*/ 467441 h 6858000"/>
              <a:gd name="connsiteX772" fmla="*/ 3296242 w 7472601"/>
              <a:gd name="connsiteY772" fmla="*/ 807991 h 6858000"/>
              <a:gd name="connsiteX773" fmla="*/ 3174674 w 7472601"/>
              <a:gd name="connsiteY773" fmla="*/ 919759 h 6858000"/>
              <a:gd name="connsiteX774" fmla="*/ 3042978 w 7472601"/>
              <a:gd name="connsiteY774" fmla="*/ 1054894 h 6858000"/>
              <a:gd name="connsiteX775" fmla="*/ 2968914 w 7472601"/>
              <a:gd name="connsiteY775" fmla="*/ 1133756 h 6858000"/>
              <a:gd name="connsiteX776" fmla="*/ 3103823 w 7472601"/>
              <a:gd name="connsiteY776" fmla="*/ 1026814 h 6858000"/>
              <a:gd name="connsiteX777" fmla="*/ 3607114 w 7472601"/>
              <a:gd name="connsiteY777" fmla="*/ 467441 h 6858000"/>
              <a:gd name="connsiteX778" fmla="*/ 3744487 w 7472601"/>
              <a:gd name="connsiteY778" fmla="*/ 383136 h 6858000"/>
              <a:gd name="connsiteX779" fmla="*/ 3970213 w 7472601"/>
              <a:gd name="connsiteY779" fmla="*/ 995559 h 6858000"/>
              <a:gd name="connsiteX780" fmla="*/ 3744487 w 7472601"/>
              <a:gd name="connsiteY780" fmla="*/ 383136 h 6858000"/>
              <a:gd name="connsiteX781" fmla="*/ 3624562 w 7472601"/>
              <a:gd name="connsiteY781" fmla="*/ 367041 h 6858000"/>
              <a:gd name="connsiteX782" fmla="*/ 3489712 w 7472601"/>
              <a:gd name="connsiteY782" fmla="*/ 485386 h 6858000"/>
              <a:gd name="connsiteX783" fmla="*/ 3182994 w 7472601"/>
              <a:gd name="connsiteY783" fmla="*/ 828265 h 6858000"/>
              <a:gd name="connsiteX784" fmla="*/ 2892114 w 7472601"/>
              <a:gd name="connsiteY784" fmla="*/ 1172635 h 6858000"/>
              <a:gd name="connsiteX785" fmla="*/ 3021459 w 7472601"/>
              <a:gd name="connsiteY785" fmla="*/ 1035385 h 6858000"/>
              <a:gd name="connsiteX786" fmla="*/ 3153873 w 7472601"/>
              <a:gd name="connsiteY786" fmla="*/ 898971 h 6858000"/>
              <a:gd name="connsiteX787" fmla="*/ 3276511 w 7472601"/>
              <a:gd name="connsiteY787" fmla="*/ 786423 h 6858000"/>
              <a:gd name="connsiteX788" fmla="*/ 3584154 w 7472601"/>
              <a:gd name="connsiteY788" fmla="*/ 448218 h 6858000"/>
              <a:gd name="connsiteX789" fmla="*/ 3624562 w 7472601"/>
              <a:gd name="connsiteY789" fmla="*/ 367041 h 6858000"/>
              <a:gd name="connsiteX790" fmla="*/ 3766672 w 7472601"/>
              <a:gd name="connsiteY790" fmla="*/ 359429 h 6858000"/>
              <a:gd name="connsiteX791" fmla="*/ 3996338 w 7472601"/>
              <a:gd name="connsiteY791" fmla="*/ 968237 h 6858000"/>
              <a:gd name="connsiteX792" fmla="*/ 3766672 w 7472601"/>
              <a:gd name="connsiteY792" fmla="*/ 359429 h 6858000"/>
              <a:gd name="connsiteX793" fmla="*/ 5805386 w 7472601"/>
              <a:gd name="connsiteY793" fmla="*/ 239240 h 6858000"/>
              <a:gd name="connsiteX794" fmla="*/ 5736947 w 7472601"/>
              <a:gd name="connsiteY794" fmla="*/ 261367 h 6858000"/>
              <a:gd name="connsiteX795" fmla="*/ 5427012 w 7472601"/>
              <a:gd name="connsiteY795" fmla="*/ 311272 h 6858000"/>
              <a:gd name="connsiteX796" fmla="*/ 5147818 w 7472601"/>
              <a:gd name="connsiteY796" fmla="*/ 322112 h 6858000"/>
              <a:gd name="connsiteX797" fmla="*/ 5060854 w 7472601"/>
              <a:gd name="connsiteY797" fmla="*/ 311882 h 6858000"/>
              <a:gd name="connsiteX798" fmla="*/ 4945989 w 7472601"/>
              <a:gd name="connsiteY798" fmla="*/ 300516 h 6858000"/>
              <a:gd name="connsiteX799" fmla="*/ 5410479 w 7472601"/>
              <a:gd name="connsiteY799" fmla="*/ 348434 h 6858000"/>
              <a:gd name="connsiteX800" fmla="*/ 5805386 w 7472601"/>
              <a:gd name="connsiteY800" fmla="*/ 239240 h 6858000"/>
              <a:gd name="connsiteX801" fmla="*/ 5905192 w 7472601"/>
              <a:gd name="connsiteY801" fmla="*/ 163079 h 6858000"/>
              <a:gd name="connsiteX802" fmla="*/ 5865655 w 7472601"/>
              <a:gd name="connsiteY802" fmla="*/ 171901 h 6858000"/>
              <a:gd name="connsiteX803" fmla="*/ 5259740 w 7472601"/>
              <a:gd name="connsiteY803" fmla="*/ 257013 h 6858000"/>
              <a:gd name="connsiteX804" fmla="*/ 5208466 w 7472601"/>
              <a:gd name="connsiteY804" fmla="*/ 257550 h 6858000"/>
              <a:gd name="connsiteX805" fmla="*/ 4980204 w 7472601"/>
              <a:gd name="connsiteY805" fmla="*/ 271903 h 6858000"/>
              <a:gd name="connsiteX806" fmla="*/ 5068068 w 7472601"/>
              <a:gd name="connsiteY806" fmla="*/ 282244 h 6858000"/>
              <a:gd name="connsiteX807" fmla="*/ 5153231 w 7472601"/>
              <a:gd name="connsiteY807" fmla="*/ 292240 h 6858000"/>
              <a:gd name="connsiteX808" fmla="*/ 5426491 w 7472601"/>
              <a:gd name="connsiteY808" fmla="*/ 281128 h 6858000"/>
              <a:gd name="connsiteX809" fmla="*/ 5731212 w 7472601"/>
              <a:gd name="connsiteY809" fmla="*/ 231951 h 6858000"/>
              <a:gd name="connsiteX810" fmla="*/ 5905192 w 7472601"/>
              <a:gd name="connsiteY810" fmla="*/ 163079 h 6858000"/>
              <a:gd name="connsiteX811" fmla="*/ 5944437 w 7472601"/>
              <a:gd name="connsiteY811" fmla="*/ 113829 h 6858000"/>
              <a:gd name="connsiteX812" fmla="*/ 5825032 w 7472601"/>
              <a:gd name="connsiteY812" fmla="*/ 146405 h 6858000"/>
              <a:gd name="connsiteX813" fmla="*/ 4955599 w 7472601"/>
              <a:gd name="connsiteY813" fmla="*/ 247008 h 6858000"/>
              <a:gd name="connsiteX814" fmla="*/ 5210104 w 7472601"/>
              <a:gd name="connsiteY814" fmla="*/ 228123 h 6858000"/>
              <a:gd name="connsiteX815" fmla="*/ 5261015 w 7472601"/>
              <a:gd name="connsiteY815" fmla="*/ 227087 h 6858000"/>
              <a:gd name="connsiteX816" fmla="*/ 5861181 w 7472601"/>
              <a:gd name="connsiteY816" fmla="*/ 143093 h 6858000"/>
              <a:gd name="connsiteX817" fmla="*/ 5961252 w 7472601"/>
              <a:gd name="connsiteY817" fmla="*/ 114820 h 6858000"/>
              <a:gd name="connsiteX818" fmla="*/ 5944437 w 7472601"/>
              <a:gd name="connsiteY818" fmla="*/ 113829 h 6858000"/>
              <a:gd name="connsiteX819" fmla="*/ 3882765 w 7472601"/>
              <a:gd name="connsiteY819" fmla="*/ 0 h 6858000"/>
              <a:gd name="connsiteX820" fmla="*/ 3995099 w 7472601"/>
              <a:gd name="connsiteY820" fmla="*/ 0 h 6858000"/>
              <a:gd name="connsiteX821" fmla="*/ 4163818 w 7472601"/>
              <a:gd name="connsiteY821" fmla="*/ 234104 h 6858000"/>
              <a:gd name="connsiteX822" fmla="*/ 4172099 w 7472601"/>
              <a:gd name="connsiteY822" fmla="*/ 234207 h 6858000"/>
              <a:gd name="connsiteX823" fmla="*/ 4784282 w 7472601"/>
              <a:gd name="connsiteY823" fmla="*/ 276561 h 6858000"/>
              <a:gd name="connsiteX824" fmla="*/ 4801687 w 7472601"/>
              <a:gd name="connsiteY824" fmla="*/ 267764 h 6858000"/>
              <a:gd name="connsiteX825" fmla="*/ 6082788 w 7472601"/>
              <a:gd name="connsiteY825" fmla="*/ 64119 h 6858000"/>
              <a:gd name="connsiteX826" fmla="*/ 6099442 w 7472601"/>
              <a:gd name="connsiteY826" fmla="*/ 82568 h 6858000"/>
              <a:gd name="connsiteX827" fmla="*/ 4804137 w 7472601"/>
              <a:gd name="connsiteY827" fmla="*/ 320931 h 6858000"/>
              <a:gd name="connsiteX828" fmla="*/ 4227047 w 7472601"/>
              <a:gd name="connsiteY828" fmla="*/ 313415 h 6858000"/>
              <a:gd name="connsiteX829" fmla="*/ 4346041 w 7472601"/>
              <a:gd name="connsiteY829" fmla="*/ 456086 h 6858000"/>
              <a:gd name="connsiteX830" fmla="*/ 4870967 w 7472601"/>
              <a:gd name="connsiteY830" fmla="*/ 963061 h 6858000"/>
              <a:gd name="connsiteX831" fmla="*/ 4889647 w 7472601"/>
              <a:gd name="connsiteY831" fmla="*/ 957147 h 6858000"/>
              <a:gd name="connsiteX832" fmla="*/ 5422504 w 7472601"/>
              <a:gd name="connsiteY832" fmla="*/ 805191 h 6858000"/>
              <a:gd name="connsiteX833" fmla="*/ 6087656 w 7472601"/>
              <a:gd name="connsiteY833" fmla="*/ 826703 h 6858000"/>
              <a:gd name="connsiteX834" fmla="*/ 6058717 w 7472601"/>
              <a:gd name="connsiteY834" fmla="*/ 865992 h 6858000"/>
              <a:gd name="connsiteX835" fmla="*/ 4974153 w 7472601"/>
              <a:gd name="connsiteY835" fmla="*/ 1045456 h 6858000"/>
              <a:gd name="connsiteX836" fmla="*/ 5627835 w 7472601"/>
              <a:gd name="connsiteY836" fmla="*/ 1472077 h 6858000"/>
              <a:gd name="connsiteX837" fmla="*/ 5629817 w 7472601"/>
              <a:gd name="connsiteY837" fmla="*/ 1471412 h 6858000"/>
              <a:gd name="connsiteX838" fmla="*/ 5634124 w 7472601"/>
              <a:gd name="connsiteY838" fmla="*/ 1470572 h 6858000"/>
              <a:gd name="connsiteX839" fmla="*/ 5755832 w 7472601"/>
              <a:gd name="connsiteY839" fmla="*/ 1383886 h 6858000"/>
              <a:gd name="connsiteX840" fmla="*/ 6014186 w 7472601"/>
              <a:gd name="connsiteY840" fmla="*/ 1279799 h 6858000"/>
              <a:gd name="connsiteX841" fmla="*/ 6901619 w 7472601"/>
              <a:gd name="connsiteY841" fmla="*/ 1047874 h 6858000"/>
              <a:gd name="connsiteX842" fmla="*/ 6931566 w 7472601"/>
              <a:gd name="connsiteY842" fmla="*/ 1062034 h 6858000"/>
              <a:gd name="connsiteX843" fmla="*/ 5790982 w 7472601"/>
              <a:gd name="connsiteY843" fmla="*/ 1561380 h 6858000"/>
              <a:gd name="connsiteX844" fmla="*/ 6188971 w 7472601"/>
              <a:gd name="connsiteY844" fmla="*/ 1755168 h 6858000"/>
              <a:gd name="connsiteX845" fmla="*/ 6202446 w 7472601"/>
              <a:gd name="connsiteY845" fmla="*/ 1752268 h 6858000"/>
              <a:gd name="connsiteX846" fmla="*/ 7179560 w 7472601"/>
              <a:gd name="connsiteY846" fmla="*/ 1467551 h 6858000"/>
              <a:gd name="connsiteX847" fmla="*/ 7158730 w 7472601"/>
              <a:gd name="connsiteY847" fmla="*/ 1507835 h 6858000"/>
              <a:gd name="connsiteX848" fmla="*/ 6326959 w 7472601"/>
              <a:gd name="connsiteY848" fmla="*/ 1817686 h 6858000"/>
              <a:gd name="connsiteX849" fmla="*/ 6537433 w 7472601"/>
              <a:gd name="connsiteY849" fmla="*/ 1907790 h 6858000"/>
              <a:gd name="connsiteX850" fmla="*/ 6550221 w 7472601"/>
              <a:gd name="connsiteY850" fmla="*/ 1910729 h 6858000"/>
              <a:gd name="connsiteX851" fmla="*/ 6964438 w 7472601"/>
              <a:gd name="connsiteY851" fmla="*/ 2209505 h 6858000"/>
              <a:gd name="connsiteX852" fmla="*/ 7367862 w 7472601"/>
              <a:gd name="connsiteY852" fmla="*/ 2806833 h 6858000"/>
              <a:gd name="connsiteX853" fmla="*/ 7364329 w 7472601"/>
              <a:gd name="connsiteY853" fmla="*/ 2826907 h 6858000"/>
              <a:gd name="connsiteX854" fmla="*/ 7290545 w 7472601"/>
              <a:gd name="connsiteY854" fmla="*/ 2850663 h 6858000"/>
              <a:gd name="connsiteX855" fmla="*/ 6472036 w 7472601"/>
              <a:gd name="connsiteY855" fmla="*/ 1959003 h 6858000"/>
              <a:gd name="connsiteX856" fmla="*/ 5792897 w 7472601"/>
              <a:gd name="connsiteY856" fmla="*/ 1647747 h 6858000"/>
              <a:gd name="connsiteX857" fmla="*/ 5842751 w 7472601"/>
              <a:gd name="connsiteY857" fmla="*/ 1816112 h 6858000"/>
              <a:gd name="connsiteX858" fmla="*/ 5847424 w 7472601"/>
              <a:gd name="connsiteY858" fmla="*/ 1815776 h 6858000"/>
              <a:gd name="connsiteX859" fmla="*/ 6399821 w 7472601"/>
              <a:gd name="connsiteY859" fmla="*/ 2344799 h 6858000"/>
              <a:gd name="connsiteX860" fmla="*/ 6323232 w 7472601"/>
              <a:gd name="connsiteY860" fmla="*/ 2389634 h 6858000"/>
              <a:gd name="connsiteX861" fmla="*/ 5942958 w 7472601"/>
              <a:gd name="connsiteY861" fmla="*/ 2077708 h 6858000"/>
              <a:gd name="connsiteX862" fmla="*/ 5921559 w 7472601"/>
              <a:gd name="connsiteY862" fmla="*/ 2378596 h 6858000"/>
              <a:gd name="connsiteX863" fmla="*/ 5817651 w 7472601"/>
              <a:gd name="connsiteY863" fmla="*/ 3023919 h 6858000"/>
              <a:gd name="connsiteX864" fmla="*/ 5729634 w 7472601"/>
              <a:gd name="connsiteY864" fmla="*/ 3051849 h 6858000"/>
              <a:gd name="connsiteX865" fmla="*/ 5611018 w 7472601"/>
              <a:gd name="connsiteY865" fmla="*/ 2316769 h 6858000"/>
              <a:gd name="connsiteX866" fmla="*/ 5687608 w 7472601"/>
              <a:gd name="connsiteY866" fmla="*/ 2039972 h 6858000"/>
              <a:gd name="connsiteX867" fmla="*/ 5657554 w 7472601"/>
              <a:gd name="connsiteY867" fmla="*/ 1576445 h 6858000"/>
              <a:gd name="connsiteX868" fmla="*/ 5150475 w 7472601"/>
              <a:gd name="connsiteY868" fmla="*/ 1274012 h 6858000"/>
              <a:gd name="connsiteX869" fmla="*/ 5349142 w 7472601"/>
              <a:gd name="connsiteY869" fmla="*/ 2204405 h 6858000"/>
              <a:gd name="connsiteX870" fmla="*/ 5262214 w 7472601"/>
              <a:gd name="connsiteY870" fmla="*/ 2233836 h 6858000"/>
              <a:gd name="connsiteX871" fmla="*/ 4981539 w 7472601"/>
              <a:gd name="connsiteY871" fmla="*/ 1542201 h 6858000"/>
              <a:gd name="connsiteX872" fmla="*/ 4958461 w 7472601"/>
              <a:gd name="connsiteY872" fmla="*/ 1136957 h 6858000"/>
              <a:gd name="connsiteX873" fmla="*/ 4655015 w 7472601"/>
              <a:gd name="connsiteY873" fmla="*/ 891426 h 6858000"/>
              <a:gd name="connsiteX874" fmla="*/ 4348002 w 7472601"/>
              <a:gd name="connsiteY874" fmla="*/ 2205895 h 6858000"/>
              <a:gd name="connsiteX875" fmla="*/ 4262250 w 7472601"/>
              <a:gd name="connsiteY875" fmla="*/ 2219972 h 6858000"/>
              <a:gd name="connsiteX876" fmla="*/ 4550611 w 7472601"/>
              <a:gd name="connsiteY876" fmla="*/ 817540 h 6858000"/>
              <a:gd name="connsiteX877" fmla="*/ 4564418 w 7472601"/>
              <a:gd name="connsiteY877" fmla="*/ 808293 h 6858000"/>
              <a:gd name="connsiteX878" fmla="*/ 4266388 w 7472601"/>
              <a:gd name="connsiteY878" fmla="*/ 500083 h 6858000"/>
              <a:gd name="connsiteX879" fmla="*/ 4032842 w 7472601"/>
              <a:gd name="connsiteY879" fmla="*/ 211809 h 6858000"/>
              <a:gd name="connsiteX880" fmla="*/ 3882765 w 7472601"/>
              <a:gd name="connsiteY880" fmla="*/ 0 h 6858000"/>
              <a:gd name="connsiteX881" fmla="*/ 3721337 w 7472601"/>
              <a:gd name="connsiteY881" fmla="*/ 0 h 6858000"/>
              <a:gd name="connsiteX882" fmla="*/ 3797544 w 7472601"/>
              <a:gd name="connsiteY882" fmla="*/ 0 h 6858000"/>
              <a:gd name="connsiteX883" fmla="*/ 3775734 w 7472601"/>
              <a:gd name="connsiteY883" fmla="*/ 95131 h 6858000"/>
              <a:gd name="connsiteX884" fmla="*/ 3724807 w 7472601"/>
              <a:gd name="connsiteY884" fmla="*/ 272257 h 6858000"/>
              <a:gd name="connsiteX885" fmla="*/ 3726844 w 7472601"/>
              <a:gd name="connsiteY885" fmla="*/ 282988 h 6858000"/>
              <a:gd name="connsiteX886" fmla="*/ 3742664 w 7472601"/>
              <a:gd name="connsiteY886" fmla="*/ 279918 h 6858000"/>
              <a:gd name="connsiteX887" fmla="*/ 4103910 w 7472601"/>
              <a:gd name="connsiteY887" fmla="*/ 1161917 h 6858000"/>
              <a:gd name="connsiteX888" fmla="*/ 4020269 w 7472601"/>
              <a:gd name="connsiteY888" fmla="*/ 1200406 h 6858000"/>
              <a:gd name="connsiteX889" fmla="*/ 3674882 w 7472601"/>
              <a:gd name="connsiteY889" fmla="*/ 488524 h 6858000"/>
              <a:gd name="connsiteX890" fmla="*/ 3132682 w 7472601"/>
              <a:gd name="connsiteY890" fmla="*/ 1072284 h 6858000"/>
              <a:gd name="connsiteX891" fmla="*/ 2716346 w 7472601"/>
              <a:gd name="connsiteY891" fmla="*/ 1276376 h 6858000"/>
              <a:gd name="connsiteX892" fmla="*/ 2716772 w 7472601"/>
              <a:gd name="connsiteY892" fmla="*/ 1255462 h 6858000"/>
              <a:gd name="connsiteX893" fmla="*/ 3471096 w 7472601"/>
              <a:gd name="connsiteY893" fmla="*/ 437072 h 6858000"/>
              <a:gd name="connsiteX894" fmla="*/ 3639057 w 7472601"/>
              <a:gd name="connsiteY894" fmla="*/ 286334 h 6858000"/>
              <a:gd name="connsiteX895" fmla="*/ 3640309 w 7472601"/>
              <a:gd name="connsiteY895" fmla="*/ 284664 h 6858000"/>
              <a:gd name="connsiteX896" fmla="*/ 3646022 w 7472601"/>
              <a:gd name="connsiteY896" fmla="*/ 276711 h 6858000"/>
              <a:gd name="connsiteX897" fmla="*/ 3707943 w 7472601"/>
              <a:gd name="connsiteY897" fmla="*/ 65958 h 6858000"/>
              <a:gd name="connsiteX898" fmla="*/ 3721337 w 7472601"/>
              <a:gd name="connsiteY898" fmla="*/ 0 h 6858000"/>
              <a:gd name="connsiteX899" fmla="*/ 2867960 w 7472601"/>
              <a:gd name="connsiteY899" fmla="*/ 0 h 6858000"/>
              <a:gd name="connsiteX900" fmla="*/ 2926351 w 7472601"/>
              <a:gd name="connsiteY900" fmla="*/ 0 h 6858000"/>
              <a:gd name="connsiteX901" fmla="*/ 2902823 w 7472601"/>
              <a:gd name="connsiteY901" fmla="*/ 262929 h 6858000"/>
              <a:gd name="connsiteX902" fmla="*/ 2940663 w 7472601"/>
              <a:gd name="connsiteY902" fmla="*/ 140884 h 6858000"/>
              <a:gd name="connsiteX903" fmla="*/ 2947039 w 7472601"/>
              <a:gd name="connsiteY903" fmla="*/ 122524 h 6858000"/>
              <a:gd name="connsiteX904" fmla="*/ 2984316 w 7472601"/>
              <a:gd name="connsiteY904" fmla="*/ 0 h 6858000"/>
              <a:gd name="connsiteX905" fmla="*/ 3016114 w 7472601"/>
              <a:gd name="connsiteY905" fmla="*/ 0 h 6858000"/>
              <a:gd name="connsiteX906" fmla="*/ 2979949 w 7472601"/>
              <a:gd name="connsiteY906" fmla="*/ 119274 h 6858000"/>
              <a:gd name="connsiteX907" fmla="*/ 3023879 w 7472601"/>
              <a:gd name="connsiteY907" fmla="*/ 0 h 6858000"/>
              <a:gd name="connsiteX908" fmla="*/ 3105400 w 7472601"/>
              <a:gd name="connsiteY908" fmla="*/ 0 h 6858000"/>
              <a:gd name="connsiteX909" fmla="*/ 3094669 w 7472601"/>
              <a:gd name="connsiteY909" fmla="*/ 30308 h 6858000"/>
              <a:gd name="connsiteX910" fmla="*/ 2901945 w 7472601"/>
              <a:gd name="connsiteY910" fmla="*/ 466538 h 6858000"/>
              <a:gd name="connsiteX911" fmla="*/ 2815209 w 7472601"/>
              <a:gd name="connsiteY911" fmla="*/ 497361 h 6858000"/>
              <a:gd name="connsiteX912" fmla="*/ 2844845 w 7472601"/>
              <a:gd name="connsiteY912" fmla="*/ 127638 h 6858000"/>
              <a:gd name="connsiteX913" fmla="*/ 2867960 w 7472601"/>
              <a:gd name="connsiteY913" fmla="*/ 0 h 6858000"/>
              <a:gd name="connsiteX914" fmla="*/ 1057230 w 7472601"/>
              <a:gd name="connsiteY914" fmla="*/ 0 h 6858000"/>
              <a:gd name="connsiteX915" fmla="*/ 1111003 w 7472601"/>
              <a:gd name="connsiteY915" fmla="*/ 0 h 6858000"/>
              <a:gd name="connsiteX916" fmla="*/ 1125553 w 7472601"/>
              <a:gd name="connsiteY916" fmla="*/ 52588 h 6858000"/>
              <a:gd name="connsiteX917" fmla="*/ 1304276 w 7472601"/>
              <a:gd name="connsiteY917" fmla="*/ 476275 h 6858000"/>
              <a:gd name="connsiteX918" fmla="*/ 1492066 w 7472601"/>
              <a:gd name="connsiteY918" fmla="*/ 886333 h 6858000"/>
              <a:gd name="connsiteX919" fmla="*/ 1423698 w 7472601"/>
              <a:gd name="connsiteY919" fmla="*/ 710817 h 6858000"/>
              <a:gd name="connsiteX920" fmla="*/ 1357609 w 7472601"/>
              <a:gd name="connsiteY920" fmla="*/ 532892 h 6858000"/>
              <a:gd name="connsiteX921" fmla="*/ 1309550 w 7472601"/>
              <a:gd name="connsiteY921" fmla="*/ 374031 h 6858000"/>
              <a:gd name="connsiteX922" fmla="*/ 1193673 w 7472601"/>
              <a:gd name="connsiteY922" fmla="*/ 49533 h 6858000"/>
              <a:gd name="connsiteX923" fmla="*/ 1164391 w 7472601"/>
              <a:gd name="connsiteY923" fmla="*/ 0 h 6858000"/>
              <a:gd name="connsiteX924" fmla="*/ 1200666 w 7472601"/>
              <a:gd name="connsiteY924" fmla="*/ 0 h 6858000"/>
              <a:gd name="connsiteX925" fmla="*/ 1223408 w 7472601"/>
              <a:gd name="connsiteY925" fmla="*/ 38996 h 6858000"/>
              <a:gd name="connsiteX926" fmla="*/ 1339635 w 7472601"/>
              <a:gd name="connsiteY926" fmla="*/ 365517 h 6858000"/>
              <a:gd name="connsiteX927" fmla="*/ 1387469 w 7472601"/>
              <a:gd name="connsiteY927" fmla="*/ 523079 h 6858000"/>
              <a:gd name="connsiteX928" fmla="*/ 1452685 w 7472601"/>
              <a:gd name="connsiteY928" fmla="*/ 699806 h 6858000"/>
              <a:gd name="connsiteX929" fmla="*/ 1492092 w 7472601"/>
              <a:gd name="connsiteY929" fmla="*/ 800424 h 6858000"/>
              <a:gd name="connsiteX930" fmla="*/ 1455302 w 7472601"/>
              <a:gd name="connsiteY930" fmla="*/ 632913 h 6858000"/>
              <a:gd name="connsiteX931" fmla="*/ 1222336 w 7472601"/>
              <a:gd name="connsiteY931" fmla="*/ 9480 h 6858000"/>
              <a:gd name="connsiteX932" fmla="*/ 1214634 w 7472601"/>
              <a:gd name="connsiteY932" fmla="*/ 0 h 6858000"/>
              <a:gd name="connsiteX933" fmla="*/ 1289827 w 7472601"/>
              <a:gd name="connsiteY933" fmla="*/ 0 h 6858000"/>
              <a:gd name="connsiteX934" fmla="*/ 1321076 w 7472601"/>
              <a:gd name="connsiteY934" fmla="*/ 59722 h 6858000"/>
              <a:gd name="connsiteX935" fmla="*/ 1512579 w 7472601"/>
              <a:gd name="connsiteY935" fmla="*/ 626441 h 6858000"/>
              <a:gd name="connsiteX936" fmla="*/ 1506076 w 7472601"/>
              <a:gd name="connsiteY936" fmla="*/ 1089289 h 6858000"/>
              <a:gd name="connsiteX937" fmla="*/ 1486346 w 7472601"/>
              <a:gd name="connsiteY937" fmla="*/ 1079919 h 6858000"/>
              <a:gd name="connsiteX938" fmla="*/ 1070511 w 7472601"/>
              <a:gd name="connsiteY938" fmla="*/ 48609 h 6858000"/>
              <a:gd name="connsiteX939" fmla="*/ 1057230 w 7472601"/>
              <a:gd name="connsiteY939" fmla="*/ 0 h 6858000"/>
              <a:gd name="connsiteX940" fmla="*/ 43151 w 7472601"/>
              <a:gd name="connsiteY940" fmla="*/ 0 h 6858000"/>
              <a:gd name="connsiteX941" fmla="*/ 95283 w 7472601"/>
              <a:gd name="connsiteY941" fmla="*/ 0 h 6858000"/>
              <a:gd name="connsiteX942" fmla="*/ 300708 w 7472601"/>
              <a:gd name="connsiteY942" fmla="*/ 154571 h 6858000"/>
              <a:gd name="connsiteX943" fmla="*/ 530414 w 7472601"/>
              <a:gd name="connsiteY943" fmla="*/ 354673 h 6858000"/>
              <a:gd name="connsiteX944" fmla="*/ 333785 w 7472601"/>
              <a:gd name="connsiteY944" fmla="*/ 161564 h 6858000"/>
              <a:gd name="connsiteX945" fmla="*/ 147005 w 7472601"/>
              <a:gd name="connsiteY945" fmla="*/ 0 h 6858000"/>
              <a:gd name="connsiteX946" fmla="*/ 272509 w 7472601"/>
              <a:gd name="connsiteY946" fmla="*/ 0 h 6858000"/>
              <a:gd name="connsiteX947" fmla="*/ 326276 w 7472601"/>
              <a:gd name="connsiteY947" fmla="*/ 45847 h 6858000"/>
              <a:gd name="connsiteX948" fmla="*/ 823759 w 7472601"/>
              <a:gd name="connsiteY948" fmla="*/ 574145 h 6858000"/>
              <a:gd name="connsiteX949" fmla="*/ 811254 w 7472601"/>
              <a:gd name="connsiteY949" fmla="*/ 665546 h 6858000"/>
              <a:gd name="connsiteX950" fmla="*/ 154042 w 7472601"/>
              <a:gd name="connsiteY950" fmla="*/ 261522 h 6858000"/>
              <a:gd name="connsiteX951" fmla="*/ 13550 w 7472601"/>
              <a:gd name="connsiteY951" fmla="*/ 158423 h 6858000"/>
              <a:gd name="connsiteX952" fmla="*/ 0 w 7472601"/>
              <a:gd name="connsiteY952" fmla="*/ 146618 h 6858000"/>
              <a:gd name="connsiteX953" fmla="*/ 0 w 7472601"/>
              <a:gd name="connsiteY953" fmla="*/ 59161 h 6858000"/>
              <a:gd name="connsiteX954" fmla="*/ 45427 w 7472601"/>
              <a:gd name="connsiteY954" fmla="*/ 101078 h 6858000"/>
              <a:gd name="connsiteX955" fmla="*/ 630103 w 7472601"/>
              <a:gd name="connsiteY955" fmla="*/ 485885 h 6858000"/>
              <a:gd name="connsiteX956" fmla="*/ 532040 w 7472601"/>
              <a:gd name="connsiteY956" fmla="*/ 399359 h 6858000"/>
              <a:gd name="connsiteX957" fmla="*/ 517618 w 7472601"/>
              <a:gd name="connsiteY957" fmla="*/ 385726 h 6858000"/>
              <a:gd name="connsiteX958" fmla="*/ 285074 w 7472601"/>
              <a:gd name="connsiteY958" fmla="*/ 182755 h 6858000"/>
              <a:gd name="connsiteX959" fmla="*/ 43151 w 7472601"/>
              <a:gd name="connsiteY959" fmla="*/ 0 h 6858000"/>
              <a:gd name="connsiteX0" fmla="*/ 369702 w 7467663"/>
              <a:gd name="connsiteY0" fmla="*/ 6712169 h 6858000"/>
              <a:gd name="connsiteX1" fmla="*/ 366575 w 7467663"/>
              <a:gd name="connsiteY1" fmla="*/ 6715556 h 6858000"/>
              <a:gd name="connsiteX2" fmla="*/ 371637 w 7467663"/>
              <a:gd name="connsiteY2" fmla="*/ 6713954 h 6858000"/>
              <a:gd name="connsiteX3" fmla="*/ 369702 w 7467663"/>
              <a:gd name="connsiteY3" fmla="*/ 6712169 h 6858000"/>
              <a:gd name="connsiteX4" fmla="*/ 7088673 w 7467663"/>
              <a:gd name="connsiteY4" fmla="*/ 6610396 h 6858000"/>
              <a:gd name="connsiteX5" fmla="*/ 7440138 w 7467663"/>
              <a:gd name="connsiteY5" fmla="*/ 6622648 h 6858000"/>
              <a:gd name="connsiteX6" fmla="*/ 7467600 w 7467663"/>
              <a:gd name="connsiteY6" fmla="*/ 6628217 h 6858000"/>
              <a:gd name="connsiteX7" fmla="*/ 7467600 w 7467663"/>
              <a:gd name="connsiteY7" fmla="*/ 6668575 h 6858000"/>
              <a:gd name="connsiteX8" fmla="*/ 7392322 w 7467663"/>
              <a:gd name="connsiteY8" fmla="*/ 6658238 h 6858000"/>
              <a:gd name="connsiteX9" fmla="*/ 7467600 w 7467663"/>
              <a:gd name="connsiteY9" fmla="*/ 6683873 h 6858000"/>
              <a:gd name="connsiteX10" fmla="*/ 7467600 w 7467663"/>
              <a:gd name="connsiteY10" fmla="*/ 6714215 h 6858000"/>
              <a:gd name="connsiteX11" fmla="*/ 7447383 w 7467663"/>
              <a:gd name="connsiteY11" fmla="*/ 6707202 h 6858000"/>
              <a:gd name="connsiteX12" fmla="*/ 7289862 w 7467663"/>
              <a:gd name="connsiteY12" fmla="*/ 6659827 h 6858000"/>
              <a:gd name="connsiteX13" fmla="*/ 7434024 w 7467663"/>
              <a:gd name="connsiteY13" fmla="*/ 6722130 h 6858000"/>
              <a:gd name="connsiteX14" fmla="*/ 7467600 w 7467663"/>
              <a:gd name="connsiteY14" fmla="*/ 6736157 h 6858000"/>
              <a:gd name="connsiteX15" fmla="*/ 7467600 w 7467663"/>
              <a:gd name="connsiteY15" fmla="*/ 6767913 h 6858000"/>
              <a:gd name="connsiteX16" fmla="*/ 7392158 w 7467663"/>
              <a:gd name="connsiteY16" fmla="*/ 6771365 h 6858000"/>
              <a:gd name="connsiteX17" fmla="*/ 7467600 w 7467663"/>
              <a:gd name="connsiteY17" fmla="*/ 6805948 h 6858000"/>
              <a:gd name="connsiteX18" fmla="*/ 7467600 w 7467663"/>
              <a:gd name="connsiteY18" fmla="*/ 6831490 h 6858000"/>
              <a:gd name="connsiteX19" fmla="*/ 7410696 w 7467663"/>
              <a:gd name="connsiteY19" fmla="*/ 6803861 h 6858000"/>
              <a:gd name="connsiteX20" fmla="*/ 7088673 w 7467663"/>
              <a:gd name="connsiteY20" fmla="*/ 6610396 h 6858000"/>
              <a:gd name="connsiteX21" fmla="*/ 1019354 w 7467663"/>
              <a:gd name="connsiteY21" fmla="*/ 6315006 h 6858000"/>
              <a:gd name="connsiteX22" fmla="*/ 441046 w 7467663"/>
              <a:gd name="connsiteY22" fmla="*/ 6691153 h 6858000"/>
              <a:gd name="connsiteX23" fmla="*/ 1019354 w 7467663"/>
              <a:gd name="connsiteY23" fmla="*/ 6315006 h 6858000"/>
              <a:gd name="connsiteX24" fmla="*/ 991680 w 7467663"/>
              <a:gd name="connsiteY24" fmla="*/ 6298413 h 6858000"/>
              <a:gd name="connsiteX25" fmla="*/ 409060 w 7467663"/>
              <a:gd name="connsiteY25" fmla="*/ 6671470 h 6858000"/>
              <a:gd name="connsiteX26" fmla="*/ 991680 w 7467663"/>
              <a:gd name="connsiteY26" fmla="*/ 6298413 h 6858000"/>
              <a:gd name="connsiteX27" fmla="*/ 103333 w 7467663"/>
              <a:gd name="connsiteY27" fmla="*/ 5699602 h 6858000"/>
              <a:gd name="connsiteX28" fmla="*/ 233938 w 7467663"/>
              <a:gd name="connsiteY28" fmla="*/ 5809416 h 6858000"/>
              <a:gd name="connsiteX29" fmla="*/ 883580 w 7467663"/>
              <a:gd name="connsiteY29" fmla="*/ 6180710 h 6858000"/>
              <a:gd name="connsiteX30" fmla="*/ 487337 w 7467663"/>
              <a:gd name="connsiteY30" fmla="*/ 5950182 h 6858000"/>
              <a:gd name="connsiteX31" fmla="*/ 354051 w 7467663"/>
              <a:gd name="connsiteY31" fmla="*/ 5854912 h 6858000"/>
              <a:gd name="connsiteX32" fmla="*/ 195436 w 7467663"/>
              <a:gd name="connsiteY32" fmla="*/ 5755068 h 6858000"/>
              <a:gd name="connsiteX33" fmla="*/ 103333 w 7467663"/>
              <a:gd name="connsiteY33" fmla="*/ 5699602 h 6858000"/>
              <a:gd name="connsiteX34" fmla="*/ 5539432 w 7467663"/>
              <a:gd name="connsiteY34" fmla="*/ 5642928 h 6858000"/>
              <a:gd name="connsiteX35" fmla="*/ 5555462 w 7467663"/>
              <a:gd name="connsiteY35" fmla="*/ 5694454 h 6858000"/>
              <a:gd name="connsiteX36" fmla="*/ 5828270 w 7467663"/>
              <a:gd name="connsiteY36" fmla="*/ 6320663 h 6858000"/>
              <a:gd name="connsiteX37" fmla="*/ 5947416 w 7467663"/>
              <a:gd name="connsiteY37" fmla="*/ 6574846 h 6858000"/>
              <a:gd name="connsiteX38" fmla="*/ 5539432 w 7467663"/>
              <a:gd name="connsiteY38" fmla="*/ 5642928 h 6858000"/>
              <a:gd name="connsiteX39" fmla="*/ 51253 w 7467663"/>
              <a:gd name="connsiteY39" fmla="*/ 5631825 h 6858000"/>
              <a:gd name="connsiteX40" fmla="*/ 211622 w 7467663"/>
              <a:gd name="connsiteY40" fmla="*/ 5728803 h 6858000"/>
              <a:gd name="connsiteX41" fmla="*/ 371652 w 7467663"/>
              <a:gd name="connsiteY41" fmla="*/ 5829062 h 6858000"/>
              <a:gd name="connsiteX42" fmla="*/ 505903 w 7467663"/>
              <a:gd name="connsiteY42" fmla="*/ 5925221 h 6858000"/>
              <a:gd name="connsiteX43" fmla="*/ 899240 w 7467663"/>
              <a:gd name="connsiteY43" fmla="*/ 6153068 h 6858000"/>
              <a:gd name="connsiteX44" fmla="*/ 988114 w 7467663"/>
              <a:gd name="connsiteY44" fmla="*/ 6174204 h 6858000"/>
              <a:gd name="connsiteX45" fmla="*/ 845971 w 7467663"/>
              <a:gd name="connsiteY45" fmla="*/ 6067177 h 6858000"/>
              <a:gd name="connsiteX46" fmla="*/ 448057 w 7467663"/>
              <a:gd name="connsiteY46" fmla="*/ 5841376 h 6858000"/>
              <a:gd name="connsiteX47" fmla="*/ 51253 w 7467663"/>
              <a:gd name="connsiteY47" fmla="*/ 5631825 h 6858000"/>
              <a:gd name="connsiteX48" fmla="*/ 2606687 w 7467663"/>
              <a:gd name="connsiteY48" fmla="*/ 5630718 h 6858000"/>
              <a:gd name="connsiteX49" fmla="*/ 2645658 w 7467663"/>
              <a:gd name="connsiteY49" fmla="*/ 6640259 h 6858000"/>
              <a:gd name="connsiteX50" fmla="*/ 2606687 w 7467663"/>
              <a:gd name="connsiteY50" fmla="*/ 5630718 h 6858000"/>
              <a:gd name="connsiteX51" fmla="*/ 3642057 w 7467663"/>
              <a:gd name="connsiteY51" fmla="*/ 5573487 h 6858000"/>
              <a:gd name="connsiteX52" fmla="*/ 3632981 w 7467663"/>
              <a:gd name="connsiteY52" fmla="*/ 5579437 h 6858000"/>
              <a:gd name="connsiteX53" fmla="*/ 3382436 w 7467663"/>
              <a:gd name="connsiteY53" fmla="*/ 5952726 h 6858000"/>
              <a:gd name="connsiteX54" fmla="*/ 3191929 w 7467663"/>
              <a:gd name="connsiteY54" fmla="*/ 6662669 h 6858000"/>
              <a:gd name="connsiteX55" fmla="*/ 3369898 w 7467663"/>
              <a:gd name="connsiteY55" fmla="*/ 6081771 h 6858000"/>
              <a:gd name="connsiteX56" fmla="*/ 3642057 w 7467663"/>
              <a:gd name="connsiteY56" fmla="*/ 5573487 h 6858000"/>
              <a:gd name="connsiteX57" fmla="*/ 2650666 w 7467663"/>
              <a:gd name="connsiteY57" fmla="*/ 5530686 h 6858000"/>
              <a:gd name="connsiteX58" fmla="*/ 2650249 w 7467663"/>
              <a:gd name="connsiteY58" fmla="*/ 5532101 h 6858000"/>
              <a:gd name="connsiteX59" fmla="*/ 2663808 w 7467663"/>
              <a:gd name="connsiteY59" fmla="*/ 6535215 h 6858000"/>
              <a:gd name="connsiteX60" fmla="*/ 2665418 w 7467663"/>
              <a:gd name="connsiteY60" fmla="*/ 6132756 h 6858000"/>
              <a:gd name="connsiteX61" fmla="*/ 2650666 w 7467663"/>
              <a:gd name="connsiteY61" fmla="*/ 5530686 h 6858000"/>
              <a:gd name="connsiteX62" fmla="*/ 2680277 w 7467663"/>
              <a:gd name="connsiteY62" fmla="*/ 5479204 h 6858000"/>
              <a:gd name="connsiteX63" fmla="*/ 2678972 w 7467663"/>
              <a:gd name="connsiteY63" fmla="*/ 5481582 h 6858000"/>
              <a:gd name="connsiteX64" fmla="*/ 2696666 w 7467663"/>
              <a:gd name="connsiteY64" fmla="*/ 6133836 h 6858000"/>
              <a:gd name="connsiteX65" fmla="*/ 2695769 w 7467663"/>
              <a:gd name="connsiteY65" fmla="*/ 6390955 h 6858000"/>
              <a:gd name="connsiteX66" fmla="*/ 2739893 w 7467663"/>
              <a:gd name="connsiteY66" fmla="*/ 6108357 h 6858000"/>
              <a:gd name="connsiteX67" fmla="*/ 2680277 w 7467663"/>
              <a:gd name="connsiteY67" fmla="*/ 5479204 h 6858000"/>
              <a:gd name="connsiteX68" fmla="*/ 1132195 w 7467663"/>
              <a:gd name="connsiteY68" fmla="*/ 5467980 h 6858000"/>
              <a:gd name="connsiteX69" fmla="*/ 1679056 w 7467663"/>
              <a:gd name="connsiteY69" fmla="*/ 5516907 h 6858000"/>
              <a:gd name="connsiteX70" fmla="*/ 2128648 w 7467663"/>
              <a:gd name="connsiteY70" fmla="*/ 5474249 h 6858000"/>
              <a:gd name="connsiteX71" fmla="*/ 1825619 w 7467663"/>
              <a:gd name="connsiteY71" fmla="*/ 5478447 h 6858000"/>
              <a:gd name="connsiteX72" fmla="*/ 1737798 w 7467663"/>
              <a:gd name="connsiteY72" fmla="*/ 5483353 h 6858000"/>
              <a:gd name="connsiteX73" fmla="*/ 1132195 w 7467663"/>
              <a:gd name="connsiteY73" fmla="*/ 5467980 h 6858000"/>
              <a:gd name="connsiteX74" fmla="*/ 7454976 w 7467663"/>
              <a:gd name="connsiteY74" fmla="*/ 6318297 h 6858000"/>
              <a:gd name="connsiteX75" fmla="*/ 7467600 w 7467663"/>
              <a:gd name="connsiteY75" fmla="*/ 6163634 h 6858000"/>
              <a:gd name="connsiteX76" fmla="*/ 7448321 w 7467663"/>
              <a:gd name="connsiteY76" fmla="*/ 6190991 h 6858000"/>
              <a:gd name="connsiteX77" fmla="*/ 7467600 w 7467663"/>
              <a:gd name="connsiteY77" fmla="*/ 6221686 h 6858000"/>
              <a:gd name="connsiteX78" fmla="*/ 7467600 w 7467663"/>
              <a:gd name="connsiteY78" fmla="*/ 6334256 h 6858000"/>
              <a:gd name="connsiteX79" fmla="*/ 7454976 w 7467663"/>
              <a:gd name="connsiteY79" fmla="*/ 6318297 h 6858000"/>
              <a:gd name="connsiteX80" fmla="*/ 1456157 w 7467663"/>
              <a:gd name="connsiteY80" fmla="*/ 5371404 h 6858000"/>
              <a:gd name="connsiteX81" fmla="*/ 1244432 w 7467663"/>
              <a:gd name="connsiteY81" fmla="*/ 5385601 h 6858000"/>
              <a:gd name="connsiteX82" fmla="*/ 973990 w 7467663"/>
              <a:gd name="connsiteY82" fmla="*/ 5424940 h 6858000"/>
              <a:gd name="connsiteX83" fmla="*/ 1103809 w 7467663"/>
              <a:gd name="connsiteY83" fmla="*/ 5433720 h 6858000"/>
              <a:gd name="connsiteX84" fmla="*/ 1123454 w 7467663"/>
              <a:gd name="connsiteY84" fmla="*/ 5435727 h 6858000"/>
              <a:gd name="connsiteX85" fmla="*/ 1737017 w 7467663"/>
              <a:gd name="connsiteY85" fmla="*/ 5452183 h 6858000"/>
              <a:gd name="connsiteX86" fmla="*/ 1824397 w 7467663"/>
              <a:gd name="connsiteY86" fmla="*/ 5447757 h 6858000"/>
              <a:gd name="connsiteX87" fmla="*/ 2070059 w 7467663"/>
              <a:gd name="connsiteY87" fmla="*/ 5441660 h 6858000"/>
              <a:gd name="connsiteX88" fmla="*/ 1456157 w 7467663"/>
              <a:gd name="connsiteY88" fmla="*/ 5371404 h 6858000"/>
              <a:gd name="connsiteX89" fmla="*/ 4988186 w 7467663"/>
              <a:gd name="connsiteY89" fmla="*/ 5216467 h 6858000"/>
              <a:gd name="connsiteX90" fmla="*/ 4777334 w 7467663"/>
              <a:gd name="connsiteY90" fmla="*/ 5406072 h 6858000"/>
              <a:gd name="connsiteX91" fmla="*/ 4718341 w 7467663"/>
              <a:gd name="connsiteY91" fmla="*/ 5468043 h 6858000"/>
              <a:gd name="connsiteX92" fmla="*/ 4604655 w 7467663"/>
              <a:gd name="connsiteY92" fmla="*/ 5583434 h 6858000"/>
              <a:gd name="connsiteX93" fmla="*/ 4565074 w 7467663"/>
              <a:gd name="connsiteY93" fmla="*/ 5618550 h 6858000"/>
              <a:gd name="connsiteX94" fmla="*/ 4988186 w 7467663"/>
              <a:gd name="connsiteY94" fmla="*/ 5216467 h 6858000"/>
              <a:gd name="connsiteX95" fmla="*/ 4978032 w 7467663"/>
              <a:gd name="connsiteY95" fmla="*/ 5183809 h 6858000"/>
              <a:gd name="connsiteX96" fmla="*/ 4463413 w 7467663"/>
              <a:gd name="connsiteY96" fmla="*/ 5615162 h 6858000"/>
              <a:gd name="connsiteX97" fmla="*/ 4358134 w 7467663"/>
              <a:gd name="connsiteY97" fmla="*/ 5742791 h 6858000"/>
              <a:gd name="connsiteX98" fmla="*/ 4376219 w 7467663"/>
              <a:gd name="connsiteY98" fmla="*/ 5729027 h 6858000"/>
              <a:gd name="connsiteX99" fmla="*/ 4582340 w 7467663"/>
              <a:gd name="connsiteY99" fmla="*/ 5561037 h 6858000"/>
              <a:gd name="connsiteX100" fmla="*/ 4694684 w 7467663"/>
              <a:gd name="connsiteY100" fmla="*/ 5447098 h 6858000"/>
              <a:gd name="connsiteX101" fmla="*/ 4754123 w 7467663"/>
              <a:gd name="connsiteY101" fmla="*/ 5384643 h 6858000"/>
              <a:gd name="connsiteX102" fmla="*/ 4978032 w 7467663"/>
              <a:gd name="connsiteY102" fmla="*/ 5183809 h 6858000"/>
              <a:gd name="connsiteX103" fmla="*/ 1903353 w 7467663"/>
              <a:gd name="connsiteY103" fmla="*/ 5044827 h 6858000"/>
              <a:gd name="connsiteX104" fmla="*/ 1936931 w 7467663"/>
              <a:gd name="connsiteY104" fmla="*/ 5093954 h 6858000"/>
              <a:gd name="connsiteX105" fmla="*/ 2195868 w 7467663"/>
              <a:gd name="connsiteY105" fmla="*/ 5396574 h 6858000"/>
              <a:gd name="connsiteX106" fmla="*/ 2088852 w 7467663"/>
              <a:gd name="connsiteY106" fmla="*/ 5166123 h 6858000"/>
              <a:gd name="connsiteX107" fmla="*/ 1958241 w 7467663"/>
              <a:gd name="connsiteY107" fmla="*/ 5067955 h 6858000"/>
              <a:gd name="connsiteX108" fmla="*/ 1903353 w 7467663"/>
              <a:gd name="connsiteY108" fmla="*/ 5044827 h 6858000"/>
              <a:gd name="connsiteX109" fmla="*/ 1979378 w 7467663"/>
              <a:gd name="connsiteY109" fmla="*/ 4769504 h 6858000"/>
              <a:gd name="connsiteX110" fmla="*/ 2882120 w 7467663"/>
              <a:gd name="connsiteY110" fmla="*/ 5064547 h 6858000"/>
              <a:gd name="connsiteX111" fmla="*/ 2793103 w 7467663"/>
              <a:gd name="connsiteY111" fmla="*/ 5039699 h 6858000"/>
              <a:gd name="connsiteX112" fmla="*/ 2770041 w 7467663"/>
              <a:gd name="connsiteY112" fmla="*/ 5033634 h 6858000"/>
              <a:gd name="connsiteX113" fmla="*/ 1979378 w 7467663"/>
              <a:gd name="connsiteY113" fmla="*/ 4769504 h 6858000"/>
              <a:gd name="connsiteX114" fmla="*/ 1927410 w 7467663"/>
              <a:gd name="connsiteY114" fmla="*/ 4716164 h 6858000"/>
              <a:gd name="connsiteX115" fmla="*/ 1959587 w 7467663"/>
              <a:gd name="connsiteY115" fmla="*/ 4728849 h 6858000"/>
              <a:gd name="connsiteX116" fmla="*/ 2777707 w 7467663"/>
              <a:gd name="connsiteY116" fmla="*/ 5003991 h 6858000"/>
              <a:gd name="connsiteX117" fmla="*/ 2800768 w 7467663"/>
              <a:gd name="connsiteY117" fmla="*/ 5010056 h 6858000"/>
              <a:gd name="connsiteX118" fmla="*/ 2879408 w 7467663"/>
              <a:gd name="connsiteY118" fmla="*/ 5031590 h 6858000"/>
              <a:gd name="connsiteX119" fmla="*/ 2862295 w 7467663"/>
              <a:gd name="connsiteY119" fmla="*/ 5022958 h 6858000"/>
              <a:gd name="connsiteX120" fmla="*/ 2813343 w 7467663"/>
              <a:gd name="connsiteY120" fmla="*/ 4998369 h 6858000"/>
              <a:gd name="connsiteX121" fmla="*/ 2646245 w 7467663"/>
              <a:gd name="connsiteY121" fmla="*/ 4930999 h 6858000"/>
              <a:gd name="connsiteX122" fmla="*/ 1999243 w 7467663"/>
              <a:gd name="connsiteY122" fmla="*/ 4730524 h 6858000"/>
              <a:gd name="connsiteX123" fmla="*/ 1979527 w 7467663"/>
              <a:gd name="connsiteY123" fmla="*/ 4726651 h 6858000"/>
              <a:gd name="connsiteX124" fmla="*/ 1927410 w 7467663"/>
              <a:gd name="connsiteY124" fmla="*/ 4716164 h 6858000"/>
              <a:gd name="connsiteX125" fmla="*/ 1997014 w 7467663"/>
              <a:gd name="connsiteY125" fmla="*/ 4698007 h 6858000"/>
              <a:gd name="connsiteX126" fmla="*/ 2005458 w 7467663"/>
              <a:gd name="connsiteY126" fmla="*/ 4699540 h 6858000"/>
              <a:gd name="connsiteX127" fmla="*/ 2657186 w 7467663"/>
              <a:gd name="connsiteY127" fmla="*/ 4901687 h 6858000"/>
              <a:gd name="connsiteX128" fmla="*/ 2826662 w 7467663"/>
              <a:gd name="connsiteY128" fmla="*/ 4970362 h 6858000"/>
              <a:gd name="connsiteX129" fmla="*/ 2876100 w 7467663"/>
              <a:gd name="connsiteY129" fmla="*/ 4995397 h 6858000"/>
              <a:gd name="connsiteX130" fmla="*/ 3042600 w 7467663"/>
              <a:gd name="connsiteY130" fmla="*/ 5059532 h 6858000"/>
              <a:gd name="connsiteX131" fmla="*/ 1997014 w 7467663"/>
              <a:gd name="connsiteY131" fmla="*/ 4698007 h 6858000"/>
              <a:gd name="connsiteX132" fmla="*/ 2305292 w 7467663"/>
              <a:gd name="connsiteY132" fmla="*/ 4219492 h 6858000"/>
              <a:gd name="connsiteX133" fmla="*/ 3360922 w 7467663"/>
              <a:gd name="connsiteY133" fmla="*/ 4529373 h 6858000"/>
              <a:gd name="connsiteX134" fmla="*/ 3492420 w 7467663"/>
              <a:gd name="connsiteY134" fmla="*/ 4510145 h 6858000"/>
              <a:gd name="connsiteX135" fmla="*/ 3364086 w 7467663"/>
              <a:gd name="connsiteY135" fmla="*/ 4480340 h 6858000"/>
              <a:gd name="connsiteX136" fmla="*/ 3225818 w 7467663"/>
              <a:gd name="connsiteY136" fmla="*/ 4411822 h 6858000"/>
              <a:gd name="connsiteX137" fmla="*/ 3129696 w 7467663"/>
              <a:gd name="connsiteY137" fmla="*/ 4360704 h 6858000"/>
              <a:gd name="connsiteX138" fmla="*/ 2814545 w 7467663"/>
              <a:gd name="connsiteY138" fmla="*/ 4282955 h 6858000"/>
              <a:gd name="connsiteX139" fmla="*/ 2305292 w 7467663"/>
              <a:gd name="connsiteY139" fmla="*/ 4219492 h 6858000"/>
              <a:gd name="connsiteX140" fmla="*/ 2626982 w 7467663"/>
              <a:gd name="connsiteY140" fmla="*/ 4206450 h 6858000"/>
              <a:gd name="connsiteX141" fmla="*/ 2490617 w 7467663"/>
              <a:gd name="connsiteY141" fmla="*/ 4206951 h 6858000"/>
              <a:gd name="connsiteX142" fmla="*/ 2819869 w 7467663"/>
              <a:gd name="connsiteY142" fmla="*/ 4252936 h 6858000"/>
              <a:gd name="connsiteX143" fmla="*/ 3143018 w 7467663"/>
              <a:gd name="connsiteY143" fmla="*/ 4332698 h 6858000"/>
              <a:gd name="connsiteX144" fmla="*/ 3241520 w 7467663"/>
              <a:gd name="connsiteY144" fmla="*/ 4385112 h 6858000"/>
              <a:gd name="connsiteX145" fmla="*/ 3374575 w 7467663"/>
              <a:gd name="connsiteY145" fmla="*/ 4451517 h 6858000"/>
              <a:gd name="connsiteX146" fmla="*/ 3505221 w 7467663"/>
              <a:gd name="connsiteY146" fmla="*/ 4480757 h 6858000"/>
              <a:gd name="connsiteX147" fmla="*/ 2626982 w 7467663"/>
              <a:gd name="connsiteY147" fmla="*/ 4206450 h 6858000"/>
              <a:gd name="connsiteX148" fmla="*/ 1310106 w 7467663"/>
              <a:gd name="connsiteY148" fmla="*/ 3943217 h 6858000"/>
              <a:gd name="connsiteX149" fmla="*/ 854994 w 7467663"/>
              <a:gd name="connsiteY149" fmla="*/ 4399136 h 6858000"/>
              <a:gd name="connsiteX150" fmla="*/ 742462 w 7467663"/>
              <a:gd name="connsiteY150" fmla="*/ 4594648 h 6858000"/>
              <a:gd name="connsiteX151" fmla="*/ 820602 w 7467663"/>
              <a:gd name="connsiteY151" fmla="*/ 4485915 h 6858000"/>
              <a:gd name="connsiteX152" fmla="*/ 878295 w 7467663"/>
              <a:gd name="connsiteY152" fmla="*/ 4403594 h 6858000"/>
              <a:gd name="connsiteX153" fmla="*/ 1240607 w 7467663"/>
              <a:gd name="connsiteY153" fmla="*/ 4010401 h 6858000"/>
              <a:gd name="connsiteX154" fmla="*/ 1310106 w 7467663"/>
              <a:gd name="connsiteY154" fmla="*/ 3943217 h 6858000"/>
              <a:gd name="connsiteX155" fmla="*/ 1423113 w 7467663"/>
              <a:gd name="connsiteY155" fmla="*/ 3874565 h 6858000"/>
              <a:gd name="connsiteX156" fmla="*/ 1260565 w 7467663"/>
              <a:gd name="connsiteY156" fmla="*/ 4031982 h 6858000"/>
              <a:gd name="connsiteX157" fmla="*/ 901900 w 7467663"/>
              <a:gd name="connsiteY157" fmla="*/ 4421236 h 6858000"/>
              <a:gd name="connsiteX158" fmla="*/ 845044 w 7467663"/>
              <a:gd name="connsiteY158" fmla="*/ 4502436 h 6858000"/>
              <a:gd name="connsiteX159" fmla="*/ 685926 w 7467663"/>
              <a:gd name="connsiteY159" fmla="*/ 4703069 h 6858000"/>
              <a:gd name="connsiteX160" fmla="*/ 684248 w 7467663"/>
              <a:gd name="connsiteY160" fmla="*/ 4706721 h 6858000"/>
              <a:gd name="connsiteX161" fmla="*/ 1423113 w 7467663"/>
              <a:gd name="connsiteY161" fmla="*/ 3874565 h 6858000"/>
              <a:gd name="connsiteX162" fmla="*/ 3316479 w 7467663"/>
              <a:gd name="connsiteY162" fmla="*/ 3872136 h 6858000"/>
              <a:gd name="connsiteX163" fmla="*/ 3546806 w 7467663"/>
              <a:gd name="connsiteY163" fmla="*/ 4356139 h 6858000"/>
              <a:gd name="connsiteX164" fmla="*/ 3364433 w 7467663"/>
              <a:gd name="connsiteY164" fmla="*/ 3953121 h 6858000"/>
              <a:gd name="connsiteX165" fmla="*/ 3316479 w 7467663"/>
              <a:gd name="connsiteY165" fmla="*/ 3872136 h 6858000"/>
              <a:gd name="connsiteX166" fmla="*/ 3291335 w 7467663"/>
              <a:gd name="connsiteY166" fmla="*/ 3767420 h 6858000"/>
              <a:gd name="connsiteX167" fmla="*/ 3390805 w 7467663"/>
              <a:gd name="connsiteY167" fmla="*/ 3937163 h 6858000"/>
              <a:gd name="connsiteX168" fmla="*/ 3579062 w 7467663"/>
              <a:gd name="connsiteY168" fmla="*/ 4359040 h 6858000"/>
              <a:gd name="connsiteX169" fmla="*/ 3467355 w 7467663"/>
              <a:gd name="connsiteY169" fmla="*/ 3988130 h 6858000"/>
              <a:gd name="connsiteX170" fmla="*/ 3310753 w 7467663"/>
              <a:gd name="connsiteY170" fmla="*/ 3787140 h 6858000"/>
              <a:gd name="connsiteX171" fmla="*/ 3291335 w 7467663"/>
              <a:gd name="connsiteY171" fmla="*/ 3767420 h 6858000"/>
              <a:gd name="connsiteX172" fmla="*/ 1635889 w 7467663"/>
              <a:gd name="connsiteY172" fmla="*/ 3709494 h 6858000"/>
              <a:gd name="connsiteX173" fmla="*/ 1634800 w 7467663"/>
              <a:gd name="connsiteY173" fmla="*/ 3731111 h 6858000"/>
              <a:gd name="connsiteX174" fmla="*/ 1635889 w 7467663"/>
              <a:gd name="connsiteY174" fmla="*/ 3709494 h 6858000"/>
              <a:gd name="connsiteX175" fmla="*/ 1510397 w 7467663"/>
              <a:gd name="connsiteY175" fmla="*/ 3684705 h 6858000"/>
              <a:gd name="connsiteX176" fmla="*/ 1146550 w 7467663"/>
              <a:gd name="connsiteY176" fmla="*/ 3802012 h 6858000"/>
              <a:gd name="connsiteX177" fmla="*/ 698834 w 7467663"/>
              <a:gd name="connsiteY177" fmla="*/ 3952272 h 6858000"/>
              <a:gd name="connsiteX178" fmla="*/ 34256 w 7467663"/>
              <a:gd name="connsiteY178" fmla="*/ 4347603 h 6858000"/>
              <a:gd name="connsiteX179" fmla="*/ 527241 w 7467663"/>
              <a:gd name="connsiteY179" fmla="*/ 4065078 h 6858000"/>
              <a:gd name="connsiteX180" fmla="*/ 1510397 w 7467663"/>
              <a:gd name="connsiteY180" fmla="*/ 3684705 h 6858000"/>
              <a:gd name="connsiteX181" fmla="*/ 1313114 w 7467663"/>
              <a:gd name="connsiteY181" fmla="*/ 3655216 h 6858000"/>
              <a:gd name="connsiteX182" fmla="*/ 1109304 w 7467663"/>
              <a:gd name="connsiteY182" fmla="*/ 3669030 h 6858000"/>
              <a:gd name="connsiteX183" fmla="*/ 8129 w 7467663"/>
              <a:gd name="connsiteY183" fmla="*/ 4330519 h 6858000"/>
              <a:gd name="connsiteX184" fmla="*/ 687572 w 7467663"/>
              <a:gd name="connsiteY184" fmla="*/ 3925629 h 6858000"/>
              <a:gd name="connsiteX185" fmla="*/ 1138365 w 7467663"/>
              <a:gd name="connsiteY185" fmla="*/ 3774515 h 6858000"/>
              <a:gd name="connsiteX186" fmla="*/ 1505579 w 7467663"/>
              <a:gd name="connsiteY186" fmla="*/ 3655526 h 6858000"/>
              <a:gd name="connsiteX187" fmla="*/ 1313114 w 7467663"/>
              <a:gd name="connsiteY187" fmla="*/ 3655216 h 6858000"/>
              <a:gd name="connsiteX188" fmla="*/ 3655073 w 7467663"/>
              <a:gd name="connsiteY188" fmla="*/ 3650884 h 6858000"/>
              <a:gd name="connsiteX189" fmla="*/ 3989938 w 7467663"/>
              <a:gd name="connsiteY189" fmla="*/ 3991685 h 6858000"/>
              <a:gd name="connsiteX190" fmla="*/ 4393907 w 7467663"/>
              <a:gd name="connsiteY190" fmla="*/ 4261258 h 6858000"/>
              <a:gd name="connsiteX191" fmla="*/ 4648051 w 7467663"/>
              <a:gd name="connsiteY191" fmla="*/ 4374051 h 6858000"/>
              <a:gd name="connsiteX192" fmla="*/ 4383389 w 7467663"/>
              <a:gd name="connsiteY192" fmla="*/ 4184369 h 6858000"/>
              <a:gd name="connsiteX193" fmla="*/ 4165508 w 7467663"/>
              <a:gd name="connsiteY193" fmla="*/ 4035196 h 6858000"/>
              <a:gd name="connsiteX194" fmla="*/ 4068162 w 7467663"/>
              <a:gd name="connsiteY194" fmla="*/ 3953394 h 6858000"/>
              <a:gd name="connsiteX195" fmla="*/ 3981416 w 7467663"/>
              <a:gd name="connsiteY195" fmla="*/ 3880482 h 6858000"/>
              <a:gd name="connsiteX196" fmla="*/ 3800147 w 7467663"/>
              <a:gd name="connsiteY196" fmla="*/ 3749872 h 6858000"/>
              <a:gd name="connsiteX197" fmla="*/ 3655073 w 7467663"/>
              <a:gd name="connsiteY197" fmla="*/ 3650884 h 6858000"/>
              <a:gd name="connsiteX198" fmla="*/ 3670252 w 7467663"/>
              <a:gd name="connsiteY198" fmla="*/ 3622798 h 6858000"/>
              <a:gd name="connsiteX199" fmla="*/ 3817258 w 7467663"/>
              <a:gd name="connsiteY199" fmla="*/ 3723577 h 6858000"/>
              <a:gd name="connsiteX200" fmla="*/ 4000461 w 7467663"/>
              <a:gd name="connsiteY200" fmla="*/ 3855966 h 6858000"/>
              <a:gd name="connsiteX201" fmla="*/ 4088180 w 7467663"/>
              <a:gd name="connsiteY201" fmla="*/ 3929774 h 6858000"/>
              <a:gd name="connsiteX202" fmla="*/ 4184555 w 7467663"/>
              <a:gd name="connsiteY202" fmla="*/ 4010683 h 6858000"/>
              <a:gd name="connsiteX203" fmla="*/ 4399563 w 7467663"/>
              <a:gd name="connsiteY203" fmla="*/ 4158106 h 6858000"/>
              <a:gd name="connsiteX204" fmla="*/ 4684469 w 7467663"/>
              <a:gd name="connsiteY204" fmla="*/ 4364680 h 6858000"/>
              <a:gd name="connsiteX205" fmla="*/ 4690271 w 7467663"/>
              <a:gd name="connsiteY205" fmla="*/ 4370034 h 6858000"/>
              <a:gd name="connsiteX206" fmla="*/ 4136093 w 7467663"/>
              <a:gd name="connsiteY206" fmla="*/ 3858466 h 6858000"/>
              <a:gd name="connsiteX207" fmla="*/ 3670252 w 7467663"/>
              <a:gd name="connsiteY207" fmla="*/ 3622798 h 6858000"/>
              <a:gd name="connsiteX208" fmla="*/ 4440129 w 7467663"/>
              <a:gd name="connsiteY208" fmla="*/ 3448571 h 6858000"/>
              <a:gd name="connsiteX209" fmla="*/ 4856525 w 7467663"/>
              <a:gd name="connsiteY209" fmla="*/ 3915351 h 6858000"/>
              <a:gd name="connsiteX210" fmla="*/ 5059055 w 7467663"/>
              <a:gd name="connsiteY210" fmla="*/ 4108918 h 6858000"/>
              <a:gd name="connsiteX211" fmla="*/ 5290070 w 7467663"/>
              <a:gd name="connsiteY211" fmla="*/ 4263619 h 6858000"/>
              <a:gd name="connsiteX212" fmla="*/ 4834991 w 7467663"/>
              <a:gd name="connsiteY212" fmla="*/ 3830985 h 6858000"/>
              <a:gd name="connsiteX213" fmla="*/ 4440129 w 7467663"/>
              <a:gd name="connsiteY213" fmla="*/ 3448571 h 6858000"/>
              <a:gd name="connsiteX214" fmla="*/ 4441737 w 7467663"/>
              <a:gd name="connsiteY214" fmla="*/ 3399734 h 6858000"/>
              <a:gd name="connsiteX215" fmla="*/ 4431236 w 7467663"/>
              <a:gd name="connsiteY215" fmla="*/ 3400954 h 6858000"/>
              <a:gd name="connsiteX216" fmla="*/ 4557150 w 7467663"/>
              <a:gd name="connsiteY216" fmla="*/ 3510023 h 6858000"/>
              <a:gd name="connsiteX217" fmla="*/ 4856936 w 7467663"/>
              <a:gd name="connsiteY217" fmla="*/ 3809146 h 6858000"/>
              <a:gd name="connsiteX218" fmla="*/ 5111996 w 7467663"/>
              <a:gd name="connsiteY218" fmla="*/ 4065759 h 6858000"/>
              <a:gd name="connsiteX219" fmla="*/ 5388878 w 7467663"/>
              <a:gd name="connsiteY219" fmla="*/ 4300185 h 6858000"/>
              <a:gd name="connsiteX220" fmla="*/ 5425556 w 7467663"/>
              <a:gd name="connsiteY220" fmla="*/ 4308967 h 6858000"/>
              <a:gd name="connsiteX221" fmla="*/ 4943646 w 7467663"/>
              <a:gd name="connsiteY221" fmla="*/ 3822916 h 6858000"/>
              <a:gd name="connsiteX222" fmla="*/ 4594837 w 7467663"/>
              <a:gd name="connsiteY222" fmla="*/ 3532274 h 6858000"/>
              <a:gd name="connsiteX223" fmla="*/ 4441737 w 7467663"/>
              <a:gd name="connsiteY223" fmla="*/ 3399734 h 6858000"/>
              <a:gd name="connsiteX224" fmla="*/ 5425834 w 7467663"/>
              <a:gd name="connsiteY224" fmla="*/ 3162785 h 6858000"/>
              <a:gd name="connsiteX225" fmla="*/ 5401644 w 7467663"/>
              <a:gd name="connsiteY225" fmla="*/ 3617847 h 6858000"/>
              <a:gd name="connsiteX226" fmla="*/ 5467256 w 7467663"/>
              <a:gd name="connsiteY226" fmla="*/ 4175494 h 6858000"/>
              <a:gd name="connsiteX227" fmla="*/ 5448069 w 7467663"/>
              <a:gd name="connsiteY227" fmla="*/ 3567554 h 6858000"/>
              <a:gd name="connsiteX228" fmla="*/ 5425834 w 7467663"/>
              <a:gd name="connsiteY228" fmla="*/ 3162785 h 6858000"/>
              <a:gd name="connsiteX229" fmla="*/ 1318687 w 7467663"/>
              <a:gd name="connsiteY229" fmla="*/ 3113840 h 6858000"/>
              <a:gd name="connsiteX230" fmla="*/ 1066793 w 7467663"/>
              <a:gd name="connsiteY230" fmla="*/ 3212171 h 6858000"/>
              <a:gd name="connsiteX231" fmla="*/ 993319 w 7467663"/>
              <a:gd name="connsiteY231" fmla="*/ 3247648 h 6858000"/>
              <a:gd name="connsiteX232" fmla="*/ 853081 w 7467663"/>
              <a:gd name="connsiteY232" fmla="*/ 3312410 h 6858000"/>
              <a:gd name="connsiteX233" fmla="*/ 805957 w 7467663"/>
              <a:gd name="connsiteY233" fmla="*/ 3330443 h 6858000"/>
              <a:gd name="connsiteX234" fmla="*/ 1318687 w 7467663"/>
              <a:gd name="connsiteY234" fmla="*/ 3113840 h 6858000"/>
              <a:gd name="connsiteX235" fmla="*/ 5453702 w 7467663"/>
              <a:gd name="connsiteY235" fmla="*/ 3090882 h 6858000"/>
              <a:gd name="connsiteX236" fmla="*/ 5480135 w 7467663"/>
              <a:gd name="connsiteY236" fmla="*/ 3565802 h 6858000"/>
              <a:gd name="connsiteX237" fmla="*/ 5499023 w 7467663"/>
              <a:gd name="connsiteY237" fmla="*/ 4166310 h 6858000"/>
              <a:gd name="connsiteX238" fmla="*/ 5547022 w 7467663"/>
              <a:gd name="connsiteY238" fmla="*/ 3607838 h 6858000"/>
              <a:gd name="connsiteX239" fmla="*/ 5515964 w 7467663"/>
              <a:gd name="connsiteY239" fmla="*/ 3378541 h 6858000"/>
              <a:gd name="connsiteX240" fmla="*/ 5453702 w 7467663"/>
              <a:gd name="connsiteY240" fmla="*/ 3090882 h 6858000"/>
              <a:gd name="connsiteX241" fmla="*/ 1238695 w 7467663"/>
              <a:gd name="connsiteY241" fmla="*/ 3076820 h 6858000"/>
              <a:gd name="connsiteX242" fmla="*/ 716371 w 7467663"/>
              <a:gd name="connsiteY242" fmla="*/ 3293249 h 6858000"/>
              <a:gd name="connsiteX243" fmla="*/ 579522 w 7467663"/>
              <a:gd name="connsiteY243" fmla="*/ 3371759 h 6858000"/>
              <a:gd name="connsiteX244" fmla="*/ 600288 w 7467663"/>
              <a:gd name="connsiteY244" fmla="*/ 3365555 h 6858000"/>
              <a:gd name="connsiteX245" fmla="*/ 840692 w 7467663"/>
              <a:gd name="connsiteY245" fmla="*/ 3284921 h 6858000"/>
              <a:gd name="connsiteX246" fmla="*/ 979248 w 7467663"/>
              <a:gd name="connsiteY246" fmla="*/ 3221003 h 6858000"/>
              <a:gd name="connsiteX247" fmla="*/ 1053282 w 7467663"/>
              <a:gd name="connsiteY247" fmla="*/ 3185247 h 6858000"/>
              <a:gd name="connsiteX248" fmla="*/ 1320603 w 7467663"/>
              <a:gd name="connsiteY248" fmla="*/ 3081281 h 6858000"/>
              <a:gd name="connsiteX249" fmla="*/ 1238695 w 7467663"/>
              <a:gd name="connsiteY249" fmla="*/ 3076820 h 6858000"/>
              <a:gd name="connsiteX250" fmla="*/ 5425627 w 7467663"/>
              <a:gd name="connsiteY250" fmla="*/ 2954192 h 6858000"/>
              <a:gd name="connsiteX251" fmla="*/ 5470770 w 7467663"/>
              <a:gd name="connsiteY251" fmla="*/ 3005435 h 6858000"/>
              <a:gd name="connsiteX252" fmla="*/ 5519779 w 7467663"/>
              <a:gd name="connsiteY252" fmla="*/ 4359223 h 6858000"/>
              <a:gd name="connsiteX253" fmla="*/ 5520293 w 7467663"/>
              <a:gd name="connsiteY253" fmla="*/ 4360602 h 6858000"/>
              <a:gd name="connsiteX254" fmla="*/ 5767221 w 7467663"/>
              <a:gd name="connsiteY254" fmla="*/ 4665564 h 6858000"/>
              <a:gd name="connsiteX255" fmla="*/ 6937169 w 7467663"/>
              <a:gd name="connsiteY255" fmla="*/ 4815941 h 6858000"/>
              <a:gd name="connsiteX256" fmla="*/ 6953922 w 7467663"/>
              <a:gd name="connsiteY256" fmla="*/ 4890068 h 6858000"/>
              <a:gd name="connsiteX257" fmla="*/ 6071359 w 7467663"/>
              <a:gd name="connsiteY257" fmla="*/ 4770770 h 6858000"/>
              <a:gd name="connsiteX258" fmla="*/ 6038839 w 7467663"/>
              <a:gd name="connsiteY258" fmla="*/ 4764474 h 6858000"/>
              <a:gd name="connsiteX259" fmla="*/ 6038706 w 7467663"/>
              <a:gd name="connsiteY259" fmla="*/ 4763847 h 6858000"/>
              <a:gd name="connsiteX260" fmla="*/ 6037784 w 7467663"/>
              <a:gd name="connsiteY260" fmla="*/ 4764270 h 6858000"/>
              <a:gd name="connsiteX261" fmla="*/ 6038839 w 7467663"/>
              <a:gd name="connsiteY261" fmla="*/ 4764474 h 6858000"/>
              <a:gd name="connsiteX262" fmla="*/ 6040338 w 7467663"/>
              <a:gd name="connsiteY262" fmla="*/ 4771418 h 6858000"/>
              <a:gd name="connsiteX263" fmla="*/ 6024488 w 7467663"/>
              <a:gd name="connsiteY263" fmla="*/ 4809903 h 6858000"/>
              <a:gd name="connsiteX264" fmla="*/ 5599771 w 7467663"/>
              <a:gd name="connsiteY264" fmla="*/ 5509652 h 6858000"/>
              <a:gd name="connsiteX265" fmla="*/ 5548843 w 7467663"/>
              <a:gd name="connsiteY265" fmla="*/ 5563845 h 6858000"/>
              <a:gd name="connsiteX266" fmla="*/ 5940952 w 7467663"/>
              <a:gd name="connsiteY266" fmla="*/ 6250028 h 6858000"/>
              <a:gd name="connsiteX267" fmla="*/ 6043441 w 7467663"/>
              <a:gd name="connsiteY267" fmla="*/ 6665847 h 6858000"/>
              <a:gd name="connsiteX268" fmla="*/ 6093432 w 7467663"/>
              <a:gd name="connsiteY268" fmla="*/ 6858000 h 6858000"/>
              <a:gd name="connsiteX269" fmla="*/ 6034344 w 7467663"/>
              <a:gd name="connsiteY269" fmla="*/ 6858000 h 6858000"/>
              <a:gd name="connsiteX270" fmla="*/ 6026679 w 7467663"/>
              <a:gd name="connsiteY270" fmla="*/ 6836959 h 6858000"/>
              <a:gd name="connsiteX271" fmla="*/ 5800441 w 7467663"/>
              <a:gd name="connsiteY271" fmla="*/ 6335286 h 6858000"/>
              <a:gd name="connsiteX272" fmla="*/ 5526562 w 7467663"/>
              <a:gd name="connsiteY272" fmla="*/ 5705388 h 6858000"/>
              <a:gd name="connsiteX273" fmla="*/ 5519640 w 7467663"/>
              <a:gd name="connsiteY273" fmla="*/ 5683774 h 6858000"/>
              <a:gd name="connsiteX274" fmla="*/ 5844559 w 7467663"/>
              <a:gd name="connsiteY274" fmla="*/ 6553349 h 6858000"/>
              <a:gd name="connsiteX275" fmla="*/ 5975994 w 7467663"/>
              <a:gd name="connsiteY275" fmla="*/ 6858000 h 6858000"/>
              <a:gd name="connsiteX276" fmla="*/ 5898547 w 7467663"/>
              <a:gd name="connsiteY276" fmla="*/ 6858000 h 6858000"/>
              <a:gd name="connsiteX277" fmla="*/ 5682041 w 7467663"/>
              <a:gd name="connsiteY277" fmla="*/ 6355860 h 6858000"/>
              <a:gd name="connsiteX278" fmla="*/ 5461758 w 7467663"/>
              <a:gd name="connsiteY278" fmla="*/ 5820220 h 6858000"/>
              <a:gd name="connsiteX279" fmla="*/ 5237282 w 7467663"/>
              <a:gd name="connsiteY279" fmla="*/ 6579086 h 6858000"/>
              <a:gd name="connsiteX280" fmla="*/ 5115009 w 7467663"/>
              <a:gd name="connsiteY280" fmla="*/ 6858000 h 6858000"/>
              <a:gd name="connsiteX281" fmla="*/ 5028074 w 7467663"/>
              <a:gd name="connsiteY281" fmla="*/ 6858000 h 6858000"/>
              <a:gd name="connsiteX282" fmla="*/ 5079508 w 7467663"/>
              <a:gd name="connsiteY282" fmla="*/ 6749074 h 6858000"/>
              <a:gd name="connsiteX283" fmla="*/ 5371846 w 7467663"/>
              <a:gd name="connsiteY283" fmla="*/ 5924413 h 6858000"/>
              <a:gd name="connsiteX284" fmla="*/ 5270512 w 7467663"/>
              <a:gd name="connsiteY284" fmla="*/ 6138975 h 6858000"/>
              <a:gd name="connsiteX285" fmla="*/ 5062409 w 7467663"/>
              <a:gd name="connsiteY285" fmla="*/ 6653544 h 6858000"/>
              <a:gd name="connsiteX286" fmla="*/ 5036628 w 7467663"/>
              <a:gd name="connsiteY286" fmla="*/ 6754247 h 6858000"/>
              <a:gd name="connsiteX287" fmla="*/ 5009112 w 7467663"/>
              <a:gd name="connsiteY287" fmla="*/ 6858000 h 6858000"/>
              <a:gd name="connsiteX288" fmla="*/ 4976679 w 7467663"/>
              <a:gd name="connsiteY288" fmla="*/ 6858000 h 6858000"/>
              <a:gd name="connsiteX289" fmla="*/ 5006537 w 7467663"/>
              <a:gd name="connsiteY289" fmla="*/ 6747068 h 6858000"/>
              <a:gd name="connsiteX290" fmla="*/ 5032723 w 7467663"/>
              <a:gd name="connsiteY290" fmla="*/ 6644957 h 6858000"/>
              <a:gd name="connsiteX291" fmla="*/ 5242949 w 7467663"/>
              <a:gd name="connsiteY291" fmla="*/ 6125175 h 6858000"/>
              <a:gd name="connsiteX292" fmla="*/ 5286321 w 7467663"/>
              <a:gd name="connsiteY292" fmla="*/ 6033555 h 6858000"/>
              <a:gd name="connsiteX293" fmla="*/ 5008210 w 7467663"/>
              <a:gd name="connsiteY293" fmla="*/ 6649194 h 6858000"/>
              <a:gd name="connsiteX294" fmla="*/ 4986321 w 7467663"/>
              <a:gd name="connsiteY294" fmla="*/ 6765687 h 6858000"/>
              <a:gd name="connsiteX295" fmla="*/ 4973474 w 7467663"/>
              <a:gd name="connsiteY295" fmla="*/ 6858000 h 6858000"/>
              <a:gd name="connsiteX296" fmla="*/ 4907178 w 7467663"/>
              <a:gd name="connsiteY296" fmla="*/ 6858000 h 6858000"/>
              <a:gd name="connsiteX297" fmla="*/ 4910810 w 7467663"/>
              <a:gd name="connsiteY297" fmla="*/ 6829660 h 6858000"/>
              <a:gd name="connsiteX298" fmla="*/ 4987461 w 7467663"/>
              <a:gd name="connsiteY298" fmla="*/ 6432994 h 6858000"/>
              <a:gd name="connsiteX299" fmla="*/ 5179262 w 7467663"/>
              <a:gd name="connsiteY299" fmla="*/ 6035044 h 6858000"/>
              <a:gd name="connsiteX300" fmla="*/ 4689678 w 7467663"/>
              <a:gd name="connsiteY300" fmla="*/ 6440241 h 6858000"/>
              <a:gd name="connsiteX301" fmla="*/ 4477543 w 7467663"/>
              <a:gd name="connsiteY301" fmla="*/ 6674836 h 6858000"/>
              <a:gd name="connsiteX302" fmla="*/ 4329957 w 7467663"/>
              <a:gd name="connsiteY302" fmla="*/ 6858000 h 6858000"/>
              <a:gd name="connsiteX303" fmla="*/ 4218595 w 7467663"/>
              <a:gd name="connsiteY303" fmla="*/ 6858000 h 6858000"/>
              <a:gd name="connsiteX304" fmla="*/ 4368888 w 7467663"/>
              <a:gd name="connsiteY304" fmla="*/ 6668412 h 6858000"/>
              <a:gd name="connsiteX305" fmla="*/ 4563091 w 7467663"/>
              <a:gd name="connsiteY305" fmla="*/ 6442508 h 6858000"/>
              <a:gd name="connsiteX306" fmla="*/ 5387324 w 7467663"/>
              <a:gd name="connsiteY306" fmla="*/ 5705830 h 6858000"/>
              <a:gd name="connsiteX307" fmla="*/ 5073620 w 7467663"/>
              <a:gd name="connsiteY307" fmla="*/ 5955437 h 6858000"/>
              <a:gd name="connsiteX308" fmla="*/ 4689789 w 7467663"/>
              <a:gd name="connsiteY308" fmla="*/ 6268382 h 6858000"/>
              <a:gd name="connsiteX309" fmla="*/ 4418722 w 7467663"/>
              <a:gd name="connsiteY309" fmla="*/ 6570886 h 6858000"/>
              <a:gd name="connsiteX310" fmla="*/ 4214944 w 7467663"/>
              <a:gd name="connsiteY310" fmla="*/ 6858000 h 6858000"/>
              <a:gd name="connsiteX311" fmla="*/ 4177898 w 7467663"/>
              <a:gd name="connsiteY311" fmla="*/ 6858000 h 6858000"/>
              <a:gd name="connsiteX312" fmla="*/ 4391597 w 7467663"/>
              <a:gd name="connsiteY312" fmla="*/ 6556370 h 6858000"/>
              <a:gd name="connsiteX313" fmla="*/ 4668889 w 7467663"/>
              <a:gd name="connsiteY313" fmla="*/ 6246399 h 6858000"/>
              <a:gd name="connsiteX314" fmla="*/ 5055427 w 7467663"/>
              <a:gd name="connsiteY314" fmla="*/ 5931476 h 6858000"/>
              <a:gd name="connsiteX315" fmla="*/ 5371814 w 7467663"/>
              <a:gd name="connsiteY315" fmla="*/ 5678975 h 6858000"/>
              <a:gd name="connsiteX316" fmla="*/ 4987918 w 7467663"/>
              <a:gd name="connsiteY316" fmla="*/ 5838701 h 6858000"/>
              <a:gd name="connsiteX317" fmla="*/ 4317146 w 7467663"/>
              <a:gd name="connsiteY317" fmla="*/ 6587716 h 6858000"/>
              <a:gd name="connsiteX318" fmla="*/ 4171627 w 7467663"/>
              <a:gd name="connsiteY318" fmla="*/ 6858000 h 6858000"/>
              <a:gd name="connsiteX319" fmla="*/ 4081585 w 7467663"/>
              <a:gd name="connsiteY319" fmla="*/ 6858000 h 6858000"/>
              <a:gd name="connsiteX320" fmla="*/ 4238603 w 7467663"/>
              <a:gd name="connsiteY320" fmla="*/ 6559341 h 6858000"/>
              <a:gd name="connsiteX321" fmla="*/ 4778333 w 7467663"/>
              <a:gd name="connsiteY321" fmla="*/ 5873626 h 6858000"/>
              <a:gd name="connsiteX322" fmla="*/ 5414185 w 7467663"/>
              <a:gd name="connsiteY322" fmla="*/ 5573882 h 6858000"/>
              <a:gd name="connsiteX323" fmla="*/ 5959648 w 7467663"/>
              <a:gd name="connsiteY323" fmla="*/ 4760797 h 6858000"/>
              <a:gd name="connsiteX324" fmla="*/ 5355019 w 7467663"/>
              <a:gd name="connsiteY324" fmla="*/ 4734672 h 6858000"/>
              <a:gd name="connsiteX325" fmla="*/ 5083565 w 7467663"/>
              <a:gd name="connsiteY325" fmla="*/ 5179121 h 6858000"/>
              <a:gd name="connsiteX326" fmla="*/ 4713577 w 7467663"/>
              <a:gd name="connsiteY326" fmla="*/ 5616803 h 6858000"/>
              <a:gd name="connsiteX327" fmla="*/ 3989559 w 7467663"/>
              <a:gd name="connsiteY327" fmla="*/ 6145945 h 6858000"/>
              <a:gd name="connsiteX328" fmla="*/ 3939824 w 7467663"/>
              <a:gd name="connsiteY328" fmla="*/ 6066900 h 6858000"/>
              <a:gd name="connsiteX329" fmla="*/ 4584537 w 7467663"/>
              <a:gd name="connsiteY329" fmla="*/ 5324826 h 6858000"/>
              <a:gd name="connsiteX330" fmla="*/ 5037105 w 7467663"/>
              <a:gd name="connsiteY330" fmla="*/ 5088765 h 6858000"/>
              <a:gd name="connsiteX331" fmla="*/ 5039930 w 7467663"/>
              <a:gd name="connsiteY331" fmla="*/ 5089585 h 6858000"/>
              <a:gd name="connsiteX332" fmla="*/ 5263764 w 7467663"/>
              <a:gd name="connsiteY332" fmla="*/ 4735525 h 6858000"/>
              <a:gd name="connsiteX333" fmla="*/ 4086300 w 7467663"/>
              <a:gd name="connsiteY333" fmla="*/ 4884599 h 6858000"/>
              <a:gd name="connsiteX334" fmla="*/ 4085485 w 7467663"/>
              <a:gd name="connsiteY334" fmla="*/ 4899070 h 6858000"/>
              <a:gd name="connsiteX335" fmla="*/ 3871915 w 7467663"/>
              <a:gd name="connsiteY335" fmla="*/ 5253645 h 6858000"/>
              <a:gd name="connsiteX336" fmla="*/ 3799374 w 7467663"/>
              <a:gd name="connsiteY336" fmla="*/ 5466127 h 6858000"/>
              <a:gd name="connsiteX337" fmla="*/ 3498850 w 7467663"/>
              <a:gd name="connsiteY337" fmla="*/ 6661888 h 6858000"/>
              <a:gd name="connsiteX338" fmla="*/ 3399216 w 7467663"/>
              <a:gd name="connsiteY338" fmla="*/ 6858000 h 6858000"/>
              <a:gd name="connsiteX339" fmla="*/ 3303688 w 7467663"/>
              <a:gd name="connsiteY339" fmla="*/ 6858000 h 6858000"/>
              <a:gd name="connsiteX340" fmla="*/ 3391774 w 7467663"/>
              <a:gd name="connsiteY340" fmla="*/ 6697181 h 6858000"/>
              <a:gd name="connsiteX341" fmla="*/ 3735540 w 7467663"/>
              <a:gd name="connsiteY341" fmla="*/ 5546923 h 6858000"/>
              <a:gd name="connsiteX342" fmla="*/ 3729438 w 7467663"/>
              <a:gd name="connsiteY342" fmla="*/ 5569058 h 6858000"/>
              <a:gd name="connsiteX343" fmla="*/ 3707782 w 7467663"/>
              <a:gd name="connsiteY343" fmla="*/ 5644908 h 6858000"/>
              <a:gd name="connsiteX344" fmla="*/ 3583827 w 7467663"/>
              <a:gd name="connsiteY344" fmla="*/ 6039215 h 6858000"/>
              <a:gd name="connsiteX345" fmla="*/ 3547861 w 7467663"/>
              <a:gd name="connsiteY345" fmla="*/ 6129609 h 6858000"/>
              <a:gd name="connsiteX346" fmla="*/ 3490905 w 7467663"/>
              <a:gd name="connsiteY346" fmla="*/ 6277660 h 6858000"/>
              <a:gd name="connsiteX347" fmla="*/ 3455859 w 7467663"/>
              <a:gd name="connsiteY347" fmla="*/ 6391301 h 6858000"/>
              <a:gd name="connsiteX348" fmla="*/ 3429112 w 7467663"/>
              <a:gd name="connsiteY348" fmla="*/ 6479469 h 6858000"/>
              <a:gd name="connsiteX349" fmla="*/ 3304862 w 7467663"/>
              <a:gd name="connsiteY349" fmla="*/ 6796476 h 6858000"/>
              <a:gd name="connsiteX350" fmla="*/ 3276071 w 7467663"/>
              <a:gd name="connsiteY350" fmla="*/ 6858000 h 6858000"/>
              <a:gd name="connsiteX351" fmla="*/ 3240805 w 7467663"/>
              <a:gd name="connsiteY351" fmla="*/ 6858000 h 6858000"/>
              <a:gd name="connsiteX352" fmla="*/ 3275917 w 7467663"/>
              <a:gd name="connsiteY352" fmla="*/ 6783192 h 6858000"/>
              <a:gd name="connsiteX353" fmla="*/ 3399358 w 7467663"/>
              <a:gd name="connsiteY353" fmla="*/ 6469011 h 6858000"/>
              <a:gd name="connsiteX354" fmla="*/ 3425650 w 7467663"/>
              <a:gd name="connsiteY354" fmla="*/ 6381333 h 6858000"/>
              <a:gd name="connsiteX355" fmla="*/ 3460661 w 7467663"/>
              <a:gd name="connsiteY355" fmla="*/ 6266763 h 6858000"/>
              <a:gd name="connsiteX356" fmla="*/ 3518021 w 7467663"/>
              <a:gd name="connsiteY356" fmla="*/ 6117298 h 6858000"/>
              <a:gd name="connsiteX357" fmla="*/ 3554035 w 7467663"/>
              <a:gd name="connsiteY357" fmla="*/ 6027832 h 6858000"/>
              <a:gd name="connsiteX358" fmla="*/ 3677174 w 7467663"/>
              <a:gd name="connsiteY358" fmla="*/ 5636351 h 6858000"/>
              <a:gd name="connsiteX359" fmla="*/ 3698819 w 7467663"/>
              <a:gd name="connsiteY359" fmla="*/ 5560503 h 6858000"/>
              <a:gd name="connsiteX360" fmla="*/ 3702094 w 7467663"/>
              <a:gd name="connsiteY360" fmla="*/ 5549194 h 6858000"/>
              <a:gd name="connsiteX361" fmla="*/ 3398355 w 7467663"/>
              <a:gd name="connsiteY361" fmla="*/ 6094603 h 6858000"/>
              <a:gd name="connsiteX362" fmla="*/ 3193941 w 7467663"/>
              <a:gd name="connsiteY362" fmla="*/ 6798775 h 6858000"/>
              <a:gd name="connsiteX363" fmla="*/ 3184140 w 7467663"/>
              <a:gd name="connsiteY363" fmla="*/ 6858000 h 6858000"/>
              <a:gd name="connsiteX364" fmla="*/ 3099978 w 7467663"/>
              <a:gd name="connsiteY364" fmla="*/ 6858000 h 6858000"/>
              <a:gd name="connsiteX365" fmla="*/ 3101556 w 7467663"/>
              <a:gd name="connsiteY365" fmla="*/ 6843337 h 6858000"/>
              <a:gd name="connsiteX366" fmla="*/ 3370162 w 7467663"/>
              <a:gd name="connsiteY366" fmla="*/ 5785550 h 6858000"/>
              <a:gd name="connsiteX367" fmla="*/ 3746477 w 7467663"/>
              <a:gd name="connsiteY367" fmla="*/ 5377889 h 6858000"/>
              <a:gd name="connsiteX368" fmla="*/ 3863399 w 7467663"/>
              <a:gd name="connsiteY368" fmla="*/ 5087257 h 6858000"/>
              <a:gd name="connsiteX369" fmla="*/ 3968712 w 7467663"/>
              <a:gd name="connsiteY369" fmla="*/ 4913989 h 6858000"/>
              <a:gd name="connsiteX370" fmla="*/ 2792390 w 7467663"/>
              <a:gd name="connsiteY370" fmla="*/ 5382974 h 6858000"/>
              <a:gd name="connsiteX371" fmla="*/ 2714982 w 7467663"/>
              <a:gd name="connsiteY371" fmla="*/ 5427051 h 6858000"/>
              <a:gd name="connsiteX372" fmla="*/ 2813361 w 7467663"/>
              <a:gd name="connsiteY372" fmla="*/ 6023912 h 6858000"/>
              <a:gd name="connsiteX373" fmla="*/ 2688430 w 7467663"/>
              <a:gd name="connsiteY373" fmla="*/ 6801564 h 6858000"/>
              <a:gd name="connsiteX374" fmla="*/ 2629626 w 7467663"/>
              <a:gd name="connsiteY374" fmla="*/ 6763394 h 6858000"/>
              <a:gd name="connsiteX375" fmla="*/ 2565328 w 7467663"/>
              <a:gd name="connsiteY375" fmla="*/ 5516399 h 6858000"/>
              <a:gd name="connsiteX376" fmla="*/ 1922999 w 7467663"/>
              <a:gd name="connsiteY376" fmla="*/ 5980343 h 6858000"/>
              <a:gd name="connsiteX377" fmla="*/ 1950261 w 7467663"/>
              <a:gd name="connsiteY377" fmla="*/ 6405858 h 6858000"/>
              <a:gd name="connsiteX378" fmla="*/ 2365554 w 7467663"/>
              <a:gd name="connsiteY378" fmla="*/ 6759107 h 6858000"/>
              <a:gd name="connsiteX379" fmla="*/ 2424142 w 7467663"/>
              <a:gd name="connsiteY379" fmla="*/ 6858000 h 6858000"/>
              <a:gd name="connsiteX380" fmla="*/ 2395994 w 7467663"/>
              <a:gd name="connsiteY380" fmla="*/ 6858000 h 6858000"/>
              <a:gd name="connsiteX381" fmla="*/ 2392863 w 7467663"/>
              <a:gd name="connsiteY381" fmla="*/ 6852964 h 6858000"/>
              <a:gd name="connsiteX382" fmla="*/ 2017589 w 7467663"/>
              <a:gd name="connsiteY382" fmla="*/ 6493982 h 6858000"/>
              <a:gd name="connsiteX383" fmla="*/ 2147336 w 7467663"/>
              <a:gd name="connsiteY383" fmla="*/ 6594052 h 6858000"/>
              <a:gd name="connsiteX384" fmla="*/ 2207047 w 7467663"/>
              <a:gd name="connsiteY384" fmla="*/ 6654540 h 6858000"/>
              <a:gd name="connsiteX385" fmla="*/ 2299106 w 7467663"/>
              <a:gd name="connsiteY385" fmla="*/ 6778931 h 6858000"/>
              <a:gd name="connsiteX386" fmla="*/ 2314430 w 7467663"/>
              <a:gd name="connsiteY386" fmla="*/ 6801144 h 6858000"/>
              <a:gd name="connsiteX387" fmla="*/ 2352406 w 7467663"/>
              <a:gd name="connsiteY387" fmla="*/ 6858000 h 6858000"/>
              <a:gd name="connsiteX388" fmla="*/ 2314492 w 7467663"/>
              <a:gd name="connsiteY388" fmla="*/ 6858000 h 6858000"/>
              <a:gd name="connsiteX389" fmla="*/ 2288095 w 7467663"/>
              <a:gd name="connsiteY389" fmla="*/ 6818030 h 6858000"/>
              <a:gd name="connsiteX390" fmla="*/ 2272768 w 7467663"/>
              <a:gd name="connsiteY390" fmla="*/ 6795822 h 6858000"/>
              <a:gd name="connsiteX391" fmla="*/ 2182715 w 7467663"/>
              <a:gd name="connsiteY391" fmla="*/ 6675071 h 6858000"/>
              <a:gd name="connsiteX392" fmla="*/ 2032061 w 7467663"/>
              <a:gd name="connsiteY392" fmla="*/ 6541380 h 6858000"/>
              <a:gd name="connsiteX393" fmla="*/ 2257220 w 7467663"/>
              <a:gd name="connsiteY393" fmla="*/ 6826257 h 6858000"/>
              <a:gd name="connsiteX394" fmla="*/ 2281324 w 7467663"/>
              <a:gd name="connsiteY394" fmla="*/ 6858000 h 6858000"/>
              <a:gd name="connsiteX395" fmla="*/ 2242860 w 7467663"/>
              <a:gd name="connsiteY395" fmla="*/ 6858000 h 6858000"/>
              <a:gd name="connsiteX396" fmla="*/ 2232818 w 7467663"/>
              <a:gd name="connsiteY396" fmla="*/ 6844926 h 6858000"/>
              <a:gd name="connsiteX397" fmla="*/ 1990172 w 7467663"/>
              <a:gd name="connsiteY397" fmla="*/ 6542121 h 6858000"/>
              <a:gd name="connsiteX398" fmla="*/ 2124090 w 7467663"/>
              <a:gd name="connsiteY398" fmla="*/ 6761017 h 6858000"/>
              <a:gd name="connsiteX399" fmla="*/ 2200380 w 7467663"/>
              <a:gd name="connsiteY399" fmla="*/ 6858000 h 6858000"/>
              <a:gd name="connsiteX400" fmla="*/ 2147507 w 7467663"/>
              <a:gd name="connsiteY400" fmla="*/ 6858000 h 6858000"/>
              <a:gd name="connsiteX401" fmla="*/ 2070668 w 7467663"/>
              <a:gd name="connsiteY401" fmla="*/ 6761520 h 6858000"/>
              <a:gd name="connsiteX402" fmla="*/ 1975142 w 7467663"/>
              <a:gd name="connsiteY402" fmla="*/ 6585570 h 6858000"/>
              <a:gd name="connsiteX403" fmla="*/ 2050035 w 7467663"/>
              <a:gd name="connsiteY403" fmla="*/ 6813345 h 6858000"/>
              <a:gd name="connsiteX404" fmla="*/ 2063025 w 7467663"/>
              <a:gd name="connsiteY404" fmla="*/ 6858000 h 6858000"/>
              <a:gd name="connsiteX405" fmla="*/ 2021675 w 7467663"/>
              <a:gd name="connsiteY405" fmla="*/ 6858000 h 6858000"/>
              <a:gd name="connsiteX406" fmla="*/ 2019308 w 7467663"/>
              <a:gd name="connsiteY406" fmla="*/ 6847118 h 6858000"/>
              <a:gd name="connsiteX407" fmla="*/ 1938835 w 7467663"/>
              <a:gd name="connsiteY407" fmla="*/ 6551160 h 6858000"/>
              <a:gd name="connsiteX408" fmla="*/ 1953230 w 7467663"/>
              <a:gd name="connsiteY408" fmla="*/ 6759699 h 6858000"/>
              <a:gd name="connsiteX409" fmla="*/ 1956763 w 7467663"/>
              <a:gd name="connsiteY409" fmla="*/ 6778191 h 6858000"/>
              <a:gd name="connsiteX410" fmla="*/ 1967925 w 7467663"/>
              <a:gd name="connsiteY410" fmla="*/ 6858000 h 6858000"/>
              <a:gd name="connsiteX411" fmla="*/ 1936622 w 7467663"/>
              <a:gd name="connsiteY411" fmla="*/ 6858000 h 6858000"/>
              <a:gd name="connsiteX412" fmla="*/ 1926261 w 7467663"/>
              <a:gd name="connsiteY412" fmla="*/ 6784064 h 6858000"/>
              <a:gd name="connsiteX413" fmla="*/ 1922724 w 7467663"/>
              <a:gd name="connsiteY413" fmla="*/ 6765577 h 6858000"/>
              <a:gd name="connsiteX414" fmla="*/ 1904650 w 7467663"/>
              <a:gd name="connsiteY414" fmla="*/ 6639616 h 6858000"/>
              <a:gd name="connsiteX415" fmla="*/ 1885273 w 7467663"/>
              <a:gd name="connsiteY415" fmla="*/ 6858000 h 6858000"/>
              <a:gd name="connsiteX416" fmla="*/ 1854363 w 7467663"/>
              <a:gd name="connsiteY416" fmla="*/ 6858000 h 6858000"/>
              <a:gd name="connsiteX417" fmla="*/ 1880391 w 7467663"/>
              <a:gd name="connsiteY417" fmla="*/ 6603796 h 6858000"/>
              <a:gd name="connsiteX418" fmla="*/ 1818273 w 7467663"/>
              <a:gd name="connsiteY418" fmla="*/ 6715729 h 6858000"/>
              <a:gd name="connsiteX419" fmla="*/ 1794691 w 7467663"/>
              <a:gd name="connsiteY419" fmla="*/ 6843239 h 6858000"/>
              <a:gd name="connsiteX420" fmla="*/ 1794914 w 7467663"/>
              <a:gd name="connsiteY420" fmla="*/ 6858000 h 6858000"/>
              <a:gd name="connsiteX421" fmla="*/ 1746128 w 7467663"/>
              <a:gd name="connsiteY421" fmla="*/ 6858000 h 6858000"/>
              <a:gd name="connsiteX422" fmla="*/ 1753934 w 7467663"/>
              <a:gd name="connsiteY422" fmla="*/ 6724796 h 6858000"/>
              <a:gd name="connsiteX423" fmla="*/ 1792053 w 7467663"/>
              <a:gd name="connsiteY423" fmla="*/ 6572396 h 6858000"/>
              <a:gd name="connsiteX424" fmla="*/ 1862248 w 7467663"/>
              <a:gd name="connsiteY424" fmla="*/ 6266397 h 6858000"/>
              <a:gd name="connsiteX425" fmla="*/ 1862250 w 7467663"/>
              <a:gd name="connsiteY425" fmla="*/ 6033531 h 6858000"/>
              <a:gd name="connsiteX426" fmla="*/ 1211999 w 7467663"/>
              <a:gd name="connsiteY426" fmla="*/ 6683610 h 6858000"/>
              <a:gd name="connsiteX427" fmla="*/ 1213266 w 7467663"/>
              <a:gd name="connsiteY427" fmla="*/ 6691947 h 6858000"/>
              <a:gd name="connsiteX428" fmla="*/ 1203370 w 7467663"/>
              <a:gd name="connsiteY428" fmla="*/ 6850676 h 6858000"/>
              <a:gd name="connsiteX429" fmla="*/ 1203671 w 7467663"/>
              <a:gd name="connsiteY429" fmla="*/ 6858000 h 6858000"/>
              <a:gd name="connsiteX430" fmla="*/ 1143180 w 7467663"/>
              <a:gd name="connsiteY430" fmla="*/ 6858000 h 6858000"/>
              <a:gd name="connsiteX431" fmla="*/ 1142176 w 7467663"/>
              <a:gd name="connsiteY431" fmla="*/ 6766045 h 6858000"/>
              <a:gd name="connsiteX432" fmla="*/ 1067484 w 7467663"/>
              <a:gd name="connsiteY432" fmla="*/ 6858000 h 6858000"/>
              <a:gd name="connsiteX433" fmla="*/ 953928 w 7467663"/>
              <a:gd name="connsiteY433" fmla="*/ 6858000 h 6858000"/>
              <a:gd name="connsiteX434" fmla="*/ 959715 w 7467663"/>
              <a:gd name="connsiteY434" fmla="*/ 6850185 h 6858000"/>
              <a:gd name="connsiteX435" fmla="*/ 1483788 w 7467663"/>
              <a:gd name="connsiteY435" fmla="*/ 6259174 h 6858000"/>
              <a:gd name="connsiteX436" fmla="*/ 1100671 w 7467663"/>
              <a:gd name="connsiteY436" fmla="*/ 6252137 h 6858000"/>
              <a:gd name="connsiteX437" fmla="*/ 1090144 w 7467663"/>
              <a:gd name="connsiteY437" fmla="*/ 6256748 h 6858000"/>
              <a:gd name="connsiteX438" fmla="*/ 1095872 w 7467663"/>
              <a:gd name="connsiteY438" fmla="*/ 6271892 h 6858000"/>
              <a:gd name="connsiteX439" fmla="*/ 262785 w 7467663"/>
              <a:gd name="connsiteY439" fmla="*/ 6845450 h 6858000"/>
              <a:gd name="connsiteX440" fmla="*/ 209968 w 7467663"/>
              <a:gd name="connsiteY440" fmla="*/ 6770713 h 6858000"/>
              <a:gd name="connsiteX441" fmla="*/ 873460 w 7467663"/>
              <a:gd name="connsiteY441" fmla="*/ 6253768 h 6858000"/>
              <a:gd name="connsiteX442" fmla="*/ 192686 w 7467663"/>
              <a:gd name="connsiteY442" fmla="*/ 5849257 h 6858000"/>
              <a:gd name="connsiteX443" fmla="*/ 4696 w 7467663"/>
              <a:gd name="connsiteY443" fmla="*/ 5697668 h 6858000"/>
              <a:gd name="connsiteX444" fmla="*/ 0 w 7467663"/>
              <a:gd name="connsiteY444" fmla="*/ 5689984 h 6858000"/>
              <a:gd name="connsiteX445" fmla="*/ 0 w 7467663"/>
              <a:gd name="connsiteY445" fmla="*/ 5513472 h 6858000"/>
              <a:gd name="connsiteX446" fmla="*/ 174101 w 7467663"/>
              <a:gd name="connsiteY446" fmla="*/ 5620277 h 6858000"/>
              <a:gd name="connsiteX447" fmla="*/ 891800 w 7467663"/>
              <a:gd name="connsiteY447" fmla="*/ 6036935 h 6858000"/>
              <a:gd name="connsiteX448" fmla="*/ 1072219 w 7467663"/>
              <a:gd name="connsiteY448" fmla="*/ 6169443 h 6858000"/>
              <a:gd name="connsiteX449" fmla="*/ 1074117 w 7467663"/>
              <a:gd name="connsiteY449" fmla="*/ 6170301 h 6858000"/>
              <a:gd name="connsiteX450" fmla="*/ 1083114 w 7467663"/>
              <a:gd name="connsiteY450" fmla="*/ 6174131 h 6858000"/>
              <a:gd name="connsiteX451" fmla="*/ 1543010 w 7467663"/>
              <a:gd name="connsiteY451" fmla="*/ 6191140 h 6858000"/>
              <a:gd name="connsiteX452" fmla="*/ 1551080 w 7467663"/>
              <a:gd name="connsiteY452" fmla="*/ 6195006 h 6858000"/>
              <a:gd name="connsiteX453" fmla="*/ 2345443 w 7467663"/>
              <a:gd name="connsiteY453" fmla="*/ 5549882 h 6858000"/>
              <a:gd name="connsiteX454" fmla="*/ 1721499 w 7467663"/>
              <a:gd name="connsiteY454" fmla="*/ 5599969 h 6858000"/>
              <a:gd name="connsiteX455" fmla="*/ 767716 w 7467663"/>
              <a:gd name="connsiteY455" fmla="*/ 5472768 h 6858000"/>
              <a:gd name="connsiteX456" fmla="*/ 722147 w 7467663"/>
              <a:gd name="connsiteY456" fmla="*/ 5393091 h 6858000"/>
              <a:gd name="connsiteX457" fmla="*/ 1485552 w 7467663"/>
              <a:gd name="connsiteY457" fmla="*/ 5313202 h 6858000"/>
              <a:gd name="connsiteX458" fmla="*/ 2143004 w 7467663"/>
              <a:gd name="connsiteY458" fmla="*/ 5402420 h 6858000"/>
              <a:gd name="connsiteX459" fmla="*/ 1933391 w 7467663"/>
              <a:gd name="connsiteY459" fmla="*/ 5156971 h 6858000"/>
              <a:gd name="connsiteX460" fmla="*/ 1827118 w 7467663"/>
              <a:gd name="connsiteY460" fmla="*/ 4968410 h 6858000"/>
              <a:gd name="connsiteX461" fmla="*/ 1837349 w 7467663"/>
              <a:gd name="connsiteY461" fmla="*/ 4956357 h 6858000"/>
              <a:gd name="connsiteX462" fmla="*/ 2162835 w 7467663"/>
              <a:gd name="connsiteY462" fmla="*/ 5187853 h 6858000"/>
              <a:gd name="connsiteX463" fmla="*/ 2257167 w 7467663"/>
              <a:gd name="connsiteY463" fmla="*/ 5462123 h 6858000"/>
              <a:gd name="connsiteX464" fmla="*/ 2261598 w 7467663"/>
              <a:gd name="connsiteY464" fmla="*/ 5467998 h 6858000"/>
              <a:gd name="connsiteX465" fmla="*/ 2437177 w 7467663"/>
              <a:gd name="connsiteY465" fmla="*/ 5479608 h 6858000"/>
              <a:gd name="connsiteX466" fmla="*/ 2445247 w 7467663"/>
              <a:gd name="connsiteY466" fmla="*/ 5483476 h 6858000"/>
              <a:gd name="connsiteX467" fmla="*/ 2743626 w 7467663"/>
              <a:gd name="connsiteY467" fmla="*/ 5304819 h 6858000"/>
              <a:gd name="connsiteX468" fmla="*/ 3048102 w 7467663"/>
              <a:gd name="connsiteY468" fmla="*/ 5150595 h 6858000"/>
              <a:gd name="connsiteX469" fmla="*/ 1799414 w 7467663"/>
              <a:gd name="connsiteY469" fmla="*/ 4694732 h 6858000"/>
              <a:gd name="connsiteX470" fmla="*/ 1771735 w 7467663"/>
              <a:gd name="connsiteY470" fmla="*/ 4619929 h 6858000"/>
              <a:gd name="connsiteX471" fmla="*/ 3104273 w 7467663"/>
              <a:gd name="connsiteY471" fmla="*/ 5076159 h 6858000"/>
              <a:gd name="connsiteX472" fmla="*/ 3113245 w 7467663"/>
              <a:gd name="connsiteY472" fmla="*/ 5090705 h 6858000"/>
              <a:gd name="connsiteX473" fmla="*/ 3126294 w 7467663"/>
              <a:gd name="connsiteY473" fmla="*/ 5114400 h 6858000"/>
              <a:gd name="connsiteX474" fmla="*/ 3937433 w 7467663"/>
              <a:gd name="connsiteY474" fmla="*/ 4830473 h 6858000"/>
              <a:gd name="connsiteX475" fmla="*/ 3590475 w 7467663"/>
              <a:gd name="connsiteY475" fmla="*/ 4597974 h 6858000"/>
              <a:gd name="connsiteX476" fmla="*/ 3100264 w 7467663"/>
              <a:gd name="connsiteY476" fmla="*/ 4579845 h 6858000"/>
              <a:gd name="connsiteX477" fmla="*/ 2183576 w 7467663"/>
              <a:gd name="connsiteY477" fmla="*/ 4227150 h 6858000"/>
              <a:gd name="connsiteX478" fmla="*/ 2151029 w 7467663"/>
              <a:gd name="connsiteY478" fmla="*/ 4146947 h 6858000"/>
              <a:gd name="connsiteX479" fmla="*/ 3563434 w 7467663"/>
              <a:gd name="connsiteY479" fmla="*/ 4469115 h 6858000"/>
              <a:gd name="connsiteX480" fmla="*/ 3177952 w 7467663"/>
              <a:gd name="connsiteY480" fmla="*/ 3657386 h 6858000"/>
              <a:gd name="connsiteX481" fmla="*/ 3189263 w 7467663"/>
              <a:gd name="connsiteY481" fmla="*/ 3625726 h 6858000"/>
              <a:gd name="connsiteX482" fmla="*/ 3560912 w 7467663"/>
              <a:gd name="connsiteY482" fmla="*/ 4079863 h 6858000"/>
              <a:gd name="connsiteX483" fmla="*/ 3626636 w 7467663"/>
              <a:gd name="connsiteY483" fmla="*/ 4512230 h 6858000"/>
              <a:gd name="connsiteX484" fmla="*/ 3653088 w 7467663"/>
              <a:gd name="connsiteY484" fmla="*/ 4521417 h 6858000"/>
              <a:gd name="connsiteX485" fmla="*/ 3988128 w 7467663"/>
              <a:gd name="connsiteY485" fmla="*/ 4817267 h 6858000"/>
              <a:gd name="connsiteX486" fmla="*/ 4830582 w 7467663"/>
              <a:gd name="connsiteY486" fmla="*/ 4676000 h 6858000"/>
              <a:gd name="connsiteX487" fmla="*/ 4830100 w 7467663"/>
              <a:gd name="connsiteY487" fmla="*/ 4675554 h 6858000"/>
              <a:gd name="connsiteX488" fmla="*/ 4036318 w 7467663"/>
              <a:gd name="connsiteY488" fmla="*/ 4147013 h 6858000"/>
              <a:gd name="connsiteX489" fmla="*/ 3432098 w 7467663"/>
              <a:gd name="connsiteY489" fmla="*/ 3537312 h 6858000"/>
              <a:gd name="connsiteX490" fmla="*/ 3446761 w 7467663"/>
              <a:gd name="connsiteY490" fmla="*/ 3461278 h 6858000"/>
              <a:gd name="connsiteX491" fmla="*/ 4419733 w 7467663"/>
              <a:gd name="connsiteY491" fmla="*/ 3963555 h 6858000"/>
              <a:gd name="connsiteX492" fmla="*/ 4781371 w 7467663"/>
              <a:gd name="connsiteY492" fmla="*/ 4458604 h 6858000"/>
              <a:gd name="connsiteX493" fmla="*/ 4780440 w 7467663"/>
              <a:gd name="connsiteY493" fmla="*/ 4470290 h 6858000"/>
              <a:gd name="connsiteX494" fmla="*/ 4898954 w 7467663"/>
              <a:gd name="connsiteY494" fmla="*/ 4662092 h 6858000"/>
              <a:gd name="connsiteX495" fmla="*/ 4900699 w 7467663"/>
              <a:gd name="connsiteY495" fmla="*/ 4670867 h 6858000"/>
              <a:gd name="connsiteX496" fmla="*/ 5714511 w 7467663"/>
              <a:gd name="connsiteY496" fmla="*/ 4663483 h 6858000"/>
              <a:gd name="connsiteX497" fmla="*/ 5464793 w 7467663"/>
              <a:gd name="connsiteY497" fmla="*/ 4393556 h 6858000"/>
              <a:gd name="connsiteX498" fmla="*/ 5461897 w 7467663"/>
              <a:gd name="connsiteY498" fmla="*/ 4390879 h 6858000"/>
              <a:gd name="connsiteX499" fmla="*/ 4294126 w 7467663"/>
              <a:gd name="connsiteY499" fmla="*/ 3303048 h 6858000"/>
              <a:gd name="connsiteX500" fmla="*/ 4305321 w 7467663"/>
              <a:gd name="connsiteY500" fmla="*/ 3256953 h 6858000"/>
              <a:gd name="connsiteX501" fmla="*/ 4949299 w 7467663"/>
              <a:gd name="connsiteY501" fmla="*/ 3766336 h 6858000"/>
              <a:gd name="connsiteX502" fmla="*/ 5291452 w 7467663"/>
              <a:gd name="connsiteY502" fmla="*/ 4076801 h 6858000"/>
              <a:gd name="connsiteX503" fmla="*/ 5434998 w 7467663"/>
              <a:gd name="connsiteY503" fmla="*/ 4254100 h 6858000"/>
              <a:gd name="connsiteX504" fmla="*/ 5351015 w 7467663"/>
              <a:gd name="connsiteY504" fmla="*/ 3760989 h 6858000"/>
              <a:gd name="connsiteX505" fmla="*/ 5413780 w 7467663"/>
              <a:gd name="connsiteY505" fmla="*/ 2966265 h 6858000"/>
              <a:gd name="connsiteX506" fmla="*/ 5425627 w 7467663"/>
              <a:gd name="connsiteY506" fmla="*/ 2954192 h 6858000"/>
              <a:gd name="connsiteX507" fmla="*/ 6604735 w 7467663"/>
              <a:gd name="connsiteY507" fmla="*/ 2041381 h 6858000"/>
              <a:gd name="connsiteX508" fmla="*/ 7204487 w 7467663"/>
              <a:gd name="connsiteY508" fmla="*/ 2742112 h 6858000"/>
              <a:gd name="connsiteX509" fmla="*/ 7131592 w 7467663"/>
              <a:gd name="connsiteY509" fmla="*/ 2672096 h 6858000"/>
              <a:gd name="connsiteX510" fmla="*/ 6996344 w 7467663"/>
              <a:gd name="connsiteY510" fmla="*/ 2518310 h 6858000"/>
              <a:gd name="connsiteX511" fmla="*/ 6735495 w 7467663"/>
              <a:gd name="connsiteY511" fmla="*/ 2196890 h 6858000"/>
              <a:gd name="connsiteX512" fmla="*/ 6721901 w 7467663"/>
              <a:gd name="connsiteY512" fmla="*/ 2179274 h 6858000"/>
              <a:gd name="connsiteX513" fmla="*/ 6604735 w 7467663"/>
              <a:gd name="connsiteY513" fmla="*/ 2041381 h 6858000"/>
              <a:gd name="connsiteX514" fmla="*/ 6591670 w 7467663"/>
              <a:gd name="connsiteY514" fmla="*/ 1988277 h 6858000"/>
              <a:gd name="connsiteX515" fmla="*/ 6747349 w 7467663"/>
              <a:gd name="connsiteY515" fmla="*/ 2160069 h 6858000"/>
              <a:gd name="connsiteX516" fmla="*/ 6760943 w 7467663"/>
              <a:gd name="connsiteY516" fmla="*/ 2177686 h 6858000"/>
              <a:gd name="connsiteX517" fmla="*/ 7021065 w 7467663"/>
              <a:gd name="connsiteY517" fmla="*/ 2498102 h 6858000"/>
              <a:gd name="connsiteX518" fmla="*/ 7155223 w 7467663"/>
              <a:gd name="connsiteY518" fmla="*/ 2650386 h 6858000"/>
              <a:gd name="connsiteX519" fmla="*/ 7203167 w 7467663"/>
              <a:gd name="connsiteY519" fmla="*/ 2697288 h 6858000"/>
              <a:gd name="connsiteX520" fmla="*/ 6937703 w 7467663"/>
              <a:gd name="connsiteY520" fmla="*/ 2321981 h 6858000"/>
              <a:gd name="connsiteX521" fmla="*/ 6591670 w 7467663"/>
              <a:gd name="connsiteY521" fmla="*/ 1988277 h 6858000"/>
              <a:gd name="connsiteX522" fmla="*/ 5798671 w 7467663"/>
              <a:gd name="connsiteY522" fmla="*/ 1981601 h 6858000"/>
              <a:gd name="connsiteX523" fmla="*/ 5754709 w 7467663"/>
              <a:gd name="connsiteY523" fmla="*/ 2071454 h 6858000"/>
              <a:gd name="connsiteX524" fmla="*/ 5763044 w 7467663"/>
              <a:gd name="connsiteY524" fmla="*/ 2842206 h 6858000"/>
              <a:gd name="connsiteX525" fmla="*/ 5764974 w 7467663"/>
              <a:gd name="connsiteY525" fmla="*/ 2799609 h 6858000"/>
              <a:gd name="connsiteX526" fmla="*/ 5767665 w 7467663"/>
              <a:gd name="connsiteY526" fmla="*/ 2666409 h 6858000"/>
              <a:gd name="connsiteX527" fmla="*/ 5763055 w 7467663"/>
              <a:gd name="connsiteY527" fmla="*/ 2579705 h 6858000"/>
              <a:gd name="connsiteX528" fmla="*/ 5758079 w 7467663"/>
              <a:gd name="connsiteY528" fmla="*/ 2492508 h 6858000"/>
              <a:gd name="connsiteX529" fmla="*/ 5779325 w 7467663"/>
              <a:gd name="connsiteY529" fmla="*/ 2197069 h 6858000"/>
              <a:gd name="connsiteX530" fmla="*/ 5798671 w 7467663"/>
              <a:gd name="connsiteY530" fmla="*/ 1981601 h 6858000"/>
              <a:gd name="connsiteX531" fmla="*/ 5829202 w 7467663"/>
              <a:gd name="connsiteY531" fmla="*/ 1971679 h 6858000"/>
              <a:gd name="connsiteX532" fmla="*/ 5809558 w 7467663"/>
              <a:gd name="connsiteY532" fmla="*/ 2198043 h 6858000"/>
              <a:gd name="connsiteX533" fmla="*/ 5788653 w 7467663"/>
              <a:gd name="connsiteY533" fmla="*/ 2489430 h 6858000"/>
              <a:gd name="connsiteX534" fmla="*/ 5793439 w 7467663"/>
              <a:gd name="connsiteY534" fmla="*/ 2575235 h 6858000"/>
              <a:gd name="connsiteX535" fmla="*/ 5796837 w 7467663"/>
              <a:gd name="connsiteY535" fmla="*/ 2637633 h 6858000"/>
              <a:gd name="connsiteX536" fmla="*/ 5818614 w 7467663"/>
              <a:gd name="connsiteY536" fmla="*/ 2473055 h 6858000"/>
              <a:gd name="connsiteX537" fmla="*/ 5829202 w 7467663"/>
              <a:gd name="connsiteY537" fmla="*/ 1971679 h 6858000"/>
              <a:gd name="connsiteX538" fmla="*/ 5911389 w 7467663"/>
              <a:gd name="connsiteY538" fmla="*/ 1898371 h 6858000"/>
              <a:gd name="connsiteX539" fmla="*/ 6237627 w 7467663"/>
              <a:gd name="connsiteY539" fmla="*/ 2231921 h 6858000"/>
              <a:gd name="connsiteX540" fmla="*/ 5911389 w 7467663"/>
              <a:gd name="connsiteY540" fmla="*/ 1898371 h 6858000"/>
              <a:gd name="connsiteX541" fmla="*/ 6944437 w 7467663"/>
              <a:gd name="connsiteY541" fmla="*/ 1575402 h 6858000"/>
              <a:gd name="connsiteX542" fmla="*/ 6304730 w 7467663"/>
              <a:gd name="connsiteY542" fmla="*/ 1766654 h 6858000"/>
              <a:gd name="connsiteX543" fmla="*/ 6944437 w 7467663"/>
              <a:gd name="connsiteY543" fmla="*/ 1575402 h 6858000"/>
              <a:gd name="connsiteX544" fmla="*/ 7019523 w 7467663"/>
              <a:gd name="connsiteY544" fmla="*/ 1519450 h 6858000"/>
              <a:gd name="connsiteX545" fmla="*/ 6298091 w 7467663"/>
              <a:gd name="connsiteY545" fmla="*/ 1737122 h 6858000"/>
              <a:gd name="connsiteX546" fmla="*/ 7019523 w 7467663"/>
              <a:gd name="connsiteY546" fmla="*/ 1519450 h 6858000"/>
              <a:gd name="connsiteX547" fmla="*/ 2399523 w 7467663"/>
              <a:gd name="connsiteY547" fmla="*/ 1428234 h 6858000"/>
              <a:gd name="connsiteX548" fmla="*/ 2224982 w 7467663"/>
              <a:gd name="connsiteY548" fmla="*/ 1826201 h 6858000"/>
              <a:gd name="connsiteX549" fmla="*/ 2096099 w 7467663"/>
              <a:gd name="connsiteY549" fmla="*/ 2345900 h 6858000"/>
              <a:gd name="connsiteX550" fmla="*/ 2283317 w 7467663"/>
              <a:gd name="connsiteY550" fmla="*/ 1796925 h 6858000"/>
              <a:gd name="connsiteX551" fmla="*/ 2399523 w 7467663"/>
              <a:gd name="connsiteY551" fmla="*/ 1428234 h 6858000"/>
              <a:gd name="connsiteX552" fmla="*/ 2448558 w 7467663"/>
              <a:gd name="connsiteY552" fmla="*/ 1373435 h 6858000"/>
              <a:gd name="connsiteX553" fmla="*/ 2312521 w 7467663"/>
              <a:gd name="connsiteY553" fmla="*/ 1806140 h 6858000"/>
              <a:gd name="connsiteX554" fmla="*/ 2127533 w 7467663"/>
              <a:gd name="connsiteY554" fmla="*/ 2348380 h 6858000"/>
              <a:gd name="connsiteX555" fmla="*/ 2358080 w 7467663"/>
              <a:gd name="connsiteY555" fmla="*/ 1866134 h 6858000"/>
              <a:gd name="connsiteX556" fmla="*/ 2407436 w 7467663"/>
              <a:gd name="connsiteY556" fmla="*/ 1651070 h 6858000"/>
              <a:gd name="connsiteX557" fmla="*/ 2448558 w 7467663"/>
              <a:gd name="connsiteY557" fmla="*/ 1373435 h 6858000"/>
              <a:gd name="connsiteX558" fmla="*/ 278707 w 7467663"/>
              <a:gd name="connsiteY558" fmla="*/ 1352270 h 6858000"/>
              <a:gd name="connsiteX559" fmla="*/ 321570 w 7467663"/>
              <a:gd name="connsiteY559" fmla="*/ 1861610 h 6858000"/>
              <a:gd name="connsiteX560" fmla="*/ 294281 w 7467663"/>
              <a:gd name="connsiteY560" fmla="*/ 1440658 h 6858000"/>
              <a:gd name="connsiteX561" fmla="*/ 278707 w 7467663"/>
              <a:gd name="connsiteY561" fmla="*/ 1352270 h 6858000"/>
              <a:gd name="connsiteX562" fmla="*/ 1423821 w 7467663"/>
              <a:gd name="connsiteY562" fmla="*/ 1351958 h 6858000"/>
              <a:gd name="connsiteX563" fmla="*/ 1638521 w 7467663"/>
              <a:gd name="connsiteY563" fmla="*/ 1908470 h 6858000"/>
              <a:gd name="connsiteX564" fmla="*/ 1754199 w 7467663"/>
              <a:gd name="connsiteY564" fmla="*/ 2149284 h 6858000"/>
              <a:gd name="connsiteX565" fmla="*/ 1908359 w 7467663"/>
              <a:gd name="connsiteY565" fmla="*/ 2364988 h 6858000"/>
              <a:gd name="connsiteX566" fmla="*/ 1647661 w 7467663"/>
              <a:gd name="connsiteY566" fmla="*/ 1825945 h 6858000"/>
              <a:gd name="connsiteX567" fmla="*/ 1423821 w 7467663"/>
              <a:gd name="connsiteY567" fmla="*/ 1351958 h 6858000"/>
              <a:gd name="connsiteX568" fmla="*/ 1431890 w 7467663"/>
              <a:gd name="connsiteY568" fmla="*/ 1306475 h 6858000"/>
              <a:gd name="connsiteX569" fmla="*/ 1507597 w 7467663"/>
              <a:gd name="connsiteY569" fmla="*/ 1446132 h 6858000"/>
              <a:gd name="connsiteX570" fmla="*/ 1674586 w 7467663"/>
              <a:gd name="connsiteY570" fmla="*/ 1813832 h 6858000"/>
              <a:gd name="connsiteX571" fmla="*/ 1815950 w 7467663"/>
              <a:gd name="connsiteY571" fmla="*/ 2128564 h 6858000"/>
              <a:gd name="connsiteX572" fmla="*/ 1984242 w 7467663"/>
              <a:gd name="connsiteY572" fmla="*/ 2430829 h 6858000"/>
              <a:gd name="connsiteX573" fmla="*/ 2014023 w 7467663"/>
              <a:gd name="connsiteY573" fmla="*/ 2450995 h 6858000"/>
              <a:gd name="connsiteX574" fmla="*/ 1747337 w 7467663"/>
              <a:gd name="connsiteY574" fmla="*/ 1855264 h 6858000"/>
              <a:gd name="connsiteX575" fmla="*/ 1533749 w 7467663"/>
              <a:gd name="connsiteY575" fmla="*/ 1478656 h 6858000"/>
              <a:gd name="connsiteX576" fmla="*/ 1431890 w 7467663"/>
              <a:gd name="connsiteY576" fmla="*/ 1306475 h 6858000"/>
              <a:gd name="connsiteX577" fmla="*/ 5052692 w 7467663"/>
              <a:gd name="connsiteY577" fmla="*/ 1292994 h 6858000"/>
              <a:gd name="connsiteX578" fmla="*/ 5200661 w 7467663"/>
              <a:gd name="connsiteY578" fmla="*/ 1635186 h 6858000"/>
              <a:gd name="connsiteX579" fmla="*/ 5297138 w 7467663"/>
              <a:gd name="connsiteY579" fmla="*/ 1906351 h 6858000"/>
              <a:gd name="connsiteX580" fmla="*/ 5052692 w 7467663"/>
              <a:gd name="connsiteY580" fmla="*/ 1292994 h 6858000"/>
              <a:gd name="connsiteX581" fmla="*/ 5009948 w 7467663"/>
              <a:gd name="connsiteY581" fmla="*/ 1273619 h 6858000"/>
              <a:gd name="connsiteX582" fmla="*/ 5121777 w 7467663"/>
              <a:gd name="connsiteY582" fmla="*/ 1654213 h 6858000"/>
              <a:gd name="connsiteX583" fmla="*/ 5293545 w 7467663"/>
              <a:gd name="connsiteY583" fmla="*/ 2072247 h 6858000"/>
              <a:gd name="connsiteX584" fmla="*/ 5294042 w 7467663"/>
              <a:gd name="connsiteY584" fmla="*/ 2065019 h 6858000"/>
              <a:gd name="connsiteX585" fmla="*/ 5171936 w 7467663"/>
              <a:gd name="connsiteY585" fmla="*/ 1647613 h 6858000"/>
              <a:gd name="connsiteX586" fmla="*/ 5009948 w 7467663"/>
              <a:gd name="connsiteY586" fmla="*/ 1273619 h 6858000"/>
              <a:gd name="connsiteX587" fmla="*/ 655236 w 7467663"/>
              <a:gd name="connsiteY587" fmla="*/ 1268632 h 6858000"/>
              <a:gd name="connsiteX588" fmla="*/ 839521 w 7467663"/>
              <a:gd name="connsiteY588" fmla="*/ 1685315 h 6858000"/>
              <a:gd name="connsiteX589" fmla="*/ 1109416 w 7467663"/>
              <a:gd name="connsiteY589" fmla="*/ 2061663 h 6858000"/>
              <a:gd name="connsiteX590" fmla="*/ 1298300 w 7467663"/>
              <a:gd name="connsiteY590" fmla="*/ 2247742 h 6858000"/>
              <a:gd name="connsiteX591" fmla="*/ 1125871 w 7467663"/>
              <a:gd name="connsiteY591" fmla="*/ 1989513 h 6858000"/>
              <a:gd name="connsiteX592" fmla="*/ 981574 w 7467663"/>
              <a:gd name="connsiteY592" fmla="*/ 1783157 h 6858000"/>
              <a:gd name="connsiteX593" fmla="*/ 922198 w 7467663"/>
              <a:gd name="connsiteY593" fmla="*/ 1677437 h 6858000"/>
              <a:gd name="connsiteX594" fmla="*/ 869293 w 7467663"/>
              <a:gd name="connsiteY594" fmla="*/ 1583214 h 6858000"/>
              <a:gd name="connsiteX595" fmla="*/ 751431 w 7467663"/>
              <a:gd name="connsiteY595" fmla="*/ 1405731 h 6858000"/>
              <a:gd name="connsiteX596" fmla="*/ 655236 w 7467663"/>
              <a:gd name="connsiteY596" fmla="*/ 1268632 h 6858000"/>
              <a:gd name="connsiteX597" fmla="*/ 6516292 w 7467663"/>
              <a:gd name="connsiteY597" fmla="*/ 1263064 h 6858000"/>
              <a:gd name="connsiteX598" fmla="*/ 5736320 w 7467663"/>
              <a:gd name="connsiteY598" fmla="*/ 1501803 h 6858000"/>
              <a:gd name="connsiteX599" fmla="*/ 6516292 w 7467663"/>
              <a:gd name="connsiteY599" fmla="*/ 1263064 h 6858000"/>
              <a:gd name="connsiteX600" fmla="*/ 291466 w 7467663"/>
              <a:gd name="connsiteY600" fmla="*/ 1250369 h 6858000"/>
              <a:gd name="connsiteX601" fmla="*/ 323180 w 7467663"/>
              <a:gd name="connsiteY601" fmla="*/ 1435283 h 6858000"/>
              <a:gd name="connsiteX602" fmla="*/ 349381 w 7467663"/>
              <a:gd name="connsiteY602" fmla="*/ 1875041 h 6858000"/>
              <a:gd name="connsiteX603" fmla="*/ 374363 w 7467663"/>
              <a:gd name="connsiteY603" fmla="*/ 1506494 h 6858000"/>
              <a:gd name="connsiteX604" fmla="*/ 302168 w 7467663"/>
              <a:gd name="connsiteY604" fmla="*/ 1274495 h 6858000"/>
              <a:gd name="connsiteX605" fmla="*/ 291466 w 7467663"/>
              <a:gd name="connsiteY605" fmla="*/ 1250369 h 6858000"/>
              <a:gd name="connsiteX606" fmla="*/ 678222 w 7467663"/>
              <a:gd name="connsiteY606" fmla="*/ 1248670 h 6858000"/>
              <a:gd name="connsiteX607" fmla="*/ 775536 w 7467663"/>
              <a:gd name="connsiteY607" fmla="*/ 1388015 h 6858000"/>
              <a:gd name="connsiteX608" fmla="*/ 894529 w 7467663"/>
              <a:gd name="connsiteY608" fmla="*/ 1567739 h 6858000"/>
              <a:gd name="connsiteX609" fmla="*/ 948000 w 7467663"/>
              <a:gd name="connsiteY609" fmla="*/ 1663088 h 6858000"/>
              <a:gd name="connsiteX610" fmla="*/ 1006812 w 7467663"/>
              <a:gd name="connsiteY610" fmla="*/ 1767683 h 6858000"/>
              <a:gd name="connsiteX611" fmla="*/ 1149133 w 7467663"/>
              <a:gd name="connsiteY611" fmla="*/ 1971513 h 6858000"/>
              <a:gd name="connsiteX612" fmla="*/ 1333952 w 7467663"/>
              <a:gd name="connsiteY612" fmla="*/ 2251620 h 6858000"/>
              <a:gd name="connsiteX613" fmla="*/ 1337329 w 7467663"/>
              <a:gd name="connsiteY613" fmla="*/ 2258350 h 6858000"/>
              <a:gd name="connsiteX614" fmla="*/ 1014726 w 7467663"/>
              <a:gd name="connsiteY614" fmla="*/ 1615556 h 6858000"/>
              <a:gd name="connsiteX615" fmla="*/ 678222 w 7467663"/>
              <a:gd name="connsiteY615" fmla="*/ 1248670 h 6858000"/>
              <a:gd name="connsiteX616" fmla="*/ 6691602 w 7467663"/>
              <a:gd name="connsiteY616" fmla="*/ 1140573 h 6858000"/>
              <a:gd name="connsiteX617" fmla="*/ 6571100 w 7467663"/>
              <a:gd name="connsiteY617" fmla="*/ 1183662 h 6858000"/>
              <a:gd name="connsiteX618" fmla="*/ 6241687 w 7467663"/>
              <a:gd name="connsiteY618" fmla="*/ 1257600 h 6858000"/>
              <a:gd name="connsiteX619" fmla="*/ 5693009 w 7467663"/>
              <a:gd name="connsiteY619" fmla="*/ 1478256 h 6858000"/>
              <a:gd name="connsiteX620" fmla="*/ 6548420 w 7467663"/>
              <a:gd name="connsiteY620" fmla="*/ 1214599 h 6858000"/>
              <a:gd name="connsiteX621" fmla="*/ 6605473 w 7467663"/>
              <a:gd name="connsiteY621" fmla="*/ 1184686 h 6858000"/>
              <a:gd name="connsiteX622" fmla="*/ 6691602 w 7467663"/>
              <a:gd name="connsiteY622" fmla="*/ 1140573 h 6858000"/>
              <a:gd name="connsiteX623" fmla="*/ 4002475 w 7467663"/>
              <a:gd name="connsiteY623" fmla="*/ 1037802 h 6858000"/>
              <a:gd name="connsiteX624" fmla="*/ 4000324 w 7467663"/>
              <a:gd name="connsiteY624" fmla="*/ 1039362 h 6858000"/>
              <a:gd name="connsiteX625" fmla="*/ 4002862 w 7467663"/>
              <a:gd name="connsiteY625" fmla="*/ 1042866 h 6858000"/>
              <a:gd name="connsiteX626" fmla="*/ 4002475 w 7467663"/>
              <a:gd name="connsiteY626" fmla="*/ 1037802 h 6858000"/>
              <a:gd name="connsiteX627" fmla="*/ 506322 w 7467663"/>
              <a:gd name="connsiteY627" fmla="*/ 1020997 h 6858000"/>
              <a:gd name="connsiteX628" fmla="*/ 533068 w 7467663"/>
              <a:gd name="connsiteY628" fmla="*/ 1029409 h 6858000"/>
              <a:gd name="connsiteX629" fmla="*/ 1232525 w 7467663"/>
              <a:gd name="connsiteY629" fmla="*/ 1804675 h 6858000"/>
              <a:gd name="connsiteX630" fmla="*/ 1388858 w 7467663"/>
              <a:gd name="connsiteY630" fmla="*/ 2368011 h 6858000"/>
              <a:gd name="connsiteX631" fmla="*/ 1384098 w 7467663"/>
              <a:gd name="connsiteY631" fmla="*/ 2378125 h 6858000"/>
              <a:gd name="connsiteX632" fmla="*/ 1425393 w 7467663"/>
              <a:gd name="connsiteY632" fmla="*/ 2589124 h 6858000"/>
              <a:gd name="connsiteX633" fmla="*/ 1424001 w 7467663"/>
              <a:gd name="connsiteY633" fmla="*/ 2597541 h 6858000"/>
              <a:gd name="connsiteX634" fmla="*/ 2152729 w 7467663"/>
              <a:gd name="connsiteY634" fmla="*/ 2864487 h 6858000"/>
              <a:gd name="connsiteX635" fmla="*/ 2020609 w 7467663"/>
              <a:gd name="connsiteY635" fmla="*/ 2539671 h 6858000"/>
              <a:gd name="connsiteX636" fmla="*/ 2018920 w 7467663"/>
              <a:gd name="connsiteY636" fmla="*/ 2536309 h 6858000"/>
              <a:gd name="connsiteX637" fmla="*/ 1342441 w 7467663"/>
              <a:gd name="connsiteY637" fmla="*/ 1173017 h 6858000"/>
              <a:gd name="connsiteX638" fmla="*/ 1367925 w 7467663"/>
              <a:gd name="connsiteY638" fmla="*/ 1135648 h 6858000"/>
              <a:gd name="connsiteX639" fmla="*/ 1771401 w 7467663"/>
              <a:gd name="connsiteY639" fmla="*/ 1806673 h 6858000"/>
              <a:gd name="connsiteX640" fmla="*/ 1972385 w 7467663"/>
              <a:gd name="connsiteY640" fmla="*/ 2198735 h 6858000"/>
              <a:gd name="connsiteX641" fmla="*/ 2040892 w 7467663"/>
              <a:gd name="connsiteY641" fmla="*/ 2405205 h 6858000"/>
              <a:gd name="connsiteX642" fmla="*/ 2131689 w 7467663"/>
              <a:gd name="connsiteY642" fmla="*/ 1936926 h 6858000"/>
              <a:gd name="connsiteX643" fmla="*/ 2454820 w 7467663"/>
              <a:gd name="connsiteY643" fmla="*/ 1248808 h 6858000"/>
              <a:gd name="connsiteX644" fmla="*/ 2492512 w 7467663"/>
              <a:gd name="connsiteY644" fmla="*/ 1302920 h 6858000"/>
              <a:gd name="connsiteX645" fmla="*/ 2081216 w 7467663"/>
              <a:gd name="connsiteY645" fmla="*/ 2527513 h 6858000"/>
              <a:gd name="connsiteX646" fmla="*/ 2081211 w 7467663"/>
              <a:gd name="connsiteY646" fmla="*/ 2528916 h 6858000"/>
              <a:gd name="connsiteX647" fmla="*/ 2199067 w 7467663"/>
              <a:gd name="connsiteY647" fmla="*/ 2884061 h 6858000"/>
              <a:gd name="connsiteX648" fmla="*/ 3192586 w 7467663"/>
              <a:gd name="connsiteY648" fmla="*/ 3411496 h 6858000"/>
              <a:gd name="connsiteX649" fmla="*/ 3182620 w 7467663"/>
              <a:gd name="connsiteY649" fmla="*/ 3483279 h 6858000"/>
              <a:gd name="connsiteX650" fmla="*/ 2435119 w 7467663"/>
              <a:gd name="connsiteY650" fmla="*/ 3080173 h 6858000"/>
              <a:gd name="connsiteX651" fmla="*/ 2410152 w 7467663"/>
              <a:gd name="connsiteY651" fmla="*/ 3063751 h 6858000"/>
              <a:gd name="connsiteX652" fmla="*/ 2408099 w 7467663"/>
              <a:gd name="connsiteY652" fmla="*/ 3064403 h 6858000"/>
              <a:gd name="connsiteX653" fmla="*/ 2407218 w 7467663"/>
              <a:gd name="connsiteY653" fmla="*/ 3070324 h 6858000"/>
              <a:gd name="connsiteX654" fmla="*/ 2380138 w 7467663"/>
              <a:gd name="connsiteY654" fmla="*/ 3099341 h 6858000"/>
              <a:gd name="connsiteX655" fmla="*/ 1765923 w 7467663"/>
              <a:gd name="connsiteY655" fmla="*/ 3581043 h 6858000"/>
              <a:gd name="connsiteX656" fmla="*/ 1702258 w 7467663"/>
              <a:gd name="connsiteY656" fmla="*/ 3612286 h 6858000"/>
              <a:gd name="connsiteX657" fmla="*/ 1538370 w 7467663"/>
              <a:gd name="connsiteY657" fmla="*/ 3811804 h 6858000"/>
              <a:gd name="connsiteX658" fmla="*/ 542867 w 7467663"/>
              <a:gd name="connsiteY658" fmla="*/ 4944092 h 6858000"/>
              <a:gd name="connsiteX659" fmla="*/ 515800 w 7467663"/>
              <a:gd name="connsiteY659" fmla="*/ 4862180 h 6858000"/>
              <a:gd name="connsiteX660" fmla="*/ 909145 w 7467663"/>
              <a:gd name="connsiteY660" fmla="*/ 4199225 h 6858000"/>
              <a:gd name="connsiteX661" fmla="*/ 1214067 w 7467663"/>
              <a:gd name="connsiteY661" fmla="*/ 3908561 h 6858000"/>
              <a:gd name="connsiteX662" fmla="*/ 640967 w 7467663"/>
              <a:gd name="connsiteY662" fmla="*/ 4105601 h 6858000"/>
              <a:gd name="connsiteX663" fmla="*/ 112563 w 7467663"/>
              <a:gd name="connsiteY663" fmla="*/ 4396952 h 6858000"/>
              <a:gd name="connsiteX664" fmla="*/ 0 w 7467663"/>
              <a:gd name="connsiteY664" fmla="*/ 4466006 h 6858000"/>
              <a:gd name="connsiteX665" fmla="*/ 0 w 7467663"/>
              <a:gd name="connsiteY665" fmla="*/ 4233763 h 6858000"/>
              <a:gd name="connsiteX666" fmla="*/ 36881 w 7467663"/>
              <a:gd name="connsiteY666" fmla="*/ 4200118 h 6858000"/>
              <a:gd name="connsiteX667" fmla="*/ 910534 w 7467663"/>
              <a:gd name="connsiteY667" fmla="*/ 3629753 h 6858000"/>
              <a:gd name="connsiteX668" fmla="*/ 1578717 w 7467663"/>
              <a:gd name="connsiteY668" fmla="*/ 3575982 h 6858000"/>
              <a:gd name="connsiteX669" fmla="*/ 2338780 w 7467663"/>
              <a:gd name="connsiteY669" fmla="*/ 3033725 h 6858000"/>
              <a:gd name="connsiteX670" fmla="*/ 1807991 w 7467663"/>
              <a:gd name="connsiteY670" fmla="*/ 2807184 h 6858000"/>
              <a:gd name="connsiteX671" fmla="*/ 1416358 w 7467663"/>
              <a:gd name="connsiteY671" fmla="*/ 3112571 h 6858000"/>
              <a:gd name="connsiteX672" fmla="*/ 939066 w 7467663"/>
              <a:gd name="connsiteY672" fmla="*/ 3378798 h 6858000"/>
              <a:gd name="connsiteX673" fmla="*/ 115099 w 7467663"/>
              <a:gd name="connsiteY673" fmla="*/ 3607650 h 6858000"/>
              <a:gd name="connsiteX674" fmla="*/ 97284 w 7467663"/>
              <a:gd name="connsiteY674" fmla="*/ 3520393 h 6858000"/>
              <a:gd name="connsiteX675" fmla="*/ 922050 w 7467663"/>
              <a:gd name="connsiteY675" fmla="*/ 3074867 h 6858000"/>
              <a:gd name="connsiteX676" fmla="*/ 1405265 w 7467663"/>
              <a:gd name="connsiteY676" fmla="*/ 3016319 h 6858000"/>
              <a:gd name="connsiteX677" fmla="*/ 1407512 w 7467663"/>
              <a:gd name="connsiteY677" fmla="*/ 3018001 h 6858000"/>
              <a:gd name="connsiteX678" fmla="*/ 1726266 w 7467663"/>
              <a:gd name="connsiteY678" fmla="*/ 2777274 h 6858000"/>
              <a:gd name="connsiteX679" fmla="*/ 625390 w 7467663"/>
              <a:gd name="connsiteY679" fmla="*/ 2514541 h 6858000"/>
              <a:gd name="connsiteX680" fmla="*/ 619799 w 7467663"/>
              <a:gd name="connsiteY680" fmla="*/ 2527180 h 6858000"/>
              <a:gd name="connsiteX681" fmla="*/ 310030 w 7467663"/>
              <a:gd name="connsiteY681" fmla="*/ 2771818 h 6858000"/>
              <a:gd name="connsiteX682" fmla="*/ 173877 w 7467663"/>
              <a:gd name="connsiteY682" fmla="*/ 2937056 h 6858000"/>
              <a:gd name="connsiteX683" fmla="*/ 77889 w 7467663"/>
              <a:gd name="connsiteY683" fmla="*/ 3138440 h 6858000"/>
              <a:gd name="connsiteX684" fmla="*/ 0 w 7467663"/>
              <a:gd name="connsiteY684" fmla="*/ 3271395 h 6858000"/>
              <a:gd name="connsiteX685" fmla="*/ 0 w 7467663"/>
              <a:gd name="connsiteY685" fmla="*/ 3153002 h 6858000"/>
              <a:gd name="connsiteX686" fmla="*/ 2386 w 7467663"/>
              <a:gd name="connsiteY686" fmla="*/ 3149203 h 6858000"/>
              <a:gd name="connsiteX687" fmla="*/ 89753 w 7467663"/>
              <a:gd name="connsiteY687" fmla="*/ 2987702 h 6858000"/>
              <a:gd name="connsiteX688" fmla="*/ 76869 w 7467663"/>
              <a:gd name="connsiteY688" fmla="*/ 3005404 h 6858000"/>
              <a:gd name="connsiteX689" fmla="*/ 32049 w 7467663"/>
              <a:gd name="connsiteY689" fmla="*/ 3065814 h 6858000"/>
              <a:gd name="connsiteX690" fmla="*/ 0 w 7467663"/>
              <a:gd name="connsiteY690" fmla="*/ 3108744 h 6858000"/>
              <a:gd name="connsiteX691" fmla="*/ 0 w 7467663"/>
              <a:gd name="connsiteY691" fmla="*/ 3058059 h 6858000"/>
              <a:gd name="connsiteX692" fmla="*/ 7610 w 7467663"/>
              <a:gd name="connsiteY692" fmla="*/ 3047889 h 6858000"/>
              <a:gd name="connsiteX693" fmla="*/ 52419 w 7467663"/>
              <a:gd name="connsiteY693" fmla="*/ 2987479 h 6858000"/>
              <a:gd name="connsiteX694" fmla="*/ 59142 w 7467663"/>
              <a:gd name="connsiteY694" fmla="*/ 2978488 h 6858000"/>
              <a:gd name="connsiteX695" fmla="*/ 0 w 7467663"/>
              <a:gd name="connsiteY695" fmla="*/ 3015334 h 6858000"/>
              <a:gd name="connsiteX696" fmla="*/ 0 w 7467663"/>
              <a:gd name="connsiteY696" fmla="*/ 2914286 h 6858000"/>
              <a:gd name="connsiteX697" fmla="*/ 36383 w 7467663"/>
              <a:gd name="connsiteY697" fmla="*/ 2901128 h 6858000"/>
              <a:gd name="connsiteX698" fmla="*/ 156329 w 7467663"/>
              <a:gd name="connsiteY698" fmla="*/ 2840533 h 6858000"/>
              <a:gd name="connsiteX699" fmla="*/ 358355 w 7467663"/>
              <a:gd name="connsiteY699" fmla="*/ 2620471 h 6858000"/>
              <a:gd name="connsiteX700" fmla="*/ 510577 w 7467663"/>
              <a:gd name="connsiteY700" fmla="*/ 2501244 h 6858000"/>
              <a:gd name="connsiteX701" fmla="*/ 211967 w 7467663"/>
              <a:gd name="connsiteY701" fmla="*/ 2479171 h 6858000"/>
              <a:gd name="connsiteX702" fmla="*/ 0 w 7467663"/>
              <a:gd name="connsiteY702" fmla="*/ 2476398 h 6858000"/>
              <a:gd name="connsiteX703" fmla="*/ 0 w 7467663"/>
              <a:gd name="connsiteY703" fmla="*/ 2389189 h 6858000"/>
              <a:gd name="connsiteX704" fmla="*/ 103062 w 7467663"/>
              <a:gd name="connsiteY704" fmla="*/ 2389518 h 6858000"/>
              <a:gd name="connsiteX705" fmla="*/ 510734 w 7467663"/>
              <a:gd name="connsiteY705" fmla="*/ 2416201 h 6858000"/>
              <a:gd name="connsiteX706" fmla="*/ 279257 w 7467663"/>
              <a:gd name="connsiteY706" fmla="*/ 2092102 h 6858000"/>
              <a:gd name="connsiteX707" fmla="*/ 65265 w 7467663"/>
              <a:gd name="connsiteY707" fmla="*/ 2006049 h 6858000"/>
              <a:gd name="connsiteX708" fmla="*/ 0 w 7467663"/>
              <a:gd name="connsiteY708" fmla="*/ 1982532 h 6858000"/>
              <a:gd name="connsiteX709" fmla="*/ 0 w 7467663"/>
              <a:gd name="connsiteY709" fmla="*/ 1912789 h 6858000"/>
              <a:gd name="connsiteX710" fmla="*/ 97460 w 7467663"/>
              <a:gd name="connsiteY710" fmla="*/ 1953725 h 6858000"/>
              <a:gd name="connsiteX711" fmla="*/ 221272 w 7467663"/>
              <a:gd name="connsiteY711" fmla="*/ 1980766 h 6858000"/>
              <a:gd name="connsiteX712" fmla="*/ 116765 w 7467663"/>
              <a:gd name="connsiteY712" fmla="*/ 1911033 h 6858000"/>
              <a:gd name="connsiteX713" fmla="*/ 16405 w 7467663"/>
              <a:gd name="connsiteY713" fmla="*/ 1803412 h 6858000"/>
              <a:gd name="connsiteX714" fmla="*/ 0 w 7467663"/>
              <a:gd name="connsiteY714" fmla="*/ 1784777 h 6858000"/>
              <a:gd name="connsiteX715" fmla="*/ 0 w 7467663"/>
              <a:gd name="connsiteY715" fmla="*/ 1740082 h 6858000"/>
              <a:gd name="connsiteX716" fmla="*/ 39394 w 7467663"/>
              <a:gd name="connsiteY716" fmla="*/ 1784856 h 6858000"/>
              <a:gd name="connsiteX717" fmla="*/ 135813 w 7467663"/>
              <a:gd name="connsiteY717" fmla="*/ 1888838 h 6858000"/>
              <a:gd name="connsiteX718" fmla="*/ 242575 w 7467663"/>
              <a:gd name="connsiteY718" fmla="*/ 1958841 h 6858000"/>
              <a:gd name="connsiteX719" fmla="*/ 82197 w 7467663"/>
              <a:gd name="connsiteY719" fmla="*/ 1754826 h 6858000"/>
              <a:gd name="connsiteX720" fmla="*/ 0 w 7467663"/>
              <a:gd name="connsiteY720" fmla="*/ 1679650 h 6858000"/>
              <a:gd name="connsiteX721" fmla="*/ 0 w 7467663"/>
              <a:gd name="connsiteY721" fmla="*/ 1602463 h 6858000"/>
              <a:gd name="connsiteX722" fmla="*/ 84689 w 7467663"/>
              <a:gd name="connsiteY722" fmla="*/ 1677442 h 6858000"/>
              <a:gd name="connsiteX723" fmla="*/ 298437 w 7467663"/>
              <a:gd name="connsiteY723" fmla="*/ 1968019 h 6858000"/>
              <a:gd name="connsiteX724" fmla="*/ 227269 w 7467663"/>
              <a:gd name="connsiteY724" fmla="*/ 1114064 h 6858000"/>
              <a:gd name="connsiteX725" fmla="*/ 248003 w 7467663"/>
              <a:gd name="connsiteY725" fmla="*/ 1089613 h 6858000"/>
              <a:gd name="connsiteX726" fmla="*/ 427020 w 7467663"/>
              <a:gd name="connsiteY726" fmla="*/ 1619803 h 6858000"/>
              <a:gd name="connsiteX727" fmla="*/ 340345 w 7467663"/>
              <a:gd name="connsiteY727" fmla="*/ 2027739 h 6858000"/>
              <a:gd name="connsiteX728" fmla="*/ 360865 w 7467663"/>
              <a:gd name="connsiteY728" fmla="*/ 2044827 h 6858000"/>
              <a:gd name="connsiteX729" fmla="*/ 560414 w 7467663"/>
              <a:gd name="connsiteY729" fmla="*/ 2421457 h 6858000"/>
              <a:gd name="connsiteX730" fmla="*/ 1359703 w 7467663"/>
              <a:gd name="connsiteY730" fmla="*/ 2578554 h 6858000"/>
              <a:gd name="connsiteX731" fmla="*/ 1359422 w 7467663"/>
              <a:gd name="connsiteY731" fmla="*/ 2577994 h 6858000"/>
              <a:gd name="connsiteX732" fmla="*/ 828701 w 7467663"/>
              <a:gd name="connsiteY732" fmla="*/ 1839520 h 6858000"/>
              <a:gd name="connsiteX733" fmla="*/ 494427 w 7467663"/>
              <a:gd name="connsiteY733" fmla="*/ 1092333 h 6858000"/>
              <a:gd name="connsiteX734" fmla="*/ 506322 w 7467663"/>
              <a:gd name="connsiteY734" fmla="*/ 1020997 h 6858000"/>
              <a:gd name="connsiteX735" fmla="*/ 4570198 w 7467663"/>
              <a:gd name="connsiteY735" fmla="*/ 978081 h 6858000"/>
              <a:gd name="connsiteX736" fmla="*/ 4523691 w 7467663"/>
              <a:gd name="connsiteY736" fmla="*/ 1127776 h 6858000"/>
              <a:gd name="connsiteX737" fmla="*/ 4509875 w 7467663"/>
              <a:gd name="connsiteY737" fmla="*/ 1167552 h 6858000"/>
              <a:gd name="connsiteX738" fmla="*/ 4478168 w 7467663"/>
              <a:gd name="connsiteY738" fmla="*/ 1260735 h 6858000"/>
              <a:gd name="connsiteX739" fmla="*/ 4409309 w 7467663"/>
              <a:gd name="connsiteY739" fmla="*/ 1666996 h 6858000"/>
              <a:gd name="connsiteX740" fmla="*/ 4370031 w 7467663"/>
              <a:gd name="connsiteY740" fmla="*/ 1955666 h 6858000"/>
              <a:gd name="connsiteX741" fmla="*/ 4570198 w 7467663"/>
              <a:gd name="connsiteY741" fmla="*/ 978081 h 6858000"/>
              <a:gd name="connsiteX742" fmla="*/ 4557898 w 7467663"/>
              <a:gd name="connsiteY742" fmla="*/ 900011 h 6858000"/>
              <a:gd name="connsiteX743" fmla="*/ 4344840 w 7467663"/>
              <a:gd name="connsiteY743" fmla="*/ 1922038 h 6858000"/>
              <a:gd name="connsiteX744" fmla="*/ 4378710 w 7467663"/>
              <a:gd name="connsiteY744" fmla="*/ 1665516 h 6858000"/>
              <a:gd name="connsiteX745" fmla="*/ 4448798 w 7467663"/>
              <a:gd name="connsiteY745" fmla="*/ 1253024 h 6858000"/>
              <a:gd name="connsiteX746" fmla="*/ 4480315 w 7467663"/>
              <a:gd name="connsiteY746" fmla="*/ 1158454 h 6858000"/>
              <a:gd name="connsiteX747" fmla="*/ 4494133 w 7467663"/>
              <a:gd name="connsiteY747" fmla="*/ 1118676 h 6858000"/>
              <a:gd name="connsiteX748" fmla="*/ 4557898 w 7467663"/>
              <a:gd name="connsiteY748" fmla="*/ 900011 h 6858000"/>
              <a:gd name="connsiteX749" fmla="*/ 5870151 w 7467663"/>
              <a:gd name="connsiteY749" fmla="*/ 898890 h 6858000"/>
              <a:gd name="connsiteX750" fmla="*/ 5861335 w 7467663"/>
              <a:gd name="connsiteY750" fmla="*/ 899177 h 6858000"/>
              <a:gd name="connsiteX751" fmla="*/ 5843702 w 7467663"/>
              <a:gd name="connsiteY751" fmla="*/ 899748 h 6858000"/>
              <a:gd name="connsiteX752" fmla="*/ 5651107 w 7467663"/>
              <a:gd name="connsiteY752" fmla="*/ 920306 h 6858000"/>
              <a:gd name="connsiteX753" fmla="*/ 5459407 w 7467663"/>
              <a:gd name="connsiteY753" fmla="*/ 940975 h 6858000"/>
              <a:gd name="connsiteX754" fmla="*/ 5374846 w 7467663"/>
              <a:gd name="connsiteY754" fmla="*/ 941988 h 6858000"/>
              <a:gd name="connsiteX755" fmla="*/ 5256105 w 7467663"/>
              <a:gd name="connsiteY755" fmla="*/ 945632 h 6858000"/>
              <a:gd name="connsiteX756" fmla="*/ 5107071 w 7467663"/>
              <a:gd name="connsiteY756" fmla="*/ 969720 h 6858000"/>
              <a:gd name="connsiteX757" fmla="*/ 4998681 w 7467663"/>
              <a:gd name="connsiteY757" fmla="*/ 988771 h 6858000"/>
              <a:gd name="connsiteX758" fmla="*/ 5870151 w 7467663"/>
              <a:gd name="connsiteY758" fmla="*/ 898890 h 6858000"/>
              <a:gd name="connsiteX759" fmla="*/ 5504425 w 7467663"/>
              <a:gd name="connsiteY759" fmla="*/ 848067 h 6858000"/>
              <a:gd name="connsiteX760" fmla="*/ 4968849 w 7467663"/>
              <a:gd name="connsiteY760" fmla="*/ 962318 h 6858000"/>
              <a:gd name="connsiteX761" fmla="*/ 5104039 w 7467663"/>
              <a:gd name="connsiteY761" fmla="*/ 940634 h 6858000"/>
              <a:gd name="connsiteX762" fmla="*/ 5256311 w 7467663"/>
              <a:gd name="connsiteY762" fmla="*/ 916490 h 6858000"/>
              <a:gd name="connsiteX763" fmla="*/ 5377381 w 7467663"/>
              <a:gd name="connsiteY763" fmla="*/ 912671 h 6858000"/>
              <a:gd name="connsiteX764" fmla="*/ 5460148 w 7467663"/>
              <a:gd name="connsiteY764" fmla="*/ 911442 h 6858000"/>
              <a:gd name="connsiteX765" fmla="*/ 5648971 w 7467663"/>
              <a:gd name="connsiteY765" fmla="*/ 891331 h 6858000"/>
              <a:gd name="connsiteX766" fmla="*/ 5844807 w 7467663"/>
              <a:gd name="connsiteY766" fmla="*/ 870718 h 6858000"/>
              <a:gd name="connsiteX767" fmla="*/ 5862975 w 7467663"/>
              <a:gd name="connsiteY767" fmla="*/ 869756 h 6858000"/>
              <a:gd name="connsiteX768" fmla="*/ 5920887 w 7467663"/>
              <a:gd name="connsiteY768" fmla="*/ 865929 h 6858000"/>
              <a:gd name="connsiteX769" fmla="*/ 5504425 w 7467663"/>
              <a:gd name="connsiteY769" fmla="*/ 848067 h 6858000"/>
              <a:gd name="connsiteX770" fmla="*/ 3607114 w 7467663"/>
              <a:gd name="connsiteY770" fmla="*/ 467441 h 6858000"/>
              <a:gd name="connsiteX771" fmla="*/ 3296242 w 7467663"/>
              <a:gd name="connsiteY771" fmla="*/ 807991 h 6858000"/>
              <a:gd name="connsiteX772" fmla="*/ 3174674 w 7467663"/>
              <a:gd name="connsiteY772" fmla="*/ 919759 h 6858000"/>
              <a:gd name="connsiteX773" fmla="*/ 3042978 w 7467663"/>
              <a:gd name="connsiteY773" fmla="*/ 1054894 h 6858000"/>
              <a:gd name="connsiteX774" fmla="*/ 2968914 w 7467663"/>
              <a:gd name="connsiteY774" fmla="*/ 1133756 h 6858000"/>
              <a:gd name="connsiteX775" fmla="*/ 3103823 w 7467663"/>
              <a:gd name="connsiteY775" fmla="*/ 1026814 h 6858000"/>
              <a:gd name="connsiteX776" fmla="*/ 3607114 w 7467663"/>
              <a:gd name="connsiteY776" fmla="*/ 467441 h 6858000"/>
              <a:gd name="connsiteX777" fmla="*/ 3744487 w 7467663"/>
              <a:gd name="connsiteY777" fmla="*/ 383136 h 6858000"/>
              <a:gd name="connsiteX778" fmla="*/ 3970213 w 7467663"/>
              <a:gd name="connsiteY778" fmla="*/ 995559 h 6858000"/>
              <a:gd name="connsiteX779" fmla="*/ 3744487 w 7467663"/>
              <a:gd name="connsiteY779" fmla="*/ 383136 h 6858000"/>
              <a:gd name="connsiteX780" fmla="*/ 3624562 w 7467663"/>
              <a:gd name="connsiteY780" fmla="*/ 367041 h 6858000"/>
              <a:gd name="connsiteX781" fmla="*/ 3489712 w 7467663"/>
              <a:gd name="connsiteY781" fmla="*/ 485386 h 6858000"/>
              <a:gd name="connsiteX782" fmla="*/ 3182994 w 7467663"/>
              <a:gd name="connsiteY782" fmla="*/ 828265 h 6858000"/>
              <a:gd name="connsiteX783" fmla="*/ 2892114 w 7467663"/>
              <a:gd name="connsiteY783" fmla="*/ 1172635 h 6858000"/>
              <a:gd name="connsiteX784" fmla="*/ 3021459 w 7467663"/>
              <a:gd name="connsiteY784" fmla="*/ 1035385 h 6858000"/>
              <a:gd name="connsiteX785" fmla="*/ 3153873 w 7467663"/>
              <a:gd name="connsiteY785" fmla="*/ 898971 h 6858000"/>
              <a:gd name="connsiteX786" fmla="*/ 3276511 w 7467663"/>
              <a:gd name="connsiteY786" fmla="*/ 786423 h 6858000"/>
              <a:gd name="connsiteX787" fmla="*/ 3584154 w 7467663"/>
              <a:gd name="connsiteY787" fmla="*/ 448218 h 6858000"/>
              <a:gd name="connsiteX788" fmla="*/ 3624562 w 7467663"/>
              <a:gd name="connsiteY788" fmla="*/ 367041 h 6858000"/>
              <a:gd name="connsiteX789" fmla="*/ 3766672 w 7467663"/>
              <a:gd name="connsiteY789" fmla="*/ 359429 h 6858000"/>
              <a:gd name="connsiteX790" fmla="*/ 3996338 w 7467663"/>
              <a:gd name="connsiteY790" fmla="*/ 968237 h 6858000"/>
              <a:gd name="connsiteX791" fmla="*/ 3766672 w 7467663"/>
              <a:gd name="connsiteY791" fmla="*/ 359429 h 6858000"/>
              <a:gd name="connsiteX792" fmla="*/ 5805386 w 7467663"/>
              <a:gd name="connsiteY792" fmla="*/ 239240 h 6858000"/>
              <a:gd name="connsiteX793" fmla="*/ 5736947 w 7467663"/>
              <a:gd name="connsiteY793" fmla="*/ 261367 h 6858000"/>
              <a:gd name="connsiteX794" fmla="*/ 5427012 w 7467663"/>
              <a:gd name="connsiteY794" fmla="*/ 311272 h 6858000"/>
              <a:gd name="connsiteX795" fmla="*/ 5147818 w 7467663"/>
              <a:gd name="connsiteY795" fmla="*/ 322112 h 6858000"/>
              <a:gd name="connsiteX796" fmla="*/ 5060854 w 7467663"/>
              <a:gd name="connsiteY796" fmla="*/ 311882 h 6858000"/>
              <a:gd name="connsiteX797" fmla="*/ 4945989 w 7467663"/>
              <a:gd name="connsiteY797" fmla="*/ 300516 h 6858000"/>
              <a:gd name="connsiteX798" fmla="*/ 5410479 w 7467663"/>
              <a:gd name="connsiteY798" fmla="*/ 348434 h 6858000"/>
              <a:gd name="connsiteX799" fmla="*/ 5805386 w 7467663"/>
              <a:gd name="connsiteY799" fmla="*/ 239240 h 6858000"/>
              <a:gd name="connsiteX800" fmla="*/ 5905192 w 7467663"/>
              <a:gd name="connsiteY800" fmla="*/ 163079 h 6858000"/>
              <a:gd name="connsiteX801" fmla="*/ 5865655 w 7467663"/>
              <a:gd name="connsiteY801" fmla="*/ 171901 h 6858000"/>
              <a:gd name="connsiteX802" fmla="*/ 5259740 w 7467663"/>
              <a:gd name="connsiteY802" fmla="*/ 257013 h 6858000"/>
              <a:gd name="connsiteX803" fmla="*/ 5208466 w 7467663"/>
              <a:gd name="connsiteY803" fmla="*/ 257550 h 6858000"/>
              <a:gd name="connsiteX804" fmla="*/ 4980204 w 7467663"/>
              <a:gd name="connsiteY804" fmla="*/ 271903 h 6858000"/>
              <a:gd name="connsiteX805" fmla="*/ 5068068 w 7467663"/>
              <a:gd name="connsiteY805" fmla="*/ 282244 h 6858000"/>
              <a:gd name="connsiteX806" fmla="*/ 5153231 w 7467663"/>
              <a:gd name="connsiteY806" fmla="*/ 292240 h 6858000"/>
              <a:gd name="connsiteX807" fmla="*/ 5426491 w 7467663"/>
              <a:gd name="connsiteY807" fmla="*/ 281128 h 6858000"/>
              <a:gd name="connsiteX808" fmla="*/ 5731212 w 7467663"/>
              <a:gd name="connsiteY808" fmla="*/ 231951 h 6858000"/>
              <a:gd name="connsiteX809" fmla="*/ 5905192 w 7467663"/>
              <a:gd name="connsiteY809" fmla="*/ 163079 h 6858000"/>
              <a:gd name="connsiteX810" fmla="*/ 5944437 w 7467663"/>
              <a:gd name="connsiteY810" fmla="*/ 113829 h 6858000"/>
              <a:gd name="connsiteX811" fmla="*/ 5825032 w 7467663"/>
              <a:gd name="connsiteY811" fmla="*/ 146405 h 6858000"/>
              <a:gd name="connsiteX812" fmla="*/ 4955599 w 7467663"/>
              <a:gd name="connsiteY812" fmla="*/ 247008 h 6858000"/>
              <a:gd name="connsiteX813" fmla="*/ 5210104 w 7467663"/>
              <a:gd name="connsiteY813" fmla="*/ 228123 h 6858000"/>
              <a:gd name="connsiteX814" fmla="*/ 5261015 w 7467663"/>
              <a:gd name="connsiteY814" fmla="*/ 227087 h 6858000"/>
              <a:gd name="connsiteX815" fmla="*/ 5861181 w 7467663"/>
              <a:gd name="connsiteY815" fmla="*/ 143093 h 6858000"/>
              <a:gd name="connsiteX816" fmla="*/ 5961252 w 7467663"/>
              <a:gd name="connsiteY816" fmla="*/ 114820 h 6858000"/>
              <a:gd name="connsiteX817" fmla="*/ 5944437 w 7467663"/>
              <a:gd name="connsiteY817" fmla="*/ 113829 h 6858000"/>
              <a:gd name="connsiteX818" fmla="*/ 3882765 w 7467663"/>
              <a:gd name="connsiteY818" fmla="*/ 0 h 6858000"/>
              <a:gd name="connsiteX819" fmla="*/ 3995099 w 7467663"/>
              <a:gd name="connsiteY819" fmla="*/ 0 h 6858000"/>
              <a:gd name="connsiteX820" fmla="*/ 4163818 w 7467663"/>
              <a:gd name="connsiteY820" fmla="*/ 234104 h 6858000"/>
              <a:gd name="connsiteX821" fmla="*/ 4172099 w 7467663"/>
              <a:gd name="connsiteY821" fmla="*/ 234207 h 6858000"/>
              <a:gd name="connsiteX822" fmla="*/ 4784282 w 7467663"/>
              <a:gd name="connsiteY822" fmla="*/ 276561 h 6858000"/>
              <a:gd name="connsiteX823" fmla="*/ 4801687 w 7467663"/>
              <a:gd name="connsiteY823" fmla="*/ 267764 h 6858000"/>
              <a:gd name="connsiteX824" fmla="*/ 6082788 w 7467663"/>
              <a:gd name="connsiteY824" fmla="*/ 64119 h 6858000"/>
              <a:gd name="connsiteX825" fmla="*/ 6099442 w 7467663"/>
              <a:gd name="connsiteY825" fmla="*/ 82568 h 6858000"/>
              <a:gd name="connsiteX826" fmla="*/ 4804137 w 7467663"/>
              <a:gd name="connsiteY826" fmla="*/ 320931 h 6858000"/>
              <a:gd name="connsiteX827" fmla="*/ 4227047 w 7467663"/>
              <a:gd name="connsiteY827" fmla="*/ 313415 h 6858000"/>
              <a:gd name="connsiteX828" fmla="*/ 4346041 w 7467663"/>
              <a:gd name="connsiteY828" fmla="*/ 456086 h 6858000"/>
              <a:gd name="connsiteX829" fmla="*/ 4870967 w 7467663"/>
              <a:gd name="connsiteY829" fmla="*/ 963061 h 6858000"/>
              <a:gd name="connsiteX830" fmla="*/ 4889647 w 7467663"/>
              <a:gd name="connsiteY830" fmla="*/ 957147 h 6858000"/>
              <a:gd name="connsiteX831" fmla="*/ 5422504 w 7467663"/>
              <a:gd name="connsiteY831" fmla="*/ 805191 h 6858000"/>
              <a:gd name="connsiteX832" fmla="*/ 6087656 w 7467663"/>
              <a:gd name="connsiteY832" fmla="*/ 826703 h 6858000"/>
              <a:gd name="connsiteX833" fmla="*/ 6058717 w 7467663"/>
              <a:gd name="connsiteY833" fmla="*/ 865992 h 6858000"/>
              <a:gd name="connsiteX834" fmla="*/ 4974153 w 7467663"/>
              <a:gd name="connsiteY834" fmla="*/ 1045456 h 6858000"/>
              <a:gd name="connsiteX835" fmla="*/ 5627835 w 7467663"/>
              <a:gd name="connsiteY835" fmla="*/ 1472077 h 6858000"/>
              <a:gd name="connsiteX836" fmla="*/ 5629817 w 7467663"/>
              <a:gd name="connsiteY836" fmla="*/ 1471412 h 6858000"/>
              <a:gd name="connsiteX837" fmla="*/ 5634124 w 7467663"/>
              <a:gd name="connsiteY837" fmla="*/ 1470572 h 6858000"/>
              <a:gd name="connsiteX838" fmla="*/ 5755832 w 7467663"/>
              <a:gd name="connsiteY838" fmla="*/ 1383886 h 6858000"/>
              <a:gd name="connsiteX839" fmla="*/ 6014186 w 7467663"/>
              <a:gd name="connsiteY839" fmla="*/ 1279799 h 6858000"/>
              <a:gd name="connsiteX840" fmla="*/ 6901619 w 7467663"/>
              <a:gd name="connsiteY840" fmla="*/ 1047874 h 6858000"/>
              <a:gd name="connsiteX841" fmla="*/ 6931566 w 7467663"/>
              <a:gd name="connsiteY841" fmla="*/ 1062034 h 6858000"/>
              <a:gd name="connsiteX842" fmla="*/ 5790982 w 7467663"/>
              <a:gd name="connsiteY842" fmla="*/ 1561380 h 6858000"/>
              <a:gd name="connsiteX843" fmla="*/ 6188971 w 7467663"/>
              <a:gd name="connsiteY843" fmla="*/ 1755168 h 6858000"/>
              <a:gd name="connsiteX844" fmla="*/ 6202446 w 7467663"/>
              <a:gd name="connsiteY844" fmla="*/ 1752268 h 6858000"/>
              <a:gd name="connsiteX845" fmla="*/ 7179560 w 7467663"/>
              <a:gd name="connsiteY845" fmla="*/ 1467551 h 6858000"/>
              <a:gd name="connsiteX846" fmla="*/ 7158730 w 7467663"/>
              <a:gd name="connsiteY846" fmla="*/ 1507835 h 6858000"/>
              <a:gd name="connsiteX847" fmla="*/ 6326959 w 7467663"/>
              <a:gd name="connsiteY847" fmla="*/ 1817686 h 6858000"/>
              <a:gd name="connsiteX848" fmla="*/ 6537433 w 7467663"/>
              <a:gd name="connsiteY848" fmla="*/ 1907790 h 6858000"/>
              <a:gd name="connsiteX849" fmla="*/ 6550221 w 7467663"/>
              <a:gd name="connsiteY849" fmla="*/ 1910729 h 6858000"/>
              <a:gd name="connsiteX850" fmla="*/ 6964438 w 7467663"/>
              <a:gd name="connsiteY850" fmla="*/ 2209505 h 6858000"/>
              <a:gd name="connsiteX851" fmla="*/ 7367862 w 7467663"/>
              <a:gd name="connsiteY851" fmla="*/ 2806833 h 6858000"/>
              <a:gd name="connsiteX852" fmla="*/ 7364329 w 7467663"/>
              <a:gd name="connsiteY852" fmla="*/ 2826907 h 6858000"/>
              <a:gd name="connsiteX853" fmla="*/ 7290545 w 7467663"/>
              <a:gd name="connsiteY853" fmla="*/ 2850663 h 6858000"/>
              <a:gd name="connsiteX854" fmla="*/ 6472036 w 7467663"/>
              <a:gd name="connsiteY854" fmla="*/ 1959003 h 6858000"/>
              <a:gd name="connsiteX855" fmla="*/ 5792897 w 7467663"/>
              <a:gd name="connsiteY855" fmla="*/ 1647747 h 6858000"/>
              <a:gd name="connsiteX856" fmla="*/ 5842751 w 7467663"/>
              <a:gd name="connsiteY856" fmla="*/ 1816112 h 6858000"/>
              <a:gd name="connsiteX857" fmla="*/ 5847424 w 7467663"/>
              <a:gd name="connsiteY857" fmla="*/ 1815776 h 6858000"/>
              <a:gd name="connsiteX858" fmla="*/ 6399821 w 7467663"/>
              <a:gd name="connsiteY858" fmla="*/ 2344799 h 6858000"/>
              <a:gd name="connsiteX859" fmla="*/ 6323232 w 7467663"/>
              <a:gd name="connsiteY859" fmla="*/ 2389634 h 6858000"/>
              <a:gd name="connsiteX860" fmla="*/ 5942958 w 7467663"/>
              <a:gd name="connsiteY860" fmla="*/ 2077708 h 6858000"/>
              <a:gd name="connsiteX861" fmla="*/ 5921559 w 7467663"/>
              <a:gd name="connsiteY861" fmla="*/ 2378596 h 6858000"/>
              <a:gd name="connsiteX862" fmla="*/ 5817651 w 7467663"/>
              <a:gd name="connsiteY862" fmla="*/ 3023919 h 6858000"/>
              <a:gd name="connsiteX863" fmla="*/ 5729634 w 7467663"/>
              <a:gd name="connsiteY863" fmla="*/ 3051849 h 6858000"/>
              <a:gd name="connsiteX864" fmla="*/ 5611018 w 7467663"/>
              <a:gd name="connsiteY864" fmla="*/ 2316769 h 6858000"/>
              <a:gd name="connsiteX865" fmla="*/ 5687608 w 7467663"/>
              <a:gd name="connsiteY865" fmla="*/ 2039972 h 6858000"/>
              <a:gd name="connsiteX866" fmla="*/ 5657554 w 7467663"/>
              <a:gd name="connsiteY866" fmla="*/ 1576445 h 6858000"/>
              <a:gd name="connsiteX867" fmla="*/ 5150475 w 7467663"/>
              <a:gd name="connsiteY867" fmla="*/ 1274012 h 6858000"/>
              <a:gd name="connsiteX868" fmla="*/ 5349142 w 7467663"/>
              <a:gd name="connsiteY868" fmla="*/ 2204405 h 6858000"/>
              <a:gd name="connsiteX869" fmla="*/ 5262214 w 7467663"/>
              <a:gd name="connsiteY869" fmla="*/ 2233836 h 6858000"/>
              <a:gd name="connsiteX870" fmla="*/ 4981539 w 7467663"/>
              <a:gd name="connsiteY870" fmla="*/ 1542201 h 6858000"/>
              <a:gd name="connsiteX871" fmla="*/ 4958461 w 7467663"/>
              <a:gd name="connsiteY871" fmla="*/ 1136957 h 6858000"/>
              <a:gd name="connsiteX872" fmla="*/ 4655015 w 7467663"/>
              <a:gd name="connsiteY872" fmla="*/ 891426 h 6858000"/>
              <a:gd name="connsiteX873" fmla="*/ 4348002 w 7467663"/>
              <a:gd name="connsiteY873" fmla="*/ 2205895 h 6858000"/>
              <a:gd name="connsiteX874" fmla="*/ 4262250 w 7467663"/>
              <a:gd name="connsiteY874" fmla="*/ 2219972 h 6858000"/>
              <a:gd name="connsiteX875" fmla="*/ 4550611 w 7467663"/>
              <a:gd name="connsiteY875" fmla="*/ 817540 h 6858000"/>
              <a:gd name="connsiteX876" fmla="*/ 4564418 w 7467663"/>
              <a:gd name="connsiteY876" fmla="*/ 808293 h 6858000"/>
              <a:gd name="connsiteX877" fmla="*/ 4266388 w 7467663"/>
              <a:gd name="connsiteY877" fmla="*/ 500083 h 6858000"/>
              <a:gd name="connsiteX878" fmla="*/ 4032842 w 7467663"/>
              <a:gd name="connsiteY878" fmla="*/ 211809 h 6858000"/>
              <a:gd name="connsiteX879" fmla="*/ 3882765 w 7467663"/>
              <a:gd name="connsiteY879" fmla="*/ 0 h 6858000"/>
              <a:gd name="connsiteX880" fmla="*/ 3721337 w 7467663"/>
              <a:gd name="connsiteY880" fmla="*/ 0 h 6858000"/>
              <a:gd name="connsiteX881" fmla="*/ 3797544 w 7467663"/>
              <a:gd name="connsiteY881" fmla="*/ 0 h 6858000"/>
              <a:gd name="connsiteX882" fmla="*/ 3775734 w 7467663"/>
              <a:gd name="connsiteY882" fmla="*/ 95131 h 6858000"/>
              <a:gd name="connsiteX883" fmla="*/ 3724807 w 7467663"/>
              <a:gd name="connsiteY883" fmla="*/ 272257 h 6858000"/>
              <a:gd name="connsiteX884" fmla="*/ 3726844 w 7467663"/>
              <a:gd name="connsiteY884" fmla="*/ 282988 h 6858000"/>
              <a:gd name="connsiteX885" fmla="*/ 3742664 w 7467663"/>
              <a:gd name="connsiteY885" fmla="*/ 279918 h 6858000"/>
              <a:gd name="connsiteX886" fmla="*/ 4103910 w 7467663"/>
              <a:gd name="connsiteY886" fmla="*/ 1161917 h 6858000"/>
              <a:gd name="connsiteX887" fmla="*/ 4020269 w 7467663"/>
              <a:gd name="connsiteY887" fmla="*/ 1200406 h 6858000"/>
              <a:gd name="connsiteX888" fmla="*/ 3674882 w 7467663"/>
              <a:gd name="connsiteY888" fmla="*/ 488524 h 6858000"/>
              <a:gd name="connsiteX889" fmla="*/ 3132682 w 7467663"/>
              <a:gd name="connsiteY889" fmla="*/ 1072284 h 6858000"/>
              <a:gd name="connsiteX890" fmla="*/ 2716346 w 7467663"/>
              <a:gd name="connsiteY890" fmla="*/ 1276376 h 6858000"/>
              <a:gd name="connsiteX891" fmla="*/ 2716772 w 7467663"/>
              <a:gd name="connsiteY891" fmla="*/ 1255462 h 6858000"/>
              <a:gd name="connsiteX892" fmla="*/ 3471096 w 7467663"/>
              <a:gd name="connsiteY892" fmla="*/ 437072 h 6858000"/>
              <a:gd name="connsiteX893" fmla="*/ 3639057 w 7467663"/>
              <a:gd name="connsiteY893" fmla="*/ 286334 h 6858000"/>
              <a:gd name="connsiteX894" fmla="*/ 3640309 w 7467663"/>
              <a:gd name="connsiteY894" fmla="*/ 284664 h 6858000"/>
              <a:gd name="connsiteX895" fmla="*/ 3646022 w 7467663"/>
              <a:gd name="connsiteY895" fmla="*/ 276711 h 6858000"/>
              <a:gd name="connsiteX896" fmla="*/ 3707943 w 7467663"/>
              <a:gd name="connsiteY896" fmla="*/ 65958 h 6858000"/>
              <a:gd name="connsiteX897" fmla="*/ 3721337 w 7467663"/>
              <a:gd name="connsiteY897" fmla="*/ 0 h 6858000"/>
              <a:gd name="connsiteX898" fmla="*/ 2867960 w 7467663"/>
              <a:gd name="connsiteY898" fmla="*/ 0 h 6858000"/>
              <a:gd name="connsiteX899" fmla="*/ 2926351 w 7467663"/>
              <a:gd name="connsiteY899" fmla="*/ 0 h 6858000"/>
              <a:gd name="connsiteX900" fmla="*/ 2902823 w 7467663"/>
              <a:gd name="connsiteY900" fmla="*/ 262929 h 6858000"/>
              <a:gd name="connsiteX901" fmla="*/ 2940663 w 7467663"/>
              <a:gd name="connsiteY901" fmla="*/ 140884 h 6858000"/>
              <a:gd name="connsiteX902" fmla="*/ 2947039 w 7467663"/>
              <a:gd name="connsiteY902" fmla="*/ 122524 h 6858000"/>
              <a:gd name="connsiteX903" fmla="*/ 2984316 w 7467663"/>
              <a:gd name="connsiteY903" fmla="*/ 0 h 6858000"/>
              <a:gd name="connsiteX904" fmla="*/ 3016114 w 7467663"/>
              <a:gd name="connsiteY904" fmla="*/ 0 h 6858000"/>
              <a:gd name="connsiteX905" fmla="*/ 2979949 w 7467663"/>
              <a:gd name="connsiteY905" fmla="*/ 119274 h 6858000"/>
              <a:gd name="connsiteX906" fmla="*/ 3023879 w 7467663"/>
              <a:gd name="connsiteY906" fmla="*/ 0 h 6858000"/>
              <a:gd name="connsiteX907" fmla="*/ 3105400 w 7467663"/>
              <a:gd name="connsiteY907" fmla="*/ 0 h 6858000"/>
              <a:gd name="connsiteX908" fmla="*/ 3094669 w 7467663"/>
              <a:gd name="connsiteY908" fmla="*/ 30308 h 6858000"/>
              <a:gd name="connsiteX909" fmla="*/ 2901945 w 7467663"/>
              <a:gd name="connsiteY909" fmla="*/ 466538 h 6858000"/>
              <a:gd name="connsiteX910" fmla="*/ 2815209 w 7467663"/>
              <a:gd name="connsiteY910" fmla="*/ 497361 h 6858000"/>
              <a:gd name="connsiteX911" fmla="*/ 2844845 w 7467663"/>
              <a:gd name="connsiteY911" fmla="*/ 127638 h 6858000"/>
              <a:gd name="connsiteX912" fmla="*/ 2867960 w 7467663"/>
              <a:gd name="connsiteY912" fmla="*/ 0 h 6858000"/>
              <a:gd name="connsiteX913" fmla="*/ 1057230 w 7467663"/>
              <a:gd name="connsiteY913" fmla="*/ 0 h 6858000"/>
              <a:gd name="connsiteX914" fmla="*/ 1111003 w 7467663"/>
              <a:gd name="connsiteY914" fmla="*/ 0 h 6858000"/>
              <a:gd name="connsiteX915" fmla="*/ 1125553 w 7467663"/>
              <a:gd name="connsiteY915" fmla="*/ 52588 h 6858000"/>
              <a:gd name="connsiteX916" fmla="*/ 1304276 w 7467663"/>
              <a:gd name="connsiteY916" fmla="*/ 476275 h 6858000"/>
              <a:gd name="connsiteX917" fmla="*/ 1492066 w 7467663"/>
              <a:gd name="connsiteY917" fmla="*/ 886333 h 6858000"/>
              <a:gd name="connsiteX918" fmla="*/ 1423698 w 7467663"/>
              <a:gd name="connsiteY918" fmla="*/ 710817 h 6858000"/>
              <a:gd name="connsiteX919" fmla="*/ 1357609 w 7467663"/>
              <a:gd name="connsiteY919" fmla="*/ 532892 h 6858000"/>
              <a:gd name="connsiteX920" fmla="*/ 1309550 w 7467663"/>
              <a:gd name="connsiteY920" fmla="*/ 374031 h 6858000"/>
              <a:gd name="connsiteX921" fmla="*/ 1193673 w 7467663"/>
              <a:gd name="connsiteY921" fmla="*/ 49533 h 6858000"/>
              <a:gd name="connsiteX922" fmla="*/ 1164391 w 7467663"/>
              <a:gd name="connsiteY922" fmla="*/ 0 h 6858000"/>
              <a:gd name="connsiteX923" fmla="*/ 1200666 w 7467663"/>
              <a:gd name="connsiteY923" fmla="*/ 0 h 6858000"/>
              <a:gd name="connsiteX924" fmla="*/ 1223408 w 7467663"/>
              <a:gd name="connsiteY924" fmla="*/ 38996 h 6858000"/>
              <a:gd name="connsiteX925" fmla="*/ 1339635 w 7467663"/>
              <a:gd name="connsiteY925" fmla="*/ 365517 h 6858000"/>
              <a:gd name="connsiteX926" fmla="*/ 1387469 w 7467663"/>
              <a:gd name="connsiteY926" fmla="*/ 523079 h 6858000"/>
              <a:gd name="connsiteX927" fmla="*/ 1452685 w 7467663"/>
              <a:gd name="connsiteY927" fmla="*/ 699806 h 6858000"/>
              <a:gd name="connsiteX928" fmla="*/ 1492092 w 7467663"/>
              <a:gd name="connsiteY928" fmla="*/ 800424 h 6858000"/>
              <a:gd name="connsiteX929" fmla="*/ 1455302 w 7467663"/>
              <a:gd name="connsiteY929" fmla="*/ 632913 h 6858000"/>
              <a:gd name="connsiteX930" fmla="*/ 1222336 w 7467663"/>
              <a:gd name="connsiteY930" fmla="*/ 9480 h 6858000"/>
              <a:gd name="connsiteX931" fmla="*/ 1214634 w 7467663"/>
              <a:gd name="connsiteY931" fmla="*/ 0 h 6858000"/>
              <a:gd name="connsiteX932" fmla="*/ 1289827 w 7467663"/>
              <a:gd name="connsiteY932" fmla="*/ 0 h 6858000"/>
              <a:gd name="connsiteX933" fmla="*/ 1321076 w 7467663"/>
              <a:gd name="connsiteY933" fmla="*/ 59722 h 6858000"/>
              <a:gd name="connsiteX934" fmla="*/ 1512579 w 7467663"/>
              <a:gd name="connsiteY934" fmla="*/ 626441 h 6858000"/>
              <a:gd name="connsiteX935" fmla="*/ 1506076 w 7467663"/>
              <a:gd name="connsiteY935" fmla="*/ 1089289 h 6858000"/>
              <a:gd name="connsiteX936" fmla="*/ 1486346 w 7467663"/>
              <a:gd name="connsiteY936" fmla="*/ 1079919 h 6858000"/>
              <a:gd name="connsiteX937" fmla="*/ 1070511 w 7467663"/>
              <a:gd name="connsiteY937" fmla="*/ 48609 h 6858000"/>
              <a:gd name="connsiteX938" fmla="*/ 1057230 w 7467663"/>
              <a:gd name="connsiteY938" fmla="*/ 0 h 6858000"/>
              <a:gd name="connsiteX939" fmla="*/ 43151 w 7467663"/>
              <a:gd name="connsiteY939" fmla="*/ 0 h 6858000"/>
              <a:gd name="connsiteX940" fmla="*/ 95283 w 7467663"/>
              <a:gd name="connsiteY940" fmla="*/ 0 h 6858000"/>
              <a:gd name="connsiteX941" fmla="*/ 300708 w 7467663"/>
              <a:gd name="connsiteY941" fmla="*/ 154571 h 6858000"/>
              <a:gd name="connsiteX942" fmla="*/ 530414 w 7467663"/>
              <a:gd name="connsiteY942" fmla="*/ 354673 h 6858000"/>
              <a:gd name="connsiteX943" fmla="*/ 333785 w 7467663"/>
              <a:gd name="connsiteY943" fmla="*/ 161564 h 6858000"/>
              <a:gd name="connsiteX944" fmla="*/ 147005 w 7467663"/>
              <a:gd name="connsiteY944" fmla="*/ 0 h 6858000"/>
              <a:gd name="connsiteX945" fmla="*/ 272509 w 7467663"/>
              <a:gd name="connsiteY945" fmla="*/ 0 h 6858000"/>
              <a:gd name="connsiteX946" fmla="*/ 326276 w 7467663"/>
              <a:gd name="connsiteY946" fmla="*/ 45847 h 6858000"/>
              <a:gd name="connsiteX947" fmla="*/ 823759 w 7467663"/>
              <a:gd name="connsiteY947" fmla="*/ 574145 h 6858000"/>
              <a:gd name="connsiteX948" fmla="*/ 811254 w 7467663"/>
              <a:gd name="connsiteY948" fmla="*/ 665546 h 6858000"/>
              <a:gd name="connsiteX949" fmla="*/ 154042 w 7467663"/>
              <a:gd name="connsiteY949" fmla="*/ 261522 h 6858000"/>
              <a:gd name="connsiteX950" fmla="*/ 13550 w 7467663"/>
              <a:gd name="connsiteY950" fmla="*/ 158423 h 6858000"/>
              <a:gd name="connsiteX951" fmla="*/ 0 w 7467663"/>
              <a:gd name="connsiteY951" fmla="*/ 146618 h 6858000"/>
              <a:gd name="connsiteX952" fmla="*/ 0 w 7467663"/>
              <a:gd name="connsiteY952" fmla="*/ 59161 h 6858000"/>
              <a:gd name="connsiteX953" fmla="*/ 45427 w 7467663"/>
              <a:gd name="connsiteY953" fmla="*/ 101078 h 6858000"/>
              <a:gd name="connsiteX954" fmla="*/ 630103 w 7467663"/>
              <a:gd name="connsiteY954" fmla="*/ 485885 h 6858000"/>
              <a:gd name="connsiteX955" fmla="*/ 532040 w 7467663"/>
              <a:gd name="connsiteY955" fmla="*/ 399359 h 6858000"/>
              <a:gd name="connsiteX956" fmla="*/ 517618 w 7467663"/>
              <a:gd name="connsiteY956" fmla="*/ 385726 h 6858000"/>
              <a:gd name="connsiteX957" fmla="*/ 285074 w 7467663"/>
              <a:gd name="connsiteY957" fmla="*/ 182755 h 6858000"/>
              <a:gd name="connsiteX958" fmla="*/ 43151 w 7467663"/>
              <a:gd name="connsiteY958" fmla="*/ 0 h 6858000"/>
              <a:gd name="connsiteX0" fmla="*/ 369702 w 7467663"/>
              <a:gd name="connsiteY0" fmla="*/ 6712169 h 6858000"/>
              <a:gd name="connsiteX1" fmla="*/ 366575 w 7467663"/>
              <a:gd name="connsiteY1" fmla="*/ 6715556 h 6858000"/>
              <a:gd name="connsiteX2" fmla="*/ 371637 w 7467663"/>
              <a:gd name="connsiteY2" fmla="*/ 6713954 h 6858000"/>
              <a:gd name="connsiteX3" fmla="*/ 369702 w 7467663"/>
              <a:gd name="connsiteY3" fmla="*/ 6712169 h 6858000"/>
              <a:gd name="connsiteX4" fmla="*/ 7088673 w 7467663"/>
              <a:gd name="connsiteY4" fmla="*/ 6610396 h 6858000"/>
              <a:gd name="connsiteX5" fmla="*/ 7440138 w 7467663"/>
              <a:gd name="connsiteY5" fmla="*/ 6622648 h 6858000"/>
              <a:gd name="connsiteX6" fmla="*/ 7467600 w 7467663"/>
              <a:gd name="connsiteY6" fmla="*/ 6628217 h 6858000"/>
              <a:gd name="connsiteX7" fmla="*/ 7467600 w 7467663"/>
              <a:gd name="connsiteY7" fmla="*/ 6668575 h 6858000"/>
              <a:gd name="connsiteX8" fmla="*/ 7392322 w 7467663"/>
              <a:gd name="connsiteY8" fmla="*/ 6658238 h 6858000"/>
              <a:gd name="connsiteX9" fmla="*/ 7467600 w 7467663"/>
              <a:gd name="connsiteY9" fmla="*/ 6683873 h 6858000"/>
              <a:gd name="connsiteX10" fmla="*/ 7467600 w 7467663"/>
              <a:gd name="connsiteY10" fmla="*/ 6714215 h 6858000"/>
              <a:gd name="connsiteX11" fmla="*/ 7447383 w 7467663"/>
              <a:gd name="connsiteY11" fmla="*/ 6707202 h 6858000"/>
              <a:gd name="connsiteX12" fmla="*/ 7289862 w 7467663"/>
              <a:gd name="connsiteY12" fmla="*/ 6659827 h 6858000"/>
              <a:gd name="connsiteX13" fmla="*/ 7434024 w 7467663"/>
              <a:gd name="connsiteY13" fmla="*/ 6722130 h 6858000"/>
              <a:gd name="connsiteX14" fmla="*/ 7467600 w 7467663"/>
              <a:gd name="connsiteY14" fmla="*/ 6736157 h 6858000"/>
              <a:gd name="connsiteX15" fmla="*/ 7467600 w 7467663"/>
              <a:gd name="connsiteY15" fmla="*/ 6767913 h 6858000"/>
              <a:gd name="connsiteX16" fmla="*/ 7392158 w 7467663"/>
              <a:gd name="connsiteY16" fmla="*/ 6771365 h 6858000"/>
              <a:gd name="connsiteX17" fmla="*/ 7467600 w 7467663"/>
              <a:gd name="connsiteY17" fmla="*/ 6805948 h 6858000"/>
              <a:gd name="connsiteX18" fmla="*/ 7467600 w 7467663"/>
              <a:gd name="connsiteY18" fmla="*/ 6831490 h 6858000"/>
              <a:gd name="connsiteX19" fmla="*/ 7410696 w 7467663"/>
              <a:gd name="connsiteY19" fmla="*/ 6803861 h 6858000"/>
              <a:gd name="connsiteX20" fmla="*/ 7088673 w 7467663"/>
              <a:gd name="connsiteY20" fmla="*/ 6610396 h 6858000"/>
              <a:gd name="connsiteX21" fmla="*/ 1019354 w 7467663"/>
              <a:gd name="connsiteY21" fmla="*/ 6315006 h 6858000"/>
              <a:gd name="connsiteX22" fmla="*/ 441046 w 7467663"/>
              <a:gd name="connsiteY22" fmla="*/ 6691153 h 6858000"/>
              <a:gd name="connsiteX23" fmla="*/ 1019354 w 7467663"/>
              <a:gd name="connsiteY23" fmla="*/ 6315006 h 6858000"/>
              <a:gd name="connsiteX24" fmla="*/ 991680 w 7467663"/>
              <a:gd name="connsiteY24" fmla="*/ 6298413 h 6858000"/>
              <a:gd name="connsiteX25" fmla="*/ 409060 w 7467663"/>
              <a:gd name="connsiteY25" fmla="*/ 6671470 h 6858000"/>
              <a:gd name="connsiteX26" fmla="*/ 991680 w 7467663"/>
              <a:gd name="connsiteY26" fmla="*/ 6298413 h 6858000"/>
              <a:gd name="connsiteX27" fmla="*/ 103333 w 7467663"/>
              <a:gd name="connsiteY27" fmla="*/ 5699602 h 6858000"/>
              <a:gd name="connsiteX28" fmla="*/ 233938 w 7467663"/>
              <a:gd name="connsiteY28" fmla="*/ 5809416 h 6858000"/>
              <a:gd name="connsiteX29" fmla="*/ 883580 w 7467663"/>
              <a:gd name="connsiteY29" fmla="*/ 6180710 h 6858000"/>
              <a:gd name="connsiteX30" fmla="*/ 487337 w 7467663"/>
              <a:gd name="connsiteY30" fmla="*/ 5950182 h 6858000"/>
              <a:gd name="connsiteX31" fmla="*/ 354051 w 7467663"/>
              <a:gd name="connsiteY31" fmla="*/ 5854912 h 6858000"/>
              <a:gd name="connsiteX32" fmla="*/ 195436 w 7467663"/>
              <a:gd name="connsiteY32" fmla="*/ 5755068 h 6858000"/>
              <a:gd name="connsiteX33" fmla="*/ 103333 w 7467663"/>
              <a:gd name="connsiteY33" fmla="*/ 5699602 h 6858000"/>
              <a:gd name="connsiteX34" fmla="*/ 5539432 w 7467663"/>
              <a:gd name="connsiteY34" fmla="*/ 5642928 h 6858000"/>
              <a:gd name="connsiteX35" fmla="*/ 5555462 w 7467663"/>
              <a:gd name="connsiteY35" fmla="*/ 5694454 h 6858000"/>
              <a:gd name="connsiteX36" fmla="*/ 5828270 w 7467663"/>
              <a:gd name="connsiteY36" fmla="*/ 6320663 h 6858000"/>
              <a:gd name="connsiteX37" fmla="*/ 5947416 w 7467663"/>
              <a:gd name="connsiteY37" fmla="*/ 6574846 h 6858000"/>
              <a:gd name="connsiteX38" fmla="*/ 5539432 w 7467663"/>
              <a:gd name="connsiteY38" fmla="*/ 5642928 h 6858000"/>
              <a:gd name="connsiteX39" fmla="*/ 51253 w 7467663"/>
              <a:gd name="connsiteY39" fmla="*/ 5631825 h 6858000"/>
              <a:gd name="connsiteX40" fmla="*/ 211622 w 7467663"/>
              <a:gd name="connsiteY40" fmla="*/ 5728803 h 6858000"/>
              <a:gd name="connsiteX41" fmla="*/ 371652 w 7467663"/>
              <a:gd name="connsiteY41" fmla="*/ 5829062 h 6858000"/>
              <a:gd name="connsiteX42" fmla="*/ 505903 w 7467663"/>
              <a:gd name="connsiteY42" fmla="*/ 5925221 h 6858000"/>
              <a:gd name="connsiteX43" fmla="*/ 899240 w 7467663"/>
              <a:gd name="connsiteY43" fmla="*/ 6153068 h 6858000"/>
              <a:gd name="connsiteX44" fmla="*/ 988114 w 7467663"/>
              <a:gd name="connsiteY44" fmla="*/ 6174204 h 6858000"/>
              <a:gd name="connsiteX45" fmla="*/ 845971 w 7467663"/>
              <a:gd name="connsiteY45" fmla="*/ 6067177 h 6858000"/>
              <a:gd name="connsiteX46" fmla="*/ 448057 w 7467663"/>
              <a:gd name="connsiteY46" fmla="*/ 5841376 h 6858000"/>
              <a:gd name="connsiteX47" fmla="*/ 51253 w 7467663"/>
              <a:gd name="connsiteY47" fmla="*/ 5631825 h 6858000"/>
              <a:gd name="connsiteX48" fmla="*/ 2606687 w 7467663"/>
              <a:gd name="connsiteY48" fmla="*/ 5630718 h 6858000"/>
              <a:gd name="connsiteX49" fmla="*/ 2645658 w 7467663"/>
              <a:gd name="connsiteY49" fmla="*/ 6640259 h 6858000"/>
              <a:gd name="connsiteX50" fmla="*/ 2606687 w 7467663"/>
              <a:gd name="connsiteY50" fmla="*/ 5630718 h 6858000"/>
              <a:gd name="connsiteX51" fmla="*/ 3642057 w 7467663"/>
              <a:gd name="connsiteY51" fmla="*/ 5573487 h 6858000"/>
              <a:gd name="connsiteX52" fmla="*/ 3632981 w 7467663"/>
              <a:gd name="connsiteY52" fmla="*/ 5579437 h 6858000"/>
              <a:gd name="connsiteX53" fmla="*/ 3382436 w 7467663"/>
              <a:gd name="connsiteY53" fmla="*/ 5952726 h 6858000"/>
              <a:gd name="connsiteX54" fmla="*/ 3191929 w 7467663"/>
              <a:gd name="connsiteY54" fmla="*/ 6662669 h 6858000"/>
              <a:gd name="connsiteX55" fmla="*/ 3369898 w 7467663"/>
              <a:gd name="connsiteY55" fmla="*/ 6081771 h 6858000"/>
              <a:gd name="connsiteX56" fmla="*/ 3642057 w 7467663"/>
              <a:gd name="connsiteY56" fmla="*/ 5573487 h 6858000"/>
              <a:gd name="connsiteX57" fmla="*/ 2650666 w 7467663"/>
              <a:gd name="connsiteY57" fmla="*/ 5530686 h 6858000"/>
              <a:gd name="connsiteX58" fmla="*/ 2650249 w 7467663"/>
              <a:gd name="connsiteY58" fmla="*/ 5532101 h 6858000"/>
              <a:gd name="connsiteX59" fmla="*/ 2663808 w 7467663"/>
              <a:gd name="connsiteY59" fmla="*/ 6535215 h 6858000"/>
              <a:gd name="connsiteX60" fmla="*/ 2665418 w 7467663"/>
              <a:gd name="connsiteY60" fmla="*/ 6132756 h 6858000"/>
              <a:gd name="connsiteX61" fmla="*/ 2650666 w 7467663"/>
              <a:gd name="connsiteY61" fmla="*/ 5530686 h 6858000"/>
              <a:gd name="connsiteX62" fmla="*/ 2680277 w 7467663"/>
              <a:gd name="connsiteY62" fmla="*/ 5479204 h 6858000"/>
              <a:gd name="connsiteX63" fmla="*/ 2678972 w 7467663"/>
              <a:gd name="connsiteY63" fmla="*/ 5481582 h 6858000"/>
              <a:gd name="connsiteX64" fmla="*/ 2696666 w 7467663"/>
              <a:gd name="connsiteY64" fmla="*/ 6133836 h 6858000"/>
              <a:gd name="connsiteX65" fmla="*/ 2695769 w 7467663"/>
              <a:gd name="connsiteY65" fmla="*/ 6390955 h 6858000"/>
              <a:gd name="connsiteX66" fmla="*/ 2739893 w 7467663"/>
              <a:gd name="connsiteY66" fmla="*/ 6108357 h 6858000"/>
              <a:gd name="connsiteX67" fmla="*/ 2680277 w 7467663"/>
              <a:gd name="connsiteY67" fmla="*/ 5479204 h 6858000"/>
              <a:gd name="connsiteX68" fmla="*/ 1132195 w 7467663"/>
              <a:gd name="connsiteY68" fmla="*/ 5467980 h 6858000"/>
              <a:gd name="connsiteX69" fmla="*/ 1679056 w 7467663"/>
              <a:gd name="connsiteY69" fmla="*/ 5516907 h 6858000"/>
              <a:gd name="connsiteX70" fmla="*/ 2128648 w 7467663"/>
              <a:gd name="connsiteY70" fmla="*/ 5474249 h 6858000"/>
              <a:gd name="connsiteX71" fmla="*/ 1825619 w 7467663"/>
              <a:gd name="connsiteY71" fmla="*/ 5478447 h 6858000"/>
              <a:gd name="connsiteX72" fmla="*/ 1737798 w 7467663"/>
              <a:gd name="connsiteY72" fmla="*/ 5483353 h 6858000"/>
              <a:gd name="connsiteX73" fmla="*/ 1132195 w 7467663"/>
              <a:gd name="connsiteY73" fmla="*/ 5467980 h 6858000"/>
              <a:gd name="connsiteX74" fmla="*/ 7454976 w 7467663"/>
              <a:gd name="connsiteY74" fmla="*/ 6318297 h 6858000"/>
              <a:gd name="connsiteX75" fmla="*/ 7467600 w 7467663"/>
              <a:gd name="connsiteY75" fmla="*/ 6163634 h 6858000"/>
              <a:gd name="connsiteX76" fmla="*/ 7448321 w 7467663"/>
              <a:gd name="connsiteY76" fmla="*/ 6190991 h 6858000"/>
              <a:gd name="connsiteX77" fmla="*/ 7467600 w 7467663"/>
              <a:gd name="connsiteY77" fmla="*/ 6334256 h 6858000"/>
              <a:gd name="connsiteX78" fmla="*/ 7454976 w 7467663"/>
              <a:gd name="connsiteY78" fmla="*/ 6318297 h 6858000"/>
              <a:gd name="connsiteX79" fmla="*/ 1456157 w 7467663"/>
              <a:gd name="connsiteY79" fmla="*/ 5371404 h 6858000"/>
              <a:gd name="connsiteX80" fmla="*/ 1244432 w 7467663"/>
              <a:gd name="connsiteY80" fmla="*/ 5385601 h 6858000"/>
              <a:gd name="connsiteX81" fmla="*/ 973990 w 7467663"/>
              <a:gd name="connsiteY81" fmla="*/ 5424940 h 6858000"/>
              <a:gd name="connsiteX82" fmla="*/ 1103809 w 7467663"/>
              <a:gd name="connsiteY82" fmla="*/ 5433720 h 6858000"/>
              <a:gd name="connsiteX83" fmla="*/ 1123454 w 7467663"/>
              <a:gd name="connsiteY83" fmla="*/ 5435727 h 6858000"/>
              <a:gd name="connsiteX84" fmla="*/ 1737017 w 7467663"/>
              <a:gd name="connsiteY84" fmla="*/ 5452183 h 6858000"/>
              <a:gd name="connsiteX85" fmla="*/ 1824397 w 7467663"/>
              <a:gd name="connsiteY85" fmla="*/ 5447757 h 6858000"/>
              <a:gd name="connsiteX86" fmla="*/ 2070059 w 7467663"/>
              <a:gd name="connsiteY86" fmla="*/ 5441660 h 6858000"/>
              <a:gd name="connsiteX87" fmla="*/ 1456157 w 7467663"/>
              <a:gd name="connsiteY87" fmla="*/ 5371404 h 6858000"/>
              <a:gd name="connsiteX88" fmla="*/ 4988186 w 7467663"/>
              <a:gd name="connsiteY88" fmla="*/ 5216467 h 6858000"/>
              <a:gd name="connsiteX89" fmla="*/ 4777334 w 7467663"/>
              <a:gd name="connsiteY89" fmla="*/ 5406072 h 6858000"/>
              <a:gd name="connsiteX90" fmla="*/ 4718341 w 7467663"/>
              <a:gd name="connsiteY90" fmla="*/ 5468043 h 6858000"/>
              <a:gd name="connsiteX91" fmla="*/ 4604655 w 7467663"/>
              <a:gd name="connsiteY91" fmla="*/ 5583434 h 6858000"/>
              <a:gd name="connsiteX92" fmla="*/ 4565074 w 7467663"/>
              <a:gd name="connsiteY92" fmla="*/ 5618550 h 6858000"/>
              <a:gd name="connsiteX93" fmla="*/ 4988186 w 7467663"/>
              <a:gd name="connsiteY93" fmla="*/ 5216467 h 6858000"/>
              <a:gd name="connsiteX94" fmla="*/ 4978032 w 7467663"/>
              <a:gd name="connsiteY94" fmla="*/ 5183809 h 6858000"/>
              <a:gd name="connsiteX95" fmla="*/ 4463413 w 7467663"/>
              <a:gd name="connsiteY95" fmla="*/ 5615162 h 6858000"/>
              <a:gd name="connsiteX96" fmla="*/ 4358134 w 7467663"/>
              <a:gd name="connsiteY96" fmla="*/ 5742791 h 6858000"/>
              <a:gd name="connsiteX97" fmla="*/ 4376219 w 7467663"/>
              <a:gd name="connsiteY97" fmla="*/ 5729027 h 6858000"/>
              <a:gd name="connsiteX98" fmla="*/ 4582340 w 7467663"/>
              <a:gd name="connsiteY98" fmla="*/ 5561037 h 6858000"/>
              <a:gd name="connsiteX99" fmla="*/ 4694684 w 7467663"/>
              <a:gd name="connsiteY99" fmla="*/ 5447098 h 6858000"/>
              <a:gd name="connsiteX100" fmla="*/ 4754123 w 7467663"/>
              <a:gd name="connsiteY100" fmla="*/ 5384643 h 6858000"/>
              <a:gd name="connsiteX101" fmla="*/ 4978032 w 7467663"/>
              <a:gd name="connsiteY101" fmla="*/ 5183809 h 6858000"/>
              <a:gd name="connsiteX102" fmla="*/ 1903353 w 7467663"/>
              <a:gd name="connsiteY102" fmla="*/ 5044827 h 6858000"/>
              <a:gd name="connsiteX103" fmla="*/ 1936931 w 7467663"/>
              <a:gd name="connsiteY103" fmla="*/ 5093954 h 6858000"/>
              <a:gd name="connsiteX104" fmla="*/ 2195868 w 7467663"/>
              <a:gd name="connsiteY104" fmla="*/ 5396574 h 6858000"/>
              <a:gd name="connsiteX105" fmla="*/ 2088852 w 7467663"/>
              <a:gd name="connsiteY105" fmla="*/ 5166123 h 6858000"/>
              <a:gd name="connsiteX106" fmla="*/ 1958241 w 7467663"/>
              <a:gd name="connsiteY106" fmla="*/ 5067955 h 6858000"/>
              <a:gd name="connsiteX107" fmla="*/ 1903353 w 7467663"/>
              <a:gd name="connsiteY107" fmla="*/ 5044827 h 6858000"/>
              <a:gd name="connsiteX108" fmla="*/ 1979378 w 7467663"/>
              <a:gd name="connsiteY108" fmla="*/ 4769504 h 6858000"/>
              <a:gd name="connsiteX109" fmla="*/ 2882120 w 7467663"/>
              <a:gd name="connsiteY109" fmla="*/ 5064547 h 6858000"/>
              <a:gd name="connsiteX110" fmla="*/ 2793103 w 7467663"/>
              <a:gd name="connsiteY110" fmla="*/ 5039699 h 6858000"/>
              <a:gd name="connsiteX111" fmla="*/ 2770041 w 7467663"/>
              <a:gd name="connsiteY111" fmla="*/ 5033634 h 6858000"/>
              <a:gd name="connsiteX112" fmla="*/ 1979378 w 7467663"/>
              <a:gd name="connsiteY112" fmla="*/ 4769504 h 6858000"/>
              <a:gd name="connsiteX113" fmla="*/ 1927410 w 7467663"/>
              <a:gd name="connsiteY113" fmla="*/ 4716164 h 6858000"/>
              <a:gd name="connsiteX114" fmla="*/ 1959587 w 7467663"/>
              <a:gd name="connsiteY114" fmla="*/ 4728849 h 6858000"/>
              <a:gd name="connsiteX115" fmla="*/ 2777707 w 7467663"/>
              <a:gd name="connsiteY115" fmla="*/ 5003991 h 6858000"/>
              <a:gd name="connsiteX116" fmla="*/ 2800768 w 7467663"/>
              <a:gd name="connsiteY116" fmla="*/ 5010056 h 6858000"/>
              <a:gd name="connsiteX117" fmla="*/ 2879408 w 7467663"/>
              <a:gd name="connsiteY117" fmla="*/ 5031590 h 6858000"/>
              <a:gd name="connsiteX118" fmla="*/ 2862295 w 7467663"/>
              <a:gd name="connsiteY118" fmla="*/ 5022958 h 6858000"/>
              <a:gd name="connsiteX119" fmla="*/ 2813343 w 7467663"/>
              <a:gd name="connsiteY119" fmla="*/ 4998369 h 6858000"/>
              <a:gd name="connsiteX120" fmla="*/ 2646245 w 7467663"/>
              <a:gd name="connsiteY120" fmla="*/ 4930999 h 6858000"/>
              <a:gd name="connsiteX121" fmla="*/ 1999243 w 7467663"/>
              <a:gd name="connsiteY121" fmla="*/ 4730524 h 6858000"/>
              <a:gd name="connsiteX122" fmla="*/ 1979527 w 7467663"/>
              <a:gd name="connsiteY122" fmla="*/ 4726651 h 6858000"/>
              <a:gd name="connsiteX123" fmla="*/ 1927410 w 7467663"/>
              <a:gd name="connsiteY123" fmla="*/ 4716164 h 6858000"/>
              <a:gd name="connsiteX124" fmla="*/ 1997014 w 7467663"/>
              <a:gd name="connsiteY124" fmla="*/ 4698007 h 6858000"/>
              <a:gd name="connsiteX125" fmla="*/ 2005458 w 7467663"/>
              <a:gd name="connsiteY125" fmla="*/ 4699540 h 6858000"/>
              <a:gd name="connsiteX126" fmla="*/ 2657186 w 7467663"/>
              <a:gd name="connsiteY126" fmla="*/ 4901687 h 6858000"/>
              <a:gd name="connsiteX127" fmla="*/ 2826662 w 7467663"/>
              <a:gd name="connsiteY127" fmla="*/ 4970362 h 6858000"/>
              <a:gd name="connsiteX128" fmla="*/ 2876100 w 7467663"/>
              <a:gd name="connsiteY128" fmla="*/ 4995397 h 6858000"/>
              <a:gd name="connsiteX129" fmla="*/ 3042600 w 7467663"/>
              <a:gd name="connsiteY129" fmla="*/ 5059532 h 6858000"/>
              <a:gd name="connsiteX130" fmla="*/ 1997014 w 7467663"/>
              <a:gd name="connsiteY130" fmla="*/ 4698007 h 6858000"/>
              <a:gd name="connsiteX131" fmla="*/ 2305292 w 7467663"/>
              <a:gd name="connsiteY131" fmla="*/ 4219492 h 6858000"/>
              <a:gd name="connsiteX132" fmla="*/ 3360922 w 7467663"/>
              <a:gd name="connsiteY132" fmla="*/ 4529373 h 6858000"/>
              <a:gd name="connsiteX133" fmla="*/ 3492420 w 7467663"/>
              <a:gd name="connsiteY133" fmla="*/ 4510145 h 6858000"/>
              <a:gd name="connsiteX134" fmla="*/ 3364086 w 7467663"/>
              <a:gd name="connsiteY134" fmla="*/ 4480340 h 6858000"/>
              <a:gd name="connsiteX135" fmla="*/ 3225818 w 7467663"/>
              <a:gd name="connsiteY135" fmla="*/ 4411822 h 6858000"/>
              <a:gd name="connsiteX136" fmla="*/ 3129696 w 7467663"/>
              <a:gd name="connsiteY136" fmla="*/ 4360704 h 6858000"/>
              <a:gd name="connsiteX137" fmla="*/ 2814545 w 7467663"/>
              <a:gd name="connsiteY137" fmla="*/ 4282955 h 6858000"/>
              <a:gd name="connsiteX138" fmla="*/ 2305292 w 7467663"/>
              <a:gd name="connsiteY138" fmla="*/ 4219492 h 6858000"/>
              <a:gd name="connsiteX139" fmla="*/ 2626982 w 7467663"/>
              <a:gd name="connsiteY139" fmla="*/ 4206450 h 6858000"/>
              <a:gd name="connsiteX140" fmla="*/ 2490617 w 7467663"/>
              <a:gd name="connsiteY140" fmla="*/ 4206951 h 6858000"/>
              <a:gd name="connsiteX141" fmla="*/ 2819869 w 7467663"/>
              <a:gd name="connsiteY141" fmla="*/ 4252936 h 6858000"/>
              <a:gd name="connsiteX142" fmla="*/ 3143018 w 7467663"/>
              <a:gd name="connsiteY142" fmla="*/ 4332698 h 6858000"/>
              <a:gd name="connsiteX143" fmla="*/ 3241520 w 7467663"/>
              <a:gd name="connsiteY143" fmla="*/ 4385112 h 6858000"/>
              <a:gd name="connsiteX144" fmla="*/ 3374575 w 7467663"/>
              <a:gd name="connsiteY144" fmla="*/ 4451517 h 6858000"/>
              <a:gd name="connsiteX145" fmla="*/ 3505221 w 7467663"/>
              <a:gd name="connsiteY145" fmla="*/ 4480757 h 6858000"/>
              <a:gd name="connsiteX146" fmla="*/ 2626982 w 7467663"/>
              <a:gd name="connsiteY146" fmla="*/ 4206450 h 6858000"/>
              <a:gd name="connsiteX147" fmla="*/ 1310106 w 7467663"/>
              <a:gd name="connsiteY147" fmla="*/ 3943217 h 6858000"/>
              <a:gd name="connsiteX148" fmla="*/ 854994 w 7467663"/>
              <a:gd name="connsiteY148" fmla="*/ 4399136 h 6858000"/>
              <a:gd name="connsiteX149" fmla="*/ 742462 w 7467663"/>
              <a:gd name="connsiteY149" fmla="*/ 4594648 h 6858000"/>
              <a:gd name="connsiteX150" fmla="*/ 820602 w 7467663"/>
              <a:gd name="connsiteY150" fmla="*/ 4485915 h 6858000"/>
              <a:gd name="connsiteX151" fmla="*/ 878295 w 7467663"/>
              <a:gd name="connsiteY151" fmla="*/ 4403594 h 6858000"/>
              <a:gd name="connsiteX152" fmla="*/ 1240607 w 7467663"/>
              <a:gd name="connsiteY152" fmla="*/ 4010401 h 6858000"/>
              <a:gd name="connsiteX153" fmla="*/ 1310106 w 7467663"/>
              <a:gd name="connsiteY153" fmla="*/ 3943217 h 6858000"/>
              <a:gd name="connsiteX154" fmla="*/ 1423113 w 7467663"/>
              <a:gd name="connsiteY154" fmla="*/ 3874565 h 6858000"/>
              <a:gd name="connsiteX155" fmla="*/ 1260565 w 7467663"/>
              <a:gd name="connsiteY155" fmla="*/ 4031982 h 6858000"/>
              <a:gd name="connsiteX156" fmla="*/ 901900 w 7467663"/>
              <a:gd name="connsiteY156" fmla="*/ 4421236 h 6858000"/>
              <a:gd name="connsiteX157" fmla="*/ 845044 w 7467663"/>
              <a:gd name="connsiteY157" fmla="*/ 4502436 h 6858000"/>
              <a:gd name="connsiteX158" fmla="*/ 685926 w 7467663"/>
              <a:gd name="connsiteY158" fmla="*/ 4703069 h 6858000"/>
              <a:gd name="connsiteX159" fmla="*/ 684248 w 7467663"/>
              <a:gd name="connsiteY159" fmla="*/ 4706721 h 6858000"/>
              <a:gd name="connsiteX160" fmla="*/ 1423113 w 7467663"/>
              <a:gd name="connsiteY160" fmla="*/ 3874565 h 6858000"/>
              <a:gd name="connsiteX161" fmla="*/ 3316479 w 7467663"/>
              <a:gd name="connsiteY161" fmla="*/ 3872136 h 6858000"/>
              <a:gd name="connsiteX162" fmla="*/ 3546806 w 7467663"/>
              <a:gd name="connsiteY162" fmla="*/ 4356139 h 6858000"/>
              <a:gd name="connsiteX163" fmla="*/ 3364433 w 7467663"/>
              <a:gd name="connsiteY163" fmla="*/ 3953121 h 6858000"/>
              <a:gd name="connsiteX164" fmla="*/ 3316479 w 7467663"/>
              <a:gd name="connsiteY164" fmla="*/ 3872136 h 6858000"/>
              <a:gd name="connsiteX165" fmla="*/ 3291335 w 7467663"/>
              <a:gd name="connsiteY165" fmla="*/ 3767420 h 6858000"/>
              <a:gd name="connsiteX166" fmla="*/ 3390805 w 7467663"/>
              <a:gd name="connsiteY166" fmla="*/ 3937163 h 6858000"/>
              <a:gd name="connsiteX167" fmla="*/ 3579062 w 7467663"/>
              <a:gd name="connsiteY167" fmla="*/ 4359040 h 6858000"/>
              <a:gd name="connsiteX168" fmla="*/ 3467355 w 7467663"/>
              <a:gd name="connsiteY168" fmla="*/ 3988130 h 6858000"/>
              <a:gd name="connsiteX169" fmla="*/ 3310753 w 7467663"/>
              <a:gd name="connsiteY169" fmla="*/ 3787140 h 6858000"/>
              <a:gd name="connsiteX170" fmla="*/ 3291335 w 7467663"/>
              <a:gd name="connsiteY170" fmla="*/ 3767420 h 6858000"/>
              <a:gd name="connsiteX171" fmla="*/ 1635889 w 7467663"/>
              <a:gd name="connsiteY171" fmla="*/ 3709494 h 6858000"/>
              <a:gd name="connsiteX172" fmla="*/ 1634800 w 7467663"/>
              <a:gd name="connsiteY172" fmla="*/ 3731111 h 6858000"/>
              <a:gd name="connsiteX173" fmla="*/ 1635889 w 7467663"/>
              <a:gd name="connsiteY173" fmla="*/ 3709494 h 6858000"/>
              <a:gd name="connsiteX174" fmla="*/ 1510397 w 7467663"/>
              <a:gd name="connsiteY174" fmla="*/ 3684705 h 6858000"/>
              <a:gd name="connsiteX175" fmla="*/ 1146550 w 7467663"/>
              <a:gd name="connsiteY175" fmla="*/ 3802012 h 6858000"/>
              <a:gd name="connsiteX176" fmla="*/ 698834 w 7467663"/>
              <a:gd name="connsiteY176" fmla="*/ 3952272 h 6858000"/>
              <a:gd name="connsiteX177" fmla="*/ 34256 w 7467663"/>
              <a:gd name="connsiteY177" fmla="*/ 4347603 h 6858000"/>
              <a:gd name="connsiteX178" fmla="*/ 527241 w 7467663"/>
              <a:gd name="connsiteY178" fmla="*/ 4065078 h 6858000"/>
              <a:gd name="connsiteX179" fmla="*/ 1510397 w 7467663"/>
              <a:gd name="connsiteY179" fmla="*/ 3684705 h 6858000"/>
              <a:gd name="connsiteX180" fmla="*/ 1313114 w 7467663"/>
              <a:gd name="connsiteY180" fmla="*/ 3655216 h 6858000"/>
              <a:gd name="connsiteX181" fmla="*/ 1109304 w 7467663"/>
              <a:gd name="connsiteY181" fmla="*/ 3669030 h 6858000"/>
              <a:gd name="connsiteX182" fmla="*/ 8129 w 7467663"/>
              <a:gd name="connsiteY182" fmla="*/ 4330519 h 6858000"/>
              <a:gd name="connsiteX183" fmla="*/ 687572 w 7467663"/>
              <a:gd name="connsiteY183" fmla="*/ 3925629 h 6858000"/>
              <a:gd name="connsiteX184" fmla="*/ 1138365 w 7467663"/>
              <a:gd name="connsiteY184" fmla="*/ 3774515 h 6858000"/>
              <a:gd name="connsiteX185" fmla="*/ 1505579 w 7467663"/>
              <a:gd name="connsiteY185" fmla="*/ 3655526 h 6858000"/>
              <a:gd name="connsiteX186" fmla="*/ 1313114 w 7467663"/>
              <a:gd name="connsiteY186" fmla="*/ 3655216 h 6858000"/>
              <a:gd name="connsiteX187" fmla="*/ 3655073 w 7467663"/>
              <a:gd name="connsiteY187" fmla="*/ 3650884 h 6858000"/>
              <a:gd name="connsiteX188" fmla="*/ 3989938 w 7467663"/>
              <a:gd name="connsiteY188" fmla="*/ 3991685 h 6858000"/>
              <a:gd name="connsiteX189" fmla="*/ 4393907 w 7467663"/>
              <a:gd name="connsiteY189" fmla="*/ 4261258 h 6858000"/>
              <a:gd name="connsiteX190" fmla="*/ 4648051 w 7467663"/>
              <a:gd name="connsiteY190" fmla="*/ 4374051 h 6858000"/>
              <a:gd name="connsiteX191" fmla="*/ 4383389 w 7467663"/>
              <a:gd name="connsiteY191" fmla="*/ 4184369 h 6858000"/>
              <a:gd name="connsiteX192" fmla="*/ 4165508 w 7467663"/>
              <a:gd name="connsiteY192" fmla="*/ 4035196 h 6858000"/>
              <a:gd name="connsiteX193" fmla="*/ 4068162 w 7467663"/>
              <a:gd name="connsiteY193" fmla="*/ 3953394 h 6858000"/>
              <a:gd name="connsiteX194" fmla="*/ 3981416 w 7467663"/>
              <a:gd name="connsiteY194" fmla="*/ 3880482 h 6858000"/>
              <a:gd name="connsiteX195" fmla="*/ 3800147 w 7467663"/>
              <a:gd name="connsiteY195" fmla="*/ 3749872 h 6858000"/>
              <a:gd name="connsiteX196" fmla="*/ 3655073 w 7467663"/>
              <a:gd name="connsiteY196" fmla="*/ 3650884 h 6858000"/>
              <a:gd name="connsiteX197" fmla="*/ 3670252 w 7467663"/>
              <a:gd name="connsiteY197" fmla="*/ 3622798 h 6858000"/>
              <a:gd name="connsiteX198" fmla="*/ 3817258 w 7467663"/>
              <a:gd name="connsiteY198" fmla="*/ 3723577 h 6858000"/>
              <a:gd name="connsiteX199" fmla="*/ 4000461 w 7467663"/>
              <a:gd name="connsiteY199" fmla="*/ 3855966 h 6858000"/>
              <a:gd name="connsiteX200" fmla="*/ 4088180 w 7467663"/>
              <a:gd name="connsiteY200" fmla="*/ 3929774 h 6858000"/>
              <a:gd name="connsiteX201" fmla="*/ 4184555 w 7467663"/>
              <a:gd name="connsiteY201" fmla="*/ 4010683 h 6858000"/>
              <a:gd name="connsiteX202" fmla="*/ 4399563 w 7467663"/>
              <a:gd name="connsiteY202" fmla="*/ 4158106 h 6858000"/>
              <a:gd name="connsiteX203" fmla="*/ 4684469 w 7467663"/>
              <a:gd name="connsiteY203" fmla="*/ 4364680 h 6858000"/>
              <a:gd name="connsiteX204" fmla="*/ 4690271 w 7467663"/>
              <a:gd name="connsiteY204" fmla="*/ 4370034 h 6858000"/>
              <a:gd name="connsiteX205" fmla="*/ 4136093 w 7467663"/>
              <a:gd name="connsiteY205" fmla="*/ 3858466 h 6858000"/>
              <a:gd name="connsiteX206" fmla="*/ 3670252 w 7467663"/>
              <a:gd name="connsiteY206" fmla="*/ 3622798 h 6858000"/>
              <a:gd name="connsiteX207" fmla="*/ 4440129 w 7467663"/>
              <a:gd name="connsiteY207" fmla="*/ 3448571 h 6858000"/>
              <a:gd name="connsiteX208" fmla="*/ 4856525 w 7467663"/>
              <a:gd name="connsiteY208" fmla="*/ 3915351 h 6858000"/>
              <a:gd name="connsiteX209" fmla="*/ 5059055 w 7467663"/>
              <a:gd name="connsiteY209" fmla="*/ 4108918 h 6858000"/>
              <a:gd name="connsiteX210" fmla="*/ 5290070 w 7467663"/>
              <a:gd name="connsiteY210" fmla="*/ 4263619 h 6858000"/>
              <a:gd name="connsiteX211" fmla="*/ 4834991 w 7467663"/>
              <a:gd name="connsiteY211" fmla="*/ 3830985 h 6858000"/>
              <a:gd name="connsiteX212" fmla="*/ 4440129 w 7467663"/>
              <a:gd name="connsiteY212" fmla="*/ 3448571 h 6858000"/>
              <a:gd name="connsiteX213" fmla="*/ 4441737 w 7467663"/>
              <a:gd name="connsiteY213" fmla="*/ 3399734 h 6858000"/>
              <a:gd name="connsiteX214" fmla="*/ 4431236 w 7467663"/>
              <a:gd name="connsiteY214" fmla="*/ 3400954 h 6858000"/>
              <a:gd name="connsiteX215" fmla="*/ 4557150 w 7467663"/>
              <a:gd name="connsiteY215" fmla="*/ 3510023 h 6858000"/>
              <a:gd name="connsiteX216" fmla="*/ 4856936 w 7467663"/>
              <a:gd name="connsiteY216" fmla="*/ 3809146 h 6858000"/>
              <a:gd name="connsiteX217" fmla="*/ 5111996 w 7467663"/>
              <a:gd name="connsiteY217" fmla="*/ 4065759 h 6858000"/>
              <a:gd name="connsiteX218" fmla="*/ 5388878 w 7467663"/>
              <a:gd name="connsiteY218" fmla="*/ 4300185 h 6858000"/>
              <a:gd name="connsiteX219" fmla="*/ 5425556 w 7467663"/>
              <a:gd name="connsiteY219" fmla="*/ 4308967 h 6858000"/>
              <a:gd name="connsiteX220" fmla="*/ 4943646 w 7467663"/>
              <a:gd name="connsiteY220" fmla="*/ 3822916 h 6858000"/>
              <a:gd name="connsiteX221" fmla="*/ 4594837 w 7467663"/>
              <a:gd name="connsiteY221" fmla="*/ 3532274 h 6858000"/>
              <a:gd name="connsiteX222" fmla="*/ 4441737 w 7467663"/>
              <a:gd name="connsiteY222" fmla="*/ 3399734 h 6858000"/>
              <a:gd name="connsiteX223" fmla="*/ 5425834 w 7467663"/>
              <a:gd name="connsiteY223" fmla="*/ 3162785 h 6858000"/>
              <a:gd name="connsiteX224" fmla="*/ 5401644 w 7467663"/>
              <a:gd name="connsiteY224" fmla="*/ 3617847 h 6858000"/>
              <a:gd name="connsiteX225" fmla="*/ 5467256 w 7467663"/>
              <a:gd name="connsiteY225" fmla="*/ 4175494 h 6858000"/>
              <a:gd name="connsiteX226" fmla="*/ 5448069 w 7467663"/>
              <a:gd name="connsiteY226" fmla="*/ 3567554 h 6858000"/>
              <a:gd name="connsiteX227" fmla="*/ 5425834 w 7467663"/>
              <a:gd name="connsiteY227" fmla="*/ 3162785 h 6858000"/>
              <a:gd name="connsiteX228" fmla="*/ 1318687 w 7467663"/>
              <a:gd name="connsiteY228" fmla="*/ 3113840 h 6858000"/>
              <a:gd name="connsiteX229" fmla="*/ 1066793 w 7467663"/>
              <a:gd name="connsiteY229" fmla="*/ 3212171 h 6858000"/>
              <a:gd name="connsiteX230" fmla="*/ 993319 w 7467663"/>
              <a:gd name="connsiteY230" fmla="*/ 3247648 h 6858000"/>
              <a:gd name="connsiteX231" fmla="*/ 853081 w 7467663"/>
              <a:gd name="connsiteY231" fmla="*/ 3312410 h 6858000"/>
              <a:gd name="connsiteX232" fmla="*/ 805957 w 7467663"/>
              <a:gd name="connsiteY232" fmla="*/ 3330443 h 6858000"/>
              <a:gd name="connsiteX233" fmla="*/ 1318687 w 7467663"/>
              <a:gd name="connsiteY233" fmla="*/ 3113840 h 6858000"/>
              <a:gd name="connsiteX234" fmla="*/ 5453702 w 7467663"/>
              <a:gd name="connsiteY234" fmla="*/ 3090882 h 6858000"/>
              <a:gd name="connsiteX235" fmla="*/ 5480135 w 7467663"/>
              <a:gd name="connsiteY235" fmla="*/ 3565802 h 6858000"/>
              <a:gd name="connsiteX236" fmla="*/ 5499023 w 7467663"/>
              <a:gd name="connsiteY236" fmla="*/ 4166310 h 6858000"/>
              <a:gd name="connsiteX237" fmla="*/ 5547022 w 7467663"/>
              <a:gd name="connsiteY237" fmla="*/ 3607838 h 6858000"/>
              <a:gd name="connsiteX238" fmla="*/ 5515964 w 7467663"/>
              <a:gd name="connsiteY238" fmla="*/ 3378541 h 6858000"/>
              <a:gd name="connsiteX239" fmla="*/ 5453702 w 7467663"/>
              <a:gd name="connsiteY239" fmla="*/ 3090882 h 6858000"/>
              <a:gd name="connsiteX240" fmla="*/ 1238695 w 7467663"/>
              <a:gd name="connsiteY240" fmla="*/ 3076820 h 6858000"/>
              <a:gd name="connsiteX241" fmla="*/ 716371 w 7467663"/>
              <a:gd name="connsiteY241" fmla="*/ 3293249 h 6858000"/>
              <a:gd name="connsiteX242" fmla="*/ 579522 w 7467663"/>
              <a:gd name="connsiteY242" fmla="*/ 3371759 h 6858000"/>
              <a:gd name="connsiteX243" fmla="*/ 600288 w 7467663"/>
              <a:gd name="connsiteY243" fmla="*/ 3365555 h 6858000"/>
              <a:gd name="connsiteX244" fmla="*/ 840692 w 7467663"/>
              <a:gd name="connsiteY244" fmla="*/ 3284921 h 6858000"/>
              <a:gd name="connsiteX245" fmla="*/ 979248 w 7467663"/>
              <a:gd name="connsiteY245" fmla="*/ 3221003 h 6858000"/>
              <a:gd name="connsiteX246" fmla="*/ 1053282 w 7467663"/>
              <a:gd name="connsiteY246" fmla="*/ 3185247 h 6858000"/>
              <a:gd name="connsiteX247" fmla="*/ 1320603 w 7467663"/>
              <a:gd name="connsiteY247" fmla="*/ 3081281 h 6858000"/>
              <a:gd name="connsiteX248" fmla="*/ 1238695 w 7467663"/>
              <a:gd name="connsiteY248" fmla="*/ 3076820 h 6858000"/>
              <a:gd name="connsiteX249" fmla="*/ 5425627 w 7467663"/>
              <a:gd name="connsiteY249" fmla="*/ 2954192 h 6858000"/>
              <a:gd name="connsiteX250" fmla="*/ 5470770 w 7467663"/>
              <a:gd name="connsiteY250" fmla="*/ 3005435 h 6858000"/>
              <a:gd name="connsiteX251" fmla="*/ 5519779 w 7467663"/>
              <a:gd name="connsiteY251" fmla="*/ 4359223 h 6858000"/>
              <a:gd name="connsiteX252" fmla="*/ 5520293 w 7467663"/>
              <a:gd name="connsiteY252" fmla="*/ 4360602 h 6858000"/>
              <a:gd name="connsiteX253" fmla="*/ 5767221 w 7467663"/>
              <a:gd name="connsiteY253" fmla="*/ 4665564 h 6858000"/>
              <a:gd name="connsiteX254" fmla="*/ 6937169 w 7467663"/>
              <a:gd name="connsiteY254" fmla="*/ 4815941 h 6858000"/>
              <a:gd name="connsiteX255" fmla="*/ 6953922 w 7467663"/>
              <a:gd name="connsiteY255" fmla="*/ 4890068 h 6858000"/>
              <a:gd name="connsiteX256" fmla="*/ 6071359 w 7467663"/>
              <a:gd name="connsiteY256" fmla="*/ 4770770 h 6858000"/>
              <a:gd name="connsiteX257" fmla="*/ 6038839 w 7467663"/>
              <a:gd name="connsiteY257" fmla="*/ 4764474 h 6858000"/>
              <a:gd name="connsiteX258" fmla="*/ 6038706 w 7467663"/>
              <a:gd name="connsiteY258" fmla="*/ 4763847 h 6858000"/>
              <a:gd name="connsiteX259" fmla="*/ 6037784 w 7467663"/>
              <a:gd name="connsiteY259" fmla="*/ 4764270 h 6858000"/>
              <a:gd name="connsiteX260" fmla="*/ 6038839 w 7467663"/>
              <a:gd name="connsiteY260" fmla="*/ 4764474 h 6858000"/>
              <a:gd name="connsiteX261" fmla="*/ 6040338 w 7467663"/>
              <a:gd name="connsiteY261" fmla="*/ 4771418 h 6858000"/>
              <a:gd name="connsiteX262" fmla="*/ 6024488 w 7467663"/>
              <a:gd name="connsiteY262" fmla="*/ 4809903 h 6858000"/>
              <a:gd name="connsiteX263" fmla="*/ 5599771 w 7467663"/>
              <a:gd name="connsiteY263" fmla="*/ 5509652 h 6858000"/>
              <a:gd name="connsiteX264" fmla="*/ 5548843 w 7467663"/>
              <a:gd name="connsiteY264" fmla="*/ 5563845 h 6858000"/>
              <a:gd name="connsiteX265" fmla="*/ 5940952 w 7467663"/>
              <a:gd name="connsiteY265" fmla="*/ 6250028 h 6858000"/>
              <a:gd name="connsiteX266" fmla="*/ 6043441 w 7467663"/>
              <a:gd name="connsiteY266" fmla="*/ 6665847 h 6858000"/>
              <a:gd name="connsiteX267" fmla="*/ 6093432 w 7467663"/>
              <a:gd name="connsiteY267" fmla="*/ 6858000 h 6858000"/>
              <a:gd name="connsiteX268" fmla="*/ 6034344 w 7467663"/>
              <a:gd name="connsiteY268" fmla="*/ 6858000 h 6858000"/>
              <a:gd name="connsiteX269" fmla="*/ 6026679 w 7467663"/>
              <a:gd name="connsiteY269" fmla="*/ 6836959 h 6858000"/>
              <a:gd name="connsiteX270" fmla="*/ 5800441 w 7467663"/>
              <a:gd name="connsiteY270" fmla="*/ 6335286 h 6858000"/>
              <a:gd name="connsiteX271" fmla="*/ 5526562 w 7467663"/>
              <a:gd name="connsiteY271" fmla="*/ 5705388 h 6858000"/>
              <a:gd name="connsiteX272" fmla="*/ 5519640 w 7467663"/>
              <a:gd name="connsiteY272" fmla="*/ 5683774 h 6858000"/>
              <a:gd name="connsiteX273" fmla="*/ 5844559 w 7467663"/>
              <a:gd name="connsiteY273" fmla="*/ 6553349 h 6858000"/>
              <a:gd name="connsiteX274" fmla="*/ 5975994 w 7467663"/>
              <a:gd name="connsiteY274" fmla="*/ 6858000 h 6858000"/>
              <a:gd name="connsiteX275" fmla="*/ 5898547 w 7467663"/>
              <a:gd name="connsiteY275" fmla="*/ 6858000 h 6858000"/>
              <a:gd name="connsiteX276" fmla="*/ 5682041 w 7467663"/>
              <a:gd name="connsiteY276" fmla="*/ 6355860 h 6858000"/>
              <a:gd name="connsiteX277" fmla="*/ 5461758 w 7467663"/>
              <a:gd name="connsiteY277" fmla="*/ 5820220 h 6858000"/>
              <a:gd name="connsiteX278" fmla="*/ 5237282 w 7467663"/>
              <a:gd name="connsiteY278" fmla="*/ 6579086 h 6858000"/>
              <a:gd name="connsiteX279" fmla="*/ 5115009 w 7467663"/>
              <a:gd name="connsiteY279" fmla="*/ 6858000 h 6858000"/>
              <a:gd name="connsiteX280" fmla="*/ 5028074 w 7467663"/>
              <a:gd name="connsiteY280" fmla="*/ 6858000 h 6858000"/>
              <a:gd name="connsiteX281" fmla="*/ 5079508 w 7467663"/>
              <a:gd name="connsiteY281" fmla="*/ 6749074 h 6858000"/>
              <a:gd name="connsiteX282" fmla="*/ 5371846 w 7467663"/>
              <a:gd name="connsiteY282" fmla="*/ 5924413 h 6858000"/>
              <a:gd name="connsiteX283" fmla="*/ 5270512 w 7467663"/>
              <a:gd name="connsiteY283" fmla="*/ 6138975 h 6858000"/>
              <a:gd name="connsiteX284" fmla="*/ 5062409 w 7467663"/>
              <a:gd name="connsiteY284" fmla="*/ 6653544 h 6858000"/>
              <a:gd name="connsiteX285" fmla="*/ 5036628 w 7467663"/>
              <a:gd name="connsiteY285" fmla="*/ 6754247 h 6858000"/>
              <a:gd name="connsiteX286" fmla="*/ 5009112 w 7467663"/>
              <a:gd name="connsiteY286" fmla="*/ 6858000 h 6858000"/>
              <a:gd name="connsiteX287" fmla="*/ 4976679 w 7467663"/>
              <a:gd name="connsiteY287" fmla="*/ 6858000 h 6858000"/>
              <a:gd name="connsiteX288" fmla="*/ 5006537 w 7467663"/>
              <a:gd name="connsiteY288" fmla="*/ 6747068 h 6858000"/>
              <a:gd name="connsiteX289" fmla="*/ 5032723 w 7467663"/>
              <a:gd name="connsiteY289" fmla="*/ 6644957 h 6858000"/>
              <a:gd name="connsiteX290" fmla="*/ 5242949 w 7467663"/>
              <a:gd name="connsiteY290" fmla="*/ 6125175 h 6858000"/>
              <a:gd name="connsiteX291" fmla="*/ 5286321 w 7467663"/>
              <a:gd name="connsiteY291" fmla="*/ 6033555 h 6858000"/>
              <a:gd name="connsiteX292" fmla="*/ 5008210 w 7467663"/>
              <a:gd name="connsiteY292" fmla="*/ 6649194 h 6858000"/>
              <a:gd name="connsiteX293" fmla="*/ 4986321 w 7467663"/>
              <a:gd name="connsiteY293" fmla="*/ 6765687 h 6858000"/>
              <a:gd name="connsiteX294" fmla="*/ 4973474 w 7467663"/>
              <a:gd name="connsiteY294" fmla="*/ 6858000 h 6858000"/>
              <a:gd name="connsiteX295" fmla="*/ 4907178 w 7467663"/>
              <a:gd name="connsiteY295" fmla="*/ 6858000 h 6858000"/>
              <a:gd name="connsiteX296" fmla="*/ 4910810 w 7467663"/>
              <a:gd name="connsiteY296" fmla="*/ 6829660 h 6858000"/>
              <a:gd name="connsiteX297" fmla="*/ 4987461 w 7467663"/>
              <a:gd name="connsiteY297" fmla="*/ 6432994 h 6858000"/>
              <a:gd name="connsiteX298" fmla="*/ 5179262 w 7467663"/>
              <a:gd name="connsiteY298" fmla="*/ 6035044 h 6858000"/>
              <a:gd name="connsiteX299" fmla="*/ 4689678 w 7467663"/>
              <a:gd name="connsiteY299" fmla="*/ 6440241 h 6858000"/>
              <a:gd name="connsiteX300" fmla="*/ 4477543 w 7467663"/>
              <a:gd name="connsiteY300" fmla="*/ 6674836 h 6858000"/>
              <a:gd name="connsiteX301" fmla="*/ 4329957 w 7467663"/>
              <a:gd name="connsiteY301" fmla="*/ 6858000 h 6858000"/>
              <a:gd name="connsiteX302" fmla="*/ 4218595 w 7467663"/>
              <a:gd name="connsiteY302" fmla="*/ 6858000 h 6858000"/>
              <a:gd name="connsiteX303" fmla="*/ 4368888 w 7467663"/>
              <a:gd name="connsiteY303" fmla="*/ 6668412 h 6858000"/>
              <a:gd name="connsiteX304" fmla="*/ 4563091 w 7467663"/>
              <a:gd name="connsiteY304" fmla="*/ 6442508 h 6858000"/>
              <a:gd name="connsiteX305" fmla="*/ 5387324 w 7467663"/>
              <a:gd name="connsiteY305" fmla="*/ 5705830 h 6858000"/>
              <a:gd name="connsiteX306" fmla="*/ 5073620 w 7467663"/>
              <a:gd name="connsiteY306" fmla="*/ 5955437 h 6858000"/>
              <a:gd name="connsiteX307" fmla="*/ 4689789 w 7467663"/>
              <a:gd name="connsiteY307" fmla="*/ 6268382 h 6858000"/>
              <a:gd name="connsiteX308" fmla="*/ 4418722 w 7467663"/>
              <a:gd name="connsiteY308" fmla="*/ 6570886 h 6858000"/>
              <a:gd name="connsiteX309" fmla="*/ 4214944 w 7467663"/>
              <a:gd name="connsiteY309" fmla="*/ 6858000 h 6858000"/>
              <a:gd name="connsiteX310" fmla="*/ 4177898 w 7467663"/>
              <a:gd name="connsiteY310" fmla="*/ 6858000 h 6858000"/>
              <a:gd name="connsiteX311" fmla="*/ 4391597 w 7467663"/>
              <a:gd name="connsiteY311" fmla="*/ 6556370 h 6858000"/>
              <a:gd name="connsiteX312" fmla="*/ 4668889 w 7467663"/>
              <a:gd name="connsiteY312" fmla="*/ 6246399 h 6858000"/>
              <a:gd name="connsiteX313" fmla="*/ 5055427 w 7467663"/>
              <a:gd name="connsiteY313" fmla="*/ 5931476 h 6858000"/>
              <a:gd name="connsiteX314" fmla="*/ 5371814 w 7467663"/>
              <a:gd name="connsiteY314" fmla="*/ 5678975 h 6858000"/>
              <a:gd name="connsiteX315" fmla="*/ 4987918 w 7467663"/>
              <a:gd name="connsiteY315" fmla="*/ 5838701 h 6858000"/>
              <a:gd name="connsiteX316" fmla="*/ 4317146 w 7467663"/>
              <a:gd name="connsiteY316" fmla="*/ 6587716 h 6858000"/>
              <a:gd name="connsiteX317" fmla="*/ 4171627 w 7467663"/>
              <a:gd name="connsiteY317" fmla="*/ 6858000 h 6858000"/>
              <a:gd name="connsiteX318" fmla="*/ 4081585 w 7467663"/>
              <a:gd name="connsiteY318" fmla="*/ 6858000 h 6858000"/>
              <a:gd name="connsiteX319" fmla="*/ 4238603 w 7467663"/>
              <a:gd name="connsiteY319" fmla="*/ 6559341 h 6858000"/>
              <a:gd name="connsiteX320" fmla="*/ 4778333 w 7467663"/>
              <a:gd name="connsiteY320" fmla="*/ 5873626 h 6858000"/>
              <a:gd name="connsiteX321" fmla="*/ 5414185 w 7467663"/>
              <a:gd name="connsiteY321" fmla="*/ 5573882 h 6858000"/>
              <a:gd name="connsiteX322" fmla="*/ 5959648 w 7467663"/>
              <a:gd name="connsiteY322" fmla="*/ 4760797 h 6858000"/>
              <a:gd name="connsiteX323" fmla="*/ 5355019 w 7467663"/>
              <a:gd name="connsiteY323" fmla="*/ 4734672 h 6858000"/>
              <a:gd name="connsiteX324" fmla="*/ 5083565 w 7467663"/>
              <a:gd name="connsiteY324" fmla="*/ 5179121 h 6858000"/>
              <a:gd name="connsiteX325" fmla="*/ 4713577 w 7467663"/>
              <a:gd name="connsiteY325" fmla="*/ 5616803 h 6858000"/>
              <a:gd name="connsiteX326" fmla="*/ 3989559 w 7467663"/>
              <a:gd name="connsiteY326" fmla="*/ 6145945 h 6858000"/>
              <a:gd name="connsiteX327" fmla="*/ 3939824 w 7467663"/>
              <a:gd name="connsiteY327" fmla="*/ 6066900 h 6858000"/>
              <a:gd name="connsiteX328" fmla="*/ 4584537 w 7467663"/>
              <a:gd name="connsiteY328" fmla="*/ 5324826 h 6858000"/>
              <a:gd name="connsiteX329" fmla="*/ 5037105 w 7467663"/>
              <a:gd name="connsiteY329" fmla="*/ 5088765 h 6858000"/>
              <a:gd name="connsiteX330" fmla="*/ 5039930 w 7467663"/>
              <a:gd name="connsiteY330" fmla="*/ 5089585 h 6858000"/>
              <a:gd name="connsiteX331" fmla="*/ 5263764 w 7467663"/>
              <a:gd name="connsiteY331" fmla="*/ 4735525 h 6858000"/>
              <a:gd name="connsiteX332" fmla="*/ 4086300 w 7467663"/>
              <a:gd name="connsiteY332" fmla="*/ 4884599 h 6858000"/>
              <a:gd name="connsiteX333" fmla="*/ 4085485 w 7467663"/>
              <a:gd name="connsiteY333" fmla="*/ 4899070 h 6858000"/>
              <a:gd name="connsiteX334" fmla="*/ 3871915 w 7467663"/>
              <a:gd name="connsiteY334" fmla="*/ 5253645 h 6858000"/>
              <a:gd name="connsiteX335" fmla="*/ 3799374 w 7467663"/>
              <a:gd name="connsiteY335" fmla="*/ 5466127 h 6858000"/>
              <a:gd name="connsiteX336" fmla="*/ 3498850 w 7467663"/>
              <a:gd name="connsiteY336" fmla="*/ 6661888 h 6858000"/>
              <a:gd name="connsiteX337" fmla="*/ 3399216 w 7467663"/>
              <a:gd name="connsiteY337" fmla="*/ 6858000 h 6858000"/>
              <a:gd name="connsiteX338" fmla="*/ 3303688 w 7467663"/>
              <a:gd name="connsiteY338" fmla="*/ 6858000 h 6858000"/>
              <a:gd name="connsiteX339" fmla="*/ 3391774 w 7467663"/>
              <a:gd name="connsiteY339" fmla="*/ 6697181 h 6858000"/>
              <a:gd name="connsiteX340" fmla="*/ 3735540 w 7467663"/>
              <a:gd name="connsiteY340" fmla="*/ 5546923 h 6858000"/>
              <a:gd name="connsiteX341" fmla="*/ 3729438 w 7467663"/>
              <a:gd name="connsiteY341" fmla="*/ 5569058 h 6858000"/>
              <a:gd name="connsiteX342" fmla="*/ 3707782 w 7467663"/>
              <a:gd name="connsiteY342" fmla="*/ 5644908 h 6858000"/>
              <a:gd name="connsiteX343" fmla="*/ 3583827 w 7467663"/>
              <a:gd name="connsiteY343" fmla="*/ 6039215 h 6858000"/>
              <a:gd name="connsiteX344" fmla="*/ 3547861 w 7467663"/>
              <a:gd name="connsiteY344" fmla="*/ 6129609 h 6858000"/>
              <a:gd name="connsiteX345" fmla="*/ 3490905 w 7467663"/>
              <a:gd name="connsiteY345" fmla="*/ 6277660 h 6858000"/>
              <a:gd name="connsiteX346" fmla="*/ 3455859 w 7467663"/>
              <a:gd name="connsiteY346" fmla="*/ 6391301 h 6858000"/>
              <a:gd name="connsiteX347" fmla="*/ 3429112 w 7467663"/>
              <a:gd name="connsiteY347" fmla="*/ 6479469 h 6858000"/>
              <a:gd name="connsiteX348" fmla="*/ 3304862 w 7467663"/>
              <a:gd name="connsiteY348" fmla="*/ 6796476 h 6858000"/>
              <a:gd name="connsiteX349" fmla="*/ 3276071 w 7467663"/>
              <a:gd name="connsiteY349" fmla="*/ 6858000 h 6858000"/>
              <a:gd name="connsiteX350" fmla="*/ 3240805 w 7467663"/>
              <a:gd name="connsiteY350" fmla="*/ 6858000 h 6858000"/>
              <a:gd name="connsiteX351" fmla="*/ 3275917 w 7467663"/>
              <a:gd name="connsiteY351" fmla="*/ 6783192 h 6858000"/>
              <a:gd name="connsiteX352" fmla="*/ 3399358 w 7467663"/>
              <a:gd name="connsiteY352" fmla="*/ 6469011 h 6858000"/>
              <a:gd name="connsiteX353" fmla="*/ 3425650 w 7467663"/>
              <a:gd name="connsiteY353" fmla="*/ 6381333 h 6858000"/>
              <a:gd name="connsiteX354" fmla="*/ 3460661 w 7467663"/>
              <a:gd name="connsiteY354" fmla="*/ 6266763 h 6858000"/>
              <a:gd name="connsiteX355" fmla="*/ 3518021 w 7467663"/>
              <a:gd name="connsiteY355" fmla="*/ 6117298 h 6858000"/>
              <a:gd name="connsiteX356" fmla="*/ 3554035 w 7467663"/>
              <a:gd name="connsiteY356" fmla="*/ 6027832 h 6858000"/>
              <a:gd name="connsiteX357" fmla="*/ 3677174 w 7467663"/>
              <a:gd name="connsiteY357" fmla="*/ 5636351 h 6858000"/>
              <a:gd name="connsiteX358" fmla="*/ 3698819 w 7467663"/>
              <a:gd name="connsiteY358" fmla="*/ 5560503 h 6858000"/>
              <a:gd name="connsiteX359" fmla="*/ 3702094 w 7467663"/>
              <a:gd name="connsiteY359" fmla="*/ 5549194 h 6858000"/>
              <a:gd name="connsiteX360" fmla="*/ 3398355 w 7467663"/>
              <a:gd name="connsiteY360" fmla="*/ 6094603 h 6858000"/>
              <a:gd name="connsiteX361" fmla="*/ 3193941 w 7467663"/>
              <a:gd name="connsiteY361" fmla="*/ 6798775 h 6858000"/>
              <a:gd name="connsiteX362" fmla="*/ 3184140 w 7467663"/>
              <a:gd name="connsiteY362" fmla="*/ 6858000 h 6858000"/>
              <a:gd name="connsiteX363" fmla="*/ 3099978 w 7467663"/>
              <a:gd name="connsiteY363" fmla="*/ 6858000 h 6858000"/>
              <a:gd name="connsiteX364" fmla="*/ 3101556 w 7467663"/>
              <a:gd name="connsiteY364" fmla="*/ 6843337 h 6858000"/>
              <a:gd name="connsiteX365" fmla="*/ 3370162 w 7467663"/>
              <a:gd name="connsiteY365" fmla="*/ 5785550 h 6858000"/>
              <a:gd name="connsiteX366" fmla="*/ 3746477 w 7467663"/>
              <a:gd name="connsiteY366" fmla="*/ 5377889 h 6858000"/>
              <a:gd name="connsiteX367" fmla="*/ 3863399 w 7467663"/>
              <a:gd name="connsiteY367" fmla="*/ 5087257 h 6858000"/>
              <a:gd name="connsiteX368" fmla="*/ 3968712 w 7467663"/>
              <a:gd name="connsiteY368" fmla="*/ 4913989 h 6858000"/>
              <a:gd name="connsiteX369" fmla="*/ 2792390 w 7467663"/>
              <a:gd name="connsiteY369" fmla="*/ 5382974 h 6858000"/>
              <a:gd name="connsiteX370" fmla="*/ 2714982 w 7467663"/>
              <a:gd name="connsiteY370" fmla="*/ 5427051 h 6858000"/>
              <a:gd name="connsiteX371" fmla="*/ 2813361 w 7467663"/>
              <a:gd name="connsiteY371" fmla="*/ 6023912 h 6858000"/>
              <a:gd name="connsiteX372" fmla="*/ 2688430 w 7467663"/>
              <a:gd name="connsiteY372" fmla="*/ 6801564 h 6858000"/>
              <a:gd name="connsiteX373" fmla="*/ 2629626 w 7467663"/>
              <a:gd name="connsiteY373" fmla="*/ 6763394 h 6858000"/>
              <a:gd name="connsiteX374" fmla="*/ 2565328 w 7467663"/>
              <a:gd name="connsiteY374" fmla="*/ 5516399 h 6858000"/>
              <a:gd name="connsiteX375" fmla="*/ 1922999 w 7467663"/>
              <a:gd name="connsiteY375" fmla="*/ 5980343 h 6858000"/>
              <a:gd name="connsiteX376" fmla="*/ 1950261 w 7467663"/>
              <a:gd name="connsiteY376" fmla="*/ 6405858 h 6858000"/>
              <a:gd name="connsiteX377" fmla="*/ 2365554 w 7467663"/>
              <a:gd name="connsiteY377" fmla="*/ 6759107 h 6858000"/>
              <a:gd name="connsiteX378" fmla="*/ 2424142 w 7467663"/>
              <a:gd name="connsiteY378" fmla="*/ 6858000 h 6858000"/>
              <a:gd name="connsiteX379" fmla="*/ 2395994 w 7467663"/>
              <a:gd name="connsiteY379" fmla="*/ 6858000 h 6858000"/>
              <a:gd name="connsiteX380" fmla="*/ 2392863 w 7467663"/>
              <a:gd name="connsiteY380" fmla="*/ 6852964 h 6858000"/>
              <a:gd name="connsiteX381" fmla="*/ 2017589 w 7467663"/>
              <a:gd name="connsiteY381" fmla="*/ 6493982 h 6858000"/>
              <a:gd name="connsiteX382" fmla="*/ 2147336 w 7467663"/>
              <a:gd name="connsiteY382" fmla="*/ 6594052 h 6858000"/>
              <a:gd name="connsiteX383" fmla="*/ 2207047 w 7467663"/>
              <a:gd name="connsiteY383" fmla="*/ 6654540 h 6858000"/>
              <a:gd name="connsiteX384" fmla="*/ 2299106 w 7467663"/>
              <a:gd name="connsiteY384" fmla="*/ 6778931 h 6858000"/>
              <a:gd name="connsiteX385" fmla="*/ 2314430 w 7467663"/>
              <a:gd name="connsiteY385" fmla="*/ 6801144 h 6858000"/>
              <a:gd name="connsiteX386" fmla="*/ 2352406 w 7467663"/>
              <a:gd name="connsiteY386" fmla="*/ 6858000 h 6858000"/>
              <a:gd name="connsiteX387" fmla="*/ 2314492 w 7467663"/>
              <a:gd name="connsiteY387" fmla="*/ 6858000 h 6858000"/>
              <a:gd name="connsiteX388" fmla="*/ 2288095 w 7467663"/>
              <a:gd name="connsiteY388" fmla="*/ 6818030 h 6858000"/>
              <a:gd name="connsiteX389" fmla="*/ 2272768 w 7467663"/>
              <a:gd name="connsiteY389" fmla="*/ 6795822 h 6858000"/>
              <a:gd name="connsiteX390" fmla="*/ 2182715 w 7467663"/>
              <a:gd name="connsiteY390" fmla="*/ 6675071 h 6858000"/>
              <a:gd name="connsiteX391" fmla="*/ 2032061 w 7467663"/>
              <a:gd name="connsiteY391" fmla="*/ 6541380 h 6858000"/>
              <a:gd name="connsiteX392" fmla="*/ 2257220 w 7467663"/>
              <a:gd name="connsiteY392" fmla="*/ 6826257 h 6858000"/>
              <a:gd name="connsiteX393" fmla="*/ 2281324 w 7467663"/>
              <a:gd name="connsiteY393" fmla="*/ 6858000 h 6858000"/>
              <a:gd name="connsiteX394" fmla="*/ 2242860 w 7467663"/>
              <a:gd name="connsiteY394" fmla="*/ 6858000 h 6858000"/>
              <a:gd name="connsiteX395" fmla="*/ 2232818 w 7467663"/>
              <a:gd name="connsiteY395" fmla="*/ 6844926 h 6858000"/>
              <a:gd name="connsiteX396" fmla="*/ 1990172 w 7467663"/>
              <a:gd name="connsiteY396" fmla="*/ 6542121 h 6858000"/>
              <a:gd name="connsiteX397" fmla="*/ 2124090 w 7467663"/>
              <a:gd name="connsiteY397" fmla="*/ 6761017 h 6858000"/>
              <a:gd name="connsiteX398" fmla="*/ 2200380 w 7467663"/>
              <a:gd name="connsiteY398" fmla="*/ 6858000 h 6858000"/>
              <a:gd name="connsiteX399" fmla="*/ 2147507 w 7467663"/>
              <a:gd name="connsiteY399" fmla="*/ 6858000 h 6858000"/>
              <a:gd name="connsiteX400" fmla="*/ 2070668 w 7467663"/>
              <a:gd name="connsiteY400" fmla="*/ 6761520 h 6858000"/>
              <a:gd name="connsiteX401" fmla="*/ 1975142 w 7467663"/>
              <a:gd name="connsiteY401" fmla="*/ 6585570 h 6858000"/>
              <a:gd name="connsiteX402" fmla="*/ 2050035 w 7467663"/>
              <a:gd name="connsiteY402" fmla="*/ 6813345 h 6858000"/>
              <a:gd name="connsiteX403" fmla="*/ 2063025 w 7467663"/>
              <a:gd name="connsiteY403" fmla="*/ 6858000 h 6858000"/>
              <a:gd name="connsiteX404" fmla="*/ 2021675 w 7467663"/>
              <a:gd name="connsiteY404" fmla="*/ 6858000 h 6858000"/>
              <a:gd name="connsiteX405" fmla="*/ 2019308 w 7467663"/>
              <a:gd name="connsiteY405" fmla="*/ 6847118 h 6858000"/>
              <a:gd name="connsiteX406" fmla="*/ 1938835 w 7467663"/>
              <a:gd name="connsiteY406" fmla="*/ 6551160 h 6858000"/>
              <a:gd name="connsiteX407" fmla="*/ 1953230 w 7467663"/>
              <a:gd name="connsiteY407" fmla="*/ 6759699 h 6858000"/>
              <a:gd name="connsiteX408" fmla="*/ 1956763 w 7467663"/>
              <a:gd name="connsiteY408" fmla="*/ 6778191 h 6858000"/>
              <a:gd name="connsiteX409" fmla="*/ 1967925 w 7467663"/>
              <a:gd name="connsiteY409" fmla="*/ 6858000 h 6858000"/>
              <a:gd name="connsiteX410" fmla="*/ 1936622 w 7467663"/>
              <a:gd name="connsiteY410" fmla="*/ 6858000 h 6858000"/>
              <a:gd name="connsiteX411" fmla="*/ 1926261 w 7467663"/>
              <a:gd name="connsiteY411" fmla="*/ 6784064 h 6858000"/>
              <a:gd name="connsiteX412" fmla="*/ 1922724 w 7467663"/>
              <a:gd name="connsiteY412" fmla="*/ 6765577 h 6858000"/>
              <a:gd name="connsiteX413" fmla="*/ 1904650 w 7467663"/>
              <a:gd name="connsiteY413" fmla="*/ 6639616 h 6858000"/>
              <a:gd name="connsiteX414" fmla="*/ 1885273 w 7467663"/>
              <a:gd name="connsiteY414" fmla="*/ 6858000 h 6858000"/>
              <a:gd name="connsiteX415" fmla="*/ 1854363 w 7467663"/>
              <a:gd name="connsiteY415" fmla="*/ 6858000 h 6858000"/>
              <a:gd name="connsiteX416" fmla="*/ 1880391 w 7467663"/>
              <a:gd name="connsiteY416" fmla="*/ 6603796 h 6858000"/>
              <a:gd name="connsiteX417" fmla="*/ 1818273 w 7467663"/>
              <a:gd name="connsiteY417" fmla="*/ 6715729 h 6858000"/>
              <a:gd name="connsiteX418" fmla="*/ 1794691 w 7467663"/>
              <a:gd name="connsiteY418" fmla="*/ 6843239 h 6858000"/>
              <a:gd name="connsiteX419" fmla="*/ 1794914 w 7467663"/>
              <a:gd name="connsiteY419" fmla="*/ 6858000 h 6858000"/>
              <a:gd name="connsiteX420" fmla="*/ 1746128 w 7467663"/>
              <a:gd name="connsiteY420" fmla="*/ 6858000 h 6858000"/>
              <a:gd name="connsiteX421" fmla="*/ 1753934 w 7467663"/>
              <a:gd name="connsiteY421" fmla="*/ 6724796 h 6858000"/>
              <a:gd name="connsiteX422" fmla="*/ 1792053 w 7467663"/>
              <a:gd name="connsiteY422" fmla="*/ 6572396 h 6858000"/>
              <a:gd name="connsiteX423" fmla="*/ 1862248 w 7467663"/>
              <a:gd name="connsiteY423" fmla="*/ 6266397 h 6858000"/>
              <a:gd name="connsiteX424" fmla="*/ 1862250 w 7467663"/>
              <a:gd name="connsiteY424" fmla="*/ 6033531 h 6858000"/>
              <a:gd name="connsiteX425" fmla="*/ 1211999 w 7467663"/>
              <a:gd name="connsiteY425" fmla="*/ 6683610 h 6858000"/>
              <a:gd name="connsiteX426" fmla="*/ 1213266 w 7467663"/>
              <a:gd name="connsiteY426" fmla="*/ 6691947 h 6858000"/>
              <a:gd name="connsiteX427" fmla="*/ 1203370 w 7467663"/>
              <a:gd name="connsiteY427" fmla="*/ 6850676 h 6858000"/>
              <a:gd name="connsiteX428" fmla="*/ 1203671 w 7467663"/>
              <a:gd name="connsiteY428" fmla="*/ 6858000 h 6858000"/>
              <a:gd name="connsiteX429" fmla="*/ 1143180 w 7467663"/>
              <a:gd name="connsiteY429" fmla="*/ 6858000 h 6858000"/>
              <a:gd name="connsiteX430" fmla="*/ 1142176 w 7467663"/>
              <a:gd name="connsiteY430" fmla="*/ 6766045 h 6858000"/>
              <a:gd name="connsiteX431" fmla="*/ 1067484 w 7467663"/>
              <a:gd name="connsiteY431" fmla="*/ 6858000 h 6858000"/>
              <a:gd name="connsiteX432" fmla="*/ 953928 w 7467663"/>
              <a:gd name="connsiteY432" fmla="*/ 6858000 h 6858000"/>
              <a:gd name="connsiteX433" fmla="*/ 959715 w 7467663"/>
              <a:gd name="connsiteY433" fmla="*/ 6850185 h 6858000"/>
              <a:gd name="connsiteX434" fmla="*/ 1483788 w 7467663"/>
              <a:gd name="connsiteY434" fmla="*/ 6259174 h 6858000"/>
              <a:gd name="connsiteX435" fmla="*/ 1100671 w 7467663"/>
              <a:gd name="connsiteY435" fmla="*/ 6252137 h 6858000"/>
              <a:gd name="connsiteX436" fmla="*/ 1090144 w 7467663"/>
              <a:gd name="connsiteY436" fmla="*/ 6256748 h 6858000"/>
              <a:gd name="connsiteX437" fmla="*/ 1095872 w 7467663"/>
              <a:gd name="connsiteY437" fmla="*/ 6271892 h 6858000"/>
              <a:gd name="connsiteX438" fmla="*/ 262785 w 7467663"/>
              <a:gd name="connsiteY438" fmla="*/ 6845450 h 6858000"/>
              <a:gd name="connsiteX439" fmla="*/ 209968 w 7467663"/>
              <a:gd name="connsiteY439" fmla="*/ 6770713 h 6858000"/>
              <a:gd name="connsiteX440" fmla="*/ 873460 w 7467663"/>
              <a:gd name="connsiteY440" fmla="*/ 6253768 h 6858000"/>
              <a:gd name="connsiteX441" fmla="*/ 192686 w 7467663"/>
              <a:gd name="connsiteY441" fmla="*/ 5849257 h 6858000"/>
              <a:gd name="connsiteX442" fmla="*/ 4696 w 7467663"/>
              <a:gd name="connsiteY442" fmla="*/ 5697668 h 6858000"/>
              <a:gd name="connsiteX443" fmla="*/ 0 w 7467663"/>
              <a:gd name="connsiteY443" fmla="*/ 5689984 h 6858000"/>
              <a:gd name="connsiteX444" fmla="*/ 0 w 7467663"/>
              <a:gd name="connsiteY444" fmla="*/ 5513472 h 6858000"/>
              <a:gd name="connsiteX445" fmla="*/ 174101 w 7467663"/>
              <a:gd name="connsiteY445" fmla="*/ 5620277 h 6858000"/>
              <a:gd name="connsiteX446" fmla="*/ 891800 w 7467663"/>
              <a:gd name="connsiteY446" fmla="*/ 6036935 h 6858000"/>
              <a:gd name="connsiteX447" fmla="*/ 1072219 w 7467663"/>
              <a:gd name="connsiteY447" fmla="*/ 6169443 h 6858000"/>
              <a:gd name="connsiteX448" fmla="*/ 1074117 w 7467663"/>
              <a:gd name="connsiteY448" fmla="*/ 6170301 h 6858000"/>
              <a:gd name="connsiteX449" fmla="*/ 1083114 w 7467663"/>
              <a:gd name="connsiteY449" fmla="*/ 6174131 h 6858000"/>
              <a:gd name="connsiteX450" fmla="*/ 1543010 w 7467663"/>
              <a:gd name="connsiteY450" fmla="*/ 6191140 h 6858000"/>
              <a:gd name="connsiteX451" fmla="*/ 1551080 w 7467663"/>
              <a:gd name="connsiteY451" fmla="*/ 6195006 h 6858000"/>
              <a:gd name="connsiteX452" fmla="*/ 2345443 w 7467663"/>
              <a:gd name="connsiteY452" fmla="*/ 5549882 h 6858000"/>
              <a:gd name="connsiteX453" fmla="*/ 1721499 w 7467663"/>
              <a:gd name="connsiteY453" fmla="*/ 5599969 h 6858000"/>
              <a:gd name="connsiteX454" fmla="*/ 767716 w 7467663"/>
              <a:gd name="connsiteY454" fmla="*/ 5472768 h 6858000"/>
              <a:gd name="connsiteX455" fmla="*/ 722147 w 7467663"/>
              <a:gd name="connsiteY455" fmla="*/ 5393091 h 6858000"/>
              <a:gd name="connsiteX456" fmla="*/ 1485552 w 7467663"/>
              <a:gd name="connsiteY456" fmla="*/ 5313202 h 6858000"/>
              <a:gd name="connsiteX457" fmla="*/ 2143004 w 7467663"/>
              <a:gd name="connsiteY457" fmla="*/ 5402420 h 6858000"/>
              <a:gd name="connsiteX458" fmla="*/ 1933391 w 7467663"/>
              <a:gd name="connsiteY458" fmla="*/ 5156971 h 6858000"/>
              <a:gd name="connsiteX459" fmla="*/ 1827118 w 7467663"/>
              <a:gd name="connsiteY459" fmla="*/ 4968410 h 6858000"/>
              <a:gd name="connsiteX460" fmla="*/ 1837349 w 7467663"/>
              <a:gd name="connsiteY460" fmla="*/ 4956357 h 6858000"/>
              <a:gd name="connsiteX461" fmla="*/ 2162835 w 7467663"/>
              <a:gd name="connsiteY461" fmla="*/ 5187853 h 6858000"/>
              <a:gd name="connsiteX462" fmla="*/ 2257167 w 7467663"/>
              <a:gd name="connsiteY462" fmla="*/ 5462123 h 6858000"/>
              <a:gd name="connsiteX463" fmla="*/ 2261598 w 7467663"/>
              <a:gd name="connsiteY463" fmla="*/ 5467998 h 6858000"/>
              <a:gd name="connsiteX464" fmla="*/ 2437177 w 7467663"/>
              <a:gd name="connsiteY464" fmla="*/ 5479608 h 6858000"/>
              <a:gd name="connsiteX465" fmla="*/ 2445247 w 7467663"/>
              <a:gd name="connsiteY465" fmla="*/ 5483476 h 6858000"/>
              <a:gd name="connsiteX466" fmla="*/ 2743626 w 7467663"/>
              <a:gd name="connsiteY466" fmla="*/ 5304819 h 6858000"/>
              <a:gd name="connsiteX467" fmla="*/ 3048102 w 7467663"/>
              <a:gd name="connsiteY467" fmla="*/ 5150595 h 6858000"/>
              <a:gd name="connsiteX468" fmla="*/ 1799414 w 7467663"/>
              <a:gd name="connsiteY468" fmla="*/ 4694732 h 6858000"/>
              <a:gd name="connsiteX469" fmla="*/ 1771735 w 7467663"/>
              <a:gd name="connsiteY469" fmla="*/ 4619929 h 6858000"/>
              <a:gd name="connsiteX470" fmla="*/ 3104273 w 7467663"/>
              <a:gd name="connsiteY470" fmla="*/ 5076159 h 6858000"/>
              <a:gd name="connsiteX471" fmla="*/ 3113245 w 7467663"/>
              <a:gd name="connsiteY471" fmla="*/ 5090705 h 6858000"/>
              <a:gd name="connsiteX472" fmla="*/ 3126294 w 7467663"/>
              <a:gd name="connsiteY472" fmla="*/ 5114400 h 6858000"/>
              <a:gd name="connsiteX473" fmla="*/ 3937433 w 7467663"/>
              <a:gd name="connsiteY473" fmla="*/ 4830473 h 6858000"/>
              <a:gd name="connsiteX474" fmla="*/ 3590475 w 7467663"/>
              <a:gd name="connsiteY474" fmla="*/ 4597974 h 6858000"/>
              <a:gd name="connsiteX475" fmla="*/ 3100264 w 7467663"/>
              <a:gd name="connsiteY475" fmla="*/ 4579845 h 6858000"/>
              <a:gd name="connsiteX476" fmla="*/ 2183576 w 7467663"/>
              <a:gd name="connsiteY476" fmla="*/ 4227150 h 6858000"/>
              <a:gd name="connsiteX477" fmla="*/ 2151029 w 7467663"/>
              <a:gd name="connsiteY477" fmla="*/ 4146947 h 6858000"/>
              <a:gd name="connsiteX478" fmla="*/ 3563434 w 7467663"/>
              <a:gd name="connsiteY478" fmla="*/ 4469115 h 6858000"/>
              <a:gd name="connsiteX479" fmla="*/ 3177952 w 7467663"/>
              <a:gd name="connsiteY479" fmla="*/ 3657386 h 6858000"/>
              <a:gd name="connsiteX480" fmla="*/ 3189263 w 7467663"/>
              <a:gd name="connsiteY480" fmla="*/ 3625726 h 6858000"/>
              <a:gd name="connsiteX481" fmla="*/ 3560912 w 7467663"/>
              <a:gd name="connsiteY481" fmla="*/ 4079863 h 6858000"/>
              <a:gd name="connsiteX482" fmla="*/ 3626636 w 7467663"/>
              <a:gd name="connsiteY482" fmla="*/ 4512230 h 6858000"/>
              <a:gd name="connsiteX483" fmla="*/ 3653088 w 7467663"/>
              <a:gd name="connsiteY483" fmla="*/ 4521417 h 6858000"/>
              <a:gd name="connsiteX484" fmla="*/ 3988128 w 7467663"/>
              <a:gd name="connsiteY484" fmla="*/ 4817267 h 6858000"/>
              <a:gd name="connsiteX485" fmla="*/ 4830582 w 7467663"/>
              <a:gd name="connsiteY485" fmla="*/ 4676000 h 6858000"/>
              <a:gd name="connsiteX486" fmla="*/ 4830100 w 7467663"/>
              <a:gd name="connsiteY486" fmla="*/ 4675554 h 6858000"/>
              <a:gd name="connsiteX487" fmla="*/ 4036318 w 7467663"/>
              <a:gd name="connsiteY487" fmla="*/ 4147013 h 6858000"/>
              <a:gd name="connsiteX488" fmla="*/ 3432098 w 7467663"/>
              <a:gd name="connsiteY488" fmla="*/ 3537312 h 6858000"/>
              <a:gd name="connsiteX489" fmla="*/ 3446761 w 7467663"/>
              <a:gd name="connsiteY489" fmla="*/ 3461278 h 6858000"/>
              <a:gd name="connsiteX490" fmla="*/ 4419733 w 7467663"/>
              <a:gd name="connsiteY490" fmla="*/ 3963555 h 6858000"/>
              <a:gd name="connsiteX491" fmla="*/ 4781371 w 7467663"/>
              <a:gd name="connsiteY491" fmla="*/ 4458604 h 6858000"/>
              <a:gd name="connsiteX492" fmla="*/ 4780440 w 7467663"/>
              <a:gd name="connsiteY492" fmla="*/ 4470290 h 6858000"/>
              <a:gd name="connsiteX493" fmla="*/ 4898954 w 7467663"/>
              <a:gd name="connsiteY493" fmla="*/ 4662092 h 6858000"/>
              <a:gd name="connsiteX494" fmla="*/ 4900699 w 7467663"/>
              <a:gd name="connsiteY494" fmla="*/ 4670867 h 6858000"/>
              <a:gd name="connsiteX495" fmla="*/ 5714511 w 7467663"/>
              <a:gd name="connsiteY495" fmla="*/ 4663483 h 6858000"/>
              <a:gd name="connsiteX496" fmla="*/ 5464793 w 7467663"/>
              <a:gd name="connsiteY496" fmla="*/ 4393556 h 6858000"/>
              <a:gd name="connsiteX497" fmla="*/ 5461897 w 7467663"/>
              <a:gd name="connsiteY497" fmla="*/ 4390879 h 6858000"/>
              <a:gd name="connsiteX498" fmla="*/ 4294126 w 7467663"/>
              <a:gd name="connsiteY498" fmla="*/ 3303048 h 6858000"/>
              <a:gd name="connsiteX499" fmla="*/ 4305321 w 7467663"/>
              <a:gd name="connsiteY499" fmla="*/ 3256953 h 6858000"/>
              <a:gd name="connsiteX500" fmla="*/ 4949299 w 7467663"/>
              <a:gd name="connsiteY500" fmla="*/ 3766336 h 6858000"/>
              <a:gd name="connsiteX501" fmla="*/ 5291452 w 7467663"/>
              <a:gd name="connsiteY501" fmla="*/ 4076801 h 6858000"/>
              <a:gd name="connsiteX502" fmla="*/ 5434998 w 7467663"/>
              <a:gd name="connsiteY502" fmla="*/ 4254100 h 6858000"/>
              <a:gd name="connsiteX503" fmla="*/ 5351015 w 7467663"/>
              <a:gd name="connsiteY503" fmla="*/ 3760989 h 6858000"/>
              <a:gd name="connsiteX504" fmla="*/ 5413780 w 7467663"/>
              <a:gd name="connsiteY504" fmla="*/ 2966265 h 6858000"/>
              <a:gd name="connsiteX505" fmla="*/ 5425627 w 7467663"/>
              <a:gd name="connsiteY505" fmla="*/ 2954192 h 6858000"/>
              <a:gd name="connsiteX506" fmla="*/ 6604735 w 7467663"/>
              <a:gd name="connsiteY506" fmla="*/ 2041381 h 6858000"/>
              <a:gd name="connsiteX507" fmla="*/ 7204487 w 7467663"/>
              <a:gd name="connsiteY507" fmla="*/ 2742112 h 6858000"/>
              <a:gd name="connsiteX508" fmla="*/ 7131592 w 7467663"/>
              <a:gd name="connsiteY508" fmla="*/ 2672096 h 6858000"/>
              <a:gd name="connsiteX509" fmla="*/ 6996344 w 7467663"/>
              <a:gd name="connsiteY509" fmla="*/ 2518310 h 6858000"/>
              <a:gd name="connsiteX510" fmla="*/ 6735495 w 7467663"/>
              <a:gd name="connsiteY510" fmla="*/ 2196890 h 6858000"/>
              <a:gd name="connsiteX511" fmla="*/ 6721901 w 7467663"/>
              <a:gd name="connsiteY511" fmla="*/ 2179274 h 6858000"/>
              <a:gd name="connsiteX512" fmla="*/ 6604735 w 7467663"/>
              <a:gd name="connsiteY512" fmla="*/ 2041381 h 6858000"/>
              <a:gd name="connsiteX513" fmla="*/ 6591670 w 7467663"/>
              <a:gd name="connsiteY513" fmla="*/ 1988277 h 6858000"/>
              <a:gd name="connsiteX514" fmla="*/ 6747349 w 7467663"/>
              <a:gd name="connsiteY514" fmla="*/ 2160069 h 6858000"/>
              <a:gd name="connsiteX515" fmla="*/ 6760943 w 7467663"/>
              <a:gd name="connsiteY515" fmla="*/ 2177686 h 6858000"/>
              <a:gd name="connsiteX516" fmla="*/ 7021065 w 7467663"/>
              <a:gd name="connsiteY516" fmla="*/ 2498102 h 6858000"/>
              <a:gd name="connsiteX517" fmla="*/ 7155223 w 7467663"/>
              <a:gd name="connsiteY517" fmla="*/ 2650386 h 6858000"/>
              <a:gd name="connsiteX518" fmla="*/ 7203167 w 7467663"/>
              <a:gd name="connsiteY518" fmla="*/ 2697288 h 6858000"/>
              <a:gd name="connsiteX519" fmla="*/ 6937703 w 7467663"/>
              <a:gd name="connsiteY519" fmla="*/ 2321981 h 6858000"/>
              <a:gd name="connsiteX520" fmla="*/ 6591670 w 7467663"/>
              <a:gd name="connsiteY520" fmla="*/ 1988277 h 6858000"/>
              <a:gd name="connsiteX521" fmla="*/ 5798671 w 7467663"/>
              <a:gd name="connsiteY521" fmla="*/ 1981601 h 6858000"/>
              <a:gd name="connsiteX522" fmla="*/ 5754709 w 7467663"/>
              <a:gd name="connsiteY522" fmla="*/ 2071454 h 6858000"/>
              <a:gd name="connsiteX523" fmla="*/ 5763044 w 7467663"/>
              <a:gd name="connsiteY523" fmla="*/ 2842206 h 6858000"/>
              <a:gd name="connsiteX524" fmla="*/ 5764974 w 7467663"/>
              <a:gd name="connsiteY524" fmla="*/ 2799609 h 6858000"/>
              <a:gd name="connsiteX525" fmla="*/ 5767665 w 7467663"/>
              <a:gd name="connsiteY525" fmla="*/ 2666409 h 6858000"/>
              <a:gd name="connsiteX526" fmla="*/ 5763055 w 7467663"/>
              <a:gd name="connsiteY526" fmla="*/ 2579705 h 6858000"/>
              <a:gd name="connsiteX527" fmla="*/ 5758079 w 7467663"/>
              <a:gd name="connsiteY527" fmla="*/ 2492508 h 6858000"/>
              <a:gd name="connsiteX528" fmla="*/ 5779325 w 7467663"/>
              <a:gd name="connsiteY528" fmla="*/ 2197069 h 6858000"/>
              <a:gd name="connsiteX529" fmla="*/ 5798671 w 7467663"/>
              <a:gd name="connsiteY529" fmla="*/ 1981601 h 6858000"/>
              <a:gd name="connsiteX530" fmla="*/ 5829202 w 7467663"/>
              <a:gd name="connsiteY530" fmla="*/ 1971679 h 6858000"/>
              <a:gd name="connsiteX531" fmla="*/ 5809558 w 7467663"/>
              <a:gd name="connsiteY531" fmla="*/ 2198043 h 6858000"/>
              <a:gd name="connsiteX532" fmla="*/ 5788653 w 7467663"/>
              <a:gd name="connsiteY532" fmla="*/ 2489430 h 6858000"/>
              <a:gd name="connsiteX533" fmla="*/ 5793439 w 7467663"/>
              <a:gd name="connsiteY533" fmla="*/ 2575235 h 6858000"/>
              <a:gd name="connsiteX534" fmla="*/ 5796837 w 7467663"/>
              <a:gd name="connsiteY534" fmla="*/ 2637633 h 6858000"/>
              <a:gd name="connsiteX535" fmla="*/ 5818614 w 7467663"/>
              <a:gd name="connsiteY535" fmla="*/ 2473055 h 6858000"/>
              <a:gd name="connsiteX536" fmla="*/ 5829202 w 7467663"/>
              <a:gd name="connsiteY536" fmla="*/ 1971679 h 6858000"/>
              <a:gd name="connsiteX537" fmla="*/ 5911389 w 7467663"/>
              <a:gd name="connsiteY537" fmla="*/ 1898371 h 6858000"/>
              <a:gd name="connsiteX538" fmla="*/ 6237627 w 7467663"/>
              <a:gd name="connsiteY538" fmla="*/ 2231921 h 6858000"/>
              <a:gd name="connsiteX539" fmla="*/ 5911389 w 7467663"/>
              <a:gd name="connsiteY539" fmla="*/ 1898371 h 6858000"/>
              <a:gd name="connsiteX540" fmla="*/ 6944437 w 7467663"/>
              <a:gd name="connsiteY540" fmla="*/ 1575402 h 6858000"/>
              <a:gd name="connsiteX541" fmla="*/ 6304730 w 7467663"/>
              <a:gd name="connsiteY541" fmla="*/ 1766654 h 6858000"/>
              <a:gd name="connsiteX542" fmla="*/ 6944437 w 7467663"/>
              <a:gd name="connsiteY542" fmla="*/ 1575402 h 6858000"/>
              <a:gd name="connsiteX543" fmla="*/ 7019523 w 7467663"/>
              <a:gd name="connsiteY543" fmla="*/ 1519450 h 6858000"/>
              <a:gd name="connsiteX544" fmla="*/ 6298091 w 7467663"/>
              <a:gd name="connsiteY544" fmla="*/ 1737122 h 6858000"/>
              <a:gd name="connsiteX545" fmla="*/ 7019523 w 7467663"/>
              <a:gd name="connsiteY545" fmla="*/ 1519450 h 6858000"/>
              <a:gd name="connsiteX546" fmla="*/ 2399523 w 7467663"/>
              <a:gd name="connsiteY546" fmla="*/ 1428234 h 6858000"/>
              <a:gd name="connsiteX547" fmla="*/ 2224982 w 7467663"/>
              <a:gd name="connsiteY547" fmla="*/ 1826201 h 6858000"/>
              <a:gd name="connsiteX548" fmla="*/ 2096099 w 7467663"/>
              <a:gd name="connsiteY548" fmla="*/ 2345900 h 6858000"/>
              <a:gd name="connsiteX549" fmla="*/ 2283317 w 7467663"/>
              <a:gd name="connsiteY549" fmla="*/ 1796925 h 6858000"/>
              <a:gd name="connsiteX550" fmla="*/ 2399523 w 7467663"/>
              <a:gd name="connsiteY550" fmla="*/ 1428234 h 6858000"/>
              <a:gd name="connsiteX551" fmla="*/ 2448558 w 7467663"/>
              <a:gd name="connsiteY551" fmla="*/ 1373435 h 6858000"/>
              <a:gd name="connsiteX552" fmla="*/ 2312521 w 7467663"/>
              <a:gd name="connsiteY552" fmla="*/ 1806140 h 6858000"/>
              <a:gd name="connsiteX553" fmla="*/ 2127533 w 7467663"/>
              <a:gd name="connsiteY553" fmla="*/ 2348380 h 6858000"/>
              <a:gd name="connsiteX554" fmla="*/ 2358080 w 7467663"/>
              <a:gd name="connsiteY554" fmla="*/ 1866134 h 6858000"/>
              <a:gd name="connsiteX555" fmla="*/ 2407436 w 7467663"/>
              <a:gd name="connsiteY555" fmla="*/ 1651070 h 6858000"/>
              <a:gd name="connsiteX556" fmla="*/ 2448558 w 7467663"/>
              <a:gd name="connsiteY556" fmla="*/ 1373435 h 6858000"/>
              <a:gd name="connsiteX557" fmla="*/ 278707 w 7467663"/>
              <a:gd name="connsiteY557" fmla="*/ 1352270 h 6858000"/>
              <a:gd name="connsiteX558" fmla="*/ 321570 w 7467663"/>
              <a:gd name="connsiteY558" fmla="*/ 1861610 h 6858000"/>
              <a:gd name="connsiteX559" fmla="*/ 294281 w 7467663"/>
              <a:gd name="connsiteY559" fmla="*/ 1440658 h 6858000"/>
              <a:gd name="connsiteX560" fmla="*/ 278707 w 7467663"/>
              <a:gd name="connsiteY560" fmla="*/ 1352270 h 6858000"/>
              <a:gd name="connsiteX561" fmla="*/ 1423821 w 7467663"/>
              <a:gd name="connsiteY561" fmla="*/ 1351958 h 6858000"/>
              <a:gd name="connsiteX562" fmla="*/ 1638521 w 7467663"/>
              <a:gd name="connsiteY562" fmla="*/ 1908470 h 6858000"/>
              <a:gd name="connsiteX563" fmla="*/ 1754199 w 7467663"/>
              <a:gd name="connsiteY563" fmla="*/ 2149284 h 6858000"/>
              <a:gd name="connsiteX564" fmla="*/ 1908359 w 7467663"/>
              <a:gd name="connsiteY564" fmla="*/ 2364988 h 6858000"/>
              <a:gd name="connsiteX565" fmla="*/ 1647661 w 7467663"/>
              <a:gd name="connsiteY565" fmla="*/ 1825945 h 6858000"/>
              <a:gd name="connsiteX566" fmla="*/ 1423821 w 7467663"/>
              <a:gd name="connsiteY566" fmla="*/ 1351958 h 6858000"/>
              <a:gd name="connsiteX567" fmla="*/ 1431890 w 7467663"/>
              <a:gd name="connsiteY567" fmla="*/ 1306475 h 6858000"/>
              <a:gd name="connsiteX568" fmla="*/ 1507597 w 7467663"/>
              <a:gd name="connsiteY568" fmla="*/ 1446132 h 6858000"/>
              <a:gd name="connsiteX569" fmla="*/ 1674586 w 7467663"/>
              <a:gd name="connsiteY569" fmla="*/ 1813832 h 6858000"/>
              <a:gd name="connsiteX570" fmla="*/ 1815950 w 7467663"/>
              <a:gd name="connsiteY570" fmla="*/ 2128564 h 6858000"/>
              <a:gd name="connsiteX571" fmla="*/ 1984242 w 7467663"/>
              <a:gd name="connsiteY571" fmla="*/ 2430829 h 6858000"/>
              <a:gd name="connsiteX572" fmla="*/ 2014023 w 7467663"/>
              <a:gd name="connsiteY572" fmla="*/ 2450995 h 6858000"/>
              <a:gd name="connsiteX573" fmla="*/ 1747337 w 7467663"/>
              <a:gd name="connsiteY573" fmla="*/ 1855264 h 6858000"/>
              <a:gd name="connsiteX574" fmla="*/ 1533749 w 7467663"/>
              <a:gd name="connsiteY574" fmla="*/ 1478656 h 6858000"/>
              <a:gd name="connsiteX575" fmla="*/ 1431890 w 7467663"/>
              <a:gd name="connsiteY575" fmla="*/ 1306475 h 6858000"/>
              <a:gd name="connsiteX576" fmla="*/ 5052692 w 7467663"/>
              <a:gd name="connsiteY576" fmla="*/ 1292994 h 6858000"/>
              <a:gd name="connsiteX577" fmla="*/ 5200661 w 7467663"/>
              <a:gd name="connsiteY577" fmla="*/ 1635186 h 6858000"/>
              <a:gd name="connsiteX578" fmla="*/ 5297138 w 7467663"/>
              <a:gd name="connsiteY578" fmla="*/ 1906351 h 6858000"/>
              <a:gd name="connsiteX579" fmla="*/ 5052692 w 7467663"/>
              <a:gd name="connsiteY579" fmla="*/ 1292994 h 6858000"/>
              <a:gd name="connsiteX580" fmla="*/ 5009948 w 7467663"/>
              <a:gd name="connsiteY580" fmla="*/ 1273619 h 6858000"/>
              <a:gd name="connsiteX581" fmla="*/ 5121777 w 7467663"/>
              <a:gd name="connsiteY581" fmla="*/ 1654213 h 6858000"/>
              <a:gd name="connsiteX582" fmla="*/ 5293545 w 7467663"/>
              <a:gd name="connsiteY582" fmla="*/ 2072247 h 6858000"/>
              <a:gd name="connsiteX583" fmla="*/ 5294042 w 7467663"/>
              <a:gd name="connsiteY583" fmla="*/ 2065019 h 6858000"/>
              <a:gd name="connsiteX584" fmla="*/ 5171936 w 7467663"/>
              <a:gd name="connsiteY584" fmla="*/ 1647613 h 6858000"/>
              <a:gd name="connsiteX585" fmla="*/ 5009948 w 7467663"/>
              <a:gd name="connsiteY585" fmla="*/ 1273619 h 6858000"/>
              <a:gd name="connsiteX586" fmla="*/ 655236 w 7467663"/>
              <a:gd name="connsiteY586" fmla="*/ 1268632 h 6858000"/>
              <a:gd name="connsiteX587" fmla="*/ 839521 w 7467663"/>
              <a:gd name="connsiteY587" fmla="*/ 1685315 h 6858000"/>
              <a:gd name="connsiteX588" fmla="*/ 1109416 w 7467663"/>
              <a:gd name="connsiteY588" fmla="*/ 2061663 h 6858000"/>
              <a:gd name="connsiteX589" fmla="*/ 1298300 w 7467663"/>
              <a:gd name="connsiteY589" fmla="*/ 2247742 h 6858000"/>
              <a:gd name="connsiteX590" fmla="*/ 1125871 w 7467663"/>
              <a:gd name="connsiteY590" fmla="*/ 1989513 h 6858000"/>
              <a:gd name="connsiteX591" fmla="*/ 981574 w 7467663"/>
              <a:gd name="connsiteY591" fmla="*/ 1783157 h 6858000"/>
              <a:gd name="connsiteX592" fmla="*/ 922198 w 7467663"/>
              <a:gd name="connsiteY592" fmla="*/ 1677437 h 6858000"/>
              <a:gd name="connsiteX593" fmla="*/ 869293 w 7467663"/>
              <a:gd name="connsiteY593" fmla="*/ 1583214 h 6858000"/>
              <a:gd name="connsiteX594" fmla="*/ 751431 w 7467663"/>
              <a:gd name="connsiteY594" fmla="*/ 1405731 h 6858000"/>
              <a:gd name="connsiteX595" fmla="*/ 655236 w 7467663"/>
              <a:gd name="connsiteY595" fmla="*/ 1268632 h 6858000"/>
              <a:gd name="connsiteX596" fmla="*/ 6516292 w 7467663"/>
              <a:gd name="connsiteY596" fmla="*/ 1263064 h 6858000"/>
              <a:gd name="connsiteX597" fmla="*/ 5736320 w 7467663"/>
              <a:gd name="connsiteY597" fmla="*/ 1501803 h 6858000"/>
              <a:gd name="connsiteX598" fmla="*/ 6516292 w 7467663"/>
              <a:gd name="connsiteY598" fmla="*/ 1263064 h 6858000"/>
              <a:gd name="connsiteX599" fmla="*/ 291466 w 7467663"/>
              <a:gd name="connsiteY599" fmla="*/ 1250369 h 6858000"/>
              <a:gd name="connsiteX600" fmla="*/ 323180 w 7467663"/>
              <a:gd name="connsiteY600" fmla="*/ 1435283 h 6858000"/>
              <a:gd name="connsiteX601" fmla="*/ 349381 w 7467663"/>
              <a:gd name="connsiteY601" fmla="*/ 1875041 h 6858000"/>
              <a:gd name="connsiteX602" fmla="*/ 374363 w 7467663"/>
              <a:gd name="connsiteY602" fmla="*/ 1506494 h 6858000"/>
              <a:gd name="connsiteX603" fmla="*/ 302168 w 7467663"/>
              <a:gd name="connsiteY603" fmla="*/ 1274495 h 6858000"/>
              <a:gd name="connsiteX604" fmla="*/ 291466 w 7467663"/>
              <a:gd name="connsiteY604" fmla="*/ 1250369 h 6858000"/>
              <a:gd name="connsiteX605" fmla="*/ 678222 w 7467663"/>
              <a:gd name="connsiteY605" fmla="*/ 1248670 h 6858000"/>
              <a:gd name="connsiteX606" fmla="*/ 775536 w 7467663"/>
              <a:gd name="connsiteY606" fmla="*/ 1388015 h 6858000"/>
              <a:gd name="connsiteX607" fmla="*/ 894529 w 7467663"/>
              <a:gd name="connsiteY607" fmla="*/ 1567739 h 6858000"/>
              <a:gd name="connsiteX608" fmla="*/ 948000 w 7467663"/>
              <a:gd name="connsiteY608" fmla="*/ 1663088 h 6858000"/>
              <a:gd name="connsiteX609" fmla="*/ 1006812 w 7467663"/>
              <a:gd name="connsiteY609" fmla="*/ 1767683 h 6858000"/>
              <a:gd name="connsiteX610" fmla="*/ 1149133 w 7467663"/>
              <a:gd name="connsiteY610" fmla="*/ 1971513 h 6858000"/>
              <a:gd name="connsiteX611" fmla="*/ 1333952 w 7467663"/>
              <a:gd name="connsiteY611" fmla="*/ 2251620 h 6858000"/>
              <a:gd name="connsiteX612" fmla="*/ 1337329 w 7467663"/>
              <a:gd name="connsiteY612" fmla="*/ 2258350 h 6858000"/>
              <a:gd name="connsiteX613" fmla="*/ 1014726 w 7467663"/>
              <a:gd name="connsiteY613" fmla="*/ 1615556 h 6858000"/>
              <a:gd name="connsiteX614" fmla="*/ 678222 w 7467663"/>
              <a:gd name="connsiteY614" fmla="*/ 1248670 h 6858000"/>
              <a:gd name="connsiteX615" fmla="*/ 6691602 w 7467663"/>
              <a:gd name="connsiteY615" fmla="*/ 1140573 h 6858000"/>
              <a:gd name="connsiteX616" fmla="*/ 6571100 w 7467663"/>
              <a:gd name="connsiteY616" fmla="*/ 1183662 h 6858000"/>
              <a:gd name="connsiteX617" fmla="*/ 6241687 w 7467663"/>
              <a:gd name="connsiteY617" fmla="*/ 1257600 h 6858000"/>
              <a:gd name="connsiteX618" fmla="*/ 5693009 w 7467663"/>
              <a:gd name="connsiteY618" fmla="*/ 1478256 h 6858000"/>
              <a:gd name="connsiteX619" fmla="*/ 6548420 w 7467663"/>
              <a:gd name="connsiteY619" fmla="*/ 1214599 h 6858000"/>
              <a:gd name="connsiteX620" fmla="*/ 6605473 w 7467663"/>
              <a:gd name="connsiteY620" fmla="*/ 1184686 h 6858000"/>
              <a:gd name="connsiteX621" fmla="*/ 6691602 w 7467663"/>
              <a:gd name="connsiteY621" fmla="*/ 1140573 h 6858000"/>
              <a:gd name="connsiteX622" fmla="*/ 4002475 w 7467663"/>
              <a:gd name="connsiteY622" fmla="*/ 1037802 h 6858000"/>
              <a:gd name="connsiteX623" fmla="*/ 4000324 w 7467663"/>
              <a:gd name="connsiteY623" fmla="*/ 1039362 h 6858000"/>
              <a:gd name="connsiteX624" fmla="*/ 4002862 w 7467663"/>
              <a:gd name="connsiteY624" fmla="*/ 1042866 h 6858000"/>
              <a:gd name="connsiteX625" fmla="*/ 4002475 w 7467663"/>
              <a:gd name="connsiteY625" fmla="*/ 1037802 h 6858000"/>
              <a:gd name="connsiteX626" fmla="*/ 506322 w 7467663"/>
              <a:gd name="connsiteY626" fmla="*/ 1020997 h 6858000"/>
              <a:gd name="connsiteX627" fmla="*/ 533068 w 7467663"/>
              <a:gd name="connsiteY627" fmla="*/ 1029409 h 6858000"/>
              <a:gd name="connsiteX628" fmla="*/ 1232525 w 7467663"/>
              <a:gd name="connsiteY628" fmla="*/ 1804675 h 6858000"/>
              <a:gd name="connsiteX629" fmla="*/ 1388858 w 7467663"/>
              <a:gd name="connsiteY629" fmla="*/ 2368011 h 6858000"/>
              <a:gd name="connsiteX630" fmla="*/ 1384098 w 7467663"/>
              <a:gd name="connsiteY630" fmla="*/ 2378125 h 6858000"/>
              <a:gd name="connsiteX631" fmla="*/ 1425393 w 7467663"/>
              <a:gd name="connsiteY631" fmla="*/ 2589124 h 6858000"/>
              <a:gd name="connsiteX632" fmla="*/ 1424001 w 7467663"/>
              <a:gd name="connsiteY632" fmla="*/ 2597541 h 6858000"/>
              <a:gd name="connsiteX633" fmla="*/ 2152729 w 7467663"/>
              <a:gd name="connsiteY633" fmla="*/ 2864487 h 6858000"/>
              <a:gd name="connsiteX634" fmla="*/ 2020609 w 7467663"/>
              <a:gd name="connsiteY634" fmla="*/ 2539671 h 6858000"/>
              <a:gd name="connsiteX635" fmla="*/ 2018920 w 7467663"/>
              <a:gd name="connsiteY635" fmla="*/ 2536309 h 6858000"/>
              <a:gd name="connsiteX636" fmla="*/ 1342441 w 7467663"/>
              <a:gd name="connsiteY636" fmla="*/ 1173017 h 6858000"/>
              <a:gd name="connsiteX637" fmla="*/ 1367925 w 7467663"/>
              <a:gd name="connsiteY637" fmla="*/ 1135648 h 6858000"/>
              <a:gd name="connsiteX638" fmla="*/ 1771401 w 7467663"/>
              <a:gd name="connsiteY638" fmla="*/ 1806673 h 6858000"/>
              <a:gd name="connsiteX639" fmla="*/ 1972385 w 7467663"/>
              <a:gd name="connsiteY639" fmla="*/ 2198735 h 6858000"/>
              <a:gd name="connsiteX640" fmla="*/ 2040892 w 7467663"/>
              <a:gd name="connsiteY640" fmla="*/ 2405205 h 6858000"/>
              <a:gd name="connsiteX641" fmla="*/ 2131689 w 7467663"/>
              <a:gd name="connsiteY641" fmla="*/ 1936926 h 6858000"/>
              <a:gd name="connsiteX642" fmla="*/ 2454820 w 7467663"/>
              <a:gd name="connsiteY642" fmla="*/ 1248808 h 6858000"/>
              <a:gd name="connsiteX643" fmla="*/ 2492512 w 7467663"/>
              <a:gd name="connsiteY643" fmla="*/ 1302920 h 6858000"/>
              <a:gd name="connsiteX644" fmla="*/ 2081216 w 7467663"/>
              <a:gd name="connsiteY644" fmla="*/ 2527513 h 6858000"/>
              <a:gd name="connsiteX645" fmla="*/ 2081211 w 7467663"/>
              <a:gd name="connsiteY645" fmla="*/ 2528916 h 6858000"/>
              <a:gd name="connsiteX646" fmla="*/ 2199067 w 7467663"/>
              <a:gd name="connsiteY646" fmla="*/ 2884061 h 6858000"/>
              <a:gd name="connsiteX647" fmla="*/ 3192586 w 7467663"/>
              <a:gd name="connsiteY647" fmla="*/ 3411496 h 6858000"/>
              <a:gd name="connsiteX648" fmla="*/ 3182620 w 7467663"/>
              <a:gd name="connsiteY648" fmla="*/ 3483279 h 6858000"/>
              <a:gd name="connsiteX649" fmla="*/ 2435119 w 7467663"/>
              <a:gd name="connsiteY649" fmla="*/ 3080173 h 6858000"/>
              <a:gd name="connsiteX650" fmla="*/ 2410152 w 7467663"/>
              <a:gd name="connsiteY650" fmla="*/ 3063751 h 6858000"/>
              <a:gd name="connsiteX651" fmla="*/ 2408099 w 7467663"/>
              <a:gd name="connsiteY651" fmla="*/ 3064403 h 6858000"/>
              <a:gd name="connsiteX652" fmla="*/ 2407218 w 7467663"/>
              <a:gd name="connsiteY652" fmla="*/ 3070324 h 6858000"/>
              <a:gd name="connsiteX653" fmla="*/ 2380138 w 7467663"/>
              <a:gd name="connsiteY653" fmla="*/ 3099341 h 6858000"/>
              <a:gd name="connsiteX654" fmla="*/ 1765923 w 7467663"/>
              <a:gd name="connsiteY654" fmla="*/ 3581043 h 6858000"/>
              <a:gd name="connsiteX655" fmla="*/ 1702258 w 7467663"/>
              <a:gd name="connsiteY655" fmla="*/ 3612286 h 6858000"/>
              <a:gd name="connsiteX656" fmla="*/ 1538370 w 7467663"/>
              <a:gd name="connsiteY656" fmla="*/ 3811804 h 6858000"/>
              <a:gd name="connsiteX657" fmla="*/ 542867 w 7467663"/>
              <a:gd name="connsiteY657" fmla="*/ 4944092 h 6858000"/>
              <a:gd name="connsiteX658" fmla="*/ 515800 w 7467663"/>
              <a:gd name="connsiteY658" fmla="*/ 4862180 h 6858000"/>
              <a:gd name="connsiteX659" fmla="*/ 909145 w 7467663"/>
              <a:gd name="connsiteY659" fmla="*/ 4199225 h 6858000"/>
              <a:gd name="connsiteX660" fmla="*/ 1214067 w 7467663"/>
              <a:gd name="connsiteY660" fmla="*/ 3908561 h 6858000"/>
              <a:gd name="connsiteX661" fmla="*/ 640967 w 7467663"/>
              <a:gd name="connsiteY661" fmla="*/ 4105601 h 6858000"/>
              <a:gd name="connsiteX662" fmla="*/ 112563 w 7467663"/>
              <a:gd name="connsiteY662" fmla="*/ 4396952 h 6858000"/>
              <a:gd name="connsiteX663" fmla="*/ 0 w 7467663"/>
              <a:gd name="connsiteY663" fmla="*/ 4466006 h 6858000"/>
              <a:gd name="connsiteX664" fmla="*/ 0 w 7467663"/>
              <a:gd name="connsiteY664" fmla="*/ 4233763 h 6858000"/>
              <a:gd name="connsiteX665" fmla="*/ 36881 w 7467663"/>
              <a:gd name="connsiteY665" fmla="*/ 4200118 h 6858000"/>
              <a:gd name="connsiteX666" fmla="*/ 910534 w 7467663"/>
              <a:gd name="connsiteY666" fmla="*/ 3629753 h 6858000"/>
              <a:gd name="connsiteX667" fmla="*/ 1578717 w 7467663"/>
              <a:gd name="connsiteY667" fmla="*/ 3575982 h 6858000"/>
              <a:gd name="connsiteX668" fmla="*/ 2338780 w 7467663"/>
              <a:gd name="connsiteY668" fmla="*/ 3033725 h 6858000"/>
              <a:gd name="connsiteX669" fmla="*/ 1807991 w 7467663"/>
              <a:gd name="connsiteY669" fmla="*/ 2807184 h 6858000"/>
              <a:gd name="connsiteX670" fmla="*/ 1416358 w 7467663"/>
              <a:gd name="connsiteY670" fmla="*/ 3112571 h 6858000"/>
              <a:gd name="connsiteX671" fmla="*/ 939066 w 7467663"/>
              <a:gd name="connsiteY671" fmla="*/ 3378798 h 6858000"/>
              <a:gd name="connsiteX672" fmla="*/ 115099 w 7467663"/>
              <a:gd name="connsiteY672" fmla="*/ 3607650 h 6858000"/>
              <a:gd name="connsiteX673" fmla="*/ 97284 w 7467663"/>
              <a:gd name="connsiteY673" fmla="*/ 3520393 h 6858000"/>
              <a:gd name="connsiteX674" fmla="*/ 922050 w 7467663"/>
              <a:gd name="connsiteY674" fmla="*/ 3074867 h 6858000"/>
              <a:gd name="connsiteX675" fmla="*/ 1405265 w 7467663"/>
              <a:gd name="connsiteY675" fmla="*/ 3016319 h 6858000"/>
              <a:gd name="connsiteX676" fmla="*/ 1407512 w 7467663"/>
              <a:gd name="connsiteY676" fmla="*/ 3018001 h 6858000"/>
              <a:gd name="connsiteX677" fmla="*/ 1726266 w 7467663"/>
              <a:gd name="connsiteY677" fmla="*/ 2777274 h 6858000"/>
              <a:gd name="connsiteX678" fmla="*/ 625390 w 7467663"/>
              <a:gd name="connsiteY678" fmla="*/ 2514541 h 6858000"/>
              <a:gd name="connsiteX679" fmla="*/ 619799 w 7467663"/>
              <a:gd name="connsiteY679" fmla="*/ 2527180 h 6858000"/>
              <a:gd name="connsiteX680" fmla="*/ 310030 w 7467663"/>
              <a:gd name="connsiteY680" fmla="*/ 2771818 h 6858000"/>
              <a:gd name="connsiteX681" fmla="*/ 173877 w 7467663"/>
              <a:gd name="connsiteY681" fmla="*/ 2937056 h 6858000"/>
              <a:gd name="connsiteX682" fmla="*/ 77889 w 7467663"/>
              <a:gd name="connsiteY682" fmla="*/ 3138440 h 6858000"/>
              <a:gd name="connsiteX683" fmla="*/ 0 w 7467663"/>
              <a:gd name="connsiteY683" fmla="*/ 3271395 h 6858000"/>
              <a:gd name="connsiteX684" fmla="*/ 0 w 7467663"/>
              <a:gd name="connsiteY684" fmla="*/ 3153002 h 6858000"/>
              <a:gd name="connsiteX685" fmla="*/ 2386 w 7467663"/>
              <a:gd name="connsiteY685" fmla="*/ 3149203 h 6858000"/>
              <a:gd name="connsiteX686" fmla="*/ 89753 w 7467663"/>
              <a:gd name="connsiteY686" fmla="*/ 2987702 h 6858000"/>
              <a:gd name="connsiteX687" fmla="*/ 76869 w 7467663"/>
              <a:gd name="connsiteY687" fmla="*/ 3005404 h 6858000"/>
              <a:gd name="connsiteX688" fmla="*/ 32049 w 7467663"/>
              <a:gd name="connsiteY688" fmla="*/ 3065814 h 6858000"/>
              <a:gd name="connsiteX689" fmla="*/ 0 w 7467663"/>
              <a:gd name="connsiteY689" fmla="*/ 3108744 h 6858000"/>
              <a:gd name="connsiteX690" fmla="*/ 0 w 7467663"/>
              <a:gd name="connsiteY690" fmla="*/ 3058059 h 6858000"/>
              <a:gd name="connsiteX691" fmla="*/ 7610 w 7467663"/>
              <a:gd name="connsiteY691" fmla="*/ 3047889 h 6858000"/>
              <a:gd name="connsiteX692" fmla="*/ 52419 w 7467663"/>
              <a:gd name="connsiteY692" fmla="*/ 2987479 h 6858000"/>
              <a:gd name="connsiteX693" fmla="*/ 59142 w 7467663"/>
              <a:gd name="connsiteY693" fmla="*/ 2978488 h 6858000"/>
              <a:gd name="connsiteX694" fmla="*/ 0 w 7467663"/>
              <a:gd name="connsiteY694" fmla="*/ 3015334 h 6858000"/>
              <a:gd name="connsiteX695" fmla="*/ 0 w 7467663"/>
              <a:gd name="connsiteY695" fmla="*/ 2914286 h 6858000"/>
              <a:gd name="connsiteX696" fmla="*/ 36383 w 7467663"/>
              <a:gd name="connsiteY696" fmla="*/ 2901128 h 6858000"/>
              <a:gd name="connsiteX697" fmla="*/ 156329 w 7467663"/>
              <a:gd name="connsiteY697" fmla="*/ 2840533 h 6858000"/>
              <a:gd name="connsiteX698" fmla="*/ 358355 w 7467663"/>
              <a:gd name="connsiteY698" fmla="*/ 2620471 h 6858000"/>
              <a:gd name="connsiteX699" fmla="*/ 510577 w 7467663"/>
              <a:gd name="connsiteY699" fmla="*/ 2501244 h 6858000"/>
              <a:gd name="connsiteX700" fmla="*/ 211967 w 7467663"/>
              <a:gd name="connsiteY700" fmla="*/ 2479171 h 6858000"/>
              <a:gd name="connsiteX701" fmla="*/ 0 w 7467663"/>
              <a:gd name="connsiteY701" fmla="*/ 2476398 h 6858000"/>
              <a:gd name="connsiteX702" fmla="*/ 0 w 7467663"/>
              <a:gd name="connsiteY702" fmla="*/ 2389189 h 6858000"/>
              <a:gd name="connsiteX703" fmla="*/ 103062 w 7467663"/>
              <a:gd name="connsiteY703" fmla="*/ 2389518 h 6858000"/>
              <a:gd name="connsiteX704" fmla="*/ 510734 w 7467663"/>
              <a:gd name="connsiteY704" fmla="*/ 2416201 h 6858000"/>
              <a:gd name="connsiteX705" fmla="*/ 279257 w 7467663"/>
              <a:gd name="connsiteY705" fmla="*/ 2092102 h 6858000"/>
              <a:gd name="connsiteX706" fmla="*/ 65265 w 7467663"/>
              <a:gd name="connsiteY706" fmla="*/ 2006049 h 6858000"/>
              <a:gd name="connsiteX707" fmla="*/ 0 w 7467663"/>
              <a:gd name="connsiteY707" fmla="*/ 1982532 h 6858000"/>
              <a:gd name="connsiteX708" fmla="*/ 0 w 7467663"/>
              <a:gd name="connsiteY708" fmla="*/ 1912789 h 6858000"/>
              <a:gd name="connsiteX709" fmla="*/ 97460 w 7467663"/>
              <a:gd name="connsiteY709" fmla="*/ 1953725 h 6858000"/>
              <a:gd name="connsiteX710" fmla="*/ 221272 w 7467663"/>
              <a:gd name="connsiteY710" fmla="*/ 1980766 h 6858000"/>
              <a:gd name="connsiteX711" fmla="*/ 116765 w 7467663"/>
              <a:gd name="connsiteY711" fmla="*/ 1911033 h 6858000"/>
              <a:gd name="connsiteX712" fmla="*/ 16405 w 7467663"/>
              <a:gd name="connsiteY712" fmla="*/ 1803412 h 6858000"/>
              <a:gd name="connsiteX713" fmla="*/ 0 w 7467663"/>
              <a:gd name="connsiteY713" fmla="*/ 1784777 h 6858000"/>
              <a:gd name="connsiteX714" fmla="*/ 0 w 7467663"/>
              <a:gd name="connsiteY714" fmla="*/ 1740082 h 6858000"/>
              <a:gd name="connsiteX715" fmla="*/ 39394 w 7467663"/>
              <a:gd name="connsiteY715" fmla="*/ 1784856 h 6858000"/>
              <a:gd name="connsiteX716" fmla="*/ 135813 w 7467663"/>
              <a:gd name="connsiteY716" fmla="*/ 1888838 h 6858000"/>
              <a:gd name="connsiteX717" fmla="*/ 242575 w 7467663"/>
              <a:gd name="connsiteY717" fmla="*/ 1958841 h 6858000"/>
              <a:gd name="connsiteX718" fmla="*/ 82197 w 7467663"/>
              <a:gd name="connsiteY718" fmla="*/ 1754826 h 6858000"/>
              <a:gd name="connsiteX719" fmla="*/ 0 w 7467663"/>
              <a:gd name="connsiteY719" fmla="*/ 1679650 h 6858000"/>
              <a:gd name="connsiteX720" fmla="*/ 0 w 7467663"/>
              <a:gd name="connsiteY720" fmla="*/ 1602463 h 6858000"/>
              <a:gd name="connsiteX721" fmla="*/ 84689 w 7467663"/>
              <a:gd name="connsiteY721" fmla="*/ 1677442 h 6858000"/>
              <a:gd name="connsiteX722" fmla="*/ 298437 w 7467663"/>
              <a:gd name="connsiteY722" fmla="*/ 1968019 h 6858000"/>
              <a:gd name="connsiteX723" fmla="*/ 227269 w 7467663"/>
              <a:gd name="connsiteY723" fmla="*/ 1114064 h 6858000"/>
              <a:gd name="connsiteX724" fmla="*/ 248003 w 7467663"/>
              <a:gd name="connsiteY724" fmla="*/ 1089613 h 6858000"/>
              <a:gd name="connsiteX725" fmla="*/ 427020 w 7467663"/>
              <a:gd name="connsiteY725" fmla="*/ 1619803 h 6858000"/>
              <a:gd name="connsiteX726" fmla="*/ 340345 w 7467663"/>
              <a:gd name="connsiteY726" fmla="*/ 2027739 h 6858000"/>
              <a:gd name="connsiteX727" fmla="*/ 360865 w 7467663"/>
              <a:gd name="connsiteY727" fmla="*/ 2044827 h 6858000"/>
              <a:gd name="connsiteX728" fmla="*/ 560414 w 7467663"/>
              <a:gd name="connsiteY728" fmla="*/ 2421457 h 6858000"/>
              <a:gd name="connsiteX729" fmla="*/ 1359703 w 7467663"/>
              <a:gd name="connsiteY729" fmla="*/ 2578554 h 6858000"/>
              <a:gd name="connsiteX730" fmla="*/ 1359422 w 7467663"/>
              <a:gd name="connsiteY730" fmla="*/ 2577994 h 6858000"/>
              <a:gd name="connsiteX731" fmla="*/ 828701 w 7467663"/>
              <a:gd name="connsiteY731" fmla="*/ 1839520 h 6858000"/>
              <a:gd name="connsiteX732" fmla="*/ 494427 w 7467663"/>
              <a:gd name="connsiteY732" fmla="*/ 1092333 h 6858000"/>
              <a:gd name="connsiteX733" fmla="*/ 506322 w 7467663"/>
              <a:gd name="connsiteY733" fmla="*/ 1020997 h 6858000"/>
              <a:gd name="connsiteX734" fmla="*/ 4570198 w 7467663"/>
              <a:gd name="connsiteY734" fmla="*/ 978081 h 6858000"/>
              <a:gd name="connsiteX735" fmla="*/ 4523691 w 7467663"/>
              <a:gd name="connsiteY735" fmla="*/ 1127776 h 6858000"/>
              <a:gd name="connsiteX736" fmla="*/ 4509875 w 7467663"/>
              <a:gd name="connsiteY736" fmla="*/ 1167552 h 6858000"/>
              <a:gd name="connsiteX737" fmla="*/ 4478168 w 7467663"/>
              <a:gd name="connsiteY737" fmla="*/ 1260735 h 6858000"/>
              <a:gd name="connsiteX738" fmla="*/ 4409309 w 7467663"/>
              <a:gd name="connsiteY738" fmla="*/ 1666996 h 6858000"/>
              <a:gd name="connsiteX739" fmla="*/ 4370031 w 7467663"/>
              <a:gd name="connsiteY739" fmla="*/ 1955666 h 6858000"/>
              <a:gd name="connsiteX740" fmla="*/ 4570198 w 7467663"/>
              <a:gd name="connsiteY740" fmla="*/ 978081 h 6858000"/>
              <a:gd name="connsiteX741" fmla="*/ 4557898 w 7467663"/>
              <a:gd name="connsiteY741" fmla="*/ 900011 h 6858000"/>
              <a:gd name="connsiteX742" fmla="*/ 4344840 w 7467663"/>
              <a:gd name="connsiteY742" fmla="*/ 1922038 h 6858000"/>
              <a:gd name="connsiteX743" fmla="*/ 4378710 w 7467663"/>
              <a:gd name="connsiteY743" fmla="*/ 1665516 h 6858000"/>
              <a:gd name="connsiteX744" fmla="*/ 4448798 w 7467663"/>
              <a:gd name="connsiteY744" fmla="*/ 1253024 h 6858000"/>
              <a:gd name="connsiteX745" fmla="*/ 4480315 w 7467663"/>
              <a:gd name="connsiteY745" fmla="*/ 1158454 h 6858000"/>
              <a:gd name="connsiteX746" fmla="*/ 4494133 w 7467663"/>
              <a:gd name="connsiteY746" fmla="*/ 1118676 h 6858000"/>
              <a:gd name="connsiteX747" fmla="*/ 4557898 w 7467663"/>
              <a:gd name="connsiteY747" fmla="*/ 900011 h 6858000"/>
              <a:gd name="connsiteX748" fmla="*/ 5870151 w 7467663"/>
              <a:gd name="connsiteY748" fmla="*/ 898890 h 6858000"/>
              <a:gd name="connsiteX749" fmla="*/ 5861335 w 7467663"/>
              <a:gd name="connsiteY749" fmla="*/ 899177 h 6858000"/>
              <a:gd name="connsiteX750" fmla="*/ 5843702 w 7467663"/>
              <a:gd name="connsiteY750" fmla="*/ 899748 h 6858000"/>
              <a:gd name="connsiteX751" fmla="*/ 5651107 w 7467663"/>
              <a:gd name="connsiteY751" fmla="*/ 920306 h 6858000"/>
              <a:gd name="connsiteX752" fmla="*/ 5459407 w 7467663"/>
              <a:gd name="connsiteY752" fmla="*/ 940975 h 6858000"/>
              <a:gd name="connsiteX753" fmla="*/ 5374846 w 7467663"/>
              <a:gd name="connsiteY753" fmla="*/ 941988 h 6858000"/>
              <a:gd name="connsiteX754" fmla="*/ 5256105 w 7467663"/>
              <a:gd name="connsiteY754" fmla="*/ 945632 h 6858000"/>
              <a:gd name="connsiteX755" fmla="*/ 5107071 w 7467663"/>
              <a:gd name="connsiteY755" fmla="*/ 969720 h 6858000"/>
              <a:gd name="connsiteX756" fmla="*/ 4998681 w 7467663"/>
              <a:gd name="connsiteY756" fmla="*/ 988771 h 6858000"/>
              <a:gd name="connsiteX757" fmla="*/ 5870151 w 7467663"/>
              <a:gd name="connsiteY757" fmla="*/ 898890 h 6858000"/>
              <a:gd name="connsiteX758" fmla="*/ 5504425 w 7467663"/>
              <a:gd name="connsiteY758" fmla="*/ 848067 h 6858000"/>
              <a:gd name="connsiteX759" fmla="*/ 4968849 w 7467663"/>
              <a:gd name="connsiteY759" fmla="*/ 962318 h 6858000"/>
              <a:gd name="connsiteX760" fmla="*/ 5104039 w 7467663"/>
              <a:gd name="connsiteY760" fmla="*/ 940634 h 6858000"/>
              <a:gd name="connsiteX761" fmla="*/ 5256311 w 7467663"/>
              <a:gd name="connsiteY761" fmla="*/ 916490 h 6858000"/>
              <a:gd name="connsiteX762" fmla="*/ 5377381 w 7467663"/>
              <a:gd name="connsiteY762" fmla="*/ 912671 h 6858000"/>
              <a:gd name="connsiteX763" fmla="*/ 5460148 w 7467663"/>
              <a:gd name="connsiteY763" fmla="*/ 911442 h 6858000"/>
              <a:gd name="connsiteX764" fmla="*/ 5648971 w 7467663"/>
              <a:gd name="connsiteY764" fmla="*/ 891331 h 6858000"/>
              <a:gd name="connsiteX765" fmla="*/ 5844807 w 7467663"/>
              <a:gd name="connsiteY765" fmla="*/ 870718 h 6858000"/>
              <a:gd name="connsiteX766" fmla="*/ 5862975 w 7467663"/>
              <a:gd name="connsiteY766" fmla="*/ 869756 h 6858000"/>
              <a:gd name="connsiteX767" fmla="*/ 5920887 w 7467663"/>
              <a:gd name="connsiteY767" fmla="*/ 865929 h 6858000"/>
              <a:gd name="connsiteX768" fmla="*/ 5504425 w 7467663"/>
              <a:gd name="connsiteY768" fmla="*/ 848067 h 6858000"/>
              <a:gd name="connsiteX769" fmla="*/ 3607114 w 7467663"/>
              <a:gd name="connsiteY769" fmla="*/ 467441 h 6858000"/>
              <a:gd name="connsiteX770" fmla="*/ 3296242 w 7467663"/>
              <a:gd name="connsiteY770" fmla="*/ 807991 h 6858000"/>
              <a:gd name="connsiteX771" fmla="*/ 3174674 w 7467663"/>
              <a:gd name="connsiteY771" fmla="*/ 919759 h 6858000"/>
              <a:gd name="connsiteX772" fmla="*/ 3042978 w 7467663"/>
              <a:gd name="connsiteY772" fmla="*/ 1054894 h 6858000"/>
              <a:gd name="connsiteX773" fmla="*/ 2968914 w 7467663"/>
              <a:gd name="connsiteY773" fmla="*/ 1133756 h 6858000"/>
              <a:gd name="connsiteX774" fmla="*/ 3103823 w 7467663"/>
              <a:gd name="connsiteY774" fmla="*/ 1026814 h 6858000"/>
              <a:gd name="connsiteX775" fmla="*/ 3607114 w 7467663"/>
              <a:gd name="connsiteY775" fmla="*/ 467441 h 6858000"/>
              <a:gd name="connsiteX776" fmla="*/ 3744487 w 7467663"/>
              <a:gd name="connsiteY776" fmla="*/ 383136 h 6858000"/>
              <a:gd name="connsiteX777" fmla="*/ 3970213 w 7467663"/>
              <a:gd name="connsiteY777" fmla="*/ 995559 h 6858000"/>
              <a:gd name="connsiteX778" fmla="*/ 3744487 w 7467663"/>
              <a:gd name="connsiteY778" fmla="*/ 383136 h 6858000"/>
              <a:gd name="connsiteX779" fmla="*/ 3624562 w 7467663"/>
              <a:gd name="connsiteY779" fmla="*/ 367041 h 6858000"/>
              <a:gd name="connsiteX780" fmla="*/ 3489712 w 7467663"/>
              <a:gd name="connsiteY780" fmla="*/ 485386 h 6858000"/>
              <a:gd name="connsiteX781" fmla="*/ 3182994 w 7467663"/>
              <a:gd name="connsiteY781" fmla="*/ 828265 h 6858000"/>
              <a:gd name="connsiteX782" fmla="*/ 2892114 w 7467663"/>
              <a:gd name="connsiteY782" fmla="*/ 1172635 h 6858000"/>
              <a:gd name="connsiteX783" fmla="*/ 3021459 w 7467663"/>
              <a:gd name="connsiteY783" fmla="*/ 1035385 h 6858000"/>
              <a:gd name="connsiteX784" fmla="*/ 3153873 w 7467663"/>
              <a:gd name="connsiteY784" fmla="*/ 898971 h 6858000"/>
              <a:gd name="connsiteX785" fmla="*/ 3276511 w 7467663"/>
              <a:gd name="connsiteY785" fmla="*/ 786423 h 6858000"/>
              <a:gd name="connsiteX786" fmla="*/ 3584154 w 7467663"/>
              <a:gd name="connsiteY786" fmla="*/ 448218 h 6858000"/>
              <a:gd name="connsiteX787" fmla="*/ 3624562 w 7467663"/>
              <a:gd name="connsiteY787" fmla="*/ 367041 h 6858000"/>
              <a:gd name="connsiteX788" fmla="*/ 3766672 w 7467663"/>
              <a:gd name="connsiteY788" fmla="*/ 359429 h 6858000"/>
              <a:gd name="connsiteX789" fmla="*/ 3996338 w 7467663"/>
              <a:gd name="connsiteY789" fmla="*/ 968237 h 6858000"/>
              <a:gd name="connsiteX790" fmla="*/ 3766672 w 7467663"/>
              <a:gd name="connsiteY790" fmla="*/ 359429 h 6858000"/>
              <a:gd name="connsiteX791" fmla="*/ 5805386 w 7467663"/>
              <a:gd name="connsiteY791" fmla="*/ 239240 h 6858000"/>
              <a:gd name="connsiteX792" fmla="*/ 5736947 w 7467663"/>
              <a:gd name="connsiteY792" fmla="*/ 261367 h 6858000"/>
              <a:gd name="connsiteX793" fmla="*/ 5427012 w 7467663"/>
              <a:gd name="connsiteY793" fmla="*/ 311272 h 6858000"/>
              <a:gd name="connsiteX794" fmla="*/ 5147818 w 7467663"/>
              <a:gd name="connsiteY794" fmla="*/ 322112 h 6858000"/>
              <a:gd name="connsiteX795" fmla="*/ 5060854 w 7467663"/>
              <a:gd name="connsiteY795" fmla="*/ 311882 h 6858000"/>
              <a:gd name="connsiteX796" fmla="*/ 4945989 w 7467663"/>
              <a:gd name="connsiteY796" fmla="*/ 300516 h 6858000"/>
              <a:gd name="connsiteX797" fmla="*/ 5410479 w 7467663"/>
              <a:gd name="connsiteY797" fmla="*/ 348434 h 6858000"/>
              <a:gd name="connsiteX798" fmla="*/ 5805386 w 7467663"/>
              <a:gd name="connsiteY798" fmla="*/ 239240 h 6858000"/>
              <a:gd name="connsiteX799" fmla="*/ 5905192 w 7467663"/>
              <a:gd name="connsiteY799" fmla="*/ 163079 h 6858000"/>
              <a:gd name="connsiteX800" fmla="*/ 5865655 w 7467663"/>
              <a:gd name="connsiteY800" fmla="*/ 171901 h 6858000"/>
              <a:gd name="connsiteX801" fmla="*/ 5259740 w 7467663"/>
              <a:gd name="connsiteY801" fmla="*/ 257013 h 6858000"/>
              <a:gd name="connsiteX802" fmla="*/ 5208466 w 7467663"/>
              <a:gd name="connsiteY802" fmla="*/ 257550 h 6858000"/>
              <a:gd name="connsiteX803" fmla="*/ 4980204 w 7467663"/>
              <a:gd name="connsiteY803" fmla="*/ 271903 h 6858000"/>
              <a:gd name="connsiteX804" fmla="*/ 5068068 w 7467663"/>
              <a:gd name="connsiteY804" fmla="*/ 282244 h 6858000"/>
              <a:gd name="connsiteX805" fmla="*/ 5153231 w 7467663"/>
              <a:gd name="connsiteY805" fmla="*/ 292240 h 6858000"/>
              <a:gd name="connsiteX806" fmla="*/ 5426491 w 7467663"/>
              <a:gd name="connsiteY806" fmla="*/ 281128 h 6858000"/>
              <a:gd name="connsiteX807" fmla="*/ 5731212 w 7467663"/>
              <a:gd name="connsiteY807" fmla="*/ 231951 h 6858000"/>
              <a:gd name="connsiteX808" fmla="*/ 5905192 w 7467663"/>
              <a:gd name="connsiteY808" fmla="*/ 163079 h 6858000"/>
              <a:gd name="connsiteX809" fmla="*/ 5944437 w 7467663"/>
              <a:gd name="connsiteY809" fmla="*/ 113829 h 6858000"/>
              <a:gd name="connsiteX810" fmla="*/ 5825032 w 7467663"/>
              <a:gd name="connsiteY810" fmla="*/ 146405 h 6858000"/>
              <a:gd name="connsiteX811" fmla="*/ 4955599 w 7467663"/>
              <a:gd name="connsiteY811" fmla="*/ 247008 h 6858000"/>
              <a:gd name="connsiteX812" fmla="*/ 5210104 w 7467663"/>
              <a:gd name="connsiteY812" fmla="*/ 228123 h 6858000"/>
              <a:gd name="connsiteX813" fmla="*/ 5261015 w 7467663"/>
              <a:gd name="connsiteY813" fmla="*/ 227087 h 6858000"/>
              <a:gd name="connsiteX814" fmla="*/ 5861181 w 7467663"/>
              <a:gd name="connsiteY814" fmla="*/ 143093 h 6858000"/>
              <a:gd name="connsiteX815" fmla="*/ 5961252 w 7467663"/>
              <a:gd name="connsiteY815" fmla="*/ 114820 h 6858000"/>
              <a:gd name="connsiteX816" fmla="*/ 5944437 w 7467663"/>
              <a:gd name="connsiteY816" fmla="*/ 113829 h 6858000"/>
              <a:gd name="connsiteX817" fmla="*/ 3882765 w 7467663"/>
              <a:gd name="connsiteY817" fmla="*/ 0 h 6858000"/>
              <a:gd name="connsiteX818" fmla="*/ 3995099 w 7467663"/>
              <a:gd name="connsiteY818" fmla="*/ 0 h 6858000"/>
              <a:gd name="connsiteX819" fmla="*/ 4163818 w 7467663"/>
              <a:gd name="connsiteY819" fmla="*/ 234104 h 6858000"/>
              <a:gd name="connsiteX820" fmla="*/ 4172099 w 7467663"/>
              <a:gd name="connsiteY820" fmla="*/ 234207 h 6858000"/>
              <a:gd name="connsiteX821" fmla="*/ 4784282 w 7467663"/>
              <a:gd name="connsiteY821" fmla="*/ 276561 h 6858000"/>
              <a:gd name="connsiteX822" fmla="*/ 4801687 w 7467663"/>
              <a:gd name="connsiteY822" fmla="*/ 267764 h 6858000"/>
              <a:gd name="connsiteX823" fmla="*/ 6082788 w 7467663"/>
              <a:gd name="connsiteY823" fmla="*/ 64119 h 6858000"/>
              <a:gd name="connsiteX824" fmla="*/ 6099442 w 7467663"/>
              <a:gd name="connsiteY824" fmla="*/ 82568 h 6858000"/>
              <a:gd name="connsiteX825" fmla="*/ 4804137 w 7467663"/>
              <a:gd name="connsiteY825" fmla="*/ 320931 h 6858000"/>
              <a:gd name="connsiteX826" fmla="*/ 4227047 w 7467663"/>
              <a:gd name="connsiteY826" fmla="*/ 313415 h 6858000"/>
              <a:gd name="connsiteX827" fmla="*/ 4346041 w 7467663"/>
              <a:gd name="connsiteY827" fmla="*/ 456086 h 6858000"/>
              <a:gd name="connsiteX828" fmla="*/ 4870967 w 7467663"/>
              <a:gd name="connsiteY828" fmla="*/ 963061 h 6858000"/>
              <a:gd name="connsiteX829" fmla="*/ 4889647 w 7467663"/>
              <a:gd name="connsiteY829" fmla="*/ 957147 h 6858000"/>
              <a:gd name="connsiteX830" fmla="*/ 5422504 w 7467663"/>
              <a:gd name="connsiteY830" fmla="*/ 805191 h 6858000"/>
              <a:gd name="connsiteX831" fmla="*/ 6087656 w 7467663"/>
              <a:gd name="connsiteY831" fmla="*/ 826703 h 6858000"/>
              <a:gd name="connsiteX832" fmla="*/ 6058717 w 7467663"/>
              <a:gd name="connsiteY832" fmla="*/ 865992 h 6858000"/>
              <a:gd name="connsiteX833" fmla="*/ 4974153 w 7467663"/>
              <a:gd name="connsiteY833" fmla="*/ 1045456 h 6858000"/>
              <a:gd name="connsiteX834" fmla="*/ 5627835 w 7467663"/>
              <a:gd name="connsiteY834" fmla="*/ 1472077 h 6858000"/>
              <a:gd name="connsiteX835" fmla="*/ 5629817 w 7467663"/>
              <a:gd name="connsiteY835" fmla="*/ 1471412 h 6858000"/>
              <a:gd name="connsiteX836" fmla="*/ 5634124 w 7467663"/>
              <a:gd name="connsiteY836" fmla="*/ 1470572 h 6858000"/>
              <a:gd name="connsiteX837" fmla="*/ 5755832 w 7467663"/>
              <a:gd name="connsiteY837" fmla="*/ 1383886 h 6858000"/>
              <a:gd name="connsiteX838" fmla="*/ 6014186 w 7467663"/>
              <a:gd name="connsiteY838" fmla="*/ 1279799 h 6858000"/>
              <a:gd name="connsiteX839" fmla="*/ 6901619 w 7467663"/>
              <a:gd name="connsiteY839" fmla="*/ 1047874 h 6858000"/>
              <a:gd name="connsiteX840" fmla="*/ 6931566 w 7467663"/>
              <a:gd name="connsiteY840" fmla="*/ 1062034 h 6858000"/>
              <a:gd name="connsiteX841" fmla="*/ 5790982 w 7467663"/>
              <a:gd name="connsiteY841" fmla="*/ 1561380 h 6858000"/>
              <a:gd name="connsiteX842" fmla="*/ 6188971 w 7467663"/>
              <a:gd name="connsiteY842" fmla="*/ 1755168 h 6858000"/>
              <a:gd name="connsiteX843" fmla="*/ 6202446 w 7467663"/>
              <a:gd name="connsiteY843" fmla="*/ 1752268 h 6858000"/>
              <a:gd name="connsiteX844" fmla="*/ 7179560 w 7467663"/>
              <a:gd name="connsiteY844" fmla="*/ 1467551 h 6858000"/>
              <a:gd name="connsiteX845" fmla="*/ 7158730 w 7467663"/>
              <a:gd name="connsiteY845" fmla="*/ 1507835 h 6858000"/>
              <a:gd name="connsiteX846" fmla="*/ 6326959 w 7467663"/>
              <a:gd name="connsiteY846" fmla="*/ 1817686 h 6858000"/>
              <a:gd name="connsiteX847" fmla="*/ 6537433 w 7467663"/>
              <a:gd name="connsiteY847" fmla="*/ 1907790 h 6858000"/>
              <a:gd name="connsiteX848" fmla="*/ 6550221 w 7467663"/>
              <a:gd name="connsiteY848" fmla="*/ 1910729 h 6858000"/>
              <a:gd name="connsiteX849" fmla="*/ 6964438 w 7467663"/>
              <a:gd name="connsiteY849" fmla="*/ 2209505 h 6858000"/>
              <a:gd name="connsiteX850" fmla="*/ 7367862 w 7467663"/>
              <a:gd name="connsiteY850" fmla="*/ 2806833 h 6858000"/>
              <a:gd name="connsiteX851" fmla="*/ 7364329 w 7467663"/>
              <a:gd name="connsiteY851" fmla="*/ 2826907 h 6858000"/>
              <a:gd name="connsiteX852" fmla="*/ 7290545 w 7467663"/>
              <a:gd name="connsiteY852" fmla="*/ 2850663 h 6858000"/>
              <a:gd name="connsiteX853" fmla="*/ 6472036 w 7467663"/>
              <a:gd name="connsiteY853" fmla="*/ 1959003 h 6858000"/>
              <a:gd name="connsiteX854" fmla="*/ 5792897 w 7467663"/>
              <a:gd name="connsiteY854" fmla="*/ 1647747 h 6858000"/>
              <a:gd name="connsiteX855" fmla="*/ 5842751 w 7467663"/>
              <a:gd name="connsiteY855" fmla="*/ 1816112 h 6858000"/>
              <a:gd name="connsiteX856" fmla="*/ 5847424 w 7467663"/>
              <a:gd name="connsiteY856" fmla="*/ 1815776 h 6858000"/>
              <a:gd name="connsiteX857" fmla="*/ 6399821 w 7467663"/>
              <a:gd name="connsiteY857" fmla="*/ 2344799 h 6858000"/>
              <a:gd name="connsiteX858" fmla="*/ 6323232 w 7467663"/>
              <a:gd name="connsiteY858" fmla="*/ 2389634 h 6858000"/>
              <a:gd name="connsiteX859" fmla="*/ 5942958 w 7467663"/>
              <a:gd name="connsiteY859" fmla="*/ 2077708 h 6858000"/>
              <a:gd name="connsiteX860" fmla="*/ 5921559 w 7467663"/>
              <a:gd name="connsiteY860" fmla="*/ 2378596 h 6858000"/>
              <a:gd name="connsiteX861" fmla="*/ 5817651 w 7467663"/>
              <a:gd name="connsiteY861" fmla="*/ 3023919 h 6858000"/>
              <a:gd name="connsiteX862" fmla="*/ 5729634 w 7467663"/>
              <a:gd name="connsiteY862" fmla="*/ 3051849 h 6858000"/>
              <a:gd name="connsiteX863" fmla="*/ 5611018 w 7467663"/>
              <a:gd name="connsiteY863" fmla="*/ 2316769 h 6858000"/>
              <a:gd name="connsiteX864" fmla="*/ 5687608 w 7467663"/>
              <a:gd name="connsiteY864" fmla="*/ 2039972 h 6858000"/>
              <a:gd name="connsiteX865" fmla="*/ 5657554 w 7467663"/>
              <a:gd name="connsiteY865" fmla="*/ 1576445 h 6858000"/>
              <a:gd name="connsiteX866" fmla="*/ 5150475 w 7467663"/>
              <a:gd name="connsiteY866" fmla="*/ 1274012 h 6858000"/>
              <a:gd name="connsiteX867" fmla="*/ 5349142 w 7467663"/>
              <a:gd name="connsiteY867" fmla="*/ 2204405 h 6858000"/>
              <a:gd name="connsiteX868" fmla="*/ 5262214 w 7467663"/>
              <a:gd name="connsiteY868" fmla="*/ 2233836 h 6858000"/>
              <a:gd name="connsiteX869" fmla="*/ 4981539 w 7467663"/>
              <a:gd name="connsiteY869" fmla="*/ 1542201 h 6858000"/>
              <a:gd name="connsiteX870" fmla="*/ 4958461 w 7467663"/>
              <a:gd name="connsiteY870" fmla="*/ 1136957 h 6858000"/>
              <a:gd name="connsiteX871" fmla="*/ 4655015 w 7467663"/>
              <a:gd name="connsiteY871" fmla="*/ 891426 h 6858000"/>
              <a:gd name="connsiteX872" fmla="*/ 4348002 w 7467663"/>
              <a:gd name="connsiteY872" fmla="*/ 2205895 h 6858000"/>
              <a:gd name="connsiteX873" fmla="*/ 4262250 w 7467663"/>
              <a:gd name="connsiteY873" fmla="*/ 2219972 h 6858000"/>
              <a:gd name="connsiteX874" fmla="*/ 4550611 w 7467663"/>
              <a:gd name="connsiteY874" fmla="*/ 817540 h 6858000"/>
              <a:gd name="connsiteX875" fmla="*/ 4564418 w 7467663"/>
              <a:gd name="connsiteY875" fmla="*/ 808293 h 6858000"/>
              <a:gd name="connsiteX876" fmla="*/ 4266388 w 7467663"/>
              <a:gd name="connsiteY876" fmla="*/ 500083 h 6858000"/>
              <a:gd name="connsiteX877" fmla="*/ 4032842 w 7467663"/>
              <a:gd name="connsiteY877" fmla="*/ 211809 h 6858000"/>
              <a:gd name="connsiteX878" fmla="*/ 3882765 w 7467663"/>
              <a:gd name="connsiteY878" fmla="*/ 0 h 6858000"/>
              <a:gd name="connsiteX879" fmla="*/ 3721337 w 7467663"/>
              <a:gd name="connsiteY879" fmla="*/ 0 h 6858000"/>
              <a:gd name="connsiteX880" fmla="*/ 3797544 w 7467663"/>
              <a:gd name="connsiteY880" fmla="*/ 0 h 6858000"/>
              <a:gd name="connsiteX881" fmla="*/ 3775734 w 7467663"/>
              <a:gd name="connsiteY881" fmla="*/ 95131 h 6858000"/>
              <a:gd name="connsiteX882" fmla="*/ 3724807 w 7467663"/>
              <a:gd name="connsiteY882" fmla="*/ 272257 h 6858000"/>
              <a:gd name="connsiteX883" fmla="*/ 3726844 w 7467663"/>
              <a:gd name="connsiteY883" fmla="*/ 282988 h 6858000"/>
              <a:gd name="connsiteX884" fmla="*/ 3742664 w 7467663"/>
              <a:gd name="connsiteY884" fmla="*/ 279918 h 6858000"/>
              <a:gd name="connsiteX885" fmla="*/ 4103910 w 7467663"/>
              <a:gd name="connsiteY885" fmla="*/ 1161917 h 6858000"/>
              <a:gd name="connsiteX886" fmla="*/ 4020269 w 7467663"/>
              <a:gd name="connsiteY886" fmla="*/ 1200406 h 6858000"/>
              <a:gd name="connsiteX887" fmla="*/ 3674882 w 7467663"/>
              <a:gd name="connsiteY887" fmla="*/ 488524 h 6858000"/>
              <a:gd name="connsiteX888" fmla="*/ 3132682 w 7467663"/>
              <a:gd name="connsiteY888" fmla="*/ 1072284 h 6858000"/>
              <a:gd name="connsiteX889" fmla="*/ 2716346 w 7467663"/>
              <a:gd name="connsiteY889" fmla="*/ 1276376 h 6858000"/>
              <a:gd name="connsiteX890" fmla="*/ 2716772 w 7467663"/>
              <a:gd name="connsiteY890" fmla="*/ 1255462 h 6858000"/>
              <a:gd name="connsiteX891" fmla="*/ 3471096 w 7467663"/>
              <a:gd name="connsiteY891" fmla="*/ 437072 h 6858000"/>
              <a:gd name="connsiteX892" fmla="*/ 3639057 w 7467663"/>
              <a:gd name="connsiteY892" fmla="*/ 286334 h 6858000"/>
              <a:gd name="connsiteX893" fmla="*/ 3640309 w 7467663"/>
              <a:gd name="connsiteY893" fmla="*/ 284664 h 6858000"/>
              <a:gd name="connsiteX894" fmla="*/ 3646022 w 7467663"/>
              <a:gd name="connsiteY894" fmla="*/ 276711 h 6858000"/>
              <a:gd name="connsiteX895" fmla="*/ 3707943 w 7467663"/>
              <a:gd name="connsiteY895" fmla="*/ 65958 h 6858000"/>
              <a:gd name="connsiteX896" fmla="*/ 3721337 w 7467663"/>
              <a:gd name="connsiteY896" fmla="*/ 0 h 6858000"/>
              <a:gd name="connsiteX897" fmla="*/ 2867960 w 7467663"/>
              <a:gd name="connsiteY897" fmla="*/ 0 h 6858000"/>
              <a:gd name="connsiteX898" fmla="*/ 2926351 w 7467663"/>
              <a:gd name="connsiteY898" fmla="*/ 0 h 6858000"/>
              <a:gd name="connsiteX899" fmla="*/ 2902823 w 7467663"/>
              <a:gd name="connsiteY899" fmla="*/ 262929 h 6858000"/>
              <a:gd name="connsiteX900" fmla="*/ 2940663 w 7467663"/>
              <a:gd name="connsiteY900" fmla="*/ 140884 h 6858000"/>
              <a:gd name="connsiteX901" fmla="*/ 2947039 w 7467663"/>
              <a:gd name="connsiteY901" fmla="*/ 122524 h 6858000"/>
              <a:gd name="connsiteX902" fmla="*/ 2984316 w 7467663"/>
              <a:gd name="connsiteY902" fmla="*/ 0 h 6858000"/>
              <a:gd name="connsiteX903" fmla="*/ 3016114 w 7467663"/>
              <a:gd name="connsiteY903" fmla="*/ 0 h 6858000"/>
              <a:gd name="connsiteX904" fmla="*/ 2979949 w 7467663"/>
              <a:gd name="connsiteY904" fmla="*/ 119274 h 6858000"/>
              <a:gd name="connsiteX905" fmla="*/ 3023879 w 7467663"/>
              <a:gd name="connsiteY905" fmla="*/ 0 h 6858000"/>
              <a:gd name="connsiteX906" fmla="*/ 3105400 w 7467663"/>
              <a:gd name="connsiteY906" fmla="*/ 0 h 6858000"/>
              <a:gd name="connsiteX907" fmla="*/ 3094669 w 7467663"/>
              <a:gd name="connsiteY907" fmla="*/ 30308 h 6858000"/>
              <a:gd name="connsiteX908" fmla="*/ 2901945 w 7467663"/>
              <a:gd name="connsiteY908" fmla="*/ 466538 h 6858000"/>
              <a:gd name="connsiteX909" fmla="*/ 2815209 w 7467663"/>
              <a:gd name="connsiteY909" fmla="*/ 497361 h 6858000"/>
              <a:gd name="connsiteX910" fmla="*/ 2844845 w 7467663"/>
              <a:gd name="connsiteY910" fmla="*/ 127638 h 6858000"/>
              <a:gd name="connsiteX911" fmla="*/ 2867960 w 7467663"/>
              <a:gd name="connsiteY911" fmla="*/ 0 h 6858000"/>
              <a:gd name="connsiteX912" fmla="*/ 1057230 w 7467663"/>
              <a:gd name="connsiteY912" fmla="*/ 0 h 6858000"/>
              <a:gd name="connsiteX913" fmla="*/ 1111003 w 7467663"/>
              <a:gd name="connsiteY913" fmla="*/ 0 h 6858000"/>
              <a:gd name="connsiteX914" fmla="*/ 1125553 w 7467663"/>
              <a:gd name="connsiteY914" fmla="*/ 52588 h 6858000"/>
              <a:gd name="connsiteX915" fmla="*/ 1304276 w 7467663"/>
              <a:gd name="connsiteY915" fmla="*/ 476275 h 6858000"/>
              <a:gd name="connsiteX916" fmla="*/ 1492066 w 7467663"/>
              <a:gd name="connsiteY916" fmla="*/ 886333 h 6858000"/>
              <a:gd name="connsiteX917" fmla="*/ 1423698 w 7467663"/>
              <a:gd name="connsiteY917" fmla="*/ 710817 h 6858000"/>
              <a:gd name="connsiteX918" fmla="*/ 1357609 w 7467663"/>
              <a:gd name="connsiteY918" fmla="*/ 532892 h 6858000"/>
              <a:gd name="connsiteX919" fmla="*/ 1309550 w 7467663"/>
              <a:gd name="connsiteY919" fmla="*/ 374031 h 6858000"/>
              <a:gd name="connsiteX920" fmla="*/ 1193673 w 7467663"/>
              <a:gd name="connsiteY920" fmla="*/ 49533 h 6858000"/>
              <a:gd name="connsiteX921" fmla="*/ 1164391 w 7467663"/>
              <a:gd name="connsiteY921" fmla="*/ 0 h 6858000"/>
              <a:gd name="connsiteX922" fmla="*/ 1200666 w 7467663"/>
              <a:gd name="connsiteY922" fmla="*/ 0 h 6858000"/>
              <a:gd name="connsiteX923" fmla="*/ 1223408 w 7467663"/>
              <a:gd name="connsiteY923" fmla="*/ 38996 h 6858000"/>
              <a:gd name="connsiteX924" fmla="*/ 1339635 w 7467663"/>
              <a:gd name="connsiteY924" fmla="*/ 365517 h 6858000"/>
              <a:gd name="connsiteX925" fmla="*/ 1387469 w 7467663"/>
              <a:gd name="connsiteY925" fmla="*/ 523079 h 6858000"/>
              <a:gd name="connsiteX926" fmla="*/ 1452685 w 7467663"/>
              <a:gd name="connsiteY926" fmla="*/ 699806 h 6858000"/>
              <a:gd name="connsiteX927" fmla="*/ 1492092 w 7467663"/>
              <a:gd name="connsiteY927" fmla="*/ 800424 h 6858000"/>
              <a:gd name="connsiteX928" fmla="*/ 1455302 w 7467663"/>
              <a:gd name="connsiteY928" fmla="*/ 632913 h 6858000"/>
              <a:gd name="connsiteX929" fmla="*/ 1222336 w 7467663"/>
              <a:gd name="connsiteY929" fmla="*/ 9480 h 6858000"/>
              <a:gd name="connsiteX930" fmla="*/ 1214634 w 7467663"/>
              <a:gd name="connsiteY930" fmla="*/ 0 h 6858000"/>
              <a:gd name="connsiteX931" fmla="*/ 1289827 w 7467663"/>
              <a:gd name="connsiteY931" fmla="*/ 0 h 6858000"/>
              <a:gd name="connsiteX932" fmla="*/ 1321076 w 7467663"/>
              <a:gd name="connsiteY932" fmla="*/ 59722 h 6858000"/>
              <a:gd name="connsiteX933" fmla="*/ 1512579 w 7467663"/>
              <a:gd name="connsiteY933" fmla="*/ 626441 h 6858000"/>
              <a:gd name="connsiteX934" fmla="*/ 1506076 w 7467663"/>
              <a:gd name="connsiteY934" fmla="*/ 1089289 h 6858000"/>
              <a:gd name="connsiteX935" fmla="*/ 1486346 w 7467663"/>
              <a:gd name="connsiteY935" fmla="*/ 1079919 h 6858000"/>
              <a:gd name="connsiteX936" fmla="*/ 1070511 w 7467663"/>
              <a:gd name="connsiteY936" fmla="*/ 48609 h 6858000"/>
              <a:gd name="connsiteX937" fmla="*/ 1057230 w 7467663"/>
              <a:gd name="connsiteY937" fmla="*/ 0 h 6858000"/>
              <a:gd name="connsiteX938" fmla="*/ 43151 w 7467663"/>
              <a:gd name="connsiteY938" fmla="*/ 0 h 6858000"/>
              <a:gd name="connsiteX939" fmla="*/ 95283 w 7467663"/>
              <a:gd name="connsiteY939" fmla="*/ 0 h 6858000"/>
              <a:gd name="connsiteX940" fmla="*/ 300708 w 7467663"/>
              <a:gd name="connsiteY940" fmla="*/ 154571 h 6858000"/>
              <a:gd name="connsiteX941" fmla="*/ 530414 w 7467663"/>
              <a:gd name="connsiteY941" fmla="*/ 354673 h 6858000"/>
              <a:gd name="connsiteX942" fmla="*/ 333785 w 7467663"/>
              <a:gd name="connsiteY942" fmla="*/ 161564 h 6858000"/>
              <a:gd name="connsiteX943" fmla="*/ 147005 w 7467663"/>
              <a:gd name="connsiteY943" fmla="*/ 0 h 6858000"/>
              <a:gd name="connsiteX944" fmla="*/ 272509 w 7467663"/>
              <a:gd name="connsiteY944" fmla="*/ 0 h 6858000"/>
              <a:gd name="connsiteX945" fmla="*/ 326276 w 7467663"/>
              <a:gd name="connsiteY945" fmla="*/ 45847 h 6858000"/>
              <a:gd name="connsiteX946" fmla="*/ 823759 w 7467663"/>
              <a:gd name="connsiteY946" fmla="*/ 574145 h 6858000"/>
              <a:gd name="connsiteX947" fmla="*/ 811254 w 7467663"/>
              <a:gd name="connsiteY947" fmla="*/ 665546 h 6858000"/>
              <a:gd name="connsiteX948" fmla="*/ 154042 w 7467663"/>
              <a:gd name="connsiteY948" fmla="*/ 261522 h 6858000"/>
              <a:gd name="connsiteX949" fmla="*/ 13550 w 7467663"/>
              <a:gd name="connsiteY949" fmla="*/ 158423 h 6858000"/>
              <a:gd name="connsiteX950" fmla="*/ 0 w 7467663"/>
              <a:gd name="connsiteY950" fmla="*/ 146618 h 6858000"/>
              <a:gd name="connsiteX951" fmla="*/ 0 w 7467663"/>
              <a:gd name="connsiteY951" fmla="*/ 59161 h 6858000"/>
              <a:gd name="connsiteX952" fmla="*/ 45427 w 7467663"/>
              <a:gd name="connsiteY952" fmla="*/ 101078 h 6858000"/>
              <a:gd name="connsiteX953" fmla="*/ 630103 w 7467663"/>
              <a:gd name="connsiteY953" fmla="*/ 485885 h 6858000"/>
              <a:gd name="connsiteX954" fmla="*/ 532040 w 7467663"/>
              <a:gd name="connsiteY954" fmla="*/ 399359 h 6858000"/>
              <a:gd name="connsiteX955" fmla="*/ 517618 w 7467663"/>
              <a:gd name="connsiteY955" fmla="*/ 385726 h 6858000"/>
              <a:gd name="connsiteX956" fmla="*/ 285074 w 7467663"/>
              <a:gd name="connsiteY956" fmla="*/ 182755 h 6858000"/>
              <a:gd name="connsiteX957" fmla="*/ 43151 w 7467663"/>
              <a:gd name="connsiteY957" fmla="*/ 0 h 6858000"/>
              <a:gd name="connsiteX0" fmla="*/ 369702 w 7467663"/>
              <a:gd name="connsiteY0" fmla="*/ 6712169 h 6858000"/>
              <a:gd name="connsiteX1" fmla="*/ 366575 w 7467663"/>
              <a:gd name="connsiteY1" fmla="*/ 6715556 h 6858000"/>
              <a:gd name="connsiteX2" fmla="*/ 371637 w 7467663"/>
              <a:gd name="connsiteY2" fmla="*/ 6713954 h 6858000"/>
              <a:gd name="connsiteX3" fmla="*/ 369702 w 7467663"/>
              <a:gd name="connsiteY3" fmla="*/ 6712169 h 6858000"/>
              <a:gd name="connsiteX4" fmla="*/ 7088673 w 7467663"/>
              <a:gd name="connsiteY4" fmla="*/ 6610396 h 6858000"/>
              <a:gd name="connsiteX5" fmla="*/ 7440138 w 7467663"/>
              <a:gd name="connsiteY5" fmla="*/ 6622648 h 6858000"/>
              <a:gd name="connsiteX6" fmla="*/ 7467600 w 7467663"/>
              <a:gd name="connsiteY6" fmla="*/ 6628217 h 6858000"/>
              <a:gd name="connsiteX7" fmla="*/ 7467600 w 7467663"/>
              <a:gd name="connsiteY7" fmla="*/ 6668575 h 6858000"/>
              <a:gd name="connsiteX8" fmla="*/ 7392322 w 7467663"/>
              <a:gd name="connsiteY8" fmla="*/ 6658238 h 6858000"/>
              <a:gd name="connsiteX9" fmla="*/ 7467600 w 7467663"/>
              <a:gd name="connsiteY9" fmla="*/ 6683873 h 6858000"/>
              <a:gd name="connsiteX10" fmla="*/ 7467600 w 7467663"/>
              <a:gd name="connsiteY10" fmla="*/ 6714215 h 6858000"/>
              <a:gd name="connsiteX11" fmla="*/ 7447383 w 7467663"/>
              <a:gd name="connsiteY11" fmla="*/ 6707202 h 6858000"/>
              <a:gd name="connsiteX12" fmla="*/ 7289862 w 7467663"/>
              <a:gd name="connsiteY12" fmla="*/ 6659827 h 6858000"/>
              <a:gd name="connsiteX13" fmla="*/ 7434024 w 7467663"/>
              <a:gd name="connsiteY13" fmla="*/ 6722130 h 6858000"/>
              <a:gd name="connsiteX14" fmla="*/ 7467600 w 7467663"/>
              <a:gd name="connsiteY14" fmla="*/ 6736157 h 6858000"/>
              <a:gd name="connsiteX15" fmla="*/ 7467600 w 7467663"/>
              <a:gd name="connsiteY15" fmla="*/ 6767913 h 6858000"/>
              <a:gd name="connsiteX16" fmla="*/ 7392158 w 7467663"/>
              <a:gd name="connsiteY16" fmla="*/ 6771365 h 6858000"/>
              <a:gd name="connsiteX17" fmla="*/ 7467600 w 7467663"/>
              <a:gd name="connsiteY17" fmla="*/ 6805948 h 6858000"/>
              <a:gd name="connsiteX18" fmla="*/ 7467600 w 7467663"/>
              <a:gd name="connsiteY18" fmla="*/ 6831490 h 6858000"/>
              <a:gd name="connsiteX19" fmla="*/ 7410696 w 7467663"/>
              <a:gd name="connsiteY19" fmla="*/ 6803861 h 6858000"/>
              <a:gd name="connsiteX20" fmla="*/ 7088673 w 7467663"/>
              <a:gd name="connsiteY20" fmla="*/ 6610396 h 6858000"/>
              <a:gd name="connsiteX21" fmla="*/ 1019354 w 7467663"/>
              <a:gd name="connsiteY21" fmla="*/ 6315006 h 6858000"/>
              <a:gd name="connsiteX22" fmla="*/ 441046 w 7467663"/>
              <a:gd name="connsiteY22" fmla="*/ 6691153 h 6858000"/>
              <a:gd name="connsiteX23" fmla="*/ 1019354 w 7467663"/>
              <a:gd name="connsiteY23" fmla="*/ 6315006 h 6858000"/>
              <a:gd name="connsiteX24" fmla="*/ 991680 w 7467663"/>
              <a:gd name="connsiteY24" fmla="*/ 6298413 h 6858000"/>
              <a:gd name="connsiteX25" fmla="*/ 409060 w 7467663"/>
              <a:gd name="connsiteY25" fmla="*/ 6671470 h 6858000"/>
              <a:gd name="connsiteX26" fmla="*/ 991680 w 7467663"/>
              <a:gd name="connsiteY26" fmla="*/ 6298413 h 6858000"/>
              <a:gd name="connsiteX27" fmla="*/ 103333 w 7467663"/>
              <a:gd name="connsiteY27" fmla="*/ 5699602 h 6858000"/>
              <a:gd name="connsiteX28" fmla="*/ 233938 w 7467663"/>
              <a:gd name="connsiteY28" fmla="*/ 5809416 h 6858000"/>
              <a:gd name="connsiteX29" fmla="*/ 883580 w 7467663"/>
              <a:gd name="connsiteY29" fmla="*/ 6180710 h 6858000"/>
              <a:gd name="connsiteX30" fmla="*/ 487337 w 7467663"/>
              <a:gd name="connsiteY30" fmla="*/ 5950182 h 6858000"/>
              <a:gd name="connsiteX31" fmla="*/ 354051 w 7467663"/>
              <a:gd name="connsiteY31" fmla="*/ 5854912 h 6858000"/>
              <a:gd name="connsiteX32" fmla="*/ 195436 w 7467663"/>
              <a:gd name="connsiteY32" fmla="*/ 5755068 h 6858000"/>
              <a:gd name="connsiteX33" fmla="*/ 103333 w 7467663"/>
              <a:gd name="connsiteY33" fmla="*/ 5699602 h 6858000"/>
              <a:gd name="connsiteX34" fmla="*/ 5539432 w 7467663"/>
              <a:gd name="connsiteY34" fmla="*/ 5642928 h 6858000"/>
              <a:gd name="connsiteX35" fmla="*/ 5555462 w 7467663"/>
              <a:gd name="connsiteY35" fmla="*/ 5694454 h 6858000"/>
              <a:gd name="connsiteX36" fmla="*/ 5828270 w 7467663"/>
              <a:gd name="connsiteY36" fmla="*/ 6320663 h 6858000"/>
              <a:gd name="connsiteX37" fmla="*/ 5947416 w 7467663"/>
              <a:gd name="connsiteY37" fmla="*/ 6574846 h 6858000"/>
              <a:gd name="connsiteX38" fmla="*/ 5539432 w 7467663"/>
              <a:gd name="connsiteY38" fmla="*/ 5642928 h 6858000"/>
              <a:gd name="connsiteX39" fmla="*/ 51253 w 7467663"/>
              <a:gd name="connsiteY39" fmla="*/ 5631825 h 6858000"/>
              <a:gd name="connsiteX40" fmla="*/ 211622 w 7467663"/>
              <a:gd name="connsiteY40" fmla="*/ 5728803 h 6858000"/>
              <a:gd name="connsiteX41" fmla="*/ 371652 w 7467663"/>
              <a:gd name="connsiteY41" fmla="*/ 5829062 h 6858000"/>
              <a:gd name="connsiteX42" fmla="*/ 505903 w 7467663"/>
              <a:gd name="connsiteY42" fmla="*/ 5925221 h 6858000"/>
              <a:gd name="connsiteX43" fmla="*/ 899240 w 7467663"/>
              <a:gd name="connsiteY43" fmla="*/ 6153068 h 6858000"/>
              <a:gd name="connsiteX44" fmla="*/ 988114 w 7467663"/>
              <a:gd name="connsiteY44" fmla="*/ 6174204 h 6858000"/>
              <a:gd name="connsiteX45" fmla="*/ 845971 w 7467663"/>
              <a:gd name="connsiteY45" fmla="*/ 6067177 h 6858000"/>
              <a:gd name="connsiteX46" fmla="*/ 448057 w 7467663"/>
              <a:gd name="connsiteY46" fmla="*/ 5841376 h 6858000"/>
              <a:gd name="connsiteX47" fmla="*/ 51253 w 7467663"/>
              <a:gd name="connsiteY47" fmla="*/ 5631825 h 6858000"/>
              <a:gd name="connsiteX48" fmla="*/ 2606687 w 7467663"/>
              <a:gd name="connsiteY48" fmla="*/ 5630718 h 6858000"/>
              <a:gd name="connsiteX49" fmla="*/ 2645658 w 7467663"/>
              <a:gd name="connsiteY49" fmla="*/ 6640259 h 6858000"/>
              <a:gd name="connsiteX50" fmla="*/ 2606687 w 7467663"/>
              <a:gd name="connsiteY50" fmla="*/ 5630718 h 6858000"/>
              <a:gd name="connsiteX51" fmla="*/ 3642057 w 7467663"/>
              <a:gd name="connsiteY51" fmla="*/ 5573487 h 6858000"/>
              <a:gd name="connsiteX52" fmla="*/ 3632981 w 7467663"/>
              <a:gd name="connsiteY52" fmla="*/ 5579437 h 6858000"/>
              <a:gd name="connsiteX53" fmla="*/ 3382436 w 7467663"/>
              <a:gd name="connsiteY53" fmla="*/ 5952726 h 6858000"/>
              <a:gd name="connsiteX54" fmla="*/ 3191929 w 7467663"/>
              <a:gd name="connsiteY54" fmla="*/ 6662669 h 6858000"/>
              <a:gd name="connsiteX55" fmla="*/ 3369898 w 7467663"/>
              <a:gd name="connsiteY55" fmla="*/ 6081771 h 6858000"/>
              <a:gd name="connsiteX56" fmla="*/ 3642057 w 7467663"/>
              <a:gd name="connsiteY56" fmla="*/ 5573487 h 6858000"/>
              <a:gd name="connsiteX57" fmla="*/ 2650666 w 7467663"/>
              <a:gd name="connsiteY57" fmla="*/ 5530686 h 6858000"/>
              <a:gd name="connsiteX58" fmla="*/ 2650249 w 7467663"/>
              <a:gd name="connsiteY58" fmla="*/ 5532101 h 6858000"/>
              <a:gd name="connsiteX59" fmla="*/ 2663808 w 7467663"/>
              <a:gd name="connsiteY59" fmla="*/ 6535215 h 6858000"/>
              <a:gd name="connsiteX60" fmla="*/ 2665418 w 7467663"/>
              <a:gd name="connsiteY60" fmla="*/ 6132756 h 6858000"/>
              <a:gd name="connsiteX61" fmla="*/ 2650666 w 7467663"/>
              <a:gd name="connsiteY61" fmla="*/ 5530686 h 6858000"/>
              <a:gd name="connsiteX62" fmla="*/ 2680277 w 7467663"/>
              <a:gd name="connsiteY62" fmla="*/ 5479204 h 6858000"/>
              <a:gd name="connsiteX63" fmla="*/ 2678972 w 7467663"/>
              <a:gd name="connsiteY63" fmla="*/ 5481582 h 6858000"/>
              <a:gd name="connsiteX64" fmla="*/ 2696666 w 7467663"/>
              <a:gd name="connsiteY64" fmla="*/ 6133836 h 6858000"/>
              <a:gd name="connsiteX65" fmla="*/ 2695769 w 7467663"/>
              <a:gd name="connsiteY65" fmla="*/ 6390955 h 6858000"/>
              <a:gd name="connsiteX66" fmla="*/ 2739893 w 7467663"/>
              <a:gd name="connsiteY66" fmla="*/ 6108357 h 6858000"/>
              <a:gd name="connsiteX67" fmla="*/ 2680277 w 7467663"/>
              <a:gd name="connsiteY67" fmla="*/ 5479204 h 6858000"/>
              <a:gd name="connsiteX68" fmla="*/ 1132195 w 7467663"/>
              <a:gd name="connsiteY68" fmla="*/ 5467980 h 6858000"/>
              <a:gd name="connsiteX69" fmla="*/ 1679056 w 7467663"/>
              <a:gd name="connsiteY69" fmla="*/ 5516907 h 6858000"/>
              <a:gd name="connsiteX70" fmla="*/ 2128648 w 7467663"/>
              <a:gd name="connsiteY70" fmla="*/ 5474249 h 6858000"/>
              <a:gd name="connsiteX71" fmla="*/ 1825619 w 7467663"/>
              <a:gd name="connsiteY71" fmla="*/ 5478447 h 6858000"/>
              <a:gd name="connsiteX72" fmla="*/ 1737798 w 7467663"/>
              <a:gd name="connsiteY72" fmla="*/ 5483353 h 6858000"/>
              <a:gd name="connsiteX73" fmla="*/ 1132195 w 7467663"/>
              <a:gd name="connsiteY73" fmla="*/ 5467980 h 6858000"/>
              <a:gd name="connsiteX74" fmla="*/ 7454976 w 7467663"/>
              <a:gd name="connsiteY74" fmla="*/ 6318297 h 6858000"/>
              <a:gd name="connsiteX75" fmla="*/ 7467600 w 7467663"/>
              <a:gd name="connsiteY75" fmla="*/ 6163634 h 6858000"/>
              <a:gd name="connsiteX76" fmla="*/ 7467600 w 7467663"/>
              <a:gd name="connsiteY76" fmla="*/ 6334256 h 6858000"/>
              <a:gd name="connsiteX77" fmla="*/ 7454976 w 7467663"/>
              <a:gd name="connsiteY77" fmla="*/ 6318297 h 6858000"/>
              <a:gd name="connsiteX78" fmla="*/ 1456157 w 7467663"/>
              <a:gd name="connsiteY78" fmla="*/ 5371404 h 6858000"/>
              <a:gd name="connsiteX79" fmla="*/ 1244432 w 7467663"/>
              <a:gd name="connsiteY79" fmla="*/ 5385601 h 6858000"/>
              <a:gd name="connsiteX80" fmla="*/ 973990 w 7467663"/>
              <a:gd name="connsiteY80" fmla="*/ 5424940 h 6858000"/>
              <a:gd name="connsiteX81" fmla="*/ 1103809 w 7467663"/>
              <a:gd name="connsiteY81" fmla="*/ 5433720 h 6858000"/>
              <a:gd name="connsiteX82" fmla="*/ 1123454 w 7467663"/>
              <a:gd name="connsiteY82" fmla="*/ 5435727 h 6858000"/>
              <a:gd name="connsiteX83" fmla="*/ 1737017 w 7467663"/>
              <a:gd name="connsiteY83" fmla="*/ 5452183 h 6858000"/>
              <a:gd name="connsiteX84" fmla="*/ 1824397 w 7467663"/>
              <a:gd name="connsiteY84" fmla="*/ 5447757 h 6858000"/>
              <a:gd name="connsiteX85" fmla="*/ 2070059 w 7467663"/>
              <a:gd name="connsiteY85" fmla="*/ 5441660 h 6858000"/>
              <a:gd name="connsiteX86" fmla="*/ 1456157 w 7467663"/>
              <a:gd name="connsiteY86" fmla="*/ 5371404 h 6858000"/>
              <a:gd name="connsiteX87" fmla="*/ 4988186 w 7467663"/>
              <a:gd name="connsiteY87" fmla="*/ 5216467 h 6858000"/>
              <a:gd name="connsiteX88" fmla="*/ 4777334 w 7467663"/>
              <a:gd name="connsiteY88" fmla="*/ 5406072 h 6858000"/>
              <a:gd name="connsiteX89" fmla="*/ 4718341 w 7467663"/>
              <a:gd name="connsiteY89" fmla="*/ 5468043 h 6858000"/>
              <a:gd name="connsiteX90" fmla="*/ 4604655 w 7467663"/>
              <a:gd name="connsiteY90" fmla="*/ 5583434 h 6858000"/>
              <a:gd name="connsiteX91" fmla="*/ 4565074 w 7467663"/>
              <a:gd name="connsiteY91" fmla="*/ 5618550 h 6858000"/>
              <a:gd name="connsiteX92" fmla="*/ 4988186 w 7467663"/>
              <a:gd name="connsiteY92" fmla="*/ 5216467 h 6858000"/>
              <a:gd name="connsiteX93" fmla="*/ 4978032 w 7467663"/>
              <a:gd name="connsiteY93" fmla="*/ 5183809 h 6858000"/>
              <a:gd name="connsiteX94" fmla="*/ 4463413 w 7467663"/>
              <a:gd name="connsiteY94" fmla="*/ 5615162 h 6858000"/>
              <a:gd name="connsiteX95" fmla="*/ 4358134 w 7467663"/>
              <a:gd name="connsiteY95" fmla="*/ 5742791 h 6858000"/>
              <a:gd name="connsiteX96" fmla="*/ 4376219 w 7467663"/>
              <a:gd name="connsiteY96" fmla="*/ 5729027 h 6858000"/>
              <a:gd name="connsiteX97" fmla="*/ 4582340 w 7467663"/>
              <a:gd name="connsiteY97" fmla="*/ 5561037 h 6858000"/>
              <a:gd name="connsiteX98" fmla="*/ 4694684 w 7467663"/>
              <a:gd name="connsiteY98" fmla="*/ 5447098 h 6858000"/>
              <a:gd name="connsiteX99" fmla="*/ 4754123 w 7467663"/>
              <a:gd name="connsiteY99" fmla="*/ 5384643 h 6858000"/>
              <a:gd name="connsiteX100" fmla="*/ 4978032 w 7467663"/>
              <a:gd name="connsiteY100" fmla="*/ 5183809 h 6858000"/>
              <a:gd name="connsiteX101" fmla="*/ 1903353 w 7467663"/>
              <a:gd name="connsiteY101" fmla="*/ 5044827 h 6858000"/>
              <a:gd name="connsiteX102" fmla="*/ 1936931 w 7467663"/>
              <a:gd name="connsiteY102" fmla="*/ 5093954 h 6858000"/>
              <a:gd name="connsiteX103" fmla="*/ 2195868 w 7467663"/>
              <a:gd name="connsiteY103" fmla="*/ 5396574 h 6858000"/>
              <a:gd name="connsiteX104" fmla="*/ 2088852 w 7467663"/>
              <a:gd name="connsiteY104" fmla="*/ 5166123 h 6858000"/>
              <a:gd name="connsiteX105" fmla="*/ 1958241 w 7467663"/>
              <a:gd name="connsiteY105" fmla="*/ 5067955 h 6858000"/>
              <a:gd name="connsiteX106" fmla="*/ 1903353 w 7467663"/>
              <a:gd name="connsiteY106" fmla="*/ 5044827 h 6858000"/>
              <a:gd name="connsiteX107" fmla="*/ 1979378 w 7467663"/>
              <a:gd name="connsiteY107" fmla="*/ 4769504 h 6858000"/>
              <a:gd name="connsiteX108" fmla="*/ 2882120 w 7467663"/>
              <a:gd name="connsiteY108" fmla="*/ 5064547 h 6858000"/>
              <a:gd name="connsiteX109" fmla="*/ 2793103 w 7467663"/>
              <a:gd name="connsiteY109" fmla="*/ 5039699 h 6858000"/>
              <a:gd name="connsiteX110" fmla="*/ 2770041 w 7467663"/>
              <a:gd name="connsiteY110" fmla="*/ 5033634 h 6858000"/>
              <a:gd name="connsiteX111" fmla="*/ 1979378 w 7467663"/>
              <a:gd name="connsiteY111" fmla="*/ 4769504 h 6858000"/>
              <a:gd name="connsiteX112" fmla="*/ 1927410 w 7467663"/>
              <a:gd name="connsiteY112" fmla="*/ 4716164 h 6858000"/>
              <a:gd name="connsiteX113" fmla="*/ 1959587 w 7467663"/>
              <a:gd name="connsiteY113" fmla="*/ 4728849 h 6858000"/>
              <a:gd name="connsiteX114" fmla="*/ 2777707 w 7467663"/>
              <a:gd name="connsiteY114" fmla="*/ 5003991 h 6858000"/>
              <a:gd name="connsiteX115" fmla="*/ 2800768 w 7467663"/>
              <a:gd name="connsiteY115" fmla="*/ 5010056 h 6858000"/>
              <a:gd name="connsiteX116" fmla="*/ 2879408 w 7467663"/>
              <a:gd name="connsiteY116" fmla="*/ 5031590 h 6858000"/>
              <a:gd name="connsiteX117" fmla="*/ 2862295 w 7467663"/>
              <a:gd name="connsiteY117" fmla="*/ 5022958 h 6858000"/>
              <a:gd name="connsiteX118" fmla="*/ 2813343 w 7467663"/>
              <a:gd name="connsiteY118" fmla="*/ 4998369 h 6858000"/>
              <a:gd name="connsiteX119" fmla="*/ 2646245 w 7467663"/>
              <a:gd name="connsiteY119" fmla="*/ 4930999 h 6858000"/>
              <a:gd name="connsiteX120" fmla="*/ 1999243 w 7467663"/>
              <a:gd name="connsiteY120" fmla="*/ 4730524 h 6858000"/>
              <a:gd name="connsiteX121" fmla="*/ 1979527 w 7467663"/>
              <a:gd name="connsiteY121" fmla="*/ 4726651 h 6858000"/>
              <a:gd name="connsiteX122" fmla="*/ 1927410 w 7467663"/>
              <a:gd name="connsiteY122" fmla="*/ 4716164 h 6858000"/>
              <a:gd name="connsiteX123" fmla="*/ 1997014 w 7467663"/>
              <a:gd name="connsiteY123" fmla="*/ 4698007 h 6858000"/>
              <a:gd name="connsiteX124" fmla="*/ 2005458 w 7467663"/>
              <a:gd name="connsiteY124" fmla="*/ 4699540 h 6858000"/>
              <a:gd name="connsiteX125" fmla="*/ 2657186 w 7467663"/>
              <a:gd name="connsiteY125" fmla="*/ 4901687 h 6858000"/>
              <a:gd name="connsiteX126" fmla="*/ 2826662 w 7467663"/>
              <a:gd name="connsiteY126" fmla="*/ 4970362 h 6858000"/>
              <a:gd name="connsiteX127" fmla="*/ 2876100 w 7467663"/>
              <a:gd name="connsiteY127" fmla="*/ 4995397 h 6858000"/>
              <a:gd name="connsiteX128" fmla="*/ 3042600 w 7467663"/>
              <a:gd name="connsiteY128" fmla="*/ 5059532 h 6858000"/>
              <a:gd name="connsiteX129" fmla="*/ 1997014 w 7467663"/>
              <a:gd name="connsiteY129" fmla="*/ 4698007 h 6858000"/>
              <a:gd name="connsiteX130" fmla="*/ 2305292 w 7467663"/>
              <a:gd name="connsiteY130" fmla="*/ 4219492 h 6858000"/>
              <a:gd name="connsiteX131" fmla="*/ 3360922 w 7467663"/>
              <a:gd name="connsiteY131" fmla="*/ 4529373 h 6858000"/>
              <a:gd name="connsiteX132" fmla="*/ 3492420 w 7467663"/>
              <a:gd name="connsiteY132" fmla="*/ 4510145 h 6858000"/>
              <a:gd name="connsiteX133" fmla="*/ 3364086 w 7467663"/>
              <a:gd name="connsiteY133" fmla="*/ 4480340 h 6858000"/>
              <a:gd name="connsiteX134" fmla="*/ 3225818 w 7467663"/>
              <a:gd name="connsiteY134" fmla="*/ 4411822 h 6858000"/>
              <a:gd name="connsiteX135" fmla="*/ 3129696 w 7467663"/>
              <a:gd name="connsiteY135" fmla="*/ 4360704 h 6858000"/>
              <a:gd name="connsiteX136" fmla="*/ 2814545 w 7467663"/>
              <a:gd name="connsiteY136" fmla="*/ 4282955 h 6858000"/>
              <a:gd name="connsiteX137" fmla="*/ 2305292 w 7467663"/>
              <a:gd name="connsiteY137" fmla="*/ 4219492 h 6858000"/>
              <a:gd name="connsiteX138" fmla="*/ 2626982 w 7467663"/>
              <a:gd name="connsiteY138" fmla="*/ 4206450 h 6858000"/>
              <a:gd name="connsiteX139" fmla="*/ 2490617 w 7467663"/>
              <a:gd name="connsiteY139" fmla="*/ 4206951 h 6858000"/>
              <a:gd name="connsiteX140" fmla="*/ 2819869 w 7467663"/>
              <a:gd name="connsiteY140" fmla="*/ 4252936 h 6858000"/>
              <a:gd name="connsiteX141" fmla="*/ 3143018 w 7467663"/>
              <a:gd name="connsiteY141" fmla="*/ 4332698 h 6858000"/>
              <a:gd name="connsiteX142" fmla="*/ 3241520 w 7467663"/>
              <a:gd name="connsiteY142" fmla="*/ 4385112 h 6858000"/>
              <a:gd name="connsiteX143" fmla="*/ 3374575 w 7467663"/>
              <a:gd name="connsiteY143" fmla="*/ 4451517 h 6858000"/>
              <a:gd name="connsiteX144" fmla="*/ 3505221 w 7467663"/>
              <a:gd name="connsiteY144" fmla="*/ 4480757 h 6858000"/>
              <a:gd name="connsiteX145" fmla="*/ 2626982 w 7467663"/>
              <a:gd name="connsiteY145" fmla="*/ 4206450 h 6858000"/>
              <a:gd name="connsiteX146" fmla="*/ 1310106 w 7467663"/>
              <a:gd name="connsiteY146" fmla="*/ 3943217 h 6858000"/>
              <a:gd name="connsiteX147" fmla="*/ 854994 w 7467663"/>
              <a:gd name="connsiteY147" fmla="*/ 4399136 h 6858000"/>
              <a:gd name="connsiteX148" fmla="*/ 742462 w 7467663"/>
              <a:gd name="connsiteY148" fmla="*/ 4594648 h 6858000"/>
              <a:gd name="connsiteX149" fmla="*/ 820602 w 7467663"/>
              <a:gd name="connsiteY149" fmla="*/ 4485915 h 6858000"/>
              <a:gd name="connsiteX150" fmla="*/ 878295 w 7467663"/>
              <a:gd name="connsiteY150" fmla="*/ 4403594 h 6858000"/>
              <a:gd name="connsiteX151" fmla="*/ 1240607 w 7467663"/>
              <a:gd name="connsiteY151" fmla="*/ 4010401 h 6858000"/>
              <a:gd name="connsiteX152" fmla="*/ 1310106 w 7467663"/>
              <a:gd name="connsiteY152" fmla="*/ 3943217 h 6858000"/>
              <a:gd name="connsiteX153" fmla="*/ 1423113 w 7467663"/>
              <a:gd name="connsiteY153" fmla="*/ 3874565 h 6858000"/>
              <a:gd name="connsiteX154" fmla="*/ 1260565 w 7467663"/>
              <a:gd name="connsiteY154" fmla="*/ 4031982 h 6858000"/>
              <a:gd name="connsiteX155" fmla="*/ 901900 w 7467663"/>
              <a:gd name="connsiteY155" fmla="*/ 4421236 h 6858000"/>
              <a:gd name="connsiteX156" fmla="*/ 845044 w 7467663"/>
              <a:gd name="connsiteY156" fmla="*/ 4502436 h 6858000"/>
              <a:gd name="connsiteX157" fmla="*/ 685926 w 7467663"/>
              <a:gd name="connsiteY157" fmla="*/ 4703069 h 6858000"/>
              <a:gd name="connsiteX158" fmla="*/ 684248 w 7467663"/>
              <a:gd name="connsiteY158" fmla="*/ 4706721 h 6858000"/>
              <a:gd name="connsiteX159" fmla="*/ 1423113 w 7467663"/>
              <a:gd name="connsiteY159" fmla="*/ 3874565 h 6858000"/>
              <a:gd name="connsiteX160" fmla="*/ 3316479 w 7467663"/>
              <a:gd name="connsiteY160" fmla="*/ 3872136 h 6858000"/>
              <a:gd name="connsiteX161" fmla="*/ 3546806 w 7467663"/>
              <a:gd name="connsiteY161" fmla="*/ 4356139 h 6858000"/>
              <a:gd name="connsiteX162" fmla="*/ 3364433 w 7467663"/>
              <a:gd name="connsiteY162" fmla="*/ 3953121 h 6858000"/>
              <a:gd name="connsiteX163" fmla="*/ 3316479 w 7467663"/>
              <a:gd name="connsiteY163" fmla="*/ 3872136 h 6858000"/>
              <a:gd name="connsiteX164" fmla="*/ 3291335 w 7467663"/>
              <a:gd name="connsiteY164" fmla="*/ 3767420 h 6858000"/>
              <a:gd name="connsiteX165" fmla="*/ 3390805 w 7467663"/>
              <a:gd name="connsiteY165" fmla="*/ 3937163 h 6858000"/>
              <a:gd name="connsiteX166" fmla="*/ 3579062 w 7467663"/>
              <a:gd name="connsiteY166" fmla="*/ 4359040 h 6858000"/>
              <a:gd name="connsiteX167" fmla="*/ 3467355 w 7467663"/>
              <a:gd name="connsiteY167" fmla="*/ 3988130 h 6858000"/>
              <a:gd name="connsiteX168" fmla="*/ 3310753 w 7467663"/>
              <a:gd name="connsiteY168" fmla="*/ 3787140 h 6858000"/>
              <a:gd name="connsiteX169" fmla="*/ 3291335 w 7467663"/>
              <a:gd name="connsiteY169" fmla="*/ 3767420 h 6858000"/>
              <a:gd name="connsiteX170" fmla="*/ 1635889 w 7467663"/>
              <a:gd name="connsiteY170" fmla="*/ 3709494 h 6858000"/>
              <a:gd name="connsiteX171" fmla="*/ 1634800 w 7467663"/>
              <a:gd name="connsiteY171" fmla="*/ 3731111 h 6858000"/>
              <a:gd name="connsiteX172" fmla="*/ 1635889 w 7467663"/>
              <a:gd name="connsiteY172" fmla="*/ 3709494 h 6858000"/>
              <a:gd name="connsiteX173" fmla="*/ 1510397 w 7467663"/>
              <a:gd name="connsiteY173" fmla="*/ 3684705 h 6858000"/>
              <a:gd name="connsiteX174" fmla="*/ 1146550 w 7467663"/>
              <a:gd name="connsiteY174" fmla="*/ 3802012 h 6858000"/>
              <a:gd name="connsiteX175" fmla="*/ 698834 w 7467663"/>
              <a:gd name="connsiteY175" fmla="*/ 3952272 h 6858000"/>
              <a:gd name="connsiteX176" fmla="*/ 34256 w 7467663"/>
              <a:gd name="connsiteY176" fmla="*/ 4347603 h 6858000"/>
              <a:gd name="connsiteX177" fmla="*/ 527241 w 7467663"/>
              <a:gd name="connsiteY177" fmla="*/ 4065078 h 6858000"/>
              <a:gd name="connsiteX178" fmla="*/ 1510397 w 7467663"/>
              <a:gd name="connsiteY178" fmla="*/ 3684705 h 6858000"/>
              <a:gd name="connsiteX179" fmla="*/ 1313114 w 7467663"/>
              <a:gd name="connsiteY179" fmla="*/ 3655216 h 6858000"/>
              <a:gd name="connsiteX180" fmla="*/ 1109304 w 7467663"/>
              <a:gd name="connsiteY180" fmla="*/ 3669030 h 6858000"/>
              <a:gd name="connsiteX181" fmla="*/ 8129 w 7467663"/>
              <a:gd name="connsiteY181" fmla="*/ 4330519 h 6858000"/>
              <a:gd name="connsiteX182" fmla="*/ 687572 w 7467663"/>
              <a:gd name="connsiteY182" fmla="*/ 3925629 h 6858000"/>
              <a:gd name="connsiteX183" fmla="*/ 1138365 w 7467663"/>
              <a:gd name="connsiteY183" fmla="*/ 3774515 h 6858000"/>
              <a:gd name="connsiteX184" fmla="*/ 1505579 w 7467663"/>
              <a:gd name="connsiteY184" fmla="*/ 3655526 h 6858000"/>
              <a:gd name="connsiteX185" fmla="*/ 1313114 w 7467663"/>
              <a:gd name="connsiteY185" fmla="*/ 3655216 h 6858000"/>
              <a:gd name="connsiteX186" fmla="*/ 3655073 w 7467663"/>
              <a:gd name="connsiteY186" fmla="*/ 3650884 h 6858000"/>
              <a:gd name="connsiteX187" fmla="*/ 3989938 w 7467663"/>
              <a:gd name="connsiteY187" fmla="*/ 3991685 h 6858000"/>
              <a:gd name="connsiteX188" fmla="*/ 4393907 w 7467663"/>
              <a:gd name="connsiteY188" fmla="*/ 4261258 h 6858000"/>
              <a:gd name="connsiteX189" fmla="*/ 4648051 w 7467663"/>
              <a:gd name="connsiteY189" fmla="*/ 4374051 h 6858000"/>
              <a:gd name="connsiteX190" fmla="*/ 4383389 w 7467663"/>
              <a:gd name="connsiteY190" fmla="*/ 4184369 h 6858000"/>
              <a:gd name="connsiteX191" fmla="*/ 4165508 w 7467663"/>
              <a:gd name="connsiteY191" fmla="*/ 4035196 h 6858000"/>
              <a:gd name="connsiteX192" fmla="*/ 4068162 w 7467663"/>
              <a:gd name="connsiteY192" fmla="*/ 3953394 h 6858000"/>
              <a:gd name="connsiteX193" fmla="*/ 3981416 w 7467663"/>
              <a:gd name="connsiteY193" fmla="*/ 3880482 h 6858000"/>
              <a:gd name="connsiteX194" fmla="*/ 3800147 w 7467663"/>
              <a:gd name="connsiteY194" fmla="*/ 3749872 h 6858000"/>
              <a:gd name="connsiteX195" fmla="*/ 3655073 w 7467663"/>
              <a:gd name="connsiteY195" fmla="*/ 3650884 h 6858000"/>
              <a:gd name="connsiteX196" fmla="*/ 3670252 w 7467663"/>
              <a:gd name="connsiteY196" fmla="*/ 3622798 h 6858000"/>
              <a:gd name="connsiteX197" fmla="*/ 3817258 w 7467663"/>
              <a:gd name="connsiteY197" fmla="*/ 3723577 h 6858000"/>
              <a:gd name="connsiteX198" fmla="*/ 4000461 w 7467663"/>
              <a:gd name="connsiteY198" fmla="*/ 3855966 h 6858000"/>
              <a:gd name="connsiteX199" fmla="*/ 4088180 w 7467663"/>
              <a:gd name="connsiteY199" fmla="*/ 3929774 h 6858000"/>
              <a:gd name="connsiteX200" fmla="*/ 4184555 w 7467663"/>
              <a:gd name="connsiteY200" fmla="*/ 4010683 h 6858000"/>
              <a:gd name="connsiteX201" fmla="*/ 4399563 w 7467663"/>
              <a:gd name="connsiteY201" fmla="*/ 4158106 h 6858000"/>
              <a:gd name="connsiteX202" fmla="*/ 4684469 w 7467663"/>
              <a:gd name="connsiteY202" fmla="*/ 4364680 h 6858000"/>
              <a:gd name="connsiteX203" fmla="*/ 4690271 w 7467663"/>
              <a:gd name="connsiteY203" fmla="*/ 4370034 h 6858000"/>
              <a:gd name="connsiteX204" fmla="*/ 4136093 w 7467663"/>
              <a:gd name="connsiteY204" fmla="*/ 3858466 h 6858000"/>
              <a:gd name="connsiteX205" fmla="*/ 3670252 w 7467663"/>
              <a:gd name="connsiteY205" fmla="*/ 3622798 h 6858000"/>
              <a:gd name="connsiteX206" fmla="*/ 4440129 w 7467663"/>
              <a:gd name="connsiteY206" fmla="*/ 3448571 h 6858000"/>
              <a:gd name="connsiteX207" fmla="*/ 4856525 w 7467663"/>
              <a:gd name="connsiteY207" fmla="*/ 3915351 h 6858000"/>
              <a:gd name="connsiteX208" fmla="*/ 5059055 w 7467663"/>
              <a:gd name="connsiteY208" fmla="*/ 4108918 h 6858000"/>
              <a:gd name="connsiteX209" fmla="*/ 5290070 w 7467663"/>
              <a:gd name="connsiteY209" fmla="*/ 4263619 h 6858000"/>
              <a:gd name="connsiteX210" fmla="*/ 4834991 w 7467663"/>
              <a:gd name="connsiteY210" fmla="*/ 3830985 h 6858000"/>
              <a:gd name="connsiteX211" fmla="*/ 4440129 w 7467663"/>
              <a:gd name="connsiteY211" fmla="*/ 3448571 h 6858000"/>
              <a:gd name="connsiteX212" fmla="*/ 4441737 w 7467663"/>
              <a:gd name="connsiteY212" fmla="*/ 3399734 h 6858000"/>
              <a:gd name="connsiteX213" fmla="*/ 4431236 w 7467663"/>
              <a:gd name="connsiteY213" fmla="*/ 3400954 h 6858000"/>
              <a:gd name="connsiteX214" fmla="*/ 4557150 w 7467663"/>
              <a:gd name="connsiteY214" fmla="*/ 3510023 h 6858000"/>
              <a:gd name="connsiteX215" fmla="*/ 4856936 w 7467663"/>
              <a:gd name="connsiteY215" fmla="*/ 3809146 h 6858000"/>
              <a:gd name="connsiteX216" fmla="*/ 5111996 w 7467663"/>
              <a:gd name="connsiteY216" fmla="*/ 4065759 h 6858000"/>
              <a:gd name="connsiteX217" fmla="*/ 5388878 w 7467663"/>
              <a:gd name="connsiteY217" fmla="*/ 4300185 h 6858000"/>
              <a:gd name="connsiteX218" fmla="*/ 5425556 w 7467663"/>
              <a:gd name="connsiteY218" fmla="*/ 4308967 h 6858000"/>
              <a:gd name="connsiteX219" fmla="*/ 4943646 w 7467663"/>
              <a:gd name="connsiteY219" fmla="*/ 3822916 h 6858000"/>
              <a:gd name="connsiteX220" fmla="*/ 4594837 w 7467663"/>
              <a:gd name="connsiteY220" fmla="*/ 3532274 h 6858000"/>
              <a:gd name="connsiteX221" fmla="*/ 4441737 w 7467663"/>
              <a:gd name="connsiteY221" fmla="*/ 3399734 h 6858000"/>
              <a:gd name="connsiteX222" fmla="*/ 5425834 w 7467663"/>
              <a:gd name="connsiteY222" fmla="*/ 3162785 h 6858000"/>
              <a:gd name="connsiteX223" fmla="*/ 5401644 w 7467663"/>
              <a:gd name="connsiteY223" fmla="*/ 3617847 h 6858000"/>
              <a:gd name="connsiteX224" fmla="*/ 5467256 w 7467663"/>
              <a:gd name="connsiteY224" fmla="*/ 4175494 h 6858000"/>
              <a:gd name="connsiteX225" fmla="*/ 5448069 w 7467663"/>
              <a:gd name="connsiteY225" fmla="*/ 3567554 h 6858000"/>
              <a:gd name="connsiteX226" fmla="*/ 5425834 w 7467663"/>
              <a:gd name="connsiteY226" fmla="*/ 3162785 h 6858000"/>
              <a:gd name="connsiteX227" fmla="*/ 1318687 w 7467663"/>
              <a:gd name="connsiteY227" fmla="*/ 3113840 h 6858000"/>
              <a:gd name="connsiteX228" fmla="*/ 1066793 w 7467663"/>
              <a:gd name="connsiteY228" fmla="*/ 3212171 h 6858000"/>
              <a:gd name="connsiteX229" fmla="*/ 993319 w 7467663"/>
              <a:gd name="connsiteY229" fmla="*/ 3247648 h 6858000"/>
              <a:gd name="connsiteX230" fmla="*/ 853081 w 7467663"/>
              <a:gd name="connsiteY230" fmla="*/ 3312410 h 6858000"/>
              <a:gd name="connsiteX231" fmla="*/ 805957 w 7467663"/>
              <a:gd name="connsiteY231" fmla="*/ 3330443 h 6858000"/>
              <a:gd name="connsiteX232" fmla="*/ 1318687 w 7467663"/>
              <a:gd name="connsiteY232" fmla="*/ 3113840 h 6858000"/>
              <a:gd name="connsiteX233" fmla="*/ 5453702 w 7467663"/>
              <a:gd name="connsiteY233" fmla="*/ 3090882 h 6858000"/>
              <a:gd name="connsiteX234" fmla="*/ 5480135 w 7467663"/>
              <a:gd name="connsiteY234" fmla="*/ 3565802 h 6858000"/>
              <a:gd name="connsiteX235" fmla="*/ 5499023 w 7467663"/>
              <a:gd name="connsiteY235" fmla="*/ 4166310 h 6858000"/>
              <a:gd name="connsiteX236" fmla="*/ 5547022 w 7467663"/>
              <a:gd name="connsiteY236" fmla="*/ 3607838 h 6858000"/>
              <a:gd name="connsiteX237" fmla="*/ 5515964 w 7467663"/>
              <a:gd name="connsiteY237" fmla="*/ 3378541 h 6858000"/>
              <a:gd name="connsiteX238" fmla="*/ 5453702 w 7467663"/>
              <a:gd name="connsiteY238" fmla="*/ 3090882 h 6858000"/>
              <a:gd name="connsiteX239" fmla="*/ 1238695 w 7467663"/>
              <a:gd name="connsiteY239" fmla="*/ 3076820 h 6858000"/>
              <a:gd name="connsiteX240" fmla="*/ 716371 w 7467663"/>
              <a:gd name="connsiteY240" fmla="*/ 3293249 h 6858000"/>
              <a:gd name="connsiteX241" fmla="*/ 579522 w 7467663"/>
              <a:gd name="connsiteY241" fmla="*/ 3371759 h 6858000"/>
              <a:gd name="connsiteX242" fmla="*/ 600288 w 7467663"/>
              <a:gd name="connsiteY242" fmla="*/ 3365555 h 6858000"/>
              <a:gd name="connsiteX243" fmla="*/ 840692 w 7467663"/>
              <a:gd name="connsiteY243" fmla="*/ 3284921 h 6858000"/>
              <a:gd name="connsiteX244" fmla="*/ 979248 w 7467663"/>
              <a:gd name="connsiteY244" fmla="*/ 3221003 h 6858000"/>
              <a:gd name="connsiteX245" fmla="*/ 1053282 w 7467663"/>
              <a:gd name="connsiteY245" fmla="*/ 3185247 h 6858000"/>
              <a:gd name="connsiteX246" fmla="*/ 1320603 w 7467663"/>
              <a:gd name="connsiteY246" fmla="*/ 3081281 h 6858000"/>
              <a:gd name="connsiteX247" fmla="*/ 1238695 w 7467663"/>
              <a:gd name="connsiteY247" fmla="*/ 3076820 h 6858000"/>
              <a:gd name="connsiteX248" fmla="*/ 5425627 w 7467663"/>
              <a:gd name="connsiteY248" fmla="*/ 2954192 h 6858000"/>
              <a:gd name="connsiteX249" fmla="*/ 5470770 w 7467663"/>
              <a:gd name="connsiteY249" fmla="*/ 3005435 h 6858000"/>
              <a:gd name="connsiteX250" fmla="*/ 5519779 w 7467663"/>
              <a:gd name="connsiteY250" fmla="*/ 4359223 h 6858000"/>
              <a:gd name="connsiteX251" fmla="*/ 5520293 w 7467663"/>
              <a:gd name="connsiteY251" fmla="*/ 4360602 h 6858000"/>
              <a:gd name="connsiteX252" fmla="*/ 5767221 w 7467663"/>
              <a:gd name="connsiteY252" fmla="*/ 4665564 h 6858000"/>
              <a:gd name="connsiteX253" fmla="*/ 6937169 w 7467663"/>
              <a:gd name="connsiteY253" fmla="*/ 4815941 h 6858000"/>
              <a:gd name="connsiteX254" fmla="*/ 6953922 w 7467663"/>
              <a:gd name="connsiteY254" fmla="*/ 4890068 h 6858000"/>
              <a:gd name="connsiteX255" fmla="*/ 6071359 w 7467663"/>
              <a:gd name="connsiteY255" fmla="*/ 4770770 h 6858000"/>
              <a:gd name="connsiteX256" fmla="*/ 6038839 w 7467663"/>
              <a:gd name="connsiteY256" fmla="*/ 4764474 h 6858000"/>
              <a:gd name="connsiteX257" fmla="*/ 6038706 w 7467663"/>
              <a:gd name="connsiteY257" fmla="*/ 4763847 h 6858000"/>
              <a:gd name="connsiteX258" fmla="*/ 6037784 w 7467663"/>
              <a:gd name="connsiteY258" fmla="*/ 4764270 h 6858000"/>
              <a:gd name="connsiteX259" fmla="*/ 6038839 w 7467663"/>
              <a:gd name="connsiteY259" fmla="*/ 4764474 h 6858000"/>
              <a:gd name="connsiteX260" fmla="*/ 6040338 w 7467663"/>
              <a:gd name="connsiteY260" fmla="*/ 4771418 h 6858000"/>
              <a:gd name="connsiteX261" fmla="*/ 6024488 w 7467663"/>
              <a:gd name="connsiteY261" fmla="*/ 4809903 h 6858000"/>
              <a:gd name="connsiteX262" fmla="*/ 5599771 w 7467663"/>
              <a:gd name="connsiteY262" fmla="*/ 5509652 h 6858000"/>
              <a:gd name="connsiteX263" fmla="*/ 5548843 w 7467663"/>
              <a:gd name="connsiteY263" fmla="*/ 5563845 h 6858000"/>
              <a:gd name="connsiteX264" fmla="*/ 5940952 w 7467663"/>
              <a:gd name="connsiteY264" fmla="*/ 6250028 h 6858000"/>
              <a:gd name="connsiteX265" fmla="*/ 6043441 w 7467663"/>
              <a:gd name="connsiteY265" fmla="*/ 6665847 h 6858000"/>
              <a:gd name="connsiteX266" fmla="*/ 6093432 w 7467663"/>
              <a:gd name="connsiteY266" fmla="*/ 6858000 h 6858000"/>
              <a:gd name="connsiteX267" fmla="*/ 6034344 w 7467663"/>
              <a:gd name="connsiteY267" fmla="*/ 6858000 h 6858000"/>
              <a:gd name="connsiteX268" fmla="*/ 6026679 w 7467663"/>
              <a:gd name="connsiteY268" fmla="*/ 6836959 h 6858000"/>
              <a:gd name="connsiteX269" fmla="*/ 5800441 w 7467663"/>
              <a:gd name="connsiteY269" fmla="*/ 6335286 h 6858000"/>
              <a:gd name="connsiteX270" fmla="*/ 5526562 w 7467663"/>
              <a:gd name="connsiteY270" fmla="*/ 5705388 h 6858000"/>
              <a:gd name="connsiteX271" fmla="*/ 5519640 w 7467663"/>
              <a:gd name="connsiteY271" fmla="*/ 5683774 h 6858000"/>
              <a:gd name="connsiteX272" fmla="*/ 5844559 w 7467663"/>
              <a:gd name="connsiteY272" fmla="*/ 6553349 h 6858000"/>
              <a:gd name="connsiteX273" fmla="*/ 5975994 w 7467663"/>
              <a:gd name="connsiteY273" fmla="*/ 6858000 h 6858000"/>
              <a:gd name="connsiteX274" fmla="*/ 5898547 w 7467663"/>
              <a:gd name="connsiteY274" fmla="*/ 6858000 h 6858000"/>
              <a:gd name="connsiteX275" fmla="*/ 5682041 w 7467663"/>
              <a:gd name="connsiteY275" fmla="*/ 6355860 h 6858000"/>
              <a:gd name="connsiteX276" fmla="*/ 5461758 w 7467663"/>
              <a:gd name="connsiteY276" fmla="*/ 5820220 h 6858000"/>
              <a:gd name="connsiteX277" fmla="*/ 5237282 w 7467663"/>
              <a:gd name="connsiteY277" fmla="*/ 6579086 h 6858000"/>
              <a:gd name="connsiteX278" fmla="*/ 5115009 w 7467663"/>
              <a:gd name="connsiteY278" fmla="*/ 6858000 h 6858000"/>
              <a:gd name="connsiteX279" fmla="*/ 5028074 w 7467663"/>
              <a:gd name="connsiteY279" fmla="*/ 6858000 h 6858000"/>
              <a:gd name="connsiteX280" fmla="*/ 5079508 w 7467663"/>
              <a:gd name="connsiteY280" fmla="*/ 6749074 h 6858000"/>
              <a:gd name="connsiteX281" fmla="*/ 5371846 w 7467663"/>
              <a:gd name="connsiteY281" fmla="*/ 5924413 h 6858000"/>
              <a:gd name="connsiteX282" fmla="*/ 5270512 w 7467663"/>
              <a:gd name="connsiteY282" fmla="*/ 6138975 h 6858000"/>
              <a:gd name="connsiteX283" fmla="*/ 5062409 w 7467663"/>
              <a:gd name="connsiteY283" fmla="*/ 6653544 h 6858000"/>
              <a:gd name="connsiteX284" fmla="*/ 5036628 w 7467663"/>
              <a:gd name="connsiteY284" fmla="*/ 6754247 h 6858000"/>
              <a:gd name="connsiteX285" fmla="*/ 5009112 w 7467663"/>
              <a:gd name="connsiteY285" fmla="*/ 6858000 h 6858000"/>
              <a:gd name="connsiteX286" fmla="*/ 4976679 w 7467663"/>
              <a:gd name="connsiteY286" fmla="*/ 6858000 h 6858000"/>
              <a:gd name="connsiteX287" fmla="*/ 5006537 w 7467663"/>
              <a:gd name="connsiteY287" fmla="*/ 6747068 h 6858000"/>
              <a:gd name="connsiteX288" fmla="*/ 5032723 w 7467663"/>
              <a:gd name="connsiteY288" fmla="*/ 6644957 h 6858000"/>
              <a:gd name="connsiteX289" fmla="*/ 5242949 w 7467663"/>
              <a:gd name="connsiteY289" fmla="*/ 6125175 h 6858000"/>
              <a:gd name="connsiteX290" fmla="*/ 5286321 w 7467663"/>
              <a:gd name="connsiteY290" fmla="*/ 6033555 h 6858000"/>
              <a:gd name="connsiteX291" fmla="*/ 5008210 w 7467663"/>
              <a:gd name="connsiteY291" fmla="*/ 6649194 h 6858000"/>
              <a:gd name="connsiteX292" fmla="*/ 4986321 w 7467663"/>
              <a:gd name="connsiteY292" fmla="*/ 6765687 h 6858000"/>
              <a:gd name="connsiteX293" fmla="*/ 4973474 w 7467663"/>
              <a:gd name="connsiteY293" fmla="*/ 6858000 h 6858000"/>
              <a:gd name="connsiteX294" fmla="*/ 4907178 w 7467663"/>
              <a:gd name="connsiteY294" fmla="*/ 6858000 h 6858000"/>
              <a:gd name="connsiteX295" fmla="*/ 4910810 w 7467663"/>
              <a:gd name="connsiteY295" fmla="*/ 6829660 h 6858000"/>
              <a:gd name="connsiteX296" fmla="*/ 4987461 w 7467663"/>
              <a:gd name="connsiteY296" fmla="*/ 6432994 h 6858000"/>
              <a:gd name="connsiteX297" fmla="*/ 5179262 w 7467663"/>
              <a:gd name="connsiteY297" fmla="*/ 6035044 h 6858000"/>
              <a:gd name="connsiteX298" fmla="*/ 4689678 w 7467663"/>
              <a:gd name="connsiteY298" fmla="*/ 6440241 h 6858000"/>
              <a:gd name="connsiteX299" fmla="*/ 4477543 w 7467663"/>
              <a:gd name="connsiteY299" fmla="*/ 6674836 h 6858000"/>
              <a:gd name="connsiteX300" fmla="*/ 4329957 w 7467663"/>
              <a:gd name="connsiteY300" fmla="*/ 6858000 h 6858000"/>
              <a:gd name="connsiteX301" fmla="*/ 4218595 w 7467663"/>
              <a:gd name="connsiteY301" fmla="*/ 6858000 h 6858000"/>
              <a:gd name="connsiteX302" fmla="*/ 4368888 w 7467663"/>
              <a:gd name="connsiteY302" fmla="*/ 6668412 h 6858000"/>
              <a:gd name="connsiteX303" fmla="*/ 4563091 w 7467663"/>
              <a:gd name="connsiteY303" fmla="*/ 6442508 h 6858000"/>
              <a:gd name="connsiteX304" fmla="*/ 5387324 w 7467663"/>
              <a:gd name="connsiteY304" fmla="*/ 5705830 h 6858000"/>
              <a:gd name="connsiteX305" fmla="*/ 5073620 w 7467663"/>
              <a:gd name="connsiteY305" fmla="*/ 5955437 h 6858000"/>
              <a:gd name="connsiteX306" fmla="*/ 4689789 w 7467663"/>
              <a:gd name="connsiteY306" fmla="*/ 6268382 h 6858000"/>
              <a:gd name="connsiteX307" fmla="*/ 4418722 w 7467663"/>
              <a:gd name="connsiteY307" fmla="*/ 6570886 h 6858000"/>
              <a:gd name="connsiteX308" fmla="*/ 4214944 w 7467663"/>
              <a:gd name="connsiteY308" fmla="*/ 6858000 h 6858000"/>
              <a:gd name="connsiteX309" fmla="*/ 4177898 w 7467663"/>
              <a:gd name="connsiteY309" fmla="*/ 6858000 h 6858000"/>
              <a:gd name="connsiteX310" fmla="*/ 4391597 w 7467663"/>
              <a:gd name="connsiteY310" fmla="*/ 6556370 h 6858000"/>
              <a:gd name="connsiteX311" fmla="*/ 4668889 w 7467663"/>
              <a:gd name="connsiteY311" fmla="*/ 6246399 h 6858000"/>
              <a:gd name="connsiteX312" fmla="*/ 5055427 w 7467663"/>
              <a:gd name="connsiteY312" fmla="*/ 5931476 h 6858000"/>
              <a:gd name="connsiteX313" fmla="*/ 5371814 w 7467663"/>
              <a:gd name="connsiteY313" fmla="*/ 5678975 h 6858000"/>
              <a:gd name="connsiteX314" fmla="*/ 4987918 w 7467663"/>
              <a:gd name="connsiteY314" fmla="*/ 5838701 h 6858000"/>
              <a:gd name="connsiteX315" fmla="*/ 4317146 w 7467663"/>
              <a:gd name="connsiteY315" fmla="*/ 6587716 h 6858000"/>
              <a:gd name="connsiteX316" fmla="*/ 4171627 w 7467663"/>
              <a:gd name="connsiteY316" fmla="*/ 6858000 h 6858000"/>
              <a:gd name="connsiteX317" fmla="*/ 4081585 w 7467663"/>
              <a:gd name="connsiteY317" fmla="*/ 6858000 h 6858000"/>
              <a:gd name="connsiteX318" fmla="*/ 4238603 w 7467663"/>
              <a:gd name="connsiteY318" fmla="*/ 6559341 h 6858000"/>
              <a:gd name="connsiteX319" fmla="*/ 4778333 w 7467663"/>
              <a:gd name="connsiteY319" fmla="*/ 5873626 h 6858000"/>
              <a:gd name="connsiteX320" fmla="*/ 5414185 w 7467663"/>
              <a:gd name="connsiteY320" fmla="*/ 5573882 h 6858000"/>
              <a:gd name="connsiteX321" fmla="*/ 5959648 w 7467663"/>
              <a:gd name="connsiteY321" fmla="*/ 4760797 h 6858000"/>
              <a:gd name="connsiteX322" fmla="*/ 5355019 w 7467663"/>
              <a:gd name="connsiteY322" fmla="*/ 4734672 h 6858000"/>
              <a:gd name="connsiteX323" fmla="*/ 5083565 w 7467663"/>
              <a:gd name="connsiteY323" fmla="*/ 5179121 h 6858000"/>
              <a:gd name="connsiteX324" fmla="*/ 4713577 w 7467663"/>
              <a:gd name="connsiteY324" fmla="*/ 5616803 h 6858000"/>
              <a:gd name="connsiteX325" fmla="*/ 3989559 w 7467663"/>
              <a:gd name="connsiteY325" fmla="*/ 6145945 h 6858000"/>
              <a:gd name="connsiteX326" fmla="*/ 3939824 w 7467663"/>
              <a:gd name="connsiteY326" fmla="*/ 6066900 h 6858000"/>
              <a:gd name="connsiteX327" fmla="*/ 4584537 w 7467663"/>
              <a:gd name="connsiteY327" fmla="*/ 5324826 h 6858000"/>
              <a:gd name="connsiteX328" fmla="*/ 5037105 w 7467663"/>
              <a:gd name="connsiteY328" fmla="*/ 5088765 h 6858000"/>
              <a:gd name="connsiteX329" fmla="*/ 5039930 w 7467663"/>
              <a:gd name="connsiteY329" fmla="*/ 5089585 h 6858000"/>
              <a:gd name="connsiteX330" fmla="*/ 5263764 w 7467663"/>
              <a:gd name="connsiteY330" fmla="*/ 4735525 h 6858000"/>
              <a:gd name="connsiteX331" fmla="*/ 4086300 w 7467663"/>
              <a:gd name="connsiteY331" fmla="*/ 4884599 h 6858000"/>
              <a:gd name="connsiteX332" fmla="*/ 4085485 w 7467663"/>
              <a:gd name="connsiteY332" fmla="*/ 4899070 h 6858000"/>
              <a:gd name="connsiteX333" fmla="*/ 3871915 w 7467663"/>
              <a:gd name="connsiteY333" fmla="*/ 5253645 h 6858000"/>
              <a:gd name="connsiteX334" fmla="*/ 3799374 w 7467663"/>
              <a:gd name="connsiteY334" fmla="*/ 5466127 h 6858000"/>
              <a:gd name="connsiteX335" fmla="*/ 3498850 w 7467663"/>
              <a:gd name="connsiteY335" fmla="*/ 6661888 h 6858000"/>
              <a:gd name="connsiteX336" fmla="*/ 3399216 w 7467663"/>
              <a:gd name="connsiteY336" fmla="*/ 6858000 h 6858000"/>
              <a:gd name="connsiteX337" fmla="*/ 3303688 w 7467663"/>
              <a:gd name="connsiteY337" fmla="*/ 6858000 h 6858000"/>
              <a:gd name="connsiteX338" fmla="*/ 3391774 w 7467663"/>
              <a:gd name="connsiteY338" fmla="*/ 6697181 h 6858000"/>
              <a:gd name="connsiteX339" fmla="*/ 3735540 w 7467663"/>
              <a:gd name="connsiteY339" fmla="*/ 5546923 h 6858000"/>
              <a:gd name="connsiteX340" fmla="*/ 3729438 w 7467663"/>
              <a:gd name="connsiteY340" fmla="*/ 5569058 h 6858000"/>
              <a:gd name="connsiteX341" fmla="*/ 3707782 w 7467663"/>
              <a:gd name="connsiteY341" fmla="*/ 5644908 h 6858000"/>
              <a:gd name="connsiteX342" fmla="*/ 3583827 w 7467663"/>
              <a:gd name="connsiteY342" fmla="*/ 6039215 h 6858000"/>
              <a:gd name="connsiteX343" fmla="*/ 3547861 w 7467663"/>
              <a:gd name="connsiteY343" fmla="*/ 6129609 h 6858000"/>
              <a:gd name="connsiteX344" fmla="*/ 3490905 w 7467663"/>
              <a:gd name="connsiteY344" fmla="*/ 6277660 h 6858000"/>
              <a:gd name="connsiteX345" fmla="*/ 3455859 w 7467663"/>
              <a:gd name="connsiteY345" fmla="*/ 6391301 h 6858000"/>
              <a:gd name="connsiteX346" fmla="*/ 3429112 w 7467663"/>
              <a:gd name="connsiteY346" fmla="*/ 6479469 h 6858000"/>
              <a:gd name="connsiteX347" fmla="*/ 3304862 w 7467663"/>
              <a:gd name="connsiteY347" fmla="*/ 6796476 h 6858000"/>
              <a:gd name="connsiteX348" fmla="*/ 3276071 w 7467663"/>
              <a:gd name="connsiteY348" fmla="*/ 6858000 h 6858000"/>
              <a:gd name="connsiteX349" fmla="*/ 3240805 w 7467663"/>
              <a:gd name="connsiteY349" fmla="*/ 6858000 h 6858000"/>
              <a:gd name="connsiteX350" fmla="*/ 3275917 w 7467663"/>
              <a:gd name="connsiteY350" fmla="*/ 6783192 h 6858000"/>
              <a:gd name="connsiteX351" fmla="*/ 3399358 w 7467663"/>
              <a:gd name="connsiteY351" fmla="*/ 6469011 h 6858000"/>
              <a:gd name="connsiteX352" fmla="*/ 3425650 w 7467663"/>
              <a:gd name="connsiteY352" fmla="*/ 6381333 h 6858000"/>
              <a:gd name="connsiteX353" fmla="*/ 3460661 w 7467663"/>
              <a:gd name="connsiteY353" fmla="*/ 6266763 h 6858000"/>
              <a:gd name="connsiteX354" fmla="*/ 3518021 w 7467663"/>
              <a:gd name="connsiteY354" fmla="*/ 6117298 h 6858000"/>
              <a:gd name="connsiteX355" fmla="*/ 3554035 w 7467663"/>
              <a:gd name="connsiteY355" fmla="*/ 6027832 h 6858000"/>
              <a:gd name="connsiteX356" fmla="*/ 3677174 w 7467663"/>
              <a:gd name="connsiteY356" fmla="*/ 5636351 h 6858000"/>
              <a:gd name="connsiteX357" fmla="*/ 3698819 w 7467663"/>
              <a:gd name="connsiteY357" fmla="*/ 5560503 h 6858000"/>
              <a:gd name="connsiteX358" fmla="*/ 3702094 w 7467663"/>
              <a:gd name="connsiteY358" fmla="*/ 5549194 h 6858000"/>
              <a:gd name="connsiteX359" fmla="*/ 3398355 w 7467663"/>
              <a:gd name="connsiteY359" fmla="*/ 6094603 h 6858000"/>
              <a:gd name="connsiteX360" fmla="*/ 3193941 w 7467663"/>
              <a:gd name="connsiteY360" fmla="*/ 6798775 h 6858000"/>
              <a:gd name="connsiteX361" fmla="*/ 3184140 w 7467663"/>
              <a:gd name="connsiteY361" fmla="*/ 6858000 h 6858000"/>
              <a:gd name="connsiteX362" fmla="*/ 3099978 w 7467663"/>
              <a:gd name="connsiteY362" fmla="*/ 6858000 h 6858000"/>
              <a:gd name="connsiteX363" fmla="*/ 3101556 w 7467663"/>
              <a:gd name="connsiteY363" fmla="*/ 6843337 h 6858000"/>
              <a:gd name="connsiteX364" fmla="*/ 3370162 w 7467663"/>
              <a:gd name="connsiteY364" fmla="*/ 5785550 h 6858000"/>
              <a:gd name="connsiteX365" fmla="*/ 3746477 w 7467663"/>
              <a:gd name="connsiteY365" fmla="*/ 5377889 h 6858000"/>
              <a:gd name="connsiteX366" fmla="*/ 3863399 w 7467663"/>
              <a:gd name="connsiteY366" fmla="*/ 5087257 h 6858000"/>
              <a:gd name="connsiteX367" fmla="*/ 3968712 w 7467663"/>
              <a:gd name="connsiteY367" fmla="*/ 4913989 h 6858000"/>
              <a:gd name="connsiteX368" fmla="*/ 2792390 w 7467663"/>
              <a:gd name="connsiteY368" fmla="*/ 5382974 h 6858000"/>
              <a:gd name="connsiteX369" fmla="*/ 2714982 w 7467663"/>
              <a:gd name="connsiteY369" fmla="*/ 5427051 h 6858000"/>
              <a:gd name="connsiteX370" fmla="*/ 2813361 w 7467663"/>
              <a:gd name="connsiteY370" fmla="*/ 6023912 h 6858000"/>
              <a:gd name="connsiteX371" fmla="*/ 2688430 w 7467663"/>
              <a:gd name="connsiteY371" fmla="*/ 6801564 h 6858000"/>
              <a:gd name="connsiteX372" fmla="*/ 2629626 w 7467663"/>
              <a:gd name="connsiteY372" fmla="*/ 6763394 h 6858000"/>
              <a:gd name="connsiteX373" fmla="*/ 2565328 w 7467663"/>
              <a:gd name="connsiteY373" fmla="*/ 5516399 h 6858000"/>
              <a:gd name="connsiteX374" fmla="*/ 1922999 w 7467663"/>
              <a:gd name="connsiteY374" fmla="*/ 5980343 h 6858000"/>
              <a:gd name="connsiteX375" fmla="*/ 1950261 w 7467663"/>
              <a:gd name="connsiteY375" fmla="*/ 6405858 h 6858000"/>
              <a:gd name="connsiteX376" fmla="*/ 2365554 w 7467663"/>
              <a:gd name="connsiteY376" fmla="*/ 6759107 h 6858000"/>
              <a:gd name="connsiteX377" fmla="*/ 2424142 w 7467663"/>
              <a:gd name="connsiteY377" fmla="*/ 6858000 h 6858000"/>
              <a:gd name="connsiteX378" fmla="*/ 2395994 w 7467663"/>
              <a:gd name="connsiteY378" fmla="*/ 6858000 h 6858000"/>
              <a:gd name="connsiteX379" fmla="*/ 2392863 w 7467663"/>
              <a:gd name="connsiteY379" fmla="*/ 6852964 h 6858000"/>
              <a:gd name="connsiteX380" fmla="*/ 2017589 w 7467663"/>
              <a:gd name="connsiteY380" fmla="*/ 6493982 h 6858000"/>
              <a:gd name="connsiteX381" fmla="*/ 2147336 w 7467663"/>
              <a:gd name="connsiteY381" fmla="*/ 6594052 h 6858000"/>
              <a:gd name="connsiteX382" fmla="*/ 2207047 w 7467663"/>
              <a:gd name="connsiteY382" fmla="*/ 6654540 h 6858000"/>
              <a:gd name="connsiteX383" fmla="*/ 2299106 w 7467663"/>
              <a:gd name="connsiteY383" fmla="*/ 6778931 h 6858000"/>
              <a:gd name="connsiteX384" fmla="*/ 2314430 w 7467663"/>
              <a:gd name="connsiteY384" fmla="*/ 6801144 h 6858000"/>
              <a:gd name="connsiteX385" fmla="*/ 2352406 w 7467663"/>
              <a:gd name="connsiteY385" fmla="*/ 6858000 h 6858000"/>
              <a:gd name="connsiteX386" fmla="*/ 2314492 w 7467663"/>
              <a:gd name="connsiteY386" fmla="*/ 6858000 h 6858000"/>
              <a:gd name="connsiteX387" fmla="*/ 2288095 w 7467663"/>
              <a:gd name="connsiteY387" fmla="*/ 6818030 h 6858000"/>
              <a:gd name="connsiteX388" fmla="*/ 2272768 w 7467663"/>
              <a:gd name="connsiteY388" fmla="*/ 6795822 h 6858000"/>
              <a:gd name="connsiteX389" fmla="*/ 2182715 w 7467663"/>
              <a:gd name="connsiteY389" fmla="*/ 6675071 h 6858000"/>
              <a:gd name="connsiteX390" fmla="*/ 2032061 w 7467663"/>
              <a:gd name="connsiteY390" fmla="*/ 6541380 h 6858000"/>
              <a:gd name="connsiteX391" fmla="*/ 2257220 w 7467663"/>
              <a:gd name="connsiteY391" fmla="*/ 6826257 h 6858000"/>
              <a:gd name="connsiteX392" fmla="*/ 2281324 w 7467663"/>
              <a:gd name="connsiteY392" fmla="*/ 6858000 h 6858000"/>
              <a:gd name="connsiteX393" fmla="*/ 2242860 w 7467663"/>
              <a:gd name="connsiteY393" fmla="*/ 6858000 h 6858000"/>
              <a:gd name="connsiteX394" fmla="*/ 2232818 w 7467663"/>
              <a:gd name="connsiteY394" fmla="*/ 6844926 h 6858000"/>
              <a:gd name="connsiteX395" fmla="*/ 1990172 w 7467663"/>
              <a:gd name="connsiteY395" fmla="*/ 6542121 h 6858000"/>
              <a:gd name="connsiteX396" fmla="*/ 2124090 w 7467663"/>
              <a:gd name="connsiteY396" fmla="*/ 6761017 h 6858000"/>
              <a:gd name="connsiteX397" fmla="*/ 2200380 w 7467663"/>
              <a:gd name="connsiteY397" fmla="*/ 6858000 h 6858000"/>
              <a:gd name="connsiteX398" fmla="*/ 2147507 w 7467663"/>
              <a:gd name="connsiteY398" fmla="*/ 6858000 h 6858000"/>
              <a:gd name="connsiteX399" fmla="*/ 2070668 w 7467663"/>
              <a:gd name="connsiteY399" fmla="*/ 6761520 h 6858000"/>
              <a:gd name="connsiteX400" fmla="*/ 1975142 w 7467663"/>
              <a:gd name="connsiteY400" fmla="*/ 6585570 h 6858000"/>
              <a:gd name="connsiteX401" fmla="*/ 2050035 w 7467663"/>
              <a:gd name="connsiteY401" fmla="*/ 6813345 h 6858000"/>
              <a:gd name="connsiteX402" fmla="*/ 2063025 w 7467663"/>
              <a:gd name="connsiteY402" fmla="*/ 6858000 h 6858000"/>
              <a:gd name="connsiteX403" fmla="*/ 2021675 w 7467663"/>
              <a:gd name="connsiteY403" fmla="*/ 6858000 h 6858000"/>
              <a:gd name="connsiteX404" fmla="*/ 2019308 w 7467663"/>
              <a:gd name="connsiteY404" fmla="*/ 6847118 h 6858000"/>
              <a:gd name="connsiteX405" fmla="*/ 1938835 w 7467663"/>
              <a:gd name="connsiteY405" fmla="*/ 6551160 h 6858000"/>
              <a:gd name="connsiteX406" fmla="*/ 1953230 w 7467663"/>
              <a:gd name="connsiteY406" fmla="*/ 6759699 h 6858000"/>
              <a:gd name="connsiteX407" fmla="*/ 1956763 w 7467663"/>
              <a:gd name="connsiteY407" fmla="*/ 6778191 h 6858000"/>
              <a:gd name="connsiteX408" fmla="*/ 1967925 w 7467663"/>
              <a:gd name="connsiteY408" fmla="*/ 6858000 h 6858000"/>
              <a:gd name="connsiteX409" fmla="*/ 1936622 w 7467663"/>
              <a:gd name="connsiteY409" fmla="*/ 6858000 h 6858000"/>
              <a:gd name="connsiteX410" fmla="*/ 1926261 w 7467663"/>
              <a:gd name="connsiteY410" fmla="*/ 6784064 h 6858000"/>
              <a:gd name="connsiteX411" fmla="*/ 1922724 w 7467663"/>
              <a:gd name="connsiteY411" fmla="*/ 6765577 h 6858000"/>
              <a:gd name="connsiteX412" fmla="*/ 1904650 w 7467663"/>
              <a:gd name="connsiteY412" fmla="*/ 6639616 h 6858000"/>
              <a:gd name="connsiteX413" fmla="*/ 1885273 w 7467663"/>
              <a:gd name="connsiteY413" fmla="*/ 6858000 h 6858000"/>
              <a:gd name="connsiteX414" fmla="*/ 1854363 w 7467663"/>
              <a:gd name="connsiteY414" fmla="*/ 6858000 h 6858000"/>
              <a:gd name="connsiteX415" fmla="*/ 1880391 w 7467663"/>
              <a:gd name="connsiteY415" fmla="*/ 6603796 h 6858000"/>
              <a:gd name="connsiteX416" fmla="*/ 1818273 w 7467663"/>
              <a:gd name="connsiteY416" fmla="*/ 6715729 h 6858000"/>
              <a:gd name="connsiteX417" fmla="*/ 1794691 w 7467663"/>
              <a:gd name="connsiteY417" fmla="*/ 6843239 h 6858000"/>
              <a:gd name="connsiteX418" fmla="*/ 1794914 w 7467663"/>
              <a:gd name="connsiteY418" fmla="*/ 6858000 h 6858000"/>
              <a:gd name="connsiteX419" fmla="*/ 1746128 w 7467663"/>
              <a:gd name="connsiteY419" fmla="*/ 6858000 h 6858000"/>
              <a:gd name="connsiteX420" fmla="*/ 1753934 w 7467663"/>
              <a:gd name="connsiteY420" fmla="*/ 6724796 h 6858000"/>
              <a:gd name="connsiteX421" fmla="*/ 1792053 w 7467663"/>
              <a:gd name="connsiteY421" fmla="*/ 6572396 h 6858000"/>
              <a:gd name="connsiteX422" fmla="*/ 1862248 w 7467663"/>
              <a:gd name="connsiteY422" fmla="*/ 6266397 h 6858000"/>
              <a:gd name="connsiteX423" fmla="*/ 1862250 w 7467663"/>
              <a:gd name="connsiteY423" fmla="*/ 6033531 h 6858000"/>
              <a:gd name="connsiteX424" fmla="*/ 1211999 w 7467663"/>
              <a:gd name="connsiteY424" fmla="*/ 6683610 h 6858000"/>
              <a:gd name="connsiteX425" fmla="*/ 1213266 w 7467663"/>
              <a:gd name="connsiteY425" fmla="*/ 6691947 h 6858000"/>
              <a:gd name="connsiteX426" fmla="*/ 1203370 w 7467663"/>
              <a:gd name="connsiteY426" fmla="*/ 6850676 h 6858000"/>
              <a:gd name="connsiteX427" fmla="*/ 1203671 w 7467663"/>
              <a:gd name="connsiteY427" fmla="*/ 6858000 h 6858000"/>
              <a:gd name="connsiteX428" fmla="*/ 1143180 w 7467663"/>
              <a:gd name="connsiteY428" fmla="*/ 6858000 h 6858000"/>
              <a:gd name="connsiteX429" fmla="*/ 1142176 w 7467663"/>
              <a:gd name="connsiteY429" fmla="*/ 6766045 h 6858000"/>
              <a:gd name="connsiteX430" fmla="*/ 1067484 w 7467663"/>
              <a:gd name="connsiteY430" fmla="*/ 6858000 h 6858000"/>
              <a:gd name="connsiteX431" fmla="*/ 953928 w 7467663"/>
              <a:gd name="connsiteY431" fmla="*/ 6858000 h 6858000"/>
              <a:gd name="connsiteX432" fmla="*/ 959715 w 7467663"/>
              <a:gd name="connsiteY432" fmla="*/ 6850185 h 6858000"/>
              <a:gd name="connsiteX433" fmla="*/ 1483788 w 7467663"/>
              <a:gd name="connsiteY433" fmla="*/ 6259174 h 6858000"/>
              <a:gd name="connsiteX434" fmla="*/ 1100671 w 7467663"/>
              <a:gd name="connsiteY434" fmla="*/ 6252137 h 6858000"/>
              <a:gd name="connsiteX435" fmla="*/ 1090144 w 7467663"/>
              <a:gd name="connsiteY435" fmla="*/ 6256748 h 6858000"/>
              <a:gd name="connsiteX436" fmla="*/ 1095872 w 7467663"/>
              <a:gd name="connsiteY436" fmla="*/ 6271892 h 6858000"/>
              <a:gd name="connsiteX437" fmla="*/ 262785 w 7467663"/>
              <a:gd name="connsiteY437" fmla="*/ 6845450 h 6858000"/>
              <a:gd name="connsiteX438" fmla="*/ 209968 w 7467663"/>
              <a:gd name="connsiteY438" fmla="*/ 6770713 h 6858000"/>
              <a:gd name="connsiteX439" fmla="*/ 873460 w 7467663"/>
              <a:gd name="connsiteY439" fmla="*/ 6253768 h 6858000"/>
              <a:gd name="connsiteX440" fmla="*/ 192686 w 7467663"/>
              <a:gd name="connsiteY440" fmla="*/ 5849257 h 6858000"/>
              <a:gd name="connsiteX441" fmla="*/ 4696 w 7467663"/>
              <a:gd name="connsiteY441" fmla="*/ 5697668 h 6858000"/>
              <a:gd name="connsiteX442" fmla="*/ 0 w 7467663"/>
              <a:gd name="connsiteY442" fmla="*/ 5689984 h 6858000"/>
              <a:gd name="connsiteX443" fmla="*/ 0 w 7467663"/>
              <a:gd name="connsiteY443" fmla="*/ 5513472 h 6858000"/>
              <a:gd name="connsiteX444" fmla="*/ 174101 w 7467663"/>
              <a:gd name="connsiteY444" fmla="*/ 5620277 h 6858000"/>
              <a:gd name="connsiteX445" fmla="*/ 891800 w 7467663"/>
              <a:gd name="connsiteY445" fmla="*/ 6036935 h 6858000"/>
              <a:gd name="connsiteX446" fmla="*/ 1072219 w 7467663"/>
              <a:gd name="connsiteY446" fmla="*/ 6169443 h 6858000"/>
              <a:gd name="connsiteX447" fmla="*/ 1074117 w 7467663"/>
              <a:gd name="connsiteY447" fmla="*/ 6170301 h 6858000"/>
              <a:gd name="connsiteX448" fmla="*/ 1083114 w 7467663"/>
              <a:gd name="connsiteY448" fmla="*/ 6174131 h 6858000"/>
              <a:gd name="connsiteX449" fmla="*/ 1543010 w 7467663"/>
              <a:gd name="connsiteY449" fmla="*/ 6191140 h 6858000"/>
              <a:gd name="connsiteX450" fmla="*/ 1551080 w 7467663"/>
              <a:gd name="connsiteY450" fmla="*/ 6195006 h 6858000"/>
              <a:gd name="connsiteX451" fmla="*/ 2345443 w 7467663"/>
              <a:gd name="connsiteY451" fmla="*/ 5549882 h 6858000"/>
              <a:gd name="connsiteX452" fmla="*/ 1721499 w 7467663"/>
              <a:gd name="connsiteY452" fmla="*/ 5599969 h 6858000"/>
              <a:gd name="connsiteX453" fmla="*/ 767716 w 7467663"/>
              <a:gd name="connsiteY453" fmla="*/ 5472768 h 6858000"/>
              <a:gd name="connsiteX454" fmla="*/ 722147 w 7467663"/>
              <a:gd name="connsiteY454" fmla="*/ 5393091 h 6858000"/>
              <a:gd name="connsiteX455" fmla="*/ 1485552 w 7467663"/>
              <a:gd name="connsiteY455" fmla="*/ 5313202 h 6858000"/>
              <a:gd name="connsiteX456" fmla="*/ 2143004 w 7467663"/>
              <a:gd name="connsiteY456" fmla="*/ 5402420 h 6858000"/>
              <a:gd name="connsiteX457" fmla="*/ 1933391 w 7467663"/>
              <a:gd name="connsiteY457" fmla="*/ 5156971 h 6858000"/>
              <a:gd name="connsiteX458" fmla="*/ 1827118 w 7467663"/>
              <a:gd name="connsiteY458" fmla="*/ 4968410 h 6858000"/>
              <a:gd name="connsiteX459" fmla="*/ 1837349 w 7467663"/>
              <a:gd name="connsiteY459" fmla="*/ 4956357 h 6858000"/>
              <a:gd name="connsiteX460" fmla="*/ 2162835 w 7467663"/>
              <a:gd name="connsiteY460" fmla="*/ 5187853 h 6858000"/>
              <a:gd name="connsiteX461" fmla="*/ 2257167 w 7467663"/>
              <a:gd name="connsiteY461" fmla="*/ 5462123 h 6858000"/>
              <a:gd name="connsiteX462" fmla="*/ 2261598 w 7467663"/>
              <a:gd name="connsiteY462" fmla="*/ 5467998 h 6858000"/>
              <a:gd name="connsiteX463" fmla="*/ 2437177 w 7467663"/>
              <a:gd name="connsiteY463" fmla="*/ 5479608 h 6858000"/>
              <a:gd name="connsiteX464" fmla="*/ 2445247 w 7467663"/>
              <a:gd name="connsiteY464" fmla="*/ 5483476 h 6858000"/>
              <a:gd name="connsiteX465" fmla="*/ 2743626 w 7467663"/>
              <a:gd name="connsiteY465" fmla="*/ 5304819 h 6858000"/>
              <a:gd name="connsiteX466" fmla="*/ 3048102 w 7467663"/>
              <a:gd name="connsiteY466" fmla="*/ 5150595 h 6858000"/>
              <a:gd name="connsiteX467" fmla="*/ 1799414 w 7467663"/>
              <a:gd name="connsiteY467" fmla="*/ 4694732 h 6858000"/>
              <a:gd name="connsiteX468" fmla="*/ 1771735 w 7467663"/>
              <a:gd name="connsiteY468" fmla="*/ 4619929 h 6858000"/>
              <a:gd name="connsiteX469" fmla="*/ 3104273 w 7467663"/>
              <a:gd name="connsiteY469" fmla="*/ 5076159 h 6858000"/>
              <a:gd name="connsiteX470" fmla="*/ 3113245 w 7467663"/>
              <a:gd name="connsiteY470" fmla="*/ 5090705 h 6858000"/>
              <a:gd name="connsiteX471" fmla="*/ 3126294 w 7467663"/>
              <a:gd name="connsiteY471" fmla="*/ 5114400 h 6858000"/>
              <a:gd name="connsiteX472" fmla="*/ 3937433 w 7467663"/>
              <a:gd name="connsiteY472" fmla="*/ 4830473 h 6858000"/>
              <a:gd name="connsiteX473" fmla="*/ 3590475 w 7467663"/>
              <a:gd name="connsiteY473" fmla="*/ 4597974 h 6858000"/>
              <a:gd name="connsiteX474" fmla="*/ 3100264 w 7467663"/>
              <a:gd name="connsiteY474" fmla="*/ 4579845 h 6858000"/>
              <a:gd name="connsiteX475" fmla="*/ 2183576 w 7467663"/>
              <a:gd name="connsiteY475" fmla="*/ 4227150 h 6858000"/>
              <a:gd name="connsiteX476" fmla="*/ 2151029 w 7467663"/>
              <a:gd name="connsiteY476" fmla="*/ 4146947 h 6858000"/>
              <a:gd name="connsiteX477" fmla="*/ 3563434 w 7467663"/>
              <a:gd name="connsiteY477" fmla="*/ 4469115 h 6858000"/>
              <a:gd name="connsiteX478" fmla="*/ 3177952 w 7467663"/>
              <a:gd name="connsiteY478" fmla="*/ 3657386 h 6858000"/>
              <a:gd name="connsiteX479" fmla="*/ 3189263 w 7467663"/>
              <a:gd name="connsiteY479" fmla="*/ 3625726 h 6858000"/>
              <a:gd name="connsiteX480" fmla="*/ 3560912 w 7467663"/>
              <a:gd name="connsiteY480" fmla="*/ 4079863 h 6858000"/>
              <a:gd name="connsiteX481" fmla="*/ 3626636 w 7467663"/>
              <a:gd name="connsiteY481" fmla="*/ 4512230 h 6858000"/>
              <a:gd name="connsiteX482" fmla="*/ 3653088 w 7467663"/>
              <a:gd name="connsiteY482" fmla="*/ 4521417 h 6858000"/>
              <a:gd name="connsiteX483" fmla="*/ 3988128 w 7467663"/>
              <a:gd name="connsiteY483" fmla="*/ 4817267 h 6858000"/>
              <a:gd name="connsiteX484" fmla="*/ 4830582 w 7467663"/>
              <a:gd name="connsiteY484" fmla="*/ 4676000 h 6858000"/>
              <a:gd name="connsiteX485" fmla="*/ 4830100 w 7467663"/>
              <a:gd name="connsiteY485" fmla="*/ 4675554 h 6858000"/>
              <a:gd name="connsiteX486" fmla="*/ 4036318 w 7467663"/>
              <a:gd name="connsiteY486" fmla="*/ 4147013 h 6858000"/>
              <a:gd name="connsiteX487" fmla="*/ 3432098 w 7467663"/>
              <a:gd name="connsiteY487" fmla="*/ 3537312 h 6858000"/>
              <a:gd name="connsiteX488" fmla="*/ 3446761 w 7467663"/>
              <a:gd name="connsiteY488" fmla="*/ 3461278 h 6858000"/>
              <a:gd name="connsiteX489" fmla="*/ 4419733 w 7467663"/>
              <a:gd name="connsiteY489" fmla="*/ 3963555 h 6858000"/>
              <a:gd name="connsiteX490" fmla="*/ 4781371 w 7467663"/>
              <a:gd name="connsiteY490" fmla="*/ 4458604 h 6858000"/>
              <a:gd name="connsiteX491" fmla="*/ 4780440 w 7467663"/>
              <a:gd name="connsiteY491" fmla="*/ 4470290 h 6858000"/>
              <a:gd name="connsiteX492" fmla="*/ 4898954 w 7467663"/>
              <a:gd name="connsiteY492" fmla="*/ 4662092 h 6858000"/>
              <a:gd name="connsiteX493" fmla="*/ 4900699 w 7467663"/>
              <a:gd name="connsiteY493" fmla="*/ 4670867 h 6858000"/>
              <a:gd name="connsiteX494" fmla="*/ 5714511 w 7467663"/>
              <a:gd name="connsiteY494" fmla="*/ 4663483 h 6858000"/>
              <a:gd name="connsiteX495" fmla="*/ 5464793 w 7467663"/>
              <a:gd name="connsiteY495" fmla="*/ 4393556 h 6858000"/>
              <a:gd name="connsiteX496" fmla="*/ 5461897 w 7467663"/>
              <a:gd name="connsiteY496" fmla="*/ 4390879 h 6858000"/>
              <a:gd name="connsiteX497" fmla="*/ 4294126 w 7467663"/>
              <a:gd name="connsiteY497" fmla="*/ 3303048 h 6858000"/>
              <a:gd name="connsiteX498" fmla="*/ 4305321 w 7467663"/>
              <a:gd name="connsiteY498" fmla="*/ 3256953 h 6858000"/>
              <a:gd name="connsiteX499" fmla="*/ 4949299 w 7467663"/>
              <a:gd name="connsiteY499" fmla="*/ 3766336 h 6858000"/>
              <a:gd name="connsiteX500" fmla="*/ 5291452 w 7467663"/>
              <a:gd name="connsiteY500" fmla="*/ 4076801 h 6858000"/>
              <a:gd name="connsiteX501" fmla="*/ 5434998 w 7467663"/>
              <a:gd name="connsiteY501" fmla="*/ 4254100 h 6858000"/>
              <a:gd name="connsiteX502" fmla="*/ 5351015 w 7467663"/>
              <a:gd name="connsiteY502" fmla="*/ 3760989 h 6858000"/>
              <a:gd name="connsiteX503" fmla="*/ 5413780 w 7467663"/>
              <a:gd name="connsiteY503" fmla="*/ 2966265 h 6858000"/>
              <a:gd name="connsiteX504" fmla="*/ 5425627 w 7467663"/>
              <a:gd name="connsiteY504" fmla="*/ 2954192 h 6858000"/>
              <a:gd name="connsiteX505" fmla="*/ 6604735 w 7467663"/>
              <a:gd name="connsiteY505" fmla="*/ 2041381 h 6858000"/>
              <a:gd name="connsiteX506" fmla="*/ 7204487 w 7467663"/>
              <a:gd name="connsiteY506" fmla="*/ 2742112 h 6858000"/>
              <a:gd name="connsiteX507" fmla="*/ 7131592 w 7467663"/>
              <a:gd name="connsiteY507" fmla="*/ 2672096 h 6858000"/>
              <a:gd name="connsiteX508" fmla="*/ 6996344 w 7467663"/>
              <a:gd name="connsiteY508" fmla="*/ 2518310 h 6858000"/>
              <a:gd name="connsiteX509" fmla="*/ 6735495 w 7467663"/>
              <a:gd name="connsiteY509" fmla="*/ 2196890 h 6858000"/>
              <a:gd name="connsiteX510" fmla="*/ 6721901 w 7467663"/>
              <a:gd name="connsiteY510" fmla="*/ 2179274 h 6858000"/>
              <a:gd name="connsiteX511" fmla="*/ 6604735 w 7467663"/>
              <a:gd name="connsiteY511" fmla="*/ 2041381 h 6858000"/>
              <a:gd name="connsiteX512" fmla="*/ 6591670 w 7467663"/>
              <a:gd name="connsiteY512" fmla="*/ 1988277 h 6858000"/>
              <a:gd name="connsiteX513" fmla="*/ 6747349 w 7467663"/>
              <a:gd name="connsiteY513" fmla="*/ 2160069 h 6858000"/>
              <a:gd name="connsiteX514" fmla="*/ 6760943 w 7467663"/>
              <a:gd name="connsiteY514" fmla="*/ 2177686 h 6858000"/>
              <a:gd name="connsiteX515" fmla="*/ 7021065 w 7467663"/>
              <a:gd name="connsiteY515" fmla="*/ 2498102 h 6858000"/>
              <a:gd name="connsiteX516" fmla="*/ 7155223 w 7467663"/>
              <a:gd name="connsiteY516" fmla="*/ 2650386 h 6858000"/>
              <a:gd name="connsiteX517" fmla="*/ 7203167 w 7467663"/>
              <a:gd name="connsiteY517" fmla="*/ 2697288 h 6858000"/>
              <a:gd name="connsiteX518" fmla="*/ 6937703 w 7467663"/>
              <a:gd name="connsiteY518" fmla="*/ 2321981 h 6858000"/>
              <a:gd name="connsiteX519" fmla="*/ 6591670 w 7467663"/>
              <a:gd name="connsiteY519" fmla="*/ 1988277 h 6858000"/>
              <a:gd name="connsiteX520" fmla="*/ 5798671 w 7467663"/>
              <a:gd name="connsiteY520" fmla="*/ 1981601 h 6858000"/>
              <a:gd name="connsiteX521" fmla="*/ 5754709 w 7467663"/>
              <a:gd name="connsiteY521" fmla="*/ 2071454 h 6858000"/>
              <a:gd name="connsiteX522" fmla="*/ 5763044 w 7467663"/>
              <a:gd name="connsiteY522" fmla="*/ 2842206 h 6858000"/>
              <a:gd name="connsiteX523" fmla="*/ 5764974 w 7467663"/>
              <a:gd name="connsiteY523" fmla="*/ 2799609 h 6858000"/>
              <a:gd name="connsiteX524" fmla="*/ 5767665 w 7467663"/>
              <a:gd name="connsiteY524" fmla="*/ 2666409 h 6858000"/>
              <a:gd name="connsiteX525" fmla="*/ 5763055 w 7467663"/>
              <a:gd name="connsiteY525" fmla="*/ 2579705 h 6858000"/>
              <a:gd name="connsiteX526" fmla="*/ 5758079 w 7467663"/>
              <a:gd name="connsiteY526" fmla="*/ 2492508 h 6858000"/>
              <a:gd name="connsiteX527" fmla="*/ 5779325 w 7467663"/>
              <a:gd name="connsiteY527" fmla="*/ 2197069 h 6858000"/>
              <a:gd name="connsiteX528" fmla="*/ 5798671 w 7467663"/>
              <a:gd name="connsiteY528" fmla="*/ 1981601 h 6858000"/>
              <a:gd name="connsiteX529" fmla="*/ 5829202 w 7467663"/>
              <a:gd name="connsiteY529" fmla="*/ 1971679 h 6858000"/>
              <a:gd name="connsiteX530" fmla="*/ 5809558 w 7467663"/>
              <a:gd name="connsiteY530" fmla="*/ 2198043 h 6858000"/>
              <a:gd name="connsiteX531" fmla="*/ 5788653 w 7467663"/>
              <a:gd name="connsiteY531" fmla="*/ 2489430 h 6858000"/>
              <a:gd name="connsiteX532" fmla="*/ 5793439 w 7467663"/>
              <a:gd name="connsiteY532" fmla="*/ 2575235 h 6858000"/>
              <a:gd name="connsiteX533" fmla="*/ 5796837 w 7467663"/>
              <a:gd name="connsiteY533" fmla="*/ 2637633 h 6858000"/>
              <a:gd name="connsiteX534" fmla="*/ 5818614 w 7467663"/>
              <a:gd name="connsiteY534" fmla="*/ 2473055 h 6858000"/>
              <a:gd name="connsiteX535" fmla="*/ 5829202 w 7467663"/>
              <a:gd name="connsiteY535" fmla="*/ 1971679 h 6858000"/>
              <a:gd name="connsiteX536" fmla="*/ 5911389 w 7467663"/>
              <a:gd name="connsiteY536" fmla="*/ 1898371 h 6858000"/>
              <a:gd name="connsiteX537" fmla="*/ 6237627 w 7467663"/>
              <a:gd name="connsiteY537" fmla="*/ 2231921 h 6858000"/>
              <a:gd name="connsiteX538" fmla="*/ 5911389 w 7467663"/>
              <a:gd name="connsiteY538" fmla="*/ 1898371 h 6858000"/>
              <a:gd name="connsiteX539" fmla="*/ 6944437 w 7467663"/>
              <a:gd name="connsiteY539" fmla="*/ 1575402 h 6858000"/>
              <a:gd name="connsiteX540" fmla="*/ 6304730 w 7467663"/>
              <a:gd name="connsiteY540" fmla="*/ 1766654 h 6858000"/>
              <a:gd name="connsiteX541" fmla="*/ 6944437 w 7467663"/>
              <a:gd name="connsiteY541" fmla="*/ 1575402 h 6858000"/>
              <a:gd name="connsiteX542" fmla="*/ 7019523 w 7467663"/>
              <a:gd name="connsiteY542" fmla="*/ 1519450 h 6858000"/>
              <a:gd name="connsiteX543" fmla="*/ 6298091 w 7467663"/>
              <a:gd name="connsiteY543" fmla="*/ 1737122 h 6858000"/>
              <a:gd name="connsiteX544" fmla="*/ 7019523 w 7467663"/>
              <a:gd name="connsiteY544" fmla="*/ 1519450 h 6858000"/>
              <a:gd name="connsiteX545" fmla="*/ 2399523 w 7467663"/>
              <a:gd name="connsiteY545" fmla="*/ 1428234 h 6858000"/>
              <a:gd name="connsiteX546" fmla="*/ 2224982 w 7467663"/>
              <a:gd name="connsiteY546" fmla="*/ 1826201 h 6858000"/>
              <a:gd name="connsiteX547" fmla="*/ 2096099 w 7467663"/>
              <a:gd name="connsiteY547" fmla="*/ 2345900 h 6858000"/>
              <a:gd name="connsiteX548" fmla="*/ 2283317 w 7467663"/>
              <a:gd name="connsiteY548" fmla="*/ 1796925 h 6858000"/>
              <a:gd name="connsiteX549" fmla="*/ 2399523 w 7467663"/>
              <a:gd name="connsiteY549" fmla="*/ 1428234 h 6858000"/>
              <a:gd name="connsiteX550" fmla="*/ 2448558 w 7467663"/>
              <a:gd name="connsiteY550" fmla="*/ 1373435 h 6858000"/>
              <a:gd name="connsiteX551" fmla="*/ 2312521 w 7467663"/>
              <a:gd name="connsiteY551" fmla="*/ 1806140 h 6858000"/>
              <a:gd name="connsiteX552" fmla="*/ 2127533 w 7467663"/>
              <a:gd name="connsiteY552" fmla="*/ 2348380 h 6858000"/>
              <a:gd name="connsiteX553" fmla="*/ 2358080 w 7467663"/>
              <a:gd name="connsiteY553" fmla="*/ 1866134 h 6858000"/>
              <a:gd name="connsiteX554" fmla="*/ 2407436 w 7467663"/>
              <a:gd name="connsiteY554" fmla="*/ 1651070 h 6858000"/>
              <a:gd name="connsiteX555" fmla="*/ 2448558 w 7467663"/>
              <a:gd name="connsiteY555" fmla="*/ 1373435 h 6858000"/>
              <a:gd name="connsiteX556" fmla="*/ 278707 w 7467663"/>
              <a:gd name="connsiteY556" fmla="*/ 1352270 h 6858000"/>
              <a:gd name="connsiteX557" fmla="*/ 321570 w 7467663"/>
              <a:gd name="connsiteY557" fmla="*/ 1861610 h 6858000"/>
              <a:gd name="connsiteX558" fmla="*/ 294281 w 7467663"/>
              <a:gd name="connsiteY558" fmla="*/ 1440658 h 6858000"/>
              <a:gd name="connsiteX559" fmla="*/ 278707 w 7467663"/>
              <a:gd name="connsiteY559" fmla="*/ 1352270 h 6858000"/>
              <a:gd name="connsiteX560" fmla="*/ 1423821 w 7467663"/>
              <a:gd name="connsiteY560" fmla="*/ 1351958 h 6858000"/>
              <a:gd name="connsiteX561" fmla="*/ 1638521 w 7467663"/>
              <a:gd name="connsiteY561" fmla="*/ 1908470 h 6858000"/>
              <a:gd name="connsiteX562" fmla="*/ 1754199 w 7467663"/>
              <a:gd name="connsiteY562" fmla="*/ 2149284 h 6858000"/>
              <a:gd name="connsiteX563" fmla="*/ 1908359 w 7467663"/>
              <a:gd name="connsiteY563" fmla="*/ 2364988 h 6858000"/>
              <a:gd name="connsiteX564" fmla="*/ 1647661 w 7467663"/>
              <a:gd name="connsiteY564" fmla="*/ 1825945 h 6858000"/>
              <a:gd name="connsiteX565" fmla="*/ 1423821 w 7467663"/>
              <a:gd name="connsiteY565" fmla="*/ 1351958 h 6858000"/>
              <a:gd name="connsiteX566" fmla="*/ 1431890 w 7467663"/>
              <a:gd name="connsiteY566" fmla="*/ 1306475 h 6858000"/>
              <a:gd name="connsiteX567" fmla="*/ 1507597 w 7467663"/>
              <a:gd name="connsiteY567" fmla="*/ 1446132 h 6858000"/>
              <a:gd name="connsiteX568" fmla="*/ 1674586 w 7467663"/>
              <a:gd name="connsiteY568" fmla="*/ 1813832 h 6858000"/>
              <a:gd name="connsiteX569" fmla="*/ 1815950 w 7467663"/>
              <a:gd name="connsiteY569" fmla="*/ 2128564 h 6858000"/>
              <a:gd name="connsiteX570" fmla="*/ 1984242 w 7467663"/>
              <a:gd name="connsiteY570" fmla="*/ 2430829 h 6858000"/>
              <a:gd name="connsiteX571" fmla="*/ 2014023 w 7467663"/>
              <a:gd name="connsiteY571" fmla="*/ 2450995 h 6858000"/>
              <a:gd name="connsiteX572" fmla="*/ 1747337 w 7467663"/>
              <a:gd name="connsiteY572" fmla="*/ 1855264 h 6858000"/>
              <a:gd name="connsiteX573" fmla="*/ 1533749 w 7467663"/>
              <a:gd name="connsiteY573" fmla="*/ 1478656 h 6858000"/>
              <a:gd name="connsiteX574" fmla="*/ 1431890 w 7467663"/>
              <a:gd name="connsiteY574" fmla="*/ 1306475 h 6858000"/>
              <a:gd name="connsiteX575" fmla="*/ 5052692 w 7467663"/>
              <a:gd name="connsiteY575" fmla="*/ 1292994 h 6858000"/>
              <a:gd name="connsiteX576" fmla="*/ 5200661 w 7467663"/>
              <a:gd name="connsiteY576" fmla="*/ 1635186 h 6858000"/>
              <a:gd name="connsiteX577" fmla="*/ 5297138 w 7467663"/>
              <a:gd name="connsiteY577" fmla="*/ 1906351 h 6858000"/>
              <a:gd name="connsiteX578" fmla="*/ 5052692 w 7467663"/>
              <a:gd name="connsiteY578" fmla="*/ 1292994 h 6858000"/>
              <a:gd name="connsiteX579" fmla="*/ 5009948 w 7467663"/>
              <a:gd name="connsiteY579" fmla="*/ 1273619 h 6858000"/>
              <a:gd name="connsiteX580" fmla="*/ 5121777 w 7467663"/>
              <a:gd name="connsiteY580" fmla="*/ 1654213 h 6858000"/>
              <a:gd name="connsiteX581" fmla="*/ 5293545 w 7467663"/>
              <a:gd name="connsiteY581" fmla="*/ 2072247 h 6858000"/>
              <a:gd name="connsiteX582" fmla="*/ 5294042 w 7467663"/>
              <a:gd name="connsiteY582" fmla="*/ 2065019 h 6858000"/>
              <a:gd name="connsiteX583" fmla="*/ 5171936 w 7467663"/>
              <a:gd name="connsiteY583" fmla="*/ 1647613 h 6858000"/>
              <a:gd name="connsiteX584" fmla="*/ 5009948 w 7467663"/>
              <a:gd name="connsiteY584" fmla="*/ 1273619 h 6858000"/>
              <a:gd name="connsiteX585" fmla="*/ 655236 w 7467663"/>
              <a:gd name="connsiteY585" fmla="*/ 1268632 h 6858000"/>
              <a:gd name="connsiteX586" fmla="*/ 839521 w 7467663"/>
              <a:gd name="connsiteY586" fmla="*/ 1685315 h 6858000"/>
              <a:gd name="connsiteX587" fmla="*/ 1109416 w 7467663"/>
              <a:gd name="connsiteY587" fmla="*/ 2061663 h 6858000"/>
              <a:gd name="connsiteX588" fmla="*/ 1298300 w 7467663"/>
              <a:gd name="connsiteY588" fmla="*/ 2247742 h 6858000"/>
              <a:gd name="connsiteX589" fmla="*/ 1125871 w 7467663"/>
              <a:gd name="connsiteY589" fmla="*/ 1989513 h 6858000"/>
              <a:gd name="connsiteX590" fmla="*/ 981574 w 7467663"/>
              <a:gd name="connsiteY590" fmla="*/ 1783157 h 6858000"/>
              <a:gd name="connsiteX591" fmla="*/ 922198 w 7467663"/>
              <a:gd name="connsiteY591" fmla="*/ 1677437 h 6858000"/>
              <a:gd name="connsiteX592" fmla="*/ 869293 w 7467663"/>
              <a:gd name="connsiteY592" fmla="*/ 1583214 h 6858000"/>
              <a:gd name="connsiteX593" fmla="*/ 751431 w 7467663"/>
              <a:gd name="connsiteY593" fmla="*/ 1405731 h 6858000"/>
              <a:gd name="connsiteX594" fmla="*/ 655236 w 7467663"/>
              <a:gd name="connsiteY594" fmla="*/ 1268632 h 6858000"/>
              <a:gd name="connsiteX595" fmla="*/ 6516292 w 7467663"/>
              <a:gd name="connsiteY595" fmla="*/ 1263064 h 6858000"/>
              <a:gd name="connsiteX596" fmla="*/ 5736320 w 7467663"/>
              <a:gd name="connsiteY596" fmla="*/ 1501803 h 6858000"/>
              <a:gd name="connsiteX597" fmla="*/ 6516292 w 7467663"/>
              <a:gd name="connsiteY597" fmla="*/ 1263064 h 6858000"/>
              <a:gd name="connsiteX598" fmla="*/ 291466 w 7467663"/>
              <a:gd name="connsiteY598" fmla="*/ 1250369 h 6858000"/>
              <a:gd name="connsiteX599" fmla="*/ 323180 w 7467663"/>
              <a:gd name="connsiteY599" fmla="*/ 1435283 h 6858000"/>
              <a:gd name="connsiteX600" fmla="*/ 349381 w 7467663"/>
              <a:gd name="connsiteY600" fmla="*/ 1875041 h 6858000"/>
              <a:gd name="connsiteX601" fmla="*/ 374363 w 7467663"/>
              <a:gd name="connsiteY601" fmla="*/ 1506494 h 6858000"/>
              <a:gd name="connsiteX602" fmla="*/ 302168 w 7467663"/>
              <a:gd name="connsiteY602" fmla="*/ 1274495 h 6858000"/>
              <a:gd name="connsiteX603" fmla="*/ 291466 w 7467663"/>
              <a:gd name="connsiteY603" fmla="*/ 1250369 h 6858000"/>
              <a:gd name="connsiteX604" fmla="*/ 678222 w 7467663"/>
              <a:gd name="connsiteY604" fmla="*/ 1248670 h 6858000"/>
              <a:gd name="connsiteX605" fmla="*/ 775536 w 7467663"/>
              <a:gd name="connsiteY605" fmla="*/ 1388015 h 6858000"/>
              <a:gd name="connsiteX606" fmla="*/ 894529 w 7467663"/>
              <a:gd name="connsiteY606" fmla="*/ 1567739 h 6858000"/>
              <a:gd name="connsiteX607" fmla="*/ 948000 w 7467663"/>
              <a:gd name="connsiteY607" fmla="*/ 1663088 h 6858000"/>
              <a:gd name="connsiteX608" fmla="*/ 1006812 w 7467663"/>
              <a:gd name="connsiteY608" fmla="*/ 1767683 h 6858000"/>
              <a:gd name="connsiteX609" fmla="*/ 1149133 w 7467663"/>
              <a:gd name="connsiteY609" fmla="*/ 1971513 h 6858000"/>
              <a:gd name="connsiteX610" fmla="*/ 1333952 w 7467663"/>
              <a:gd name="connsiteY610" fmla="*/ 2251620 h 6858000"/>
              <a:gd name="connsiteX611" fmla="*/ 1337329 w 7467663"/>
              <a:gd name="connsiteY611" fmla="*/ 2258350 h 6858000"/>
              <a:gd name="connsiteX612" fmla="*/ 1014726 w 7467663"/>
              <a:gd name="connsiteY612" fmla="*/ 1615556 h 6858000"/>
              <a:gd name="connsiteX613" fmla="*/ 678222 w 7467663"/>
              <a:gd name="connsiteY613" fmla="*/ 1248670 h 6858000"/>
              <a:gd name="connsiteX614" fmla="*/ 6691602 w 7467663"/>
              <a:gd name="connsiteY614" fmla="*/ 1140573 h 6858000"/>
              <a:gd name="connsiteX615" fmla="*/ 6571100 w 7467663"/>
              <a:gd name="connsiteY615" fmla="*/ 1183662 h 6858000"/>
              <a:gd name="connsiteX616" fmla="*/ 6241687 w 7467663"/>
              <a:gd name="connsiteY616" fmla="*/ 1257600 h 6858000"/>
              <a:gd name="connsiteX617" fmla="*/ 5693009 w 7467663"/>
              <a:gd name="connsiteY617" fmla="*/ 1478256 h 6858000"/>
              <a:gd name="connsiteX618" fmla="*/ 6548420 w 7467663"/>
              <a:gd name="connsiteY618" fmla="*/ 1214599 h 6858000"/>
              <a:gd name="connsiteX619" fmla="*/ 6605473 w 7467663"/>
              <a:gd name="connsiteY619" fmla="*/ 1184686 h 6858000"/>
              <a:gd name="connsiteX620" fmla="*/ 6691602 w 7467663"/>
              <a:gd name="connsiteY620" fmla="*/ 1140573 h 6858000"/>
              <a:gd name="connsiteX621" fmla="*/ 4002475 w 7467663"/>
              <a:gd name="connsiteY621" fmla="*/ 1037802 h 6858000"/>
              <a:gd name="connsiteX622" fmla="*/ 4000324 w 7467663"/>
              <a:gd name="connsiteY622" fmla="*/ 1039362 h 6858000"/>
              <a:gd name="connsiteX623" fmla="*/ 4002862 w 7467663"/>
              <a:gd name="connsiteY623" fmla="*/ 1042866 h 6858000"/>
              <a:gd name="connsiteX624" fmla="*/ 4002475 w 7467663"/>
              <a:gd name="connsiteY624" fmla="*/ 1037802 h 6858000"/>
              <a:gd name="connsiteX625" fmla="*/ 506322 w 7467663"/>
              <a:gd name="connsiteY625" fmla="*/ 1020997 h 6858000"/>
              <a:gd name="connsiteX626" fmla="*/ 533068 w 7467663"/>
              <a:gd name="connsiteY626" fmla="*/ 1029409 h 6858000"/>
              <a:gd name="connsiteX627" fmla="*/ 1232525 w 7467663"/>
              <a:gd name="connsiteY627" fmla="*/ 1804675 h 6858000"/>
              <a:gd name="connsiteX628" fmla="*/ 1388858 w 7467663"/>
              <a:gd name="connsiteY628" fmla="*/ 2368011 h 6858000"/>
              <a:gd name="connsiteX629" fmla="*/ 1384098 w 7467663"/>
              <a:gd name="connsiteY629" fmla="*/ 2378125 h 6858000"/>
              <a:gd name="connsiteX630" fmla="*/ 1425393 w 7467663"/>
              <a:gd name="connsiteY630" fmla="*/ 2589124 h 6858000"/>
              <a:gd name="connsiteX631" fmla="*/ 1424001 w 7467663"/>
              <a:gd name="connsiteY631" fmla="*/ 2597541 h 6858000"/>
              <a:gd name="connsiteX632" fmla="*/ 2152729 w 7467663"/>
              <a:gd name="connsiteY632" fmla="*/ 2864487 h 6858000"/>
              <a:gd name="connsiteX633" fmla="*/ 2020609 w 7467663"/>
              <a:gd name="connsiteY633" fmla="*/ 2539671 h 6858000"/>
              <a:gd name="connsiteX634" fmla="*/ 2018920 w 7467663"/>
              <a:gd name="connsiteY634" fmla="*/ 2536309 h 6858000"/>
              <a:gd name="connsiteX635" fmla="*/ 1342441 w 7467663"/>
              <a:gd name="connsiteY635" fmla="*/ 1173017 h 6858000"/>
              <a:gd name="connsiteX636" fmla="*/ 1367925 w 7467663"/>
              <a:gd name="connsiteY636" fmla="*/ 1135648 h 6858000"/>
              <a:gd name="connsiteX637" fmla="*/ 1771401 w 7467663"/>
              <a:gd name="connsiteY637" fmla="*/ 1806673 h 6858000"/>
              <a:gd name="connsiteX638" fmla="*/ 1972385 w 7467663"/>
              <a:gd name="connsiteY638" fmla="*/ 2198735 h 6858000"/>
              <a:gd name="connsiteX639" fmla="*/ 2040892 w 7467663"/>
              <a:gd name="connsiteY639" fmla="*/ 2405205 h 6858000"/>
              <a:gd name="connsiteX640" fmla="*/ 2131689 w 7467663"/>
              <a:gd name="connsiteY640" fmla="*/ 1936926 h 6858000"/>
              <a:gd name="connsiteX641" fmla="*/ 2454820 w 7467663"/>
              <a:gd name="connsiteY641" fmla="*/ 1248808 h 6858000"/>
              <a:gd name="connsiteX642" fmla="*/ 2492512 w 7467663"/>
              <a:gd name="connsiteY642" fmla="*/ 1302920 h 6858000"/>
              <a:gd name="connsiteX643" fmla="*/ 2081216 w 7467663"/>
              <a:gd name="connsiteY643" fmla="*/ 2527513 h 6858000"/>
              <a:gd name="connsiteX644" fmla="*/ 2081211 w 7467663"/>
              <a:gd name="connsiteY644" fmla="*/ 2528916 h 6858000"/>
              <a:gd name="connsiteX645" fmla="*/ 2199067 w 7467663"/>
              <a:gd name="connsiteY645" fmla="*/ 2884061 h 6858000"/>
              <a:gd name="connsiteX646" fmla="*/ 3192586 w 7467663"/>
              <a:gd name="connsiteY646" fmla="*/ 3411496 h 6858000"/>
              <a:gd name="connsiteX647" fmla="*/ 3182620 w 7467663"/>
              <a:gd name="connsiteY647" fmla="*/ 3483279 h 6858000"/>
              <a:gd name="connsiteX648" fmla="*/ 2435119 w 7467663"/>
              <a:gd name="connsiteY648" fmla="*/ 3080173 h 6858000"/>
              <a:gd name="connsiteX649" fmla="*/ 2410152 w 7467663"/>
              <a:gd name="connsiteY649" fmla="*/ 3063751 h 6858000"/>
              <a:gd name="connsiteX650" fmla="*/ 2408099 w 7467663"/>
              <a:gd name="connsiteY650" fmla="*/ 3064403 h 6858000"/>
              <a:gd name="connsiteX651" fmla="*/ 2407218 w 7467663"/>
              <a:gd name="connsiteY651" fmla="*/ 3070324 h 6858000"/>
              <a:gd name="connsiteX652" fmla="*/ 2380138 w 7467663"/>
              <a:gd name="connsiteY652" fmla="*/ 3099341 h 6858000"/>
              <a:gd name="connsiteX653" fmla="*/ 1765923 w 7467663"/>
              <a:gd name="connsiteY653" fmla="*/ 3581043 h 6858000"/>
              <a:gd name="connsiteX654" fmla="*/ 1702258 w 7467663"/>
              <a:gd name="connsiteY654" fmla="*/ 3612286 h 6858000"/>
              <a:gd name="connsiteX655" fmla="*/ 1538370 w 7467663"/>
              <a:gd name="connsiteY655" fmla="*/ 3811804 h 6858000"/>
              <a:gd name="connsiteX656" fmla="*/ 542867 w 7467663"/>
              <a:gd name="connsiteY656" fmla="*/ 4944092 h 6858000"/>
              <a:gd name="connsiteX657" fmla="*/ 515800 w 7467663"/>
              <a:gd name="connsiteY657" fmla="*/ 4862180 h 6858000"/>
              <a:gd name="connsiteX658" fmla="*/ 909145 w 7467663"/>
              <a:gd name="connsiteY658" fmla="*/ 4199225 h 6858000"/>
              <a:gd name="connsiteX659" fmla="*/ 1214067 w 7467663"/>
              <a:gd name="connsiteY659" fmla="*/ 3908561 h 6858000"/>
              <a:gd name="connsiteX660" fmla="*/ 640967 w 7467663"/>
              <a:gd name="connsiteY660" fmla="*/ 4105601 h 6858000"/>
              <a:gd name="connsiteX661" fmla="*/ 112563 w 7467663"/>
              <a:gd name="connsiteY661" fmla="*/ 4396952 h 6858000"/>
              <a:gd name="connsiteX662" fmla="*/ 0 w 7467663"/>
              <a:gd name="connsiteY662" fmla="*/ 4466006 h 6858000"/>
              <a:gd name="connsiteX663" fmla="*/ 0 w 7467663"/>
              <a:gd name="connsiteY663" fmla="*/ 4233763 h 6858000"/>
              <a:gd name="connsiteX664" fmla="*/ 36881 w 7467663"/>
              <a:gd name="connsiteY664" fmla="*/ 4200118 h 6858000"/>
              <a:gd name="connsiteX665" fmla="*/ 910534 w 7467663"/>
              <a:gd name="connsiteY665" fmla="*/ 3629753 h 6858000"/>
              <a:gd name="connsiteX666" fmla="*/ 1578717 w 7467663"/>
              <a:gd name="connsiteY666" fmla="*/ 3575982 h 6858000"/>
              <a:gd name="connsiteX667" fmla="*/ 2338780 w 7467663"/>
              <a:gd name="connsiteY667" fmla="*/ 3033725 h 6858000"/>
              <a:gd name="connsiteX668" fmla="*/ 1807991 w 7467663"/>
              <a:gd name="connsiteY668" fmla="*/ 2807184 h 6858000"/>
              <a:gd name="connsiteX669" fmla="*/ 1416358 w 7467663"/>
              <a:gd name="connsiteY669" fmla="*/ 3112571 h 6858000"/>
              <a:gd name="connsiteX670" fmla="*/ 939066 w 7467663"/>
              <a:gd name="connsiteY670" fmla="*/ 3378798 h 6858000"/>
              <a:gd name="connsiteX671" fmla="*/ 115099 w 7467663"/>
              <a:gd name="connsiteY671" fmla="*/ 3607650 h 6858000"/>
              <a:gd name="connsiteX672" fmla="*/ 97284 w 7467663"/>
              <a:gd name="connsiteY672" fmla="*/ 3520393 h 6858000"/>
              <a:gd name="connsiteX673" fmla="*/ 922050 w 7467663"/>
              <a:gd name="connsiteY673" fmla="*/ 3074867 h 6858000"/>
              <a:gd name="connsiteX674" fmla="*/ 1405265 w 7467663"/>
              <a:gd name="connsiteY674" fmla="*/ 3016319 h 6858000"/>
              <a:gd name="connsiteX675" fmla="*/ 1407512 w 7467663"/>
              <a:gd name="connsiteY675" fmla="*/ 3018001 h 6858000"/>
              <a:gd name="connsiteX676" fmla="*/ 1726266 w 7467663"/>
              <a:gd name="connsiteY676" fmla="*/ 2777274 h 6858000"/>
              <a:gd name="connsiteX677" fmla="*/ 625390 w 7467663"/>
              <a:gd name="connsiteY677" fmla="*/ 2514541 h 6858000"/>
              <a:gd name="connsiteX678" fmla="*/ 619799 w 7467663"/>
              <a:gd name="connsiteY678" fmla="*/ 2527180 h 6858000"/>
              <a:gd name="connsiteX679" fmla="*/ 310030 w 7467663"/>
              <a:gd name="connsiteY679" fmla="*/ 2771818 h 6858000"/>
              <a:gd name="connsiteX680" fmla="*/ 173877 w 7467663"/>
              <a:gd name="connsiteY680" fmla="*/ 2937056 h 6858000"/>
              <a:gd name="connsiteX681" fmla="*/ 77889 w 7467663"/>
              <a:gd name="connsiteY681" fmla="*/ 3138440 h 6858000"/>
              <a:gd name="connsiteX682" fmla="*/ 0 w 7467663"/>
              <a:gd name="connsiteY682" fmla="*/ 3271395 h 6858000"/>
              <a:gd name="connsiteX683" fmla="*/ 0 w 7467663"/>
              <a:gd name="connsiteY683" fmla="*/ 3153002 h 6858000"/>
              <a:gd name="connsiteX684" fmla="*/ 2386 w 7467663"/>
              <a:gd name="connsiteY684" fmla="*/ 3149203 h 6858000"/>
              <a:gd name="connsiteX685" fmla="*/ 89753 w 7467663"/>
              <a:gd name="connsiteY685" fmla="*/ 2987702 h 6858000"/>
              <a:gd name="connsiteX686" fmla="*/ 76869 w 7467663"/>
              <a:gd name="connsiteY686" fmla="*/ 3005404 h 6858000"/>
              <a:gd name="connsiteX687" fmla="*/ 32049 w 7467663"/>
              <a:gd name="connsiteY687" fmla="*/ 3065814 h 6858000"/>
              <a:gd name="connsiteX688" fmla="*/ 0 w 7467663"/>
              <a:gd name="connsiteY688" fmla="*/ 3108744 h 6858000"/>
              <a:gd name="connsiteX689" fmla="*/ 0 w 7467663"/>
              <a:gd name="connsiteY689" fmla="*/ 3058059 h 6858000"/>
              <a:gd name="connsiteX690" fmla="*/ 7610 w 7467663"/>
              <a:gd name="connsiteY690" fmla="*/ 3047889 h 6858000"/>
              <a:gd name="connsiteX691" fmla="*/ 52419 w 7467663"/>
              <a:gd name="connsiteY691" fmla="*/ 2987479 h 6858000"/>
              <a:gd name="connsiteX692" fmla="*/ 59142 w 7467663"/>
              <a:gd name="connsiteY692" fmla="*/ 2978488 h 6858000"/>
              <a:gd name="connsiteX693" fmla="*/ 0 w 7467663"/>
              <a:gd name="connsiteY693" fmla="*/ 3015334 h 6858000"/>
              <a:gd name="connsiteX694" fmla="*/ 0 w 7467663"/>
              <a:gd name="connsiteY694" fmla="*/ 2914286 h 6858000"/>
              <a:gd name="connsiteX695" fmla="*/ 36383 w 7467663"/>
              <a:gd name="connsiteY695" fmla="*/ 2901128 h 6858000"/>
              <a:gd name="connsiteX696" fmla="*/ 156329 w 7467663"/>
              <a:gd name="connsiteY696" fmla="*/ 2840533 h 6858000"/>
              <a:gd name="connsiteX697" fmla="*/ 358355 w 7467663"/>
              <a:gd name="connsiteY697" fmla="*/ 2620471 h 6858000"/>
              <a:gd name="connsiteX698" fmla="*/ 510577 w 7467663"/>
              <a:gd name="connsiteY698" fmla="*/ 2501244 h 6858000"/>
              <a:gd name="connsiteX699" fmla="*/ 211967 w 7467663"/>
              <a:gd name="connsiteY699" fmla="*/ 2479171 h 6858000"/>
              <a:gd name="connsiteX700" fmla="*/ 0 w 7467663"/>
              <a:gd name="connsiteY700" fmla="*/ 2476398 h 6858000"/>
              <a:gd name="connsiteX701" fmla="*/ 0 w 7467663"/>
              <a:gd name="connsiteY701" fmla="*/ 2389189 h 6858000"/>
              <a:gd name="connsiteX702" fmla="*/ 103062 w 7467663"/>
              <a:gd name="connsiteY702" fmla="*/ 2389518 h 6858000"/>
              <a:gd name="connsiteX703" fmla="*/ 510734 w 7467663"/>
              <a:gd name="connsiteY703" fmla="*/ 2416201 h 6858000"/>
              <a:gd name="connsiteX704" fmla="*/ 279257 w 7467663"/>
              <a:gd name="connsiteY704" fmla="*/ 2092102 h 6858000"/>
              <a:gd name="connsiteX705" fmla="*/ 65265 w 7467663"/>
              <a:gd name="connsiteY705" fmla="*/ 2006049 h 6858000"/>
              <a:gd name="connsiteX706" fmla="*/ 0 w 7467663"/>
              <a:gd name="connsiteY706" fmla="*/ 1982532 h 6858000"/>
              <a:gd name="connsiteX707" fmla="*/ 0 w 7467663"/>
              <a:gd name="connsiteY707" fmla="*/ 1912789 h 6858000"/>
              <a:gd name="connsiteX708" fmla="*/ 97460 w 7467663"/>
              <a:gd name="connsiteY708" fmla="*/ 1953725 h 6858000"/>
              <a:gd name="connsiteX709" fmla="*/ 221272 w 7467663"/>
              <a:gd name="connsiteY709" fmla="*/ 1980766 h 6858000"/>
              <a:gd name="connsiteX710" fmla="*/ 116765 w 7467663"/>
              <a:gd name="connsiteY710" fmla="*/ 1911033 h 6858000"/>
              <a:gd name="connsiteX711" fmla="*/ 16405 w 7467663"/>
              <a:gd name="connsiteY711" fmla="*/ 1803412 h 6858000"/>
              <a:gd name="connsiteX712" fmla="*/ 0 w 7467663"/>
              <a:gd name="connsiteY712" fmla="*/ 1784777 h 6858000"/>
              <a:gd name="connsiteX713" fmla="*/ 0 w 7467663"/>
              <a:gd name="connsiteY713" fmla="*/ 1740082 h 6858000"/>
              <a:gd name="connsiteX714" fmla="*/ 39394 w 7467663"/>
              <a:gd name="connsiteY714" fmla="*/ 1784856 h 6858000"/>
              <a:gd name="connsiteX715" fmla="*/ 135813 w 7467663"/>
              <a:gd name="connsiteY715" fmla="*/ 1888838 h 6858000"/>
              <a:gd name="connsiteX716" fmla="*/ 242575 w 7467663"/>
              <a:gd name="connsiteY716" fmla="*/ 1958841 h 6858000"/>
              <a:gd name="connsiteX717" fmla="*/ 82197 w 7467663"/>
              <a:gd name="connsiteY717" fmla="*/ 1754826 h 6858000"/>
              <a:gd name="connsiteX718" fmla="*/ 0 w 7467663"/>
              <a:gd name="connsiteY718" fmla="*/ 1679650 h 6858000"/>
              <a:gd name="connsiteX719" fmla="*/ 0 w 7467663"/>
              <a:gd name="connsiteY719" fmla="*/ 1602463 h 6858000"/>
              <a:gd name="connsiteX720" fmla="*/ 84689 w 7467663"/>
              <a:gd name="connsiteY720" fmla="*/ 1677442 h 6858000"/>
              <a:gd name="connsiteX721" fmla="*/ 298437 w 7467663"/>
              <a:gd name="connsiteY721" fmla="*/ 1968019 h 6858000"/>
              <a:gd name="connsiteX722" fmla="*/ 227269 w 7467663"/>
              <a:gd name="connsiteY722" fmla="*/ 1114064 h 6858000"/>
              <a:gd name="connsiteX723" fmla="*/ 248003 w 7467663"/>
              <a:gd name="connsiteY723" fmla="*/ 1089613 h 6858000"/>
              <a:gd name="connsiteX724" fmla="*/ 427020 w 7467663"/>
              <a:gd name="connsiteY724" fmla="*/ 1619803 h 6858000"/>
              <a:gd name="connsiteX725" fmla="*/ 340345 w 7467663"/>
              <a:gd name="connsiteY725" fmla="*/ 2027739 h 6858000"/>
              <a:gd name="connsiteX726" fmla="*/ 360865 w 7467663"/>
              <a:gd name="connsiteY726" fmla="*/ 2044827 h 6858000"/>
              <a:gd name="connsiteX727" fmla="*/ 560414 w 7467663"/>
              <a:gd name="connsiteY727" fmla="*/ 2421457 h 6858000"/>
              <a:gd name="connsiteX728" fmla="*/ 1359703 w 7467663"/>
              <a:gd name="connsiteY728" fmla="*/ 2578554 h 6858000"/>
              <a:gd name="connsiteX729" fmla="*/ 1359422 w 7467663"/>
              <a:gd name="connsiteY729" fmla="*/ 2577994 h 6858000"/>
              <a:gd name="connsiteX730" fmla="*/ 828701 w 7467663"/>
              <a:gd name="connsiteY730" fmla="*/ 1839520 h 6858000"/>
              <a:gd name="connsiteX731" fmla="*/ 494427 w 7467663"/>
              <a:gd name="connsiteY731" fmla="*/ 1092333 h 6858000"/>
              <a:gd name="connsiteX732" fmla="*/ 506322 w 7467663"/>
              <a:gd name="connsiteY732" fmla="*/ 1020997 h 6858000"/>
              <a:gd name="connsiteX733" fmla="*/ 4570198 w 7467663"/>
              <a:gd name="connsiteY733" fmla="*/ 978081 h 6858000"/>
              <a:gd name="connsiteX734" fmla="*/ 4523691 w 7467663"/>
              <a:gd name="connsiteY734" fmla="*/ 1127776 h 6858000"/>
              <a:gd name="connsiteX735" fmla="*/ 4509875 w 7467663"/>
              <a:gd name="connsiteY735" fmla="*/ 1167552 h 6858000"/>
              <a:gd name="connsiteX736" fmla="*/ 4478168 w 7467663"/>
              <a:gd name="connsiteY736" fmla="*/ 1260735 h 6858000"/>
              <a:gd name="connsiteX737" fmla="*/ 4409309 w 7467663"/>
              <a:gd name="connsiteY737" fmla="*/ 1666996 h 6858000"/>
              <a:gd name="connsiteX738" fmla="*/ 4370031 w 7467663"/>
              <a:gd name="connsiteY738" fmla="*/ 1955666 h 6858000"/>
              <a:gd name="connsiteX739" fmla="*/ 4570198 w 7467663"/>
              <a:gd name="connsiteY739" fmla="*/ 978081 h 6858000"/>
              <a:gd name="connsiteX740" fmla="*/ 4557898 w 7467663"/>
              <a:gd name="connsiteY740" fmla="*/ 900011 h 6858000"/>
              <a:gd name="connsiteX741" fmla="*/ 4344840 w 7467663"/>
              <a:gd name="connsiteY741" fmla="*/ 1922038 h 6858000"/>
              <a:gd name="connsiteX742" fmla="*/ 4378710 w 7467663"/>
              <a:gd name="connsiteY742" fmla="*/ 1665516 h 6858000"/>
              <a:gd name="connsiteX743" fmla="*/ 4448798 w 7467663"/>
              <a:gd name="connsiteY743" fmla="*/ 1253024 h 6858000"/>
              <a:gd name="connsiteX744" fmla="*/ 4480315 w 7467663"/>
              <a:gd name="connsiteY744" fmla="*/ 1158454 h 6858000"/>
              <a:gd name="connsiteX745" fmla="*/ 4494133 w 7467663"/>
              <a:gd name="connsiteY745" fmla="*/ 1118676 h 6858000"/>
              <a:gd name="connsiteX746" fmla="*/ 4557898 w 7467663"/>
              <a:gd name="connsiteY746" fmla="*/ 900011 h 6858000"/>
              <a:gd name="connsiteX747" fmla="*/ 5870151 w 7467663"/>
              <a:gd name="connsiteY747" fmla="*/ 898890 h 6858000"/>
              <a:gd name="connsiteX748" fmla="*/ 5861335 w 7467663"/>
              <a:gd name="connsiteY748" fmla="*/ 899177 h 6858000"/>
              <a:gd name="connsiteX749" fmla="*/ 5843702 w 7467663"/>
              <a:gd name="connsiteY749" fmla="*/ 899748 h 6858000"/>
              <a:gd name="connsiteX750" fmla="*/ 5651107 w 7467663"/>
              <a:gd name="connsiteY750" fmla="*/ 920306 h 6858000"/>
              <a:gd name="connsiteX751" fmla="*/ 5459407 w 7467663"/>
              <a:gd name="connsiteY751" fmla="*/ 940975 h 6858000"/>
              <a:gd name="connsiteX752" fmla="*/ 5374846 w 7467663"/>
              <a:gd name="connsiteY752" fmla="*/ 941988 h 6858000"/>
              <a:gd name="connsiteX753" fmla="*/ 5256105 w 7467663"/>
              <a:gd name="connsiteY753" fmla="*/ 945632 h 6858000"/>
              <a:gd name="connsiteX754" fmla="*/ 5107071 w 7467663"/>
              <a:gd name="connsiteY754" fmla="*/ 969720 h 6858000"/>
              <a:gd name="connsiteX755" fmla="*/ 4998681 w 7467663"/>
              <a:gd name="connsiteY755" fmla="*/ 988771 h 6858000"/>
              <a:gd name="connsiteX756" fmla="*/ 5870151 w 7467663"/>
              <a:gd name="connsiteY756" fmla="*/ 898890 h 6858000"/>
              <a:gd name="connsiteX757" fmla="*/ 5504425 w 7467663"/>
              <a:gd name="connsiteY757" fmla="*/ 848067 h 6858000"/>
              <a:gd name="connsiteX758" fmla="*/ 4968849 w 7467663"/>
              <a:gd name="connsiteY758" fmla="*/ 962318 h 6858000"/>
              <a:gd name="connsiteX759" fmla="*/ 5104039 w 7467663"/>
              <a:gd name="connsiteY759" fmla="*/ 940634 h 6858000"/>
              <a:gd name="connsiteX760" fmla="*/ 5256311 w 7467663"/>
              <a:gd name="connsiteY760" fmla="*/ 916490 h 6858000"/>
              <a:gd name="connsiteX761" fmla="*/ 5377381 w 7467663"/>
              <a:gd name="connsiteY761" fmla="*/ 912671 h 6858000"/>
              <a:gd name="connsiteX762" fmla="*/ 5460148 w 7467663"/>
              <a:gd name="connsiteY762" fmla="*/ 911442 h 6858000"/>
              <a:gd name="connsiteX763" fmla="*/ 5648971 w 7467663"/>
              <a:gd name="connsiteY763" fmla="*/ 891331 h 6858000"/>
              <a:gd name="connsiteX764" fmla="*/ 5844807 w 7467663"/>
              <a:gd name="connsiteY764" fmla="*/ 870718 h 6858000"/>
              <a:gd name="connsiteX765" fmla="*/ 5862975 w 7467663"/>
              <a:gd name="connsiteY765" fmla="*/ 869756 h 6858000"/>
              <a:gd name="connsiteX766" fmla="*/ 5920887 w 7467663"/>
              <a:gd name="connsiteY766" fmla="*/ 865929 h 6858000"/>
              <a:gd name="connsiteX767" fmla="*/ 5504425 w 7467663"/>
              <a:gd name="connsiteY767" fmla="*/ 848067 h 6858000"/>
              <a:gd name="connsiteX768" fmla="*/ 3607114 w 7467663"/>
              <a:gd name="connsiteY768" fmla="*/ 467441 h 6858000"/>
              <a:gd name="connsiteX769" fmla="*/ 3296242 w 7467663"/>
              <a:gd name="connsiteY769" fmla="*/ 807991 h 6858000"/>
              <a:gd name="connsiteX770" fmla="*/ 3174674 w 7467663"/>
              <a:gd name="connsiteY770" fmla="*/ 919759 h 6858000"/>
              <a:gd name="connsiteX771" fmla="*/ 3042978 w 7467663"/>
              <a:gd name="connsiteY771" fmla="*/ 1054894 h 6858000"/>
              <a:gd name="connsiteX772" fmla="*/ 2968914 w 7467663"/>
              <a:gd name="connsiteY772" fmla="*/ 1133756 h 6858000"/>
              <a:gd name="connsiteX773" fmla="*/ 3103823 w 7467663"/>
              <a:gd name="connsiteY773" fmla="*/ 1026814 h 6858000"/>
              <a:gd name="connsiteX774" fmla="*/ 3607114 w 7467663"/>
              <a:gd name="connsiteY774" fmla="*/ 467441 h 6858000"/>
              <a:gd name="connsiteX775" fmla="*/ 3744487 w 7467663"/>
              <a:gd name="connsiteY775" fmla="*/ 383136 h 6858000"/>
              <a:gd name="connsiteX776" fmla="*/ 3970213 w 7467663"/>
              <a:gd name="connsiteY776" fmla="*/ 995559 h 6858000"/>
              <a:gd name="connsiteX777" fmla="*/ 3744487 w 7467663"/>
              <a:gd name="connsiteY777" fmla="*/ 383136 h 6858000"/>
              <a:gd name="connsiteX778" fmla="*/ 3624562 w 7467663"/>
              <a:gd name="connsiteY778" fmla="*/ 367041 h 6858000"/>
              <a:gd name="connsiteX779" fmla="*/ 3489712 w 7467663"/>
              <a:gd name="connsiteY779" fmla="*/ 485386 h 6858000"/>
              <a:gd name="connsiteX780" fmla="*/ 3182994 w 7467663"/>
              <a:gd name="connsiteY780" fmla="*/ 828265 h 6858000"/>
              <a:gd name="connsiteX781" fmla="*/ 2892114 w 7467663"/>
              <a:gd name="connsiteY781" fmla="*/ 1172635 h 6858000"/>
              <a:gd name="connsiteX782" fmla="*/ 3021459 w 7467663"/>
              <a:gd name="connsiteY782" fmla="*/ 1035385 h 6858000"/>
              <a:gd name="connsiteX783" fmla="*/ 3153873 w 7467663"/>
              <a:gd name="connsiteY783" fmla="*/ 898971 h 6858000"/>
              <a:gd name="connsiteX784" fmla="*/ 3276511 w 7467663"/>
              <a:gd name="connsiteY784" fmla="*/ 786423 h 6858000"/>
              <a:gd name="connsiteX785" fmla="*/ 3584154 w 7467663"/>
              <a:gd name="connsiteY785" fmla="*/ 448218 h 6858000"/>
              <a:gd name="connsiteX786" fmla="*/ 3624562 w 7467663"/>
              <a:gd name="connsiteY786" fmla="*/ 367041 h 6858000"/>
              <a:gd name="connsiteX787" fmla="*/ 3766672 w 7467663"/>
              <a:gd name="connsiteY787" fmla="*/ 359429 h 6858000"/>
              <a:gd name="connsiteX788" fmla="*/ 3996338 w 7467663"/>
              <a:gd name="connsiteY788" fmla="*/ 968237 h 6858000"/>
              <a:gd name="connsiteX789" fmla="*/ 3766672 w 7467663"/>
              <a:gd name="connsiteY789" fmla="*/ 359429 h 6858000"/>
              <a:gd name="connsiteX790" fmla="*/ 5805386 w 7467663"/>
              <a:gd name="connsiteY790" fmla="*/ 239240 h 6858000"/>
              <a:gd name="connsiteX791" fmla="*/ 5736947 w 7467663"/>
              <a:gd name="connsiteY791" fmla="*/ 261367 h 6858000"/>
              <a:gd name="connsiteX792" fmla="*/ 5427012 w 7467663"/>
              <a:gd name="connsiteY792" fmla="*/ 311272 h 6858000"/>
              <a:gd name="connsiteX793" fmla="*/ 5147818 w 7467663"/>
              <a:gd name="connsiteY793" fmla="*/ 322112 h 6858000"/>
              <a:gd name="connsiteX794" fmla="*/ 5060854 w 7467663"/>
              <a:gd name="connsiteY794" fmla="*/ 311882 h 6858000"/>
              <a:gd name="connsiteX795" fmla="*/ 4945989 w 7467663"/>
              <a:gd name="connsiteY795" fmla="*/ 300516 h 6858000"/>
              <a:gd name="connsiteX796" fmla="*/ 5410479 w 7467663"/>
              <a:gd name="connsiteY796" fmla="*/ 348434 h 6858000"/>
              <a:gd name="connsiteX797" fmla="*/ 5805386 w 7467663"/>
              <a:gd name="connsiteY797" fmla="*/ 239240 h 6858000"/>
              <a:gd name="connsiteX798" fmla="*/ 5905192 w 7467663"/>
              <a:gd name="connsiteY798" fmla="*/ 163079 h 6858000"/>
              <a:gd name="connsiteX799" fmla="*/ 5865655 w 7467663"/>
              <a:gd name="connsiteY799" fmla="*/ 171901 h 6858000"/>
              <a:gd name="connsiteX800" fmla="*/ 5259740 w 7467663"/>
              <a:gd name="connsiteY800" fmla="*/ 257013 h 6858000"/>
              <a:gd name="connsiteX801" fmla="*/ 5208466 w 7467663"/>
              <a:gd name="connsiteY801" fmla="*/ 257550 h 6858000"/>
              <a:gd name="connsiteX802" fmla="*/ 4980204 w 7467663"/>
              <a:gd name="connsiteY802" fmla="*/ 271903 h 6858000"/>
              <a:gd name="connsiteX803" fmla="*/ 5068068 w 7467663"/>
              <a:gd name="connsiteY803" fmla="*/ 282244 h 6858000"/>
              <a:gd name="connsiteX804" fmla="*/ 5153231 w 7467663"/>
              <a:gd name="connsiteY804" fmla="*/ 292240 h 6858000"/>
              <a:gd name="connsiteX805" fmla="*/ 5426491 w 7467663"/>
              <a:gd name="connsiteY805" fmla="*/ 281128 h 6858000"/>
              <a:gd name="connsiteX806" fmla="*/ 5731212 w 7467663"/>
              <a:gd name="connsiteY806" fmla="*/ 231951 h 6858000"/>
              <a:gd name="connsiteX807" fmla="*/ 5905192 w 7467663"/>
              <a:gd name="connsiteY807" fmla="*/ 163079 h 6858000"/>
              <a:gd name="connsiteX808" fmla="*/ 5944437 w 7467663"/>
              <a:gd name="connsiteY808" fmla="*/ 113829 h 6858000"/>
              <a:gd name="connsiteX809" fmla="*/ 5825032 w 7467663"/>
              <a:gd name="connsiteY809" fmla="*/ 146405 h 6858000"/>
              <a:gd name="connsiteX810" fmla="*/ 4955599 w 7467663"/>
              <a:gd name="connsiteY810" fmla="*/ 247008 h 6858000"/>
              <a:gd name="connsiteX811" fmla="*/ 5210104 w 7467663"/>
              <a:gd name="connsiteY811" fmla="*/ 228123 h 6858000"/>
              <a:gd name="connsiteX812" fmla="*/ 5261015 w 7467663"/>
              <a:gd name="connsiteY812" fmla="*/ 227087 h 6858000"/>
              <a:gd name="connsiteX813" fmla="*/ 5861181 w 7467663"/>
              <a:gd name="connsiteY813" fmla="*/ 143093 h 6858000"/>
              <a:gd name="connsiteX814" fmla="*/ 5961252 w 7467663"/>
              <a:gd name="connsiteY814" fmla="*/ 114820 h 6858000"/>
              <a:gd name="connsiteX815" fmla="*/ 5944437 w 7467663"/>
              <a:gd name="connsiteY815" fmla="*/ 113829 h 6858000"/>
              <a:gd name="connsiteX816" fmla="*/ 3882765 w 7467663"/>
              <a:gd name="connsiteY816" fmla="*/ 0 h 6858000"/>
              <a:gd name="connsiteX817" fmla="*/ 3995099 w 7467663"/>
              <a:gd name="connsiteY817" fmla="*/ 0 h 6858000"/>
              <a:gd name="connsiteX818" fmla="*/ 4163818 w 7467663"/>
              <a:gd name="connsiteY818" fmla="*/ 234104 h 6858000"/>
              <a:gd name="connsiteX819" fmla="*/ 4172099 w 7467663"/>
              <a:gd name="connsiteY819" fmla="*/ 234207 h 6858000"/>
              <a:gd name="connsiteX820" fmla="*/ 4784282 w 7467663"/>
              <a:gd name="connsiteY820" fmla="*/ 276561 h 6858000"/>
              <a:gd name="connsiteX821" fmla="*/ 4801687 w 7467663"/>
              <a:gd name="connsiteY821" fmla="*/ 267764 h 6858000"/>
              <a:gd name="connsiteX822" fmla="*/ 6082788 w 7467663"/>
              <a:gd name="connsiteY822" fmla="*/ 64119 h 6858000"/>
              <a:gd name="connsiteX823" fmla="*/ 6099442 w 7467663"/>
              <a:gd name="connsiteY823" fmla="*/ 82568 h 6858000"/>
              <a:gd name="connsiteX824" fmla="*/ 4804137 w 7467663"/>
              <a:gd name="connsiteY824" fmla="*/ 320931 h 6858000"/>
              <a:gd name="connsiteX825" fmla="*/ 4227047 w 7467663"/>
              <a:gd name="connsiteY825" fmla="*/ 313415 h 6858000"/>
              <a:gd name="connsiteX826" fmla="*/ 4346041 w 7467663"/>
              <a:gd name="connsiteY826" fmla="*/ 456086 h 6858000"/>
              <a:gd name="connsiteX827" fmla="*/ 4870967 w 7467663"/>
              <a:gd name="connsiteY827" fmla="*/ 963061 h 6858000"/>
              <a:gd name="connsiteX828" fmla="*/ 4889647 w 7467663"/>
              <a:gd name="connsiteY828" fmla="*/ 957147 h 6858000"/>
              <a:gd name="connsiteX829" fmla="*/ 5422504 w 7467663"/>
              <a:gd name="connsiteY829" fmla="*/ 805191 h 6858000"/>
              <a:gd name="connsiteX830" fmla="*/ 6087656 w 7467663"/>
              <a:gd name="connsiteY830" fmla="*/ 826703 h 6858000"/>
              <a:gd name="connsiteX831" fmla="*/ 6058717 w 7467663"/>
              <a:gd name="connsiteY831" fmla="*/ 865992 h 6858000"/>
              <a:gd name="connsiteX832" fmla="*/ 4974153 w 7467663"/>
              <a:gd name="connsiteY832" fmla="*/ 1045456 h 6858000"/>
              <a:gd name="connsiteX833" fmla="*/ 5627835 w 7467663"/>
              <a:gd name="connsiteY833" fmla="*/ 1472077 h 6858000"/>
              <a:gd name="connsiteX834" fmla="*/ 5629817 w 7467663"/>
              <a:gd name="connsiteY834" fmla="*/ 1471412 h 6858000"/>
              <a:gd name="connsiteX835" fmla="*/ 5634124 w 7467663"/>
              <a:gd name="connsiteY835" fmla="*/ 1470572 h 6858000"/>
              <a:gd name="connsiteX836" fmla="*/ 5755832 w 7467663"/>
              <a:gd name="connsiteY836" fmla="*/ 1383886 h 6858000"/>
              <a:gd name="connsiteX837" fmla="*/ 6014186 w 7467663"/>
              <a:gd name="connsiteY837" fmla="*/ 1279799 h 6858000"/>
              <a:gd name="connsiteX838" fmla="*/ 6901619 w 7467663"/>
              <a:gd name="connsiteY838" fmla="*/ 1047874 h 6858000"/>
              <a:gd name="connsiteX839" fmla="*/ 6931566 w 7467663"/>
              <a:gd name="connsiteY839" fmla="*/ 1062034 h 6858000"/>
              <a:gd name="connsiteX840" fmla="*/ 5790982 w 7467663"/>
              <a:gd name="connsiteY840" fmla="*/ 1561380 h 6858000"/>
              <a:gd name="connsiteX841" fmla="*/ 6188971 w 7467663"/>
              <a:gd name="connsiteY841" fmla="*/ 1755168 h 6858000"/>
              <a:gd name="connsiteX842" fmla="*/ 6202446 w 7467663"/>
              <a:gd name="connsiteY842" fmla="*/ 1752268 h 6858000"/>
              <a:gd name="connsiteX843" fmla="*/ 7179560 w 7467663"/>
              <a:gd name="connsiteY843" fmla="*/ 1467551 h 6858000"/>
              <a:gd name="connsiteX844" fmla="*/ 7158730 w 7467663"/>
              <a:gd name="connsiteY844" fmla="*/ 1507835 h 6858000"/>
              <a:gd name="connsiteX845" fmla="*/ 6326959 w 7467663"/>
              <a:gd name="connsiteY845" fmla="*/ 1817686 h 6858000"/>
              <a:gd name="connsiteX846" fmla="*/ 6537433 w 7467663"/>
              <a:gd name="connsiteY846" fmla="*/ 1907790 h 6858000"/>
              <a:gd name="connsiteX847" fmla="*/ 6550221 w 7467663"/>
              <a:gd name="connsiteY847" fmla="*/ 1910729 h 6858000"/>
              <a:gd name="connsiteX848" fmla="*/ 6964438 w 7467663"/>
              <a:gd name="connsiteY848" fmla="*/ 2209505 h 6858000"/>
              <a:gd name="connsiteX849" fmla="*/ 7367862 w 7467663"/>
              <a:gd name="connsiteY849" fmla="*/ 2806833 h 6858000"/>
              <a:gd name="connsiteX850" fmla="*/ 7364329 w 7467663"/>
              <a:gd name="connsiteY850" fmla="*/ 2826907 h 6858000"/>
              <a:gd name="connsiteX851" fmla="*/ 7290545 w 7467663"/>
              <a:gd name="connsiteY851" fmla="*/ 2850663 h 6858000"/>
              <a:gd name="connsiteX852" fmla="*/ 6472036 w 7467663"/>
              <a:gd name="connsiteY852" fmla="*/ 1959003 h 6858000"/>
              <a:gd name="connsiteX853" fmla="*/ 5792897 w 7467663"/>
              <a:gd name="connsiteY853" fmla="*/ 1647747 h 6858000"/>
              <a:gd name="connsiteX854" fmla="*/ 5842751 w 7467663"/>
              <a:gd name="connsiteY854" fmla="*/ 1816112 h 6858000"/>
              <a:gd name="connsiteX855" fmla="*/ 5847424 w 7467663"/>
              <a:gd name="connsiteY855" fmla="*/ 1815776 h 6858000"/>
              <a:gd name="connsiteX856" fmla="*/ 6399821 w 7467663"/>
              <a:gd name="connsiteY856" fmla="*/ 2344799 h 6858000"/>
              <a:gd name="connsiteX857" fmla="*/ 6323232 w 7467663"/>
              <a:gd name="connsiteY857" fmla="*/ 2389634 h 6858000"/>
              <a:gd name="connsiteX858" fmla="*/ 5942958 w 7467663"/>
              <a:gd name="connsiteY858" fmla="*/ 2077708 h 6858000"/>
              <a:gd name="connsiteX859" fmla="*/ 5921559 w 7467663"/>
              <a:gd name="connsiteY859" fmla="*/ 2378596 h 6858000"/>
              <a:gd name="connsiteX860" fmla="*/ 5817651 w 7467663"/>
              <a:gd name="connsiteY860" fmla="*/ 3023919 h 6858000"/>
              <a:gd name="connsiteX861" fmla="*/ 5729634 w 7467663"/>
              <a:gd name="connsiteY861" fmla="*/ 3051849 h 6858000"/>
              <a:gd name="connsiteX862" fmla="*/ 5611018 w 7467663"/>
              <a:gd name="connsiteY862" fmla="*/ 2316769 h 6858000"/>
              <a:gd name="connsiteX863" fmla="*/ 5687608 w 7467663"/>
              <a:gd name="connsiteY863" fmla="*/ 2039972 h 6858000"/>
              <a:gd name="connsiteX864" fmla="*/ 5657554 w 7467663"/>
              <a:gd name="connsiteY864" fmla="*/ 1576445 h 6858000"/>
              <a:gd name="connsiteX865" fmla="*/ 5150475 w 7467663"/>
              <a:gd name="connsiteY865" fmla="*/ 1274012 h 6858000"/>
              <a:gd name="connsiteX866" fmla="*/ 5349142 w 7467663"/>
              <a:gd name="connsiteY866" fmla="*/ 2204405 h 6858000"/>
              <a:gd name="connsiteX867" fmla="*/ 5262214 w 7467663"/>
              <a:gd name="connsiteY867" fmla="*/ 2233836 h 6858000"/>
              <a:gd name="connsiteX868" fmla="*/ 4981539 w 7467663"/>
              <a:gd name="connsiteY868" fmla="*/ 1542201 h 6858000"/>
              <a:gd name="connsiteX869" fmla="*/ 4958461 w 7467663"/>
              <a:gd name="connsiteY869" fmla="*/ 1136957 h 6858000"/>
              <a:gd name="connsiteX870" fmla="*/ 4655015 w 7467663"/>
              <a:gd name="connsiteY870" fmla="*/ 891426 h 6858000"/>
              <a:gd name="connsiteX871" fmla="*/ 4348002 w 7467663"/>
              <a:gd name="connsiteY871" fmla="*/ 2205895 h 6858000"/>
              <a:gd name="connsiteX872" fmla="*/ 4262250 w 7467663"/>
              <a:gd name="connsiteY872" fmla="*/ 2219972 h 6858000"/>
              <a:gd name="connsiteX873" fmla="*/ 4550611 w 7467663"/>
              <a:gd name="connsiteY873" fmla="*/ 817540 h 6858000"/>
              <a:gd name="connsiteX874" fmla="*/ 4564418 w 7467663"/>
              <a:gd name="connsiteY874" fmla="*/ 808293 h 6858000"/>
              <a:gd name="connsiteX875" fmla="*/ 4266388 w 7467663"/>
              <a:gd name="connsiteY875" fmla="*/ 500083 h 6858000"/>
              <a:gd name="connsiteX876" fmla="*/ 4032842 w 7467663"/>
              <a:gd name="connsiteY876" fmla="*/ 211809 h 6858000"/>
              <a:gd name="connsiteX877" fmla="*/ 3882765 w 7467663"/>
              <a:gd name="connsiteY877" fmla="*/ 0 h 6858000"/>
              <a:gd name="connsiteX878" fmla="*/ 3721337 w 7467663"/>
              <a:gd name="connsiteY878" fmla="*/ 0 h 6858000"/>
              <a:gd name="connsiteX879" fmla="*/ 3797544 w 7467663"/>
              <a:gd name="connsiteY879" fmla="*/ 0 h 6858000"/>
              <a:gd name="connsiteX880" fmla="*/ 3775734 w 7467663"/>
              <a:gd name="connsiteY880" fmla="*/ 95131 h 6858000"/>
              <a:gd name="connsiteX881" fmla="*/ 3724807 w 7467663"/>
              <a:gd name="connsiteY881" fmla="*/ 272257 h 6858000"/>
              <a:gd name="connsiteX882" fmla="*/ 3726844 w 7467663"/>
              <a:gd name="connsiteY882" fmla="*/ 282988 h 6858000"/>
              <a:gd name="connsiteX883" fmla="*/ 3742664 w 7467663"/>
              <a:gd name="connsiteY883" fmla="*/ 279918 h 6858000"/>
              <a:gd name="connsiteX884" fmla="*/ 4103910 w 7467663"/>
              <a:gd name="connsiteY884" fmla="*/ 1161917 h 6858000"/>
              <a:gd name="connsiteX885" fmla="*/ 4020269 w 7467663"/>
              <a:gd name="connsiteY885" fmla="*/ 1200406 h 6858000"/>
              <a:gd name="connsiteX886" fmla="*/ 3674882 w 7467663"/>
              <a:gd name="connsiteY886" fmla="*/ 488524 h 6858000"/>
              <a:gd name="connsiteX887" fmla="*/ 3132682 w 7467663"/>
              <a:gd name="connsiteY887" fmla="*/ 1072284 h 6858000"/>
              <a:gd name="connsiteX888" fmla="*/ 2716346 w 7467663"/>
              <a:gd name="connsiteY888" fmla="*/ 1276376 h 6858000"/>
              <a:gd name="connsiteX889" fmla="*/ 2716772 w 7467663"/>
              <a:gd name="connsiteY889" fmla="*/ 1255462 h 6858000"/>
              <a:gd name="connsiteX890" fmla="*/ 3471096 w 7467663"/>
              <a:gd name="connsiteY890" fmla="*/ 437072 h 6858000"/>
              <a:gd name="connsiteX891" fmla="*/ 3639057 w 7467663"/>
              <a:gd name="connsiteY891" fmla="*/ 286334 h 6858000"/>
              <a:gd name="connsiteX892" fmla="*/ 3640309 w 7467663"/>
              <a:gd name="connsiteY892" fmla="*/ 284664 h 6858000"/>
              <a:gd name="connsiteX893" fmla="*/ 3646022 w 7467663"/>
              <a:gd name="connsiteY893" fmla="*/ 276711 h 6858000"/>
              <a:gd name="connsiteX894" fmla="*/ 3707943 w 7467663"/>
              <a:gd name="connsiteY894" fmla="*/ 65958 h 6858000"/>
              <a:gd name="connsiteX895" fmla="*/ 3721337 w 7467663"/>
              <a:gd name="connsiteY895" fmla="*/ 0 h 6858000"/>
              <a:gd name="connsiteX896" fmla="*/ 2867960 w 7467663"/>
              <a:gd name="connsiteY896" fmla="*/ 0 h 6858000"/>
              <a:gd name="connsiteX897" fmla="*/ 2926351 w 7467663"/>
              <a:gd name="connsiteY897" fmla="*/ 0 h 6858000"/>
              <a:gd name="connsiteX898" fmla="*/ 2902823 w 7467663"/>
              <a:gd name="connsiteY898" fmla="*/ 262929 h 6858000"/>
              <a:gd name="connsiteX899" fmla="*/ 2940663 w 7467663"/>
              <a:gd name="connsiteY899" fmla="*/ 140884 h 6858000"/>
              <a:gd name="connsiteX900" fmla="*/ 2947039 w 7467663"/>
              <a:gd name="connsiteY900" fmla="*/ 122524 h 6858000"/>
              <a:gd name="connsiteX901" fmla="*/ 2984316 w 7467663"/>
              <a:gd name="connsiteY901" fmla="*/ 0 h 6858000"/>
              <a:gd name="connsiteX902" fmla="*/ 3016114 w 7467663"/>
              <a:gd name="connsiteY902" fmla="*/ 0 h 6858000"/>
              <a:gd name="connsiteX903" fmla="*/ 2979949 w 7467663"/>
              <a:gd name="connsiteY903" fmla="*/ 119274 h 6858000"/>
              <a:gd name="connsiteX904" fmla="*/ 3023879 w 7467663"/>
              <a:gd name="connsiteY904" fmla="*/ 0 h 6858000"/>
              <a:gd name="connsiteX905" fmla="*/ 3105400 w 7467663"/>
              <a:gd name="connsiteY905" fmla="*/ 0 h 6858000"/>
              <a:gd name="connsiteX906" fmla="*/ 3094669 w 7467663"/>
              <a:gd name="connsiteY906" fmla="*/ 30308 h 6858000"/>
              <a:gd name="connsiteX907" fmla="*/ 2901945 w 7467663"/>
              <a:gd name="connsiteY907" fmla="*/ 466538 h 6858000"/>
              <a:gd name="connsiteX908" fmla="*/ 2815209 w 7467663"/>
              <a:gd name="connsiteY908" fmla="*/ 497361 h 6858000"/>
              <a:gd name="connsiteX909" fmla="*/ 2844845 w 7467663"/>
              <a:gd name="connsiteY909" fmla="*/ 127638 h 6858000"/>
              <a:gd name="connsiteX910" fmla="*/ 2867960 w 7467663"/>
              <a:gd name="connsiteY910" fmla="*/ 0 h 6858000"/>
              <a:gd name="connsiteX911" fmla="*/ 1057230 w 7467663"/>
              <a:gd name="connsiteY911" fmla="*/ 0 h 6858000"/>
              <a:gd name="connsiteX912" fmla="*/ 1111003 w 7467663"/>
              <a:gd name="connsiteY912" fmla="*/ 0 h 6858000"/>
              <a:gd name="connsiteX913" fmla="*/ 1125553 w 7467663"/>
              <a:gd name="connsiteY913" fmla="*/ 52588 h 6858000"/>
              <a:gd name="connsiteX914" fmla="*/ 1304276 w 7467663"/>
              <a:gd name="connsiteY914" fmla="*/ 476275 h 6858000"/>
              <a:gd name="connsiteX915" fmla="*/ 1492066 w 7467663"/>
              <a:gd name="connsiteY915" fmla="*/ 886333 h 6858000"/>
              <a:gd name="connsiteX916" fmla="*/ 1423698 w 7467663"/>
              <a:gd name="connsiteY916" fmla="*/ 710817 h 6858000"/>
              <a:gd name="connsiteX917" fmla="*/ 1357609 w 7467663"/>
              <a:gd name="connsiteY917" fmla="*/ 532892 h 6858000"/>
              <a:gd name="connsiteX918" fmla="*/ 1309550 w 7467663"/>
              <a:gd name="connsiteY918" fmla="*/ 374031 h 6858000"/>
              <a:gd name="connsiteX919" fmla="*/ 1193673 w 7467663"/>
              <a:gd name="connsiteY919" fmla="*/ 49533 h 6858000"/>
              <a:gd name="connsiteX920" fmla="*/ 1164391 w 7467663"/>
              <a:gd name="connsiteY920" fmla="*/ 0 h 6858000"/>
              <a:gd name="connsiteX921" fmla="*/ 1200666 w 7467663"/>
              <a:gd name="connsiteY921" fmla="*/ 0 h 6858000"/>
              <a:gd name="connsiteX922" fmla="*/ 1223408 w 7467663"/>
              <a:gd name="connsiteY922" fmla="*/ 38996 h 6858000"/>
              <a:gd name="connsiteX923" fmla="*/ 1339635 w 7467663"/>
              <a:gd name="connsiteY923" fmla="*/ 365517 h 6858000"/>
              <a:gd name="connsiteX924" fmla="*/ 1387469 w 7467663"/>
              <a:gd name="connsiteY924" fmla="*/ 523079 h 6858000"/>
              <a:gd name="connsiteX925" fmla="*/ 1452685 w 7467663"/>
              <a:gd name="connsiteY925" fmla="*/ 699806 h 6858000"/>
              <a:gd name="connsiteX926" fmla="*/ 1492092 w 7467663"/>
              <a:gd name="connsiteY926" fmla="*/ 800424 h 6858000"/>
              <a:gd name="connsiteX927" fmla="*/ 1455302 w 7467663"/>
              <a:gd name="connsiteY927" fmla="*/ 632913 h 6858000"/>
              <a:gd name="connsiteX928" fmla="*/ 1222336 w 7467663"/>
              <a:gd name="connsiteY928" fmla="*/ 9480 h 6858000"/>
              <a:gd name="connsiteX929" fmla="*/ 1214634 w 7467663"/>
              <a:gd name="connsiteY929" fmla="*/ 0 h 6858000"/>
              <a:gd name="connsiteX930" fmla="*/ 1289827 w 7467663"/>
              <a:gd name="connsiteY930" fmla="*/ 0 h 6858000"/>
              <a:gd name="connsiteX931" fmla="*/ 1321076 w 7467663"/>
              <a:gd name="connsiteY931" fmla="*/ 59722 h 6858000"/>
              <a:gd name="connsiteX932" fmla="*/ 1512579 w 7467663"/>
              <a:gd name="connsiteY932" fmla="*/ 626441 h 6858000"/>
              <a:gd name="connsiteX933" fmla="*/ 1506076 w 7467663"/>
              <a:gd name="connsiteY933" fmla="*/ 1089289 h 6858000"/>
              <a:gd name="connsiteX934" fmla="*/ 1486346 w 7467663"/>
              <a:gd name="connsiteY934" fmla="*/ 1079919 h 6858000"/>
              <a:gd name="connsiteX935" fmla="*/ 1070511 w 7467663"/>
              <a:gd name="connsiteY935" fmla="*/ 48609 h 6858000"/>
              <a:gd name="connsiteX936" fmla="*/ 1057230 w 7467663"/>
              <a:gd name="connsiteY936" fmla="*/ 0 h 6858000"/>
              <a:gd name="connsiteX937" fmla="*/ 43151 w 7467663"/>
              <a:gd name="connsiteY937" fmla="*/ 0 h 6858000"/>
              <a:gd name="connsiteX938" fmla="*/ 95283 w 7467663"/>
              <a:gd name="connsiteY938" fmla="*/ 0 h 6858000"/>
              <a:gd name="connsiteX939" fmla="*/ 300708 w 7467663"/>
              <a:gd name="connsiteY939" fmla="*/ 154571 h 6858000"/>
              <a:gd name="connsiteX940" fmla="*/ 530414 w 7467663"/>
              <a:gd name="connsiteY940" fmla="*/ 354673 h 6858000"/>
              <a:gd name="connsiteX941" fmla="*/ 333785 w 7467663"/>
              <a:gd name="connsiteY941" fmla="*/ 161564 h 6858000"/>
              <a:gd name="connsiteX942" fmla="*/ 147005 w 7467663"/>
              <a:gd name="connsiteY942" fmla="*/ 0 h 6858000"/>
              <a:gd name="connsiteX943" fmla="*/ 272509 w 7467663"/>
              <a:gd name="connsiteY943" fmla="*/ 0 h 6858000"/>
              <a:gd name="connsiteX944" fmla="*/ 326276 w 7467663"/>
              <a:gd name="connsiteY944" fmla="*/ 45847 h 6858000"/>
              <a:gd name="connsiteX945" fmla="*/ 823759 w 7467663"/>
              <a:gd name="connsiteY945" fmla="*/ 574145 h 6858000"/>
              <a:gd name="connsiteX946" fmla="*/ 811254 w 7467663"/>
              <a:gd name="connsiteY946" fmla="*/ 665546 h 6858000"/>
              <a:gd name="connsiteX947" fmla="*/ 154042 w 7467663"/>
              <a:gd name="connsiteY947" fmla="*/ 261522 h 6858000"/>
              <a:gd name="connsiteX948" fmla="*/ 13550 w 7467663"/>
              <a:gd name="connsiteY948" fmla="*/ 158423 h 6858000"/>
              <a:gd name="connsiteX949" fmla="*/ 0 w 7467663"/>
              <a:gd name="connsiteY949" fmla="*/ 146618 h 6858000"/>
              <a:gd name="connsiteX950" fmla="*/ 0 w 7467663"/>
              <a:gd name="connsiteY950" fmla="*/ 59161 h 6858000"/>
              <a:gd name="connsiteX951" fmla="*/ 45427 w 7467663"/>
              <a:gd name="connsiteY951" fmla="*/ 101078 h 6858000"/>
              <a:gd name="connsiteX952" fmla="*/ 630103 w 7467663"/>
              <a:gd name="connsiteY952" fmla="*/ 485885 h 6858000"/>
              <a:gd name="connsiteX953" fmla="*/ 532040 w 7467663"/>
              <a:gd name="connsiteY953" fmla="*/ 399359 h 6858000"/>
              <a:gd name="connsiteX954" fmla="*/ 517618 w 7467663"/>
              <a:gd name="connsiteY954" fmla="*/ 385726 h 6858000"/>
              <a:gd name="connsiteX955" fmla="*/ 285074 w 7467663"/>
              <a:gd name="connsiteY955" fmla="*/ 182755 h 6858000"/>
              <a:gd name="connsiteX956" fmla="*/ 43151 w 7467663"/>
              <a:gd name="connsiteY956"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7454976 w 7467600"/>
              <a:gd name="connsiteY74" fmla="*/ 6318297 h 6858000"/>
              <a:gd name="connsiteX75" fmla="*/ 7467600 w 7467600"/>
              <a:gd name="connsiteY75" fmla="*/ 6334256 h 6858000"/>
              <a:gd name="connsiteX76" fmla="*/ 7454976 w 7467600"/>
              <a:gd name="connsiteY76" fmla="*/ 6318297 h 6858000"/>
              <a:gd name="connsiteX77" fmla="*/ 1456157 w 7467600"/>
              <a:gd name="connsiteY77" fmla="*/ 5371404 h 6858000"/>
              <a:gd name="connsiteX78" fmla="*/ 1244432 w 7467600"/>
              <a:gd name="connsiteY78" fmla="*/ 5385601 h 6858000"/>
              <a:gd name="connsiteX79" fmla="*/ 973990 w 7467600"/>
              <a:gd name="connsiteY79" fmla="*/ 5424940 h 6858000"/>
              <a:gd name="connsiteX80" fmla="*/ 1103809 w 7467600"/>
              <a:gd name="connsiteY80" fmla="*/ 5433720 h 6858000"/>
              <a:gd name="connsiteX81" fmla="*/ 1123454 w 7467600"/>
              <a:gd name="connsiteY81" fmla="*/ 5435727 h 6858000"/>
              <a:gd name="connsiteX82" fmla="*/ 1737017 w 7467600"/>
              <a:gd name="connsiteY82" fmla="*/ 5452183 h 6858000"/>
              <a:gd name="connsiteX83" fmla="*/ 1824397 w 7467600"/>
              <a:gd name="connsiteY83" fmla="*/ 5447757 h 6858000"/>
              <a:gd name="connsiteX84" fmla="*/ 2070059 w 7467600"/>
              <a:gd name="connsiteY84" fmla="*/ 5441660 h 6858000"/>
              <a:gd name="connsiteX85" fmla="*/ 1456157 w 7467600"/>
              <a:gd name="connsiteY85" fmla="*/ 5371404 h 6858000"/>
              <a:gd name="connsiteX86" fmla="*/ 4988186 w 7467600"/>
              <a:gd name="connsiteY86" fmla="*/ 5216467 h 6858000"/>
              <a:gd name="connsiteX87" fmla="*/ 4777334 w 7467600"/>
              <a:gd name="connsiteY87" fmla="*/ 5406072 h 6858000"/>
              <a:gd name="connsiteX88" fmla="*/ 4718341 w 7467600"/>
              <a:gd name="connsiteY88" fmla="*/ 5468043 h 6858000"/>
              <a:gd name="connsiteX89" fmla="*/ 4604655 w 7467600"/>
              <a:gd name="connsiteY89" fmla="*/ 5583434 h 6858000"/>
              <a:gd name="connsiteX90" fmla="*/ 4565074 w 7467600"/>
              <a:gd name="connsiteY90" fmla="*/ 5618550 h 6858000"/>
              <a:gd name="connsiteX91" fmla="*/ 4988186 w 7467600"/>
              <a:gd name="connsiteY91" fmla="*/ 5216467 h 6858000"/>
              <a:gd name="connsiteX92" fmla="*/ 4978032 w 7467600"/>
              <a:gd name="connsiteY92" fmla="*/ 5183809 h 6858000"/>
              <a:gd name="connsiteX93" fmla="*/ 4463413 w 7467600"/>
              <a:gd name="connsiteY93" fmla="*/ 5615162 h 6858000"/>
              <a:gd name="connsiteX94" fmla="*/ 4358134 w 7467600"/>
              <a:gd name="connsiteY94" fmla="*/ 5742791 h 6858000"/>
              <a:gd name="connsiteX95" fmla="*/ 4376219 w 7467600"/>
              <a:gd name="connsiteY95" fmla="*/ 5729027 h 6858000"/>
              <a:gd name="connsiteX96" fmla="*/ 4582340 w 7467600"/>
              <a:gd name="connsiteY96" fmla="*/ 5561037 h 6858000"/>
              <a:gd name="connsiteX97" fmla="*/ 4694684 w 7467600"/>
              <a:gd name="connsiteY97" fmla="*/ 5447098 h 6858000"/>
              <a:gd name="connsiteX98" fmla="*/ 4754123 w 7467600"/>
              <a:gd name="connsiteY98" fmla="*/ 5384643 h 6858000"/>
              <a:gd name="connsiteX99" fmla="*/ 4978032 w 7467600"/>
              <a:gd name="connsiteY99" fmla="*/ 5183809 h 6858000"/>
              <a:gd name="connsiteX100" fmla="*/ 1903353 w 7467600"/>
              <a:gd name="connsiteY100" fmla="*/ 5044827 h 6858000"/>
              <a:gd name="connsiteX101" fmla="*/ 1936931 w 7467600"/>
              <a:gd name="connsiteY101" fmla="*/ 5093954 h 6858000"/>
              <a:gd name="connsiteX102" fmla="*/ 2195868 w 7467600"/>
              <a:gd name="connsiteY102" fmla="*/ 5396574 h 6858000"/>
              <a:gd name="connsiteX103" fmla="*/ 2088852 w 7467600"/>
              <a:gd name="connsiteY103" fmla="*/ 5166123 h 6858000"/>
              <a:gd name="connsiteX104" fmla="*/ 1958241 w 7467600"/>
              <a:gd name="connsiteY104" fmla="*/ 5067955 h 6858000"/>
              <a:gd name="connsiteX105" fmla="*/ 1903353 w 7467600"/>
              <a:gd name="connsiteY105" fmla="*/ 5044827 h 6858000"/>
              <a:gd name="connsiteX106" fmla="*/ 1979378 w 7467600"/>
              <a:gd name="connsiteY106" fmla="*/ 4769504 h 6858000"/>
              <a:gd name="connsiteX107" fmla="*/ 2882120 w 7467600"/>
              <a:gd name="connsiteY107" fmla="*/ 5064547 h 6858000"/>
              <a:gd name="connsiteX108" fmla="*/ 2793103 w 7467600"/>
              <a:gd name="connsiteY108" fmla="*/ 5039699 h 6858000"/>
              <a:gd name="connsiteX109" fmla="*/ 2770041 w 7467600"/>
              <a:gd name="connsiteY109" fmla="*/ 5033634 h 6858000"/>
              <a:gd name="connsiteX110" fmla="*/ 1979378 w 7467600"/>
              <a:gd name="connsiteY110" fmla="*/ 4769504 h 6858000"/>
              <a:gd name="connsiteX111" fmla="*/ 1927410 w 7467600"/>
              <a:gd name="connsiteY111" fmla="*/ 4716164 h 6858000"/>
              <a:gd name="connsiteX112" fmla="*/ 1959587 w 7467600"/>
              <a:gd name="connsiteY112" fmla="*/ 4728849 h 6858000"/>
              <a:gd name="connsiteX113" fmla="*/ 2777707 w 7467600"/>
              <a:gd name="connsiteY113" fmla="*/ 5003991 h 6858000"/>
              <a:gd name="connsiteX114" fmla="*/ 2800768 w 7467600"/>
              <a:gd name="connsiteY114" fmla="*/ 5010056 h 6858000"/>
              <a:gd name="connsiteX115" fmla="*/ 2879408 w 7467600"/>
              <a:gd name="connsiteY115" fmla="*/ 5031590 h 6858000"/>
              <a:gd name="connsiteX116" fmla="*/ 2862295 w 7467600"/>
              <a:gd name="connsiteY116" fmla="*/ 5022958 h 6858000"/>
              <a:gd name="connsiteX117" fmla="*/ 2813343 w 7467600"/>
              <a:gd name="connsiteY117" fmla="*/ 4998369 h 6858000"/>
              <a:gd name="connsiteX118" fmla="*/ 2646245 w 7467600"/>
              <a:gd name="connsiteY118" fmla="*/ 4930999 h 6858000"/>
              <a:gd name="connsiteX119" fmla="*/ 1999243 w 7467600"/>
              <a:gd name="connsiteY119" fmla="*/ 4730524 h 6858000"/>
              <a:gd name="connsiteX120" fmla="*/ 1979527 w 7467600"/>
              <a:gd name="connsiteY120" fmla="*/ 4726651 h 6858000"/>
              <a:gd name="connsiteX121" fmla="*/ 1927410 w 7467600"/>
              <a:gd name="connsiteY121" fmla="*/ 4716164 h 6858000"/>
              <a:gd name="connsiteX122" fmla="*/ 1997014 w 7467600"/>
              <a:gd name="connsiteY122" fmla="*/ 4698007 h 6858000"/>
              <a:gd name="connsiteX123" fmla="*/ 2005458 w 7467600"/>
              <a:gd name="connsiteY123" fmla="*/ 4699540 h 6858000"/>
              <a:gd name="connsiteX124" fmla="*/ 2657186 w 7467600"/>
              <a:gd name="connsiteY124" fmla="*/ 4901687 h 6858000"/>
              <a:gd name="connsiteX125" fmla="*/ 2826662 w 7467600"/>
              <a:gd name="connsiteY125" fmla="*/ 4970362 h 6858000"/>
              <a:gd name="connsiteX126" fmla="*/ 2876100 w 7467600"/>
              <a:gd name="connsiteY126" fmla="*/ 4995397 h 6858000"/>
              <a:gd name="connsiteX127" fmla="*/ 3042600 w 7467600"/>
              <a:gd name="connsiteY127" fmla="*/ 5059532 h 6858000"/>
              <a:gd name="connsiteX128" fmla="*/ 1997014 w 7467600"/>
              <a:gd name="connsiteY128" fmla="*/ 4698007 h 6858000"/>
              <a:gd name="connsiteX129" fmla="*/ 2305292 w 7467600"/>
              <a:gd name="connsiteY129" fmla="*/ 4219492 h 6858000"/>
              <a:gd name="connsiteX130" fmla="*/ 3360922 w 7467600"/>
              <a:gd name="connsiteY130" fmla="*/ 4529373 h 6858000"/>
              <a:gd name="connsiteX131" fmla="*/ 3492420 w 7467600"/>
              <a:gd name="connsiteY131" fmla="*/ 4510145 h 6858000"/>
              <a:gd name="connsiteX132" fmla="*/ 3364086 w 7467600"/>
              <a:gd name="connsiteY132" fmla="*/ 4480340 h 6858000"/>
              <a:gd name="connsiteX133" fmla="*/ 3225818 w 7467600"/>
              <a:gd name="connsiteY133" fmla="*/ 4411822 h 6858000"/>
              <a:gd name="connsiteX134" fmla="*/ 3129696 w 7467600"/>
              <a:gd name="connsiteY134" fmla="*/ 4360704 h 6858000"/>
              <a:gd name="connsiteX135" fmla="*/ 2814545 w 7467600"/>
              <a:gd name="connsiteY135" fmla="*/ 4282955 h 6858000"/>
              <a:gd name="connsiteX136" fmla="*/ 2305292 w 7467600"/>
              <a:gd name="connsiteY136" fmla="*/ 4219492 h 6858000"/>
              <a:gd name="connsiteX137" fmla="*/ 2626982 w 7467600"/>
              <a:gd name="connsiteY137" fmla="*/ 4206450 h 6858000"/>
              <a:gd name="connsiteX138" fmla="*/ 2490617 w 7467600"/>
              <a:gd name="connsiteY138" fmla="*/ 4206951 h 6858000"/>
              <a:gd name="connsiteX139" fmla="*/ 2819869 w 7467600"/>
              <a:gd name="connsiteY139" fmla="*/ 4252936 h 6858000"/>
              <a:gd name="connsiteX140" fmla="*/ 3143018 w 7467600"/>
              <a:gd name="connsiteY140" fmla="*/ 4332698 h 6858000"/>
              <a:gd name="connsiteX141" fmla="*/ 3241520 w 7467600"/>
              <a:gd name="connsiteY141" fmla="*/ 4385112 h 6858000"/>
              <a:gd name="connsiteX142" fmla="*/ 3374575 w 7467600"/>
              <a:gd name="connsiteY142" fmla="*/ 4451517 h 6858000"/>
              <a:gd name="connsiteX143" fmla="*/ 3505221 w 7467600"/>
              <a:gd name="connsiteY143" fmla="*/ 4480757 h 6858000"/>
              <a:gd name="connsiteX144" fmla="*/ 2626982 w 7467600"/>
              <a:gd name="connsiteY144" fmla="*/ 4206450 h 6858000"/>
              <a:gd name="connsiteX145" fmla="*/ 1310106 w 7467600"/>
              <a:gd name="connsiteY145" fmla="*/ 3943217 h 6858000"/>
              <a:gd name="connsiteX146" fmla="*/ 854994 w 7467600"/>
              <a:gd name="connsiteY146" fmla="*/ 4399136 h 6858000"/>
              <a:gd name="connsiteX147" fmla="*/ 742462 w 7467600"/>
              <a:gd name="connsiteY147" fmla="*/ 4594648 h 6858000"/>
              <a:gd name="connsiteX148" fmla="*/ 820602 w 7467600"/>
              <a:gd name="connsiteY148" fmla="*/ 4485915 h 6858000"/>
              <a:gd name="connsiteX149" fmla="*/ 878295 w 7467600"/>
              <a:gd name="connsiteY149" fmla="*/ 4403594 h 6858000"/>
              <a:gd name="connsiteX150" fmla="*/ 1240607 w 7467600"/>
              <a:gd name="connsiteY150" fmla="*/ 4010401 h 6858000"/>
              <a:gd name="connsiteX151" fmla="*/ 1310106 w 7467600"/>
              <a:gd name="connsiteY151" fmla="*/ 3943217 h 6858000"/>
              <a:gd name="connsiteX152" fmla="*/ 1423113 w 7467600"/>
              <a:gd name="connsiteY152" fmla="*/ 3874565 h 6858000"/>
              <a:gd name="connsiteX153" fmla="*/ 1260565 w 7467600"/>
              <a:gd name="connsiteY153" fmla="*/ 4031982 h 6858000"/>
              <a:gd name="connsiteX154" fmla="*/ 901900 w 7467600"/>
              <a:gd name="connsiteY154" fmla="*/ 4421236 h 6858000"/>
              <a:gd name="connsiteX155" fmla="*/ 845044 w 7467600"/>
              <a:gd name="connsiteY155" fmla="*/ 4502436 h 6858000"/>
              <a:gd name="connsiteX156" fmla="*/ 685926 w 7467600"/>
              <a:gd name="connsiteY156" fmla="*/ 4703069 h 6858000"/>
              <a:gd name="connsiteX157" fmla="*/ 684248 w 7467600"/>
              <a:gd name="connsiteY157" fmla="*/ 4706721 h 6858000"/>
              <a:gd name="connsiteX158" fmla="*/ 1423113 w 7467600"/>
              <a:gd name="connsiteY158" fmla="*/ 3874565 h 6858000"/>
              <a:gd name="connsiteX159" fmla="*/ 3316479 w 7467600"/>
              <a:gd name="connsiteY159" fmla="*/ 3872136 h 6858000"/>
              <a:gd name="connsiteX160" fmla="*/ 3546806 w 7467600"/>
              <a:gd name="connsiteY160" fmla="*/ 4356139 h 6858000"/>
              <a:gd name="connsiteX161" fmla="*/ 3364433 w 7467600"/>
              <a:gd name="connsiteY161" fmla="*/ 3953121 h 6858000"/>
              <a:gd name="connsiteX162" fmla="*/ 3316479 w 7467600"/>
              <a:gd name="connsiteY162" fmla="*/ 3872136 h 6858000"/>
              <a:gd name="connsiteX163" fmla="*/ 3291335 w 7467600"/>
              <a:gd name="connsiteY163" fmla="*/ 3767420 h 6858000"/>
              <a:gd name="connsiteX164" fmla="*/ 3390805 w 7467600"/>
              <a:gd name="connsiteY164" fmla="*/ 3937163 h 6858000"/>
              <a:gd name="connsiteX165" fmla="*/ 3579062 w 7467600"/>
              <a:gd name="connsiteY165" fmla="*/ 4359040 h 6858000"/>
              <a:gd name="connsiteX166" fmla="*/ 3467355 w 7467600"/>
              <a:gd name="connsiteY166" fmla="*/ 3988130 h 6858000"/>
              <a:gd name="connsiteX167" fmla="*/ 3310753 w 7467600"/>
              <a:gd name="connsiteY167" fmla="*/ 3787140 h 6858000"/>
              <a:gd name="connsiteX168" fmla="*/ 3291335 w 7467600"/>
              <a:gd name="connsiteY168" fmla="*/ 3767420 h 6858000"/>
              <a:gd name="connsiteX169" fmla="*/ 1635889 w 7467600"/>
              <a:gd name="connsiteY169" fmla="*/ 3709494 h 6858000"/>
              <a:gd name="connsiteX170" fmla="*/ 1634800 w 7467600"/>
              <a:gd name="connsiteY170" fmla="*/ 3731111 h 6858000"/>
              <a:gd name="connsiteX171" fmla="*/ 1635889 w 7467600"/>
              <a:gd name="connsiteY171" fmla="*/ 3709494 h 6858000"/>
              <a:gd name="connsiteX172" fmla="*/ 1510397 w 7467600"/>
              <a:gd name="connsiteY172" fmla="*/ 3684705 h 6858000"/>
              <a:gd name="connsiteX173" fmla="*/ 1146550 w 7467600"/>
              <a:gd name="connsiteY173" fmla="*/ 3802012 h 6858000"/>
              <a:gd name="connsiteX174" fmla="*/ 698834 w 7467600"/>
              <a:gd name="connsiteY174" fmla="*/ 3952272 h 6858000"/>
              <a:gd name="connsiteX175" fmla="*/ 34256 w 7467600"/>
              <a:gd name="connsiteY175" fmla="*/ 4347603 h 6858000"/>
              <a:gd name="connsiteX176" fmla="*/ 527241 w 7467600"/>
              <a:gd name="connsiteY176" fmla="*/ 4065078 h 6858000"/>
              <a:gd name="connsiteX177" fmla="*/ 1510397 w 7467600"/>
              <a:gd name="connsiteY177" fmla="*/ 3684705 h 6858000"/>
              <a:gd name="connsiteX178" fmla="*/ 1313114 w 7467600"/>
              <a:gd name="connsiteY178" fmla="*/ 3655216 h 6858000"/>
              <a:gd name="connsiteX179" fmla="*/ 1109304 w 7467600"/>
              <a:gd name="connsiteY179" fmla="*/ 3669030 h 6858000"/>
              <a:gd name="connsiteX180" fmla="*/ 8129 w 7467600"/>
              <a:gd name="connsiteY180" fmla="*/ 4330519 h 6858000"/>
              <a:gd name="connsiteX181" fmla="*/ 687572 w 7467600"/>
              <a:gd name="connsiteY181" fmla="*/ 3925629 h 6858000"/>
              <a:gd name="connsiteX182" fmla="*/ 1138365 w 7467600"/>
              <a:gd name="connsiteY182" fmla="*/ 3774515 h 6858000"/>
              <a:gd name="connsiteX183" fmla="*/ 1505579 w 7467600"/>
              <a:gd name="connsiteY183" fmla="*/ 3655526 h 6858000"/>
              <a:gd name="connsiteX184" fmla="*/ 1313114 w 7467600"/>
              <a:gd name="connsiteY184" fmla="*/ 3655216 h 6858000"/>
              <a:gd name="connsiteX185" fmla="*/ 3655073 w 7467600"/>
              <a:gd name="connsiteY185" fmla="*/ 3650884 h 6858000"/>
              <a:gd name="connsiteX186" fmla="*/ 3989938 w 7467600"/>
              <a:gd name="connsiteY186" fmla="*/ 3991685 h 6858000"/>
              <a:gd name="connsiteX187" fmla="*/ 4393907 w 7467600"/>
              <a:gd name="connsiteY187" fmla="*/ 4261258 h 6858000"/>
              <a:gd name="connsiteX188" fmla="*/ 4648051 w 7467600"/>
              <a:gd name="connsiteY188" fmla="*/ 4374051 h 6858000"/>
              <a:gd name="connsiteX189" fmla="*/ 4383389 w 7467600"/>
              <a:gd name="connsiteY189" fmla="*/ 4184369 h 6858000"/>
              <a:gd name="connsiteX190" fmla="*/ 4165508 w 7467600"/>
              <a:gd name="connsiteY190" fmla="*/ 4035196 h 6858000"/>
              <a:gd name="connsiteX191" fmla="*/ 4068162 w 7467600"/>
              <a:gd name="connsiteY191" fmla="*/ 3953394 h 6858000"/>
              <a:gd name="connsiteX192" fmla="*/ 3981416 w 7467600"/>
              <a:gd name="connsiteY192" fmla="*/ 3880482 h 6858000"/>
              <a:gd name="connsiteX193" fmla="*/ 3800147 w 7467600"/>
              <a:gd name="connsiteY193" fmla="*/ 3749872 h 6858000"/>
              <a:gd name="connsiteX194" fmla="*/ 3655073 w 7467600"/>
              <a:gd name="connsiteY194" fmla="*/ 3650884 h 6858000"/>
              <a:gd name="connsiteX195" fmla="*/ 3670252 w 7467600"/>
              <a:gd name="connsiteY195" fmla="*/ 3622798 h 6858000"/>
              <a:gd name="connsiteX196" fmla="*/ 3817258 w 7467600"/>
              <a:gd name="connsiteY196" fmla="*/ 3723577 h 6858000"/>
              <a:gd name="connsiteX197" fmla="*/ 4000461 w 7467600"/>
              <a:gd name="connsiteY197" fmla="*/ 3855966 h 6858000"/>
              <a:gd name="connsiteX198" fmla="*/ 4088180 w 7467600"/>
              <a:gd name="connsiteY198" fmla="*/ 3929774 h 6858000"/>
              <a:gd name="connsiteX199" fmla="*/ 4184555 w 7467600"/>
              <a:gd name="connsiteY199" fmla="*/ 4010683 h 6858000"/>
              <a:gd name="connsiteX200" fmla="*/ 4399563 w 7467600"/>
              <a:gd name="connsiteY200" fmla="*/ 4158106 h 6858000"/>
              <a:gd name="connsiteX201" fmla="*/ 4684469 w 7467600"/>
              <a:gd name="connsiteY201" fmla="*/ 4364680 h 6858000"/>
              <a:gd name="connsiteX202" fmla="*/ 4690271 w 7467600"/>
              <a:gd name="connsiteY202" fmla="*/ 4370034 h 6858000"/>
              <a:gd name="connsiteX203" fmla="*/ 4136093 w 7467600"/>
              <a:gd name="connsiteY203" fmla="*/ 3858466 h 6858000"/>
              <a:gd name="connsiteX204" fmla="*/ 3670252 w 7467600"/>
              <a:gd name="connsiteY204" fmla="*/ 3622798 h 6858000"/>
              <a:gd name="connsiteX205" fmla="*/ 4440129 w 7467600"/>
              <a:gd name="connsiteY205" fmla="*/ 3448571 h 6858000"/>
              <a:gd name="connsiteX206" fmla="*/ 4856525 w 7467600"/>
              <a:gd name="connsiteY206" fmla="*/ 3915351 h 6858000"/>
              <a:gd name="connsiteX207" fmla="*/ 5059055 w 7467600"/>
              <a:gd name="connsiteY207" fmla="*/ 4108918 h 6858000"/>
              <a:gd name="connsiteX208" fmla="*/ 5290070 w 7467600"/>
              <a:gd name="connsiteY208" fmla="*/ 4263619 h 6858000"/>
              <a:gd name="connsiteX209" fmla="*/ 4834991 w 7467600"/>
              <a:gd name="connsiteY209" fmla="*/ 3830985 h 6858000"/>
              <a:gd name="connsiteX210" fmla="*/ 4440129 w 7467600"/>
              <a:gd name="connsiteY210" fmla="*/ 3448571 h 6858000"/>
              <a:gd name="connsiteX211" fmla="*/ 4441737 w 7467600"/>
              <a:gd name="connsiteY211" fmla="*/ 3399734 h 6858000"/>
              <a:gd name="connsiteX212" fmla="*/ 4431236 w 7467600"/>
              <a:gd name="connsiteY212" fmla="*/ 3400954 h 6858000"/>
              <a:gd name="connsiteX213" fmla="*/ 4557150 w 7467600"/>
              <a:gd name="connsiteY213" fmla="*/ 3510023 h 6858000"/>
              <a:gd name="connsiteX214" fmla="*/ 4856936 w 7467600"/>
              <a:gd name="connsiteY214" fmla="*/ 3809146 h 6858000"/>
              <a:gd name="connsiteX215" fmla="*/ 5111996 w 7467600"/>
              <a:gd name="connsiteY215" fmla="*/ 4065759 h 6858000"/>
              <a:gd name="connsiteX216" fmla="*/ 5388878 w 7467600"/>
              <a:gd name="connsiteY216" fmla="*/ 4300185 h 6858000"/>
              <a:gd name="connsiteX217" fmla="*/ 5425556 w 7467600"/>
              <a:gd name="connsiteY217" fmla="*/ 4308967 h 6858000"/>
              <a:gd name="connsiteX218" fmla="*/ 4943646 w 7467600"/>
              <a:gd name="connsiteY218" fmla="*/ 3822916 h 6858000"/>
              <a:gd name="connsiteX219" fmla="*/ 4594837 w 7467600"/>
              <a:gd name="connsiteY219" fmla="*/ 3532274 h 6858000"/>
              <a:gd name="connsiteX220" fmla="*/ 4441737 w 7467600"/>
              <a:gd name="connsiteY220" fmla="*/ 3399734 h 6858000"/>
              <a:gd name="connsiteX221" fmla="*/ 5425834 w 7467600"/>
              <a:gd name="connsiteY221" fmla="*/ 3162785 h 6858000"/>
              <a:gd name="connsiteX222" fmla="*/ 5401644 w 7467600"/>
              <a:gd name="connsiteY222" fmla="*/ 3617847 h 6858000"/>
              <a:gd name="connsiteX223" fmla="*/ 5467256 w 7467600"/>
              <a:gd name="connsiteY223" fmla="*/ 4175494 h 6858000"/>
              <a:gd name="connsiteX224" fmla="*/ 5448069 w 7467600"/>
              <a:gd name="connsiteY224" fmla="*/ 3567554 h 6858000"/>
              <a:gd name="connsiteX225" fmla="*/ 5425834 w 7467600"/>
              <a:gd name="connsiteY225" fmla="*/ 3162785 h 6858000"/>
              <a:gd name="connsiteX226" fmla="*/ 1318687 w 7467600"/>
              <a:gd name="connsiteY226" fmla="*/ 3113840 h 6858000"/>
              <a:gd name="connsiteX227" fmla="*/ 1066793 w 7467600"/>
              <a:gd name="connsiteY227" fmla="*/ 3212171 h 6858000"/>
              <a:gd name="connsiteX228" fmla="*/ 993319 w 7467600"/>
              <a:gd name="connsiteY228" fmla="*/ 3247648 h 6858000"/>
              <a:gd name="connsiteX229" fmla="*/ 853081 w 7467600"/>
              <a:gd name="connsiteY229" fmla="*/ 3312410 h 6858000"/>
              <a:gd name="connsiteX230" fmla="*/ 805957 w 7467600"/>
              <a:gd name="connsiteY230" fmla="*/ 3330443 h 6858000"/>
              <a:gd name="connsiteX231" fmla="*/ 1318687 w 7467600"/>
              <a:gd name="connsiteY231" fmla="*/ 3113840 h 6858000"/>
              <a:gd name="connsiteX232" fmla="*/ 5453702 w 7467600"/>
              <a:gd name="connsiteY232" fmla="*/ 3090882 h 6858000"/>
              <a:gd name="connsiteX233" fmla="*/ 5480135 w 7467600"/>
              <a:gd name="connsiteY233" fmla="*/ 3565802 h 6858000"/>
              <a:gd name="connsiteX234" fmla="*/ 5499023 w 7467600"/>
              <a:gd name="connsiteY234" fmla="*/ 4166310 h 6858000"/>
              <a:gd name="connsiteX235" fmla="*/ 5547022 w 7467600"/>
              <a:gd name="connsiteY235" fmla="*/ 3607838 h 6858000"/>
              <a:gd name="connsiteX236" fmla="*/ 5515964 w 7467600"/>
              <a:gd name="connsiteY236" fmla="*/ 3378541 h 6858000"/>
              <a:gd name="connsiteX237" fmla="*/ 5453702 w 7467600"/>
              <a:gd name="connsiteY237" fmla="*/ 3090882 h 6858000"/>
              <a:gd name="connsiteX238" fmla="*/ 1238695 w 7467600"/>
              <a:gd name="connsiteY238" fmla="*/ 3076820 h 6858000"/>
              <a:gd name="connsiteX239" fmla="*/ 716371 w 7467600"/>
              <a:gd name="connsiteY239" fmla="*/ 3293249 h 6858000"/>
              <a:gd name="connsiteX240" fmla="*/ 579522 w 7467600"/>
              <a:gd name="connsiteY240" fmla="*/ 3371759 h 6858000"/>
              <a:gd name="connsiteX241" fmla="*/ 600288 w 7467600"/>
              <a:gd name="connsiteY241" fmla="*/ 3365555 h 6858000"/>
              <a:gd name="connsiteX242" fmla="*/ 840692 w 7467600"/>
              <a:gd name="connsiteY242" fmla="*/ 3284921 h 6858000"/>
              <a:gd name="connsiteX243" fmla="*/ 979248 w 7467600"/>
              <a:gd name="connsiteY243" fmla="*/ 3221003 h 6858000"/>
              <a:gd name="connsiteX244" fmla="*/ 1053282 w 7467600"/>
              <a:gd name="connsiteY244" fmla="*/ 3185247 h 6858000"/>
              <a:gd name="connsiteX245" fmla="*/ 1320603 w 7467600"/>
              <a:gd name="connsiteY245" fmla="*/ 3081281 h 6858000"/>
              <a:gd name="connsiteX246" fmla="*/ 1238695 w 7467600"/>
              <a:gd name="connsiteY246" fmla="*/ 3076820 h 6858000"/>
              <a:gd name="connsiteX247" fmla="*/ 5425627 w 7467600"/>
              <a:gd name="connsiteY247" fmla="*/ 2954192 h 6858000"/>
              <a:gd name="connsiteX248" fmla="*/ 5470770 w 7467600"/>
              <a:gd name="connsiteY248" fmla="*/ 3005435 h 6858000"/>
              <a:gd name="connsiteX249" fmla="*/ 5519779 w 7467600"/>
              <a:gd name="connsiteY249" fmla="*/ 4359223 h 6858000"/>
              <a:gd name="connsiteX250" fmla="*/ 5520293 w 7467600"/>
              <a:gd name="connsiteY250" fmla="*/ 4360602 h 6858000"/>
              <a:gd name="connsiteX251" fmla="*/ 5767221 w 7467600"/>
              <a:gd name="connsiteY251" fmla="*/ 4665564 h 6858000"/>
              <a:gd name="connsiteX252" fmla="*/ 6937169 w 7467600"/>
              <a:gd name="connsiteY252" fmla="*/ 4815941 h 6858000"/>
              <a:gd name="connsiteX253" fmla="*/ 6953922 w 7467600"/>
              <a:gd name="connsiteY253" fmla="*/ 4890068 h 6858000"/>
              <a:gd name="connsiteX254" fmla="*/ 6071359 w 7467600"/>
              <a:gd name="connsiteY254" fmla="*/ 4770770 h 6858000"/>
              <a:gd name="connsiteX255" fmla="*/ 6038839 w 7467600"/>
              <a:gd name="connsiteY255" fmla="*/ 4764474 h 6858000"/>
              <a:gd name="connsiteX256" fmla="*/ 6038706 w 7467600"/>
              <a:gd name="connsiteY256" fmla="*/ 4763847 h 6858000"/>
              <a:gd name="connsiteX257" fmla="*/ 6037784 w 7467600"/>
              <a:gd name="connsiteY257" fmla="*/ 4764270 h 6858000"/>
              <a:gd name="connsiteX258" fmla="*/ 6038839 w 7467600"/>
              <a:gd name="connsiteY258" fmla="*/ 4764474 h 6858000"/>
              <a:gd name="connsiteX259" fmla="*/ 6040338 w 7467600"/>
              <a:gd name="connsiteY259" fmla="*/ 4771418 h 6858000"/>
              <a:gd name="connsiteX260" fmla="*/ 6024488 w 7467600"/>
              <a:gd name="connsiteY260" fmla="*/ 4809903 h 6858000"/>
              <a:gd name="connsiteX261" fmla="*/ 5599771 w 7467600"/>
              <a:gd name="connsiteY261" fmla="*/ 5509652 h 6858000"/>
              <a:gd name="connsiteX262" fmla="*/ 5548843 w 7467600"/>
              <a:gd name="connsiteY262" fmla="*/ 5563845 h 6858000"/>
              <a:gd name="connsiteX263" fmla="*/ 5940952 w 7467600"/>
              <a:gd name="connsiteY263" fmla="*/ 6250028 h 6858000"/>
              <a:gd name="connsiteX264" fmla="*/ 6043441 w 7467600"/>
              <a:gd name="connsiteY264" fmla="*/ 6665847 h 6858000"/>
              <a:gd name="connsiteX265" fmla="*/ 6093432 w 7467600"/>
              <a:gd name="connsiteY265" fmla="*/ 6858000 h 6858000"/>
              <a:gd name="connsiteX266" fmla="*/ 6034344 w 7467600"/>
              <a:gd name="connsiteY266" fmla="*/ 6858000 h 6858000"/>
              <a:gd name="connsiteX267" fmla="*/ 6026679 w 7467600"/>
              <a:gd name="connsiteY267" fmla="*/ 6836959 h 6858000"/>
              <a:gd name="connsiteX268" fmla="*/ 5800441 w 7467600"/>
              <a:gd name="connsiteY268" fmla="*/ 6335286 h 6858000"/>
              <a:gd name="connsiteX269" fmla="*/ 5526562 w 7467600"/>
              <a:gd name="connsiteY269" fmla="*/ 5705388 h 6858000"/>
              <a:gd name="connsiteX270" fmla="*/ 5519640 w 7467600"/>
              <a:gd name="connsiteY270" fmla="*/ 5683774 h 6858000"/>
              <a:gd name="connsiteX271" fmla="*/ 5844559 w 7467600"/>
              <a:gd name="connsiteY271" fmla="*/ 6553349 h 6858000"/>
              <a:gd name="connsiteX272" fmla="*/ 5975994 w 7467600"/>
              <a:gd name="connsiteY272" fmla="*/ 6858000 h 6858000"/>
              <a:gd name="connsiteX273" fmla="*/ 5898547 w 7467600"/>
              <a:gd name="connsiteY273" fmla="*/ 6858000 h 6858000"/>
              <a:gd name="connsiteX274" fmla="*/ 5682041 w 7467600"/>
              <a:gd name="connsiteY274" fmla="*/ 6355860 h 6858000"/>
              <a:gd name="connsiteX275" fmla="*/ 5461758 w 7467600"/>
              <a:gd name="connsiteY275" fmla="*/ 5820220 h 6858000"/>
              <a:gd name="connsiteX276" fmla="*/ 5237282 w 7467600"/>
              <a:gd name="connsiteY276" fmla="*/ 6579086 h 6858000"/>
              <a:gd name="connsiteX277" fmla="*/ 5115009 w 7467600"/>
              <a:gd name="connsiteY277" fmla="*/ 6858000 h 6858000"/>
              <a:gd name="connsiteX278" fmla="*/ 5028074 w 7467600"/>
              <a:gd name="connsiteY278" fmla="*/ 6858000 h 6858000"/>
              <a:gd name="connsiteX279" fmla="*/ 5079508 w 7467600"/>
              <a:gd name="connsiteY279" fmla="*/ 6749074 h 6858000"/>
              <a:gd name="connsiteX280" fmla="*/ 5371846 w 7467600"/>
              <a:gd name="connsiteY280" fmla="*/ 5924413 h 6858000"/>
              <a:gd name="connsiteX281" fmla="*/ 5270512 w 7467600"/>
              <a:gd name="connsiteY281" fmla="*/ 6138975 h 6858000"/>
              <a:gd name="connsiteX282" fmla="*/ 5062409 w 7467600"/>
              <a:gd name="connsiteY282" fmla="*/ 6653544 h 6858000"/>
              <a:gd name="connsiteX283" fmla="*/ 5036628 w 7467600"/>
              <a:gd name="connsiteY283" fmla="*/ 6754247 h 6858000"/>
              <a:gd name="connsiteX284" fmla="*/ 5009112 w 7467600"/>
              <a:gd name="connsiteY284" fmla="*/ 6858000 h 6858000"/>
              <a:gd name="connsiteX285" fmla="*/ 4976679 w 7467600"/>
              <a:gd name="connsiteY285" fmla="*/ 6858000 h 6858000"/>
              <a:gd name="connsiteX286" fmla="*/ 5006537 w 7467600"/>
              <a:gd name="connsiteY286" fmla="*/ 6747068 h 6858000"/>
              <a:gd name="connsiteX287" fmla="*/ 5032723 w 7467600"/>
              <a:gd name="connsiteY287" fmla="*/ 6644957 h 6858000"/>
              <a:gd name="connsiteX288" fmla="*/ 5242949 w 7467600"/>
              <a:gd name="connsiteY288" fmla="*/ 6125175 h 6858000"/>
              <a:gd name="connsiteX289" fmla="*/ 5286321 w 7467600"/>
              <a:gd name="connsiteY289" fmla="*/ 6033555 h 6858000"/>
              <a:gd name="connsiteX290" fmla="*/ 5008210 w 7467600"/>
              <a:gd name="connsiteY290" fmla="*/ 6649194 h 6858000"/>
              <a:gd name="connsiteX291" fmla="*/ 4986321 w 7467600"/>
              <a:gd name="connsiteY291" fmla="*/ 6765687 h 6858000"/>
              <a:gd name="connsiteX292" fmla="*/ 4973474 w 7467600"/>
              <a:gd name="connsiteY292" fmla="*/ 6858000 h 6858000"/>
              <a:gd name="connsiteX293" fmla="*/ 4907178 w 7467600"/>
              <a:gd name="connsiteY293" fmla="*/ 6858000 h 6858000"/>
              <a:gd name="connsiteX294" fmla="*/ 4910810 w 7467600"/>
              <a:gd name="connsiteY294" fmla="*/ 6829660 h 6858000"/>
              <a:gd name="connsiteX295" fmla="*/ 4987461 w 7467600"/>
              <a:gd name="connsiteY295" fmla="*/ 6432994 h 6858000"/>
              <a:gd name="connsiteX296" fmla="*/ 5179262 w 7467600"/>
              <a:gd name="connsiteY296" fmla="*/ 6035044 h 6858000"/>
              <a:gd name="connsiteX297" fmla="*/ 4689678 w 7467600"/>
              <a:gd name="connsiteY297" fmla="*/ 6440241 h 6858000"/>
              <a:gd name="connsiteX298" fmla="*/ 4477543 w 7467600"/>
              <a:gd name="connsiteY298" fmla="*/ 6674836 h 6858000"/>
              <a:gd name="connsiteX299" fmla="*/ 4329957 w 7467600"/>
              <a:gd name="connsiteY299" fmla="*/ 6858000 h 6858000"/>
              <a:gd name="connsiteX300" fmla="*/ 4218595 w 7467600"/>
              <a:gd name="connsiteY300" fmla="*/ 6858000 h 6858000"/>
              <a:gd name="connsiteX301" fmla="*/ 4368888 w 7467600"/>
              <a:gd name="connsiteY301" fmla="*/ 6668412 h 6858000"/>
              <a:gd name="connsiteX302" fmla="*/ 4563091 w 7467600"/>
              <a:gd name="connsiteY302" fmla="*/ 6442508 h 6858000"/>
              <a:gd name="connsiteX303" fmla="*/ 5387324 w 7467600"/>
              <a:gd name="connsiteY303" fmla="*/ 5705830 h 6858000"/>
              <a:gd name="connsiteX304" fmla="*/ 5073620 w 7467600"/>
              <a:gd name="connsiteY304" fmla="*/ 5955437 h 6858000"/>
              <a:gd name="connsiteX305" fmla="*/ 4689789 w 7467600"/>
              <a:gd name="connsiteY305" fmla="*/ 6268382 h 6858000"/>
              <a:gd name="connsiteX306" fmla="*/ 4418722 w 7467600"/>
              <a:gd name="connsiteY306" fmla="*/ 6570886 h 6858000"/>
              <a:gd name="connsiteX307" fmla="*/ 4214944 w 7467600"/>
              <a:gd name="connsiteY307" fmla="*/ 6858000 h 6858000"/>
              <a:gd name="connsiteX308" fmla="*/ 4177898 w 7467600"/>
              <a:gd name="connsiteY308" fmla="*/ 6858000 h 6858000"/>
              <a:gd name="connsiteX309" fmla="*/ 4391597 w 7467600"/>
              <a:gd name="connsiteY309" fmla="*/ 6556370 h 6858000"/>
              <a:gd name="connsiteX310" fmla="*/ 4668889 w 7467600"/>
              <a:gd name="connsiteY310" fmla="*/ 6246399 h 6858000"/>
              <a:gd name="connsiteX311" fmla="*/ 5055427 w 7467600"/>
              <a:gd name="connsiteY311" fmla="*/ 5931476 h 6858000"/>
              <a:gd name="connsiteX312" fmla="*/ 5371814 w 7467600"/>
              <a:gd name="connsiteY312" fmla="*/ 5678975 h 6858000"/>
              <a:gd name="connsiteX313" fmla="*/ 4987918 w 7467600"/>
              <a:gd name="connsiteY313" fmla="*/ 5838701 h 6858000"/>
              <a:gd name="connsiteX314" fmla="*/ 4317146 w 7467600"/>
              <a:gd name="connsiteY314" fmla="*/ 6587716 h 6858000"/>
              <a:gd name="connsiteX315" fmla="*/ 4171627 w 7467600"/>
              <a:gd name="connsiteY315" fmla="*/ 6858000 h 6858000"/>
              <a:gd name="connsiteX316" fmla="*/ 4081585 w 7467600"/>
              <a:gd name="connsiteY316" fmla="*/ 6858000 h 6858000"/>
              <a:gd name="connsiteX317" fmla="*/ 4238603 w 7467600"/>
              <a:gd name="connsiteY317" fmla="*/ 6559341 h 6858000"/>
              <a:gd name="connsiteX318" fmla="*/ 4778333 w 7467600"/>
              <a:gd name="connsiteY318" fmla="*/ 5873626 h 6858000"/>
              <a:gd name="connsiteX319" fmla="*/ 5414185 w 7467600"/>
              <a:gd name="connsiteY319" fmla="*/ 5573882 h 6858000"/>
              <a:gd name="connsiteX320" fmla="*/ 5959648 w 7467600"/>
              <a:gd name="connsiteY320" fmla="*/ 4760797 h 6858000"/>
              <a:gd name="connsiteX321" fmla="*/ 5355019 w 7467600"/>
              <a:gd name="connsiteY321" fmla="*/ 4734672 h 6858000"/>
              <a:gd name="connsiteX322" fmla="*/ 5083565 w 7467600"/>
              <a:gd name="connsiteY322" fmla="*/ 5179121 h 6858000"/>
              <a:gd name="connsiteX323" fmla="*/ 4713577 w 7467600"/>
              <a:gd name="connsiteY323" fmla="*/ 5616803 h 6858000"/>
              <a:gd name="connsiteX324" fmla="*/ 3989559 w 7467600"/>
              <a:gd name="connsiteY324" fmla="*/ 6145945 h 6858000"/>
              <a:gd name="connsiteX325" fmla="*/ 3939824 w 7467600"/>
              <a:gd name="connsiteY325" fmla="*/ 6066900 h 6858000"/>
              <a:gd name="connsiteX326" fmla="*/ 4584537 w 7467600"/>
              <a:gd name="connsiteY326" fmla="*/ 5324826 h 6858000"/>
              <a:gd name="connsiteX327" fmla="*/ 5037105 w 7467600"/>
              <a:gd name="connsiteY327" fmla="*/ 5088765 h 6858000"/>
              <a:gd name="connsiteX328" fmla="*/ 5039930 w 7467600"/>
              <a:gd name="connsiteY328" fmla="*/ 5089585 h 6858000"/>
              <a:gd name="connsiteX329" fmla="*/ 5263764 w 7467600"/>
              <a:gd name="connsiteY329" fmla="*/ 4735525 h 6858000"/>
              <a:gd name="connsiteX330" fmla="*/ 4086300 w 7467600"/>
              <a:gd name="connsiteY330" fmla="*/ 4884599 h 6858000"/>
              <a:gd name="connsiteX331" fmla="*/ 4085485 w 7467600"/>
              <a:gd name="connsiteY331" fmla="*/ 4899070 h 6858000"/>
              <a:gd name="connsiteX332" fmla="*/ 3871915 w 7467600"/>
              <a:gd name="connsiteY332" fmla="*/ 5253645 h 6858000"/>
              <a:gd name="connsiteX333" fmla="*/ 3799374 w 7467600"/>
              <a:gd name="connsiteY333" fmla="*/ 5466127 h 6858000"/>
              <a:gd name="connsiteX334" fmla="*/ 3498850 w 7467600"/>
              <a:gd name="connsiteY334" fmla="*/ 6661888 h 6858000"/>
              <a:gd name="connsiteX335" fmla="*/ 3399216 w 7467600"/>
              <a:gd name="connsiteY335" fmla="*/ 6858000 h 6858000"/>
              <a:gd name="connsiteX336" fmla="*/ 3303688 w 7467600"/>
              <a:gd name="connsiteY336" fmla="*/ 6858000 h 6858000"/>
              <a:gd name="connsiteX337" fmla="*/ 3391774 w 7467600"/>
              <a:gd name="connsiteY337" fmla="*/ 6697181 h 6858000"/>
              <a:gd name="connsiteX338" fmla="*/ 3735540 w 7467600"/>
              <a:gd name="connsiteY338" fmla="*/ 5546923 h 6858000"/>
              <a:gd name="connsiteX339" fmla="*/ 3729438 w 7467600"/>
              <a:gd name="connsiteY339" fmla="*/ 5569058 h 6858000"/>
              <a:gd name="connsiteX340" fmla="*/ 3707782 w 7467600"/>
              <a:gd name="connsiteY340" fmla="*/ 5644908 h 6858000"/>
              <a:gd name="connsiteX341" fmla="*/ 3583827 w 7467600"/>
              <a:gd name="connsiteY341" fmla="*/ 6039215 h 6858000"/>
              <a:gd name="connsiteX342" fmla="*/ 3547861 w 7467600"/>
              <a:gd name="connsiteY342" fmla="*/ 6129609 h 6858000"/>
              <a:gd name="connsiteX343" fmla="*/ 3490905 w 7467600"/>
              <a:gd name="connsiteY343" fmla="*/ 6277660 h 6858000"/>
              <a:gd name="connsiteX344" fmla="*/ 3455859 w 7467600"/>
              <a:gd name="connsiteY344" fmla="*/ 6391301 h 6858000"/>
              <a:gd name="connsiteX345" fmla="*/ 3429112 w 7467600"/>
              <a:gd name="connsiteY345" fmla="*/ 6479469 h 6858000"/>
              <a:gd name="connsiteX346" fmla="*/ 3304862 w 7467600"/>
              <a:gd name="connsiteY346" fmla="*/ 6796476 h 6858000"/>
              <a:gd name="connsiteX347" fmla="*/ 3276071 w 7467600"/>
              <a:gd name="connsiteY347" fmla="*/ 6858000 h 6858000"/>
              <a:gd name="connsiteX348" fmla="*/ 3240805 w 7467600"/>
              <a:gd name="connsiteY348" fmla="*/ 6858000 h 6858000"/>
              <a:gd name="connsiteX349" fmla="*/ 3275917 w 7467600"/>
              <a:gd name="connsiteY349" fmla="*/ 6783192 h 6858000"/>
              <a:gd name="connsiteX350" fmla="*/ 3399358 w 7467600"/>
              <a:gd name="connsiteY350" fmla="*/ 6469011 h 6858000"/>
              <a:gd name="connsiteX351" fmla="*/ 3425650 w 7467600"/>
              <a:gd name="connsiteY351" fmla="*/ 6381333 h 6858000"/>
              <a:gd name="connsiteX352" fmla="*/ 3460661 w 7467600"/>
              <a:gd name="connsiteY352" fmla="*/ 6266763 h 6858000"/>
              <a:gd name="connsiteX353" fmla="*/ 3518021 w 7467600"/>
              <a:gd name="connsiteY353" fmla="*/ 6117298 h 6858000"/>
              <a:gd name="connsiteX354" fmla="*/ 3554035 w 7467600"/>
              <a:gd name="connsiteY354" fmla="*/ 6027832 h 6858000"/>
              <a:gd name="connsiteX355" fmla="*/ 3677174 w 7467600"/>
              <a:gd name="connsiteY355" fmla="*/ 5636351 h 6858000"/>
              <a:gd name="connsiteX356" fmla="*/ 3698819 w 7467600"/>
              <a:gd name="connsiteY356" fmla="*/ 5560503 h 6858000"/>
              <a:gd name="connsiteX357" fmla="*/ 3702094 w 7467600"/>
              <a:gd name="connsiteY357" fmla="*/ 5549194 h 6858000"/>
              <a:gd name="connsiteX358" fmla="*/ 3398355 w 7467600"/>
              <a:gd name="connsiteY358" fmla="*/ 6094603 h 6858000"/>
              <a:gd name="connsiteX359" fmla="*/ 3193941 w 7467600"/>
              <a:gd name="connsiteY359" fmla="*/ 6798775 h 6858000"/>
              <a:gd name="connsiteX360" fmla="*/ 3184140 w 7467600"/>
              <a:gd name="connsiteY360" fmla="*/ 6858000 h 6858000"/>
              <a:gd name="connsiteX361" fmla="*/ 3099978 w 7467600"/>
              <a:gd name="connsiteY361" fmla="*/ 6858000 h 6858000"/>
              <a:gd name="connsiteX362" fmla="*/ 3101556 w 7467600"/>
              <a:gd name="connsiteY362" fmla="*/ 6843337 h 6858000"/>
              <a:gd name="connsiteX363" fmla="*/ 3370162 w 7467600"/>
              <a:gd name="connsiteY363" fmla="*/ 5785550 h 6858000"/>
              <a:gd name="connsiteX364" fmla="*/ 3746477 w 7467600"/>
              <a:gd name="connsiteY364" fmla="*/ 5377889 h 6858000"/>
              <a:gd name="connsiteX365" fmla="*/ 3863399 w 7467600"/>
              <a:gd name="connsiteY365" fmla="*/ 5087257 h 6858000"/>
              <a:gd name="connsiteX366" fmla="*/ 3968712 w 7467600"/>
              <a:gd name="connsiteY366" fmla="*/ 4913989 h 6858000"/>
              <a:gd name="connsiteX367" fmla="*/ 2792390 w 7467600"/>
              <a:gd name="connsiteY367" fmla="*/ 5382974 h 6858000"/>
              <a:gd name="connsiteX368" fmla="*/ 2714982 w 7467600"/>
              <a:gd name="connsiteY368" fmla="*/ 5427051 h 6858000"/>
              <a:gd name="connsiteX369" fmla="*/ 2813361 w 7467600"/>
              <a:gd name="connsiteY369" fmla="*/ 6023912 h 6858000"/>
              <a:gd name="connsiteX370" fmla="*/ 2688430 w 7467600"/>
              <a:gd name="connsiteY370" fmla="*/ 6801564 h 6858000"/>
              <a:gd name="connsiteX371" fmla="*/ 2629626 w 7467600"/>
              <a:gd name="connsiteY371" fmla="*/ 6763394 h 6858000"/>
              <a:gd name="connsiteX372" fmla="*/ 2565328 w 7467600"/>
              <a:gd name="connsiteY372" fmla="*/ 5516399 h 6858000"/>
              <a:gd name="connsiteX373" fmla="*/ 1922999 w 7467600"/>
              <a:gd name="connsiteY373" fmla="*/ 5980343 h 6858000"/>
              <a:gd name="connsiteX374" fmla="*/ 1950261 w 7467600"/>
              <a:gd name="connsiteY374" fmla="*/ 6405858 h 6858000"/>
              <a:gd name="connsiteX375" fmla="*/ 2365554 w 7467600"/>
              <a:gd name="connsiteY375" fmla="*/ 6759107 h 6858000"/>
              <a:gd name="connsiteX376" fmla="*/ 2424142 w 7467600"/>
              <a:gd name="connsiteY376" fmla="*/ 6858000 h 6858000"/>
              <a:gd name="connsiteX377" fmla="*/ 2395994 w 7467600"/>
              <a:gd name="connsiteY377" fmla="*/ 6858000 h 6858000"/>
              <a:gd name="connsiteX378" fmla="*/ 2392863 w 7467600"/>
              <a:gd name="connsiteY378" fmla="*/ 6852964 h 6858000"/>
              <a:gd name="connsiteX379" fmla="*/ 2017589 w 7467600"/>
              <a:gd name="connsiteY379" fmla="*/ 6493982 h 6858000"/>
              <a:gd name="connsiteX380" fmla="*/ 2147336 w 7467600"/>
              <a:gd name="connsiteY380" fmla="*/ 6594052 h 6858000"/>
              <a:gd name="connsiteX381" fmla="*/ 2207047 w 7467600"/>
              <a:gd name="connsiteY381" fmla="*/ 6654540 h 6858000"/>
              <a:gd name="connsiteX382" fmla="*/ 2299106 w 7467600"/>
              <a:gd name="connsiteY382" fmla="*/ 6778931 h 6858000"/>
              <a:gd name="connsiteX383" fmla="*/ 2314430 w 7467600"/>
              <a:gd name="connsiteY383" fmla="*/ 6801144 h 6858000"/>
              <a:gd name="connsiteX384" fmla="*/ 2352406 w 7467600"/>
              <a:gd name="connsiteY384" fmla="*/ 6858000 h 6858000"/>
              <a:gd name="connsiteX385" fmla="*/ 2314492 w 7467600"/>
              <a:gd name="connsiteY385" fmla="*/ 6858000 h 6858000"/>
              <a:gd name="connsiteX386" fmla="*/ 2288095 w 7467600"/>
              <a:gd name="connsiteY386" fmla="*/ 6818030 h 6858000"/>
              <a:gd name="connsiteX387" fmla="*/ 2272768 w 7467600"/>
              <a:gd name="connsiteY387" fmla="*/ 6795822 h 6858000"/>
              <a:gd name="connsiteX388" fmla="*/ 2182715 w 7467600"/>
              <a:gd name="connsiteY388" fmla="*/ 6675071 h 6858000"/>
              <a:gd name="connsiteX389" fmla="*/ 2032061 w 7467600"/>
              <a:gd name="connsiteY389" fmla="*/ 6541380 h 6858000"/>
              <a:gd name="connsiteX390" fmla="*/ 2257220 w 7467600"/>
              <a:gd name="connsiteY390" fmla="*/ 6826257 h 6858000"/>
              <a:gd name="connsiteX391" fmla="*/ 2281324 w 7467600"/>
              <a:gd name="connsiteY391" fmla="*/ 6858000 h 6858000"/>
              <a:gd name="connsiteX392" fmla="*/ 2242860 w 7467600"/>
              <a:gd name="connsiteY392" fmla="*/ 6858000 h 6858000"/>
              <a:gd name="connsiteX393" fmla="*/ 2232818 w 7467600"/>
              <a:gd name="connsiteY393" fmla="*/ 6844926 h 6858000"/>
              <a:gd name="connsiteX394" fmla="*/ 1990172 w 7467600"/>
              <a:gd name="connsiteY394" fmla="*/ 6542121 h 6858000"/>
              <a:gd name="connsiteX395" fmla="*/ 2124090 w 7467600"/>
              <a:gd name="connsiteY395" fmla="*/ 6761017 h 6858000"/>
              <a:gd name="connsiteX396" fmla="*/ 2200380 w 7467600"/>
              <a:gd name="connsiteY396" fmla="*/ 6858000 h 6858000"/>
              <a:gd name="connsiteX397" fmla="*/ 2147507 w 7467600"/>
              <a:gd name="connsiteY397" fmla="*/ 6858000 h 6858000"/>
              <a:gd name="connsiteX398" fmla="*/ 2070668 w 7467600"/>
              <a:gd name="connsiteY398" fmla="*/ 6761520 h 6858000"/>
              <a:gd name="connsiteX399" fmla="*/ 1975142 w 7467600"/>
              <a:gd name="connsiteY399" fmla="*/ 6585570 h 6858000"/>
              <a:gd name="connsiteX400" fmla="*/ 2050035 w 7467600"/>
              <a:gd name="connsiteY400" fmla="*/ 6813345 h 6858000"/>
              <a:gd name="connsiteX401" fmla="*/ 2063025 w 7467600"/>
              <a:gd name="connsiteY401" fmla="*/ 6858000 h 6858000"/>
              <a:gd name="connsiteX402" fmla="*/ 2021675 w 7467600"/>
              <a:gd name="connsiteY402" fmla="*/ 6858000 h 6858000"/>
              <a:gd name="connsiteX403" fmla="*/ 2019308 w 7467600"/>
              <a:gd name="connsiteY403" fmla="*/ 6847118 h 6858000"/>
              <a:gd name="connsiteX404" fmla="*/ 1938835 w 7467600"/>
              <a:gd name="connsiteY404" fmla="*/ 6551160 h 6858000"/>
              <a:gd name="connsiteX405" fmla="*/ 1953230 w 7467600"/>
              <a:gd name="connsiteY405" fmla="*/ 6759699 h 6858000"/>
              <a:gd name="connsiteX406" fmla="*/ 1956763 w 7467600"/>
              <a:gd name="connsiteY406" fmla="*/ 6778191 h 6858000"/>
              <a:gd name="connsiteX407" fmla="*/ 1967925 w 7467600"/>
              <a:gd name="connsiteY407" fmla="*/ 6858000 h 6858000"/>
              <a:gd name="connsiteX408" fmla="*/ 1936622 w 7467600"/>
              <a:gd name="connsiteY408" fmla="*/ 6858000 h 6858000"/>
              <a:gd name="connsiteX409" fmla="*/ 1926261 w 7467600"/>
              <a:gd name="connsiteY409" fmla="*/ 6784064 h 6858000"/>
              <a:gd name="connsiteX410" fmla="*/ 1922724 w 7467600"/>
              <a:gd name="connsiteY410" fmla="*/ 6765577 h 6858000"/>
              <a:gd name="connsiteX411" fmla="*/ 1904650 w 7467600"/>
              <a:gd name="connsiteY411" fmla="*/ 6639616 h 6858000"/>
              <a:gd name="connsiteX412" fmla="*/ 1885273 w 7467600"/>
              <a:gd name="connsiteY412" fmla="*/ 6858000 h 6858000"/>
              <a:gd name="connsiteX413" fmla="*/ 1854363 w 7467600"/>
              <a:gd name="connsiteY413" fmla="*/ 6858000 h 6858000"/>
              <a:gd name="connsiteX414" fmla="*/ 1880391 w 7467600"/>
              <a:gd name="connsiteY414" fmla="*/ 6603796 h 6858000"/>
              <a:gd name="connsiteX415" fmla="*/ 1818273 w 7467600"/>
              <a:gd name="connsiteY415" fmla="*/ 6715729 h 6858000"/>
              <a:gd name="connsiteX416" fmla="*/ 1794691 w 7467600"/>
              <a:gd name="connsiteY416" fmla="*/ 6843239 h 6858000"/>
              <a:gd name="connsiteX417" fmla="*/ 1794914 w 7467600"/>
              <a:gd name="connsiteY417" fmla="*/ 6858000 h 6858000"/>
              <a:gd name="connsiteX418" fmla="*/ 1746128 w 7467600"/>
              <a:gd name="connsiteY418" fmla="*/ 6858000 h 6858000"/>
              <a:gd name="connsiteX419" fmla="*/ 1753934 w 7467600"/>
              <a:gd name="connsiteY419" fmla="*/ 6724796 h 6858000"/>
              <a:gd name="connsiteX420" fmla="*/ 1792053 w 7467600"/>
              <a:gd name="connsiteY420" fmla="*/ 6572396 h 6858000"/>
              <a:gd name="connsiteX421" fmla="*/ 1862248 w 7467600"/>
              <a:gd name="connsiteY421" fmla="*/ 6266397 h 6858000"/>
              <a:gd name="connsiteX422" fmla="*/ 1862250 w 7467600"/>
              <a:gd name="connsiteY422" fmla="*/ 6033531 h 6858000"/>
              <a:gd name="connsiteX423" fmla="*/ 1211999 w 7467600"/>
              <a:gd name="connsiteY423" fmla="*/ 6683610 h 6858000"/>
              <a:gd name="connsiteX424" fmla="*/ 1213266 w 7467600"/>
              <a:gd name="connsiteY424" fmla="*/ 6691947 h 6858000"/>
              <a:gd name="connsiteX425" fmla="*/ 1203370 w 7467600"/>
              <a:gd name="connsiteY425" fmla="*/ 6850676 h 6858000"/>
              <a:gd name="connsiteX426" fmla="*/ 1203671 w 7467600"/>
              <a:gd name="connsiteY426" fmla="*/ 6858000 h 6858000"/>
              <a:gd name="connsiteX427" fmla="*/ 1143180 w 7467600"/>
              <a:gd name="connsiteY427" fmla="*/ 6858000 h 6858000"/>
              <a:gd name="connsiteX428" fmla="*/ 1142176 w 7467600"/>
              <a:gd name="connsiteY428" fmla="*/ 6766045 h 6858000"/>
              <a:gd name="connsiteX429" fmla="*/ 1067484 w 7467600"/>
              <a:gd name="connsiteY429" fmla="*/ 6858000 h 6858000"/>
              <a:gd name="connsiteX430" fmla="*/ 953928 w 7467600"/>
              <a:gd name="connsiteY430" fmla="*/ 6858000 h 6858000"/>
              <a:gd name="connsiteX431" fmla="*/ 959715 w 7467600"/>
              <a:gd name="connsiteY431" fmla="*/ 6850185 h 6858000"/>
              <a:gd name="connsiteX432" fmla="*/ 1483788 w 7467600"/>
              <a:gd name="connsiteY432" fmla="*/ 6259174 h 6858000"/>
              <a:gd name="connsiteX433" fmla="*/ 1100671 w 7467600"/>
              <a:gd name="connsiteY433" fmla="*/ 6252137 h 6858000"/>
              <a:gd name="connsiteX434" fmla="*/ 1090144 w 7467600"/>
              <a:gd name="connsiteY434" fmla="*/ 6256748 h 6858000"/>
              <a:gd name="connsiteX435" fmla="*/ 1095872 w 7467600"/>
              <a:gd name="connsiteY435" fmla="*/ 6271892 h 6858000"/>
              <a:gd name="connsiteX436" fmla="*/ 262785 w 7467600"/>
              <a:gd name="connsiteY436" fmla="*/ 6845450 h 6858000"/>
              <a:gd name="connsiteX437" fmla="*/ 209968 w 7467600"/>
              <a:gd name="connsiteY437" fmla="*/ 6770713 h 6858000"/>
              <a:gd name="connsiteX438" fmla="*/ 873460 w 7467600"/>
              <a:gd name="connsiteY438" fmla="*/ 6253768 h 6858000"/>
              <a:gd name="connsiteX439" fmla="*/ 192686 w 7467600"/>
              <a:gd name="connsiteY439" fmla="*/ 5849257 h 6858000"/>
              <a:gd name="connsiteX440" fmla="*/ 4696 w 7467600"/>
              <a:gd name="connsiteY440" fmla="*/ 5697668 h 6858000"/>
              <a:gd name="connsiteX441" fmla="*/ 0 w 7467600"/>
              <a:gd name="connsiteY441" fmla="*/ 5689984 h 6858000"/>
              <a:gd name="connsiteX442" fmla="*/ 0 w 7467600"/>
              <a:gd name="connsiteY442" fmla="*/ 5513472 h 6858000"/>
              <a:gd name="connsiteX443" fmla="*/ 174101 w 7467600"/>
              <a:gd name="connsiteY443" fmla="*/ 5620277 h 6858000"/>
              <a:gd name="connsiteX444" fmla="*/ 891800 w 7467600"/>
              <a:gd name="connsiteY444" fmla="*/ 6036935 h 6858000"/>
              <a:gd name="connsiteX445" fmla="*/ 1072219 w 7467600"/>
              <a:gd name="connsiteY445" fmla="*/ 6169443 h 6858000"/>
              <a:gd name="connsiteX446" fmla="*/ 1074117 w 7467600"/>
              <a:gd name="connsiteY446" fmla="*/ 6170301 h 6858000"/>
              <a:gd name="connsiteX447" fmla="*/ 1083114 w 7467600"/>
              <a:gd name="connsiteY447" fmla="*/ 6174131 h 6858000"/>
              <a:gd name="connsiteX448" fmla="*/ 1543010 w 7467600"/>
              <a:gd name="connsiteY448" fmla="*/ 6191140 h 6858000"/>
              <a:gd name="connsiteX449" fmla="*/ 1551080 w 7467600"/>
              <a:gd name="connsiteY449" fmla="*/ 6195006 h 6858000"/>
              <a:gd name="connsiteX450" fmla="*/ 2345443 w 7467600"/>
              <a:gd name="connsiteY450" fmla="*/ 5549882 h 6858000"/>
              <a:gd name="connsiteX451" fmla="*/ 1721499 w 7467600"/>
              <a:gd name="connsiteY451" fmla="*/ 5599969 h 6858000"/>
              <a:gd name="connsiteX452" fmla="*/ 767716 w 7467600"/>
              <a:gd name="connsiteY452" fmla="*/ 5472768 h 6858000"/>
              <a:gd name="connsiteX453" fmla="*/ 722147 w 7467600"/>
              <a:gd name="connsiteY453" fmla="*/ 5393091 h 6858000"/>
              <a:gd name="connsiteX454" fmla="*/ 1485552 w 7467600"/>
              <a:gd name="connsiteY454" fmla="*/ 5313202 h 6858000"/>
              <a:gd name="connsiteX455" fmla="*/ 2143004 w 7467600"/>
              <a:gd name="connsiteY455" fmla="*/ 5402420 h 6858000"/>
              <a:gd name="connsiteX456" fmla="*/ 1933391 w 7467600"/>
              <a:gd name="connsiteY456" fmla="*/ 5156971 h 6858000"/>
              <a:gd name="connsiteX457" fmla="*/ 1827118 w 7467600"/>
              <a:gd name="connsiteY457" fmla="*/ 4968410 h 6858000"/>
              <a:gd name="connsiteX458" fmla="*/ 1837349 w 7467600"/>
              <a:gd name="connsiteY458" fmla="*/ 4956357 h 6858000"/>
              <a:gd name="connsiteX459" fmla="*/ 2162835 w 7467600"/>
              <a:gd name="connsiteY459" fmla="*/ 5187853 h 6858000"/>
              <a:gd name="connsiteX460" fmla="*/ 2257167 w 7467600"/>
              <a:gd name="connsiteY460" fmla="*/ 5462123 h 6858000"/>
              <a:gd name="connsiteX461" fmla="*/ 2261598 w 7467600"/>
              <a:gd name="connsiteY461" fmla="*/ 5467998 h 6858000"/>
              <a:gd name="connsiteX462" fmla="*/ 2437177 w 7467600"/>
              <a:gd name="connsiteY462" fmla="*/ 5479608 h 6858000"/>
              <a:gd name="connsiteX463" fmla="*/ 2445247 w 7467600"/>
              <a:gd name="connsiteY463" fmla="*/ 5483476 h 6858000"/>
              <a:gd name="connsiteX464" fmla="*/ 2743626 w 7467600"/>
              <a:gd name="connsiteY464" fmla="*/ 5304819 h 6858000"/>
              <a:gd name="connsiteX465" fmla="*/ 3048102 w 7467600"/>
              <a:gd name="connsiteY465" fmla="*/ 5150595 h 6858000"/>
              <a:gd name="connsiteX466" fmla="*/ 1799414 w 7467600"/>
              <a:gd name="connsiteY466" fmla="*/ 4694732 h 6858000"/>
              <a:gd name="connsiteX467" fmla="*/ 1771735 w 7467600"/>
              <a:gd name="connsiteY467" fmla="*/ 4619929 h 6858000"/>
              <a:gd name="connsiteX468" fmla="*/ 3104273 w 7467600"/>
              <a:gd name="connsiteY468" fmla="*/ 5076159 h 6858000"/>
              <a:gd name="connsiteX469" fmla="*/ 3113245 w 7467600"/>
              <a:gd name="connsiteY469" fmla="*/ 5090705 h 6858000"/>
              <a:gd name="connsiteX470" fmla="*/ 3126294 w 7467600"/>
              <a:gd name="connsiteY470" fmla="*/ 5114400 h 6858000"/>
              <a:gd name="connsiteX471" fmla="*/ 3937433 w 7467600"/>
              <a:gd name="connsiteY471" fmla="*/ 4830473 h 6858000"/>
              <a:gd name="connsiteX472" fmla="*/ 3590475 w 7467600"/>
              <a:gd name="connsiteY472" fmla="*/ 4597974 h 6858000"/>
              <a:gd name="connsiteX473" fmla="*/ 3100264 w 7467600"/>
              <a:gd name="connsiteY473" fmla="*/ 4579845 h 6858000"/>
              <a:gd name="connsiteX474" fmla="*/ 2183576 w 7467600"/>
              <a:gd name="connsiteY474" fmla="*/ 4227150 h 6858000"/>
              <a:gd name="connsiteX475" fmla="*/ 2151029 w 7467600"/>
              <a:gd name="connsiteY475" fmla="*/ 4146947 h 6858000"/>
              <a:gd name="connsiteX476" fmla="*/ 3563434 w 7467600"/>
              <a:gd name="connsiteY476" fmla="*/ 4469115 h 6858000"/>
              <a:gd name="connsiteX477" fmla="*/ 3177952 w 7467600"/>
              <a:gd name="connsiteY477" fmla="*/ 3657386 h 6858000"/>
              <a:gd name="connsiteX478" fmla="*/ 3189263 w 7467600"/>
              <a:gd name="connsiteY478" fmla="*/ 3625726 h 6858000"/>
              <a:gd name="connsiteX479" fmla="*/ 3560912 w 7467600"/>
              <a:gd name="connsiteY479" fmla="*/ 4079863 h 6858000"/>
              <a:gd name="connsiteX480" fmla="*/ 3626636 w 7467600"/>
              <a:gd name="connsiteY480" fmla="*/ 4512230 h 6858000"/>
              <a:gd name="connsiteX481" fmla="*/ 3653088 w 7467600"/>
              <a:gd name="connsiteY481" fmla="*/ 4521417 h 6858000"/>
              <a:gd name="connsiteX482" fmla="*/ 3988128 w 7467600"/>
              <a:gd name="connsiteY482" fmla="*/ 4817267 h 6858000"/>
              <a:gd name="connsiteX483" fmla="*/ 4830582 w 7467600"/>
              <a:gd name="connsiteY483" fmla="*/ 4676000 h 6858000"/>
              <a:gd name="connsiteX484" fmla="*/ 4830100 w 7467600"/>
              <a:gd name="connsiteY484" fmla="*/ 4675554 h 6858000"/>
              <a:gd name="connsiteX485" fmla="*/ 4036318 w 7467600"/>
              <a:gd name="connsiteY485" fmla="*/ 4147013 h 6858000"/>
              <a:gd name="connsiteX486" fmla="*/ 3432098 w 7467600"/>
              <a:gd name="connsiteY486" fmla="*/ 3537312 h 6858000"/>
              <a:gd name="connsiteX487" fmla="*/ 3446761 w 7467600"/>
              <a:gd name="connsiteY487" fmla="*/ 3461278 h 6858000"/>
              <a:gd name="connsiteX488" fmla="*/ 4419733 w 7467600"/>
              <a:gd name="connsiteY488" fmla="*/ 3963555 h 6858000"/>
              <a:gd name="connsiteX489" fmla="*/ 4781371 w 7467600"/>
              <a:gd name="connsiteY489" fmla="*/ 4458604 h 6858000"/>
              <a:gd name="connsiteX490" fmla="*/ 4780440 w 7467600"/>
              <a:gd name="connsiteY490" fmla="*/ 4470290 h 6858000"/>
              <a:gd name="connsiteX491" fmla="*/ 4898954 w 7467600"/>
              <a:gd name="connsiteY491" fmla="*/ 4662092 h 6858000"/>
              <a:gd name="connsiteX492" fmla="*/ 4900699 w 7467600"/>
              <a:gd name="connsiteY492" fmla="*/ 4670867 h 6858000"/>
              <a:gd name="connsiteX493" fmla="*/ 5714511 w 7467600"/>
              <a:gd name="connsiteY493" fmla="*/ 4663483 h 6858000"/>
              <a:gd name="connsiteX494" fmla="*/ 5464793 w 7467600"/>
              <a:gd name="connsiteY494" fmla="*/ 4393556 h 6858000"/>
              <a:gd name="connsiteX495" fmla="*/ 5461897 w 7467600"/>
              <a:gd name="connsiteY495" fmla="*/ 4390879 h 6858000"/>
              <a:gd name="connsiteX496" fmla="*/ 4294126 w 7467600"/>
              <a:gd name="connsiteY496" fmla="*/ 3303048 h 6858000"/>
              <a:gd name="connsiteX497" fmla="*/ 4305321 w 7467600"/>
              <a:gd name="connsiteY497" fmla="*/ 3256953 h 6858000"/>
              <a:gd name="connsiteX498" fmla="*/ 4949299 w 7467600"/>
              <a:gd name="connsiteY498" fmla="*/ 3766336 h 6858000"/>
              <a:gd name="connsiteX499" fmla="*/ 5291452 w 7467600"/>
              <a:gd name="connsiteY499" fmla="*/ 4076801 h 6858000"/>
              <a:gd name="connsiteX500" fmla="*/ 5434998 w 7467600"/>
              <a:gd name="connsiteY500" fmla="*/ 4254100 h 6858000"/>
              <a:gd name="connsiteX501" fmla="*/ 5351015 w 7467600"/>
              <a:gd name="connsiteY501" fmla="*/ 3760989 h 6858000"/>
              <a:gd name="connsiteX502" fmla="*/ 5413780 w 7467600"/>
              <a:gd name="connsiteY502" fmla="*/ 2966265 h 6858000"/>
              <a:gd name="connsiteX503" fmla="*/ 5425627 w 7467600"/>
              <a:gd name="connsiteY503" fmla="*/ 2954192 h 6858000"/>
              <a:gd name="connsiteX504" fmla="*/ 6604735 w 7467600"/>
              <a:gd name="connsiteY504" fmla="*/ 2041381 h 6858000"/>
              <a:gd name="connsiteX505" fmla="*/ 7204487 w 7467600"/>
              <a:gd name="connsiteY505" fmla="*/ 2742112 h 6858000"/>
              <a:gd name="connsiteX506" fmla="*/ 7131592 w 7467600"/>
              <a:gd name="connsiteY506" fmla="*/ 2672096 h 6858000"/>
              <a:gd name="connsiteX507" fmla="*/ 6996344 w 7467600"/>
              <a:gd name="connsiteY507" fmla="*/ 2518310 h 6858000"/>
              <a:gd name="connsiteX508" fmla="*/ 6735495 w 7467600"/>
              <a:gd name="connsiteY508" fmla="*/ 2196890 h 6858000"/>
              <a:gd name="connsiteX509" fmla="*/ 6721901 w 7467600"/>
              <a:gd name="connsiteY509" fmla="*/ 2179274 h 6858000"/>
              <a:gd name="connsiteX510" fmla="*/ 6604735 w 7467600"/>
              <a:gd name="connsiteY510" fmla="*/ 2041381 h 6858000"/>
              <a:gd name="connsiteX511" fmla="*/ 6591670 w 7467600"/>
              <a:gd name="connsiteY511" fmla="*/ 1988277 h 6858000"/>
              <a:gd name="connsiteX512" fmla="*/ 6747349 w 7467600"/>
              <a:gd name="connsiteY512" fmla="*/ 2160069 h 6858000"/>
              <a:gd name="connsiteX513" fmla="*/ 6760943 w 7467600"/>
              <a:gd name="connsiteY513" fmla="*/ 2177686 h 6858000"/>
              <a:gd name="connsiteX514" fmla="*/ 7021065 w 7467600"/>
              <a:gd name="connsiteY514" fmla="*/ 2498102 h 6858000"/>
              <a:gd name="connsiteX515" fmla="*/ 7155223 w 7467600"/>
              <a:gd name="connsiteY515" fmla="*/ 2650386 h 6858000"/>
              <a:gd name="connsiteX516" fmla="*/ 7203167 w 7467600"/>
              <a:gd name="connsiteY516" fmla="*/ 2697288 h 6858000"/>
              <a:gd name="connsiteX517" fmla="*/ 6937703 w 7467600"/>
              <a:gd name="connsiteY517" fmla="*/ 2321981 h 6858000"/>
              <a:gd name="connsiteX518" fmla="*/ 6591670 w 7467600"/>
              <a:gd name="connsiteY518" fmla="*/ 1988277 h 6858000"/>
              <a:gd name="connsiteX519" fmla="*/ 5798671 w 7467600"/>
              <a:gd name="connsiteY519" fmla="*/ 1981601 h 6858000"/>
              <a:gd name="connsiteX520" fmla="*/ 5754709 w 7467600"/>
              <a:gd name="connsiteY520" fmla="*/ 2071454 h 6858000"/>
              <a:gd name="connsiteX521" fmla="*/ 5763044 w 7467600"/>
              <a:gd name="connsiteY521" fmla="*/ 2842206 h 6858000"/>
              <a:gd name="connsiteX522" fmla="*/ 5764974 w 7467600"/>
              <a:gd name="connsiteY522" fmla="*/ 2799609 h 6858000"/>
              <a:gd name="connsiteX523" fmla="*/ 5767665 w 7467600"/>
              <a:gd name="connsiteY523" fmla="*/ 2666409 h 6858000"/>
              <a:gd name="connsiteX524" fmla="*/ 5763055 w 7467600"/>
              <a:gd name="connsiteY524" fmla="*/ 2579705 h 6858000"/>
              <a:gd name="connsiteX525" fmla="*/ 5758079 w 7467600"/>
              <a:gd name="connsiteY525" fmla="*/ 2492508 h 6858000"/>
              <a:gd name="connsiteX526" fmla="*/ 5779325 w 7467600"/>
              <a:gd name="connsiteY526" fmla="*/ 2197069 h 6858000"/>
              <a:gd name="connsiteX527" fmla="*/ 5798671 w 7467600"/>
              <a:gd name="connsiteY527" fmla="*/ 1981601 h 6858000"/>
              <a:gd name="connsiteX528" fmla="*/ 5829202 w 7467600"/>
              <a:gd name="connsiteY528" fmla="*/ 1971679 h 6858000"/>
              <a:gd name="connsiteX529" fmla="*/ 5809558 w 7467600"/>
              <a:gd name="connsiteY529" fmla="*/ 2198043 h 6858000"/>
              <a:gd name="connsiteX530" fmla="*/ 5788653 w 7467600"/>
              <a:gd name="connsiteY530" fmla="*/ 2489430 h 6858000"/>
              <a:gd name="connsiteX531" fmla="*/ 5793439 w 7467600"/>
              <a:gd name="connsiteY531" fmla="*/ 2575235 h 6858000"/>
              <a:gd name="connsiteX532" fmla="*/ 5796837 w 7467600"/>
              <a:gd name="connsiteY532" fmla="*/ 2637633 h 6858000"/>
              <a:gd name="connsiteX533" fmla="*/ 5818614 w 7467600"/>
              <a:gd name="connsiteY533" fmla="*/ 2473055 h 6858000"/>
              <a:gd name="connsiteX534" fmla="*/ 5829202 w 7467600"/>
              <a:gd name="connsiteY534" fmla="*/ 1971679 h 6858000"/>
              <a:gd name="connsiteX535" fmla="*/ 5911389 w 7467600"/>
              <a:gd name="connsiteY535" fmla="*/ 1898371 h 6858000"/>
              <a:gd name="connsiteX536" fmla="*/ 6237627 w 7467600"/>
              <a:gd name="connsiteY536" fmla="*/ 2231921 h 6858000"/>
              <a:gd name="connsiteX537" fmla="*/ 5911389 w 7467600"/>
              <a:gd name="connsiteY537" fmla="*/ 1898371 h 6858000"/>
              <a:gd name="connsiteX538" fmla="*/ 6944437 w 7467600"/>
              <a:gd name="connsiteY538" fmla="*/ 1575402 h 6858000"/>
              <a:gd name="connsiteX539" fmla="*/ 6304730 w 7467600"/>
              <a:gd name="connsiteY539" fmla="*/ 1766654 h 6858000"/>
              <a:gd name="connsiteX540" fmla="*/ 6944437 w 7467600"/>
              <a:gd name="connsiteY540" fmla="*/ 1575402 h 6858000"/>
              <a:gd name="connsiteX541" fmla="*/ 7019523 w 7467600"/>
              <a:gd name="connsiteY541" fmla="*/ 1519450 h 6858000"/>
              <a:gd name="connsiteX542" fmla="*/ 6298091 w 7467600"/>
              <a:gd name="connsiteY542" fmla="*/ 1737122 h 6858000"/>
              <a:gd name="connsiteX543" fmla="*/ 7019523 w 7467600"/>
              <a:gd name="connsiteY543" fmla="*/ 1519450 h 6858000"/>
              <a:gd name="connsiteX544" fmla="*/ 2399523 w 7467600"/>
              <a:gd name="connsiteY544" fmla="*/ 1428234 h 6858000"/>
              <a:gd name="connsiteX545" fmla="*/ 2224982 w 7467600"/>
              <a:gd name="connsiteY545" fmla="*/ 1826201 h 6858000"/>
              <a:gd name="connsiteX546" fmla="*/ 2096099 w 7467600"/>
              <a:gd name="connsiteY546" fmla="*/ 2345900 h 6858000"/>
              <a:gd name="connsiteX547" fmla="*/ 2283317 w 7467600"/>
              <a:gd name="connsiteY547" fmla="*/ 1796925 h 6858000"/>
              <a:gd name="connsiteX548" fmla="*/ 2399523 w 7467600"/>
              <a:gd name="connsiteY548" fmla="*/ 1428234 h 6858000"/>
              <a:gd name="connsiteX549" fmla="*/ 2448558 w 7467600"/>
              <a:gd name="connsiteY549" fmla="*/ 1373435 h 6858000"/>
              <a:gd name="connsiteX550" fmla="*/ 2312521 w 7467600"/>
              <a:gd name="connsiteY550" fmla="*/ 1806140 h 6858000"/>
              <a:gd name="connsiteX551" fmla="*/ 2127533 w 7467600"/>
              <a:gd name="connsiteY551" fmla="*/ 2348380 h 6858000"/>
              <a:gd name="connsiteX552" fmla="*/ 2358080 w 7467600"/>
              <a:gd name="connsiteY552" fmla="*/ 1866134 h 6858000"/>
              <a:gd name="connsiteX553" fmla="*/ 2407436 w 7467600"/>
              <a:gd name="connsiteY553" fmla="*/ 1651070 h 6858000"/>
              <a:gd name="connsiteX554" fmla="*/ 2448558 w 7467600"/>
              <a:gd name="connsiteY554" fmla="*/ 1373435 h 6858000"/>
              <a:gd name="connsiteX555" fmla="*/ 278707 w 7467600"/>
              <a:gd name="connsiteY555" fmla="*/ 1352270 h 6858000"/>
              <a:gd name="connsiteX556" fmla="*/ 321570 w 7467600"/>
              <a:gd name="connsiteY556" fmla="*/ 1861610 h 6858000"/>
              <a:gd name="connsiteX557" fmla="*/ 294281 w 7467600"/>
              <a:gd name="connsiteY557" fmla="*/ 1440658 h 6858000"/>
              <a:gd name="connsiteX558" fmla="*/ 278707 w 7467600"/>
              <a:gd name="connsiteY558" fmla="*/ 1352270 h 6858000"/>
              <a:gd name="connsiteX559" fmla="*/ 1423821 w 7467600"/>
              <a:gd name="connsiteY559" fmla="*/ 1351958 h 6858000"/>
              <a:gd name="connsiteX560" fmla="*/ 1638521 w 7467600"/>
              <a:gd name="connsiteY560" fmla="*/ 1908470 h 6858000"/>
              <a:gd name="connsiteX561" fmla="*/ 1754199 w 7467600"/>
              <a:gd name="connsiteY561" fmla="*/ 2149284 h 6858000"/>
              <a:gd name="connsiteX562" fmla="*/ 1908359 w 7467600"/>
              <a:gd name="connsiteY562" fmla="*/ 2364988 h 6858000"/>
              <a:gd name="connsiteX563" fmla="*/ 1647661 w 7467600"/>
              <a:gd name="connsiteY563" fmla="*/ 1825945 h 6858000"/>
              <a:gd name="connsiteX564" fmla="*/ 1423821 w 7467600"/>
              <a:gd name="connsiteY564" fmla="*/ 1351958 h 6858000"/>
              <a:gd name="connsiteX565" fmla="*/ 1431890 w 7467600"/>
              <a:gd name="connsiteY565" fmla="*/ 1306475 h 6858000"/>
              <a:gd name="connsiteX566" fmla="*/ 1507597 w 7467600"/>
              <a:gd name="connsiteY566" fmla="*/ 1446132 h 6858000"/>
              <a:gd name="connsiteX567" fmla="*/ 1674586 w 7467600"/>
              <a:gd name="connsiteY567" fmla="*/ 1813832 h 6858000"/>
              <a:gd name="connsiteX568" fmla="*/ 1815950 w 7467600"/>
              <a:gd name="connsiteY568" fmla="*/ 2128564 h 6858000"/>
              <a:gd name="connsiteX569" fmla="*/ 1984242 w 7467600"/>
              <a:gd name="connsiteY569" fmla="*/ 2430829 h 6858000"/>
              <a:gd name="connsiteX570" fmla="*/ 2014023 w 7467600"/>
              <a:gd name="connsiteY570" fmla="*/ 2450995 h 6858000"/>
              <a:gd name="connsiteX571" fmla="*/ 1747337 w 7467600"/>
              <a:gd name="connsiteY571" fmla="*/ 1855264 h 6858000"/>
              <a:gd name="connsiteX572" fmla="*/ 1533749 w 7467600"/>
              <a:gd name="connsiteY572" fmla="*/ 1478656 h 6858000"/>
              <a:gd name="connsiteX573" fmla="*/ 1431890 w 7467600"/>
              <a:gd name="connsiteY573" fmla="*/ 1306475 h 6858000"/>
              <a:gd name="connsiteX574" fmla="*/ 5052692 w 7467600"/>
              <a:gd name="connsiteY574" fmla="*/ 1292994 h 6858000"/>
              <a:gd name="connsiteX575" fmla="*/ 5200661 w 7467600"/>
              <a:gd name="connsiteY575" fmla="*/ 1635186 h 6858000"/>
              <a:gd name="connsiteX576" fmla="*/ 5297138 w 7467600"/>
              <a:gd name="connsiteY576" fmla="*/ 1906351 h 6858000"/>
              <a:gd name="connsiteX577" fmla="*/ 5052692 w 7467600"/>
              <a:gd name="connsiteY577" fmla="*/ 1292994 h 6858000"/>
              <a:gd name="connsiteX578" fmla="*/ 5009948 w 7467600"/>
              <a:gd name="connsiteY578" fmla="*/ 1273619 h 6858000"/>
              <a:gd name="connsiteX579" fmla="*/ 5121777 w 7467600"/>
              <a:gd name="connsiteY579" fmla="*/ 1654213 h 6858000"/>
              <a:gd name="connsiteX580" fmla="*/ 5293545 w 7467600"/>
              <a:gd name="connsiteY580" fmla="*/ 2072247 h 6858000"/>
              <a:gd name="connsiteX581" fmla="*/ 5294042 w 7467600"/>
              <a:gd name="connsiteY581" fmla="*/ 2065019 h 6858000"/>
              <a:gd name="connsiteX582" fmla="*/ 5171936 w 7467600"/>
              <a:gd name="connsiteY582" fmla="*/ 1647613 h 6858000"/>
              <a:gd name="connsiteX583" fmla="*/ 5009948 w 7467600"/>
              <a:gd name="connsiteY583" fmla="*/ 1273619 h 6858000"/>
              <a:gd name="connsiteX584" fmla="*/ 655236 w 7467600"/>
              <a:gd name="connsiteY584" fmla="*/ 1268632 h 6858000"/>
              <a:gd name="connsiteX585" fmla="*/ 839521 w 7467600"/>
              <a:gd name="connsiteY585" fmla="*/ 1685315 h 6858000"/>
              <a:gd name="connsiteX586" fmla="*/ 1109416 w 7467600"/>
              <a:gd name="connsiteY586" fmla="*/ 2061663 h 6858000"/>
              <a:gd name="connsiteX587" fmla="*/ 1298300 w 7467600"/>
              <a:gd name="connsiteY587" fmla="*/ 2247742 h 6858000"/>
              <a:gd name="connsiteX588" fmla="*/ 1125871 w 7467600"/>
              <a:gd name="connsiteY588" fmla="*/ 1989513 h 6858000"/>
              <a:gd name="connsiteX589" fmla="*/ 981574 w 7467600"/>
              <a:gd name="connsiteY589" fmla="*/ 1783157 h 6858000"/>
              <a:gd name="connsiteX590" fmla="*/ 922198 w 7467600"/>
              <a:gd name="connsiteY590" fmla="*/ 1677437 h 6858000"/>
              <a:gd name="connsiteX591" fmla="*/ 869293 w 7467600"/>
              <a:gd name="connsiteY591" fmla="*/ 1583214 h 6858000"/>
              <a:gd name="connsiteX592" fmla="*/ 751431 w 7467600"/>
              <a:gd name="connsiteY592" fmla="*/ 1405731 h 6858000"/>
              <a:gd name="connsiteX593" fmla="*/ 655236 w 7467600"/>
              <a:gd name="connsiteY593" fmla="*/ 1268632 h 6858000"/>
              <a:gd name="connsiteX594" fmla="*/ 6516292 w 7467600"/>
              <a:gd name="connsiteY594" fmla="*/ 1263064 h 6858000"/>
              <a:gd name="connsiteX595" fmla="*/ 5736320 w 7467600"/>
              <a:gd name="connsiteY595" fmla="*/ 1501803 h 6858000"/>
              <a:gd name="connsiteX596" fmla="*/ 6516292 w 7467600"/>
              <a:gd name="connsiteY596" fmla="*/ 1263064 h 6858000"/>
              <a:gd name="connsiteX597" fmla="*/ 291466 w 7467600"/>
              <a:gd name="connsiteY597" fmla="*/ 1250369 h 6858000"/>
              <a:gd name="connsiteX598" fmla="*/ 323180 w 7467600"/>
              <a:gd name="connsiteY598" fmla="*/ 1435283 h 6858000"/>
              <a:gd name="connsiteX599" fmla="*/ 349381 w 7467600"/>
              <a:gd name="connsiteY599" fmla="*/ 1875041 h 6858000"/>
              <a:gd name="connsiteX600" fmla="*/ 374363 w 7467600"/>
              <a:gd name="connsiteY600" fmla="*/ 1506494 h 6858000"/>
              <a:gd name="connsiteX601" fmla="*/ 302168 w 7467600"/>
              <a:gd name="connsiteY601" fmla="*/ 1274495 h 6858000"/>
              <a:gd name="connsiteX602" fmla="*/ 291466 w 7467600"/>
              <a:gd name="connsiteY602" fmla="*/ 1250369 h 6858000"/>
              <a:gd name="connsiteX603" fmla="*/ 678222 w 7467600"/>
              <a:gd name="connsiteY603" fmla="*/ 1248670 h 6858000"/>
              <a:gd name="connsiteX604" fmla="*/ 775536 w 7467600"/>
              <a:gd name="connsiteY604" fmla="*/ 1388015 h 6858000"/>
              <a:gd name="connsiteX605" fmla="*/ 894529 w 7467600"/>
              <a:gd name="connsiteY605" fmla="*/ 1567739 h 6858000"/>
              <a:gd name="connsiteX606" fmla="*/ 948000 w 7467600"/>
              <a:gd name="connsiteY606" fmla="*/ 1663088 h 6858000"/>
              <a:gd name="connsiteX607" fmla="*/ 1006812 w 7467600"/>
              <a:gd name="connsiteY607" fmla="*/ 1767683 h 6858000"/>
              <a:gd name="connsiteX608" fmla="*/ 1149133 w 7467600"/>
              <a:gd name="connsiteY608" fmla="*/ 1971513 h 6858000"/>
              <a:gd name="connsiteX609" fmla="*/ 1333952 w 7467600"/>
              <a:gd name="connsiteY609" fmla="*/ 2251620 h 6858000"/>
              <a:gd name="connsiteX610" fmla="*/ 1337329 w 7467600"/>
              <a:gd name="connsiteY610" fmla="*/ 2258350 h 6858000"/>
              <a:gd name="connsiteX611" fmla="*/ 1014726 w 7467600"/>
              <a:gd name="connsiteY611" fmla="*/ 1615556 h 6858000"/>
              <a:gd name="connsiteX612" fmla="*/ 678222 w 7467600"/>
              <a:gd name="connsiteY612" fmla="*/ 1248670 h 6858000"/>
              <a:gd name="connsiteX613" fmla="*/ 6691602 w 7467600"/>
              <a:gd name="connsiteY613" fmla="*/ 1140573 h 6858000"/>
              <a:gd name="connsiteX614" fmla="*/ 6571100 w 7467600"/>
              <a:gd name="connsiteY614" fmla="*/ 1183662 h 6858000"/>
              <a:gd name="connsiteX615" fmla="*/ 6241687 w 7467600"/>
              <a:gd name="connsiteY615" fmla="*/ 1257600 h 6858000"/>
              <a:gd name="connsiteX616" fmla="*/ 5693009 w 7467600"/>
              <a:gd name="connsiteY616" fmla="*/ 1478256 h 6858000"/>
              <a:gd name="connsiteX617" fmla="*/ 6548420 w 7467600"/>
              <a:gd name="connsiteY617" fmla="*/ 1214599 h 6858000"/>
              <a:gd name="connsiteX618" fmla="*/ 6605473 w 7467600"/>
              <a:gd name="connsiteY618" fmla="*/ 1184686 h 6858000"/>
              <a:gd name="connsiteX619" fmla="*/ 6691602 w 7467600"/>
              <a:gd name="connsiteY619" fmla="*/ 1140573 h 6858000"/>
              <a:gd name="connsiteX620" fmla="*/ 4002475 w 7467600"/>
              <a:gd name="connsiteY620" fmla="*/ 1037802 h 6858000"/>
              <a:gd name="connsiteX621" fmla="*/ 4000324 w 7467600"/>
              <a:gd name="connsiteY621" fmla="*/ 1039362 h 6858000"/>
              <a:gd name="connsiteX622" fmla="*/ 4002862 w 7467600"/>
              <a:gd name="connsiteY622" fmla="*/ 1042866 h 6858000"/>
              <a:gd name="connsiteX623" fmla="*/ 4002475 w 7467600"/>
              <a:gd name="connsiteY623" fmla="*/ 1037802 h 6858000"/>
              <a:gd name="connsiteX624" fmla="*/ 506322 w 7467600"/>
              <a:gd name="connsiteY624" fmla="*/ 1020997 h 6858000"/>
              <a:gd name="connsiteX625" fmla="*/ 533068 w 7467600"/>
              <a:gd name="connsiteY625" fmla="*/ 1029409 h 6858000"/>
              <a:gd name="connsiteX626" fmla="*/ 1232525 w 7467600"/>
              <a:gd name="connsiteY626" fmla="*/ 1804675 h 6858000"/>
              <a:gd name="connsiteX627" fmla="*/ 1388858 w 7467600"/>
              <a:gd name="connsiteY627" fmla="*/ 2368011 h 6858000"/>
              <a:gd name="connsiteX628" fmla="*/ 1384098 w 7467600"/>
              <a:gd name="connsiteY628" fmla="*/ 2378125 h 6858000"/>
              <a:gd name="connsiteX629" fmla="*/ 1425393 w 7467600"/>
              <a:gd name="connsiteY629" fmla="*/ 2589124 h 6858000"/>
              <a:gd name="connsiteX630" fmla="*/ 1424001 w 7467600"/>
              <a:gd name="connsiteY630" fmla="*/ 2597541 h 6858000"/>
              <a:gd name="connsiteX631" fmla="*/ 2152729 w 7467600"/>
              <a:gd name="connsiteY631" fmla="*/ 2864487 h 6858000"/>
              <a:gd name="connsiteX632" fmla="*/ 2020609 w 7467600"/>
              <a:gd name="connsiteY632" fmla="*/ 2539671 h 6858000"/>
              <a:gd name="connsiteX633" fmla="*/ 2018920 w 7467600"/>
              <a:gd name="connsiteY633" fmla="*/ 2536309 h 6858000"/>
              <a:gd name="connsiteX634" fmla="*/ 1342441 w 7467600"/>
              <a:gd name="connsiteY634" fmla="*/ 1173017 h 6858000"/>
              <a:gd name="connsiteX635" fmla="*/ 1367925 w 7467600"/>
              <a:gd name="connsiteY635" fmla="*/ 1135648 h 6858000"/>
              <a:gd name="connsiteX636" fmla="*/ 1771401 w 7467600"/>
              <a:gd name="connsiteY636" fmla="*/ 1806673 h 6858000"/>
              <a:gd name="connsiteX637" fmla="*/ 1972385 w 7467600"/>
              <a:gd name="connsiteY637" fmla="*/ 2198735 h 6858000"/>
              <a:gd name="connsiteX638" fmla="*/ 2040892 w 7467600"/>
              <a:gd name="connsiteY638" fmla="*/ 2405205 h 6858000"/>
              <a:gd name="connsiteX639" fmla="*/ 2131689 w 7467600"/>
              <a:gd name="connsiteY639" fmla="*/ 1936926 h 6858000"/>
              <a:gd name="connsiteX640" fmla="*/ 2454820 w 7467600"/>
              <a:gd name="connsiteY640" fmla="*/ 1248808 h 6858000"/>
              <a:gd name="connsiteX641" fmla="*/ 2492512 w 7467600"/>
              <a:gd name="connsiteY641" fmla="*/ 1302920 h 6858000"/>
              <a:gd name="connsiteX642" fmla="*/ 2081216 w 7467600"/>
              <a:gd name="connsiteY642" fmla="*/ 2527513 h 6858000"/>
              <a:gd name="connsiteX643" fmla="*/ 2081211 w 7467600"/>
              <a:gd name="connsiteY643" fmla="*/ 2528916 h 6858000"/>
              <a:gd name="connsiteX644" fmla="*/ 2199067 w 7467600"/>
              <a:gd name="connsiteY644" fmla="*/ 2884061 h 6858000"/>
              <a:gd name="connsiteX645" fmla="*/ 3192586 w 7467600"/>
              <a:gd name="connsiteY645" fmla="*/ 3411496 h 6858000"/>
              <a:gd name="connsiteX646" fmla="*/ 3182620 w 7467600"/>
              <a:gd name="connsiteY646" fmla="*/ 3483279 h 6858000"/>
              <a:gd name="connsiteX647" fmla="*/ 2435119 w 7467600"/>
              <a:gd name="connsiteY647" fmla="*/ 3080173 h 6858000"/>
              <a:gd name="connsiteX648" fmla="*/ 2410152 w 7467600"/>
              <a:gd name="connsiteY648" fmla="*/ 3063751 h 6858000"/>
              <a:gd name="connsiteX649" fmla="*/ 2408099 w 7467600"/>
              <a:gd name="connsiteY649" fmla="*/ 3064403 h 6858000"/>
              <a:gd name="connsiteX650" fmla="*/ 2407218 w 7467600"/>
              <a:gd name="connsiteY650" fmla="*/ 3070324 h 6858000"/>
              <a:gd name="connsiteX651" fmla="*/ 2380138 w 7467600"/>
              <a:gd name="connsiteY651" fmla="*/ 3099341 h 6858000"/>
              <a:gd name="connsiteX652" fmla="*/ 1765923 w 7467600"/>
              <a:gd name="connsiteY652" fmla="*/ 3581043 h 6858000"/>
              <a:gd name="connsiteX653" fmla="*/ 1702258 w 7467600"/>
              <a:gd name="connsiteY653" fmla="*/ 3612286 h 6858000"/>
              <a:gd name="connsiteX654" fmla="*/ 1538370 w 7467600"/>
              <a:gd name="connsiteY654" fmla="*/ 3811804 h 6858000"/>
              <a:gd name="connsiteX655" fmla="*/ 542867 w 7467600"/>
              <a:gd name="connsiteY655" fmla="*/ 4944092 h 6858000"/>
              <a:gd name="connsiteX656" fmla="*/ 515800 w 7467600"/>
              <a:gd name="connsiteY656" fmla="*/ 4862180 h 6858000"/>
              <a:gd name="connsiteX657" fmla="*/ 909145 w 7467600"/>
              <a:gd name="connsiteY657" fmla="*/ 4199225 h 6858000"/>
              <a:gd name="connsiteX658" fmla="*/ 1214067 w 7467600"/>
              <a:gd name="connsiteY658" fmla="*/ 3908561 h 6858000"/>
              <a:gd name="connsiteX659" fmla="*/ 640967 w 7467600"/>
              <a:gd name="connsiteY659" fmla="*/ 4105601 h 6858000"/>
              <a:gd name="connsiteX660" fmla="*/ 112563 w 7467600"/>
              <a:gd name="connsiteY660" fmla="*/ 4396952 h 6858000"/>
              <a:gd name="connsiteX661" fmla="*/ 0 w 7467600"/>
              <a:gd name="connsiteY661" fmla="*/ 4466006 h 6858000"/>
              <a:gd name="connsiteX662" fmla="*/ 0 w 7467600"/>
              <a:gd name="connsiteY662" fmla="*/ 4233763 h 6858000"/>
              <a:gd name="connsiteX663" fmla="*/ 36881 w 7467600"/>
              <a:gd name="connsiteY663" fmla="*/ 4200118 h 6858000"/>
              <a:gd name="connsiteX664" fmla="*/ 910534 w 7467600"/>
              <a:gd name="connsiteY664" fmla="*/ 3629753 h 6858000"/>
              <a:gd name="connsiteX665" fmla="*/ 1578717 w 7467600"/>
              <a:gd name="connsiteY665" fmla="*/ 3575982 h 6858000"/>
              <a:gd name="connsiteX666" fmla="*/ 2338780 w 7467600"/>
              <a:gd name="connsiteY666" fmla="*/ 3033725 h 6858000"/>
              <a:gd name="connsiteX667" fmla="*/ 1807991 w 7467600"/>
              <a:gd name="connsiteY667" fmla="*/ 2807184 h 6858000"/>
              <a:gd name="connsiteX668" fmla="*/ 1416358 w 7467600"/>
              <a:gd name="connsiteY668" fmla="*/ 3112571 h 6858000"/>
              <a:gd name="connsiteX669" fmla="*/ 939066 w 7467600"/>
              <a:gd name="connsiteY669" fmla="*/ 3378798 h 6858000"/>
              <a:gd name="connsiteX670" fmla="*/ 115099 w 7467600"/>
              <a:gd name="connsiteY670" fmla="*/ 3607650 h 6858000"/>
              <a:gd name="connsiteX671" fmla="*/ 97284 w 7467600"/>
              <a:gd name="connsiteY671" fmla="*/ 3520393 h 6858000"/>
              <a:gd name="connsiteX672" fmla="*/ 922050 w 7467600"/>
              <a:gd name="connsiteY672" fmla="*/ 3074867 h 6858000"/>
              <a:gd name="connsiteX673" fmla="*/ 1405265 w 7467600"/>
              <a:gd name="connsiteY673" fmla="*/ 3016319 h 6858000"/>
              <a:gd name="connsiteX674" fmla="*/ 1407512 w 7467600"/>
              <a:gd name="connsiteY674" fmla="*/ 3018001 h 6858000"/>
              <a:gd name="connsiteX675" fmla="*/ 1726266 w 7467600"/>
              <a:gd name="connsiteY675" fmla="*/ 2777274 h 6858000"/>
              <a:gd name="connsiteX676" fmla="*/ 625390 w 7467600"/>
              <a:gd name="connsiteY676" fmla="*/ 2514541 h 6858000"/>
              <a:gd name="connsiteX677" fmla="*/ 619799 w 7467600"/>
              <a:gd name="connsiteY677" fmla="*/ 2527180 h 6858000"/>
              <a:gd name="connsiteX678" fmla="*/ 310030 w 7467600"/>
              <a:gd name="connsiteY678" fmla="*/ 2771818 h 6858000"/>
              <a:gd name="connsiteX679" fmla="*/ 173877 w 7467600"/>
              <a:gd name="connsiteY679" fmla="*/ 2937056 h 6858000"/>
              <a:gd name="connsiteX680" fmla="*/ 77889 w 7467600"/>
              <a:gd name="connsiteY680" fmla="*/ 3138440 h 6858000"/>
              <a:gd name="connsiteX681" fmla="*/ 0 w 7467600"/>
              <a:gd name="connsiteY681" fmla="*/ 3271395 h 6858000"/>
              <a:gd name="connsiteX682" fmla="*/ 0 w 7467600"/>
              <a:gd name="connsiteY682" fmla="*/ 3153002 h 6858000"/>
              <a:gd name="connsiteX683" fmla="*/ 2386 w 7467600"/>
              <a:gd name="connsiteY683" fmla="*/ 3149203 h 6858000"/>
              <a:gd name="connsiteX684" fmla="*/ 89753 w 7467600"/>
              <a:gd name="connsiteY684" fmla="*/ 2987702 h 6858000"/>
              <a:gd name="connsiteX685" fmla="*/ 76869 w 7467600"/>
              <a:gd name="connsiteY685" fmla="*/ 3005404 h 6858000"/>
              <a:gd name="connsiteX686" fmla="*/ 32049 w 7467600"/>
              <a:gd name="connsiteY686" fmla="*/ 3065814 h 6858000"/>
              <a:gd name="connsiteX687" fmla="*/ 0 w 7467600"/>
              <a:gd name="connsiteY687" fmla="*/ 3108744 h 6858000"/>
              <a:gd name="connsiteX688" fmla="*/ 0 w 7467600"/>
              <a:gd name="connsiteY688" fmla="*/ 3058059 h 6858000"/>
              <a:gd name="connsiteX689" fmla="*/ 7610 w 7467600"/>
              <a:gd name="connsiteY689" fmla="*/ 3047889 h 6858000"/>
              <a:gd name="connsiteX690" fmla="*/ 52419 w 7467600"/>
              <a:gd name="connsiteY690" fmla="*/ 2987479 h 6858000"/>
              <a:gd name="connsiteX691" fmla="*/ 59142 w 7467600"/>
              <a:gd name="connsiteY691" fmla="*/ 2978488 h 6858000"/>
              <a:gd name="connsiteX692" fmla="*/ 0 w 7467600"/>
              <a:gd name="connsiteY692" fmla="*/ 3015334 h 6858000"/>
              <a:gd name="connsiteX693" fmla="*/ 0 w 7467600"/>
              <a:gd name="connsiteY693" fmla="*/ 2914286 h 6858000"/>
              <a:gd name="connsiteX694" fmla="*/ 36383 w 7467600"/>
              <a:gd name="connsiteY694" fmla="*/ 2901128 h 6858000"/>
              <a:gd name="connsiteX695" fmla="*/ 156329 w 7467600"/>
              <a:gd name="connsiteY695" fmla="*/ 2840533 h 6858000"/>
              <a:gd name="connsiteX696" fmla="*/ 358355 w 7467600"/>
              <a:gd name="connsiteY696" fmla="*/ 2620471 h 6858000"/>
              <a:gd name="connsiteX697" fmla="*/ 510577 w 7467600"/>
              <a:gd name="connsiteY697" fmla="*/ 2501244 h 6858000"/>
              <a:gd name="connsiteX698" fmla="*/ 211967 w 7467600"/>
              <a:gd name="connsiteY698" fmla="*/ 2479171 h 6858000"/>
              <a:gd name="connsiteX699" fmla="*/ 0 w 7467600"/>
              <a:gd name="connsiteY699" fmla="*/ 2476398 h 6858000"/>
              <a:gd name="connsiteX700" fmla="*/ 0 w 7467600"/>
              <a:gd name="connsiteY700" fmla="*/ 2389189 h 6858000"/>
              <a:gd name="connsiteX701" fmla="*/ 103062 w 7467600"/>
              <a:gd name="connsiteY701" fmla="*/ 2389518 h 6858000"/>
              <a:gd name="connsiteX702" fmla="*/ 510734 w 7467600"/>
              <a:gd name="connsiteY702" fmla="*/ 2416201 h 6858000"/>
              <a:gd name="connsiteX703" fmla="*/ 279257 w 7467600"/>
              <a:gd name="connsiteY703" fmla="*/ 2092102 h 6858000"/>
              <a:gd name="connsiteX704" fmla="*/ 65265 w 7467600"/>
              <a:gd name="connsiteY704" fmla="*/ 2006049 h 6858000"/>
              <a:gd name="connsiteX705" fmla="*/ 0 w 7467600"/>
              <a:gd name="connsiteY705" fmla="*/ 1982532 h 6858000"/>
              <a:gd name="connsiteX706" fmla="*/ 0 w 7467600"/>
              <a:gd name="connsiteY706" fmla="*/ 1912789 h 6858000"/>
              <a:gd name="connsiteX707" fmla="*/ 97460 w 7467600"/>
              <a:gd name="connsiteY707" fmla="*/ 1953725 h 6858000"/>
              <a:gd name="connsiteX708" fmla="*/ 221272 w 7467600"/>
              <a:gd name="connsiteY708" fmla="*/ 1980766 h 6858000"/>
              <a:gd name="connsiteX709" fmla="*/ 116765 w 7467600"/>
              <a:gd name="connsiteY709" fmla="*/ 1911033 h 6858000"/>
              <a:gd name="connsiteX710" fmla="*/ 16405 w 7467600"/>
              <a:gd name="connsiteY710" fmla="*/ 1803412 h 6858000"/>
              <a:gd name="connsiteX711" fmla="*/ 0 w 7467600"/>
              <a:gd name="connsiteY711" fmla="*/ 1784777 h 6858000"/>
              <a:gd name="connsiteX712" fmla="*/ 0 w 7467600"/>
              <a:gd name="connsiteY712" fmla="*/ 1740082 h 6858000"/>
              <a:gd name="connsiteX713" fmla="*/ 39394 w 7467600"/>
              <a:gd name="connsiteY713" fmla="*/ 1784856 h 6858000"/>
              <a:gd name="connsiteX714" fmla="*/ 135813 w 7467600"/>
              <a:gd name="connsiteY714" fmla="*/ 1888838 h 6858000"/>
              <a:gd name="connsiteX715" fmla="*/ 242575 w 7467600"/>
              <a:gd name="connsiteY715" fmla="*/ 1958841 h 6858000"/>
              <a:gd name="connsiteX716" fmla="*/ 82197 w 7467600"/>
              <a:gd name="connsiteY716" fmla="*/ 1754826 h 6858000"/>
              <a:gd name="connsiteX717" fmla="*/ 0 w 7467600"/>
              <a:gd name="connsiteY717" fmla="*/ 1679650 h 6858000"/>
              <a:gd name="connsiteX718" fmla="*/ 0 w 7467600"/>
              <a:gd name="connsiteY718" fmla="*/ 1602463 h 6858000"/>
              <a:gd name="connsiteX719" fmla="*/ 84689 w 7467600"/>
              <a:gd name="connsiteY719" fmla="*/ 1677442 h 6858000"/>
              <a:gd name="connsiteX720" fmla="*/ 298437 w 7467600"/>
              <a:gd name="connsiteY720" fmla="*/ 1968019 h 6858000"/>
              <a:gd name="connsiteX721" fmla="*/ 227269 w 7467600"/>
              <a:gd name="connsiteY721" fmla="*/ 1114064 h 6858000"/>
              <a:gd name="connsiteX722" fmla="*/ 248003 w 7467600"/>
              <a:gd name="connsiteY722" fmla="*/ 1089613 h 6858000"/>
              <a:gd name="connsiteX723" fmla="*/ 427020 w 7467600"/>
              <a:gd name="connsiteY723" fmla="*/ 1619803 h 6858000"/>
              <a:gd name="connsiteX724" fmla="*/ 340345 w 7467600"/>
              <a:gd name="connsiteY724" fmla="*/ 2027739 h 6858000"/>
              <a:gd name="connsiteX725" fmla="*/ 360865 w 7467600"/>
              <a:gd name="connsiteY725" fmla="*/ 2044827 h 6858000"/>
              <a:gd name="connsiteX726" fmla="*/ 560414 w 7467600"/>
              <a:gd name="connsiteY726" fmla="*/ 2421457 h 6858000"/>
              <a:gd name="connsiteX727" fmla="*/ 1359703 w 7467600"/>
              <a:gd name="connsiteY727" fmla="*/ 2578554 h 6858000"/>
              <a:gd name="connsiteX728" fmla="*/ 1359422 w 7467600"/>
              <a:gd name="connsiteY728" fmla="*/ 2577994 h 6858000"/>
              <a:gd name="connsiteX729" fmla="*/ 828701 w 7467600"/>
              <a:gd name="connsiteY729" fmla="*/ 1839520 h 6858000"/>
              <a:gd name="connsiteX730" fmla="*/ 494427 w 7467600"/>
              <a:gd name="connsiteY730" fmla="*/ 1092333 h 6858000"/>
              <a:gd name="connsiteX731" fmla="*/ 506322 w 7467600"/>
              <a:gd name="connsiteY731" fmla="*/ 1020997 h 6858000"/>
              <a:gd name="connsiteX732" fmla="*/ 4570198 w 7467600"/>
              <a:gd name="connsiteY732" fmla="*/ 978081 h 6858000"/>
              <a:gd name="connsiteX733" fmla="*/ 4523691 w 7467600"/>
              <a:gd name="connsiteY733" fmla="*/ 1127776 h 6858000"/>
              <a:gd name="connsiteX734" fmla="*/ 4509875 w 7467600"/>
              <a:gd name="connsiteY734" fmla="*/ 1167552 h 6858000"/>
              <a:gd name="connsiteX735" fmla="*/ 4478168 w 7467600"/>
              <a:gd name="connsiteY735" fmla="*/ 1260735 h 6858000"/>
              <a:gd name="connsiteX736" fmla="*/ 4409309 w 7467600"/>
              <a:gd name="connsiteY736" fmla="*/ 1666996 h 6858000"/>
              <a:gd name="connsiteX737" fmla="*/ 4370031 w 7467600"/>
              <a:gd name="connsiteY737" fmla="*/ 1955666 h 6858000"/>
              <a:gd name="connsiteX738" fmla="*/ 4570198 w 7467600"/>
              <a:gd name="connsiteY738" fmla="*/ 978081 h 6858000"/>
              <a:gd name="connsiteX739" fmla="*/ 4557898 w 7467600"/>
              <a:gd name="connsiteY739" fmla="*/ 900011 h 6858000"/>
              <a:gd name="connsiteX740" fmla="*/ 4344840 w 7467600"/>
              <a:gd name="connsiteY740" fmla="*/ 1922038 h 6858000"/>
              <a:gd name="connsiteX741" fmla="*/ 4378710 w 7467600"/>
              <a:gd name="connsiteY741" fmla="*/ 1665516 h 6858000"/>
              <a:gd name="connsiteX742" fmla="*/ 4448798 w 7467600"/>
              <a:gd name="connsiteY742" fmla="*/ 1253024 h 6858000"/>
              <a:gd name="connsiteX743" fmla="*/ 4480315 w 7467600"/>
              <a:gd name="connsiteY743" fmla="*/ 1158454 h 6858000"/>
              <a:gd name="connsiteX744" fmla="*/ 4494133 w 7467600"/>
              <a:gd name="connsiteY744" fmla="*/ 1118676 h 6858000"/>
              <a:gd name="connsiteX745" fmla="*/ 4557898 w 7467600"/>
              <a:gd name="connsiteY745" fmla="*/ 900011 h 6858000"/>
              <a:gd name="connsiteX746" fmla="*/ 5870151 w 7467600"/>
              <a:gd name="connsiteY746" fmla="*/ 898890 h 6858000"/>
              <a:gd name="connsiteX747" fmla="*/ 5861335 w 7467600"/>
              <a:gd name="connsiteY747" fmla="*/ 899177 h 6858000"/>
              <a:gd name="connsiteX748" fmla="*/ 5843702 w 7467600"/>
              <a:gd name="connsiteY748" fmla="*/ 899748 h 6858000"/>
              <a:gd name="connsiteX749" fmla="*/ 5651107 w 7467600"/>
              <a:gd name="connsiteY749" fmla="*/ 920306 h 6858000"/>
              <a:gd name="connsiteX750" fmla="*/ 5459407 w 7467600"/>
              <a:gd name="connsiteY750" fmla="*/ 940975 h 6858000"/>
              <a:gd name="connsiteX751" fmla="*/ 5374846 w 7467600"/>
              <a:gd name="connsiteY751" fmla="*/ 941988 h 6858000"/>
              <a:gd name="connsiteX752" fmla="*/ 5256105 w 7467600"/>
              <a:gd name="connsiteY752" fmla="*/ 945632 h 6858000"/>
              <a:gd name="connsiteX753" fmla="*/ 5107071 w 7467600"/>
              <a:gd name="connsiteY753" fmla="*/ 969720 h 6858000"/>
              <a:gd name="connsiteX754" fmla="*/ 4998681 w 7467600"/>
              <a:gd name="connsiteY754" fmla="*/ 988771 h 6858000"/>
              <a:gd name="connsiteX755" fmla="*/ 5870151 w 7467600"/>
              <a:gd name="connsiteY755" fmla="*/ 898890 h 6858000"/>
              <a:gd name="connsiteX756" fmla="*/ 5504425 w 7467600"/>
              <a:gd name="connsiteY756" fmla="*/ 848067 h 6858000"/>
              <a:gd name="connsiteX757" fmla="*/ 4968849 w 7467600"/>
              <a:gd name="connsiteY757" fmla="*/ 962318 h 6858000"/>
              <a:gd name="connsiteX758" fmla="*/ 5104039 w 7467600"/>
              <a:gd name="connsiteY758" fmla="*/ 940634 h 6858000"/>
              <a:gd name="connsiteX759" fmla="*/ 5256311 w 7467600"/>
              <a:gd name="connsiteY759" fmla="*/ 916490 h 6858000"/>
              <a:gd name="connsiteX760" fmla="*/ 5377381 w 7467600"/>
              <a:gd name="connsiteY760" fmla="*/ 912671 h 6858000"/>
              <a:gd name="connsiteX761" fmla="*/ 5460148 w 7467600"/>
              <a:gd name="connsiteY761" fmla="*/ 911442 h 6858000"/>
              <a:gd name="connsiteX762" fmla="*/ 5648971 w 7467600"/>
              <a:gd name="connsiteY762" fmla="*/ 891331 h 6858000"/>
              <a:gd name="connsiteX763" fmla="*/ 5844807 w 7467600"/>
              <a:gd name="connsiteY763" fmla="*/ 870718 h 6858000"/>
              <a:gd name="connsiteX764" fmla="*/ 5862975 w 7467600"/>
              <a:gd name="connsiteY764" fmla="*/ 869756 h 6858000"/>
              <a:gd name="connsiteX765" fmla="*/ 5920887 w 7467600"/>
              <a:gd name="connsiteY765" fmla="*/ 865929 h 6858000"/>
              <a:gd name="connsiteX766" fmla="*/ 5504425 w 7467600"/>
              <a:gd name="connsiteY766" fmla="*/ 848067 h 6858000"/>
              <a:gd name="connsiteX767" fmla="*/ 3607114 w 7467600"/>
              <a:gd name="connsiteY767" fmla="*/ 467441 h 6858000"/>
              <a:gd name="connsiteX768" fmla="*/ 3296242 w 7467600"/>
              <a:gd name="connsiteY768" fmla="*/ 807991 h 6858000"/>
              <a:gd name="connsiteX769" fmla="*/ 3174674 w 7467600"/>
              <a:gd name="connsiteY769" fmla="*/ 919759 h 6858000"/>
              <a:gd name="connsiteX770" fmla="*/ 3042978 w 7467600"/>
              <a:gd name="connsiteY770" fmla="*/ 1054894 h 6858000"/>
              <a:gd name="connsiteX771" fmla="*/ 2968914 w 7467600"/>
              <a:gd name="connsiteY771" fmla="*/ 1133756 h 6858000"/>
              <a:gd name="connsiteX772" fmla="*/ 3103823 w 7467600"/>
              <a:gd name="connsiteY772" fmla="*/ 1026814 h 6858000"/>
              <a:gd name="connsiteX773" fmla="*/ 3607114 w 7467600"/>
              <a:gd name="connsiteY773" fmla="*/ 467441 h 6858000"/>
              <a:gd name="connsiteX774" fmla="*/ 3744487 w 7467600"/>
              <a:gd name="connsiteY774" fmla="*/ 383136 h 6858000"/>
              <a:gd name="connsiteX775" fmla="*/ 3970213 w 7467600"/>
              <a:gd name="connsiteY775" fmla="*/ 995559 h 6858000"/>
              <a:gd name="connsiteX776" fmla="*/ 3744487 w 7467600"/>
              <a:gd name="connsiteY776" fmla="*/ 383136 h 6858000"/>
              <a:gd name="connsiteX777" fmla="*/ 3624562 w 7467600"/>
              <a:gd name="connsiteY777" fmla="*/ 367041 h 6858000"/>
              <a:gd name="connsiteX778" fmla="*/ 3489712 w 7467600"/>
              <a:gd name="connsiteY778" fmla="*/ 485386 h 6858000"/>
              <a:gd name="connsiteX779" fmla="*/ 3182994 w 7467600"/>
              <a:gd name="connsiteY779" fmla="*/ 828265 h 6858000"/>
              <a:gd name="connsiteX780" fmla="*/ 2892114 w 7467600"/>
              <a:gd name="connsiteY780" fmla="*/ 1172635 h 6858000"/>
              <a:gd name="connsiteX781" fmla="*/ 3021459 w 7467600"/>
              <a:gd name="connsiteY781" fmla="*/ 1035385 h 6858000"/>
              <a:gd name="connsiteX782" fmla="*/ 3153873 w 7467600"/>
              <a:gd name="connsiteY782" fmla="*/ 898971 h 6858000"/>
              <a:gd name="connsiteX783" fmla="*/ 3276511 w 7467600"/>
              <a:gd name="connsiteY783" fmla="*/ 786423 h 6858000"/>
              <a:gd name="connsiteX784" fmla="*/ 3584154 w 7467600"/>
              <a:gd name="connsiteY784" fmla="*/ 448218 h 6858000"/>
              <a:gd name="connsiteX785" fmla="*/ 3624562 w 7467600"/>
              <a:gd name="connsiteY785" fmla="*/ 367041 h 6858000"/>
              <a:gd name="connsiteX786" fmla="*/ 3766672 w 7467600"/>
              <a:gd name="connsiteY786" fmla="*/ 359429 h 6858000"/>
              <a:gd name="connsiteX787" fmla="*/ 3996338 w 7467600"/>
              <a:gd name="connsiteY787" fmla="*/ 968237 h 6858000"/>
              <a:gd name="connsiteX788" fmla="*/ 3766672 w 7467600"/>
              <a:gd name="connsiteY788" fmla="*/ 359429 h 6858000"/>
              <a:gd name="connsiteX789" fmla="*/ 5805386 w 7467600"/>
              <a:gd name="connsiteY789" fmla="*/ 239240 h 6858000"/>
              <a:gd name="connsiteX790" fmla="*/ 5736947 w 7467600"/>
              <a:gd name="connsiteY790" fmla="*/ 261367 h 6858000"/>
              <a:gd name="connsiteX791" fmla="*/ 5427012 w 7467600"/>
              <a:gd name="connsiteY791" fmla="*/ 311272 h 6858000"/>
              <a:gd name="connsiteX792" fmla="*/ 5147818 w 7467600"/>
              <a:gd name="connsiteY792" fmla="*/ 322112 h 6858000"/>
              <a:gd name="connsiteX793" fmla="*/ 5060854 w 7467600"/>
              <a:gd name="connsiteY793" fmla="*/ 311882 h 6858000"/>
              <a:gd name="connsiteX794" fmla="*/ 4945989 w 7467600"/>
              <a:gd name="connsiteY794" fmla="*/ 300516 h 6858000"/>
              <a:gd name="connsiteX795" fmla="*/ 5410479 w 7467600"/>
              <a:gd name="connsiteY795" fmla="*/ 348434 h 6858000"/>
              <a:gd name="connsiteX796" fmla="*/ 5805386 w 7467600"/>
              <a:gd name="connsiteY796" fmla="*/ 239240 h 6858000"/>
              <a:gd name="connsiteX797" fmla="*/ 5905192 w 7467600"/>
              <a:gd name="connsiteY797" fmla="*/ 163079 h 6858000"/>
              <a:gd name="connsiteX798" fmla="*/ 5865655 w 7467600"/>
              <a:gd name="connsiteY798" fmla="*/ 171901 h 6858000"/>
              <a:gd name="connsiteX799" fmla="*/ 5259740 w 7467600"/>
              <a:gd name="connsiteY799" fmla="*/ 257013 h 6858000"/>
              <a:gd name="connsiteX800" fmla="*/ 5208466 w 7467600"/>
              <a:gd name="connsiteY800" fmla="*/ 257550 h 6858000"/>
              <a:gd name="connsiteX801" fmla="*/ 4980204 w 7467600"/>
              <a:gd name="connsiteY801" fmla="*/ 271903 h 6858000"/>
              <a:gd name="connsiteX802" fmla="*/ 5068068 w 7467600"/>
              <a:gd name="connsiteY802" fmla="*/ 282244 h 6858000"/>
              <a:gd name="connsiteX803" fmla="*/ 5153231 w 7467600"/>
              <a:gd name="connsiteY803" fmla="*/ 292240 h 6858000"/>
              <a:gd name="connsiteX804" fmla="*/ 5426491 w 7467600"/>
              <a:gd name="connsiteY804" fmla="*/ 281128 h 6858000"/>
              <a:gd name="connsiteX805" fmla="*/ 5731212 w 7467600"/>
              <a:gd name="connsiteY805" fmla="*/ 231951 h 6858000"/>
              <a:gd name="connsiteX806" fmla="*/ 5905192 w 7467600"/>
              <a:gd name="connsiteY806" fmla="*/ 163079 h 6858000"/>
              <a:gd name="connsiteX807" fmla="*/ 5944437 w 7467600"/>
              <a:gd name="connsiteY807" fmla="*/ 113829 h 6858000"/>
              <a:gd name="connsiteX808" fmla="*/ 5825032 w 7467600"/>
              <a:gd name="connsiteY808" fmla="*/ 146405 h 6858000"/>
              <a:gd name="connsiteX809" fmla="*/ 4955599 w 7467600"/>
              <a:gd name="connsiteY809" fmla="*/ 247008 h 6858000"/>
              <a:gd name="connsiteX810" fmla="*/ 5210104 w 7467600"/>
              <a:gd name="connsiteY810" fmla="*/ 228123 h 6858000"/>
              <a:gd name="connsiteX811" fmla="*/ 5261015 w 7467600"/>
              <a:gd name="connsiteY811" fmla="*/ 227087 h 6858000"/>
              <a:gd name="connsiteX812" fmla="*/ 5861181 w 7467600"/>
              <a:gd name="connsiteY812" fmla="*/ 143093 h 6858000"/>
              <a:gd name="connsiteX813" fmla="*/ 5961252 w 7467600"/>
              <a:gd name="connsiteY813" fmla="*/ 114820 h 6858000"/>
              <a:gd name="connsiteX814" fmla="*/ 5944437 w 7467600"/>
              <a:gd name="connsiteY814" fmla="*/ 113829 h 6858000"/>
              <a:gd name="connsiteX815" fmla="*/ 3882765 w 7467600"/>
              <a:gd name="connsiteY815" fmla="*/ 0 h 6858000"/>
              <a:gd name="connsiteX816" fmla="*/ 3995099 w 7467600"/>
              <a:gd name="connsiteY816" fmla="*/ 0 h 6858000"/>
              <a:gd name="connsiteX817" fmla="*/ 4163818 w 7467600"/>
              <a:gd name="connsiteY817" fmla="*/ 234104 h 6858000"/>
              <a:gd name="connsiteX818" fmla="*/ 4172099 w 7467600"/>
              <a:gd name="connsiteY818" fmla="*/ 234207 h 6858000"/>
              <a:gd name="connsiteX819" fmla="*/ 4784282 w 7467600"/>
              <a:gd name="connsiteY819" fmla="*/ 276561 h 6858000"/>
              <a:gd name="connsiteX820" fmla="*/ 4801687 w 7467600"/>
              <a:gd name="connsiteY820" fmla="*/ 267764 h 6858000"/>
              <a:gd name="connsiteX821" fmla="*/ 6082788 w 7467600"/>
              <a:gd name="connsiteY821" fmla="*/ 64119 h 6858000"/>
              <a:gd name="connsiteX822" fmla="*/ 6099442 w 7467600"/>
              <a:gd name="connsiteY822" fmla="*/ 82568 h 6858000"/>
              <a:gd name="connsiteX823" fmla="*/ 4804137 w 7467600"/>
              <a:gd name="connsiteY823" fmla="*/ 320931 h 6858000"/>
              <a:gd name="connsiteX824" fmla="*/ 4227047 w 7467600"/>
              <a:gd name="connsiteY824" fmla="*/ 313415 h 6858000"/>
              <a:gd name="connsiteX825" fmla="*/ 4346041 w 7467600"/>
              <a:gd name="connsiteY825" fmla="*/ 456086 h 6858000"/>
              <a:gd name="connsiteX826" fmla="*/ 4870967 w 7467600"/>
              <a:gd name="connsiteY826" fmla="*/ 963061 h 6858000"/>
              <a:gd name="connsiteX827" fmla="*/ 4889647 w 7467600"/>
              <a:gd name="connsiteY827" fmla="*/ 957147 h 6858000"/>
              <a:gd name="connsiteX828" fmla="*/ 5422504 w 7467600"/>
              <a:gd name="connsiteY828" fmla="*/ 805191 h 6858000"/>
              <a:gd name="connsiteX829" fmla="*/ 6087656 w 7467600"/>
              <a:gd name="connsiteY829" fmla="*/ 826703 h 6858000"/>
              <a:gd name="connsiteX830" fmla="*/ 6058717 w 7467600"/>
              <a:gd name="connsiteY830" fmla="*/ 865992 h 6858000"/>
              <a:gd name="connsiteX831" fmla="*/ 4974153 w 7467600"/>
              <a:gd name="connsiteY831" fmla="*/ 1045456 h 6858000"/>
              <a:gd name="connsiteX832" fmla="*/ 5627835 w 7467600"/>
              <a:gd name="connsiteY832" fmla="*/ 1472077 h 6858000"/>
              <a:gd name="connsiteX833" fmla="*/ 5629817 w 7467600"/>
              <a:gd name="connsiteY833" fmla="*/ 1471412 h 6858000"/>
              <a:gd name="connsiteX834" fmla="*/ 5634124 w 7467600"/>
              <a:gd name="connsiteY834" fmla="*/ 1470572 h 6858000"/>
              <a:gd name="connsiteX835" fmla="*/ 5755832 w 7467600"/>
              <a:gd name="connsiteY835" fmla="*/ 1383886 h 6858000"/>
              <a:gd name="connsiteX836" fmla="*/ 6014186 w 7467600"/>
              <a:gd name="connsiteY836" fmla="*/ 1279799 h 6858000"/>
              <a:gd name="connsiteX837" fmla="*/ 6901619 w 7467600"/>
              <a:gd name="connsiteY837" fmla="*/ 1047874 h 6858000"/>
              <a:gd name="connsiteX838" fmla="*/ 6931566 w 7467600"/>
              <a:gd name="connsiteY838" fmla="*/ 1062034 h 6858000"/>
              <a:gd name="connsiteX839" fmla="*/ 5790982 w 7467600"/>
              <a:gd name="connsiteY839" fmla="*/ 1561380 h 6858000"/>
              <a:gd name="connsiteX840" fmla="*/ 6188971 w 7467600"/>
              <a:gd name="connsiteY840" fmla="*/ 1755168 h 6858000"/>
              <a:gd name="connsiteX841" fmla="*/ 6202446 w 7467600"/>
              <a:gd name="connsiteY841" fmla="*/ 1752268 h 6858000"/>
              <a:gd name="connsiteX842" fmla="*/ 7179560 w 7467600"/>
              <a:gd name="connsiteY842" fmla="*/ 1467551 h 6858000"/>
              <a:gd name="connsiteX843" fmla="*/ 7158730 w 7467600"/>
              <a:gd name="connsiteY843" fmla="*/ 1507835 h 6858000"/>
              <a:gd name="connsiteX844" fmla="*/ 6326959 w 7467600"/>
              <a:gd name="connsiteY844" fmla="*/ 1817686 h 6858000"/>
              <a:gd name="connsiteX845" fmla="*/ 6537433 w 7467600"/>
              <a:gd name="connsiteY845" fmla="*/ 1907790 h 6858000"/>
              <a:gd name="connsiteX846" fmla="*/ 6550221 w 7467600"/>
              <a:gd name="connsiteY846" fmla="*/ 1910729 h 6858000"/>
              <a:gd name="connsiteX847" fmla="*/ 6964438 w 7467600"/>
              <a:gd name="connsiteY847" fmla="*/ 2209505 h 6858000"/>
              <a:gd name="connsiteX848" fmla="*/ 7367862 w 7467600"/>
              <a:gd name="connsiteY848" fmla="*/ 2806833 h 6858000"/>
              <a:gd name="connsiteX849" fmla="*/ 7364329 w 7467600"/>
              <a:gd name="connsiteY849" fmla="*/ 2826907 h 6858000"/>
              <a:gd name="connsiteX850" fmla="*/ 7290545 w 7467600"/>
              <a:gd name="connsiteY850" fmla="*/ 2850663 h 6858000"/>
              <a:gd name="connsiteX851" fmla="*/ 6472036 w 7467600"/>
              <a:gd name="connsiteY851" fmla="*/ 1959003 h 6858000"/>
              <a:gd name="connsiteX852" fmla="*/ 5792897 w 7467600"/>
              <a:gd name="connsiteY852" fmla="*/ 1647747 h 6858000"/>
              <a:gd name="connsiteX853" fmla="*/ 5842751 w 7467600"/>
              <a:gd name="connsiteY853" fmla="*/ 1816112 h 6858000"/>
              <a:gd name="connsiteX854" fmla="*/ 5847424 w 7467600"/>
              <a:gd name="connsiteY854" fmla="*/ 1815776 h 6858000"/>
              <a:gd name="connsiteX855" fmla="*/ 6399821 w 7467600"/>
              <a:gd name="connsiteY855" fmla="*/ 2344799 h 6858000"/>
              <a:gd name="connsiteX856" fmla="*/ 6323232 w 7467600"/>
              <a:gd name="connsiteY856" fmla="*/ 2389634 h 6858000"/>
              <a:gd name="connsiteX857" fmla="*/ 5942958 w 7467600"/>
              <a:gd name="connsiteY857" fmla="*/ 2077708 h 6858000"/>
              <a:gd name="connsiteX858" fmla="*/ 5921559 w 7467600"/>
              <a:gd name="connsiteY858" fmla="*/ 2378596 h 6858000"/>
              <a:gd name="connsiteX859" fmla="*/ 5817651 w 7467600"/>
              <a:gd name="connsiteY859" fmla="*/ 3023919 h 6858000"/>
              <a:gd name="connsiteX860" fmla="*/ 5729634 w 7467600"/>
              <a:gd name="connsiteY860" fmla="*/ 3051849 h 6858000"/>
              <a:gd name="connsiteX861" fmla="*/ 5611018 w 7467600"/>
              <a:gd name="connsiteY861" fmla="*/ 2316769 h 6858000"/>
              <a:gd name="connsiteX862" fmla="*/ 5687608 w 7467600"/>
              <a:gd name="connsiteY862" fmla="*/ 2039972 h 6858000"/>
              <a:gd name="connsiteX863" fmla="*/ 5657554 w 7467600"/>
              <a:gd name="connsiteY863" fmla="*/ 1576445 h 6858000"/>
              <a:gd name="connsiteX864" fmla="*/ 5150475 w 7467600"/>
              <a:gd name="connsiteY864" fmla="*/ 1274012 h 6858000"/>
              <a:gd name="connsiteX865" fmla="*/ 5349142 w 7467600"/>
              <a:gd name="connsiteY865" fmla="*/ 2204405 h 6858000"/>
              <a:gd name="connsiteX866" fmla="*/ 5262214 w 7467600"/>
              <a:gd name="connsiteY866" fmla="*/ 2233836 h 6858000"/>
              <a:gd name="connsiteX867" fmla="*/ 4981539 w 7467600"/>
              <a:gd name="connsiteY867" fmla="*/ 1542201 h 6858000"/>
              <a:gd name="connsiteX868" fmla="*/ 4958461 w 7467600"/>
              <a:gd name="connsiteY868" fmla="*/ 1136957 h 6858000"/>
              <a:gd name="connsiteX869" fmla="*/ 4655015 w 7467600"/>
              <a:gd name="connsiteY869" fmla="*/ 891426 h 6858000"/>
              <a:gd name="connsiteX870" fmla="*/ 4348002 w 7467600"/>
              <a:gd name="connsiteY870" fmla="*/ 2205895 h 6858000"/>
              <a:gd name="connsiteX871" fmla="*/ 4262250 w 7467600"/>
              <a:gd name="connsiteY871" fmla="*/ 2219972 h 6858000"/>
              <a:gd name="connsiteX872" fmla="*/ 4550611 w 7467600"/>
              <a:gd name="connsiteY872" fmla="*/ 817540 h 6858000"/>
              <a:gd name="connsiteX873" fmla="*/ 4564418 w 7467600"/>
              <a:gd name="connsiteY873" fmla="*/ 808293 h 6858000"/>
              <a:gd name="connsiteX874" fmla="*/ 4266388 w 7467600"/>
              <a:gd name="connsiteY874" fmla="*/ 500083 h 6858000"/>
              <a:gd name="connsiteX875" fmla="*/ 4032842 w 7467600"/>
              <a:gd name="connsiteY875" fmla="*/ 211809 h 6858000"/>
              <a:gd name="connsiteX876" fmla="*/ 3882765 w 7467600"/>
              <a:gd name="connsiteY876" fmla="*/ 0 h 6858000"/>
              <a:gd name="connsiteX877" fmla="*/ 3721337 w 7467600"/>
              <a:gd name="connsiteY877" fmla="*/ 0 h 6858000"/>
              <a:gd name="connsiteX878" fmla="*/ 3797544 w 7467600"/>
              <a:gd name="connsiteY878" fmla="*/ 0 h 6858000"/>
              <a:gd name="connsiteX879" fmla="*/ 3775734 w 7467600"/>
              <a:gd name="connsiteY879" fmla="*/ 95131 h 6858000"/>
              <a:gd name="connsiteX880" fmla="*/ 3724807 w 7467600"/>
              <a:gd name="connsiteY880" fmla="*/ 272257 h 6858000"/>
              <a:gd name="connsiteX881" fmla="*/ 3726844 w 7467600"/>
              <a:gd name="connsiteY881" fmla="*/ 282988 h 6858000"/>
              <a:gd name="connsiteX882" fmla="*/ 3742664 w 7467600"/>
              <a:gd name="connsiteY882" fmla="*/ 279918 h 6858000"/>
              <a:gd name="connsiteX883" fmla="*/ 4103910 w 7467600"/>
              <a:gd name="connsiteY883" fmla="*/ 1161917 h 6858000"/>
              <a:gd name="connsiteX884" fmla="*/ 4020269 w 7467600"/>
              <a:gd name="connsiteY884" fmla="*/ 1200406 h 6858000"/>
              <a:gd name="connsiteX885" fmla="*/ 3674882 w 7467600"/>
              <a:gd name="connsiteY885" fmla="*/ 488524 h 6858000"/>
              <a:gd name="connsiteX886" fmla="*/ 3132682 w 7467600"/>
              <a:gd name="connsiteY886" fmla="*/ 1072284 h 6858000"/>
              <a:gd name="connsiteX887" fmla="*/ 2716346 w 7467600"/>
              <a:gd name="connsiteY887" fmla="*/ 1276376 h 6858000"/>
              <a:gd name="connsiteX888" fmla="*/ 2716772 w 7467600"/>
              <a:gd name="connsiteY888" fmla="*/ 1255462 h 6858000"/>
              <a:gd name="connsiteX889" fmla="*/ 3471096 w 7467600"/>
              <a:gd name="connsiteY889" fmla="*/ 437072 h 6858000"/>
              <a:gd name="connsiteX890" fmla="*/ 3639057 w 7467600"/>
              <a:gd name="connsiteY890" fmla="*/ 286334 h 6858000"/>
              <a:gd name="connsiteX891" fmla="*/ 3640309 w 7467600"/>
              <a:gd name="connsiteY891" fmla="*/ 284664 h 6858000"/>
              <a:gd name="connsiteX892" fmla="*/ 3646022 w 7467600"/>
              <a:gd name="connsiteY892" fmla="*/ 276711 h 6858000"/>
              <a:gd name="connsiteX893" fmla="*/ 3707943 w 7467600"/>
              <a:gd name="connsiteY893" fmla="*/ 65958 h 6858000"/>
              <a:gd name="connsiteX894" fmla="*/ 3721337 w 7467600"/>
              <a:gd name="connsiteY894" fmla="*/ 0 h 6858000"/>
              <a:gd name="connsiteX895" fmla="*/ 2867960 w 7467600"/>
              <a:gd name="connsiteY895" fmla="*/ 0 h 6858000"/>
              <a:gd name="connsiteX896" fmla="*/ 2926351 w 7467600"/>
              <a:gd name="connsiteY896" fmla="*/ 0 h 6858000"/>
              <a:gd name="connsiteX897" fmla="*/ 2902823 w 7467600"/>
              <a:gd name="connsiteY897" fmla="*/ 262929 h 6858000"/>
              <a:gd name="connsiteX898" fmla="*/ 2940663 w 7467600"/>
              <a:gd name="connsiteY898" fmla="*/ 140884 h 6858000"/>
              <a:gd name="connsiteX899" fmla="*/ 2947039 w 7467600"/>
              <a:gd name="connsiteY899" fmla="*/ 122524 h 6858000"/>
              <a:gd name="connsiteX900" fmla="*/ 2984316 w 7467600"/>
              <a:gd name="connsiteY900" fmla="*/ 0 h 6858000"/>
              <a:gd name="connsiteX901" fmla="*/ 3016114 w 7467600"/>
              <a:gd name="connsiteY901" fmla="*/ 0 h 6858000"/>
              <a:gd name="connsiteX902" fmla="*/ 2979949 w 7467600"/>
              <a:gd name="connsiteY902" fmla="*/ 119274 h 6858000"/>
              <a:gd name="connsiteX903" fmla="*/ 3023879 w 7467600"/>
              <a:gd name="connsiteY903" fmla="*/ 0 h 6858000"/>
              <a:gd name="connsiteX904" fmla="*/ 3105400 w 7467600"/>
              <a:gd name="connsiteY904" fmla="*/ 0 h 6858000"/>
              <a:gd name="connsiteX905" fmla="*/ 3094669 w 7467600"/>
              <a:gd name="connsiteY905" fmla="*/ 30308 h 6858000"/>
              <a:gd name="connsiteX906" fmla="*/ 2901945 w 7467600"/>
              <a:gd name="connsiteY906" fmla="*/ 466538 h 6858000"/>
              <a:gd name="connsiteX907" fmla="*/ 2815209 w 7467600"/>
              <a:gd name="connsiteY907" fmla="*/ 497361 h 6858000"/>
              <a:gd name="connsiteX908" fmla="*/ 2844845 w 7467600"/>
              <a:gd name="connsiteY908" fmla="*/ 127638 h 6858000"/>
              <a:gd name="connsiteX909" fmla="*/ 2867960 w 7467600"/>
              <a:gd name="connsiteY909" fmla="*/ 0 h 6858000"/>
              <a:gd name="connsiteX910" fmla="*/ 1057230 w 7467600"/>
              <a:gd name="connsiteY910" fmla="*/ 0 h 6858000"/>
              <a:gd name="connsiteX911" fmla="*/ 1111003 w 7467600"/>
              <a:gd name="connsiteY911" fmla="*/ 0 h 6858000"/>
              <a:gd name="connsiteX912" fmla="*/ 1125553 w 7467600"/>
              <a:gd name="connsiteY912" fmla="*/ 52588 h 6858000"/>
              <a:gd name="connsiteX913" fmla="*/ 1304276 w 7467600"/>
              <a:gd name="connsiteY913" fmla="*/ 476275 h 6858000"/>
              <a:gd name="connsiteX914" fmla="*/ 1492066 w 7467600"/>
              <a:gd name="connsiteY914" fmla="*/ 886333 h 6858000"/>
              <a:gd name="connsiteX915" fmla="*/ 1423698 w 7467600"/>
              <a:gd name="connsiteY915" fmla="*/ 710817 h 6858000"/>
              <a:gd name="connsiteX916" fmla="*/ 1357609 w 7467600"/>
              <a:gd name="connsiteY916" fmla="*/ 532892 h 6858000"/>
              <a:gd name="connsiteX917" fmla="*/ 1309550 w 7467600"/>
              <a:gd name="connsiteY917" fmla="*/ 374031 h 6858000"/>
              <a:gd name="connsiteX918" fmla="*/ 1193673 w 7467600"/>
              <a:gd name="connsiteY918" fmla="*/ 49533 h 6858000"/>
              <a:gd name="connsiteX919" fmla="*/ 1164391 w 7467600"/>
              <a:gd name="connsiteY919" fmla="*/ 0 h 6858000"/>
              <a:gd name="connsiteX920" fmla="*/ 1200666 w 7467600"/>
              <a:gd name="connsiteY920" fmla="*/ 0 h 6858000"/>
              <a:gd name="connsiteX921" fmla="*/ 1223408 w 7467600"/>
              <a:gd name="connsiteY921" fmla="*/ 38996 h 6858000"/>
              <a:gd name="connsiteX922" fmla="*/ 1339635 w 7467600"/>
              <a:gd name="connsiteY922" fmla="*/ 365517 h 6858000"/>
              <a:gd name="connsiteX923" fmla="*/ 1387469 w 7467600"/>
              <a:gd name="connsiteY923" fmla="*/ 523079 h 6858000"/>
              <a:gd name="connsiteX924" fmla="*/ 1452685 w 7467600"/>
              <a:gd name="connsiteY924" fmla="*/ 699806 h 6858000"/>
              <a:gd name="connsiteX925" fmla="*/ 1492092 w 7467600"/>
              <a:gd name="connsiteY925" fmla="*/ 800424 h 6858000"/>
              <a:gd name="connsiteX926" fmla="*/ 1455302 w 7467600"/>
              <a:gd name="connsiteY926" fmla="*/ 632913 h 6858000"/>
              <a:gd name="connsiteX927" fmla="*/ 1222336 w 7467600"/>
              <a:gd name="connsiteY927" fmla="*/ 9480 h 6858000"/>
              <a:gd name="connsiteX928" fmla="*/ 1214634 w 7467600"/>
              <a:gd name="connsiteY928" fmla="*/ 0 h 6858000"/>
              <a:gd name="connsiteX929" fmla="*/ 1289827 w 7467600"/>
              <a:gd name="connsiteY929" fmla="*/ 0 h 6858000"/>
              <a:gd name="connsiteX930" fmla="*/ 1321076 w 7467600"/>
              <a:gd name="connsiteY930" fmla="*/ 59722 h 6858000"/>
              <a:gd name="connsiteX931" fmla="*/ 1512579 w 7467600"/>
              <a:gd name="connsiteY931" fmla="*/ 626441 h 6858000"/>
              <a:gd name="connsiteX932" fmla="*/ 1506076 w 7467600"/>
              <a:gd name="connsiteY932" fmla="*/ 1089289 h 6858000"/>
              <a:gd name="connsiteX933" fmla="*/ 1486346 w 7467600"/>
              <a:gd name="connsiteY933" fmla="*/ 1079919 h 6858000"/>
              <a:gd name="connsiteX934" fmla="*/ 1070511 w 7467600"/>
              <a:gd name="connsiteY934" fmla="*/ 48609 h 6858000"/>
              <a:gd name="connsiteX935" fmla="*/ 1057230 w 7467600"/>
              <a:gd name="connsiteY935" fmla="*/ 0 h 6858000"/>
              <a:gd name="connsiteX936" fmla="*/ 43151 w 7467600"/>
              <a:gd name="connsiteY936" fmla="*/ 0 h 6858000"/>
              <a:gd name="connsiteX937" fmla="*/ 95283 w 7467600"/>
              <a:gd name="connsiteY937" fmla="*/ 0 h 6858000"/>
              <a:gd name="connsiteX938" fmla="*/ 300708 w 7467600"/>
              <a:gd name="connsiteY938" fmla="*/ 154571 h 6858000"/>
              <a:gd name="connsiteX939" fmla="*/ 530414 w 7467600"/>
              <a:gd name="connsiteY939" fmla="*/ 354673 h 6858000"/>
              <a:gd name="connsiteX940" fmla="*/ 333785 w 7467600"/>
              <a:gd name="connsiteY940" fmla="*/ 161564 h 6858000"/>
              <a:gd name="connsiteX941" fmla="*/ 147005 w 7467600"/>
              <a:gd name="connsiteY941" fmla="*/ 0 h 6858000"/>
              <a:gd name="connsiteX942" fmla="*/ 272509 w 7467600"/>
              <a:gd name="connsiteY942" fmla="*/ 0 h 6858000"/>
              <a:gd name="connsiteX943" fmla="*/ 326276 w 7467600"/>
              <a:gd name="connsiteY943" fmla="*/ 45847 h 6858000"/>
              <a:gd name="connsiteX944" fmla="*/ 823759 w 7467600"/>
              <a:gd name="connsiteY944" fmla="*/ 574145 h 6858000"/>
              <a:gd name="connsiteX945" fmla="*/ 811254 w 7467600"/>
              <a:gd name="connsiteY945" fmla="*/ 665546 h 6858000"/>
              <a:gd name="connsiteX946" fmla="*/ 154042 w 7467600"/>
              <a:gd name="connsiteY946" fmla="*/ 261522 h 6858000"/>
              <a:gd name="connsiteX947" fmla="*/ 13550 w 7467600"/>
              <a:gd name="connsiteY947" fmla="*/ 158423 h 6858000"/>
              <a:gd name="connsiteX948" fmla="*/ 0 w 7467600"/>
              <a:gd name="connsiteY948" fmla="*/ 146618 h 6858000"/>
              <a:gd name="connsiteX949" fmla="*/ 0 w 7467600"/>
              <a:gd name="connsiteY949" fmla="*/ 59161 h 6858000"/>
              <a:gd name="connsiteX950" fmla="*/ 45427 w 7467600"/>
              <a:gd name="connsiteY950" fmla="*/ 101078 h 6858000"/>
              <a:gd name="connsiteX951" fmla="*/ 630103 w 7467600"/>
              <a:gd name="connsiteY951" fmla="*/ 485885 h 6858000"/>
              <a:gd name="connsiteX952" fmla="*/ 532040 w 7467600"/>
              <a:gd name="connsiteY952" fmla="*/ 399359 h 6858000"/>
              <a:gd name="connsiteX953" fmla="*/ 517618 w 7467600"/>
              <a:gd name="connsiteY953" fmla="*/ 385726 h 6858000"/>
              <a:gd name="connsiteX954" fmla="*/ 285074 w 7467600"/>
              <a:gd name="connsiteY954" fmla="*/ 182755 h 6858000"/>
              <a:gd name="connsiteX955" fmla="*/ 43151 w 7467600"/>
              <a:gd name="connsiteY955"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088673 w 7467600"/>
              <a:gd name="connsiteY4" fmla="*/ 6610396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7088673 w 7467600"/>
              <a:gd name="connsiteY20" fmla="*/ 6610396 h 6858000"/>
              <a:gd name="connsiteX21" fmla="*/ 1019354 w 7467600"/>
              <a:gd name="connsiteY21" fmla="*/ 6315006 h 6858000"/>
              <a:gd name="connsiteX22" fmla="*/ 441046 w 7467600"/>
              <a:gd name="connsiteY22" fmla="*/ 6691153 h 6858000"/>
              <a:gd name="connsiteX23" fmla="*/ 1019354 w 7467600"/>
              <a:gd name="connsiteY23" fmla="*/ 6315006 h 6858000"/>
              <a:gd name="connsiteX24" fmla="*/ 991680 w 7467600"/>
              <a:gd name="connsiteY24" fmla="*/ 6298413 h 6858000"/>
              <a:gd name="connsiteX25" fmla="*/ 409060 w 7467600"/>
              <a:gd name="connsiteY25" fmla="*/ 6671470 h 6858000"/>
              <a:gd name="connsiteX26" fmla="*/ 991680 w 7467600"/>
              <a:gd name="connsiteY26" fmla="*/ 6298413 h 6858000"/>
              <a:gd name="connsiteX27" fmla="*/ 103333 w 7467600"/>
              <a:gd name="connsiteY27" fmla="*/ 5699602 h 6858000"/>
              <a:gd name="connsiteX28" fmla="*/ 233938 w 7467600"/>
              <a:gd name="connsiteY28" fmla="*/ 5809416 h 6858000"/>
              <a:gd name="connsiteX29" fmla="*/ 883580 w 7467600"/>
              <a:gd name="connsiteY29" fmla="*/ 6180710 h 6858000"/>
              <a:gd name="connsiteX30" fmla="*/ 487337 w 7467600"/>
              <a:gd name="connsiteY30" fmla="*/ 5950182 h 6858000"/>
              <a:gd name="connsiteX31" fmla="*/ 354051 w 7467600"/>
              <a:gd name="connsiteY31" fmla="*/ 5854912 h 6858000"/>
              <a:gd name="connsiteX32" fmla="*/ 195436 w 7467600"/>
              <a:gd name="connsiteY32" fmla="*/ 5755068 h 6858000"/>
              <a:gd name="connsiteX33" fmla="*/ 103333 w 7467600"/>
              <a:gd name="connsiteY33" fmla="*/ 5699602 h 6858000"/>
              <a:gd name="connsiteX34" fmla="*/ 5539432 w 7467600"/>
              <a:gd name="connsiteY34" fmla="*/ 5642928 h 6858000"/>
              <a:gd name="connsiteX35" fmla="*/ 5555462 w 7467600"/>
              <a:gd name="connsiteY35" fmla="*/ 5694454 h 6858000"/>
              <a:gd name="connsiteX36" fmla="*/ 5828270 w 7467600"/>
              <a:gd name="connsiteY36" fmla="*/ 6320663 h 6858000"/>
              <a:gd name="connsiteX37" fmla="*/ 5947416 w 7467600"/>
              <a:gd name="connsiteY37" fmla="*/ 6574846 h 6858000"/>
              <a:gd name="connsiteX38" fmla="*/ 5539432 w 7467600"/>
              <a:gd name="connsiteY38" fmla="*/ 5642928 h 6858000"/>
              <a:gd name="connsiteX39" fmla="*/ 51253 w 7467600"/>
              <a:gd name="connsiteY39" fmla="*/ 5631825 h 6858000"/>
              <a:gd name="connsiteX40" fmla="*/ 211622 w 7467600"/>
              <a:gd name="connsiteY40" fmla="*/ 5728803 h 6858000"/>
              <a:gd name="connsiteX41" fmla="*/ 371652 w 7467600"/>
              <a:gd name="connsiteY41" fmla="*/ 5829062 h 6858000"/>
              <a:gd name="connsiteX42" fmla="*/ 505903 w 7467600"/>
              <a:gd name="connsiteY42" fmla="*/ 5925221 h 6858000"/>
              <a:gd name="connsiteX43" fmla="*/ 899240 w 7467600"/>
              <a:gd name="connsiteY43" fmla="*/ 6153068 h 6858000"/>
              <a:gd name="connsiteX44" fmla="*/ 988114 w 7467600"/>
              <a:gd name="connsiteY44" fmla="*/ 6174204 h 6858000"/>
              <a:gd name="connsiteX45" fmla="*/ 845971 w 7467600"/>
              <a:gd name="connsiteY45" fmla="*/ 6067177 h 6858000"/>
              <a:gd name="connsiteX46" fmla="*/ 448057 w 7467600"/>
              <a:gd name="connsiteY46" fmla="*/ 5841376 h 6858000"/>
              <a:gd name="connsiteX47" fmla="*/ 51253 w 7467600"/>
              <a:gd name="connsiteY47" fmla="*/ 5631825 h 6858000"/>
              <a:gd name="connsiteX48" fmla="*/ 2606687 w 7467600"/>
              <a:gd name="connsiteY48" fmla="*/ 5630718 h 6858000"/>
              <a:gd name="connsiteX49" fmla="*/ 2645658 w 7467600"/>
              <a:gd name="connsiteY49" fmla="*/ 6640259 h 6858000"/>
              <a:gd name="connsiteX50" fmla="*/ 2606687 w 7467600"/>
              <a:gd name="connsiteY50" fmla="*/ 5630718 h 6858000"/>
              <a:gd name="connsiteX51" fmla="*/ 3642057 w 7467600"/>
              <a:gd name="connsiteY51" fmla="*/ 5573487 h 6858000"/>
              <a:gd name="connsiteX52" fmla="*/ 3632981 w 7467600"/>
              <a:gd name="connsiteY52" fmla="*/ 5579437 h 6858000"/>
              <a:gd name="connsiteX53" fmla="*/ 3382436 w 7467600"/>
              <a:gd name="connsiteY53" fmla="*/ 5952726 h 6858000"/>
              <a:gd name="connsiteX54" fmla="*/ 3191929 w 7467600"/>
              <a:gd name="connsiteY54" fmla="*/ 6662669 h 6858000"/>
              <a:gd name="connsiteX55" fmla="*/ 3369898 w 7467600"/>
              <a:gd name="connsiteY55" fmla="*/ 6081771 h 6858000"/>
              <a:gd name="connsiteX56" fmla="*/ 3642057 w 7467600"/>
              <a:gd name="connsiteY56" fmla="*/ 5573487 h 6858000"/>
              <a:gd name="connsiteX57" fmla="*/ 2650666 w 7467600"/>
              <a:gd name="connsiteY57" fmla="*/ 5530686 h 6858000"/>
              <a:gd name="connsiteX58" fmla="*/ 2650249 w 7467600"/>
              <a:gd name="connsiteY58" fmla="*/ 5532101 h 6858000"/>
              <a:gd name="connsiteX59" fmla="*/ 2663808 w 7467600"/>
              <a:gd name="connsiteY59" fmla="*/ 6535215 h 6858000"/>
              <a:gd name="connsiteX60" fmla="*/ 2665418 w 7467600"/>
              <a:gd name="connsiteY60" fmla="*/ 6132756 h 6858000"/>
              <a:gd name="connsiteX61" fmla="*/ 2650666 w 7467600"/>
              <a:gd name="connsiteY61" fmla="*/ 5530686 h 6858000"/>
              <a:gd name="connsiteX62" fmla="*/ 2680277 w 7467600"/>
              <a:gd name="connsiteY62" fmla="*/ 5479204 h 6858000"/>
              <a:gd name="connsiteX63" fmla="*/ 2678972 w 7467600"/>
              <a:gd name="connsiteY63" fmla="*/ 5481582 h 6858000"/>
              <a:gd name="connsiteX64" fmla="*/ 2696666 w 7467600"/>
              <a:gd name="connsiteY64" fmla="*/ 6133836 h 6858000"/>
              <a:gd name="connsiteX65" fmla="*/ 2695769 w 7467600"/>
              <a:gd name="connsiteY65" fmla="*/ 6390955 h 6858000"/>
              <a:gd name="connsiteX66" fmla="*/ 2739893 w 7467600"/>
              <a:gd name="connsiteY66" fmla="*/ 6108357 h 6858000"/>
              <a:gd name="connsiteX67" fmla="*/ 2680277 w 7467600"/>
              <a:gd name="connsiteY67" fmla="*/ 5479204 h 6858000"/>
              <a:gd name="connsiteX68" fmla="*/ 1132195 w 7467600"/>
              <a:gd name="connsiteY68" fmla="*/ 5467980 h 6858000"/>
              <a:gd name="connsiteX69" fmla="*/ 1679056 w 7467600"/>
              <a:gd name="connsiteY69" fmla="*/ 5516907 h 6858000"/>
              <a:gd name="connsiteX70" fmla="*/ 2128648 w 7467600"/>
              <a:gd name="connsiteY70" fmla="*/ 5474249 h 6858000"/>
              <a:gd name="connsiteX71" fmla="*/ 1825619 w 7467600"/>
              <a:gd name="connsiteY71" fmla="*/ 5478447 h 6858000"/>
              <a:gd name="connsiteX72" fmla="*/ 1737798 w 7467600"/>
              <a:gd name="connsiteY72" fmla="*/ 5483353 h 6858000"/>
              <a:gd name="connsiteX73" fmla="*/ 1132195 w 7467600"/>
              <a:gd name="connsiteY73" fmla="*/ 5467980 h 6858000"/>
              <a:gd name="connsiteX74" fmla="*/ 1456157 w 7467600"/>
              <a:gd name="connsiteY74" fmla="*/ 5371404 h 6858000"/>
              <a:gd name="connsiteX75" fmla="*/ 1244432 w 7467600"/>
              <a:gd name="connsiteY75" fmla="*/ 5385601 h 6858000"/>
              <a:gd name="connsiteX76" fmla="*/ 973990 w 7467600"/>
              <a:gd name="connsiteY76" fmla="*/ 5424940 h 6858000"/>
              <a:gd name="connsiteX77" fmla="*/ 1103809 w 7467600"/>
              <a:gd name="connsiteY77" fmla="*/ 5433720 h 6858000"/>
              <a:gd name="connsiteX78" fmla="*/ 1123454 w 7467600"/>
              <a:gd name="connsiteY78" fmla="*/ 5435727 h 6858000"/>
              <a:gd name="connsiteX79" fmla="*/ 1737017 w 7467600"/>
              <a:gd name="connsiteY79" fmla="*/ 5452183 h 6858000"/>
              <a:gd name="connsiteX80" fmla="*/ 1824397 w 7467600"/>
              <a:gd name="connsiteY80" fmla="*/ 5447757 h 6858000"/>
              <a:gd name="connsiteX81" fmla="*/ 2070059 w 7467600"/>
              <a:gd name="connsiteY81" fmla="*/ 5441660 h 6858000"/>
              <a:gd name="connsiteX82" fmla="*/ 1456157 w 7467600"/>
              <a:gd name="connsiteY82" fmla="*/ 5371404 h 6858000"/>
              <a:gd name="connsiteX83" fmla="*/ 4988186 w 7467600"/>
              <a:gd name="connsiteY83" fmla="*/ 5216467 h 6858000"/>
              <a:gd name="connsiteX84" fmla="*/ 4777334 w 7467600"/>
              <a:gd name="connsiteY84" fmla="*/ 5406072 h 6858000"/>
              <a:gd name="connsiteX85" fmla="*/ 4718341 w 7467600"/>
              <a:gd name="connsiteY85" fmla="*/ 5468043 h 6858000"/>
              <a:gd name="connsiteX86" fmla="*/ 4604655 w 7467600"/>
              <a:gd name="connsiteY86" fmla="*/ 5583434 h 6858000"/>
              <a:gd name="connsiteX87" fmla="*/ 4565074 w 7467600"/>
              <a:gd name="connsiteY87" fmla="*/ 5618550 h 6858000"/>
              <a:gd name="connsiteX88" fmla="*/ 4988186 w 7467600"/>
              <a:gd name="connsiteY88" fmla="*/ 5216467 h 6858000"/>
              <a:gd name="connsiteX89" fmla="*/ 4978032 w 7467600"/>
              <a:gd name="connsiteY89" fmla="*/ 5183809 h 6858000"/>
              <a:gd name="connsiteX90" fmla="*/ 4463413 w 7467600"/>
              <a:gd name="connsiteY90" fmla="*/ 5615162 h 6858000"/>
              <a:gd name="connsiteX91" fmla="*/ 4358134 w 7467600"/>
              <a:gd name="connsiteY91" fmla="*/ 5742791 h 6858000"/>
              <a:gd name="connsiteX92" fmla="*/ 4376219 w 7467600"/>
              <a:gd name="connsiteY92" fmla="*/ 5729027 h 6858000"/>
              <a:gd name="connsiteX93" fmla="*/ 4582340 w 7467600"/>
              <a:gd name="connsiteY93" fmla="*/ 5561037 h 6858000"/>
              <a:gd name="connsiteX94" fmla="*/ 4694684 w 7467600"/>
              <a:gd name="connsiteY94" fmla="*/ 5447098 h 6858000"/>
              <a:gd name="connsiteX95" fmla="*/ 4754123 w 7467600"/>
              <a:gd name="connsiteY95" fmla="*/ 5384643 h 6858000"/>
              <a:gd name="connsiteX96" fmla="*/ 4978032 w 7467600"/>
              <a:gd name="connsiteY96" fmla="*/ 5183809 h 6858000"/>
              <a:gd name="connsiteX97" fmla="*/ 1903353 w 7467600"/>
              <a:gd name="connsiteY97" fmla="*/ 5044827 h 6858000"/>
              <a:gd name="connsiteX98" fmla="*/ 1936931 w 7467600"/>
              <a:gd name="connsiteY98" fmla="*/ 5093954 h 6858000"/>
              <a:gd name="connsiteX99" fmla="*/ 2195868 w 7467600"/>
              <a:gd name="connsiteY99" fmla="*/ 5396574 h 6858000"/>
              <a:gd name="connsiteX100" fmla="*/ 2088852 w 7467600"/>
              <a:gd name="connsiteY100" fmla="*/ 5166123 h 6858000"/>
              <a:gd name="connsiteX101" fmla="*/ 1958241 w 7467600"/>
              <a:gd name="connsiteY101" fmla="*/ 5067955 h 6858000"/>
              <a:gd name="connsiteX102" fmla="*/ 1903353 w 7467600"/>
              <a:gd name="connsiteY102" fmla="*/ 5044827 h 6858000"/>
              <a:gd name="connsiteX103" fmla="*/ 1979378 w 7467600"/>
              <a:gd name="connsiteY103" fmla="*/ 4769504 h 6858000"/>
              <a:gd name="connsiteX104" fmla="*/ 2882120 w 7467600"/>
              <a:gd name="connsiteY104" fmla="*/ 5064547 h 6858000"/>
              <a:gd name="connsiteX105" fmla="*/ 2793103 w 7467600"/>
              <a:gd name="connsiteY105" fmla="*/ 5039699 h 6858000"/>
              <a:gd name="connsiteX106" fmla="*/ 2770041 w 7467600"/>
              <a:gd name="connsiteY106" fmla="*/ 5033634 h 6858000"/>
              <a:gd name="connsiteX107" fmla="*/ 1979378 w 7467600"/>
              <a:gd name="connsiteY107" fmla="*/ 4769504 h 6858000"/>
              <a:gd name="connsiteX108" fmla="*/ 1927410 w 7467600"/>
              <a:gd name="connsiteY108" fmla="*/ 4716164 h 6858000"/>
              <a:gd name="connsiteX109" fmla="*/ 1959587 w 7467600"/>
              <a:gd name="connsiteY109" fmla="*/ 4728849 h 6858000"/>
              <a:gd name="connsiteX110" fmla="*/ 2777707 w 7467600"/>
              <a:gd name="connsiteY110" fmla="*/ 5003991 h 6858000"/>
              <a:gd name="connsiteX111" fmla="*/ 2800768 w 7467600"/>
              <a:gd name="connsiteY111" fmla="*/ 5010056 h 6858000"/>
              <a:gd name="connsiteX112" fmla="*/ 2879408 w 7467600"/>
              <a:gd name="connsiteY112" fmla="*/ 5031590 h 6858000"/>
              <a:gd name="connsiteX113" fmla="*/ 2862295 w 7467600"/>
              <a:gd name="connsiteY113" fmla="*/ 5022958 h 6858000"/>
              <a:gd name="connsiteX114" fmla="*/ 2813343 w 7467600"/>
              <a:gd name="connsiteY114" fmla="*/ 4998369 h 6858000"/>
              <a:gd name="connsiteX115" fmla="*/ 2646245 w 7467600"/>
              <a:gd name="connsiteY115" fmla="*/ 4930999 h 6858000"/>
              <a:gd name="connsiteX116" fmla="*/ 1999243 w 7467600"/>
              <a:gd name="connsiteY116" fmla="*/ 4730524 h 6858000"/>
              <a:gd name="connsiteX117" fmla="*/ 1979527 w 7467600"/>
              <a:gd name="connsiteY117" fmla="*/ 4726651 h 6858000"/>
              <a:gd name="connsiteX118" fmla="*/ 1927410 w 7467600"/>
              <a:gd name="connsiteY118" fmla="*/ 4716164 h 6858000"/>
              <a:gd name="connsiteX119" fmla="*/ 1997014 w 7467600"/>
              <a:gd name="connsiteY119" fmla="*/ 4698007 h 6858000"/>
              <a:gd name="connsiteX120" fmla="*/ 2005458 w 7467600"/>
              <a:gd name="connsiteY120" fmla="*/ 4699540 h 6858000"/>
              <a:gd name="connsiteX121" fmla="*/ 2657186 w 7467600"/>
              <a:gd name="connsiteY121" fmla="*/ 4901687 h 6858000"/>
              <a:gd name="connsiteX122" fmla="*/ 2826662 w 7467600"/>
              <a:gd name="connsiteY122" fmla="*/ 4970362 h 6858000"/>
              <a:gd name="connsiteX123" fmla="*/ 2876100 w 7467600"/>
              <a:gd name="connsiteY123" fmla="*/ 4995397 h 6858000"/>
              <a:gd name="connsiteX124" fmla="*/ 3042600 w 7467600"/>
              <a:gd name="connsiteY124" fmla="*/ 5059532 h 6858000"/>
              <a:gd name="connsiteX125" fmla="*/ 1997014 w 7467600"/>
              <a:gd name="connsiteY125" fmla="*/ 4698007 h 6858000"/>
              <a:gd name="connsiteX126" fmla="*/ 2305292 w 7467600"/>
              <a:gd name="connsiteY126" fmla="*/ 4219492 h 6858000"/>
              <a:gd name="connsiteX127" fmla="*/ 3360922 w 7467600"/>
              <a:gd name="connsiteY127" fmla="*/ 4529373 h 6858000"/>
              <a:gd name="connsiteX128" fmla="*/ 3492420 w 7467600"/>
              <a:gd name="connsiteY128" fmla="*/ 4510145 h 6858000"/>
              <a:gd name="connsiteX129" fmla="*/ 3364086 w 7467600"/>
              <a:gd name="connsiteY129" fmla="*/ 4480340 h 6858000"/>
              <a:gd name="connsiteX130" fmla="*/ 3225818 w 7467600"/>
              <a:gd name="connsiteY130" fmla="*/ 4411822 h 6858000"/>
              <a:gd name="connsiteX131" fmla="*/ 3129696 w 7467600"/>
              <a:gd name="connsiteY131" fmla="*/ 4360704 h 6858000"/>
              <a:gd name="connsiteX132" fmla="*/ 2814545 w 7467600"/>
              <a:gd name="connsiteY132" fmla="*/ 4282955 h 6858000"/>
              <a:gd name="connsiteX133" fmla="*/ 2305292 w 7467600"/>
              <a:gd name="connsiteY133" fmla="*/ 4219492 h 6858000"/>
              <a:gd name="connsiteX134" fmla="*/ 2626982 w 7467600"/>
              <a:gd name="connsiteY134" fmla="*/ 4206450 h 6858000"/>
              <a:gd name="connsiteX135" fmla="*/ 2490617 w 7467600"/>
              <a:gd name="connsiteY135" fmla="*/ 4206951 h 6858000"/>
              <a:gd name="connsiteX136" fmla="*/ 2819869 w 7467600"/>
              <a:gd name="connsiteY136" fmla="*/ 4252936 h 6858000"/>
              <a:gd name="connsiteX137" fmla="*/ 3143018 w 7467600"/>
              <a:gd name="connsiteY137" fmla="*/ 4332698 h 6858000"/>
              <a:gd name="connsiteX138" fmla="*/ 3241520 w 7467600"/>
              <a:gd name="connsiteY138" fmla="*/ 4385112 h 6858000"/>
              <a:gd name="connsiteX139" fmla="*/ 3374575 w 7467600"/>
              <a:gd name="connsiteY139" fmla="*/ 4451517 h 6858000"/>
              <a:gd name="connsiteX140" fmla="*/ 3505221 w 7467600"/>
              <a:gd name="connsiteY140" fmla="*/ 4480757 h 6858000"/>
              <a:gd name="connsiteX141" fmla="*/ 2626982 w 7467600"/>
              <a:gd name="connsiteY141" fmla="*/ 4206450 h 6858000"/>
              <a:gd name="connsiteX142" fmla="*/ 1310106 w 7467600"/>
              <a:gd name="connsiteY142" fmla="*/ 3943217 h 6858000"/>
              <a:gd name="connsiteX143" fmla="*/ 854994 w 7467600"/>
              <a:gd name="connsiteY143" fmla="*/ 4399136 h 6858000"/>
              <a:gd name="connsiteX144" fmla="*/ 742462 w 7467600"/>
              <a:gd name="connsiteY144" fmla="*/ 4594648 h 6858000"/>
              <a:gd name="connsiteX145" fmla="*/ 820602 w 7467600"/>
              <a:gd name="connsiteY145" fmla="*/ 4485915 h 6858000"/>
              <a:gd name="connsiteX146" fmla="*/ 878295 w 7467600"/>
              <a:gd name="connsiteY146" fmla="*/ 4403594 h 6858000"/>
              <a:gd name="connsiteX147" fmla="*/ 1240607 w 7467600"/>
              <a:gd name="connsiteY147" fmla="*/ 4010401 h 6858000"/>
              <a:gd name="connsiteX148" fmla="*/ 1310106 w 7467600"/>
              <a:gd name="connsiteY148" fmla="*/ 3943217 h 6858000"/>
              <a:gd name="connsiteX149" fmla="*/ 1423113 w 7467600"/>
              <a:gd name="connsiteY149" fmla="*/ 3874565 h 6858000"/>
              <a:gd name="connsiteX150" fmla="*/ 1260565 w 7467600"/>
              <a:gd name="connsiteY150" fmla="*/ 4031982 h 6858000"/>
              <a:gd name="connsiteX151" fmla="*/ 901900 w 7467600"/>
              <a:gd name="connsiteY151" fmla="*/ 4421236 h 6858000"/>
              <a:gd name="connsiteX152" fmla="*/ 845044 w 7467600"/>
              <a:gd name="connsiteY152" fmla="*/ 4502436 h 6858000"/>
              <a:gd name="connsiteX153" fmla="*/ 685926 w 7467600"/>
              <a:gd name="connsiteY153" fmla="*/ 4703069 h 6858000"/>
              <a:gd name="connsiteX154" fmla="*/ 684248 w 7467600"/>
              <a:gd name="connsiteY154" fmla="*/ 4706721 h 6858000"/>
              <a:gd name="connsiteX155" fmla="*/ 1423113 w 7467600"/>
              <a:gd name="connsiteY155" fmla="*/ 3874565 h 6858000"/>
              <a:gd name="connsiteX156" fmla="*/ 3316479 w 7467600"/>
              <a:gd name="connsiteY156" fmla="*/ 3872136 h 6858000"/>
              <a:gd name="connsiteX157" fmla="*/ 3546806 w 7467600"/>
              <a:gd name="connsiteY157" fmla="*/ 4356139 h 6858000"/>
              <a:gd name="connsiteX158" fmla="*/ 3364433 w 7467600"/>
              <a:gd name="connsiteY158" fmla="*/ 3953121 h 6858000"/>
              <a:gd name="connsiteX159" fmla="*/ 3316479 w 7467600"/>
              <a:gd name="connsiteY159" fmla="*/ 3872136 h 6858000"/>
              <a:gd name="connsiteX160" fmla="*/ 3291335 w 7467600"/>
              <a:gd name="connsiteY160" fmla="*/ 3767420 h 6858000"/>
              <a:gd name="connsiteX161" fmla="*/ 3390805 w 7467600"/>
              <a:gd name="connsiteY161" fmla="*/ 3937163 h 6858000"/>
              <a:gd name="connsiteX162" fmla="*/ 3579062 w 7467600"/>
              <a:gd name="connsiteY162" fmla="*/ 4359040 h 6858000"/>
              <a:gd name="connsiteX163" fmla="*/ 3467355 w 7467600"/>
              <a:gd name="connsiteY163" fmla="*/ 3988130 h 6858000"/>
              <a:gd name="connsiteX164" fmla="*/ 3310753 w 7467600"/>
              <a:gd name="connsiteY164" fmla="*/ 3787140 h 6858000"/>
              <a:gd name="connsiteX165" fmla="*/ 3291335 w 7467600"/>
              <a:gd name="connsiteY165" fmla="*/ 3767420 h 6858000"/>
              <a:gd name="connsiteX166" fmla="*/ 1635889 w 7467600"/>
              <a:gd name="connsiteY166" fmla="*/ 3709494 h 6858000"/>
              <a:gd name="connsiteX167" fmla="*/ 1634800 w 7467600"/>
              <a:gd name="connsiteY167" fmla="*/ 3731111 h 6858000"/>
              <a:gd name="connsiteX168" fmla="*/ 1635889 w 7467600"/>
              <a:gd name="connsiteY168" fmla="*/ 3709494 h 6858000"/>
              <a:gd name="connsiteX169" fmla="*/ 1510397 w 7467600"/>
              <a:gd name="connsiteY169" fmla="*/ 3684705 h 6858000"/>
              <a:gd name="connsiteX170" fmla="*/ 1146550 w 7467600"/>
              <a:gd name="connsiteY170" fmla="*/ 3802012 h 6858000"/>
              <a:gd name="connsiteX171" fmla="*/ 698834 w 7467600"/>
              <a:gd name="connsiteY171" fmla="*/ 3952272 h 6858000"/>
              <a:gd name="connsiteX172" fmla="*/ 34256 w 7467600"/>
              <a:gd name="connsiteY172" fmla="*/ 4347603 h 6858000"/>
              <a:gd name="connsiteX173" fmla="*/ 527241 w 7467600"/>
              <a:gd name="connsiteY173" fmla="*/ 4065078 h 6858000"/>
              <a:gd name="connsiteX174" fmla="*/ 1510397 w 7467600"/>
              <a:gd name="connsiteY174" fmla="*/ 3684705 h 6858000"/>
              <a:gd name="connsiteX175" fmla="*/ 1313114 w 7467600"/>
              <a:gd name="connsiteY175" fmla="*/ 3655216 h 6858000"/>
              <a:gd name="connsiteX176" fmla="*/ 1109304 w 7467600"/>
              <a:gd name="connsiteY176" fmla="*/ 3669030 h 6858000"/>
              <a:gd name="connsiteX177" fmla="*/ 8129 w 7467600"/>
              <a:gd name="connsiteY177" fmla="*/ 4330519 h 6858000"/>
              <a:gd name="connsiteX178" fmla="*/ 687572 w 7467600"/>
              <a:gd name="connsiteY178" fmla="*/ 3925629 h 6858000"/>
              <a:gd name="connsiteX179" fmla="*/ 1138365 w 7467600"/>
              <a:gd name="connsiteY179" fmla="*/ 3774515 h 6858000"/>
              <a:gd name="connsiteX180" fmla="*/ 1505579 w 7467600"/>
              <a:gd name="connsiteY180" fmla="*/ 3655526 h 6858000"/>
              <a:gd name="connsiteX181" fmla="*/ 1313114 w 7467600"/>
              <a:gd name="connsiteY181" fmla="*/ 3655216 h 6858000"/>
              <a:gd name="connsiteX182" fmla="*/ 3655073 w 7467600"/>
              <a:gd name="connsiteY182" fmla="*/ 3650884 h 6858000"/>
              <a:gd name="connsiteX183" fmla="*/ 3989938 w 7467600"/>
              <a:gd name="connsiteY183" fmla="*/ 3991685 h 6858000"/>
              <a:gd name="connsiteX184" fmla="*/ 4393907 w 7467600"/>
              <a:gd name="connsiteY184" fmla="*/ 4261258 h 6858000"/>
              <a:gd name="connsiteX185" fmla="*/ 4648051 w 7467600"/>
              <a:gd name="connsiteY185" fmla="*/ 4374051 h 6858000"/>
              <a:gd name="connsiteX186" fmla="*/ 4383389 w 7467600"/>
              <a:gd name="connsiteY186" fmla="*/ 4184369 h 6858000"/>
              <a:gd name="connsiteX187" fmla="*/ 4165508 w 7467600"/>
              <a:gd name="connsiteY187" fmla="*/ 4035196 h 6858000"/>
              <a:gd name="connsiteX188" fmla="*/ 4068162 w 7467600"/>
              <a:gd name="connsiteY188" fmla="*/ 3953394 h 6858000"/>
              <a:gd name="connsiteX189" fmla="*/ 3981416 w 7467600"/>
              <a:gd name="connsiteY189" fmla="*/ 3880482 h 6858000"/>
              <a:gd name="connsiteX190" fmla="*/ 3800147 w 7467600"/>
              <a:gd name="connsiteY190" fmla="*/ 3749872 h 6858000"/>
              <a:gd name="connsiteX191" fmla="*/ 3655073 w 7467600"/>
              <a:gd name="connsiteY191" fmla="*/ 3650884 h 6858000"/>
              <a:gd name="connsiteX192" fmla="*/ 3670252 w 7467600"/>
              <a:gd name="connsiteY192" fmla="*/ 3622798 h 6858000"/>
              <a:gd name="connsiteX193" fmla="*/ 3817258 w 7467600"/>
              <a:gd name="connsiteY193" fmla="*/ 3723577 h 6858000"/>
              <a:gd name="connsiteX194" fmla="*/ 4000461 w 7467600"/>
              <a:gd name="connsiteY194" fmla="*/ 3855966 h 6858000"/>
              <a:gd name="connsiteX195" fmla="*/ 4088180 w 7467600"/>
              <a:gd name="connsiteY195" fmla="*/ 3929774 h 6858000"/>
              <a:gd name="connsiteX196" fmla="*/ 4184555 w 7467600"/>
              <a:gd name="connsiteY196" fmla="*/ 4010683 h 6858000"/>
              <a:gd name="connsiteX197" fmla="*/ 4399563 w 7467600"/>
              <a:gd name="connsiteY197" fmla="*/ 4158106 h 6858000"/>
              <a:gd name="connsiteX198" fmla="*/ 4684469 w 7467600"/>
              <a:gd name="connsiteY198" fmla="*/ 4364680 h 6858000"/>
              <a:gd name="connsiteX199" fmla="*/ 4690271 w 7467600"/>
              <a:gd name="connsiteY199" fmla="*/ 4370034 h 6858000"/>
              <a:gd name="connsiteX200" fmla="*/ 4136093 w 7467600"/>
              <a:gd name="connsiteY200" fmla="*/ 3858466 h 6858000"/>
              <a:gd name="connsiteX201" fmla="*/ 3670252 w 7467600"/>
              <a:gd name="connsiteY201" fmla="*/ 3622798 h 6858000"/>
              <a:gd name="connsiteX202" fmla="*/ 4440129 w 7467600"/>
              <a:gd name="connsiteY202" fmla="*/ 3448571 h 6858000"/>
              <a:gd name="connsiteX203" fmla="*/ 4856525 w 7467600"/>
              <a:gd name="connsiteY203" fmla="*/ 3915351 h 6858000"/>
              <a:gd name="connsiteX204" fmla="*/ 5059055 w 7467600"/>
              <a:gd name="connsiteY204" fmla="*/ 4108918 h 6858000"/>
              <a:gd name="connsiteX205" fmla="*/ 5290070 w 7467600"/>
              <a:gd name="connsiteY205" fmla="*/ 4263619 h 6858000"/>
              <a:gd name="connsiteX206" fmla="*/ 4834991 w 7467600"/>
              <a:gd name="connsiteY206" fmla="*/ 3830985 h 6858000"/>
              <a:gd name="connsiteX207" fmla="*/ 4440129 w 7467600"/>
              <a:gd name="connsiteY207" fmla="*/ 3448571 h 6858000"/>
              <a:gd name="connsiteX208" fmla="*/ 4441737 w 7467600"/>
              <a:gd name="connsiteY208" fmla="*/ 3399734 h 6858000"/>
              <a:gd name="connsiteX209" fmla="*/ 4431236 w 7467600"/>
              <a:gd name="connsiteY209" fmla="*/ 3400954 h 6858000"/>
              <a:gd name="connsiteX210" fmla="*/ 4557150 w 7467600"/>
              <a:gd name="connsiteY210" fmla="*/ 3510023 h 6858000"/>
              <a:gd name="connsiteX211" fmla="*/ 4856936 w 7467600"/>
              <a:gd name="connsiteY211" fmla="*/ 3809146 h 6858000"/>
              <a:gd name="connsiteX212" fmla="*/ 5111996 w 7467600"/>
              <a:gd name="connsiteY212" fmla="*/ 4065759 h 6858000"/>
              <a:gd name="connsiteX213" fmla="*/ 5388878 w 7467600"/>
              <a:gd name="connsiteY213" fmla="*/ 4300185 h 6858000"/>
              <a:gd name="connsiteX214" fmla="*/ 5425556 w 7467600"/>
              <a:gd name="connsiteY214" fmla="*/ 4308967 h 6858000"/>
              <a:gd name="connsiteX215" fmla="*/ 4943646 w 7467600"/>
              <a:gd name="connsiteY215" fmla="*/ 3822916 h 6858000"/>
              <a:gd name="connsiteX216" fmla="*/ 4594837 w 7467600"/>
              <a:gd name="connsiteY216" fmla="*/ 3532274 h 6858000"/>
              <a:gd name="connsiteX217" fmla="*/ 4441737 w 7467600"/>
              <a:gd name="connsiteY217" fmla="*/ 3399734 h 6858000"/>
              <a:gd name="connsiteX218" fmla="*/ 5425834 w 7467600"/>
              <a:gd name="connsiteY218" fmla="*/ 3162785 h 6858000"/>
              <a:gd name="connsiteX219" fmla="*/ 5401644 w 7467600"/>
              <a:gd name="connsiteY219" fmla="*/ 3617847 h 6858000"/>
              <a:gd name="connsiteX220" fmla="*/ 5467256 w 7467600"/>
              <a:gd name="connsiteY220" fmla="*/ 4175494 h 6858000"/>
              <a:gd name="connsiteX221" fmla="*/ 5448069 w 7467600"/>
              <a:gd name="connsiteY221" fmla="*/ 3567554 h 6858000"/>
              <a:gd name="connsiteX222" fmla="*/ 5425834 w 7467600"/>
              <a:gd name="connsiteY222" fmla="*/ 3162785 h 6858000"/>
              <a:gd name="connsiteX223" fmla="*/ 1318687 w 7467600"/>
              <a:gd name="connsiteY223" fmla="*/ 3113840 h 6858000"/>
              <a:gd name="connsiteX224" fmla="*/ 1066793 w 7467600"/>
              <a:gd name="connsiteY224" fmla="*/ 3212171 h 6858000"/>
              <a:gd name="connsiteX225" fmla="*/ 993319 w 7467600"/>
              <a:gd name="connsiteY225" fmla="*/ 3247648 h 6858000"/>
              <a:gd name="connsiteX226" fmla="*/ 853081 w 7467600"/>
              <a:gd name="connsiteY226" fmla="*/ 3312410 h 6858000"/>
              <a:gd name="connsiteX227" fmla="*/ 805957 w 7467600"/>
              <a:gd name="connsiteY227" fmla="*/ 3330443 h 6858000"/>
              <a:gd name="connsiteX228" fmla="*/ 1318687 w 7467600"/>
              <a:gd name="connsiteY228" fmla="*/ 3113840 h 6858000"/>
              <a:gd name="connsiteX229" fmla="*/ 5453702 w 7467600"/>
              <a:gd name="connsiteY229" fmla="*/ 3090882 h 6858000"/>
              <a:gd name="connsiteX230" fmla="*/ 5480135 w 7467600"/>
              <a:gd name="connsiteY230" fmla="*/ 3565802 h 6858000"/>
              <a:gd name="connsiteX231" fmla="*/ 5499023 w 7467600"/>
              <a:gd name="connsiteY231" fmla="*/ 4166310 h 6858000"/>
              <a:gd name="connsiteX232" fmla="*/ 5547022 w 7467600"/>
              <a:gd name="connsiteY232" fmla="*/ 3607838 h 6858000"/>
              <a:gd name="connsiteX233" fmla="*/ 5515964 w 7467600"/>
              <a:gd name="connsiteY233" fmla="*/ 3378541 h 6858000"/>
              <a:gd name="connsiteX234" fmla="*/ 5453702 w 7467600"/>
              <a:gd name="connsiteY234" fmla="*/ 3090882 h 6858000"/>
              <a:gd name="connsiteX235" fmla="*/ 1238695 w 7467600"/>
              <a:gd name="connsiteY235" fmla="*/ 3076820 h 6858000"/>
              <a:gd name="connsiteX236" fmla="*/ 716371 w 7467600"/>
              <a:gd name="connsiteY236" fmla="*/ 3293249 h 6858000"/>
              <a:gd name="connsiteX237" fmla="*/ 579522 w 7467600"/>
              <a:gd name="connsiteY237" fmla="*/ 3371759 h 6858000"/>
              <a:gd name="connsiteX238" fmla="*/ 600288 w 7467600"/>
              <a:gd name="connsiteY238" fmla="*/ 3365555 h 6858000"/>
              <a:gd name="connsiteX239" fmla="*/ 840692 w 7467600"/>
              <a:gd name="connsiteY239" fmla="*/ 3284921 h 6858000"/>
              <a:gd name="connsiteX240" fmla="*/ 979248 w 7467600"/>
              <a:gd name="connsiteY240" fmla="*/ 3221003 h 6858000"/>
              <a:gd name="connsiteX241" fmla="*/ 1053282 w 7467600"/>
              <a:gd name="connsiteY241" fmla="*/ 3185247 h 6858000"/>
              <a:gd name="connsiteX242" fmla="*/ 1320603 w 7467600"/>
              <a:gd name="connsiteY242" fmla="*/ 3081281 h 6858000"/>
              <a:gd name="connsiteX243" fmla="*/ 1238695 w 7467600"/>
              <a:gd name="connsiteY243" fmla="*/ 3076820 h 6858000"/>
              <a:gd name="connsiteX244" fmla="*/ 5425627 w 7467600"/>
              <a:gd name="connsiteY244" fmla="*/ 2954192 h 6858000"/>
              <a:gd name="connsiteX245" fmla="*/ 5470770 w 7467600"/>
              <a:gd name="connsiteY245" fmla="*/ 3005435 h 6858000"/>
              <a:gd name="connsiteX246" fmla="*/ 5519779 w 7467600"/>
              <a:gd name="connsiteY246" fmla="*/ 4359223 h 6858000"/>
              <a:gd name="connsiteX247" fmla="*/ 5520293 w 7467600"/>
              <a:gd name="connsiteY247" fmla="*/ 4360602 h 6858000"/>
              <a:gd name="connsiteX248" fmla="*/ 5767221 w 7467600"/>
              <a:gd name="connsiteY248" fmla="*/ 4665564 h 6858000"/>
              <a:gd name="connsiteX249" fmla="*/ 6937169 w 7467600"/>
              <a:gd name="connsiteY249" fmla="*/ 4815941 h 6858000"/>
              <a:gd name="connsiteX250" fmla="*/ 6953922 w 7467600"/>
              <a:gd name="connsiteY250" fmla="*/ 4890068 h 6858000"/>
              <a:gd name="connsiteX251" fmla="*/ 6071359 w 7467600"/>
              <a:gd name="connsiteY251" fmla="*/ 4770770 h 6858000"/>
              <a:gd name="connsiteX252" fmla="*/ 6038839 w 7467600"/>
              <a:gd name="connsiteY252" fmla="*/ 4764474 h 6858000"/>
              <a:gd name="connsiteX253" fmla="*/ 6038706 w 7467600"/>
              <a:gd name="connsiteY253" fmla="*/ 4763847 h 6858000"/>
              <a:gd name="connsiteX254" fmla="*/ 6037784 w 7467600"/>
              <a:gd name="connsiteY254" fmla="*/ 4764270 h 6858000"/>
              <a:gd name="connsiteX255" fmla="*/ 6038839 w 7467600"/>
              <a:gd name="connsiteY255" fmla="*/ 4764474 h 6858000"/>
              <a:gd name="connsiteX256" fmla="*/ 6040338 w 7467600"/>
              <a:gd name="connsiteY256" fmla="*/ 4771418 h 6858000"/>
              <a:gd name="connsiteX257" fmla="*/ 6024488 w 7467600"/>
              <a:gd name="connsiteY257" fmla="*/ 4809903 h 6858000"/>
              <a:gd name="connsiteX258" fmla="*/ 5599771 w 7467600"/>
              <a:gd name="connsiteY258" fmla="*/ 5509652 h 6858000"/>
              <a:gd name="connsiteX259" fmla="*/ 5548843 w 7467600"/>
              <a:gd name="connsiteY259" fmla="*/ 5563845 h 6858000"/>
              <a:gd name="connsiteX260" fmla="*/ 5940952 w 7467600"/>
              <a:gd name="connsiteY260" fmla="*/ 6250028 h 6858000"/>
              <a:gd name="connsiteX261" fmla="*/ 6043441 w 7467600"/>
              <a:gd name="connsiteY261" fmla="*/ 6665847 h 6858000"/>
              <a:gd name="connsiteX262" fmla="*/ 6093432 w 7467600"/>
              <a:gd name="connsiteY262" fmla="*/ 6858000 h 6858000"/>
              <a:gd name="connsiteX263" fmla="*/ 6034344 w 7467600"/>
              <a:gd name="connsiteY263" fmla="*/ 6858000 h 6858000"/>
              <a:gd name="connsiteX264" fmla="*/ 6026679 w 7467600"/>
              <a:gd name="connsiteY264" fmla="*/ 6836959 h 6858000"/>
              <a:gd name="connsiteX265" fmla="*/ 5800441 w 7467600"/>
              <a:gd name="connsiteY265" fmla="*/ 6335286 h 6858000"/>
              <a:gd name="connsiteX266" fmla="*/ 5526562 w 7467600"/>
              <a:gd name="connsiteY266" fmla="*/ 5705388 h 6858000"/>
              <a:gd name="connsiteX267" fmla="*/ 5519640 w 7467600"/>
              <a:gd name="connsiteY267" fmla="*/ 5683774 h 6858000"/>
              <a:gd name="connsiteX268" fmla="*/ 5844559 w 7467600"/>
              <a:gd name="connsiteY268" fmla="*/ 6553349 h 6858000"/>
              <a:gd name="connsiteX269" fmla="*/ 5975994 w 7467600"/>
              <a:gd name="connsiteY269" fmla="*/ 6858000 h 6858000"/>
              <a:gd name="connsiteX270" fmla="*/ 5898547 w 7467600"/>
              <a:gd name="connsiteY270" fmla="*/ 6858000 h 6858000"/>
              <a:gd name="connsiteX271" fmla="*/ 5682041 w 7467600"/>
              <a:gd name="connsiteY271" fmla="*/ 6355860 h 6858000"/>
              <a:gd name="connsiteX272" fmla="*/ 5461758 w 7467600"/>
              <a:gd name="connsiteY272" fmla="*/ 5820220 h 6858000"/>
              <a:gd name="connsiteX273" fmla="*/ 5237282 w 7467600"/>
              <a:gd name="connsiteY273" fmla="*/ 6579086 h 6858000"/>
              <a:gd name="connsiteX274" fmla="*/ 5115009 w 7467600"/>
              <a:gd name="connsiteY274" fmla="*/ 6858000 h 6858000"/>
              <a:gd name="connsiteX275" fmla="*/ 5028074 w 7467600"/>
              <a:gd name="connsiteY275" fmla="*/ 6858000 h 6858000"/>
              <a:gd name="connsiteX276" fmla="*/ 5079508 w 7467600"/>
              <a:gd name="connsiteY276" fmla="*/ 6749074 h 6858000"/>
              <a:gd name="connsiteX277" fmla="*/ 5371846 w 7467600"/>
              <a:gd name="connsiteY277" fmla="*/ 5924413 h 6858000"/>
              <a:gd name="connsiteX278" fmla="*/ 5270512 w 7467600"/>
              <a:gd name="connsiteY278" fmla="*/ 6138975 h 6858000"/>
              <a:gd name="connsiteX279" fmla="*/ 5062409 w 7467600"/>
              <a:gd name="connsiteY279" fmla="*/ 6653544 h 6858000"/>
              <a:gd name="connsiteX280" fmla="*/ 5036628 w 7467600"/>
              <a:gd name="connsiteY280" fmla="*/ 6754247 h 6858000"/>
              <a:gd name="connsiteX281" fmla="*/ 5009112 w 7467600"/>
              <a:gd name="connsiteY281" fmla="*/ 6858000 h 6858000"/>
              <a:gd name="connsiteX282" fmla="*/ 4976679 w 7467600"/>
              <a:gd name="connsiteY282" fmla="*/ 6858000 h 6858000"/>
              <a:gd name="connsiteX283" fmla="*/ 5006537 w 7467600"/>
              <a:gd name="connsiteY283" fmla="*/ 6747068 h 6858000"/>
              <a:gd name="connsiteX284" fmla="*/ 5032723 w 7467600"/>
              <a:gd name="connsiteY284" fmla="*/ 6644957 h 6858000"/>
              <a:gd name="connsiteX285" fmla="*/ 5242949 w 7467600"/>
              <a:gd name="connsiteY285" fmla="*/ 6125175 h 6858000"/>
              <a:gd name="connsiteX286" fmla="*/ 5286321 w 7467600"/>
              <a:gd name="connsiteY286" fmla="*/ 6033555 h 6858000"/>
              <a:gd name="connsiteX287" fmla="*/ 5008210 w 7467600"/>
              <a:gd name="connsiteY287" fmla="*/ 6649194 h 6858000"/>
              <a:gd name="connsiteX288" fmla="*/ 4986321 w 7467600"/>
              <a:gd name="connsiteY288" fmla="*/ 6765687 h 6858000"/>
              <a:gd name="connsiteX289" fmla="*/ 4973474 w 7467600"/>
              <a:gd name="connsiteY289" fmla="*/ 6858000 h 6858000"/>
              <a:gd name="connsiteX290" fmla="*/ 4907178 w 7467600"/>
              <a:gd name="connsiteY290" fmla="*/ 6858000 h 6858000"/>
              <a:gd name="connsiteX291" fmla="*/ 4910810 w 7467600"/>
              <a:gd name="connsiteY291" fmla="*/ 6829660 h 6858000"/>
              <a:gd name="connsiteX292" fmla="*/ 4987461 w 7467600"/>
              <a:gd name="connsiteY292" fmla="*/ 6432994 h 6858000"/>
              <a:gd name="connsiteX293" fmla="*/ 5179262 w 7467600"/>
              <a:gd name="connsiteY293" fmla="*/ 6035044 h 6858000"/>
              <a:gd name="connsiteX294" fmla="*/ 4689678 w 7467600"/>
              <a:gd name="connsiteY294" fmla="*/ 6440241 h 6858000"/>
              <a:gd name="connsiteX295" fmla="*/ 4477543 w 7467600"/>
              <a:gd name="connsiteY295" fmla="*/ 6674836 h 6858000"/>
              <a:gd name="connsiteX296" fmla="*/ 4329957 w 7467600"/>
              <a:gd name="connsiteY296" fmla="*/ 6858000 h 6858000"/>
              <a:gd name="connsiteX297" fmla="*/ 4218595 w 7467600"/>
              <a:gd name="connsiteY297" fmla="*/ 6858000 h 6858000"/>
              <a:gd name="connsiteX298" fmla="*/ 4368888 w 7467600"/>
              <a:gd name="connsiteY298" fmla="*/ 6668412 h 6858000"/>
              <a:gd name="connsiteX299" fmla="*/ 4563091 w 7467600"/>
              <a:gd name="connsiteY299" fmla="*/ 6442508 h 6858000"/>
              <a:gd name="connsiteX300" fmla="*/ 5387324 w 7467600"/>
              <a:gd name="connsiteY300" fmla="*/ 5705830 h 6858000"/>
              <a:gd name="connsiteX301" fmla="*/ 5073620 w 7467600"/>
              <a:gd name="connsiteY301" fmla="*/ 5955437 h 6858000"/>
              <a:gd name="connsiteX302" fmla="*/ 4689789 w 7467600"/>
              <a:gd name="connsiteY302" fmla="*/ 6268382 h 6858000"/>
              <a:gd name="connsiteX303" fmla="*/ 4418722 w 7467600"/>
              <a:gd name="connsiteY303" fmla="*/ 6570886 h 6858000"/>
              <a:gd name="connsiteX304" fmla="*/ 4214944 w 7467600"/>
              <a:gd name="connsiteY304" fmla="*/ 6858000 h 6858000"/>
              <a:gd name="connsiteX305" fmla="*/ 4177898 w 7467600"/>
              <a:gd name="connsiteY305" fmla="*/ 6858000 h 6858000"/>
              <a:gd name="connsiteX306" fmla="*/ 4391597 w 7467600"/>
              <a:gd name="connsiteY306" fmla="*/ 6556370 h 6858000"/>
              <a:gd name="connsiteX307" fmla="*/ 4668889 w 7467600"/>
              <a:gd name="connsiteY307" fmla="*/ 6246399 h 6858000"/>
              <a:gd name="connsiteX308" fmla="*/ 5055427 w 7467600"/>
              <a:gd name="connsiteY308" fmla="*/ 5931476 h 6858000"/>
              <a:gd name="connsiteX309" fmla="*/ 5371814 w 7467600"/>
              <a:gd name="connsiteY309" fmla="*/ 5678975 h 6858000"/>
              <a:gd name="connsiteX310" fmla="*/ 4987918 w 7467600"/>
              <a:gd name="connsiteY310" fmla="*/ 5838701 h 6858000"/>
              <a:gd name="connsiteX311" fmla="*/ 4317146 w 7467600"/>
              <a:gd name="connsiteY311" fmla="*/ 6587716 h 6858000"/>
              <a:gd name="connsiteX312" fmla="*/ 4171627 w 7467600"/>
              <a:gd name="connsiteY312" fmla="*/ 6858000 h 6858000"/>
              <a:gd name="connsiteX313" fmla="*/ 4081585 w 7467600"/>
              <a:gd name="connsiteY313" fmla="*/ 6858000 h 6858000"/>
              <a:gd name="connsiteX314" fmla="*/ 4238603 w 7467600"/>
              <a:gd name="connsiteY314" fmla="*/ 6559341 h 6858000"/>
              <a:gd name="connsiteX315" fmla="*/ 4778333 w 7467600"/>
              <a:gd name="connsiteY315" fmla="*/ 5873626 h 6858000"/>
              <a:gd name="connsiteX316" fmla="*/ 5414185 w 7467600"/>
              <a:gd name="connsiteY316" fmla="*/ 5573882 h 6858000"/>
              <a:gd name="connsiteX317" fmla="*/ 5959648 w 7467600"/>
              <a:gd name="connsiteY317" fmla="*/ 4760797 h 6858000"/>
              <a:gd name="connsiteX318" fmla="*/ 5355019 w 7467600"/>
              <a:gd name="connsiteY318" fmla="*/ 4734672 h 6858000"/>
              <a:gd name="connsiteX319" fmla="*/ 5083565 w 7467600"/>
              <a:gd name="connsiteY319" fmla="*/ 5179121 h 6858000"/>
              <a:gd name="connsiteX320" fmla="*/ 4713577 w 7467600"/>
              <a:gd name="connsiteY320" fmla="*/ 5616803 h 6858000"/>
              <a:gd name="connsiteX321" fmla="*/ 3989559 w 7467600"/>
              <a:gd name="connsiteY321" fmla="*/ 6145945 h 6858000"/>
              <a:gd name="connsiteX322" fmla="*/ 3939824 w 7467600"/>
              <a:gd name="connsiteY322" fmla="*/ 6066900 h 6858000"/>
              <a:gd name="connsiteX323" fmla="*/ 4584537 w 7467600"/>
              <a:gd name="connsiteY323" fmla="*/ 5324826 h 6858000"/>
              <a:gd name="connsiteX324" fmla="*/ 5037105 w 7467600"/>
              <a:gd name="connsiteY324" fmla="*/ 5088765 h 6858000"/>
              <a:gd name="connsiteX325" fmla="*/ 5039930 w 7467600"/>
              <a:gd name="connsiteY325" fmla="*/ 5089585 h 6858000"/>
              <a:gd name="connsiteX326" fmla="*/ 5263764 w 7467600"/>
              <a:gd name="connsiteY326" fmla="*/ 4735525 h 6858000"/>
              <a:gd name="connsiteX327" fmla="*/ 4086300 w 7467600"/>
              <a:gd name="connsiteY327" fmla="*/ 4884599 h 6858000"/>
              <a:gd name="connsiteX328" fmla="*/ 4085485 w 7467600"/>
              <a:gd name="connsiteY328" fmla="*/ 4899070 h 6858000"/>
              <a:gd name="connsiteX329" fmla="*/ 3871915 w 7467600"/>
              <a:gd name="connsiteY329" fmla="*/ 5253645 h 6858000"/>
              <a:gd name="connsiteX330" fmla="*/ 3799374 w 7467600"/>
              <a:gd name="connsiteY330" fmla="*/ 5466127 h 6858000"/>
              <a:gd name="connsiteX331" fmla="*/ 3498850 w 7467600"/>
              <a:gd name="connsiteY331" fmla="*/ 6661888 h 6858000"/>
              <a:gd name="connsiteX332" fmla="*/ 3399216 w 7467600"/>
              <a:gd name="connsiteY332" fmla="*/ 6858000 h 6858000"/>
              <a:gd name="connsiteX333" fmla="*/ 3303688 w 7467600"/>
              <a:gd name="connsiteY333" fmla="*/ 6858000 h 6858000"/>
              <a:gd name="connsiteX334" fmla="*/ 3391774 w 7467600"/>
              <a:gd name="connsiteY334" fmla="*/ 6697181 h 6858000"/>
              <a:gd name="connsiteX335" fmla="*/ 3735540 w 7467600"/>
              <a:gd name="connsiteY335" fmla="*/ 5546923 h 6858000"/>
              <a:gd name="connsiteX336" fmla="*/ 3729438 w 7467600"/>
              <a:gd name="connsiteY336" fmla="*/ 5569058 h 6858000"/>
              <a:gd name="connsiteX337" fmla="*/ 3707782 w 7467600"/>
              <a:gd name="connsiteY337" fmla="*/ 5644908 h 6858000"/>
              <a:gd name="connsiteX338" fmla="*/ 3583827 w 7467600"/>
              <a:gd name="connsiteY338" fmla="*/ 6039215 h 6858000"/>
              <a:gd name="connsiteX339" fmla="*/ 3547861 w 7467600"/>
              <a:gd name="connsiteY339" fmla="*/ 6129609 h 6858000"/>
              <a:gd name="connsiteX340" fmla="*/ 3490905 w 7467600"/>
              <a:gd name="connsiteY340" fmla="*/ 6277660 h 6858000"/>
              <a:gd name="connsiteX341" fmla="*/ 3455859 w 7467600"/>
              <a:gd name="connsiteY341" fmla="*/ 6391301 h 6858000"/>
              <a:gd name="connsiteX342" fmla="*/ 3429112 w 7467600"/>
              <a:gd name="connsiteY342" fmla="*/ 6479469 h 6858000"/>
              <a:gd name="connsiteX343" fmla="*/ 3304862 w 7467600"/>
              <a:gd name="connsiteY343" fmla="*/ 6796476 h 6858000"/>
              <a:gd name="connsiteX344" fmla="*/ 3276071 w 7467600"/>
              <a:gd name="connsiteY344" fmla="*/ 6858000 h 6858000"/>
              <a:gd name="connsiteX345" fmla="*/ 3240805 w 7467600"/>
              <a:gd name="connsiteY345" fmla="*/ 6858000 h 6858000"/>
              <a:gd name="connsiteX346" fmla="*/ 3275917 w 7467600"/>
              <a:gd name="connsiteY346" fmla="*/ 6783192 h 6858000"/>
              <a:gd name="connsiteX347" fmla="*/ 3399358 w 7467600"/>
              <a:gd name="connsiteY347" fmla="*/ 6469011 h 6858000"/>
              <a:gd name="connsiteX348" fmla="*/ 3425650 w 7467600"/>
              <a:gd name="connsiteY348" fmla="*/ 6381333 h 6858000"/>
              <a:gd name="connsiteX349" fmla="*/ 3460661 w 7467600"/>
              <a:gd name="connsiteY349" fmla="*/ 6266763 h 6858000"/>
              <a:gd name="connsiteX350" fmla="*/ 3518021 w 7467600"/>
              <a:gd name="connsiteY350" fmla="*/ 6117298 h 6858000"/>
              <a:gd name="connsiteX351" fmla="*/ 3554035 w 7467600"/>
              <a:gd name="connsiteY351" fmla="*/ 6027832 h 6858000"/>
              <a:gd name="connsiteX352" fmla="*/ 3677174 w 7467600"/>
              <a:gd name="connsiteY352" fmla="*/ 5636351 h 6858000"/>
              <a:gd name="connsiteX353" fmla="*/ 3698819 w 7467600"/>
              <a:gd name="connsiteY353" fmla="*/ 5560503 h 6858000"/>
              <a:gd name="connsiteX354" fmla="*/ 3702094 w 7467600"/>
              <a:gd name="connsiteY354" fmla="*/ 5549194 h 6858000"/>
              <a:gd name="connsiteX355" fmla="*/ 3398355 w 7467600"/>
              <a:gd name="connsiteY355" fmla="*/ 6094603 h 6858000"/>
              <a:gd name="connsiteX356" fmla="*/ 3193941 w 7467600"/>
              <a:gd name="connsiteY356" fmla="*/ 6798775 h 6858000"/>
              <a:gd name="connsiteX357" fmla="*/ 3184140 w 7467600"/>
              <a:gd name="connsiteY357" fmla="*/ 6858000 h 6858000"/>
              <a:gd name="connsiteX358" fmla="*/ 3099978 w 7467600"/>
              <a:gd name="connsiteY358" fmla="*/ 6858000 h 6858000"/>
              <a:gd name="connsiteX359" fmla="*/ 3101556 w 7467600"/>
              <a:gd name="connsiteY359" fmla="*/ 6843337 h 6858000"/>
              <a:gd name="connsiteX360" fmla="*/ 3370162 w 7467600"/>
              <a:gd name="connsiteY360" fmla="*/ 5785550 h 6858000"/>
              <a:gd name="connsiteX361" fmla="*/ 3746477 w 7467600"/>
              <a:gd name="connsiteY361" fmla="*/ 5377889 h 6858000"/>
              <a:gd name="connsiteX362" fmla="*/ 3863399 w 7467600"/>
              <a:gd name="connsiteY362" fmla="*/ 5087257 h 6858000"/>
              <a:gd name="connsiteX363" fmla="*/ 3968712 w 7467600"/>
              <a:gd name="connsiteY363" fmla="*/ 4913989 h 6858000"/>
              <a:gd name="connsiteX364" fmla="*/ 2792390 w 7467600"/>
              <a:gd name="connsiteY364" fmla="*/ 5382974 h 6858000"/>
              <a:gd name="connsiteX365" fmla="*/ 2714982 w 7467600"/>
              <a:gd name="connsiteY365" fmla="*/ 5427051 h 6858000"/>
              <a:gd name="connsiteX366" fmla="*/ 2813361 w 7467600"/>
              <a:gd name="connsiteY366" fmla="*/ 6023912 h 6858000"/>
              <a:gd name="connsiteX367" fmla="*/ 2688430 w 7467600"/>
              <a:gd name="connsiteY367" fmla="*/ 6801564 h 6858000"/>
              <a:gd name="connsiteX368" fmla="*/ 2629626 w 7467600"/>
              <a:gd name="connsiteY368" fmla="*/ 6763394 h 6858000"/>
              <a:gd name="connsiteX369" fmla="*/ 2565328 w 7467600"/>
              <a:gd name="connsiteY369" fmla="*/ 5516399 h 6858000"/>
              <a:gd name="connsiteX370" fmla="*/ 1922999 w 7467600"/>
              <a:gd name="connsiteY370" fmla="*/ 5980343 h 6858000"/>
              <a:gd name="connsiteX371" fmla="*/ 1950261 w 7467600"/>
              <a:gd name="connsiteY371" fmla="*/ 6405858 h 6858000"/>
              <a:gd name="connsiteX372" fmla="*/ 2365554 w 7467600"/>
              <a:gd name="connsiteY372" fmla="*/ 6759107 h 6858000"/>
              <a:gd name="connsiteX373" fmla="*/ 2424142 w 7467600"/>
              <a:gd name="connsiteY373" fmla="*/ 6858000 h 6858000"/>
              <a:gd name="connsiteX374" fmla="*/ 2395994 w 7467600"/>
              <a:gd name="connsiteY374" fmla="*/ 6858000 h 6858000"/>
              <a:gd name="connsiteX375" fmla="*/ 2392863 w 7467600"/>
              <a:gd name="connsiteY375" fmla="*/ 6852964 h 6858000"/>
              <a:gd name="connsiteX376" fmla="*/ 2017589 w 7467600"/>
              <a:gd name="connsiteY376" fmla="*/ 6493982 h 6858000"/>
              <a:gd name="connsiteX377" fmla="*/ 2147336 w 7467600"/>
              <a:gd name="connsiteY377" fmla="*/ 6594052 h 6858000"/>
              <a:gd name="connsiteX378" fmla="*/ 2207047 w 7467600"/>
              <a:gd name="connsiteY378" fmla="*/ 6654540 h 6858000"/>
              <a:gd name="connsiteX379" fmla="*/ 2299106 w 7467600"/>
              <a:gd name="connsiteY379" fmla="*/ 6778931 h 6858000"/>
              <a:gd name="connsiteX380" fmla="*/ 2314430 w 7467600"/>
              <a:gd name="connsiteY380" fmla="*/ 6801144 h 6858000"/>
              <a:gd name="connsiteX381" fmla="*/ 2352406 w 7467600"/>
              <a:gd name="connsiteY381" fmla="*/ 6858000 h 6858000"/>
              <a:gd name="connsiteX382" fmla="*/ 2314492 w 7467600"/>
              <a:gd name="connsiteY382" fmla="*/ 6858000 h 6858000"/>
              <a:gd name="connsiteX383" fmla="*/ 2288095 w 7467600"/>
              <a:gd name="connsiteY383" fmla="*/ 6818030 h 6858000"/>
              <a:gd name="connsiteX384" fmla="*/ 2272768 w 7467600"/>
              <a:gd name="connsiteY384" fmla="*/ 6795822 h 6858000"/>
              <a:gd name="connsiteX385" fmla="*/ 2182715 w 7467600"/>
              <a:gd name="connsiteY385" fmla="*/ 6675071 h 6858000"/>
              <a:gd name="connsiteX386" fmla="*/ 2032061 w 7467600"/>
              <a:gd name="connsiteY386" fmla="*/ 6541380 h 6858000"/>
              <a:gd name="connsiteX387" fmla="*/ 2257220 w 7467600"/>
              <a:gd name="connsiteY387" fmla="*/ 6826257 h 6858000"/>
              <a:gd name="connsiteX388" fmla="*/ 2281324 w 7467600"/>
              <a:gd name="connsiteY388" fmla="*/ 6858000 h 6858000"/>
              <a:gd name="connsiteX389" fmla="*/ 2242860 w 7467600"/>
              <a:gd name="connsiteY389" fmla="*/ 6858000 h 6858000"/>
              <a:gd name="connsiteX390" fmla="*/ 2232818 w 7467600"/>
              <a:gd name="connsiteY390" fmla="*/ 6844926 h 6858000"/>
              <a:gd name="connsiteX391" fmla="*/ 1990172 w 7467600"/>
              <a:gd name="connsiteY391" fmla="*/ 6542121 h 6858000"/>
              <a:gd name="connsiteX392" fmla="*/ 2124090 w 7467600"/>
              <a:gd name="connsiteY392" fmla="*/ 6761017 h 6858000"/>
              <a:gd name="connsiteX393" fmla="*/ 2200380 w 7467600"/>
              <a:gd name="connsiteY393" fmla="*/ 6858000 h 6858000"/>
              <a:gd name="connsiteX394" fmla="*/ 2147507 w 7467600"/>
              <a:gd name="connsiteY394" fmla="*/ 6858000 h 6858000"/>
              <a:gd name="connsiteX395" fmla="*/ 2070668 w 7467600"/>
              <a:gd name="connsiteY395" fmla="*/ 6761520 h 6858000"/>
              <a:gd name="connsiteX396" fmla="*/ 1975142 w 7467600"/>
              <a:gd name="connsiteY396" fmla="*/ 6585570 h 6858000"/>
              <a:gd name="connsiteX397" fmla="*/ 2050035 w 7467600"/>
              <a:gd name="connsiteY397" fmla="*/ 6813345 h 6858000"/>
              <a:gd name="connsiteX398" fmla="*/ 2063025 w 7467600"/>
              <a:gd name="connsiteY398" fmla="*/ 6858000 h 6858000"/>
              <a:gd name="connsiteX399" fmla="*/ 2021675 w 7467600"/>
              <a:gd name="connsiteY399" fmla="*/ 6858000 h 6858000"/>
              <a:gd name="connsiteX400" fmla="*/ 2019308 w 7467600"/>
              <a:gd name="connsiteY400" fmla="*/ 6847118 h 6858000"/>
              <a:gd name="connsiteX401" fmla="*/ 1938835 w 7467600"/>
              <a:gd name="connsiteY401" fmla="*/ 6551160 h 6858000"/>
              <a:gd name="connsiteX402" fmla="*/ 1953230 w 7467600"/>
              <a:gd name="connsiteY402" fmla="*/ 6759699 h 6858000"/>
              <a:gd name="connsiteX403" fmla="*/ 1956763 w 7467600"/>
              <a:gd name="connsiteY403" fmla="*/ 6778191 h 6858000"/>
              <a:gd name="connsiteX404" fmla="*/ 1967925 w 7467600"/>
              <a:gd name="connsiteY404" fmla="*/ 6858000 h 6858000"/>
              <a:gd name="connsiteX405" fmla="*/ 1936622 w 7467600"/>
              <a:gd name="connsiteY405" fmla="*/ 6858000 h 6858000"/>
              <a:gd name="connsiteX406" fmla="*/ 1926261 w 7467600"/>
              <a:gd name="connsiteY406" fmla="*/ 6784064 h 6858000"/>
              <a:gd name="connsiteX407" fmla="*/ 1922724 w 7467600"/>
              <a:gd name="connsiteY407" fmla="*/ 6765577 h 6858000"/>
              <a:gd name="connsiteX408" fmla="*/ 1904650 w 7467600"/>
              <a:gd name="connsiteY408" fmla="*/ 6639616 h 6858000"/>
              <a:gd name="connsiteX409" fmla="*/ 1885273 w 7467600"/>
              <a:gd name="connsiteY409" fmla="*/ 6858000 h 6858000"/>
              <a:gd name="connsiteX410" fmla="*/ 1854363 w 7467600"/>
              <a:gd name="connsiteY410" fmla="*/ 6858000 h 6858000"/>
              <a:gd name="connsiteX411" fmla="*/ 1880391 w 7467600"/>
              <a:gd name="connsiteY411" fmla="*/ 6603796 h 6858000"/>
              <a:gd name="connsiteX412" fmla="*/ 1818273 w 7467600"/>
              <a:gd name="connsiteY412" fmla="*/ 6715729 h 6858000"/>
              <a:gd name="connsiteX413" fmla="*/ 1794691 w 7467600"/>
              <a:gd name="connsiteY413" fmla="*/ 6843239 h 6858000"/>
              <a:gd name="connsiteX414" fmla="*/ 1794914 w 7467600"/>
              <a:gd name="connsiteY414" fmla="*/ 6858000 h 6858000"/>
              <a:gd name="connsiteX415" fmla="*/ 1746128 w 7467600"/>
              <a:gd name="connsiteY415" fmla="*/ 6858000 h 6858000"/>
              <a:gd name="connsiteX416" fmla="*/ 1753934 w 7467600"/>
              <a:gd name="connsiteY416" fmla="*/ 6724796 h 6858000"/>
              <a:gd name="connsiteX417" fmla="*/ 1792053 w 7467600"/>
              <a:gd name="connsiteY417" fmla="*/ 6572396 h 6858000"/>
              <a:gd name="connsiteX418" fmla="*/ 1862248 w 7467600"/>
              <a:gd name="connsiteY418" fmla="*/ 6266397 h 6858000"/>
              <a:gd name="connsiteX419" fmla="*/ 1862250 w 7467600"/>
              <a:gd name="connsiteY419" fmla="*/ 6033531 h 6858000"/>
              <a:gd name="connsiteX420" fmla="*/ 1211999 w 7467600"/>
              <a:gd name="connsiteY420" fmla="*/ 6683610 h 6858000"/>
              <a:gd name="connsiteX421" fmla="*/ 1213266 w 7467600"/>
              <a:gd name="connsiteY421" fmla="*/ 6691947 h 6858000"/>
              <a:gd name="connsiteX422" fmla="*/ 1203370 w 7467600"/>
              <a:gd name="connsiteY422" fmla="*/ 6850676 h 6858000"/>
              <a:gd name="connsiteX423" fmla="*/ 1203671 w 7467600"/>
              <a:gd name="connsiteY423" fmla="*/ 6858000 h 6858000"/>
              <a:gd name="connsiteX424" fmla="*/ 1143180 w 7467600"/>
              <a:gd name="connsiteY424" fmla="*/ 6858000 h 6858000"/>
              <a:gd name="connsiteX425" fmla="*/ 1142176 w 7467600"/>
              <a:gd name="connsiteY425" fmla="*/ 6766045 h 6858000"/>
              <a:gd name="connsiteX426" fmla="*/ 1067484 w 7467600"/>
              <a:gd name="connsiteY426" fmla="*/ 6858000 h 6858000"/>
              <a:gd name="connsiteX427" fmla="*/ 953928 w 7467600"/>
              <a:gd name="connsiteY427" fmla="*/ 6858000 h 6858000"/>
              <a:gd name="connsiteX428" fmla="*/ 959715 w 7467600"/>
              <a:gd name="connsiteY428" fmla="*/ 6850185 h 6858000"/>
              <a:gd name="connsiteX429" fmla="*/ 1483788 w 7467600"/>
              <a:gd name="connsiteY429" fmla="*/ 6259174 h 6858000"/>
              <a:gd name="connsiteX430" fmla="*/ 1100671 w 7467600"/>
              <a:gd name="connsiteY430" fmla="*/ 6252137 h 6858000"/>
              <a:gd name="connsiteX431" fmla="*/ 1090144 w 7467600"/>
              <a:gd name="connsiteY431" fmla="*/ 6256748 h 6858000"/>
              <a:gd name="connsiteX432" fmla="*/ 1095872 w 7467600"/>
              <a:gd name="connsiteY432" fmla="*/ 6271892 h 6858000"/>
              <a:gd name="connsiteX433" fmla="*/ 262785 w 7467600"/>
              <a:gd name="connsiteY433" fmla="*/ 6845450 h 6858000"/>
              <a:gd name="connsiteX434" fmla="*/ 209968 w 7467600"/>
              <a:gd name="connsiteY434" fmla="*/ 6770713 h 6858000"/>
              <a:gd name="connsiteX435" fmla="*/ 873460 w 7467600"/>
              <a:gd name="connsiteY435" fmla="*/ 6253768 h 6858000"/>
              <a:gd name="connsiteX436" fmla="*/ 192686 w 7467600"/>
              <a:gd name="connsiteY436" fmla="*/ 5849257 h 6858000"/>
              <a:gd name="connsiteX437" fmla="*/ 4696 w 7467600"/>
              <a:gd name="connsiteY437" fmla="*/ 5697668 h 6858000"/>
              <a:gd name="connsiteX438" fmla="*/ 0 w 7467600"/>
              <a:gd name="connsiteY438" fmla="*/ 5689984 h 6858000"/>
              <a:gd name="connsiteX439" fmla="*/ 0 w 7467600"/>
              <a:gd name="connsiteY439" fmla="*/ 5513472 h 6858000"/>
              <a:gd name="connsiteX440" fmla="*/ 174101 w 7467600"/>
              <a:gd name="connsiteY440" fmla="*/ 5620277 h 6858000"/>
              <a:gd name="connsiteX441" fmla="*/ 891800 w 7467600"/>
              <a:gd name="connsiteY441" fmla="*/ 6036935 h 6858000"/>
              <a:gd name="connsiteX442" fmla="*/ 1072219 w 7467600"/>
              <a:gd name="connsiteY442" fmla="*/ 6169443 h 6858000"/>
              <a:gd name="connsiteX443" fmla="*/ 1074117 w 7467600"/>
              <a:gd name="connsiteY443" fmla="*/ 6170301 h 6858000"/>
              <a:gd name="connsiteX444" fmla="*/ 1083114 w 7467600"/>
              <a:gd name="connsiteY444" fmla="*/ 6174131 h 6858000"/>
              <a:gd name="connsiteX445" fmla="*/ 1543010 w 7467600"/>
              <a:gd name="connsiteY445" fmla="*/ 6191140 h 6858000"/>
              <a:gd name="connsiteX446" fmla="*/ 1551080 w 7467600"/>
              <a:gd name="connsiteY446" fmla="*/ 6195006 h 6858000"/>
              <a:gd name="connsiteX447" fmla="*/ 2345443 w 7467600"/>
              <a:gd name="connsiteY447" fmla="*/ 5549882 h 6858000"/>
              <a:gd name="connsiteX448" fmla="*/ 1721499 w 7467600"/>
              <a:gd name="connsiteY448" fmla="*/ 5599969 h 6858000"/>
              <a:gd name="connsiteX449" fmla="*/ 767716 w 7467600"/>
              <a:gd name="connsiteY449" fmla="*/ 5472768 h 6858000"/>
              <a:gd name="connsiteX450" fmla="*/ 722147 w 7467600"/>
              <a:gd name="connsiteY450" fmla="*/ 5393091 h 6858000"/>
              <a:gd name="connsiteX451" fmla="*/ 1485552 w 7467600"/>
              <a:gd name="connsiteY451" fmla="*/ 5313202 h 6858000"/>
              <a:gd name="connsiteX452" fmla="*/ 2143004 w 7467600"/>
              <a:gd name="connsiteY452" fmla="*/ 5402420 h 6858000"/>
              <a:gd name="connsiteX453" fmla="*/ 1933391 w 7467600"/>
              <a:gd name="connsiteY453" fmla="*/ 5156971 h 6858000"/>
              <a:gd name="connsiteX454" fmla="*/ 1827118 w 7467600"/>
              <a:gd name="connsiteY454" fmla="*/ 4968410 h 6858000"/>
              <a:gd name="connsiteX455" fmla="*/ 1837349 w 7467600"/>
              <a:gd name="connsiteY455" fmla="*/ 4956357 h 6858000"/>
              <a:gd name="connsiteX456" fmla="*/ 2162835 w 7467600"/>
              <a:gd name="connsiteY456" fmla="*/ 5187853 h 6858000"/>
              <a:gd name="connsiteX457" fmla="*/ 2257167 w 7467600"/>
              <a:gd name="connsiteY457" fmla="*/ 5462123 h 6858000"/>
              <a:gd name="connsiteX458" fmla="*/ 2261598 w 7467600"/>
              <a:gd name="connsiteY458" fmla="*/ 5467998 h 6858000"/>
              <a:gd name="connsiteX459" fmla="*/ 2437177 w 7467600"/>
              <a:gd name="connsiteY459" fmla="*/ 5479608 h 6858000"/>
              <a:gd name="connsiteX460" fmla="*/ 2445247 w 7467600"/>
              <a:gd name="connsiteY460" fmla="*/ 5483476 h 6858000"/>
              <a:gd name="connsiteX461" fmla="*/ 2743626 w 7467600"/>
              <a:gd name="connsiteY461" fmla="*/ 5304819 h 6858000"/>
              <a:gd name="connsiteX462" fmla="*/ 3048102 w 7467600"/>
              <a:gd name="connsiteY462" fmla="*/ 5150595 h 6858000"/>
              <a:gd name="connsiteX463" fmla="*/ 1799414 w 7467600"/>
              <a:gd name="connsiteY463" fmla="*/ 4694732 h 6858000"/>
              <a:gd name="connsiteX464" fmla="*/ 1771735 w 7467600"/>
              <a:gd name="connsiteY464" fmla="*/ 4619929 h 6858000"/>
              <a:gd name="connsiteX465" fmla="*/ 3104273 w 7467600"/>
              <a:gd name="connsiteY465" fmla="*/ 5076159 h 6858000"/>
              <a:gd name="connsiteX466" fmla="*/ 3113245 w 7467600"/>
              <a:gd name="connsiteY466" fmla="*/ 5090705 h 6858000"/>
              <a:gd name="connsiteX467" fmla="*/ 3126294 w 7467600"/>
              <a:gd name="connsiteY467" fmla="*/ 5114400 h 6858000"/>
              <a:gd name="connsiteX468" fmla="*/ 3937433 w 7467600"/>
              <a:gd name="connsiteY468" fmla="*/ 4830473 h 6858000"/>
              <a:gd name="connsiteX469" fmla="*/ 3590475 w 7467600"/>
              <a:gd name="connsiteY469" fmla="*/ 4597974 h 6858000"/>
              <a:gd name="connsiteX470" fmla="*/ 3100264 w 7467600"/>
              <a:gd name="connsiteY470" fmla="*/ 4579845 h 6858000"/>
              <a:gd name="connsiteX471" fmla="*/ 2183576 w 7467600"/>
              <a:gd name="connsiteY471" fmla="*/ 4227150 h 6858000"/>
              <a:gd name="connsiteX472" fmla="*/ 2151029 w 7467600"/>
              <a:gd name="connsiteY472" fmla="*/ 4146947 h 6858000"/>
              <a:gd name="connsiteX473" fmla="*/ 3563434 w 7467600"/>
              <a:gd name="connsiteY473" fmla="*/ 4469115 h 6858000"/>
              <a:gd name="connsiteX474" fmla="*/ 3177952 w 7467600"/>
              <a:gd name="connsiteY474" fmla="*/ 3657386 h 6858000"/>
              <a:gd name="connsiteX475" fmla="*/ 3189263 w 7467600"/>
              <a:gd name="connsiteY475" fmla="*/ 3625726 h 6858000"/>
              <a:gd name="connsiteX476" fmla="*/ 3560912 w 7467600"/>
              <a:gd name="connsiteY476" fmla="*/ 4079863 h 6858000"/>
              <a:gd name="connsiteX477" fmla="*/ 3626636 w 7467600"/>
              <a:gd name="connsiteY477" fmla="*/ 4512230 h 6858000"/>
              <a:gd name="connsiteX478" fmla="*/ 3653088 w 7467600"/>
              <a:gd name="connsiteY478" fmla="*/ 4521417 h 6858000"/>
              <a:gd name="connsiteX479" fmla="*/ 3988128 w 7467600"/>
              <a:gd name="connsiteY479" fmla="*/ 4817267 h 6858000"/>
              <a:gd name="connsiteX480" fmla="*/ 4830582 w 7467600"/>
              <a:gd name="connsiteY480" fmla="*/ 4676000 h 6858000"/>
              <a:gd name="connsiteX481" fmla="*/ 4830100 w 7467600"/>
              <a:gd name="connsiteY481" fmla="*/ 4675554 h 6858000"/>
              <a:gd name="connsiteX482" fmla="*/ 4036318 w 7467600"/>
              <a:gd name="connsiteY482" fmla="*/ 4147013 h 6858000"/>
              <a:gd name="connsiteX483" fmla="*/ 3432098 w 7467600"/>
              <a:gd name="connsiteY483" fmla="*/ 3537312 h 6858000"/>
              <a:gd name="connsiteX484" fmla="*/ 3446761 w 7467600"/>
              <a:gd name="connsiteY484" fmla="*/ 3461278 h 6858000"/>
              <a:gd name="connsiteX485" fmla="*/ 4419733 w 7467600"/>
              <a:gd name="connsiteY485" fmla="*/ 3963555 h 6858000"/>
              <a:gd name="connsiteX486" fmla="*/ 4781371 w 7467600"/>
              <a:gd name="connsiteY486" fmla="*/ 4458604 h 6858000"/>
              <a:gd name="connsiteX487" fmla="*/ 4780440 w 7467600"/>
              <a:gd name="connsiteY487" fmla="*/ 4470290 h 6858000"/>
              <a:gd name="connsiteX488" fmla="*/ 4898954 w 7467600"/>
              <a:gd name="connsiteY488" fmla="*/ 4662092 h 6858000"/>
              <a:gd name="connsiteX489" fmla="*/ 4900699 w 7467600"/>
              <a:gd name="connsiteY489" fmla="*/ 4670867 h 6858000"/>
              <a:gd name="connsiteX490" fmla="*/ 5714511 w 7467600"/>
              <a:gd name="connsiteY490" fmla="*/ 4663483 h 6858000"/>
              <a:gd name="connsiteX491" fmla="*/ 5464793 w 7467600"/>
              <a:gd name="connsiteY491" fmla="*/ 4393556 h 6858000"/>
              <a:gd name="connsiteX492" fmla="*/ 5461897 w 7467600"/>
              <a:gd name="connsiteY492" fmla="*/ 4390879 h 6858000"/>
              <a:gd name="connsiteX493" fmla="*/ 4294126 w 7467600"/>
              <a:gd name="connsiteY493" fmla="*/ 3303048 h 6858000"/>
              <a:gd name="connsiteX494" fmla="*/ 4305321 w 7467600"/>
              <a:gd name="connsiteY494" fmla="*/ 3256953 h 6858000"/>
              <a:gd name="connsiteX495" fmla="*/ 4949299 w 7467600"/>
              <a:gd name="connsiteY495" fmla="*/ 3766336 h 6858000"/>
              <a:gd name="connsiteX496" fmla="*/ 5291452 w 7467600"/>
              <a:gd name="connsiteY496" fmla="*/ 4076801 h 6858000"/>
              <a:gd name="connsiteX497" fmla="*/ 5434998 w 7467600"/>
              <a:gd name="connsiteY497" fmla="*/ 4254100 h 6858000"/>
              <a:gd name="connsiteX498" fmla="*/ 5351015 w 7467600"/>
              <a:gd name="connsiteY498" fmla="*/ 3760989 h 6858000"/>
              <a:gd name="connsiteX499" fmla="*/ 5413780 w 7467600"/>
              <a:gd name="connsiteY499" fmla="*/ 2966265 h 6858000"/>
              <a:gd name="connsiteX500" fmla="*/ 5425627 w 7467600"/>
              <a:gd name="connsiteY500" fmla="*/ 2954192 h 6858000"/>
              <a:gd name="connsiteX501" fmla="*/ 6604735 w 7467600"/>
              <a:gd name="connsiteY501" fmla="*/ 2041381 h 6858000"/>
              <a:gd name="connsiteX502" fmla="*/ 7204487 w 7467600"/>
              <a:gd name="connsiteY502" fmla="*/ 2742112 h 6858000"/>
              <a:gd name="connsiteX503" fmla="*/ 7131592 w 7467600"/>
              <a:gd name="connsiteY503" fmla="*/ 2672096 h 6858000"/>
              <a:gd name="connsiteX504" fmla="*/ 6996344 w 7467600"/>
              <a:gd name="connsiteY504" fmla="*/ 2518310 h 6858000"/>
              <a:gd name="connsiteX505" fmla="*/ 6735495 w 7467600"/>
              <a:gd name="connsiteY505" fmla="*/ 2196890 h 6858000"/>
              <a:gd name="connsiteX506" fmla="*/ 6721901 w 7467600"/>
              <a:gd name="connsiteY506" fmla="*/ 2179274 h 6858000"/>
              <a:gd name="connsiteX507" fmla="*/ 6604735 w 7467600"/>
              <a:gd name="connsiteY507" fmla="*/ 2041381 h 6858000"/>
              <a:gd name="connsiteX508" fmla="*/ 6591670 w 7467600"/>
              <a:gd name="connsiteY508" fmla="*/ 1988277 h 6858000"/>
              <a:gd name="connsiteX509" fmla="*/ 6747349 w 7467600"/>
              <a:gd name="connsiteY509" fmla="*/ 2160069 h 6858000"/>
              <a:gd name="connsiteX510" fmla="*/ 6760943 w 7467600"/>
              <a:gd name="connsiteY510" fmla="*/ 2177686 h 6858000"/>
              <a:gd name="connsiteX511" fmla="*/ 7021065 w 7467600"/>
              <a:gd name="connsiteY511" fmla="*/ 2498102 h 6858000"/>
              <a:gd name="connsiteX512" fmla="*/ 7155223 w 7467600"/>
              <a:gd name="connsiteY512" fmla="*/ 2650386 h 6858000"/>
              <a:gd name="connsiteX513" fmla="*/ 7203167 w 7467600"/>
              <a:gd name="connsiteY513" fmla="*/ 2697288 h 6858000"/>
              <a:gd name="connsiteX514" fmla="*/ 6937703 w 7467600"/>
              <a:gd name="connsiteY514" fmla="*/ 2321981 h 6858000"/>
              <a:gd name="connsiteX515" fmla="*/ 6591670 w 7467600"/>
              <a:gd name="connsiteY515" fmla="*/ 1988277 h 6858000"/>
              <a:gd name="connsiteX516" fmla="*/ 5798671 w 7467600"/>
              <a:gd name="connsiteY516" fmla="*/ 1981601 h 6858000"/>
              <a:gd name="connsiteX517" fmla="*/ 5754709 w 7467600"/>
              <a:gd name="connsiteY517" fmla="*/ 2071454 h 6858000"/>
              <a:gd name="connsiteX518" fmla="*/ 5763044 w 7467600"/>
              <a:gd name="connsiteY518" fmla="*/ 2842206 h 6858000"/>
              <a:gd name="connsiteX519" fmla="*/ 5764974 w 7467600"/>
              <a:gd name="connsiteY519" fmla="*/ 2799609 h 6858000"/>
              <a:gd name="connsiteX520" fmla="*/ 5767665 w 7467600"/>
              <a:gd name="connsiteY520" fmla="*/ 2666409 h 6858000"/>
              <a:gd name="connsiteX521" fmla="*/ 5763055 w 7467600"/>
              <a:gd name="connsiteY521" fmla="*/ 2579705 h 6858000"/>
              <a:gd name="connsiteX522" fmla="*/ 5758079 w 7467600"/>
              <a:gd name="connsiteY522" fmla="*/ 2492508 h 6858000"/>
              <a:gd name="connsiteX523" fmla="*/ 5779325 w 7467600"/>
              <a:gd name="connsiteY523" fmla="*/ 2197069 h 6858000"/>
              <a:gd name="connsiteX524" fmla="*/ 5798671 w 7467600"/>
              <a:gd name="connsiteY524" fmla="*/ 1981601 h 6858000"/>
              <a:gd name="connsiteX525" fmla="*/ 5829202 w 7467600"/>
              <a:gd name="connsiteY525" fmla="*/ 1971679 h 6858000"/>
              <a:gd name="connsiteX526" fmla="*/ 5809558 w 7467600"/>
              <a:gd name="connsiteY526" fmla="*/ 2198043 h 6858000"/>
              <a:gd name="connsiteX527" fmla="*/ 5788653 w 7467600"/>
              <a:gd name="connsiteY527" fmla="*/ 2489430 h 6858000"/>
              <a:gd name="connsiteX528" fmla="*/ 5793439 w 7467600"/>
              <a:gd name="connsiteY528" fmla="*/ 2575235 h 6858000"/>
              <a:gd name="connsiteX529" fmla="*/ 5796837 w 7467600"/>
              <a:gd name="connsiteY529" fmla="*/ 2637633 h 6858000"/>
              <a:gd name="connsiteX530" fmla="*/ 5818614 w 7467600"/>
              <a:gd name="connsiteY530" fmla="*/ 2473055 h 6858000"/>
              <a:gd name="connsiteX531" fmla="*/ 5829202 w 7467600"/>
              <a:gd name="connsiteY531" fmla="*/ 1971679 h 6858000"/>
              <a:gd name="connsiteX532" fmla="*/ 5911389 w 7467600"/>
              <a:gd name="connsiteY532" fmla="*/ 1898371 h 6858000"/>
              <a:gd name="connsiteX533" fmla="*/ 6237627 w 7467600"/>
              <a:gd name="connsiteY533" fmla="*/ 2231921 h 6858000"/>
              <a:gd name="connsiteX534" fmla="*/ 5911389 w 7467600"/>
              <a:gd name="connsiteY534" fmla="*/ 1898371 h 6858000"/>
              <a:gd name="connsiteX535" fmla="*/ 6944437 w 7467600"/>
              <a:gd name="connsiteY535" fmla="*/ 1575402 h 6858000"/>
              <a:gd name="connsiteX536" fmla="*/ 6304730 w 7467600"/>
              <a:gd name="connsiteY536" fmla="*/ 1766654 h 6858000"/>
              <a:gd name="connsiteX537" fmla="*/ 6944437 w 7467600"/>
              <a:gd name="connsiteY537" fmla="*/ 1575402 h 6858000"/>
              <a:gd name="connsiteX538" fmla="*/ 7019523 w 7467600"/>
              <a:gd name="connsiteY538" fmla="*/ 1519450 h 6858000"/>
              <a:gd name="connsiteX539" fmla="*/ 6298091 w 7467600"/>
              <a:gd name="connsiteY539" fmla="*/ 1737122 h 6858000"/>
              <a:gd name="connsiteX540" fmla="*/ 7019523 w 7467600"/>
              <a:gd name="connsiteY540" fmla="*/ 1519450 h 6858000"/>
              <a:gd name="connsiteX541" fmla="*/ 2399523 w 7467600"/>
              <a:gd name="connsiteY541" fmla="*/ 1428234 h 6858000"/>
              <a:gd name="connsiteX542" fmla="*/ 2224982 w 7467600"/>
              <a:gd name="connsiteY542" fmla="*/ 1826201 h 6858000"/>
              <a:gd name="connsiteX543" fmla="*/ 2096099 w 7467600"/>
              <a:gd name="connsiteY543" fmla="*/ 2345900 h 6858000"/>
              <a:gd name="connsiteX544" fmla="*/ 2283317 w 7467600"/>
              <a:gd name="connsiteY544" fmla="*/ 1796925 h 6858000"/>
              <a:gd name="connsiteX545" fmla="*/ 2399523 w 7467600"/>
              <a:gd name="connsiteY545" fmla="*/ 1428234 h 6858000"/>
              <a:gd name="connsiteX546" fmla="*/ 2448558 w 7467600"/>
              <a:gd name="connsiteY546" fmla="*/ 1373435 h 6858000"/>
              <a:gd name="connsiteX547" fmla="*/ 2312521 w 7467600"/>
              <a:gd name="connsiteY547" fmla="*/ 1806140 h 6858000"/>
              <a:gd name="connsiteX548" fmla="*/ 2127533 w 7467600"/>
              <a:gd name="connsiteY548" fmla="*/ 2348380 h 6858000"/>
              <a:gd name="connsiteX549" fmla="*/ 2358080 w 7467600"/>
              <a:gd name="connsiteY549" fmla="*/ 1866134 h 6858000"/>
              <a:gd name="connsiteX550" fmla="*/ 2407436 w 7467600"/>
              <a:gd name="connsiteY550" fmla="*/ 1651070 h 6858000"/>
              <a:gd name="connsiteX551" fmla="*/ 2448558 w 7467600"/>
              <a:gd name="connsiteY551" fmla="*/ 1373435 h 6858000"/>
              <a:gd name="connsiteX552" fmla="*/ 278707 w 7467600"/>
              <a:gd name="connsiteY552" fmla="*/ 1352270 h 6858000"/>
              <a:gd name="connsiteX553" fmla="*/ 321570 w 7467600"/>
              <a:gd name="connsiteY553" fmla="*/ 1861610 h 6858000"/>
              <a:gd name="connsiteX554" fmla="*/ 294281 w 7467600"/>
              <a:gd name="connsiteY554" fmla="*/ 1440658 h 6858000"/>
              <a:gd name="connsiteX555" fmla="*/ 278707 w 7467600"/>
              <a:gd name="connsiteY555" fmla="*/ 1352270 h 6858000"/>
              <a:gd name="connsiteX556" fmla="*/ 1423821 w 7467600"/>
              <a:gd name="connsiteY556" fmla="*/ 1351958 h 6858000"/>
              <a:gd name="connsiteX557" fmla="*/ 1638521 w 7467600"/>
              <a:gd name="connsiteY557" fmla="*/ 1908470 h 6858000"/>
              <a:gd name="connsiteX558" fmla="*/ 1754199 w 7467600"/>
              <a:gd name="connsiteY558" fmla="*/ 2149284 h 6858000"/>
              <a:gd name="connsiteX559" fmla="*/ 1908359 w 7467600"/>
              <a:gd name="connsiteY559" fmla="*/ 2364988 h 6858000"/>
              <a:gd name="connsiteX560" fmla="*/ 1647661 w 7467600"/>
              <a:gd name="connsiteY560" fmla="*/ 1825945 h 6858000"/>
              <a:gd name="connsiteX561" fmla="*/ 1423821 w 7467600"/>
              <a:gd name="connsiteY561" fmla="*/ 1351958 h 6858000"/>
              <a:gd name="connsiteX562" fmla="*/ 1431890 w 7467600"/>
              <a:gd name="connsiteY562" fmla="*/ 1306475 h 6858000"/>
              <a:gd name="connsiteX563" fmla="*/ 1507597 w 7467600"/>
              <a:gd name="connsiteY563" fmla="*/ 1446132 h 6858000"/>
              <a:gd name="connsiteX564" fmla="*/ 1674586 w 7467600"/>
              <a:gd name="connsiteY564" fmla="*/ 1813832 h 6858000"/>
              <a:gd name="connsiteX565" fmla="*/ 1815950 w 7467600"/>
              <a:gd name="connsiteY565" fmla="*/ 2128564 h 6858000"/>
              <a:gd name="connsiteX566" fmla="*/ 1984242 w 7467600"/>
              <a:gd name="connsiteY566" fmla="*/ 2430829 h 6858000"/>
              <a:gd name="connsiteX567" fmla="*/ 2014023 w 7467600"/>
              <a:gd name="connsiteY567" fmla="*/ 2450995 h 6858000"/>
              <a:gd name="connsiteX568" fmla="*/ 1747337 w 7467600"/>
              <a:gd name="connsiteY568" fmla="*/ 1855264 h 6858000"/>
              <a:gd name="connsiteX569" fmla="*/ 1533749 w 7467600"/>
              <a:gd name="connsiteY569" fmla="*/ 1478656 h 6858000"/>
              <a:gd name="connsiteX570" fmla="*/ 1431890 w 7467600"/>
              <a:gd name="connsiteY570" fmla="*/ 1306475 h 6858000"/>
              <a:gd name="connsiteX571" fmla="*/ 5052692 w 7467600"/>
              <a:gd name="connsiteY571" fmla="*/ 1292994 h 6858000"/>
              <a:gd name="connsiteX572" fmla="*/ 5200661 w 7467600"/>
              <a:gd name="connsiteY572" fmla="*/ 1635186 h 6858000"/>
              <a:gd name="connsiteX573" fmla="*/ 5297138 w 7467600"/>
              <a:gd name="connsiteY573" fmla="*/ 1906351 h 6858000"/>
              <a:gd name="connsiteX574" fmla="*/ 5052692 w 7467600"/>
              <a:gd name="connsiteY574" fmla="*/ 1292994 h 6858000"/>
              <a:gd name="connsiteX575" fmla="*/ 5009948 w 7467600"/>
              <a:gd name="connsiteY575" fmla="*/ 1273619 h 6858000"/>
              <a:gd name="connsiteX576" fmla="*/ 5121777 w 7467600"/>
              <a:gd name="connsiteY576" fmla="*/ 1654213 h 6858000"/>
              <a:gd name="connsiteX577" fmla="*/ 5293545 w 7467600"/>
              <a:gd name="connsiteY577" fmla="*/ 2072247 h 6858000"/>
              <a:gd name="connsiteX578" fmla="*/ 5294042 w 7467600"/>
              <a:gd name="connsiteY578" fmla="*/ 2065019 h 6858000"/>
              <a:gd name="connsiteX579" fmla="*/ 5171936 w 7467600"/>
              <a:gd name="connsiteY579" fmla="*/ 1647613 h 6858000"/>
              <a:gd name="connsiteX580" fmla="*/ 5009948 w 7467600"/>
              <a:gd name="connsiteY580" fmla="*/ 1273619 h 6858000"/>
              <a:gd name="connsiteX581" fmla="*/ 655236 w 7467600"/>
              <a:gd name="connsiteY581" fmla="*/ 1268632 h 6858000"/>
              <a:gd name="connsiteX582" fmla="*/ 839521 w 7467600"/>
              <a:gd name="connsiteY582" fmla="*/ 1685315 h 6858000"/>
              <a:gd name="connsiteX583" fmla="*/ 1109416 w 7467600"/>
              <a:gd name="connsiteY583" fmla="*/ 2061663 h 6858000"/>
              <a:gd name="connsiteX584" fmla="*/ 1298300 w 7467600"/>
              <a:gd name="connsiteY584" fmla="*/ 2247742 h 6858000"/>
              <a:gd name="connsiteX585" fmla="*/ 1125871 w 7467600"/>
              <a:gd name="connsiteY585" fmla="*/ 1989513 h 6858000"/>
              <a:gd name="connsiteX586" fmla="*/ 981574 w 7467600"/>
              <a:gd name="connsiteY586" fmla="*/ 1783157 h 6858000"/>
              <a:gd name="connsiteX587" fmla="*/ 922198 w 7467600"/>
              <a:gd name="connsiteY587" fmla="*/ 1677437 h 6858000"/>
              <a:gd name="connsiteX588" fmla="*/ 869293 w 7467600"/>
              <a:gd name="connsiteY588" fmla="*/ 1583214 h 6858000"/>
              <a:gd name="connsiteX589" fmla="*/ 751431 w 7467600"/>
              <a:gd name="connsiteY589" fmla="*/ 1405731 h 6858000"/>
              <a:gd name="connsiteX590" fmla="*/ 655236 w 7467600"/>
              <a:gd name="connsiteY590" fmla="*/ 1268632 h 6858000"/>
              <a:gd name="connsiteX591" fmla="*/ 6516292 w 7467600"/>
              <a:gd name="connsiteY591" fmla="*/ 1263064 h 6858000"/>
              <a:gd name="connsiteX592" fmla="*/ 5736320 w 7467600"/>
              <a:gd name="connsiteY592" fmla="*/ 1501803 h 6858000"/>
              <a:gd name="connsiteX593" fmla="*/ 6516292 w 7467600"/>
              <a:gd name="connsiteY593" fmla="*/ 1263064 h 6858000"/>
              <a:gd name="connsiteX594" fmla="*/ 291466 w 7467600"/>
              <a:gd name="connsiteY594" fmla="*/ 1250369 h 6858000"/>
              <a:gd name="connsiteX595" fmla="*/ 323180 w 7467600"/>
              <a:gd name="connsiteY595" fmla="*/ 1435283 h 6858000"/>
              <a:gd name="connsiteX596" fmla="*/ 349381 w 7467600"/>
              <a:gd name="connsiteY596" fmla="*/ 1875041 h 6858000"/>
              <a:gd name="connsiteX597" fmla="*/ 374363 w 7467600"/>
              <a:gd name="connsiteY597" fmla="*/ 1506494 h 6858000"/>
              <a:gd name="connsiteX598" fmla="*/ 302168 w 7467600"/>
              <a:gd name="connsiteY598" fmla="*/ 1274495 h 6858000"/>
              <a:gd name="connsiteX599" fmla="*/ 291466 w 7467600"/>
              <a:gd name="connsiteY599" fmla="*/ 1250369 h 6858000"/>
              <a:gd name="connsiteX600" fmla="*/ 678222 w 7467600"/>
              <a:gd name="connsiteY600" fmla="*/ 1248670 h 6858000"/>
              <a:gd name="connsiteX601" fmla="*/ 775536 w 7467600"/>
              <a:gd name="connsiteY601" fmla="*/ 1388015 h 6858000"/>
              <a:gd name="connsiteX602" fmla="*/ 894529 w 7467600"/>
              <a:gd name="connsiteY602" fmla="*/ 1567739 h 6858000"/>
              <a:gd name="connsiteX603" fmla="*/ 948000 w 7467600"/>
              <a:gd name="connsiteY603" fmla="*/ 1663088 h 6858000"/>
              <a:gd name="connsiteX604" fmla="*/ 1006812 w 7467600"/>
              <a:gd name="connsiteY604" fmla="*/ 1767683 h 6858000"/>
              <a:gd name="connsiteX605" fmla="*/ 1149133 w 7467600"/>
              <a:gd name="connsiteY605" fmla="*/ 1971513 h 6858000"/>
              <a:gd name="connsiteX606" fmla="*/ 1333952 w 7467600"/>
              <a:gd name="connsiteY606" fmla="*/ 2251620 h 6858000"/>
              <a:gd name="connsiteX607" fmla="*/ 1337329 w 7467600"/>
              <a:gd name="connsiteY607" fmla="*/ 2258350 h 6858000"/>
              <a:gd name="connsiteX608" fmla="*/ 1014726 w 7467600"/>
              <a:gd name="connsiteY608" fmla="*/ 1615556 h 6858000"/>
              <a:gd name="connsiteX609" fmla="*/ 678222 w 7467600"/>
              <a:gd name="connsiteY609" fmla="*/ 1248670 h 6858000"/>
              <a:gd name="connsiteX610" fmla="*/ 6691602 w 7467600"/>
              <a:gd name="connsiteY610" fmla="*/ 1140573 h 6858000"/>
              <a:gd name="connsiteX611" fmla="*/ 6571100 w 7467600"/>
              <a:gd name="connsiteY611" fmla="*/ 1183662 h 6858000"/>
              <a:gd name="connsiteX612" fmla="*/ 6241687 w 7467600"/>
              <a:gd name="connsiteY612" fmla="*/ 1257600 h 6858000"/>
              <a:gd name="connsiteX613" fmla="*/ 5693009 w 7467600"/>
              <a:gd name="connsiteY613" fmla="*/ 1478256 h 6858000"/>
              <a:gd name="connsiteX614" fmla="*/ 6548420 w 7467600"/>
              <a:gd name="connsiteY614" fmla="*/ 1214599 h 6858000"/>
              <a:gd name="connsiteX615" fmla="*/ 6605473 w 7467600"/>
              <a:gd name="connsiteY615" fmla="*/ 1184686 h 6858000"/>
              <a:gd name="connsiteX616" fmla="*/ 6691602 w 7467600"/>
              <a:gd name="connsiteY616" fmla="*/ 1140573 h 6858000"/>
              <a:gd name="connsiteX617" fmla="*/ 4002475 w 7467600"/>
              <a:gd name="connsiteY617" fmla="*/ 1037802 h 6858000"/>
              <a:gd name="connsiteX618" fmla="*/ 4000324 w 7467600"/>
              <a:gd name="connsiteY618" fmla="*/ 1039362 h 6858000"/>
              <a:gd name="connsiteX619" fmla="*/ 4002862 w 7467600"/>
              <a:gd name="connsiteY619" fmla="*/ 1042866 h 6858000"/>
              <a:gd name="connsiteX620" fmla="*/ 4002475 w 7467600"/>
              <a:gd name="connsiteY620" fmla="*/ 1037802 h 6858000"/>
              <a:gd name="connsiteX621" fmla="*/ 506322 w 7467600"/>
              <a:gd name="connsiteY621" fmla="*/ 1020997 h 6858000"/>
              <a:gd name="connsiteX622" fmla="*/ 533068 w 7467600"/>
              <a:gd name="connsiteY622" fmla="*/ 1029409 h 6858000"/>
              <a:gd name="connsiteX623" fmla="*/ 1232525 w 7467600"/>
              <a:gd name="connsiteY623" fmla="*/ 1804675 h 6858000"/>
              <a:gd name="connsiteX624" fmla="*/ 1388858 w 7467600"/>
              <a:gd name="connsiteY624" fmla="*/ 2368011 h 6858000"/>
              <a:gd name="connsiteX625" fmla="*/ 1384098 w 7467600"/>
              <a:gd name="connsiteY625" fmla="*/ 2378125 h 6858000"/>
              <a:gd name="connsiteX626" fmla="*/ 1425393 w 7467600"/>
              <a:gd name="connsiteY626" fmla="*/ 2589124 h 6858000"/>
              <a:gd name="connsiteX627" fmla="*/ 1424001 w 7467600"/>
              <a:gd name="connsiteY627" fmla="*/ 2597541 h 6858000"/>
              <a:gd name="connsiteX628" fmla="*/ 2152729 w 7467600"/>
              <a:gd name="connsiteY628" fmla="*/ 2864487 h 6858000"/>
              <a:gd name="connsiteX629" fmla="*/ 2020609 w 7467600"/>
              <a:gd name="connsiteY629" fmla="*/ 2539671 h 6858000"/>
              <a:gd name="connsiteX630" fmla="*/ 2018920 w 7467600"/>
              <a:gd name="connsiteY630" fmla="*/ 2536309 h 6858000"/>
              <a:gd name="connsiteX631" fmla="*/ 1342441 w 7467600"/>
              <a:gd name="connsiteY631" fmla="*/ 1173017 h 6858000"/>
              <a:gd name="connsiteX632" fmla="*/ 1367925 w 7467600"/>
              <a:gd name="connsiteY632" fmla="*/ 1135648 h 6858000"/>
              <a:gd name="connsiteX633" fmla="*/ 1771401 w 7467600"/>
              <a:gd name="connsiteY633" fmla="*/ 1806673 h 6858000"/>
              <a:gd name="connsiteX634" fmla="*/ 1972385 w 7467600"/>
              <a:gd name="connsiteY634" fmla="*/ 2198735 h 6858000"/>
              <a:gd name="connsiteX635" fmla="*/ 2040892 w 7467600"/>
              <a:gd name="connsiteY635" fmla="*/ 2405205 h 6858000"/>
              <a:gd name="connsiteX636" fmla="*/ 2131689 w 7467600"/>
              <a:gd name="connsiteY636" fmla="*/ 1936926 h 6858000"/>
              <a:gd name="connsiteX637" fmla="*/ 2454820 w 7467600"/>
              <a:gd name="connsiteY637" fmla="*/ 1248808 h 6858000"/>
              <a:gd name="connsiteX638" fmla="*/ 2492512 w 7467600"/>
              <a:gd name="connsiteY638" fmla="*/ 1302920 h 6858000"/>
              <a:gd name="connsiteX639" fmla="*/ 2081216 w 7467600"/>
              <a:gd name="connsiteY639" fmla="*/ 2527513 h 6858000"/>
              <a:gd name="connsiteX640" fmla="*/ 2081211 w 7467600"/>
              <a:gd name="connsiteY640" fmla="*/ 2528916 h 6858000"/>
              <a:gd name="connsiteX641" fmla="*/ 2199067 w 7467600"/>
              <a:gd name="connsiteY641" fmla="*/ 2884061 h 6858000"/>
              <a:gd name="connsiteX642" fmla="*/ 3192586 w 7467600"/>
              <a:gd name="connsiteY642" fmla="*/ 3411496 h 6858000"/>
              <a:gd name="connsiteX643" fmla="*/ 3182620 w 7467600"/>
              <a:gd name="connsiteY643" fmla="*/ 3483279 h 6858000"/>
              <a:gd name="connsiteX644" fmla="*/ 2435119 w 7467600"/>
              <a:gd name="connsiteY644" fmla="*/ 3080173 h 6858000"/>
              <a:gd name="connsiteX645" fmla="*/ 2410152 w 7467600"/>
              <a:gd name="connsiteY645" fmla="*/ 3063751 h 6858000"/>
              <a:gd name="connsiteX646" fmla="*/ 2408099 w 7467600"/>
              <a:gd name="connsiteY646" fmla="*/ 3064403 h 6858000"/>
              <a:gd name="connsiteX647" fmla="*/ 2407218 w 7467600"/>
              <a:gd name="connsiteY647" fmla="*/ 3070324 h 6858000"/>
              <a:gd name="connsiteX648" fmla="*/ 2380138 w 7467600"/>
              <a:gd name="connsiteY648" fmla="*/ 3099341 h 6858000"/>
              <a:gd name="connsiteX649" fmla="*/ 1765923 w 7467600"/>
              <a:gd name="connsiteY649" fmla="*/ 3581043 h 6858000"/>
              <a:gd name="connsiteX650" fmla="*/ 1702258 w 7467600"/>
              <a:gd name="connsiteY650" fmla="*/ 3612286 h 6858000"/>
              <a:gd name="connsiteX651" fmla="*/ 1538370 w 7467600"/>
              <a:gd name="connsiteY651" fmla="*/ 3811804 h 6858000"/>
              <a:gd name="connsiteX652" fmla="*/ 542867 w 7467600"/>
              <a:gd name="connsiteY652" fmla="*/ 4944092 h 6858000"/>
              <a:gd name="connsiteX653" fmla="*/ 515800 w 7467600"/>
              <a:gd name="connsiteY653" fmla="*/ 4862180 h 6858000"/>
              <a:gd name="connsiteX654" fmla="*/ 909145 w 7467600"/>
              <a:gd name="connsiteY654" fmla="*/ 4199225 h 6858000"/>
              <a:gd name="connsiteX655" fmla="*/ 1214067 w 7467600"/>
              <a:gd name="connsiteY655" fmla="*/ 3908561 h 6858000"/>
              <a:gd name="connsiteX656" fmla="*/ 640967 w 7467600"/>
              <a:gd name="connsiteY656" fmla="*/ 4105601 h 6858000"/>
              <a:gd name="connsiteX657" fmla="*/ 112563 w 7467600"/>
              <a:gd name="connsiteY657" fmla="*/ 4396952 h 6858000"/>
              <a:gd name="connsiteX658" fmla="*/ 0 w 7467600"/>
              <a:gd name="connsiteY658" fmla="*/ 4466006 h 6858000"/>
              <a:gd name="connsiteX659" fmla="*/ 0 w 7467600"/>
              <a:gd name="connsiteY659" fmla="*/ 4233763 h 6858000"/>
              <a:gd name="connsiteX660" fmla="*/ 36881 w 7467600"/>
              <a:gd name="connsiteY660" fmla="*/ 4200118 h 6858000"/>
              <a:gd name="connsiteX661" fmla="*/ 910534 w 7467600"/>
              <a:gd name="connsiteY661" fmla="*/ 3629753 h 6858000"/>
              <a:gd name="connsiteX662" fmla="*/ 1578717 w 7467600"/>
              <a:gd name="connsiteY662" fmla="*/ 3575982 h 6858000"/>
              <a:gd name="connsiteX663" fmla="*/ 2338780 w 7467600"/>
              <a:gd name="connsiteY663" fmla="*/ 3033725 h 6858000"/>
              <a:gd name="connsiteX664" fmla="*/ 1807991 w 7467600"/>
              <a:gd name="connsiteY664" fmla="*/ 2807184 h 6858000"/>
              <a:gd name="connsiteX665" fmla="*/ 1416358 w 7467600"/>
              <a:gd name="connsiteY665" fmla="*/ 3112571 h 6858000"/>
              <a:gd name="connsiteX666" fmla="*/ 939066 w 7467600"/>
              <a:gd name="connsiteY666" fmla="*/ 3378798 h 6858000"/>
              <a:gd name="connsiteX667" fmla="*/ 115099 w 7467600"/>
              <a:gd name="connsiteY667" fmla="*/ 3607650 h 6858000"/>
              <a:gd name="connsiteX668" fmla="*/ 97284 w 7467600"/>
              <a:gd name="connsiteY668" fmla="*/ 3520393 h 6858000"/>
              <a:gd name="connsiteX669" fmla="*/ 922050 w 7467600"/>
              <a:gd name="connsiteY669" fmla="*/ 3074867 h 6858000"/>
              <a:gd name="connsiteX670" fmla="*/ 1405265 w 7467600"/>
              <a:gd name="connsiteY670" fmla="*/ 3016319 h 6858000"/>
              <a:gd name="connsiteX671" fmla="*/ 1407512 w 7467600"/>
              <a:gd name="connsiteY671" fmla="*/ 3018001 h 6858000"/>
              <a:gd name="connsiteX672" fmla="*/ 1726266 w 7467600"/>
              <a:gd name="connsiteY672" fmla="*/ 2777274 h 6858000"/>
              <a:gd name="connsiteX673" fmla="*/ 625390 w 7467600"/>
              <a:gd name="connsiteY673" fmla="*/ 2514541 h 6858000"/>
              <a:gd name="connsiteX674" fmla="*/ 619799 w 7467600"/>
              <a:gd name="connsiteY674" fmla="*/ 2527180 h 6858000"/>
              <a:gd name="connsiteX675" fmla="*/ 310030 w 7467600"/>
              <a:gd name="connsiteY675" fmla="*/ 2771818 h 6858000"/>
              <a:gd name="connsiteX676" fmla="*/ 173877 w 7467600"/>
              <a:gd name="connsiteY676" fmla="*/ 2937056 h 6858000"/>
              <a:gd name="connsiteX677" fmla="*/ 77889 w 7467600"/>
              <a:gd name="connsiteY677" fmla="*/ 3138440 h 6858000"/>
              <a:gd name="connsiteX678" fmla="*/ 0 w 7467600"/>
              <a:gd name="connsiteY678" fmla="*/ 3271395 h 6858000"/>
              <a:gd name="connsiteX679" fmla="*/ 0 w 7467600"/>
              <a:gd name="connsiteY679" fmla="*/ 3153002 h 6858000"/>
              <a:gd name="connsiteX680" fmla="*/ 2386 w 7467600"/>
              <a:gd name="connsiteY680" fmla="*/ 3149203 h 6858000"/>
              <a:gd name="connsiteX681" fmla="*/ 89753 w 7467600"/>
              <a:gd name="connsiteY681" fmla="*/ 2987702 h 6858000"/>
              <a:gd name="connsiteX682" fmla="*/ 76869 w 7467600"/>
              <a:gd name="connsiteY682" fmla="*/ 3005404 h 6858000"/>
              <a:gd name="connsiteX683" fmla="*/ 32049 w 7467600"/>
              <a:gd name="connsiteY683" fmla="*/ 3065814 h 6858000"/>
              <a:gd name="connsiteX684" fmla="*/ 0 w 7467600"/>
              <a:gd name="connsiteY684" fmla="*/ 3108744 h 6858000"/>
              <a:gd name="connsiteX685" fmla="*/ 0 w 7467600"/>
              <a:gd name="connsiteY685" fmla="*/ 3058059 h 6858000"/>
              <a:gd name="connsiteX686" fmla="*/ 7610 w 7467600"/>
              <a:gd name="connsiteY686" fmla="*/ 3047889 h 6858000"/>
              <a:gd name="connsiteX687" fmla="*/ 52419 w 7467600"/>
              <a:gd name="connsiteY687" fmla="*/ 2987479 h 6858000"/>
              <a:gd name="connsiteX688" fmla="*/ 59142 w 7467600"/>
              <a:gd name="connsiteY688" fmla="*/ 2978488 h 6858000"/>
              <a:gd name="connsiteX689" fmla="*/ 0 w 7467600"/>
              <a:gd name="connsiteY689" fmla="*/ 3015334 h 6858000"/>
              <a:gd name="connsiteX690" fmla="*/ 0 w 7467600"/>
              <a:gd name="connsiteY690" fmla="*/ 2914286 h 6858000"/>
              <a:gd name="connsiteX691" fmla="*/ 36383 w 7467600"/>
              <a:gd name="connsiteY691" fmla="*/ 2901128 h 6858000"/>
              <a:gd name="connsiteX692" fmla="*/ 156329 w 7467600"/>
              <a:gd name="connsiteY692" fmla="*/ 2840533 h 6858000"/>
              <a:gd name="connsiteX693" fmla="*/ 358355 w 7467600"/>
              <a:gd name="connsiteY693" fmla="*/ 2620471 h 6858000"/>
              <a:gd name="connsiteX694" fmla="*/ 510577 w 7467600"/>
              <a:gd name="connsiteY694" fmla="*/ 2501244 h 6858000"/>
              <a:gd name="connsiteX695" fmla="*/ 211967 w 7467600"/>
              <a:gd name="connsiteY695" fmla="*/ 2479171 h 6858000"/>
              <a:gd name="connsiteX696" fmla="*/ 0 w 7467600"/>
              <a:gd name="connsiteY696" fmla="*/ 2476398 h 6858000"/>
              <a:gd name="connsiteX697" fmla="*/ 0 w 7467600"/>
              <a:gd name="connsiteY697" fmla="*/ 2389189 h 6858000"/>
              <a:gd name="connsiteX698" fmla="*/ 103062 w 7467600"/>
              <a:gd name="connsiteY698" fmla="*/ 2389518 h 6858000"/>
              <a:gd name="connsiteX699" fmla="*/ 510734 w 7467600"/>
              <a:gd name="connsiteY699" fmla="*/ 2416201 h 6858000"/>
              <a:gd name="connsiteX700" fmla="*/ 279257 w 7467600"/>
              <a:gd name="connsiteY700" fmla="*/ 2092102 h 6858000"/>
              <a:gd name="connsiteX701" fmla="*/ 65265 w 7467600"/>
              <a:gd name="connsiteY701" fmla="*/ 2006049 h 6858000"/>
              <a:gd name="connsiteX702" fmla="*/ 0 w 7467600"/>
              <a:gd name="connsiteY702" fmla="*/ 1982532 h 6858000"/>
              <a:gd name="connsiteX703" fmla="*/ 0 w 7467600"/>
              <a:gd name="connsiteY703" fmla="*/ 1912789 h 6858000"/>
              <a:gd name="connsiteX704" fmla="*/ 97460 w 7467600"/>
              <a:gd name="connsiteY704" fmla="*/ 1953725 h 6858000"/>
              <a:gd name="connsiteX705" fmla="*/ 221272 w 7467600"/>
              <a:gd name="connsiteY705" fmla="*/ 1980766 h 6858000"/>
              <a:gd name="connsiteX706" fmla="*/ 116765 w 7467600"/>
              <a:gd name="connsiteY706" fmla="*/ 1911033 h 6858000"/>
              <a:gd name="connsiteX707" fmla="*/ 16405 w 7467600"/>
              <a:gd name="connsiteY707" fmla="*/ 1803412 h 6858000"/>
              <a:gd name="connsiteX708" fmla="*/ 0 w 7467600"/>
              <a:gd name="connsiteY708" fmla="*/ 1784777 h 6858000"/>
              <a:gd name="connsiteX709" fmla="*/ 0 w 7467600"/>
              <a:gd name="connsiteY709" fmla="*/ 1740082 h 6858000"/>
              <a:gd name="connsiteX710" fmla="*/ 39394 w 7467600"/>
              <a:gd name="connsiteY710" fmla="*/ 1784856 h 6858000"/>
              <a:gd name="connsiteX711" fmla="*/ 135813 w 7467600"/>
              <a:gd name="connsiteY711" fmla="*/ 1888838 h 6858000"/>
              <a:gd name="connsiteX712" fmla="*/ 242575 w 7467600"/>
              <a:gd name="connsiteY712" fmla="*/ 1958841 h 6858000"/>
              <a:gd name="connsiteX713" fmla="*/ 82197 w 7467600"/>
              <a:gd name="connsiteY713" fmla="*/ 1754826 h 6858000"/>
              <a:gd name="connsiteX714" fmla="*/ 0 w 7467600"/>
              <a:gd name="connsiteY714" fmla="*/ 1679650 h 6858000"/>
              <a:gd name="connsiteX715" fmla="*/ 0 w 7467600"/>
              <a:gd name="connsiteY715" fmla="*/ 1602463 h 6858000"/>
              <a:gd name="connsiteX716" fmla="*/ 84689 w 7467600"/>
              <a:gd name="connsiteY716" fmla="*/ 1677442 h 6858000"/>
              <a:gd name="connsiteX717" fmla="*/ 298437 w 7467600"/>
              <a:gd name="connsiteY717" fmla="*/ 1968019 h 6858000"/>
              <a:gd name="connsiteX718" fmla="*/ 227269 w 7467600"/>
              <a:gd name="connsiteY718" fmla="*/ 1114064 h 6858000"/>
              <a:gd name="connsiteX719" fmla="*/ 248003 w 7467600"/>
              <a:gd name="connsiteY719" fmla="*/ 1089613 h 6858000"/>
              <a:gd name="connsiteX720" fmla="*/ 427020 w 7467600"/>
              <a:gd name="connsiteY720" fmla="*/ 1619803 h 6858000"/>
              <a:gd name="connsiteX721" fmla="*/ 340345 w 7467600"/>
              <a:gd name="connsiteY721" fmla="*/ 2027739 h 6858000"/>
              <a:gd name="connsiteX722" fmla="*/ 360865 w 7467600"/>
              <a:gd name="connsiteY722" fmla="*/ 2044827 h 6858000"/>
              <a:gd name="connsiteX723" fmla="*/ 560414 w 7467600"/>
              <a:gd name="connsiteY723" fmla="*/ 2421457 h 6858000"/>
              <a:gd name="connsiteX724" fmla="*/ 1359703 w 7467600"/>
              <a:gd name="connsiteY724" fmla="*/ 2578554 h 6858000"/>
              <a:gd name="connsiteX725" fmla="*/ 1359422 w 7467600"/>
              <a:gd name="connsiteY725" fmla="*/ 2577994 h 6858000"/>
              <a:gd name="connsiteX726" fmla="*/ 828701 w 7467600"/>
              <a:gd name="connsiteY726" fmla="*/ 1839520 h 6858000"/>
              <a:gd name="connsiteX727" fmla="*/ 494427 w 7467600"/>
              <a:gd name="connsiteY727" fmla="*/ 1092333 h 6858000"/>
              <a:gd name="connsiteX728" fmla="*/ 506322 w 7467600"/>
              <a:gd name="connsiteY728" fmla="*/ 1020997 h 6858000"/>
              <a:gd name="connsiteX729" fmla="*/ 4570198 w 7467600"/>
              <a:gd name="connsiteY729" fmla="*/ 978081 h 6858000"/>
              <a:gd name="connsiteX730" fmla="*/ 4523691 w 7467600"/>
              <a:gd name="connsiteY730" fmla="*/ 1127776 h 6858000"/>
              <a:gd name="connsiteX731" fmla="*/ 4509875 w 7467600"/>
              <a:gd name="connsiteY731" fmla="*/ 1167552 h 6858000"/>
              <a:gd name="connsiteX732" fmla="*/ 4478168 w 7467600"/>
              <a:gd name="connsiteY732" fmla="*/ 1260735 h 6858000"/>
              <a:gd name="connsiteX733" fmla="*/ 4409309 w 7467600"/>
              <a:gd name="connsiteY733" fmla="*/ 1666996 h 6858000"/>
              <a:gd name="connsiteX734" fmla="*/ 4370031 w 7467600"/>
              <a:gd name="connsiteY734" fmla="*/ 1955666 h 6858000"/>
              <a:gd name="connsiteX735" fmla="*/ 4570198 w 7467600"/>
              <a:gd name="connsiteY735" fmla="*/ 978081 h 6858000"/>
              <a:gd name="connsiteX736" fmla="*/ 4557898 w 7467600"/>
              <a:gd name="connsiteY736" fmla="*/ 900011 h 6858000"/>
              <a:gd name="connsiteX737" fmla="*/ 4344840 w 7467600"/>
              <a:gd name="connsiteY737" fmla="*/ 1922038 h 6858000"/>
              <a:gd name="connsiteX738" fmla="*/ 4378710 w 7467600"/>
              <a:gd name="connsiteY738" fmla="*/ 1665516 h 6858000"/>
              <a:gd name="connsiteX739" fmla="*/ 4448798 w 7467600"/>
              <a:gd name="connsiteY739" fmla="*/ 1253024 h 6858000"/>
              <a:gd name="connsiteX740" fmla="*/ 4480315 w 7467600"/>
              <a:gd name="connsiteY740" fmla="*/ 1158454 h 6858000"/>
              <a:gd name="connsiteX741" fmla="*/ 4494133 w 7467600"/>
              <a:gd name="connsiteY741" fmla="*/ 1118676 h 6858000"/>
              <a:gd name="connsiteX742" fmla="*/ 4557898 w 7467600"/>
              <a:gd name="connsiteY742" fmla="*/ 900011 h 6858000"/>
              <a:gd name="connsiteX743" fmla="*/ 5870151 w 7467600"/>
              <a:gd name="connsiteY743" fmla="*/ 898890 h 6858000"/>
              <a:gd name="connsiteX744" fmla="*/ 5861335 w 7467600"/>
              <a:gd name="connsiteY744" fmla="*/ 899177 h 6858000"/>
              <a:gd name="connsiteX745" fmla="*/ 5843702 w 7467600"/>
              <a:gd name="connsiteY745" fmla="*/ 899748 h 6858000"/>
              <a:gd name="connsiteX746" fmla="*/ 5651107 w 7467600"/>
              <a:gd name="connsiteY746" fmla="*/ 920306 h 6858000"/>
              <a:gd name="connsiteX747" fmla="*/ 5459407 w 7467600"/>
              <a:gd name="connsiteY747" fmla="*/ 940975 h 6858000"/>
              <a:gd name="connsiteX748" fmla="*/ 5374846 w 7467600"/>
              <a:gd name="connsiteY748" fmla="*/ 941988 h 6858000"/>
              <a:gd name="connsiteX749" fmla="*/ 5256105 w 7467600"/>
              <a:gd name="connsiteY749" fmla="*/ 945632 h 6858000"/>
              <a:gd name="connsiteX750" fmla="*/ 5107071 w 7467600"/>
              <a:gd name="connsiteY750" fmla="*/ 969720 h 6858000"/>
              <a:gd name="connsiteX751" fmla="*/ 4998681 w 7467600"/>
              <a:gd name="connsiteY751" fmla="*/ 988771 h 6858000"/>
              <a:gd name="connsiteX752" fmla="*/ 5870151 w 7467600"/>
              <a:gd name="connsiteY752" fmla="*/ 898890 h 6858000"/>
              <a:gd name="connsiteX753" fmla="*/ 5504425 w 7467600"/>
              <a:gd name="connsiteY753" fmla="*/ 848067 h 6858000"/>
              <a:gd name="connsiteX754" fmla="*/ 4968849 w 7467600"/>
              <a:gd name="connsiteY754" fmla="*/ 962318 h 6858000"/>
              <a:gd name="connsiteX755" fmla="*/ 5104039 w 7467600"/>
              <a:gd name="connsiteY755" fmla="*/ 940634 h 6858000"/>
              <a:gd name="connsiteX756" fmla="*/ 5256311 w 7467600"/>
              <a:gd name="connsiteY756" fmla="*/ 916490 h 6858000"/>
              <a:gd name="connsiteX757" fmla="*/ 5377381 w 7467600"/>
              <a:gd name="connsiteY757" fmla="*/ 912671 h 6858000"/>
              <a:gd name="connsiteX758" fmla="*/ 5460148 w 7467600"/>
              <a:gd name="connsiteY758" fmla="*/ 911442 h 6858000"/>
              <a:gd name="connsiteX759" fmla="*/ 5648971 w 7467600"/>
              <a:gd name="connsiteY759" fmla="*/ 891331 h 6858000"/>
              <a:gd name="connsiteX760" fmla="*/ 5844807 w 7467600"/>
              <a:gd name="connsiteY760" fmla="*/ 870718 h 6858000"/>
              <a:gd name="connsiteX761" fmla="*/ 5862975 w 7467600"/>
              <a:gd name="connsiteY761" fmla="*/ 869756 h 6858000"/>
              <a:gd name="connsiteX762" fmla="*/ 5920887 w 7467600"/>
              <a:gd name="connsiteY762" fmla="*/ 865929 h 6858000"/>
              <a:gd name="connsiteX763" fmla="*/ 5504425 w 7467600"/>
              <a:gd name="connsiteY763" fmla="*/ 848067 h 6858000"/>
              <a:gd name="connsiteX764" fmla="*/ 3607114 w 7467600"/>
              <a:gd name="connsiteY764" fmla="*/ 467441 h 6858000"/>
              <a:gd name="connsiteX765" fmla="*/ 3296242 w 7467600"/>
              <a:gd name="connsiteY765" fmla="*/ 807991 h 6858000"/>
              <a:gd name="connsiteX766" fmla="*/ 3174674 w 7467600"/>
              <a:gd name="connsiteY766" fmla="*/ 919759 h 6858000"/>
              <a:gd name="connsiteX767" fmla="*/ 3042978 w 7467600"/>
              <a:gd name="connsiteY767" fmla="*/ 1054894 h 6858000"/>
              <a:gd name="connsiteX768" fmla="*/ 2968914 w 7467600"/>
              <a:gd name="connsiteY768" fmla="*/ 1133756 h 6858000"/>
              <a:gd name="connsiteX769" fmla="*/ 3103823 w 7467600"/>
              <a:gd name="connsiteY769" fmla="*/ 1026814 h 6858000"/>
              <a:gd name="connsiteX770" fmla="*/ 3607114 w 7467600"/>
              <a:gd name="connsiteY770" fmla="*/ 467441 h 6858000"/>
              <a:gd name="connsiteX771" fmla="*/ 3744487 w 7467600"/>
              <a:gd name="connsiteY771" fmla="*/ 383136 h 6858000"/>
              <a:gd name="connsiteX772" fmla="*/ 3970213 w 7467600"/>
              <a:gd name="connsiteY772" fmla="*/ 995559 h 6858000"/>
              <a:gd name="connsiteX773" fmla="*/ 3744487 w 7467600"/>
              <a:gd name="connsiteY773" fmla="*/ 383136 h 6858000"/>
              <a:gd name="connsiteX774" fmla="*/ 3624562 w 7467600"/>
              <a:gd name="connsiteY774" fmla="*/ 367041 h 6858000"/>
              <a:gd name="connsiteX775" fmla="*/ 3489712 w 7467600"/>
              <a:gd name="connsiteY775" fmla="*/ 485386 h 6858000"/>
              <a:gd name="connsiteX776" fmla="*/ 3182994 w 7467600"/>
              <a:gd name="connsiteY776" fmla="*/ 828265 h 6858000"/>
              <a:gd name="connsiteX777" fmla="*/ 2892114 w 7467600"/>
              <a:gd name="connsiteY777" fmla="*/ 1172635 h 6858000"/>
              <a:gd name="connsiteX778" fmla="*/ 3021459 w 7467600"/>
              <a:gd name="connsiteY778" fmla="*/ 1035385 h 6858000"/>
              <a:gd name="connsiteX779" fmla="*/ 3153873 w 7467600"/>
              <a:gd name="connsiteY779" fmla="*/ 898971 h 6858000"/>
              <a:gd name="connsiteX780" fmla="*/ 3276511 w 7467600"/>
              <a:gd name="connsiteY780" fmla="*/ 786423 h 6858000"/>
              <a:gd name="connsiteX781" fmla="*/ 3584154 w 7467600"/>
              <a:gd name="connsiteY781" fmla="*/ 448218 h 6858000"/>
              <a:gd name="connsiteX782" fmla="*/ 3624562 w 7467600"/>
              <a:gd name="connsiteY782" fmla="*/ 367041 h 6858000"/>
              <a:gd name="connsiteX783" fmla="*/ 3766672 w 7467600"/>
              <a:gd name="connsiteY783" fmla="*/ 359429 h 6858000"/>
              <a:gd name="connsiteX784" fmla="*/ 3996338 w 7467600"/>
              <a:gd name="connsiteY784" fmla="*/ 968237 h 6858000"/>
              <a:gd name="connsiteX785" fmla="*/ 3766672 w 7467600"/>
              <a:gd name="connsiteY785" fmla="*/ 359429 h 6858000"/>
              <a:gd name="connsiteX786" fmla="*/ 5805386 w 7467600"/>
              <a:gd name="connsiteY786" fmla="*/ 239240 h 6858000"/>
              <a:gd name="connsiteX787" fmla="*/ 5736947 w 7467600"/>
              <a:gd name="connsiteY787" fmla="*/ 261367 h 6858000"/>
              <a:gd name="connsiteX788" fmla="*/ 5427012 w 7467600"/>
              <a:gd name="connsiteY788" fmla="*/ 311272 h 6858000"/>
              <a:gd name="connsiteX789" fmla="*/ 5147818 w 7467600"/>
              <a:gd name="connsiteY789" fmla="*/ 322112 h 6858000"/>
              <a:gd name="connsiteX790" fmla="*/ 5060854 w 7467600"/>
              <a:gd name="connsiteY790" fmla="*/ 311882 h 6858000"/>
              <a:gd name="connsiteX791" fmla="*/ 4945989 w 7467600"/>
              <a:gd name="connsiteY791" fmla="*/ 300516 h 6858000"/>
              <a:gd name="connsiteX792" fmla="*/ 5410479 w 7467600"/>
              <a:gd name="connsiteY792" fmla="*/ 348434 h 6858000"/>
              <a:gd name="connsiteX793" fmla="*/ 5805386 w 7467600"/>
              <a:gd name="connsiteY793" fmla="*/ 239240 h 6858000"/>
              <a:gd name="connsiteX794" fmla="*/ 5905192 w 7467600"/>
              <a:gd name="connsiteY794" fmla="*/ 163079 h 6858000"/>
              <a:gd name="connsiteX795" fmla="*/ 5865655 w 7467600"/>
              <a:gd name="connsiteY795" fmla="*/ 171901 h 6858000"/>
              <a:gd name="connsiteX796" fmla="*/ 5259740 w 7467600"/>
              <a:gd name="connsiteY796" fmla="*/ 257013 h 6858000"/>
              <a:gd name="connsiteX797" fmla="*/ 5208466 w 7467600"/>
              <a:gd name="connsiteY797" fmla="*/ 257550 h 6858000"/>
              <a:gd name="connsiteX798" fmla="*/ 4980204 w 7467600"/>
              <a:gd name="connsiteY798" fmla="*/ 271903 h 6858000"/>
              <a:gd name="connsiteX799" fmla="*/ 5068068 w 7467600"/>
              <a:gd name="connsiteY799" fmla="*/ 282244 h 6858000"/>
              <a:gd name="connsiteX800" fmla="*/ 5153231 w 7467600"/>
              <a:gd name="connsiteY800" fmla="*/ 292240 h 6858000"/>
              <a:gd name="connsiteX801" fmla="*/ 5426491 w 7467600"/>
              <a:gd name="connsiteY801" fmla="*/ 281128 h 6858000"/>
              <a:gd name="connsiteX802" fmla="*/ 5731212 w 7467600"/>
              <a:gd name="connsiteY802" fmla="*/ 231951 h 6858000"/>
              <a:gd name="connsiteX803" fmla="*/ 5905192 w 7467600"/>
              <a:gd name="connsiteY803" fmla="*/ 163079 h 6858000"/>
              <a:gd name="connsiteX804" fmla="*/ 5944437 w 7467600"/>
              <a:gd name="connsiteY804" fmla="*/ 113829 h 6858000"/>
              <a:gd name="connsiteX805" fmla="*/ 5825032 w 7467600"/>
              <a:gd name="connsiteY805" fmla="*/ 146405 h 6858000"/>
              <a:gd name="connsiteX806" fmla="*/ 4955599 w 7467600"/>
              <a:gd name="connsiteY806" fmla="*/ 247008 h 6858000"/>
              <a:gd name="connsiteX807" fmla="*/ 5210104 w 7467600"/>
              <a:gd name="connsiteY807" fmla="*/ 228123 h 6858000"/>
              <a:gd name="connsiteX808" fmla="*/ 5261015 w 7467600"/>
              <a:gd name="connsiteY808" fmla="*/ 227087 h 6858000"/>
              <a:gd name="connsiteX809" fmla="*/ 5861181 w 7467600"/>
              <a:gd name="connsiteY809" fmla="*/ 143093 h 6858000"/>
              <a:gd name="connsiteX810" fmla="*/ 5961252 w 7467600"/>
              <a:gd name="connsiteY810" fmla="*/ 114820 h 6858000"/>
              <a:gd name="connsiteX811" fmla="*/ 5944437 w 7467600"/>
              <a:gd name="connsiteY811" fmla="*/ 113829 h 6858000"/>
              <a:gd name="connsiteX812" fmla="*/ 3882765 w 7467600"/>
              <a:gd name="connsiteY812" fmla="*/ 0 h 6858000"/>
              <a:gd name="connsiteX813" fmla="*/ 3995099 w 7467600"/>
              <a:gd name="connsiteY813" fmla="*/ 0 h 6858000"/>
              <a:gd name="connsiteX814" fmla="*/ 4163818 w 7467600"/>
              <a:gd name="connsiteY814" fmla="*/ 234104 h 6858000"/>
              <a:gd name="connsiteX815" fmla="*/ 4172099 w 7467600"/>
              <a:gd name="connsiteY815" fmla="*/ 234207 h 6858000"/>
              <a:gd name="connsiteX816" fmla="*/ 4784282 w 7467600"/>
              <a:gd name="connsiteY816" fmla="*/ 276561 h 6858000"/>
              <a:gd name="connsiteX817" fmla="*/ 4801687 w 7467600"/>
              <a:gd name="connsiteY817" fmla="*/ 267764 h 6858000"/>
              <a:gd name="connsiteX818" fmla="*/ 6082788 w 7467600"/>
              <a:gd name="connsiteY818" fmla="*/ 64119 h 6858000"/>
              <a:gd name="connsiteX819" fmla="*/ 6099442 w 7467600"/>
              <a:gd name="connsiteY819" fmla="*/ 82568 h 6858000"/>
              <a:gd name="connsiteX820" fmla="*/ 4804137 w 7467600"/>
              <a:gd name="connsiteY820" fmla="*/ 320931 h 6858000"/>
              <a:gd name="connsiteX821" fmla="*/ 4227047 w 7467600"/>
              <a:gd name="connsiteY821" fmla="*/ 313415 h 6858000"/>
              <a:gd name="connsiteX822" fmla="*/ 4346041 w 7467600"/>
              <a:gd name="connsiteY822" fmla="*/ 456086 h 6858000"/>
              <a:gd name="connsiteX823" fmla="*/ 4870967 w 7467600"/>
              <a:gd name="connsiteY823" fmla="*/ 963061 h 6858000"/>
              <a:gd name="connsiteX824" fmla="*/ 4889647 w 7467600"/>
              <a:gd name="connsiteY824" fmla="*/ 957147 h 6858000"/>
              <a:gd name="connsiteX825" fmla="*/ 5422504 w 7467600"/>
              <a:gd name="connsiteY825" fmla="*/ 805191 h 6858000"/>
              <a:gd name="connsiteX826" fmla="*/ 6087656 w 7467600"/>
              <a:gd name="connsiteY826" fmla="*/ 826703 h 6858000"/>
              <a:gd name="connsiteX827" fmla="*/ 6058717 w 7467600"/>
              <a:gd name="connsiteY827" fmla="*/ 865992 h 6858000"/>
              <a:gd name="connsiteX828" fmla="*/ 4974153 w 7467600"/>
              <a:gd name="connsiteY828" fmla="*/ 1045456 h 6858000"/>
              <a:gd name="connsiteX829" fmla="*/ 5627835 w 7467600"/>
              <a:gd name="connsiteY829" fmla="*/ 1472077 h 6858000"/>
              <a:gd name="connsiteX830" fmla="*/ 5629817 w 7467600"/>
              <a:gd name="connsiteY830" fmla="*/ 1471412 h 6858000"/>
              <a:gd name="connsiteX831" fmla="*/ 5634124 w 7467600"/>
              <a:gd name="connsiteY831" fmla="*/ 1470572 h 6858000"/>
              <a:gd name="connsiteX832" fmla="*/ 5755832 w 7467600"/>
              <a:gd name="connsiteY832" fmla="*/ 1383886 h 6858000"/>
              <a:gd name="connsiteX833" fmla="*/ 6014186 w 7467600"/>
              <a:gd name="connsiteY833" fmla="*/ 1279799 h 6858000"/>
              <a:gd name="connsiteX834" fmla="*/ 6901619 w 7467600"/>
              <a:gd name="connsiteY834" fmla="*/ 1047874 h 6858000"/>
              <a:gd name="connsiteX835" fmla="*/ 6931566 w 7467600"/>
              <a:gd name="connsiteY835" fmla="*/ 1062034 h 6858000"/>
              <a:gd name="connsiteX836" fmla="*/ 5790982 w 7467600"/>
              <a:gd name="connsiteY836" fmla="*/ 1561380 h 6858000"/>
              <a:gd name="connsiteX837" fmla="*/ 6188971 w 7467600"/>
              <a:gd name="connsiteY837" fmla="*/ 1755168 h 6858000"/>
              <a:gd name="connsiteX838" fmla="*/ 6202446 w 7467600"/>
              <a:gd name="connsiteY838" fmla="*/ 1752268 h 6858000"/>
              <a:gd name="connsiteX839" fmla="*/ 7179560 w 7467600"/>
              <a:gd name="connsiteY839" fmla="*/ 1467551 h 6858000"/>
              <a:gd name="connsiteX840" fmla="*/ 7158730 w 7467600"/>
              <a:gd name="connsiteY840" fmla="*/ 1507835 h 6858000"/>
              <a:gd name="connsiteX841" fmla="*/ 6326959 w 7467600"/>
              <a:gd name="connsiteY841" fmla="*/ 1817686 h 6858000"/>
              <a:gd name="connsiteX842" fmla="*/ 6537433 w 7467600"/>
              <a:gd name="connsiteY842" fmla="*/ 1907790 h 6858000"/>
              <a:gd name="connsiteX843" fmla="*/ 6550221 w 7467600"/>
              <a:gd name="connsiteY843" fmla="*/ 1910729 h 6858000"/>
              <a:gd name="connsiteX844" fmla="*/ 6964438 w 7467600"/>
              <a:gd name="connsiteY844" fmla="*/ 2209505 h 6858000"/>
              <a:gd name="connsiteX845" fmla="*/ 7367862 w 7467600"/>
              <a:gd name="connsiteY845" fmla="*/ 2806833 h 6858000"/>
              <a:gd name="connsiteX846" fmla="*/ 7364329 w 7467600"/>
              <a:gd name="connsiteY846" fmla="*/ 2826907 h 6858000"/>
              <a:gd name="connsiteX847" fmla="*/ 7290545 w 7467600"/>
              <a:gd name="connsiteY847" fmla="*/ 2850663 h 6858000"/>
              <a:gd name="connsiteX848" fmla="*/ 6472036 w 7467600"/>
              <a:gd name="connsiteY848" fmla="*/ 1959003 h 6858000"/>
              <a:gd name="connsiteX849" fmla="*/ 5792897 w 7467600"/>
              <a:gd name="connsiteY849" fmla="*/ 1647747 h 6858000"/>
              <a:gd name="connsiteX850" fmla="*/ 5842751 w 7467600"/>
              <a:gd name="connsiteY850" fmla="*/ 1816112 h 6858000"/>
              <a:gd name="connsiteX851" fmla="*/ 5847424 w 7467600"/>
              <a:gd name="connsiteY851" fmla="*/ 1815776 h 6858000"/>
              <a:gd name="connsiteX852" fmla="*/ 6399821 w 7467600"/>
              <a:gd name="connsiteY852" fmla="*/ 2344799 h 6858000"/>
              <a:gd name="connsiteX853" fmla="*/ 6323232 w 7467600"/>
              <a:gd name="connsiteY853" fmla="*/ 2389634 h 6858000"/>
              <a:gd name="connsiteX854" fmla="*/ 5942958 w 7467600"/>
              <a:gd name="connsiteY854" fmla="*/ 2077708 h 6858000"/>
              <a:gd name="connsiteX855" fmla="*/ 5921559 w 7467600"/>
              <a:gd name="connsiteY855" fmla="*/ 2378596 h 6858000"/>
              <a:gd name="connsiteX856" fmla="*/ 5817651 w 7467600"/>
              <a:gd name="connsiteY856" fmla="*/ 3023919 h 6858000"/>
              <a:gd name="connsiteX857" fmla="*/ 5729634 w 7467600"/>
              <a:gd name="connsiteY857" fmla="*/ 3051849 h 6858000"/>
              <a:gd name="connsiteX858" fmla="*/ 5611018 w 7467600"/>
              <a:gd name="connsiteY858" fmla="*/ 2316769 h 6858000"/>
              <a:gd name="connsiteX859" fmla="*/ 5687608 w 7467600"/>
              <a:gd name="connsiteY859" fmla="*/ 2039972 h 6858000"/>
              <a:gd name="connsiteX860" fmla="*/ 5657554 w 7467600"/>
              <a:gd name="connsiteY860" fmla="*/ 1576445 h 6858000"/>
              <a:gd name="connsiteX861" fmla="*/ 5150475 w 7467600"/>
              <a:gd name="connsiteY861" fmla="*/ 1274012 h 6858000"/>
              <a:gd name="connsiteX862" fmla="*/ 5349142 w 7467600"/>
              <a:gd name="connsiteY862" fmla="*/ 2204405 h 6858000"/>
              <a:gd name="connsiteX863" fmla="*/ 5262214 w 7467600"/>
              <a:gd name="connsiteY863" fmla="*/ 2233836 h 6858000"/>
              <a:gd name="connsiteX864" fmla="*/ 4981539 w 7467600"/>
              <a:gd name="connsiteY864" fmla="*/ 1542201 h 6858000"/>
              <a:gd name="connsiteX865" fmla="*/ 4958461 w 7467600"/>
              <a:gd name="connsiteY865" fmla="*/ 1136957 h 6858000"/>
              <a:gd name="connsiteX866" fmla="*/ 4655015 w 7467600"/>
              <a:gd name="connsiteY866" fmla="*/ 891426 h 6858000"/>
              <a:gd name="connsiteX867" fmla="*/ 4348002 w 7467600"/>
              <a:gd name="connsiteY867" fmla="*/ 2205895 h 6858000"/>
              <a:gd name="connsiteX868" fmla="*/ 4262250 w 7467600"/>
              <a:gd name="connsiteY868" fmla="*/ 2219972 h 6858000"/>
              <a:gd name="connsiteX869" fmla="*/ 4550611 w 7467600"/>
              <a:gd name="connsiteY869" fmla="*/ 817540 h 6858000"/>
              <a:gd name="connsiteX870" fmla="*/ 4564418 w 7467600"/>
              <a:gd name="connsiteY870" fmla="*/ 808293 h 6858000"/>
              <a:gd name="connsiteX871" fmla="*/ 4266388 w 7467600"/>
              <a:gd name="connsiteY871" fmla="*/ 500083 h 6858000"/>
              <a:gd name="connsiteX872" fmla="*/ 4032842 w 7467600"/>
              <a:gd name="connsiteY872" fmla="*/ 211809 h 6858000"/>
              <a:gd name="connsiteX873" fmla="*/ 3882765 w 7467600"/>
              <a:gd name="connsiteY873" fmla="*/ 0 h 6858000"/>
              <a:gd name="connsiteX874" fmla="*/ 3721337 w 7467600"/>
              <a:gd name="connsiteY874" fmla="*/ 0 h 6858000"/>
              <a:gd name="connsiteX875" fmla="*/ 3797544 w 7467600"/>
              <a:gd name="connsiteY875" fmla="*/ 0 h 6858000"/>
              <a:gd name="connsiteX876" fmla="*/ 3775734 w 7467600"/>
              <a:gd name="connsiteY876" fmla="*/ 95131 h 6858000"/>
              <a:gd name="connsiteX877" fmla="*/ 3724807 w 7467600"/>
              <a:gd name="connsiteY877" fmla="*/ 272257 h 6858000"/>
              <a:gd name="connsiteX878" fmla="*/ 3726844 w 7467600"/>
              <a:gd name="connsiteY878" fmla="*/ 282988 h 6858000"/>
              <a:gd name="connsiteX879" fmla="*/ 3742664 w 7467600"/>
              <a:gd name="connsiteY879" fmla="*/ 279918 h 6858000"/>
              <a:gd name="connsiteX880" fmla="*/ 4103910 w 7467600"/>
              <a:gd name="connsiteY880" fmla="*/ 1161917 h 6858000"/>
              <a:gd name="connsiteX881" fmla="*/ 4020269 w 7467600"/>
              <a:gd name="connsiteY881" fmla="*/ 1200406 h 6858000"/>
              <a:gd name="connsiteX882" fmla="*/ 3674882 w 7467600"/>
              <a:gd name="connsiteY882" fmla="*/ 488524 h 6858000"/>
              <a:gd name="connsiteX883" fmla="*/ 3132682 w 7467600"/>
              <a:gd name="connsiteY883" fmla="*/ 1072284 h 6858000"/>
              <a:gd name="connsiteX884" fmla="*/ 2716346 w 7467600"/>
              <a:gd name="connsiteY884" fmla="*/ 1276376 h 6858000"/>
              <a:gd name="connsiteX885" fmla="*/ 2716772 w 7467600"/>
              <a:gd name="connsiteY885" fmla="*/ 1255462 h 6858000"/>
              <a:gd name="connsiteX886" fmla="*/ 3471096 w 7467600"/>
              <a:gd name="connsiteY886" fmla="*/ 437072 h 6858000"/>
              <a:gd name="connsiteX887" fmla="*/ 3639057 w 7467600"/>
              <a:gd name="connsiteY887" fmla="*/ 286334 h 6858000"/>
              <a:gd name="connsiteX888" fmla="*/ 3640309 w 7467600"/>
              <a:gd name="connsiteY888" fmla="*/ 284664 h 6858000"/>
              <a:gd name="connsiteX889" fmla="*/ 3646022 w 7467600"/>
              <a:gd name="connsiteY889" fmla="*/ 276711 h 6858000"/>
              <a:gd name="connsiteX890" fmla="*/ 3707943 w 7467600"/>
              <a:gd name="connsiteY890" fmla="*/ 65958 h 6858000"/>
              <a:gd name="connsiteX891" fmla="*/ 3721337 w 7467600"/>
              <a:gd name="connsiteY891" fmla="*/ 0 h 6858000"/>
              <a:gd name="connsiteX892" fmla="*/ 2867960 w 7467600"/>
              <a:gd name="connsiteY892" fmla="*/ 0 h 6858000"/>
              <a:gd name="connsiteX893" fmla="*/ 2926351 w 7467600"/>
              <a:gd name="connsiteY893" fmla="*/ 0 h 6858000"/>
              <a:gd name="connsiteX894" fmla="*/ 2902823 w 7467600"/>
              <a:gd name="connsiteY894" fmla="*/ 262929 h 6858000"/>
              <a:gd name="connsiteX895" fmla="*/ 2940663 w 7467600"/>
              <a:gd name="connsiteY895" fmla="*/ 140884 h 6858000"/>
              <a:gd name="connsiteX896" fmla="*/ 2947039 w 7467600"/>
              <a:gd name="connsiteY896" fmla="*/ 122524 h 6858000"/>
              <a:gd name="connsiteX897" fmla="*/ 2984316 w 7467600"/>
              <a:gd name="connsiteY897" fmla="*/ 0 h 6858000"/>
              <a:gd name="connsiteX898" fmla="*/ 3016114 w 7467600"/>
              <a:gd name="connsiteY898" fmla="*/ 0 h 6858000"/>
              <a:gd name="connsiteX899" fmla="*/ 2979949 w 7467600"/>
              <a:gd name="connsiteY899" fmla="*/ 119274 h 6858000"/>
              <a:gd name="connsiteX900" fmla="*/ 3023879 w 7467600"/>
              <a:gd name="connsiteY900" fmla="*/ 0 h 6858000"/>
              <a:gd name="connsiteX901" fmla="*/ 3105400 w 7467600"/>
              <a:gd name="connsiteY901" fmla="*/ 0 h 6858000"/>
              <a:gd name="connsiteX902" fmla="*/ 3094669 w 7467600"/>
              <a:gd name="connsiteY902" fmla="*/ 30308 h 6858000"/>
              <a:gd name="connsiteX903" fmla="*/ 2901945 w 7467600"/>
              <a:gd name="connsiteY903" fmla="*/ 466538 h 6858000"/>
              <a:gd name="connsiteX904" fmla="*/ 2815209 w 7467600"/>
              <a:gd name="connsiteY904" fmla="*/ 497361 h 6858000"/>
              <a:gd name="connsiteX905" fmla="*/ 2844845 w 7467600"/>
              <a:gd name="connsiteY905" fmla="*/ 127638 h 6858000"/>
              <a:gd name="connsiteX906" fmla="*/ 2867960 w 7467600"/>
              <a:gd name="connsiteY906" fmla="*/ 0 h 6858000"/>
              <a:gd name="connsiteX907" fmla="*/ 1057230 w 7467600"/>
              <a:gd name="connsiteY907" fmla="*/ 0 h 6858000"/>
              <a:gd name="connsiteX908" fmla="*/ 1111003 w 7467600"/>
              <a:gd name="connsiteY908" fmla="*/ 0 h 6858000"/>
              <a:gd name="connsiteX909" fmla="*/ 1125553 w 7467600"/>
              <a:gd name="connsiteY909" fmla="*/ 52588 h 6858000"/>
              <a:gd name="connsiteX910" fmla="*/ 1304276 w 7467600"/>
              <a:gd name="connsiteY910" fmla="*/ 476275 h 6858000"/>
              <a:gd name="connsiteX911" fmla="*/ 1492066 w 7467600"/>
              <a:gd name="connsiteY911" fmla="*/ 886333 h 6858000"/>
              <a:gd name="connsiteX912" fmla="*/ 1423698 w 7467600"/>
              <a:gd name="connsiteY912" fmla="*/ 710817 h 6858000"/>
              <a:gd name="connsiteX913" fmla="*/ 1357609 w 7467600"/>
              <a:gd name="connsiteY913" fmla="*/ 532892 h 6858000"/>
              <a:gd name="connsiteX914" fmla="*/ 1309550 w 7467600"/>
              <a:gd name="connsiteY914" fmla="*/ 374031 h 6858000"/>
              <a:gd name="connsiteX915" fmla="*/ 1193673 w 7467600"/>
              <a:gd name="connsiteY915" fmla="*/ 49533 h 6858000"/>
              <a:gd name="connsiteX916" fmla="*/ 1164391 w 7467600"/>
              <a:gd name="connsiteY916" fmla="*/ 0 h 6858000"/>
              <a:gd name="connsiteX917" fmla="*/ 1200666 w 7467600"/>
              <a:gd name="connsiteY917" fmla="*/ 0 h 6858000"/>
              <a:gd name="connsiteX918" fmla="*/ 1223408 w 7467600"/>
              <a:gd name="connsiteY918" fmla="*/ 38996 h 6858000"/>
              <a:gd name="connsiteX919" fmla="*/ 1339635 w 7467600"/>
              <a:gd name="connsiteY919" fmla="*/ 365517 h 6858000"/>
              <a:gd name="connsiteX920" fmla="*/ 1387469 w 7467600"/>
              <a:gd name="connsiteY920" fmla="*/ 523079 h 6858000"/>
              <a:gd name="connsiteX921" fmla="*/ 1452685 w 7467600"/>
              <a:gd name="connsiteY921" fmla="*/ 699806 h 6858000"/>
              <a:gd name="connsiteX922" fmla="*/ 1492092 w 7467600"/>
              <a:gd name="connsiteY922" fmla="*/ 800424 h 6858000"/>
              <a:gd name="connsiteX923" fmla="*/ 1455302 w 7467600"/>
              <a:gd name="connsiteY923" fmla="*/ 632913 h 6858000"/>
              <a:gd name="connsiteX924" fmla="*/ 1222336 w 7467600"/>
              <a:gd name="connsiteY924" fmla="*/ 9480 h 6858000"/>
              <a:gd name="connsiteX925" fmla="*/ 1214634 w 7467600"/>
              <a:gd name="connsiteY925" fmla="*/ 0 h 6858000"/>
              <a:gd name="connsiteX926" fmla="*/ 1289827 w 7467600"/>
              <a:gd name="connsiteY926" fmla="*/ 0 h 6858000"/>
              <a:gd name="connsiteX927" fmla="*/ 1321076 w 7467600"/>
              <a:gd name="connsiteY927" fmla="*/ 59722 h 6858000"/>
              <a:gd name="connsiteX928" fmla="*/ 1512579 w 7467600"/>
              <a:gd name="connsiteY928" fmla="*/ 626441 h 6858000"/>
              <a:gd name="connsiteX929" fmla="*/ 1506076 w 7467600"/>
              <a:gd name="connsiteY929" fmla="*/ 1089289 h 6858000"/>
              <a:gd name="connsiteX930" fmla="*/ 1486346 w 7467600"/>
              <a:gd name="connsiteY930" fmla="*/ 1079919 h 6858000"/>
              <a:gd name="connsiteX931" fmla="*/ 1070511 w 7467600"/>
              <a:gd name="connsiteY931" fmla="*/ 48609 h 6858000"/>
              <a:gd name="connsiteX932" fmla="*/ 1057230 w 7467600"/>
              <a:gd name="connsiteY932" fmla="*/ 0 h 6858000"/>
              <a:gd name="connsiteX933" fmla="*/ 43151 w 7467600"/>
              <a:gd name="connsiteY933" fmla="*/ 0 h 6858000"/>
              <a:gd name="connsiteX934" fmla="*/ 95283 w 7467600"/>
              <a:gd name="connsiteY934" fmla="*/ 0 h 6858000"/>
              <a:gd name="connsiteX935" fmla="*/ 300708 w 7467600"/>
              <a:gd name="connsiteY935" fmla="*/ 154571 h 6858000"/>
              <a:gd name="connsiteX936" fmla="*/ 530414 w 7467600"/>
              <a:gd name="connsiteY936" fmla="*/ 354673 h 6858000"/>
              <a:gd name="connsiteX937" fmla="*/ 333785 w 7467600"/>
              <a:gd name="connsiteY937" fmla="*/ 161564 h 6858000"/>
              <a:gd name="connsiteX938" fmla="*/ 147005 w 7467600"/>
              <a:gd name="connsiteY938" fmla="*/ 0 h 6858000"/>
              <a:gd name="connsiteX939" fmla="*/ 272509 w 7467600"/>
              <a:gd name="connsiteY939" fmla="*/ 0 h 6858000"/>
              <a:gd name="connsiteX940" fmla="*/ 326276 w 7467600"/>
              <a:gd name="connsiteY940" fmla="*/ 45847 h 6858000"/>
              <a:gd name="connsiteX941" fmla="*/ 823759 w 7467600"/>
              <a:gd name="connsiteY941" fmla="*/ 574145 h 6858000"/>
              <a:gd name="connsiteX942" fmla="*/ 811254 w 7467600"/>
              <a:gd name="connsiteY942" fmla="*/ 665546 h 6858000"/>
              <a:gd name="connsiteX943" fmla="*/ 154042 w 7467600"/>
              <a:gd name="connsiteY943" fmla="*/ 261522 h 6858000"/>
              <a:gd name="connsiteX944" fmla="*/ 13550 w 7467600"/>
              <a:gd name="connsiteY944" fmla="*/ 158423 h 6858000"/>
              <a:gd name="connsiteX945" fmla="*/ 0 w 7467600"/>
              <a:gd name="connsiteY945" fmla="*/ 146618 h 6858000"/>
              <a:gd name="connsiteX946" fmla="*/ 0 w 7467600"/>
              <a:gd name="connsiteY946" fmla="*/ 59161 h 6858000"/>
              <a:gd name="connsiteX947" fmla="*/ 45427 w 7467600"/>
              <a:gd name="connsiteY947" fmla="*/ 101078 h 6858000"/>
              <a:gd name="connsiteX948" fmla="*/ 630103 w 7467600"/>
              <a:gd name="connsiteY948" fmla="*/ 485885 h 6858000"/>
              <a:gd name="connsiteX949" fmla="*/ 532040 w 7467600"/>
              <a:gd name="connsiteY949" fmla="*/ 399359 h 6858000"/>
              <a:gd name="connsiteX950" fmla="*/ 517618 w 7467600"/>
              <a:gd name="connsiteY950" fmla="*/ 385726 h 6858000"/>
              <a:gd name="connsiteX951" fmla="*/ 285074 w 7467600"/>
              <a:gd name="connsiteY951" fmla="*/ 182755 h 6858000"/>
              <a:gd name="connsiteX952" fmla="*/ 43151 w 7467600"/>
              <a:gd name="connsiteY952"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410696 w 7467600"/>
              <a:gd name="connsiteY4" fmla="*/ 6803861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392158 w 7467600"/>
              <a:gd name="connsiteY16" fmla="*/ 6771365 h 6858000"/>
              <a:gd name="connsiteX17" fmla="*/ 7467600 w 7467600"/>
              <a:gd name="connsiteY17" fmla="*/ 6805948 h 6858000"/>
              <a:gd name="connsiteX18" fmla="*/ 7467600 w 7467600"/>
              <a:gd name="connsiteY18" fmla="*/ 6831490 h 6858000"/>
              <a:gd name="connsiteX19" fmla="*/ 7410696 w 7467600"/>
              <a:gd name="connsiteY19" fmla="*/ 6803861 h 6858000"/>
              <a:gd name="connsiteX20" fmla="*/ 1019354 w 7467600"/>
              <a:gd name="connsiteY20" fmla="*/ 6315006 h 6858000"/>
              <a:gd name="connsiteX21" fmla="*/ 441046 w 7467600"/>
              <a:gd name="connsiteY21" fmla="*/ 6691153 h 6858000"/>
              <a:gd name="connsiteX22" fmla="*/ 1019354 w 7467600"/>
              <a:gd name="connsiteY22" fmla="*/ 6315006 h 6858000"/>
              <a:gd name="connsiteX23" fmla="*/ 991680 w 7467600"/>
              <a:gd name="connsiteY23" fmla="*/ 6298413 h 6858000"/>
              <a:gd name="connsiteX24" fmla="*/ 409060 w 7467600"/>
              <a:gd name="connsiteY24" fmla="*/ 6671470 h 6858000"/>
              <a:gd name="connsiteX25" fmla="*/ 991680 w 7467600"/>
              <a:gd name="connsiteY25" fmla="*/ 6298413 h 6858000"/>
              <a:gd name="connsiteX26" fmla="*/ 103333 w 7467600"/>
              <a:gd name="connsiteY26" fmla="*/ 5699602 h 6858000"/>
              <a:gd name="connsiteX27" fmla="*/ 233938 w 7467600"/>
              <a:gd name="connsiteY27" fmla="*/ 5809416 h 6858000"/>
              <a:gd name="connsiteX28" fmla="*/ 883580 w 7467600"/>
              <a:gd name="connsiteY28" fmla="*/ 6180710 h 6858000"/>
              <a:gd name="connsiteX29" fmla="*/ 487337 w 7467600"/>
              <a:gd name="connsiteY29" fmla="*/ 5950182 h 6858000"/>
              <a:gd name="connsiteX30" fmla="*/ 354051 w 7467600"/>
              <a:gd name="connsiteY30" fmla="*/ 5854912 h 6858000"/>
              <a:gd name="connsiteX31" fmla="*/ 195436 w 7467600"/>
              <a:gd name="connsiteY31" fmla="*/ 5755068 h 6858000"/>
              <a:gd name="connsiteX32" fmla="*/ 103333 w 7467600"/>
              <a:gd name="connsiteY32" fmla="*/ 5699602 h 6858000"/>
              <a:gd name="connsiteX33" fmla="*/ 5539432 w 7467600"/>
              <a:gd name="connsiteY33" fmla="*/ 5642928 h 6858000"/>
              <a:gd name="connsiteX34" fmla="*/ 5555462 w 7467600"/>
              <a:gd name="connsiteY34" fmla="*/ 5694454 h 6858000"/>
              <a:gd name="connsiteX35" fmla="*/ 5828270 w 7467600"/>
              <a:gd name="connsiteY35" fmla="*/ 6320663 h 6858000"/>
              <a:gd name="connsiteX36" fmla="*/ 5947416 w 7467600"/>
              <a:gd name="connsiteY36" fmla="*/ 6574846 h 6858000"/>
              <a:gd name="connsiteX37" fmla="*/ 5539432 w 7467600"/>
              <a:gd name="connsiteY37" fmla="*/ 5642928 h 6858000"/>
              <a:gd name="connsiteX38" fmla="*/ 51253 w 7467600"/>
              <a:gd name="connsiteY38" fmla="*/ 5631825 h 6858000"/>
              <a:gd name="connsiteX39" fmla="*/ 211622 w 7467600"/>
              <a:gd name="connsiteY39" fmla="*/ 5728803 h 6858000"/>
              <a:gd name="connsiteX40" fmla="*/ 371652 w 7467600"/>
              <a:gd name="connsiteY40" fmla="*/ 5829062 h 6858000"/>
              <a:gd name="connsiteX41" fmla="*/ 505903 w 7467600"/>
              <a:gd name="connsiteY41" fmla="*/ 5925221 h 6858000"/>
              <a:gd name="connsiteX42" fmla="*/ 899240 w 7467600"/>
              <a:gd name="connsiteY42" fmla="*/ 6153068 h 6858000"/>
              <a:gd name="connsiteX43" fmla="*/ 988114 w 7467600"/>
              <a:gd name="connsiteY43" fmla="*/ 6174204 h 6858000"/>
              <a:gd name="connsiteX44" fmla="*/ 845971 w 7467600"/>
              <a:gd name="connsiteY44" fmla="*/ 6067177 h 6858000"/>
              <a:gd name="connsiteX45" fmla="*/ 448057 w 7467600"/>
              <a:gd name="connsiteY45" fmla="*/ 5841376 h 6858000"/>
              <a:gd name="connsiteX46" fmla="*/ 51253 w 7467600"/>
              <a:gd name="connsiteY46" fmla="*/ 5631825 h 6858000"/>
              <a:gd name="connsiteX47" fmla="*/ 2606687 w 7467600"/>
              <a:gd name="connsiteY47" fmla="*/ 5630718 h 6858000"/>
              <a:gd name="connsiteX48" fmla="*/ 2645658 w 7467600"/>
              <a:gd name="connsiteY48" fmla="*/ 6640259 h 6858000"/>
              <a:gd name="connsiteX49" fmla="*/ 2606687 w 7467600"/>
              <a:gd name="connsiteY49" fmla="*/ 5630718 h 6858000"/>
              <a:gd name="connsiteX50" fmla="*/ 3642057 w 7467600"/>
              <a:gd name="connsiteY50" fmla="*/ 5573487 h 6858000"/>
              <a:gd name="connsiteX51" fmla="*/ 3632981 w 7467600"/>
              <a:gd name="connsiteY51" fmla="*/ 5579437 h 6858000"/>
              <a:gd name="connsiteX52" fmla="*/ 3382436 w 7467600"/>
              <a:gd name="connsiteY52" fmla="*/ 5952726 h 6858000"/>
              <a:gd name="connsiteX53" fmla="*/ 3191929 w 7467600"/>
              <a:gd name="connsiteY53" fmla="*/ 6662669 h 6858000"/>
              <a:gd name="connsiteX54" fmla="*/ 3369898 w 7467600"/>
              <a:gd name="connsiteY54" fmla="*/ 6081771 h 6858000"/>
              <a:gd name="connsiteX55" fmla="*/ 3642057 w 7467600"/>
              <a:gd name="connsiteY55" fmla="*/ 5573487 h 6858000"/>
              <a:gd name="connsiteX56" fmla="*/ 2650666 w 7467600"/>
              <a:gd name="connsiteY56" fmla="*/ 5530686 h 6858000"/>
              <a:gd name="connsiteX57" fmla="*/ 2650249 w 7467600"/>
              <a:gd name="connsiteY57" fmla="*/ 5532101 h 6858000"/>
              <a:gd name="connsiteX58" fmla="*/ 2663808 w 7467600"/>
              <a:gd name="connsiteY58" fmla="*/ 6535215 h 6858000"/>
              <a:gd name="connsiteX59" fmla="*/ 2665418 w 7467600"/>
              <a:gd name="connsiteY59" fmla="*/ 6132756 h 6858000"/>
              <a:gd name="connsiteX60" fmla="*/ 2650666 w 7467600"/>
              <a:gd name="connsiteY60" fmla="*/ 5530686 h 6858000"/>
              <a:gd name="connsiteX61" fmla="*/ 2680277 w 7467600"/>
              <a:gd name="connsiteY61" fmla="*/ 5479204 h 6858000"/>
              <a:gd name="connsiteX62" fmla="*/ 2678972 w 7467600"/>
              <a:gd name="connsiteY62" fmla="*/ 5481582 h 6858000"/>
              <a:gd name="connsiteX63" fmla="*/ 2696666 w 7467600"/>
              <a:gd name="connsiteY63" fmla="*/ 6133836 h 6858000"/>
              <a:gd name="connsiteX64" fmla="*/ 2695769 w 7467600"/>
              <a:gd name="connsiteY64" fmla="*/ 6390955 h 6858000"/>
              <a:gd name="connsiteX65" fmla="*/ 2739893 w 7467600"/>
              <a:gd name="connsiteY65" fmla="*/ 6108357 h 6858000"/>
              <a:gd name="connsiteX66" fmla="*/ 2680277 w 7467600"/>
              <a:gd name="connsiteY66" fmla="*/ 5479204 h 6858000"/>
              <a:gd name="connsiteX67" fmla="*/ 1132195 w 7467600"/>
              <a:gd name="connsiteY67" fmla="*/ 5467980 h 6858000"/>
              <a:gd name="connsiteX68" fmla="*/ 1679056 w 7467600"/>
              <a:gd name="connsiteY68" fmla="*/ 5516907 h 6858000"/>
              <a:gd name="connsiteX69" fmla="*/ 2128648 w 7467600"/>
              <a:gd name="connsiteY69" fmla="*/ 5474249 h 6858000"/>
              <a:gd name="connsiteX70" fmla="*/ 1825619 w 7467600"/>
              <a:gd name="connsiteY70" fmla="*/ 5478447 h 6858000"/>
              <a:gd name="connsiteX71" fmla="*/ 1737798 w 7467600"/>
              <a:gd name="connsiteY71" fmla="*/ 5483353 h 6858000"/>
              <a:gd name="connsiteX72" fmla="*/ 1132195 w 7467600"/>
              <a:gd name="connsiteY72" fmla="*/ 5467980 h 6858000"/>
              <a:gd name="connsiteX73" fmla="*/ 1456157 w 7467600"/>
              <a:gd name="connsiteY73" fmla="*/ 5371404 h 6858000"/>
              <a:gd name="connsiteX74" fmla="*/ 1244432 w 7467600"/>
              <a:gd name="connsiteY74" fmla="*/ 5385601 h 6858000"/>
              <a:gd name="connsiteX75" fmla="*/ 973990 w 7467600"/>
              <a:gd name="connsiteY75" fmla="*/ 5424940 h 6858000"/>
              <a:gd name="connsiteX76" fmla="*/ 1103809 w 7467600"/>
              <a:gd name="connsiteY76" fmla="*/ 5433720 h 6858000"/>
              <a:gd name="connsiteX77" fmla="*/ 1123454 w 7467600"/>
              <a:gd name="connsiteY77" fmla="*/ 5435727 h 6858000"/>
              <a:gd name="connsiteX78" fmla="*/ 1737017 w 7467600"/>
              <a:gd name="connsiteY78" fmla="*/ 5452183 h 6858000"/>
              <a:gd name="connsiteX79" fmla="*/ 1824397 w 7467600"/>
              <a:gd name="connsiteY79" fmla="*/ 5447757 h 6858000"/>
              <a:gd name="connsiteX80" fmla="*/ 2070059 w 7467600"/>
              <a:gd name="connsiteY80" fmla="*/ 5441660 h 6858000"/>
              <a:gd name="connsiteX81" fmla="*/ 1456157 w 7467600"/>
              <a:gd name="connsiteY81" fmla="*/ 5371404 h 6858000"/>
              <a:gd name="connsiteX82" fmla="*/ 4988186 w 7467600"/>
              <a:gd name="connsiteY82" fmla="*/ 5216467 h 6858000"/>
              <a:gd name="connsiteX83" fmla="*/ 4777334 w 7467600"/>
              <a:gd name="connsiteY83" fmla="*/ 5406072 h 6858000"/>
              <a:gd name="connsiteX84" fmla="*/ 4718341 w 7467600"/>
              <a:gd name="connsiteY84" fmla="*/ 5468043 h 6858000"/>
              <a:gd name="connsiteX85" fmla="*/ 4604655 w 7467600"/>
              <a:gd name="connsiteY85" fmla="*/ 5583434 h 6858000"/>
              <a:gd name="connsiteX86" fmla="*/ 4565074 w 7467600"/>
              <a:gd name="connsiteY86" fmla="*/ 5618550 h 6858000"/>
              <a:gd name="connsiteX87" fmla="*/ 4988186 w 7467600"/>
              <a:gd name="connsiteY87" fmla="*/ 5216467 h 6858000"/>
              <a:gd name="connsiteX88" fmla="*/ 4978032 w 7467600"/>
              <a:gd name="connsiteY88" fmla="*/ 5183809 h 6858000"/>
              <a:gd name="connsiteX89" fmla="*/ 4463413 w 7467600"/>
              <a:gd name="connsiteY89" fmla="*/ 5615162 h 6858000"/>
              <a:gd name="connsiteX90" fmla="*/ 4358134 w 7467600"/>
              <a:gd name="connsiteY90" fmla="*/ 5742791 h 6858000"/>
              <a:gd name="connsiteX91" fmla="*/ 4376219 w 7467600"/>
              <a:gd name="connsiteY91" fmla="*/ 5729027 h 6858000"/>
              <a:gd name="connsiteX92" fmla="*/ 4582340 w 7467600"/>
              <a:gd name="connsiteY92" fmla="*/ 5561037 h 6858000"/>
              <a:gd name="connsiteX93" fmla="*/ 4694684 w 7467600"/>
              <a:gd name="connsiteY93" fmla="*/ 5447098 h 6858000"/>
              <a:gd name="connsiteX94" fmla="*/ 4754123 w 7467600"/>
              <a:gd name="connsiteY94" fmla="*/ 5384643 h 6858000"/>
              <a:gd name="connsiteX95" fmla="*/ 4978032 w 7467600"/>
              <a:gd name="connsiteY95" fmla="*/ 5183809 h 6858000"/>
              <a:gd name="connsiteX96" fmla="*/ 1903353 w 7467600"/>
              <a:gd name="connsiteY96" fmla="*/ 5044827 h 6858000"/>
              <a:gd name="connsiteX97" fmla="*/ 1936931 w 7467600"/>
              <a:gd name="connsiteY97" fmla="*/ 5093954 h 6858000"/>
              <a:gd name="connsiteX98" fmla="*/ 2195868 w 7467600"/>
              <a:gd name="connsiteY98" fmla="*/ 5396574 h 6858000"/>
              <a:gd name="connsiteX99" fmla="*/ 2088852 w 7467600"/>
              <a:gd name="connsiteY99" fmla="*/ 5166123 h 6858000"/>
              <a:gd name="connsiteX100" fmla="*/ 1958241 w 7467600"/>
              <a:gd name="connsiteY100" fmla="*/ 5067955 h 6858000"/>
              <a:gd name="connsiteX101" fmla="*/ 1903353 w 7467600"/>
              <a:gd name="connsiteY101" fmla="*/ 5044827 h 6858000"/>
              <a:gd name="connsiteX102" fmla="*/ 1979378 w 7467600"/>
              <a:gd name="connsiteY102" fmla="*/ 4769504 h 6858000"/>
              <a:gd name="connsiteX103" fmla="*/ 2882120 w 7467600"/>
              <a:gd name="connsiteY103" fmla="*/ 5064547 h 6858000"/>
              <a:gd name="connsiteX104" fmla="*/ 2793103 w 7467600"/>
              <a:gd name="connsiteY104" fmla="*/ 5039699 h 6858000"/>
              <a:gd name="connsiteX105" fmla="*/ 2770041 w 7467600"/>
              <a:gd name="connsiteY105" fmla="*/ 5033634 h 6858000"/>
              <a:gd name="connsiteX106" fmla="*/ 1979378 w 7467600"/>
              <a:gd name="connsiteY106" fmla="*/ 4769504 h 6858000"/>
              <a:gd name="connsiteX107" fmla="*/ 1927410 w 7467600"/>
              <a:gd name="connsiteY107" fmla="*/ 4716164 h 6858000"/>
              <a:gd name="connsiteX108" fmla="*/ 1959587 w 7467600"/>
              <a:gd name="connsiteY108" fmla="*/ 4728849 h 6858000"/>
              <a:gd name="connsiteX109" fmla="*/ 2777707 w 7467600"/>
              <a:gd name="connsiteY109" fmla="*/ 5003991 h 6858000"/>
              <a:gd name="connsiteX110" fmla="*/ 2800768 w 7467600"/>
              <a:gd name="connsiteY110" fmla="*/ 5010056 h 6858000"/>
              <a:gd name="connsiteX111" fmla="*/ 2879408 w 7467600"/>
              <a:gd name="connsiteY111" fmla="*/ 5031590 h 6858000"/>
              <a:gd name="connsiteX112" fmla="*/ 2862295 w 7467600"/>
              <a:gd name="connsiteY112" fmla="*/ 5022958 h 6858000"/>
              <a:gd name="connsiteX113" fmla="*/ 2813343 w 7467600"/>
              <a:gd name="connsiteY113" fmla="*/ 4998369 h 6858000"/>
              <a:gd name="connsiteX114" fmla="*/ 2646245 w 7467600"/>
              <a:gd name="connsiteY114" fmla="*/ 4930999 h 6858000"/>
              <a:gd name="connsiteX115" fmla="*/ 1999243 w 7467600"/>
              <a:gd name="connsiteY115" fmla="*/ 4730524 h 6858000"/>
              <a:gd name="connsiteX116" fmla="*/ 1979527 w 7467600"/>
              <a:gd name="connsiteY116" fmla="*/ 4726651 h 6858000"/>
              <a:gd name="connsiteX117" fmla="*/ 1927410 w 7467600"/>
              <a:gd name="connsiteY117" fmla="*/ 4716164 h 6858000"/>
              <a:gd name="connsiteX118" fmla="*/ 1997014 w 7467600"/>
              <a:gd name="connsiteY118" fmla="*/ 4698007 h 6858000"/>
              <a:gd name="connsiteX119" fmla="*/ 2005458 w 7467600"/>
              <a:gd name="connsiteY119" fmla="*/ 4699540 h 6858000"/>
              <a:gd name="connsiteX120" fmla="*/ 2657186 w 7467600"/>
              <a:gd name="connsiteY120" fmla="*/ 4901687 h 6858000"/>
              <a:gd name="connsiteX121" fmla="*/ 2826662 w 7467600"/>
              <a:gd name="connsiteY121" fmla="*/ 4970362 h 6858000"/>
              <a:gd name="connsiteX122" fmla="*/ 2876100 w 7467600"/>
              <a:gd name="connsiteY122" fmla="*/ 4995397 h 6858000"/>
              <a:gd name="connsiteX123" fmla="*/ 3042600 w 7467600"/>
              <a:gd name="connsiteY123" fmla="*/ 5059532 h 6858000"/>
              <a:gd name="connsiteX124" fmla="*/ 1997014 w 7467600"/>
              <a:gd name="connsiteY124" fmla="*/ 4698007 h 6858000"/>
              <a:gd name="connsiteX125" fmla="*/ 2305292 w 7467600"/>
              <a:gd name="connsiteY125" fmla="*/ 4219492 h 6858000"/>
              <a:gd name="connsiteX126" fmla="*/ 3360922 w 7467600"/>
              <a:gd name="connsiteY126" fmla="*/ 4529373 h 6858000"/>
              <a:gd name="connsiteX127" fmla="*/ 3492420 w 7467600"/>
              <a:gd name="connsiteY127" fmla="*/ 4510145 h 6858000"/>
              <a:gd name="connsiteX128" fmla="*/ 3364086 w 7467600"/>
              <a:gd name="connsiteY128" fmla="*/ 4480340 h 6858000"/>
              <a:gd name="connsiteX129" fmla="*/ 3225818 w 7467600"/>
              <a:gd name="connsiteY129" fmla="*/ 4411822 h 6858000"/>
              <a:gd name="connsiteX130" fmla="*/ 3129696 w 7467600"/>
              <a:gd name="connsiteY130" fmla="*/ 4360704 h 6858000"/>
              <a:gd name="connsiteX131" fmla="*/ 2814545 w 7467600"/>
              <a:gd name="connsiteY131" fmla="*/ 4282955 h 6858000"/>
              <a:gd name="connsiteX132" fmla="*/ 2305292 w 7467600"/>
              <a:gd name="connsiteY132" fmla="*/ 4219492 h 6858000"/>
              <a:gd name="connsiteX133" fmla="*/ 2626982 w 7467600"/>
              <a:gd name="connsiteY133" fmla="*/ 4206450 h 6858000"/>
              <a:gd name="connsiteX134" fmla="*/ 2490617 w 7467600"/>
              <a:gd name="connsiteY134" fmla="*/ 4206951 h 6858000"/>
              <a:gd name="connsiteX135" fmla="*/ 2819869 w 7467600"/>
              <a:gd name="connsiteY135" fmla="*/ 4252936 h 6858000"/>
              <a:gd name="connsiteX136" fmla="*/ 3143018 w 7467600"/>
              <a:gd name="connsiteY136" fmla="*/ 4332698 h 6858000"/>
              <a:gd name="connsiteX137" fmla="*/ 3241520 w 7467600"/>
              <a:gd name="connsiteY137" fmla="*/ 4385112 h 6858000"/>
              <a:gd name="connsiteX138" fmla="*/ 3374575 w 7467600"/>
              <a:gd name="connsiteY138" fmla="*/ 4451517 h 6858000"/>
              <a:gd name="connsiteX139" fmla="*/ 3505221 w 7467600"/>
              <a:gd name="connsiteY139" fmla="*/ 4480757 h 6858000"/>
              <a:gd name="connsiteX140" fmla="*/ 2626982 w 7467600"/>
              <a:gd name="connsiteY140" fmla="*/ 4206450 h 6858000"/>
              <a:gd name="connsiteX141" fmla="*/ 1310106 w 7467600"/>
              <a:gd name="connsiteY141" fmla="*/ 3943217 h 6858000"/>
              <a:gd name="connsiteX142" fmla="*/ 854994 w 7467600"/>
              <a:gd name="connsiteY142" fmla="*/ 4399136 h 6858000"/>
              <a:gd name="connsiteX143" fmla="*/ 742462 w 7467600"/>
              <a:gd name="connsiteY143" fmla="*/ 4594648 h 6858000"/>
              <a:gd name="connsiteX144" fmla="*/ 820602 w 7467600"/>
              <a:gd name="connsiteY144" fmla="*/ 4485915 h 6858000"/>
              <a:gd name="connsiteX145" fmla="*/ 878295 w 7467600"/>
              <a:gd name="connsiteY145" fmla="*/ 4403594 h 6858000"/>
              <a:gd name="connsiteX146" fmla="*/ 1240607 w 7467600"/>
              <a:gd name="connsiteY146" fmla="*/ 4010401 h 6858000"/>
              <a:gd name="connsiteX147" fmla="*/ 1310106 w 7467600"/>
              <a:gd name="connsiteY147" fmla="*/ 3943217 h 6858000"/>
              <a:gd name="connsiteX148" fmla="*/ 1423113 w 7467600"/>
              <a:gd name="connsiteY148" fmla="*/ 3874565 h 6858000"/>
              <a:gd name="connsiteX149" fmla="*/ 1260565 w 7467600"/>
              <a:gd name="connsiteY149" fmla="*/ 4031982 h 6858000"/>
              <a:gd name="connsiteX150" fmla="*/ 901900 w 7467600"/>
              <a:gd name="connsiteY150" fmla="*/ 4421236 h 6858000"/>
              <a:gd name="connsiteX151" fmla="*/ 845044 w 7467600"/>
              <a:gd name="connsiteY151" fmla="*/ 4502436 h 6858000"/>
              <a:gd name="connsiteX152" fmla="*/ 685926 w 7467600"/>
              <a:gd name="connsiteY152" fmla="*/ 4703069 h 6858000"/>
              <a:gd name="connsiteX153" fmla="*/ 684248 w 7467600"/>
              <a:gd name="connsiteY153" fmla="*/ 4706721 h 6858000"/>
              <a:gd name="connsiteX154" fmla="*/ 1423113 w 7467600"/>
              <a:gd name="connsiteY154" fmla="*/ 3874565 h 6858000"/>
              <a:gd name="connsiteX155" fmla="*/ 3316479 w 7467600"/>
              <a:gd name="connsiteY155" fmla="*/ 3872136 h 6858000"/>
              <a:gd name="connsiteX156" fmla="*/ 3546806 w 7467600"/>
              <a:gd name="connsiteY156" fmla="*/ 4356139 h 6858000"/>
              <a:gd name="connsiteX157" fmla="*/ 3364433 w 7467600"/>
              <a:gd name="connsiteY157" fmla="*/ 3953121 h 6858000"/>
              <a:gd name="connsiteX158" fmla="*/ 3316479 w 7467600"/>
              <a:gd name="connsiteY158" fmla="*/ 3872136 h 6858000"/>
              <a:gd name="connsiteX159" fmla="*/ 3291335 w 7467600"/>
              <a:gd name="connsiteY159" fmla="*/ 3767420 h 6858000"/>
              <a:gd name="connsiteX160" fmla="*/ 3390805 w 7467600"/>
              <a:gd name="connsiteY160" fmla="*/ 3937163 h 6858000"/>
              <a:gd name="connsiteX161" fmla="*/ 3579062 w 7467600"/>
              <a:gd name="connsiteY161" fmla="*/ 4359040 h 6858000"/>
              <a:gd name="connsiteX162" fmla="*/ 3467355 w 7467600"/>
              <a:gd name="connsiteY162" fmla="*/ 3988130 h 6858000"/>
              <a:gd name="connsiteX163" fmla="*/ 3310753 w 7467600"/>
              <a:gd name="connsiteY163" fmla="*/ 3787140 h 6858000"/>
              <a:gd name="connsiteX164" fmla="*/ 3291335 w 7467600"/>
              <a:gd name="connsiteY164" fmla="*/ 3767420 h 6858000"/>
              <a:gd name="connsiteX165" fmla="*/ 1635889 w 7467600"/>
              <a:gd name="connsiteY165" fmla="*/ 3709494 h 6858000"/>
              <a:gd name="connsiteX166" fmla="*/ 1634800 w 7467600"/>
              <a:gd name="connsiteY166" fmla="*/ 3731111 h 6858000"/>
              <a:gd name="connsiteX167" fmla="*/ 1635889 w 7467600"/>
              <a:gd name="connsiteY167" fmla="*/ 3709494 h 6858000"/>
              <a:gd name="connsiteX168" fmla="*/ 1510397 w 7467600"/>
              <a:gd name="connsiteY168" fmla="*/ 3684705 h 6858000"/>
              <a:gd name="connsiteX169" fmla="*/ 1146550 w 7467600"/>
              <a:gd name="connsiteY169" fmla="*/ 3802012 h 6858000"/>
              <a:gd name="connsiteX170" fmla="*/ 698834 w 7467600"/>
              <a:gd name="connsiteY170" fmla="*/ 3952272 h 6858000"/>
              <a:gd name="connsiteX171" fmla="*/ 34256 w 7467600"/>
              <a:gd name="connsiteY171" fmla="*/ 4347603 h 6858000"/>
              <a:gd name="connsiteX172" fmla="*/ 527241 w 7467600"/>
              <a:gd name="connsiteY172" fmla="*/ 4065078 h 6858000"/>
              <a:gd name="connsiteX173" fmla="*/ 1510397 w 7467600"/>
              <a:gd name="connsiteY173" fmla="*/ 3684705 h 6858000"/>
              <a:gd name="connsiteX174" fmla="*/ 1313114 w 7467600"/>
              <a:gd name="connsiteY174" fmla="*/ 3655216 h 6858000"/>
              <a:gd name="connsiteX175" fmla="*/ 1109304 w 7467600"/>
              <a:gd name="connsiteY175" fmla="*/ 3669030 h 6858000"/>
              <a:gd name="connsiteX176" fmla="*/ 8129 w 7467600"/>
              <a:gd name="connsiteY176" fmla="*/ 4330519 h 6858000"/>
              <a:gd name="connsiteX177" fmla="*/ 687572 w 7467600"/>
              <a:gd name="connsiteY177" fmla="*/ 3925629 h 6858000"/>
              <a:gd name="connsiteX178" fmla="*/ 1138365 w 7467600"/>
              <a:gd name="connsiteY178" fmla="*/ 3774515 h 6858000"/>
              <a:gd name="connsiteX179" fmla="*/ 1505579 w 7467600"/>
              <a:gd name="connsiteY179" fmla="*/ 3655526 h 6858000"/>
              <a:gd name="connsiteX180" fmla="*/ 1313114 w 7467600"/>
              <a:gd name="connsiteY180" fmla="*/ 3655216 h 6858000"/>
              <a:gd name="connsiteX181" fmla="*/ 3655073 w 7467600"/>
              <a:gd name="connsiteY181" fmla="*/ 3650884 h 6858000"/>
              <a:gd name="connsiteX182" fmla="*/ 3989938 w 7467600"/>
              <a:gd name="connsiteY182" fmla="*/ 3991685 h 6858000"/>
              <a:gd name="connsiteX183" fmla="*/ 4393907 w 7467600"/>
              <a:gd name="connsiteY183" fmla="*/ 4261258 h 6858000"/>
              <a:gd name="connsiteX184" fmla="*/ 4648051 w 7467600"/>
              <a:gd name="connsiteY184" fmla="*/ 4374051 h 6858000"/>
              <a:gd name="connsiteX185" fmla="*/ 4383389 w 7467600"/>
              <a:gd name="connsiteY185" fmla="*/ 4184369 h 6858000"/>
              <a:gd name="connsiteX186" fmla="*/ 4165508 w 7467600"/>
              <a:gd name="connsiteY186" fmla="*/ 4035196 h 6858000"/>
              <a:gd name="connsiteX187" fmla="*/ 4068162 w 7467600"/>
              <a:gd name="connsiteY187" fmla="*/ 3953394 h 6858000"/>
              <a:gd name="connsiteX188" fmla="*/ 3981416 w 7467600"/>
              <a:gd name="connsiteY188" fmla="*/ 3880482 h 6858000"/>
              <a:gd name="connsiteX189" fmla="*/ 3800147 w 7467600"/>
              <a:gd name="connsiteY189" fmla="*/ 3749872 h 6858000"/>
              <a:gd name="connsiteX190" fmla="*/ 3655073 w 7467600"/>
              <a:gd name="connsiteY190" fmla="*/ 3650884 h 6858000"/>
              <a:gd name="connsiteX191" fmla="*/ 3670252 w 7467600"/>
              <a:gd name="connsiteY191" fmla="*/ 3622798 h 6858000"/>
              <a:gd name="connsiteX192" fmla="*/ 3817258 w 7467600"/>
              <a:gd name="connsiteY192" fmla="*/ 3723577 h 6858000"/>
              <a:gd name="connsiteX193" fmla="*/ 4000461 w 7467600"/>
              <a:gd name="connsiteY193" fmla="*/ 3855966 h 6858000"/>
              <a:gd name="connsiteX194" fmla="*/ 4088180 w 7467600"/>
              <a:gd name="connsiteY194" fmla="*/ 3929774 h 6858000"/>
              <a:gd name="connsiteX195" fmla="*/ 4184555 w 7467600"/>
              <a:gd name="connsiteY195" fmla="*/ 4010683 h 6858000"/>
              <a:gd name="connsiteX196" fmla="*/ 4399563 w 7467600"/>
              <a:gd name="connsiteY196" fmla="*/ 4158106 h 6858000"/>
              <a:gd name="connsiteX197" fmla="*/ 4684469 w 7467600"/>
              <a:gd name="connsiteY197" fmla="*/ 4364680 h 6858000"/>
              <a:gd name="connsiteX198" fmla="*/ 4690271 w 7467600"/>
              <a:gd name="connsiteY198" fmla="*/ 4370034 h 6858000"/>
              <a:gd name="connsiteX199" fmla="*/ 4136093 w 7467600"/>
              <a:gd name="connsiteY199" fmla="*/ 3858466 h 6858000"/>
              <a:gd name="connsiteX200" fmla="*/ 3670252 w 7467600"/>
              <a:gd name="connsiteY200" fmla="*/ 3622798 h 6858000"/>
              <a:gd name="connsiteX201" fmla="*/ 4440129 w 7467600"/>
              <a:gd name="connsiteY201" fmla="*/ 3448571 h 6858000"/>
              <a:gd name="connsiteX202" fmla="*/ 4856525 w 7467600"/>
              <a:gd name="connsiteY202" fmla="*/ 3915351 h 6858000"/>
              <a:gd name="connsiteX203" fmla="*/ 5059055 w 7467600"/>
              <a:gd name="connsiteY203" fmla="*/ 4108918 h 6858000"/>
              <a:gd name="connsiteX204" fmla="*/ 5290070 w 7467600"/>
              <a:gd name="connsiteY204" fmla="*/ 4263619 h 6858000"/>
              <a:gd name="connsiteX205" fmla="*/ 4834991 w 7467600"/>
              <a:gd name="connsiteY205" fmla="*/ 3830985 h 6858000"/>
              <a:gd name="connsiteX206" fmla="*/ 4440129 w 7467600"/>
              <a:gd name="connsiteY206" fmla="*/ 3448571 h 6858000"/>
              <a:gd name="connsiteX207" fmla="*/ 4441737 w 7467600"/>
              <a:gd name="connsiteY207" fmla="*/ 3399734 h 6858000"/>
              <a:gd name="connsiteX208" fmla="*/ 4431236 w 7467600"/>
              <a:gd name="connsiteY208" fmla="*/ 3400954 h 6858000"/>
              <a:gd name="connsiteX209" fmla="*/ 4557150 w 7467600"/>
              <a:gd name="connsiteY209" fmla="*/ 3510023 h 6858000"/>
              <a:gd name="connsiteX210" fmla="*/ 4856936 w 7467600"/>
              <a:gd name="connsiteY210" fmla="*/ 3809146 h 6858000"/>
              <a:gd name="connsiteX211" fmla="*/ 5111996 w 7467600"/>
              <a:gd name="connsiteY211" fmla="*/ 4065759 h 6858000"/>
              <a:gd name="connsiteX212" fmla="*/ 5388878 w 7467600"/>
              <a:gd name="connsiteY212" fmla="*/ 4300185 h 6858000"/>
              <a:gd name="connsiteX213" fmla="*/ 5425556 w 7467600"/>
              <a:gd name="connsiteY213" fmla="*/ 4308967 h 6858000"/>
              <a:gd name="connsiteX214" fmla="*/ 4943646 w 7467600"/>
              <a:gd name="connsiteY214" fmla="*/ 3822916 h 6858000"/>
              <a:gd name="connsiteX215" fmla="*/ 4594837 w 7467600"/>
              <a:gd name="connsiteY215" fmla="*/ 3532274 h 6858000"/>
              <a:gd name="connsiteX216" fmla="*/ 4441737 w 7467600"/>
              <a:gd name="connsiteY216" fmla="*/ 3399734 h 6858000"/>
              <a:gd name="connsiteX217" fmla="*/ 5425834 w 7467600"/>
              <a:gd name="connsiteY217" fmla="*/ 3162785 h 6858000"/>
              <a:gd name="connsiteX218" fmla="*/ 5401644 w 7467600"/>
              <a:gd name="connsiteY218" fmla="*/ 3617847 h 6858000"/>
              <a:gd name="connsiteX219" fmla="*/ 5467256 w 7467600"/>
              <a:gd name="connsiteY219" fmla="*/ 4175494 h 6858000"/>
              <a:gd name="connsiteX220" fmla="*/ 5448069 w 7467600"/>
              <a:gd name="connsiteY220" fmla="*/ 3567554 h 6858000"/>
              <a:gd name="connsiteX221" fmla="*/ 5425834 w 7467600"/>
              <a:gd name="connsiteY221" fmla="*/ 3162785 h 6858000"/>
              <a:gd name="connsiteX222" fmla="*/ 1318687 w 7467600"/>
              <a:gd name="connsiteY222" fmla="*/ 3113840 h 6858000"/>
              <a:gd name="connsiteX223" fmla="*/ 1066793 w 7467600"/>
              <a:gd name="connsiteY223" fmla="*/ 3212171 h 6858000"/>
              <a:gd name="connsiteX224" fmla="*/ 993319 w 7467600"/>
              <a:gd name="connsiteY224" fmla="*/ 3247648 h 6858000"/>
              <a:gd name="connsiteX225" fmla="*/ 853081 w 7467600"/>
              <a:gd name="connsiteY225" fmla="*/ 3312410 h 6858000"/>
              <a:gd name="connsiteX226" fmla="*/ 805957 w 7467600"/>
              <a:gd name="connsiteY226" fmla="*/ 3330443 h 6858000"/>
              <a:gd name="connsiteX227" fmla="*/ 1318687 w 7467600"/>
              <a:gd name="connsiteY227" fmla="*/ 3113840 h 6858000"/>
              <a:gd name="connsiteX228" fmla="*/ 5453702 w 7467600"/>
              <a:gd name="connsiteY228" fmla="*/ 3090882 h 6858000"/>
              <a:gd name="connsiteX229" fmla="*/ 5480135 w 7467600"/>
              <a:gd name="connsiteY229" fmla="*/ 3565802 h 6858000"/>
              <a:gd name="connsiteX230" fmla="*/ 5499023 w 7467600"/>
              <a:gd name="connsiteY230" fmla="*/ 4166310 h 6858000"/>
              <a:gd name="connsiteX231" fmla="*/ 5547022 w 7467600"/>
              <a:gd name="connsiteY231" fmla="*/ 3607838 h 6858000"/>
              <a:gd name="connsiteX232" fmla="*/ 5515964 w 7467600"/>
              <a:gd name="connsiteY232" fmla="*/ 3378541 h 6858000"/>
              <a:gd name="connsiteX233" fmla="*/ 5453702 w 7467600"/>
              <a:gd name="connsiteY233" fmla="*/ 3090882 h 6858000"/>
              <a:gd name="connsiteX234" fmla="*/ 1238695 w 7467600"/>
              <a:gd name="connsiteY234" fmla="*/ 3076820 h 6858000"/>
              <a:gd name="connsiteX235" fmla="*/ 716371 w 7467600"/>
              <a:gd name="connsiteY235" fmla="*/ 3293249 h 6858000"/>
              <a:gd name="connsiteX236" fmla="*/ 579522 w 7467600"/>
              <a:gd name="connsiteY236" fmla="*/ 3371759 h 6858000"/>
              <a:gd name="connsiteX237" fmla="*/ 600288 w 7467600"/>
              <a:gd name="connsiteY237" fmla="*/ 3365555 h 6858000"/>
              <a:gd name="connsiteX238" fmla="*/ 840692 w 7467600"/>
              <a:gd name="connsiteY238" fmla="*/ 3284921 h 6858000"/>
              <a:gd name="connsiteX239" fmla="*/ 979248 w 7467600"/>
              <a:gd name="connsiteY239" fmla="*/ 3221003 h 6858000"/>
              <a:gd name="connsiteX240" fmla="*/ 1053282 w 7467600"/>
              <a:gd name="connsiteY240" fmla="*/ 3185247 h 6858000"/>
              <a:gd name="connsiteX241" fmla="*/ 1320603 w 7467600"/>
              <a:gd name="connsiteY241" fmla="*/ 3081281 h 6858000"/>
              <a:gd name="connsiteX242" fmla="*/ 1238695 w 7467600"/>
              <a:gd name="connsiteY242" fmla="*/ 3076820 h 6858000"/>
              <a:gd name="connsiteX243" fmla="*/ 5425627 w 7467600"/>
              <a:gd name="connsiteY243" fmla="*/ 2954192 h 6858000"/>
              <a:gd name="connsiteX244" fmla="*/ 5470770 w 7467600"/>
              <a:gd name="connsiteY244" fmla="*/ 3005435 h 6858000"/>
              <a:gd name="connsiteX245" fmla="*/ 5519779 w 7467600"/>
              <a:gd name="connsiteY245" fmla="*/ 4359223 h 6858000"/>
              <a:gd name="connsiteX246" fmla="*/ 5520293 w 7467600"/>
              <a:gd name="connsiteY246" fmla="*/ 4360602 h 6858000"/>
              <a:gd name="connsiteX247" fmla="*/ 5767221 w 7467600"/>
              <a:gd name="connsiteY247" fmla="*/ 4665564 h 6858000"/>
              <a:gd name="connsiteX248" fmla="*/ 6937169 w 7467600"/>
              <a:gd name="connsiteY248" fmla="*/ 4815941 h 6858000"/>
              <a:gd name="connsiteX249" fmla="*/ 6953922 w 7467600"/>
              <a:gd name="connsiteY249" fmla="*/ 4890068 h 6858000"/>
              <a:gd name="connsiteX250" fmla="*/ 6071359 w 7467600"/>
              <a:gd name="connsiteY250" fmla="*/ 4770770 h 6858000"/>
              <a:gd name="connsiteX251" fmla="*/ 6038839 w 7467600"/>
              <a:gd name="connsiteY251" fmla="*/ 4764474 h 6858000"/>
              <a:gd name="connsiteX252" fmla="*/ 6038706 w 7467600"/>
              <a:gd name="connsiteY252" fmla="*/ 4763847 h 6858000"/>
              <a:gd name="connsiteX253" fmla="*/ 6037784 w 7467600"/>
              <a:gd name="connsiteY253" fmla="*/ 4764270 h 6858000"/>
              <a:gd name="connsiteX254" fmla="*/ 6038839 w 7467600"/>
              <a:gd name="connsiteY254" fmla="*/ 4764474 h 6858000"/>
              <a:gd name="connsiteX255" fmla="*/ 6040338 w 7467600"/>
              <a:gd name="connsiteY255" fmla="*/ 4771418 h 6858000"/>
              <a:gd name="connsiteX256" fmla="*/ 6024488 w 7467600"/>
              <a:gd name="connsiteY256" fmla="*/ 4809903 h 6858000"/>
              <a:gd name="connsiteX257" fmla="*/ 5599771 w 7467600"/>
              <a:gd name="connsiteY257" fmla="*/ 5509652 h 6858000"/>
              <a:gd name="connsiteX258" fmla="*/ 5548843 w 7467600"/>
              <a:gd name="connsiteY258" fmla="*/ 5563845 h 6858000"/>
              <a:gd name="connsiteX259" fmla="*/ 5940952 w 7467600"/>
              <a:gd name="connsiteY259" fmla="*/ 6250028 h 6858000"/>
              <a:gd name="connsiteX260" fmla="*/ 6043441 w 7467600"/>
              <a:gd name="connsiteY260" fmla="*/ 6665847 h 6858000"/>
              <a:gd name="connsiteX261" fmla="*/ 6093432 w 7467600"/>
              <a:gd name="connsiteY261" fmla="*/ 6858000 h 6858000"/>
              <a:gd name="connsiteX262" fmla="*/ 6034344 w 7467600"/>
              <a:gd name="connsiteY262" fmla="*/ 6858000 h 6858000"/>
              <a:gd name="connsiteX263" fmla="*/ 6026679 w 7467600"/>
              <a:gd name="connsiteY263" fmla="*/ 6836959 h 6858000"/>
              <a:gd name="connsiteX264" fmla="*/ 5800441 w 7467600"/>
              <a:gd name="connsiteY264" fmla="*/ 6335286 h 6858000"/>
              <a:gd name="connsiteX265" fmla="*/ 5526562 w 7467600"/>
              <a:gd name="connsiteY265" fmla="*/ 5705388 h 6858000"/>
              <a:gd name="connsiteX266" fmla="*/ 5519640 w 7467600"/>
              <a:gd name="connsiteY266" fmla="*/ 5683774 h 6858000"/>
              <a:gd name="connsiteX267" fmla="*/ 5844559 w 7467600"/>
              <a:gd name="connsiteY267" fmla="*/ 6553349 h 6858000"/>
              <a:gd name="connsiteX268" fmla="*/ 5975994 w 7467600"/>
              <a:gd name="connsiteY268" fmla="*/ 6858000 h 6858000"/>
              <a:gd name="connsiteX269" fmla="*/ 5898547 w 7467600"/>
              <a:gd name="connsiteY269" fmla="*/ 6858000 h 6858000"/>
              <a:gd name="connsiteX270" fmla="*/ 5682041 w 7467600"/>
              <a:gd name="connsiteY270" fmla="*/ 6355860 h 6858000"/>
              <a:gd name="connsiteX271" fmla="*/ 5461758 w 7467600"/>
              <a:gd name="connsiteY271" fmla="*/ 5820220 h 6858000"/>
              <a:gd name="connsiteX272" fmla="*/ 5237282 w 7467600"/>
              <a:gd name="connsiteY272" fmla="*/ 6579086 h 6858000"/>
              <a:gd name="connsiteX273" fmla="*/ 5115009 w 7467600"/>
              <a:gd name="connsiteY273" fmla="*/ 6858000 h 6858000"/>
              <a:gd name="connsiteX274" fmla="*/ 5028074 w 7467600"/>
              <a:gd name="connsiteY274" fmla="*/ 6858000 h 6858000"/>
              <a:gd name="connsiteX275" fmla="*/ 5079508 w 7467600"/>
              <a:gd name="connsiteY275" fmla="*/ 6749074 h 6858000"/>
              <a:gd name="connsiteX276" fmla="*/ 5371846 w 7467600"/>
              <a:gd name="connsiteY276" fmla="*/ 5924413 h 6858000"/>
              <a:gd name="connsiteX277" fmla="*/ 5270512 w 7467600"/>
              <a:gd name="connsiteY277" fmla="*/ 6138975 h 6858000"/>
              <a:gd name="connsiteX278" fmla="*/ 5062409 w 7467600"/>
              <a:gd name="connsiteY278" fmla="*/ 6653544 h 6858000"/>
              <a:gd name="connsiteX279" fmla="*/ 5036628 w 7467600"/>
              <a:gd name="connsiteY279" fmla="*/ 6754247 h 6858000"/>
              <a:gd name="connsiteX280" fmla="*/ 5009112 w 7467600"/>
              <a:gd name="connsiteY280" fmla="*/ 6858000 h 6858000"/>
              <a:gd name="connsiteX281" fmla="*/ 4976679 w 7467600"/>
              <a:gd name="connsiteY281" fmla="*/ 6858000 h 6858000"/>
              <a:gd name="connsiteX282" fmla="*/ 5006537 w 7467600"/>
              <a:gd name="connsiteY282" fmla="*/ 6747068 h 6858000"/>
              <a:gd name="connsiteX283" fmla="*/ 5032723 w 7467600"/>
              <a:gd name="connsiteY283" fmla="*/ 6644957 h 6858000"/>
              <a:gd name="connsiteX284" fmla="*/ 5242949 w 7467600"/>
              <a:gd name="connsiteY284" fmla="*/ 6125175 h 6858000"/>
              <a:gd name="connsiteX285" fmla="*/ 5286321 w 7467600"/>
              <a:gd name="connsiteY285" fmla="*/ 6033555 h 6858000"/>
              <a:gd name="connsiteX286" fmla="*/ 5008210 w 7467600"/>
              <a:gd name="connsiteY286" fmla="*/ 6649194 h 6858000"/>
              <a:gd name="connsiteX287" fmla="*/ 4986321 w 7467600"/>
              <a:gd name="connsiteY287" fmla="*/ 6765687 h 6858000"/>
              <a:gd name="connsiteX288" fmla="*/ 4973474 w 7467600"/>
              <a:gd name="connsiteY288" fmla="*/ 6858000 h 6858000"/>
              <a:gd name="connsiteX289" fmla="*/ 4907178 w 7467600"/>
              <a:gd name="connsiteY289" fmla="*/ 6858000 h 6858000"/>
              <a:gd name="connsiteX290" fmla="*/ 4910810 w 7467600"/>
              <a:gd name="connsiteY290" fmla="*/ 6829660 h 6858000"/>
              <a:gd name="connsiteX291" fmla="*/ 4987461 w 7467600"/>
              <a:gd name="connsiteY291" fmla="*/ 6432994 h 6858000"/>
              <a:gd name="connsiteX292" fmla="*/ 5179262 w 7467600"/>
              <a:gd name="connsiteY292" fmla="*/ 6035044 h 6858000"/>
              <a:gd name="connsiteX293" fmla="*/ 4689678 w 7467600"/>
              <a:gd name="connsiteY293" fmla="*/ 6440241 h 6858000"/>
              <a:gd name="connsiteX294" fmla="*/ 4477543 w 7467600"/>
              <a:gd name="connsiteY294" fmla="*/ 6674836 h 6858000"/>
              <a:gd name="connsiteX295" fmla="*/ 4329957 w 7467600"/>
              <a:gd name="connsiteY295" fmla="*/ 6858000 h 6858000"/>
              <a:gd name="connsiteX296" fmla="*/ 4218595 w 7467600"/>
              <a:gd name="connsiteY296" fmla="*/ 6858000 h 6858000"/>
              <a:gd name="connsiteX297" fmla="*/ 4368888 w 7467600"/>
              <a:gd name="connsiteY297" fmla="*/ 6668412 h 6858000"/>
              <a:gd name="connsiteX298" fmla="*/ 4563091 w 7467600"/>
              <a:gd name="connsiteY298" fmla="*/ 6442508 h 6858000"/>
              <a:gd name="connsiteX299" fmla="*/ 5387324 w 7467600"/>
              <a:gd name="connsiteY299" fmla="*/ 5705830 h 6858000"/>
              <a:gd name="connsiteX300" fmla="*/ 5073620 w 7467600"/>
              <a:gd name="connsiteY300" fmla="*/ 5955437 h 6858000"/>
              <a:gd name="connsiteX301" fmla="*/ 4689789 w 7467600"/>
              <a:gd name="connsiteY301" fmla="*/ 6268382 h 6858000"/>
              <a:gd name="connsiteX302" fmla="*/ 4418722 w 7467600"/>
              <a:gd name="connsiteY302" fmla="*/ 6570886 h 6858000"/>
              <a:gd name="connsiteX303" fmla="*/ 4214944 w 7467600"/>
              <a:gd name="connsiteY303" fmla="*/ 6858000 h 6858000"/>
              <a:gd name="connsiteX304" fmla="*/ 4177898 w 7467600"/>
              <a:gd name="connsiteY304" fmla="*/ 6858000 h 6858000"/>
              <a:gd name="connsiteX305" fmla="*/ 4391597 w 7467600"/>
              <a:gd name="connsiteY305" fmla="*/ 6556370 h 6858000"/>
              <a:gd name="connsiteX306" fmla="*/ 4668889 w 7467600"/>
              <a:gd name="connsiteY306" fmla="*/ 6246399 h 6858000"/>
              <a:gd name="connsiteX307" fmla="*/ 5055427 w 7467600"/>
              <a:gd name="connsiteY307" fmla="*/ 5931476 h 6858000"/>
              <a:gd name="connsiteX308" fmla="*/ 5371814 w 7467600"/>
              <a:gd name="connsiteY308" fmla="*/ 5678975 h 6858000"/>
              <a:gd name="connsiteX309" fmla="*/ 4987918 w 7467600"/>
              <a:gd name="connsiteY309" fmla="*/ 5838701 h 6858000"/>
              <a:gd name="connsiteX310" fmla="*/ 4317146 w 7467600"/>
              <a:gd name="connsiteY310" fmla="*/ 6587716 h 6858000"/>
              <a:gd name="connsiteX311" fmla="*/ 4171627 w 7467600"/>
              <a:gd name="connsiteY311" fmla="*/ 6858000 h 6858000"/>
              <a:gd name="connsiteX312" fmla="*/ 4081585 w 7467600"/>
              <a:gd name="connsiteY312" fmla="*/ 6858000 h 6858000"/>
              <a:gd name="connsiteX313" fmla="*/ 4238603 w 7467600"/>
              <a:gd name="connsiteY313" fmla="*/ 6559341 h 6858000"/>
              <a:gd name="connsiteX314" fmla="*/ 4778333 w 7467600"/>
              <a:gd name="connsiteY314" fmla="*/ 5873626 h 6858000"/>
              <a:gd name="connsiteX315" fmla="*/ 5414185 w 7467600"/>
              <a:gd name="connsiteY315" fmla="*/ 5573882 h 6858000"/>
              <a:gd name="connsiteX316" fmla="*/ 5959648 w 7467600"/>
              <a:gd name="connsiteY316" fmla="*/ 4760797 h 6858000"/>
              <a:gd name="connsiteX317" fmla="*/ 5355019 w 7467600"/>
              <a:gd name="connsiteY317" fmla="*/ 4734672 h 6858000"/>
              <a:gd name="connsiteX318" fmla="*/ 5083565 w 7467600"/>
              <a:gd name="connsiteY318" fmla="*/ 5179121 h 6858000"/>
              <a:gd name="connsiteX319" fmla="*/ 4713577 w 7467600"/>
              <a:gd name="connsiteY319" fmla="*/ 5616803 h 6858000"/>
              <a:gd name="connsiteX320" fmla="*/ 3989559 w 7467600"/>
              <a:gd name="connsiteY320" fmla="*/ 6145945 h 6858000"/>
              <a:gd name="connsiteX321" fmla="*/ 3939824 w 7467600"/>
              <a:gd name="connsiteY321" fmla="*/ 6066900 h 6858000"/>
              <a:gd name="connsiteX322" fmla="*/ 4584537 w 7467600"/>
              <a:gd name="connsiteY322" fmla="*/ 5324826 h 6858000"/>
              <a:gd name="connsiteX323" fmla="*/ 5037105 w 7467600"/>
              <a:gd name="connsiteY323" fmla="*/ 5088765 h 6858000"/>
              <a:gd name="connsiteX324" fmla="*/ 5039930 w 7467600"/>
              <a:gd name="connsiteY324" fmla="*/ 5089585 h 6858000"/>
              <a:gd name="connsiteX325" fmla="*/ 5263764 w 7467600"/>
              <a:gd name="connsiteY325" fmla="*/ 4735525 h 6858000"/>
              <a:gd name="connsiteX326" fmla="*/ 4086300 w 7467600"/>
              <a:gd name="connsiteY326" fmla="*/ 4884599 h 6858000"/>
              <a:gd name="connsiteX327" fmla="*/ 4085485 w 7467600"/>
              <a:gd name="connsiteY327" fmla="*/ 4899070 h 6858000"/>
              <a:gd name="connsiteX328" fmla="*/ 3871915 w 7467600"/>
              <a:gd name="connsiteY328" fmla="*/ 5253645 h 6858000"/>
              <a:gd name="connsiteX329" fmla="*/ 3799374 w 7467600"/>
              <a:gd name="connsiteY329" fmla="*/ 5466127 h 6858000"/>
              <a:gd name="connsiteX330" fmla="*/ 3498850 w 7467600"/>
              <a:gd name="connsiteY330" fmla="*/ 6661888 h 6858000"/>
              <a:gd name="connsiteX331" fmla="*/ 3399216 w 7467600"/>
              <a:gd name="connsiteY331" fmla="*/ 6858000 h 6858000"/>
              <a:gd name="connsiteX332" fmla="*/ 3303688 w 7467600"/>
              <a:gd name="connsiteY332" fmla="*/ 6858000 h 6858000"/>
              <a:gd name="connsiteX333" fmla="*/ 3391774 w 7467600"/>
              <a:gd name="connsiteY333" fmla="*/ 6697181 h 6858000"/>
              <a:gd name="connsiteX334" fmla="*/ 3735540 w 7467600"/>
              <a:gd name="connsiteY334" fmla="*/ 5546923 h 6858000"/>
              <a:gd name="connsiteX335" fmla="*/ 3729438 w 7467600"/>
              <a:gd name="connsiteY335" fmla="*/ 5569058 h 6858000"/>
              <a:gd name="connsiteX336" fmla="*/ 3707782 w 7467600"/>
              <a:gd name="connsiteY336" fmla="*/ 5644908 h 6858000"/>
              <a:gd name="connsiteX337" fmla="*/ 3583827 w 7467600"/>
              <a:gd name="connsiteY337" fmla="*/ 6039215 h 6858000"/>
              <a:gd name="connsiteX338" fmla="*/ 3547861 w 7467600"/>
              <a:gd name="connsiteY338" fmla="*/ 6129609 h 6858000"/>
              <a:gd name="connsiteX339" fmla="*/ 3490905 w 7467600"/>
              <a:gd name="connsiteY339" fmla="*/ 6277660 h 6858000"/>
              <a:gd name="connsiteX340" fmla="*/ 3455859 w 7467600"/>
              <a:gd name="connsiteY340" fmla="*/ 6391301 h 6858000"/>
              <a:gd name="connsiteX341" fmla="*/ 3429112 w 7467600"/>
              <a:gd name="connsiteY341" fmla="*/ 6479469 h 6858000"/>
              <a:gd name="connsiteX342" fmla="*/ 3304862 w 7467600"/>
              <a:gd name="connsiteY342" fmla="*/ 6796476 h 6858000"/>
              <a:gd name="connsiteX343" fmla="*/ 3276071 w 7467600"/>
              <a:gd name="connsiteY343" fmla="*/ 6858000 h 6858000"/>
              <a:gd name="connsiteX344" fmla="*/ 3240805 w 7467600"/>
              <a:gd name="connsiteY344" fmla="*/ 6858000 h 6858000"/>
              <a:gd name="connsiteX345" fmla="*/ 3275917 w 7467600"/>
              <a:gd name="connsiteY345" fmla="*/ 6783192 h 6858000"/>
              <a:gd name="connsiteX346" fmla="*/ 3399358 w 7467600"/>
              <a:gd name="connsiteY346" fmla="*/ 6469011 h 6858000"/>
              <a:gd name="connsiteX347" fmla="*/ 3425650 w 7467600"/>
              <a:gd name="connsiteY347" fmla="*/ 6381333 h 6858000"/>
              <a:gd name="connsiteX348" fmla="*/ 3460661 w 7467600"/>
              <a:gd name="connsiteY348" fmla="*/ 6266763 h 6858000"/>
              <a:gd name="connsiteX349" fmla="*/ 3518021 w 7467600"/>
              <a:gd name="connsiteY349" fmla="*/ 6117298 h 6858000"/>
              <a:gd name="connsiteX350" fmla="*/ 3554035 w 7467600"/>
              <a:gd name="connsiteY350" fmla="*/ 6027832 h 6858000"/>
              <a:gd name="connsiteX351" fmla="*/ 3677174 w 7467600"/>
              <a:gd name="connsiteY351" fmla="*/ 5636351 h 6858000"/>
              <a:gd name="connsiteX352" fmla="*/ 3698819 w 7467600"/>
              <a:gd name="connsiteY352" fmla="*/ 5560503 h 6858000"/>
              <a:gd name="connsiteX353" fmla="*/ 3702094 w 7467600"/>
              <a:gd name="connsiteY353" fmla="*/ 5549194 h 6858000"/>
              <a:gd name="connsiteX354" fmla="*/ 3398355 w 7467600"/>
              <a:gd name="connsiteY354" fmla="*/ 6094603 h 6858000"/>
              <a:gd name="connsiteX355" fmla="*/ 3193941 w 7467600"/>
              <a:gd name="connsiteY355" fmla="*/ 6798775 h 6858000"/>
              <a:gd name="connsiteX356" fmla="*/ 3184140 w 7467600"/>
              <a:gd name="connsiteY356" fmla="*/ 6858000 h 6858000"/>
              <a:gd name="connsiteX357" fmla="*/ 3099978 w 7467600"/>
              <a:gd name="connsiteY357" fmla="*/ 6858000 h 6858000"/>
              <a:gd name="connsiteX358" fmla="*/ 3101556 w 7467600"/>
              <a:gd name="connsiteY358" fmla="*/ 6843337 h 6858000"/>
              <a:gd name="connsiteX359" fmla="*/ 3370162 w 7467600"/>
              <a:gd name="connsiteY359" fmla="*/ 5785550 h 6858000"/>
              <a:gd name="connsiteX360" fmla="*/ 3746477 w 7467600"/>
              <a:gd name="connsiteY360" fmla="*/ 5377889 h 6858000"/>
              <a:gd name="connsiteX361" fmla="*/ 3863399 w 7467600"/>
              <a:gd name="connsiteY361" fmla="*/ 5087257 h 6858000"/>
              <a:gd name="connsiteX362" fmla="*/ 3968712 w 7467600"/>
              <a:gd name="connsiteY362" fmla="*/ 4913989 h 6858000"/>
              <a:gd name="connsiteX363" fmla="*/ 2792390 w 7467600"/>
              <a:gd name="connsiteY363" fmla="*/ 5382974 h 6858000"/>
              <a:gd name="connsiteX364" fmla="*/ 2714982 w 7467600"/>
              <a:gd name="connsiteY364" fmla="*/ 5427051 h 6858000"/>
              <a:gd name="connsiteX365" fmla="*/ 2813361 w 7467600"/>
              <a:gd name="connsiteY365" fmla="*/ 6023912 h 6858000"/>
              <a:gd name="connsiteX366" fmla="*/ 2688430 w 7467600"/>
              <a:gd name="connsiteY366" fmla="*/ 6801564 h 6858000"/>
              <a:gd name="connsiteX367" fmla="*/ 2629626 w 7467600"/>
              <a:gd name="connsiteY367" fmla="*/ 6763394 h 6858000"/>
              <a:gd name="connsiteX368" fmla="*/ 2565328 w 7467600"/>
              <a:gd name="connsiteY368" fmla="*/ 5516399 h 6858000"/>
              <a:gd name="connsiteX369" fmla="*/ 1922999 w 7467600"/>
              <a:gd name="connsiteY369" fmla="*/ 5980343 h 6858000"/>
              <a:gd name="connsiteX370" fmla="*/ 1950261 w 7467600"/>
              <a:gd name="connsiteY370" fmla="*/ 6405858 h 6858000"/>
              <a:gd name="connsiteX371" fmla="*/ 2365554 w 7467600"/>
              <a:gd name="connsiteY371" fmla="*/ 6759107 h 6858000"/>
              <a:gd name="connsiteX372" fmla="*/ 2424142 w 7467600"/>
              <a:gd name="connsiteY372" fmla="*/ 6858000 h 6858000"/>
              <a:gd name="connsiteX373" fmla="*/ 2395994 w 7467600"/>
              <a:gd name="connsiteY373" fmla="*/ 6858000 h 6858000"/>
              <a:gd name="connsiteX374" fmla="*/ 2392863 w 7467600"/>
              <a:gd name="connsiteY374" fmla="*/ 6852964 h 6858000"/>
              <a:gd name="connsiteX375" fmla="*/ 2017589 w 7467600"/>
              <a:gd name="connsiteY375" fmla="*/ 6493982 h 6858000"/>
              <a:gd name="connsiteX376" fmla="*/ 2147336 w 7467600"/>
              <a:gd name="connsiteY376" fmla="*/ 6594052 h 6858000"/>
              <a:gd name="connsiteX377" fmla="*/ 2207047 w 7467600"/>
              <a:gd name="connsiteY377" fmla="*/ 6654540 h 6858000"/>
              <a:gd name="connsiteX378" fmla="*/ 2299106 w 7467600"/>
              <a:gd name="connsiteY378" fmla="*/ 6778931 h 6858000"/>
              <a:gd name="connsiteX379" fmla="*/ 2314430 w 7467600"/>
              <a:gd name="connsiteY379" fmla="*/ 6801144 h 6858000"/>
              <a:gd name="connsiteX380" fmla="*/ 2352406 w 7467600"/>
              <a:gd name="connsiteY380" fmla="*/ 6858000 h 6858000"/>
              <a:gd name="connsiteX381" fmla="*/ 2314492 w 7467600"/>
              <a:gd name="connsiteY381" fmla="*/ 6858000 h 6858000"/>
              <a:gd name="connsiteX382" fmla="*/ 2288095 w 7467600"/>
              <a:gd name="connsiteY382" fmla="*/ 6818030 h 6858000"/>
              <a:gd name="connsiteX383" fmla="*/ 2272768 w 7467600"/>
              <a:gd name="connsiteY383" fmla="*/ 6795822 h 6858000"/>
              <a:gd name="connsiteX384" fmla="*/ 2182715 w 7467600"/>
              <a:gd name="connsiteY384" fmla="*/ 6675071 h 6858000"/>
              <a:gd name="connsiteX385" fmla="*/ 2032061 w 7467600"/>
              <a:gd name="connsiteY385" fmla="*/ 6541380 h 6858000"/>
              <a:gd name="connsiteX386" fmla="*/ 2257220 w 7467600"/>
              <a:gd name="connsiteY386" fmla="*/ 6826257 h 6858000"/>
              <a:gd name="connsiteX387" fmla="*/ 2281324 w 7467600"/>
              <a:gd name="connsiteY387" fmla="*/ 6858000 h 6858000"/>
              <a:gd name="connsiteX388" fmla="*/ 2242860 w 7467600"/>
              <a:gd name="connsiteY388" fmla="*/ 6858000 h 6858000"/>
              <a:gd name="connsiteX389" fmla="*/ 2232818 w 7467600"/>
              <a:gd name="connsiteY389" fmla="*/ 6844926 h 6858000"/>
              <a:gd name="connsiteX390" fmla="*/ 1990172 w 7467600"/>
              <a:gd name="connsiteY390" fmla="*/ 6542121 h 6858000"/>
              <a:gd name="connsiteX391" fmla="*/ 2124090 w 7467600"/>
              <a:gd name="connsiteY391" fmla="*/ 6761017 h 6858000"/>
              <a:gd name="connsiteX392" fmla="*/ 2200380 w 7467600"/>
              <a:gd name="connsiteY392" fmla="*/ 6858000 h 6858000"/>
              <a:gd name="connsiteX393" fmla="*/ 2147507 w 7467600"/>
              <a:gd name="connsiteY393" fmla="*/ 6858000 h 6858000"/>
              <a:gd name="connsiteX394" fmla="*/ 2070668 w 7467600"/>
              <a:gd name="connsiteY394" fmla="*/ 6761520 h 6858000"/>
              <a:gd name="connsiteX395" fmla="*/ 1975142 w 7467600"/>
              <a:gd name="connsiteY395" fmla="*/ 6585570 h 6858000"/>
              <a:gd name="connsiteX396" fmla="*/ 2050035 w 7467600"/>
              <a:gd name="connsiteY396" fmla="*/ 6813345 h 6858000"/>
              <a:gd name="connsiteX397" fmla="*/ 2063025 w 7467600"/>
              <a:gd name="connsiteY397" fmla="*/ 6858000 h 6858000"/>
              <a:gd name="connsiteX398" fmla="*/ 2021675 w 7467600"/>
              <a:gd name="connsiteY398" fmla="*/ 6858000 h 6858000"/>
              <a:gd name="connsiteX399" fmla="*/ 2019308 w 7467600"/>
              <a:gd name="connsiteY399" fmla="*/ 6847118 h 6858000"/>
              <a:gd name="connsiteX400" fmla="*/ 1938835 w 7467600"/>
              <a:gd name="connsiteY400" fmla="*/ 6551160 h 6858000"/>
              <a:gd name="connsiteX401" fmla="*/ 1953230 w 7467600"/>
              <a:gd name="connsiteY401" fmla="*/ 6759699 h 6858000"/>
              <a:gd name="connsiteX402" fmla="*/ 1956763 w 7467600"/>
              <a:gd name="connsiteY402" fmla="*/ 6778191 h 6858000"/>
              <a:gd name="connsiteX403" fmla="*/ 1967925 w 7467600"/>
              <a:gd name="connsiteY403" fmla="*/ 6858000 h 6858000"/>
              <a:gd name="connsiteX404" fmla="*/ 1936622 w 7467600"/>
              <a:gd name="connsiteY404" fmla="*/ 6858000 h 6858000"/>
              <a:gd name="connsiteX405" fmla="*/ 1926261 w 7467600"/>
              <a:gd name="connsiteY405" fmla="*/ 6784064 h 6858000"/>
              <a:gd name="connsiteX406" fmla="*/ 1922724 w 7467600"/>
              <a:gd name="connsiteY406" fmla="*/ 6765577 h 6858000"/>
              <a:gd name="connsiteX407" fmla="*/ 1904650 w 7467600"/>
              <a:gd name="connsiteY407" fmla="*/ 6639616 h 6858000"/>
              <a:gd name="connsiteX408" fmla="*/ 1885273 w 7467600"/>
              <a:gd name="connsiteY408" fmla="*/ 6858000 h 6858000"/>
              <a:gd name="connsiteX409" fmla="*/ 1854363 w 7467600"/>
              <a:gd name="connsiteY409" fmla="*/ 6858000 h 6858000"/>
              <a:gd name="connsiteX410" fmla="*/ 1880391 w 7467600"/>
              <a:gd name="connsiteY410" fmla="*/ 6603796 h 6858000"/>
              <a:gd name="connsiteX411" fmla="*/ 1818273 w 7467600"/>
              <a:gd name="connsiteY411" fmla="*/ 6715729 h 6858000"/>
              <a:gd name="connsiteX412" fmla="*/ 1794691 w 7467600"/>
              <a:gd name="connsiteY412" fmla="*/ 6843239 h 6858000"/>
              <a:gd name="connsiteX413" fmla="*/ 1794914 w 7467600"/>
              <a:gd name="connsiteY413" fmla="*/ 6858000 h 6858000"/>
              <a:gd name="connsiteX414" fmla="*/ 1746128 w 7467600"/>
              <a:gd name="connsiteY414" fmla="*/ 6858000 h 6858000"/>
              <a:gd name="connsiteX415" fmla="*/ 1753934 w 7467600"/>
              <a:gd name="connsiteY415" fmla="*/ 6724796 h 6858000"/>
              <a:gd name="connsiteX416" fmla="*/ 1792053 w 7467600"/>
              <a:gd name="connsiteY416" fmla="*/ 6572396 h 6858000"/>
              <a:gd name="connsiteX417" fmla="*/ 1862248 w 7467600"/>
              <a:gd name="connsiteY417" fmla="*/ 6266397 h 6858000"/>
              <a:gd name="connsiteX418" fmla="*/ 1862250 w 7467600"/>
              <a:gd name="connsiteY418" fmla="*/ 6033531 h 6858000"/>
              <a:gd name="connsiteX419" fmla="*/ 1211999 w 7467600"/>
              <a:gd name="connsiteY419" fmla="*/ 6683610 h 6858000"/>
              <a:gd name="connsiteX420" fmla="*/ 1213266 w 7467600"/>
              <a:gd name="connsiteY420" fmla="*/ 6691947 h 6858000"/>
              <a:gd name="connsiteX421" fmla="*/ 1203370 w 7467600"/>
              <a:gd name="connsiteY421" fmla="*/ 6850676 h 6858000"/>
              <a:gd name="connsiteX422" fmla="*/ 1203671 w 7467600"/>
              <a:gd name="connsiteY422" fmla="*/ 6858000 h 6858000"/>
              <a:gd name="connsiteX423" fmla="*/ 1143180 w 7467600"/>
              <a:gd name="connsiteY423" fmla="*/ 6858000 h 6858000"/>
              <a:gd name="connsiteX424" fmla="*/ 1142176 w 7467600"/>
              <a:gd name="connsiteY424" fmla="*/ 6766045 h 6858000"/>
              <a:gd name="connsiteX425" fmla="*/ 1067484 w 7467600"/>
              <a:gd name="connsiteY425" fmla="*/ 6858000 h 6858000"/>
              <a:gd name="connsiteX426" fmla="*/ 953928 w 7467600"/>
              <a:gd name="connsiteY426" fmla="*/ 6858000 h 6858000"/>
              <a:gd name="connsiteX427" fmla="*/ 959715 w 7467600"/>
              <a:gd name="connsiteY427" fmla="*/ 6850185 h 6858000"/>
              <a:gd name="connsiteX428" fmla="*/ 1483788 w 7467600"/>
              <a:gd name="connsiteY428" fmla="*/ 6259174 h 6858000"/>
              <a:gd name="connsiteX429" fmla="*/ 1100671 w 7467600"/>
              <a:gd name="connsiteY429" fmla="*/ 6252137 h 6858000"/>
              <a:gd name="connsiteX430" fmla="*/ 1090144 w 7467600"/>
              <a:gd name="connsiteY430" fmla="*/ 6256748 h 6858000"/>
              <a:gd name="connsiteX431" fmla="*/ 1095872 w 7467600"/>
              <a:gd name="connsiteY431" fmla="*/ 6271892 h 6858000"/>
              <a:gd name="connsiteX432" fmla="*/ 262785 w 7467600"/>
              <a:gd name="connsiteY432" fmla="*/ 6845450 h 6858000"/>
              <a:gd name="connsiteX433" fmla="*/ 209968 w 7467600"/>
              <a:gd name="connsiteY433" fmla="*/ 6770713 h 6858000"/>
              <a:gd name="connsiteX434" fmla="*/ 873460 w 7467600"/>
              <a:gd name="connsiteY434" fmla="*/ 6253768 h 6858000"/>
              <a:gd name="connsiteX435" fmla="*/ 192686 w 7467600"/>
              <a:gd name="connsiteY435" fmla="*/ 5849257 h 6858000"/>
              <a:gd name="connsiteX436" fmla="*/ 4696 w 7467600"/>
              <a:gd name="connsiteY436" fmla="*/ 5697668 h 6858000"/>
              <a:gd name="connsiteX437" fmla="*/ 0 w 7467600"/>
              <a:gd name="connsiteY437" fmla="*/ 5689984 h 6858000"/>
              <a:gd name="connsiteX438" fmla="*/ 0 w 7467600"/>
              <a:gd name="connsiteY438" fmla="*/ 5513472 h 6858000"/>
              <a:gd name="connsiteX439" fmla="*/ 174101 w 7467600"/>
              <a:gd name="connsiteY439" fmla="*/ 5620277 h 6858000"/>
              <a:gd name="connsiteX440" fmla="*/ 891800 w 7467600"/>
              <a:gd name="connsiteY440" fmla="*/ 6036935 h 6858000"/>
              <a:gd name="connsiteX441" fmla="*/ 1072219 w 7467600"/>
              <a:gd name="connsiteY441" fmla="*/ 6169443 h 6858000"/>
              <a:gd name="connsiteX442" fmla="*/ 1074117 w 7467600"/>
              <a:gd name="connsiteY442" fmla="*/ 6170301 h 6858000"/>
              <a:gd name="connsiteX443" fmla="*/ 1083114 w 7467600"/>
              <a:gd name="connsiteY443" fmla="*/ 6174131 h 6858000"/>
              <a:gd name="connsiteX444" fmla="*/ 1543010 w 7467600"/>
              <a:gd name="connsiteY444" fmla="*/ 6191140 h 6858000"/>
              <a:gd name="connsiteX445" fmla="*/ 1551080 w 7467600"/>
              <a:gd name="connsiteY445" fmla="*/ 6195006 h 6858000"/>
              <a:gd name="connsiteX446" fmla="*/ 2345443 w 7467600"/>
              <a:gd name="connsiteY446" fmla="*/ 5549882 h 6858000"/>
              <a:gd name="connsiteX447" fmla="*/ 1721499 w 7467600"/>
              <a:gd name="connsiteY447" fmla="*/ 5599969 h 6858000"/>
              <a:gd name="connsiteX448" fmla="*/ 767716 w 7467600"/>
              <a:gd name="connsiteY448" fmla="*/ 5472768 h 6858000"/>
              <a:gd name="connsiteX449" fmla="*/ 722147 w 7467600"/>
              <a:gd name="connsiteY449" fmla="*/ 5393091 h 6858000"/>
              <a:gd name="connsiteX450" fmla="*/ 1485552 w 7467600"/>
              <a:gd name="connsiteY450" fmla="*/ 5313202 h 6858000"/>
              <a:gd name="connsiteX451" fmla="*/ 2143004 w 7467600"/>
              <a:gd name="connsiteY451" fmla="*/ 5402420 h 6858000"/>
              <a:gd name="connsiteX452" fmla="*/ 1933391 w 7467600"/>
              <a:gd name="connsiteY452" fmla="*/ 5156971 h 6858000"/>
              <a:gd name="connsiteX453" fmla="*/ 1827118 w 7467600"/>
              <a:gd name="connsiteY453" fmla="*/ 4968410 h 6858000"/>
              <a:gd name="connsiteX454" fmla="*/ 1837349 w 7467600"/>
              <a:gd name="connsiteY454" fmla="*/ 4956357 h 6858000"/>
              <a:gd name="connsiteX455" fmla="*/ 2162835 w 7467600"/>
              <a:gd name="connsiteY455" fmla="*/ 5187853 h 6858000"/>
              <a:gd name="connsiteX456" fmla="*/ 2257167 w 7467600"/>
              <a:gd name="connsiteY456" fmla="*/ 5462123 h 6858000"/>
              <a:gd name="connsiteX457" fmla="*/ 2261598 w 7467600"/>
              <a:gd name="connsiteY457" fmla="*/ 5467998 h 6858000"/>
              <a:gd name="connsiteX458" fmla="*/ 2437177 w 7467600"/>
              <a:gd name="connsiteY458" fmla="*/ 5479608 h 6858000"/>
              <a:gd name="connsiteX459" fmla="*/ 2445247 w 7467600"/>
              <a:gd name="connsiteY459" fmla="*/ 5483476 h 6858000"/>
              <a:gd name="connsiteX460" fmla="*/ 2743626 w 7467600"/>
              <a:gd name="connsiteY460" fmla="*/ 5304819 h 6858000"/>
              <a:gd name="connsiteX461" fmla="*/ 3048102 w 7467600"/>
              <a:gd name="connsiteY461" fmla="*/ 5150595 h 6858000"/>
              <a:gd name="connsiteX462" fmla="*/ 1799414 w 7467600"/>
              <a:gd name="connsiteY462" fmla="*/ 4694732 h 6858000"/>
              <a:gd name="connsiteX463" fmla="*/ 1771735 w 7467600"/>
              <a:gd name="connsiteY463" fmla="*/ 4619929 h 6858000"/>
              <a:gd name="connsiteX464" fmla="*/ 3104273 w 7467600"/>
              <a:gd name="connsiteY464" fmla="*/ 5076159 h 6858000"/>
              <a:gd name="connsiteX465" fmla="*/ 3113245 w 7467600"/>
              <a:gd name="connsiteY465" fmla="*/ 5090705 h 6858000"/>
              <a:gd name="connsiteX466" fmla="*/ 3126294 w 7467600"/>
              <a:gd name="connsiteY466" fmla="*/ 5114400 h 6858000"/>
              <a:gd name="connsiteX467" fmla="*/ 3937433 w 7467600"/>
              <a:gd name="connsiteY467" fmla="*/ 4830473 h 6858000"/>
              <a:gd name="connsiteX468" fmla="*/ 3590475 w 7467600"/>
              <a:gd name="connsiteY468" fmla="*/ 4597974 h 6858000"/>
              <a:gd name="connsiteX469" fmla="*/ 3100264 w 7467600"/>
              <a:gd name="connsiteY469" fmla="*/ 4579845 h 6858000"/>
              <a:gd name="connsiteX470" fmla="*/ 2183576 w 7467600"/>
              <a:gd name="connsiteY470" fmla="*/ 4227150 h 6858000"/>
              <a:gd name="connsiteX471" fmla="*/ 2151029 w 7467600"/>
              <a:gd name="connsiteY471" fmla="*/ 4146947 h 6858000"/>
              <a:gd name="connsiteX472" fmla="*/ 3563434 w 7467600"/>
              <a:gd name="connsiteY472" fmla="*/ 4469115 h 6858000"/>
              <a:gd name="connsiteX473" fmla="*/ 3177952 w 7467600"/>
              <a:gd name="connsiteY473" fmla="*/ 3657386 h 6858000"/>
              <a:gd name="connsiteX474" fmla="*/ 3189263 w 7467600"/>
              <a:gd name="connsiteY474" fmla="*/ 3625726 h 6858000"/>
              <a:gd name="connsiteX475" fmla="*/ 3560912 w 7467600"/>
              <a:gd name="connsiteY475" fmla="*/ 4079863 h 6858000"/>
              <a:gd name="connsiteX476" fmla="*/ 3626636 w 7467600"/>
              <a:gd name="connsiteY476" fmla="*/ 4512230 h 6858000"/>
              <a:gd name="connsiteX477" fmla="*/ 3653088 w 7467600"/>
              <a:gd name="connsiteY477" fmla="*/ 4521417 h 6858000"/>
              <a:gd name="connsiteX478" fmla="*/ 3988128 w 7467600"/>
              <a:gd name="connsiteY478" fmla="*/ 4817267 h 6858000"/>
              <a:gd name="connsiteX479" fmla="*/ 4830582 w 7467600"/>
              <a:gd name="connsiteY479" fmla="*/ 4676000 h 6858000"/>
              <a:gd name="connsiteX480" fmla="*/ 4830100 w 7467600"/>
              <a:gd name="connsiteY480" fmla="*/ 4675554 h 6858000"/>
              <a:gd name="connsiteX481" fmla="*/ 4036318 w 7467600"/>
              <a:gd name="connsiteY481" fmla="*/ 4147013 h 6858000"/>
              <a:gd name="connsiteX482" fmla="*/ 3432098 w 7467600"/>
              <a:gd name="connsiteY482" fmla="*/ 3537312 h 6858000"/>
              <a:gd name="connsiteX483" fmla="*/ 3446761 w 7467600"/>
              <a:gd name="connsiteY483" fmla="*/ 3461278 h 6858000"/>
              <a:gd name="connsiteX484" fmla="*/ 4419733 w 7467600"/>
              <a:gd name="connsiteY484" fmla="*/ 3963555 h 6858000"/>
              <a:gd name="connsiteX485" fmla="*/ 4781371 w 7467600"/>
              <a:gd name="connsiteY485" fmla="*/ 4458604 h 6858000"/>
              <a:gd name="connsiteX486" fmla="*/ 4780440 w 7467600"/>
              <a:gd name="connsiteY486" fmla="*/ 4470290 h 6858000"/>
              <a:gd name="connsiteX487" fmla="*/ 4898954 w 7467600"/>
              <a:gd name="connsiteY487" fmla="*/ 4662092 h 6858000"/>
              <a:gd name="connsiteX488" fmla="*/ 4900699 w 7467600"/>
              <a:gd name="connsiteY488" fmla="*/ 4670867 h 6858000"/>
              <a:gd name="connsiteX489" fmla="*/ 5714511 w 7467600"/>
              <a:gd name="connsiteY489" fmla="*/ 4663483 h 6858000"/>
              <a:gd name="connsiteX490" fmla="*/ 5464793 w 7467600"/>
              <a:gd name="connsiteY490" fmla="*/ 4393556 h 6858000"/>
              <a:gd name="connsiteX491" fmla="*/ 5461897 w 7467600"/>
              <a:gd name="connsiteY491" fmla="*/ 4390879 h 6858000"/>
              <a:gd name="connsiteX492" fmla="*/ 4294126 w 7467600"/>
              <a:gd name="connsiteY492" fmla="*/ 3303048 h 6858000"/>
              <a:gd name="connsiteX493" fmla="*/ 4305321 w 7467600"/>
              <a:gd name="connsiteY493" fmla="*/ 3256953 h 6858000"/>
              <a:gd name="connsiteX494" fmla="*/ 4949299 w 7467600"/>
              <a:gd name="connsiteY494" fmla="*/ 3766336 h 6858000"/>
              <a:gd name="connsiteX495" fmla="*/ 5291452 w 7467600"/>
              <a:gd name="connsiteY495" fmla="*/ 4076801 h 6858000"/>
              <a:gd name="connsiteX496" fmla="*/ 5434998 w 7467600"/>
              <a:gd name="connsiteY496" fmla="*/ 4254100 h 6858000"/>
              <a:gd name="connsiteX497" fmla="*/ 5351015 w 7467600"/>
              <a:gd name="connsiteY497" fmla="*/ 3760989 h 6858000"/>
              <a:gd name="connsiteX498" fmla="*/ 5413780 w 7467600"/>
              <a:gd name="connsiteY498" fmla="*/ 2966265 h 6858000"/>
              <a:gd name="connsiteX499" fmla="*/ 5425627 w 7467600"/>
              <a:gd name="connsiteY499" fmla="*/ 2954192 h 6858000"/>
              <a:gd name="connsiteX500" fmla="*/ 6604735 w 7467600"/>
              <a:gd name="connsiteY500" fmla="*/ 2041381 h 6858000"/>
              <a:gd name="connsiteX501" fmla="*/ 7204487 w 7467600"/>
              <a:gd name="connsiteY501" fmla="*/ 2742112 h 6858000"/>
              <a:gd name="connsiteX502" fmla="*/ 7131592 w 7467600"/>
              <a:gd name="connsiteY502" fmla="*/ 2672096 h 6858000"/>
              <a:gd name="connsiteX503" fmla="*/ 6996344 w 7467600"/>
              <a:gd name="connsiteY503" fmla="*/ 2518310 h 6858000"/>
              <a:gd name="connsiteX504" fmla="*/ 6735495 w 7467600"/>
              <a:gd name="connsiteY504" fmla="*/ 2196890 h 6858000"/>
              <a:gd name="connsiteX505" fmla="*/ 6721901 w 7467600"/>
              <a:gd name="connsiteY505" fmla="*/ 2179274 h 6858000"/>
              <a:gd name="connsiteX506" fmla="*/ 6604735 w 7467600"/>
              <a:gd name="connsiteY506" fmla="*/ 2041381 h 6858000"/>
              <a:gd name="connsiteX507" fmla="*/ 6591670 w 7467600"/>
              <a:gd name="connsiteY507" fmla="*/ 1988277 h 6858000"/>
              <a:gd name="connsiteX508" fmla="*/ 6747349 w 7467600"/>
              <a:gd name="connsiteY508" fmla="*/ 2160069 h 6858000"/>
              <a:gd name="connsiteX509" fmla="*/ 6760943 w 7467600"/>
              <a:gd name="connsiteY509" fmla="*/ 2177686 h 6858000"/>
              <a:gd name="connsiteX510" fmla="*/ 7021065 w 7467600"/>
              <a:gd name="connsiteY510" fmla="*/ 2498102 h 6858000"/>
              <a:gd name="connsiteX511" fmla="*/ 7155223 w 7467600"/>
              <a:gd name="connsiteY511" fmla="*/ 2650386 h 6858000"/>
              <a:gd name="connsiteX512" fmla="*/ 7203167 w 7467600"/>
              <a:gd name="connsiteY512" fmla="*/ 2697288 h 6858000"/>
              <a:gd name="connsiteX513" fmla="*/ 6937703 w 7467600"/>
              <a:gd name="connsiteY513" fmla="*/ 2321981 h 6858000"/>
              <a:gd name="connsiteX514" fmla="*/ 6591670 w 7467600"/>
              <a:gd name="connsiteY514" fmla="*/ 1988277 h 6858000"/>
              <a:gd name="connsiteX515" fmla="*/ 5798671 w 7467600"/>
              <a:gd name="connsiteY515" fmla="*/ 1981601 h 6858000"/>
              <a:gd name="connsiteX516" fmla="*/ 5754709 w 7467600"/>
              <a:gd name="connsiteY516" fmla="*/ 2071454 h 6858000"/>
              <a:gd name="connsiteX517" fmla="*/ 5763044 w 7467600"/>
              <a:gd name="connsiteY517" fmla="*/ 2842206 h 6858000"/>
              <a:gd name="connsiteX518" fmla="*/ 5764974 w 7467600"/>
              <a:gd name="connsiteY518" fmla="*/ 2799609 h 6858000"/>
              <a:gd name="connsiteX519" fmla="*/ 5767665 w 7467600"/>
              <a:gd name="connsiteY519" fmla="*/ 2666409 h 6858000"/>
              <a:gd name="connsiteX520" fmla="*/ 5763055 w 7467600"/>
              <a:gd name="connsiteY520" fmla="*/ 2579705 h 6858000"/>
              <a:gd name="connsiteX521" fmla="*/ 5758079 w 7467600"/>
              <a:gd name="connsiteY521" fmla="*/ 2492508 h 6858000"/>
              <a:gd name="connsiteX522" fmla="*/ 5779325 w 7467600"/>
              <a:gd name="connsiteY522" fmla="*/ 2197069 h 6858000"/>
              <a:gd name="connsiteX523" fmla="*/ 5798671 w 7467600"/>
              <a:gd name="connsiteY523" fmla="*/ 1981601 h 6858000"/>
              <a:gd name="connsiteX524" fmla="*/ 5829202 w 7467600"/>
              <a:gd name="connsiteY524" fmla="*/ 1971679 h 6858000"/>
              <a:gd name="connsiteX525" fmla="*/ 5809558 w 7467600"/>
              <a:gd name="connsiteY525" fmla="*/ 2198043 h 6858000"/>
              <a:gd name="connsiteX526" fmla="*/ 5788653 w 7467600"/>
              <a:gd name="connsiteY526" fmla="*/ 2489430 h 6858000"/>
              <a:gd name="connsiteX527" fmla="*/ 5793439 w 7467600"/>
              <a:gd name="connsiteY527" fmla="*/ 2575235 h 6858000"/>
              <a:gd name="connsiteX528" fmla="*/ 5796837 w 7467600"/>
              <a:gd name="connsiteY528" fmla="*/ 2637633 h 6858000"/>
              <a:gd name="connsiteX529" fmla="*/ 5818614 w 7467600"/>
              <a:gd name="connsiteY529" fmla="*/ 2473055 h 6858000"/>
              <a:gd name="connsiteX530" fmla="*/ 5829202 w 7467600"/>
              <a:gd name="connsiteY530" fmla="*/ 1971679 h 6858000"/>
              <a:gd name="connsiteX531" fmla="*/ 5911389 w 7467600"/>
              <a:gd name="connsiteY531" fmla="*/ 1898371 h 6858000"/>
              <a:gd name="connsiteX532" fmla="*/ 6237627 w 7467600"/>
              <a:gd name="connsiteY532" fmla="*/ 2231921 h 6858000"/>
              <a:gd name="connsiteX533" fmla="*/ 5911389 w 7467600"/>
              <a:gd name="connsiteY533" fmla="*/ 1898371 h 6858000"/>
              <a:gd name="connsiteX534" fmla="*/ 6944437 w 7467600"/>
              <a:gd name="connsiteY534" fmla="*/ 1575402 h 6858000"/>
              <a:gd name="connsiteX535" fmla="*/ 6304730 w 7467600"/>
              <a:gd name="connsiteY535" fmla="*/ 1766654 h 6858000"/>
              <a:gd name="connsiteX536" fmla="*/ 6944437 w 7467600"/>
              <a:gd name="connsiteY536" fmla="*/ 1575402 h 6858000"/>
              <a:gd name="connsiteX537" fmla="*/ 7019523 w 7467600"/>
              <a:gd name="connsiteY537" fmla="*/ 1519450 h 6858000"/>
              <a:gd name="connsiteX538" fmla="*/ 6298091 w 7467600"/>
              <a:gd name="connsiteY538" fmla="*/ 1737122 h 6858000"/>
              <a:gd name="connsiteX539" fmla="*/ 7019523 w 7467600"/>
              <a:gd name="connsiteY539" fmla="*/ 1519450 h 6858000"/>
              <a:gd name="connsiteX540" fmla="*/ 2399523 w 7467600"/>
              <a:gd name="connsiteY540" fmla="*/ 1428234 h 6858000"/>
              <a:gd name="connsiteX541" fmla="*/ 2224982 w 7467600"/>
              <a:gd name="connsiteY541" fmla="*/ 1826201 h 6858000"/>
              <a:gd name="connsiteX542" fmla="*/ 2096099 w 7467600"/>
              <a:gd name="connsiteY542" fmla="*/ 2345900 h 6858000"/>
              <a:gd name="connsiteX543" fmla="*/ 2283317 w 7467600"/>
              <a:gd name="connsiteY543" fmla="*/ 1796925 h 6858000"/>
              <a:gd name="connsiteX544" fmla="*/ 2399523 w 7467600"/>
              <a:gd name="connsiteY544" fmla="*/ 1428234 h 6858000"/>
              <a:gd name="connsiteX545" fmla="*/ 2448558 w 7467600"/>
              <a:gd name="connsiteY545" fmla="*/ 1373435 h 6858000"/>
              <a:gd name="connsiteX546" fmla="*/ 2312521 w 7467600"/>
              <a:gd name="connsiteY546" fmla="*/ 1806140 h 6858000"/>
              <a:gd name="connsiteX547" fmla="*/ 2127533 w 7467600"/>
              <a:gd name="connsiteY547" fmla="*/ 2348380 h 6858000"/>
              <a:gd name="connsiteX548" fmla="*/ 2358080 w 7467600"/>
              <a:gd name="connsiteY548" fmla="*/ 1866134 h 6858000"/>
              <a:gd name="connsiteX549" fmla="*/ 2407436 w 7467600"/>
              <a:gd name="connsiteY549" fmla="*/ 1651070 h 6858000"/>
              <a:gd name="connsiteX550" fmla="*/ 2448558 w 7467600"/>
              <a:gd name="connsiteY550" fmla="*/ 1373435 h 6858000"/>
              <a:gd name="connsiteX551" fmla="*/ 278707 w 7467600"/>
              <a:gd name="connsiteY551" fmla="*/ 1352270 h 6858000"/>
              <a:gd name="connsiteX552" fmla="*/ 321570 w 7467600"/>
              <a:gd name="connsiteY552" fmla="*/ 1861610 h 6858000"/>
              <a:gd name="connsiteX553" fmla="*/ 294281 w 7467600"/>
              <a:gd name="connsiteY553" fmla="*/ 1440658 h 6858000"/>
              <a:gd name="connsiteX554" fmla="*/ 278707 w 7467600"/>
              <a:gd name="connsiteY554" fmla="*/ 1352270 h 6858000"/>
              <a:gd name="connsiteX555" fmla="*/ 1423821 w 7467600"/>
              <a:gd name="connsiteY555" fmla="*/ 1351958 h 6858000"/>
              <a:gd name="connsiteX556" fmla="*/ 1638521 w 7467600"/>
              <a:gd name="connsiteY556" fmla="*/ 1908470 h 6858000"/>
              <a:gd name="connsiteX557" fmla="*/ 1754199 w 7467600"/>
              <a:gd name="connsiteY557" fmla="*/ 2149284 h 6858000"/>
              <a:gd name="connsiteX558" fmla="*/ 1908359 w 7467600"/>
              <a:gd name="connsiteY558" fmla="*/ 2364988 h 6858000"/>
              <a:gd name="connsiteX559" fmla="*/ 1647661 w 7467600"/>
              <a:gd name="connsiteY559" fmla="*/ 1825945 h 6858000"/>
              <a:gd name="connsiteX560" fmla="*/ 1423821 w 7467600"/>
              <a:gd name="connsiteY560" fmla="*/ 1351958 h 6858000"/>
              <a:gd name="connsiteX561" fmla="*/ 1431890 w 7467600"/>
              <a:gd name="connsiteY561" fmla="*/ 1306475 h 6858000"/>
              <a:gd name="connsiteX562" fmla="*/ 1507597 w 7467600"/>
              <a:gd name="connsiteY562" fmla="*/ 1446132 h 6858000"/>
              <a:gd name="connsiteX563" fmla="*/ 1674586 w 7467600"/>
              <a:gd name="connsiteY563" fmla="*/ 1813832 h 6858000"/>
              <a:gd name="connsiteX564" fmla="*/ 1815950 w 7467600"/>
              <a:gd name="connsiteY564" fmla="*/ 2128564 h 6858000"/>
              <a:gd name="connsiteX565" fmla="*/ 1984242 w 7467600"/>
              <a:gd name="connsiteY565" fmla="*/ 2430829 h 6858000"/>
              <a:gd name="connsiteX566" fmla="*/ 2014023 w 7467600"/>
              <a:gd name="connsiteY566" fmla="*/ 2450995 h 6858000"/>
              <a:gd name="connsiteX567" fmla="*/ 1747337 w 7467600"/>
              <a:gd name="connsiteY567" fmla="*/ 1855264 h 6858000"/>
              <a:gd name="connsiteX568" fmla="*/ 1533749 w 7467600"/>
              <a:gd name="connsiteY568" fmla="*/ 1478656 h 6858000"/>
              <a:gd name="connsiteX569" fmla="*/ 1431890 w 7467600"/>
              <a:gd name="connsiteY569" fmla="*/ 1306475 h 6858000"/>
              <a:gd name="connsiteX570" fmla="*/ 5052692 w 7467600"/>
              <a:gd name="connsiteY570" fmla="*/ 1292994 h 6858000"/>
              <a:gd name="connsiteX571" fmla="*/ 5200661 w 7467600"/>
              <a:gd name="connsiteY571" fmla="*/ 1635186 h 6858000"/>
              <a:gd name="connsiteX572" fmla="*/ 5297138 w 7467600"/>
              <a:gd name="connsiteY572" fmla="*/ 1906351 h 6858000"/>
              <a:gd name="connsiteX573" fmla="*/ 5052692 w 7467600"/>
              <a:gd name="connsiteY573" fmla="*/ 1292994 h 6858000"/>
              <a:gd name="connsiteX574" fmla="*/ 5009948 w 7467600"/>
              <a:gd name="connsiteY574" fmla="*/ 1273619 h 6858000"/>
              <a:gd name="connsiteX575" fmla="*/ 5121777 w 7467600"/>
              <a:gd name="connsiteY575" fmla="*/ 1654213 h 6858000"/>
              <a:gd name="connsiteX576" fmla="*/ 5293545 w 7467600"/>
              <a:gd name="connsiteY576" fmla="*/ 2072247 h 6858000"/>
              <a:gd name="connsiteX577" fmla="*/ 5294042 w 7467600"/>
              <a:gd name="connsiteY577" fmla="*/ 2065019 h 6858000"/>
              <a:gd name="connsiteX578" fmla="*/ 5171936 w 7467600"/>
              <a:gd name="connsiteY578" fmla="*/ 1647613 h 6858000"/>
              <a:gd name="connsiteX579" fmla="*/ 5009948 w 7467600"/>
              <a:gd name="connsiteY579" fmla="*/ 1273619 h 6858000"/>
              <a:gd name="connsiteX580" fmla="*/ 655236 w 7467600"/>
              <a:gd name="connsiteY580" fmla="*/ 1268632 h 6858000"/>
              <a:gd name="connsiteX581" fmla="*/ 839521 w 7467600"/>
              <a:gd name="connsiteY581" fmla="*/ 1685315 h 6858000"/>
              <a:gd name="connsiteX582" fmla="*/ 1109416 w 7467600"/>
              <a:gd name="connsiteY582" fmla="*/ 2061663 h 6858000"/>
              <a:gd name="connsiteX583" fmla="*/ 1298300 w 7467600"/>
              <a:gd name="connsiteY583" fmla="*/ 2247742 h 6858000"/>
              <a:gd name="connsiteX584" fmla="*/ 1125871 w 7467600"/>
              <a:gd name="connsiteY584" fmla="*/ 1989513 h 6858000"/>
              <a:gd name="connsiteX585" fmla="*/ 981574 w 7467600"/>
              <a:gd name="connsiteY585" fmla="*/ 1783157 h 6858000"/>
              <a:gd name="connsiteX586" fmla="*/ 922198 w 7467600"/>
              <a:gd name="connsiteY586" fmla="*/ 1677437 h 6858000"/>
              <a:gd name="connsiteX587" fmla="*/ 869293 w 7467600"/>
              <a:gd name="connsiteY587" fmla="*/ 1583214 h 6858000"/>
              <a:gd name="connsiteX588" fmla="*/ 751431 w 7467600"/>
              <a:gd name="connsiteY588" fmla="*/ 1405731 h 6858000"/>
              <a:gd name="connsiteX589" fmla="*/ 655236 w 7467600"/>
              <a:gd name="connsiteY589" fmla="*/ 1268632 h 6858000"/>
              <a:gd name="connsiteX590" fmla="*/ 6516292 w 7467600"/>
              <a:gd name="connsiteY590" fmla="*/ 1263064 h 6858000"/>
              <a:gd name="connsiteX591" fmla="*/ 5736320 w 7467600"/>
              <a:gd name="connsiteY591" fmla="*/ 1501803 h 6858000"/>
              <a:gd name="connsiteX592" fmla="*/ 6516292 w 7467600"/>
              <a:gd name="connsiteY592" fmla="*/ 1263064 h 6858000"/>
              <a:gd name="connsiteX593" fmla="*/ 291466 w 7467600"/>
              <a:gd name="connsiteY593" fmla="*/ 1250369 h 6858000"/>
              <a:gd name="connsiteX594" fmla="*/ 323180 w 7467600"/>
              <a:gd name="connsiteY594" fmla="*/ 1435283 h 6858000"/>
              <a:gd name="connsiteX595" fmla="*/ 349381 w 7467600"/>
              <a:gd name="connsiteY595" fmla="*/ 1875041 h 6858000"/>
              <a:gd name="connsiteX596" fmla="*/ 374363 w 7467600"/>
              <a:gd name="connsiteY596" fmla="*/ 1506494 h 6858000"/>
              <a:gd name="connsiteX597" fmla="*/ 302168 w 7467600"/>
              <a:gd name="connsiteY597" fmla="*/ 1274495 h 6858000"/>
              <a:gd name="connsiteX598" fmla="*/ 291466 w 7467600"/>
              <a:gd name="connsiteY598" fmla="*/ 1250369 h 6858000"/>
              <a:gd name="connsiteX599" fmla="*/ 678222 w 7467600"/>
              <a:gd name="connsiteY599" fmla="*/ 1248670 h 6858000"/>
              <a:gd name="connsiteX600" fmla="*/ 775536 w 7467600"/>
              <a:gd name="connsiteY600" fmla="*/ 1388015 h 6858000"/>
              <a:gd name="connsiteX601" fmla="*/ 894529 w 7467600"/>
              <a:gd name="connsiteY601" fmla="*/ 1567739 h 6858000"/>
              <a:gd name="connsiteX602" fmla="*/ 948000 w 7467600"/>
              <a:gd name="connsiteY602" fmla="*/ 1663088 h 6858000"/>
              <a:gd name="connsiteX603" fmla="*/ 1006812 w 7467600"/>
              <a:gd name="connsiteY603" fmla="*/ 1767683 h 6858000"/>
              <a:gd name="connsiteX604" fmla="*/ 1149133 w 7467600"/>
              <a:gd name="connsiteY604" fmla="*/ 1971513 h 6858000"/>
              <a:gd name="connsiteX605" fmla="*/ 1333952 w 7467600"/>
              <a:gd name="connsiteY605" fmla="*/ 2251620 h 6858000"/>
              <a:gd name="connsiteX606" fmla="*/ 1337329 w 7467600"/>
              <a:gd name="connsiteY606" fmla="*/ 2258350 h 6858000"/>
              <a:gd name="connsiteX607" fmla="*/ 1014726 w 7467600"/>
              <a:gd name="connsiteY607" fmla="*/ 1615556 h 6858000"/>
              <a:gd name="connsiteX608" fmla="*/ 678222 w 7467600"/>
              <a:gd name="connsiteY608" fmla="*/ 1248670 h 6858000"/>
              <a:gd name="connsiteX609" fmla="*/ 6691602 w 7467600"/>
              <a:gd name="connsiteY609" fmla="*/ 1140573 h 6858000"/>
              <a:gd name="connsiteX610" fmla="*/ 6571100 w 7467600"/>
              <a:gd name="connsiteY610" fmla="*/ 1183662 h 6858000"/>
              <a:gd name="connsiteX611" fmla="*/ 6241687 w 7467600"/>
              <a:gd name="connsiteY611" fmla="*/ 1257600 h 6858000"/>
              <a:gd name="connsiteX612" fmla="*/ 5693009 w 7467600"/>
              <a:gd name="connsiteY612" fmla="*/ 1478256 h 6858000"/>
              <a:gd name="connsiteX613" fmla="*/ 6548420 w 7467600"/>
              <a:gd name="connsiteY613" fmla="*/ 1214599 h 6858000"/>
              <a:gd name="connsiteX614" fmla="*/ 6605473 w 7467600"/>
              <a:gd name="connsiteY614" fmla="*/ 1184686 h 6858000"/>
              <a:gd name="connsiteX615" fmla="*/ 6691602 w 7467600"/>
              <a:gd name="connsiteY615" fmla="*/ 1140573 h 6858000"/>
              <a:gd name="connsiteX616" fmla="*/ 4002475 w 7467600"/>
              <a:gd name="connsiteY616" fmla="*/ 1037802 h 6858000"/>
              <a:gd name="connsiteX617" fmla="*/ 4000324 w 7467600"/>
              <a:gd name="connsiteY617" fmla="*/ 1039362 h 6858000"/>
              <a:gd name="connsiteX618" fmla="*/ 4002862 w 7467600"/>
              <a:gd name="connsiteY618" fmla="*/ 1042866 h 6858000"/>
              <a:gd name="connsiteX619" fmla="*/ 4002475 w 7467600"/>
              <a:gd name="connsiteY619" fmla="*/ 1037802 h 6858000"/>
              <a:gd name="connsiteX620" fmla="*/ 506322 w 7467600"/>
              <a:gd name="connsiteY620" fmla="*/ 1020997 h 6858000"/>
              <a:gd name="connsiteX621" fmla="*/ 533068 w 7467600"/>
              <a:gd name="connsiteY621" fmla="*/ 1029409 h 6858000"/>
              <a:gd name="connsiteX622" fmla="*/ 1232525 w 7467600"/>
              <a:gd name="connsiteY622" fmla="*/ 1804675 h 6858000"/>
              <a:gd name="connsiteX623" fmla="*/ 1388858 w 7467600"/>
              <a:gd name="connsiteY623" fmla="*/ 2368011 h 6858000"/>
              <a:gd name="connsiteX624" fmla="*/ 1384098 w 7467600"/>
              <a:gd name="connsiteY624" fmla="*/ 2378125 h 6858000"/>
              <a:gd name="connsiteX625" fmla="*/ 1425393 w 7467600"/>
              <a:gd name="connsiteY625" fmla="*/ 2589124 h 6858000"/>
              <a:gd name="connsiteX626" fmla="*/ 1424001 w 7467600"/>
              <a:gd name="connsiteY626" fmla="*/ 2597541 h 6858000"/>
              <a:gd name="connsiteX627" fmla="*/ 2152729 w 7467600"/>
              <a:gd name="connsiteY627" fmla="*/ 2864487 h 6858000"/>
              <a:gd name="connsiteX628" fmla="*/ 2020609 w 7467600"/>
              <a:gd name="connsiteY628" fmla="*/ 2539671 h 6858000"/>
              <a:gd name="connsiteX629" fmla="*/ 2018920 w 7467600"/>
              <a:gd name="connsiteY629" fmla="*/ 2536309 h 6858000"/>
              <a:gd name="connsiteX630" fmla="*/ 1342441 w 7467600"/>
              <a:gd name="connsiteY630" fmla="*/ 1173017 h 6858000"/>
              <a:gd name="connsiteX631" fmla="*/ 1367925 w 7467600"/>
              <a:gd name="connsiteY631" fmla="*/ 1135648 h 6858000"/>
              <a:gd name="connsiteX632" fmla="*/ 1771401 w 7467600"/>
              <a:gd name="connsiteY632" fmla="*/ 1806673 h 6858000"/>
              <a:gd name="connsiteX633" fmla="*/ 1972385 w 7467600"/>
              <a:gd name="connsiteY633" fmla="*/ 2198735 h 6858000"/>
              <a:gd name="connsiteX634" fmla="*/ 2040892 w 7467600"/>
              <a:gd name="connsiteY634" fmla="*/ 2405205 h 6858000"/>
              <a:gd name="connsiteX635" fmla="*/ 2131689 w 7467600"/>
              <a:gd name="connsiteY635" fmla="*/ 1936926 h 6858000"/>
              <a:gd name="connsiteX636" fmla="*/ 2454820 w 7467600"/>
              <a:gd name="connsiteY636" fmla="*/ 1248808 h 6858000"/>
              <a:gd name="connsiteX637" fmla="*/ 2492512 w 7467600"/>
              <a:gd name="connsiteY637" fmla="*/ 1302920 h 6858000"/>
              <a:gd name="connsiteX638" fmla="*/ 2081216 w 7467600"/>
              <a:gd name="connsiteY638" fmla="*/ 2527513 h 6858000"/>
              <a:gd name="connsiteX639" fmla="*/ 2081211 w 7467600"/>
              <a:gd name="connsiteY639" fmla="*/ 2528916 h 6858000"/>
              <a:gd name="connsiteX640" fmla="*/ 2199067 w 7467600"/>
              <a:gd name="connsiteY640" fmla="*/ 2884061 h 6858000"/>
              <a:gd name="connsiteX641" fmla="*/ 3192586 w 7467600"/>
              <a:gd name="connsiteY641" fmla="*/ 3411496 h 6858000"/>
              <a:gd name="connsiteX642" fmla="*/ 3182620 w 7467600"/>
              <a:gd name="connsiteY642" fmla="*/ 3483279 h 6858000"/>
              <a:gd name="connsiteX643" fmla="*/ 2435119 w 7467600"/>
              <a:gd name="connsiteY643" fmla="*/ 3080173 h 6858000"/>
              <a:gd name="connsiteX644" fmla="*/ 2410152 w 7467600"/>
              <a:gd name="connsiteY644" fmla="*/ 3063751 h 6858000"/>
              <a:gd name="connsiteX645" fmla="*/ 2408099 w 7467600"/>
              <a:gd name="connsiteY645" fmla="*/ 3064403 h 6858000"/>
              <a:gd name="connsiteX646" fmla="*/ 2407218 w 7467600"/>
              <a:gd name="connsiteY646" fmla="*/ 3070324 h 6858000"/>
              <a:gd name="connsiteX647" fmla="*/ 2380138 w 7467600"/>
              <a:gd name="connsiteY647" fmla="*/ 3099341 h 6858000"/>
              <a:gd name="connsiteX648" fmla="*/ 1765923 w 7467600"/>
              <a:gd name="connsiteY648" fmla="*/ 3581043 h 6858000"/>
              <a:gd name="connsiteX649" fmla="*/ 1702258 w 7467600"/>
              <a:gd name="connsiteY649" fmla="*/ 3612286 h 6858000"/>
              <a:gd name="connsiteX650" fmla="*/ 1538370 w 7467600"/>
              <a:gd name="connsiteY650" fmla="*/ 3811804 h 6858000"/>
              <a:gd name="connsiteX651" fmla="*/ 542867 w 7467600"/>
              <a:gd name="connsiteY651" fmla="*/ 4944092 h 6858000"/>
              <a:gd name="connsiteX652" fmla="*/ 515800 w 7467600"/>
              <a:gd name="connsiteY652" fmla="*/ 4862180 h 6858000"/>
              <a:gd name="connsiteX653" fmla="*/ 909145 w 7467600"/>
              <a:gd name="connsiteY653" fmla="*/ 4199225 h 6858000"/>
              <a:gd name="connsiteX654" fmla="*/ 1214067 w 7467600"/>
              <a:gd name="connsiteY654" fmla="*/ 3908561 h 6858000"/>
              <a:gd name="connsiteX655" fmla="*/ 640967 w 7467600"/>
              <a:gd name="connsiteY655" fmla="*/ 4105601 h 6858000"/>
              <a:gd name="connsiteX656" fmla="*/ 112563 w 7467600"/>
              <a:gd name="connsiteY656" fmla="*/ 4396952 h 6858000"/>
              <a:gd name="connsiteX657" fmla="*/ 0 w 7467600"/>
              <a:gd name="connsiteY657" fmla="*/ 4466006 h 6858000"/>
              <a:gd name="connsiteX658" fmla="*/ 0 w 7467600"/>
              <a:gd name="connsiteY658" fmla="*/ 4233763 h 6858000"/>
              <a:gd name="connsiteX659" fmla="*/ 36881 w 7467600"/>
              <a:gd name="connsiteY659" fmla="*/ 4200118 h 6858000"/>
              <a:gd name="connsiteX660" fmla="*/ 910534 w 7467600"/>
              <a:gd name="connsiteY660" fmla="*/ 3629753 h 6858000"/>
              <a:gd name="connsiteX661" fmla="*/ 1578717 w 7467600"/>
              <a:gd name="connsiteY661" fmla="*/ 3575982 h 6858000"/>
              <a:gd name="connsiteX662" fmla="*/ 2338780 w 7467600"/>
              <a:gd name="connsiteY662" fmla="*/ 3033725 h 6858000"/>
              <a:gd name="connsiteX663" fmla="*/ 1807991 w 7467600"/>
              <a:gd name="connsiteY663" fmla="*/ 2807184 h 6858000"/>
              <a:gd name="connsiteX664" fmla="*/ 1416358 w 7467600"/>
              <a:gd name="connsiteY664" fmla="*/ 3112571 h 6858000"/>
              <a:gd name="connsiteX665" fmla="*/ 939066 w 7467600"/>
              <a:gd name="connsiteY665" fmla="*/ 3378798 h 6858000"/>
              <a:gd name="connsiteX666" fmla="*/ 115099 w 7467600"/>
              <a:gd name="connsiteY666" fmla="*/ 3607650 h 6858000"/>
              <a:gd name="connsiteX667" fmla="*/ 97284 w 7467600"/>
              <a:gd name="connsiteY667" fmla="*/ 3520393 h 6858000"/>
              <a:gd name="connsiteX668" fmla="*/ 922050 w 7467600"/>
              <a:gd name="connsiteY668" fmla="*/ 3074867 h 6858000"/>
              <a:gd name="connsiteX669" fmla="*/ 1405265 w 7467600"/>
              <a:gd name="connsiteY669" fmla="*/ 3016319 h 6858000"/>
              <a:gd name="connsiteX670" fmla="*/ 1407512 w 7467600"/>
              <a:gd name="connsiteY670" fmla="*/ 3018001 h 6858000"/>
              <a:gd name="connsiteX671" fmla="*/ 1726266 w 7467600"/>
              <a:gd name="connsiteY671" fmla="*/ 2777274 h 6858000"/>
              <a:gd name="connsiteX672" fmla="*/ 625390 w 7467600"/>
              <a:gd name="connsiteY672" fmla="*/ 2514541 h 6858000"/>
              <a:gd name="connsiteX673" fmla="*/ 619799 w 7467600"/>
              <a:gd name="connsiteY673" fmla="*/ 2527180 h 6858000"/>
              <a:gd name="connsiteX674" fmla="*/ 310030 w 7467600"/>
              <a:gd name="connsiteY674" fmla="*/ 2771818 h 6858000"/>
              <a:gd name="connsiteX675" fmla="*/ 173877 w 7467600"/>
              <a:gd name="connsiteY675" fmla="*/ 2937056 h 6858000"/>
              <a:gd name="connsiteX676" fmla="*/ 77889 w 7467600"/>
              <a:gd name="connsiteY676" fmla="*/ 3138440 h 6858000"/>
              <a:gd name="connsiteX677" fmla="*/ 0 w 7467600"/>
              <a:gd name="connsiteY677" fmla="*/ 3271395 h 6858000"/>
              <a:gd name="connsiteX678" fmla="*/ 0 w 7467600"/>
              <a:gd name="connsiteY678" fmla="*/ 3153002 h 6858000"/>
              <a:gd name="connsiteX679" fmla="*/ 2386 w 7467600"/>
              <a:gd name="connsiteY679" fmla="*/ 3149203 h 6858000"/>
              <a:gd name="connsiteX680" fmla="*/ 89753 w 7467600"/>
              <a:gd name="connsiteY680" fmla="*/ 2987702 h 6858000"/>
              <a:gd name="connsiteX681" fmla="*/ 76869 w 7467600"/>
              <a:gd name="connsiteY681" fmla="*/ 3005404 h 6858000"/>
              <a:gd name="connsiteX682" fmla="*/ 32049 w 7467600"/>
              <a:gd name="connsiteY682" fmla="*/ 3065814 h 6858000"/>
              <a:gd name="connsiteX683" fmla="*/ 0 w 7467600"/>
              <a:gd name="connsiteY683" fmla="*/ 3108744 h 6858000"/>
              <a:gd name="connsiteX684" fmla="*/ 0 w 7467600"/>
              <a:gd name="connsiteY684" fmla="*/ 3058059 h 6858000"/>
              <a:gd name="connsiteX685" fmla="*/ 7610 w 7467600"/>
              <a:gd name="connsiteY685" fmla="*/ 3047889 h 6858000"/>
              <a:gd name="connsiteX686" fmla="*/ 52419 w 7467600"/>
              <a:gd name="connsiteY686" fmla="*/ 2987479 h 6858000"/>
              <a:gd name="connsiteX687" fmla="*/ 59142 w 7467600"/>
              <a:gd name="connsiteY687" fmla="*/ 2978488 h 6858000"/>
              <a:gd name="connsiteX688" fmla="*/ 0 w 7467600"/>
              <a:gd name="connsiteY688" fmla="*/ 3015334 h 6858000"/>
              <a:gd name="connsiteX689" fmla="*/ 0 w 7467600"/>
              <a:gd name="connsiteY689" fmla="*/ 2914286 h 6858000"/>
              <a:gd name="connsiteX690" fmla="*/ 36383 w 7467600"/>
              <a:gd name="connsiteY690" fmla="*/ 2901128 h 6858000"/>
              <a:gd name="connsiteX691" fmla="*/ 156329 w 7467600"/>
              <a:gd name="connsiteY691" fmla="*/ 2840533 h 6858000"/>
              <a:gd name="connsiteX692" fmla="*/ 358355 w 7467600"/>
              <a:gd name="connsiteY692" fmla="*/ 2620471 h 6858000"/>
              <a:gd name="connsiteX693" fmla="*/ 510577 w 7467600"/>
              <a:gd name="connsiteY693" fmla="*/ 2501244 h 6858000"/>
              <a:gd name="connsiteX694" fmla="*/ 211967 w 7467600"/>
              <a:gd name="connsiteY694" fmla="*/ 2479171 h 6858000"/>
              <a:gd name="connsiteX695" fmla="*/ 0 w 7467600"/>
              <a:gd name="connsiteY695" fmla="*/ 2476398 h 6858000"/>
              <a:gd name="connsiteX696" fmla="*/ 0 w 7467600"/>
              <a:gd name="connsiteY696" fmla="*/ 2389189 h 6858000"/>
              <a:gd name="connsiteX697" fmla="*/ 103062 w 7467600"/>
              <a:gd name="connsiteY697" fmla="*/ 2389518 h 6858000"/>
              <a:gd name="connsiteX698" fmla="*/ 510734 w 7467600"/>
              <a:gd name="connsiteY698" fmla="*/ 2416201 h 6858000"/>
              <a:gd name="connsiteX699" fmla="*/ 279257 w 7467600"/>
              <a:gd name="connsiteY699" fmla="*/ 2092102 h 6858000"/>
              <a:gd name="connsiteX700" fmla="*/ 65265 w 7467600"/>
              <a:gd name="connsiteY700" fmla="*/ 2006049 h 6858000"/>
              <a:gd name="connsiteX701" fmla="*/ 0 w 7467600"/>
              <a:gd name="connsiteY701" fmla="*/ 1982532 h 6858000"/>
              <a:gd name="connsiteX702" fmla="*/ 0 w 7467600"/>
              <a:gd name="connsiteY702" fmla="*/ 1912789 h 6858000"/>
              <a:gd name="connsiteX703" fmla="*/ 97460 w 7467600"/>
              <a:gd name="connsiteY703" fmla="*/ 1953725 h 6858000"/>
              <a:gd name="connsiteX704" fmla="*/ 221272 w 7467600"/>
              <a:gd name="connsiteY704" fmla="*/ 1980766 h 6858000"/>
              <a:gd name="connsiteX705" fmla="*/ 116765 w 7467600"/>
              <a:gd name="connsiteY705" fmla="*/ 1911033 h 6858000"/>
              <a:gd name="connsiteX706" fmla="*/ 16405 w 7467600"/>
              <a:gd name="connsiteY706" fmla="*/ 1803412 h 6858000"/>
              <a:gd name="connsiteX707" fmla="*/ 0 w 7467600"/>
              <a:gd name="connsiteY707" fmla="*/ 1784777 h 6858000"/>
              <a:gd name="connsiteX708" fmla="*/ 0 w 7467600"/>
              <a:gd name="connsiteY708" fmla="*/ 1740082 h 6858000"/>
              <a:gd name="connsiteX709" fmla="*/ 39394 w 7467600"/>
              <a:gd name="connsiteY709" fmla="*/ 1784856 h 6858000"/>
              <a:gd name="connsiteX710" fmla="*/ 135813 w 7467600"/>
              <a:gd name="connsiteY710" fmla="*/ 1888838 h 6858000"/>
              <a:gd name="connsiteX711" fmla="*/ 242575 w 7467600"/>
              <a:gd name="connsiteY711" fmla="*/ 1958841 h 6858000"/>
              <a:gd name="connsiteX712" fmla="*/ 82197 w 7467600"/>
              <a:gd name="connsiteY712" fmla="*/ 1754826 h 6858000"/>
              <a:gd name="connsiteX713" fmla="*/ 0 w 7467600"/>
              <a:gd name="connsiteY713" fmla="*/ 1679650 h 6858000"/>
              <a:gd name="connsiteX714" fmla="*/ 0 w 7467600"/>
              <a:gd name="connsiteY714" fmla="*/ 1602463 h 6858000"/>
              <a:gd name="connsiteX715" fmla="*/ 84689 w 7467600"/>
              <a:gd name="connsiteY715" fmla="*/ 1677442 h 6858000"/>
              <a:gd name="connsiteX716" fmla="*/ 298437 w 7467600"/>
              <a:gd name="connsiteY716" fmla="*/ 1968019 h 6858000"/>
              <a:gd name="connsiteX717" fmla="*/ 227269 w 7467600"/>
              <a:gd name="connsiteY717" fmla="*/ 1114064 h 6858000"/>
              <a:gd name="connsiteX718" fmla="*/ 248003 w 7467600"/>
              <a:gd name="connsiteY718" fmla="*/ 1089613 h 6858000"/>
              <a:gd name="connsiteX719" fmla="*/ 427020 w 7467600"/>
              <a:gd name="connsiteY719" fmla="*/ 1619803 h 6858000"/>
              <a:gd name="connsiteX720" fmla="*/ 340345 w 7467600"/>
              <a:gd name="connsiteY720" fmla="*/ 2027739 h 6858000"/>
              <a:gd name="connsiteX721" fmla="*/ 360865 w 7467600"/>
              <a:gd name="connsiteY721" fmla="*/ 2044827 h 6858000"/>
              <a:gd name="connsiteX722" fmla="*/ 560414 w 7467600"/>
              <a:gd name="connsiteY722" fmla="*/ 2421457 h 6858000"/>
              <a:gd name="connsiteX723" fmla="*/ 1359703 w 7467600"/>
              <a:gd name="connsiteY723" fmla="*/ 2578554 h 6858000"/>
              <a:gd name="connsiteX724" fmla="*/ 1359422 w 7467600"/>
              <a:gd name="connsiteY724" fmla="*/ 2577994 h 6858000"/>
              <a:gd name="connsiteX725" fmla="*/ 828701 w 7467600"/>
              <a:gd name="connsiteY725" fmla="*/ 1839520 h 6858000"/>
              <a:gd name="connsiteX726" fmla="*/ 494427 w 7467600"/>
              <a:gd name="connsiteY726" fmla="*/ 1092333 h 6858000"/>
              <a:gd name="connsiteX727" fmla="*/ 506322 w 7467600"/>
              <a:gd name="connsiteY727" fmla="*/ 1020997 h 6858000"/>
              <a:gd name="connsiteX728" fmla="*/ 4570198 w 7467600"/>
              <a:gd name="connsiteY728" fmla="*/ 978081 h 6858000"/>
              <a:gd name="connsiteX729" fmla="*/ 4523691 w 7467600"/>
              <a:gd name="connsiteY729" fmla="*/ 1127776 h 6858000"/>
              <a:gd name="connsiteX730" fmla="*/ 4509875 w 7467600"/>
              <a:gd name="connsiteY730" fmla="*/ 1167552 h 6858000"/>
              <a:gd name="connsiteX731" fmla="*/ 4478168 w 7467600"/>
              <a:gd name="connsiteY731" fmla="*/ 1260735 h 6858000"/>
              <a:gd name="connsiteX732" fmla="*/ 4409309 w 7467600"/>
              <a:gd name="connsiteY732" fmla="*/ 1666996 h 6858000"/>
              <a:gd name="connsiteX733" fmla="*/ 4370031 w 7467600"/>
              <a:gd name="connsiteY733" fmla="*/ 1955666 h 6858000"/>
              <a:gd name="connsiteX734" fmla="*/ 4570198 w 7467600"/>
              <a:gd name="connsiteY734" fmla="*/ 978081 h 6858000"/>
              <a:gd name="connsiteX735" fmla="*/ 4557898 w 7467600"/>
              <a:gd name="connsiteY735" fmla="*/ 900011 h 6858000"/>
              <a:gd name="connsiteX736" fmla="*/ 4344840 w 7467600"/>
              <a:gd name="connsiteY736" fmla="*/ 1922038 h 6858000"/>
              <a:gd name="connsiteX737" fmla="*/ 4378710 w 7467600"/>
              <a:gd name="connsiteY737" fmla="*/ 1665516 h 6858000"/>
              <a:gd name="connsiteX738" fmla="*/ 4448798 w 7467600"/>
              <a:gd name="connsiteY738" fmla="*/ 1253024 h 6858000"/>
              <a:gd name="connsiteX739" fmla="*/ 4480315 w 7467600"/>
              <a:gd name="connsiteY739" fmla="*/ 1158454 h 6858000"/>
              <a:gd name="connsiteX740" fmla="*/ 4494133 w 7467600"/>
              <a:gd name="connsiteY740" fmla="*/ 1118676 h 6858000"/>
              <a:gd name="connsiteX741" fmla="*/ 4557898 w 7467600"/>
              <a:gd name="connsiteY741" fmla="*/ 900011 h 6858000"/>
              <a:gd name="connsiteX742" fmla="*/ 5870151 w 7467600"/>
              <a:gd name="connsiteY742" fmla="*/ 898890 h 6858000"/>
              <a:gd name="connsiteX743" fmla="*/ 5861335 w 7467600"/>
              <a:gd name="connsiteY743" fmla="*/ 899177 h 6858000"/>
              <a:gd name="connsiteX744" fmla="*/ 5843702 w 7467600"/>
              <a:gd name="connsiteY744" fmla="*/ 899748 h 6858000"/>
              <a:gd name="connsiteX745" fmla="*/ 5651107 w 7467600"/>
              <a:gd name="connsiteY745" fmla="*/ 920306 h 6858000"/>
              <a:gd name="connsiteX746" fmla="*/ 5459407 w 7467600"/>
              <a:gd name="connsiteY746" fmla="*/ 940975 h 6858000"/>
              <a:gd name="connsiteX747" fmla="*/ 5374846 w 7467600"/>
              <a:gd name="connsiteY747" fmla="*/ 941988 h 6858000"/>
              <a:gd name="connsiteX748" fmla="*/ 5256105 w 7467600"/>
              <a:gd name="connsiteY748" fmla="*/ 945632 h 6858000"/>
              <a:gd name="connsiteX749" fmla="*/ 5107071 w 7467600"/>
              <a:gd name="connsiteY749" fmla="*/ 969720 h 6858000"/>
              <a:gd name="connsiteX750" fmla="*/ 4998681 w 7467600"/>
              <a:gd name="connsiteY750" fmla="*/ 988771 h 6858000"/>
              <a:gd name="connsiteX751" fmla="*/ 5870151 w 7467600"/>
              <a:gd name="connsiteY751" fmla="*/ 898890 h 6858000"/>
              <a:gd name="connsiteX752" fmla="*/ 5504425 w 7467600"/>
              <a:gd name="connsiteY752" fmla="*/ 848067 h 6858000"/>
              <a:gd name="connsiteX753" fmla="*/ 4968849 w 7467600"/>
              <a:gd name="connsiteY753" fmla="*/ 962318 h 6858000"/>
              <a:gd name="connsiteX754" fmla="*/ 5104039 w 7467600"/>
              <a:gd name="connsiteY754" fmla="*/ 940634 h 6858000"/>
              <a:gd name="connsiteX755" fmla="*/ 5256311 w 7467600"/>
              <a:gd name="connsiteY755" fmla="*/ 916490 h 6858000"/>
              <a:gd name="connsiteX756" fmla="*/ 5377381 w 7467600"/>
              <a:gd name="connsiteY756" fmla="*/ 912671 h 6858000"/>
              <a:gd name="connsiteX757" fmla="*/ 5460148 w 7467600"/>
              <a:gd name="connsiteY757" fmla="*/ 911442 h 6858000"/>
              <a:gd name="connsiteX758" fmla="*/ 5648971 w 7467600"/>
              <a:gd name="connsiteY758" fmla="*/ 891331 h 6858000"/>
              <a:gd name="connsiteX759" fmla="*/ 5844807 w 7467600"/>
              <a:gd name="connsiteY759" fmla="*/ 870718 h 6858000"/>
              <a:gd name="connsiteX760" fmla="*/ 5862975 w 7467600"/>
              <a:gd name="connsiteY760" fmla="*/ 869756 h 6858000"/>
              <a:gd name="connsiteX761" fmla="*/ 5920887 w 7467600"/>
              <a:gd name="connsiteY761" fmla="*/ 865929 h 6858000"/>
              <a:gd name="connsiteX762" fmla="*/ 5504425 w 7467600"/>
              <a:gd name="connsiteY762" fmla="*/ 848067 h 6858000"/>
              <a:gd name="connsiteX763" fmla="*/ 3607114 w 7467600"/>
              <a:gd name="connsiteY763" fmla="*/ 467441 h 6858000"/>
              <a:gd name="connsiteX764" fmla="*/ 3296242 w 7467600"/>
              <a:gd name="connsiteY764" fmla="*/ 807991 h 6858000"/>
              <a:gd name="connsiteX765" fmla="*/ 3174674 w 7467600"/>
              <a:gd name="connsiteY765" fmla="*/ 919759 h 6858000"/>
              <a:gd name="connsiteX766" fmla="*/ 3042978 w 7467600"/>
              <a:gd name="connsiteY766" fmla="*/ 1054894 h 6858000"/>
              <a:gd name="connsiteX767" fmla="*/ 2968914 w 7467600"/>
              <a:gd name="connsiteY767" fmla="*/ 1133756 h 6858000"/>
              <a:gd name="connsiteX768" fmla="*/ 3103823 w 7467600"/>
              <a:gd name="connsiteY768" fmla="*/ 1026814 h 6858000"/>
              <a:gd name="connsiteX769" fmla="*/ 3607114 w 7467600"/>
              <a:gd name="connsiteY769" fmla="*/ 467441 h 6858000"/>
              <a:gd name="connsiteX770" fmla="*/ 3744487 w 7467600"/>
              <a:gd name="connsiteY770" fmla="*/ 383136 h 6858000"/>
              <a:gd name="connsiteX771" fmla="*/ 3970213 w 7467600"/>
              <a:gd name="connsiteY771" fmla="*/ 995559 h 6858000"/>
              <a:gd name="connsiteX772" fmla="*/ 3744487 w 7467600"/>
              <a:gd name="connsiteY772" fmla="*/ 383136 h 6858000"/>
              <a:gd name="connsiteX773" fmla="*/ 3624562 w 7467600"/>
              <a:gd name="connsiteY773" fmla="*/ 367041 h 6858000"/>
              <a:gd name="connsiteX774" fmla="*/ 3489712 w 7467600"/>
              <a:gd name="connsiteY774" fmla="*/ 485386 h 6858000"/>
              <a:gd name="connsiteX775" fmla="*/ 3182994 w 7467600"/>
              <a:gd name="connsiteY775" fmla="*/ 828265 h 6858000"/>
              <a:gd name="connsiteX776" fmla="*/ 2892114 w 7467600"/>
              <a:gd name="connsiteY776" fmla="*/ 1172635 h 6858000"/>
              <a:gd name="connsiteX777" fmla="*/ 3021459 w 7467600"/>
              <a:gd name="connsiteY777" fmla="*/ 1035385 h 6858000"/>
              <a:gd name="connsiteX778" fmla="*/ 3153873 w 7467600"/>
              <a:gd name="connsiteY778" fmla="*/ 898971 h 6858000"/>
              <a:gd name="connsiteX779" fmla="*/ 3276511 w 7467600"/>
              <a:gd name="connsiteY779" fmla="*/ 786423 h 6858000"/>
              <a:gd name="connsiteX780" fmla="*/ 3584154 w 7467600"/>
              <a:gd name="connsiteY780" fmla="*/ 448218 h 6858000"/>
              <a:gd name="connsiteX781" fmla="*/ 3624562 w 7467600"/>
              <a:gd name="connsiteY781" fmla="*/ 367041 h 6858000"/>
              <a:gd name="connsiteX782" fmla="*/ 3766672 w 7467600"/>
              <a:gd name="connsiteY782" fmla="*/ 359429 h 6858000"/>
              <a:gd name="connsiteX783" fmla="*/ 3996338 w 7467600"/>
              <a:gd name="connsiteY783" fmla="*/ 968237 h 6858000"/>
              <a:gd name="connsiteX784" fmla="*/ 3766672 w 7467600"/>
              <a:gd name="connsiteY784" fmla="*/ 359429 h 6858000"/>
              <a:gd name="connsiteX785" fmla="*/ 5805386 w 7467600"/>
              <a:gd name="connsiteY785" fmla="*/ 239240 h 6858000"/>
              <a:gd name="connsiteX786" fmla="*/ 5736947 w 7467600"/>
              <a:gd name="connsiteY786" fmla="*/ 261367 h 6858000"/>
              <a:gd name="connsiteX787" fmla="*/ 5427012 w 7467600"/>
              <a:gd name="connsiteY787" fmla="*/ 311272 h 6858000"/>
              <a:gd name="connsiteX788" fmla="*/ 5147818 w 7467600"/>
              <a:gd name="connsiteY788" fmla="*/ 322112 h 6858000"/>
              <a:gd name="connsiteX789" fmla="*/ 5060854 w 7467600"/>
              <a:gd name="connsiteY789" fmla="*/ 311882 h 6858000"/>
              <a:gd name="connsiteX790" fmla="*/ 4945989 w 7467600"/>
              <a:gd name="connsiteY790" fmla="*/ 300516 h 6858000"/>
              <a:gd name="connsiteX791" fmla="*/ 5410479 w 7467600"/>
              <a:gd name="connsiteY791" fmla="*/ 348434 h 6858000"/>
              <a:gd name="connsiteX792" fmla="*/ 5805386 w 7467600"/>
              <a:gd name="connsiteY792" fmla="*/ 239240 h 6858000"/>
              <a:gd name="connsiteX793" fmla="*/ 5905192 w 7467600"/>
              <a:gd name="connsiteY793" fmla="*/ 163079 h 6858000"/>
              <a:gd name="connsiteX794" fmla="*/ 5865655 w 7467600"/>
              <a:gd name="connsiteY794" fmla="*/ 171901 h 6858000"/>
              <a:gd name="connsiteX795" fmla="*/ 5259740 w 7467600"/>
              <a:gd name="connsiteY795" fmla="*/ 257013 h 6858000"/>
              <a:gd name="connsiteX796" fmla="*/ 5208466 w 7467600"/>
              <a:gd name="connsiteY796" fmla="*/ 257550 h 6858000"/>
              <a:gd name="connsiteX797" fmla="*/ 4980204 w 7467600"/>
              <a:gd name="connsiteY797" fmla="*/ 271903 h 6858000"/>
              <a:gd name="connsiteX798" fmla="*/ 5068068 w 7467600"/>
              <a:gd name="connsiteY798" fmla="*/ 282244 h 6858000"/>
              <a:gd name="connsiteX799" fmla="*/ 5153231 w 7467600"/>
              <a:gd name="connsiteY799" fmla="*/ 292240 h 6858000"/>
              <a:gd name="connsiteX800" fmla="*/ 5426491 w 7467600"/>
              <a:gd name="connsiteY800" fmla="*/ 281128 h 6858000"/>
              <a:gd name="connsiteX801" fmla="*/ 5731212 w 7467600"/>
              <a:gd name="connsiteY801" fmla="*/ 231951 h 6858000"/>
              <a:gd name="connsiteX802" fmla="*/ 5905192 w 7467600"/>
              <a:gd name="connsiteY802" fmla="*/ 163079 h 6858000"/>
              <a:gd name="connsiteX803" fmla="*/ 5944437 w 7467600"/>
              <a:gd name="connsiteY803" fmla="*/ 113829 h 6858000"/>
              <a:gd name="connsiteX804" fmla="*/ 5825032 w 7467600"/>
              <a:gd name="connsiteY804" fmla="*/ 146405 h 6858000"/>
              <a:gd name="connsiteX805" fmla="*/ 4955599 w 7467600"/>
              <a:gd name="connsiteY805" fmla="*/ 247008 h 6858000"/>
              <a:gd name="connsiteX806" fmla="*/ 5210104 w 7467600"/>
              <a:gd name="connsiteY806" fmla="*/ 228123 h 6858000"/>
              <a:gd name="connsiteX807" fmla="*/ 5261015 w 7467600"/>
              <a:gd name="connsiteY807" fmla="*/ 227087 h 6858000"/>
              <a:gd name="connsiteX808" fmla="*/ 5861181 w 7467600"/>
              <a:gd name="connsiteY808" fmla="*/ 143093 h 6858000"/>
              <a:gd name="connsiteX809" fmla="*/ 5961252 w 7467600"/>
              <a:gd name="connsiteY809" fmla="*/ 114820 h 6858000"/>
              <a:gd name="connsiteX810" fmla="*/ 5944437 w 7467600"/>
              <a:gd name="connsiteY810" fmla="*/ 113829 h 6858000"/>
              <a:gd name="connsiteX811" fmla="*/ 3882765 w 7467600"/>
              <a:gd name="connsiteY811" fmla="*/ 0 h 6858000"/>
              <a:gd name="connsiteX812" fmla="*/ 3995099 w 7467600"/>
              <a:gd name="connsiteY812" fmla="*/ 0 h 6858000"/>
              <a:gd name="connsiteX813" fmla="*/ 4163818 w 7467600"/>
              <a:gd name="connsiteY813" fmla="*/ 234104 h 6858000"/>
              <a:gd name="connsiteX814" fmla="*/ 4172099 w 7467600"/>
              <a:gd name="connsiteY814" fmla="*/ 234207 h 6858000"/>
              <a:gd name="connsiteX815" fmla="*/ 4784282 w 7467600"/>
              <a:gd name="connsiteY815" fmla="*/ 276561 h 6858000"/>
              <a:gd name="connsiteX816" fmla="*/ 4801687 w 7467600"/>
              <a:gd name="connsiteY816" fmla="*/ 267764 h 6858000"/>
              <a:gd name="connsiteX817" fmla="*/ 6082788 w 7467600"/>
              <a:gd name="connsiteY817" fmla="*/ 64119 h 6858000"/>
              <a:gd name="connsiteX818" fmla="*/ 6099442 w 7467600"/>
              <a:gd name="connsiteY818" fmla="*/ 82568 h 6858000"/>
              <a:gd name="connsiteX819" fmla="*/ 4804137 w 7467600"/>
              <a:gd name="connsiteY819" fmla="*/ 320931 h 6858000"/>
              <a:gd name="connsiteX820" fmla="*/ 4227047 w 7467600"/>
              <a:gd name="connsiteY820" fmla="*/ 313415 h 6858000"/>
              <a:gd name="connsiteX821" fmla="*/ 4346041 w 7467600"/>
              <a:gd name="connsiteY821" fmla="*/ 456086 h 6858000"/>
              <a:gd name="connsiteX822" fmla="*/ 4870967 w 7467600"/>
              <a:gd name="connsiteY822" fmla="*/ 963061 h 6858000"/>
              <a:gd name="connsiteX823" fmla="*/ 4889647 w 7467600"/>
              <a:gd name="connsiteY823" fmla="*/ 957147 h 6858000"/>
              <a:gd name="connsiteX824" fmla="*/ 5422504 w 7467600"/>
              <a:gd name="connsiteY824" fmla="*/ 805191 h 6858000"/>
              <a:gd name="connsiteX825" fmla="*/ 6087656 w 7467600"/>
              <a:gd name="connsiteY825" fmla="*/ 826703 h 6858000"/>
              <a:gd name="connsiteX826" fmla="*/ 6058717 w 7467600"/>
              <a:gd name="connsiteY826" fmla="*/ 865992 h 6858000"/>
              <a:gd name="connsiteX827" fmla="*/ 4974153 w 7467600"/>
              <a:gd name="connsiteY827" fmla="*/ 1045456 h 6858000"/>
              <a:gd name="connsiteX828" fmla="*/ 5627835 w 7467600"/>
              <a:gd name="connsiteY828" fmla="*/ 1472077 h 6858000"/>
              <a:gd name="connsiteX829" fmla="*/ 5629817 w 7467600"/>
              <a:gd name="connsiteY829" fmla="*/ 1471412 h 6858000"/>
              <a:gd name="connsiteX830" fmla="*/ 5634124 w 7467600"/>
              <a:gd name="connsiteY830" fmla="*/ 1470572 h 6858000"/>
              <a:gd name="connsiteX831" fmla="*/ 5755832 w 7467600"/>
              <a:gd name="connsiteY831" fmla="*/ 1383886 h 6858000"/>
              <a:gd name="connsiteX832" fmla="*/ 6014186 w 7467600"/>
              <a:gd name="connsiteY832" fmla="*/ 1279799 h 6858000"/>
              <a:gd name="connsiteX833" fmla="*/ 6901619 w 7467600"/>
              <a:gd name="connsiteY833" fmla="*/ 1047874 h 6858000"/>
              <a:gd name="connsiteX834" fmla="*/ 6931566 w 7467600"/>
              <a:gd name="connsiteY834" fmla="*/ 1062034 h 6858000"/>
              <a:gd name="connsiteX835" fmla="*/ 5790982 w 7467600"/>
              <a:gd name="connsiteY835" fmla="*/ 1561380 h 6858000"/>
              <a:gd name="connsiteX836" fmla="*/ 6188971 w 7467600"/>
              <a:gd name="connsiteY836" fmla="*/ 1755168 h 6858000"/>
              <a:gd name="connsiteX837" fmla="*/ 6202446 w 7467600"/>
              <a:gd name="connsiteY837" fmla="*/ 1752268 h 6858000"/>
              <a:gd name="connsiteX838" fmla="*/ 7179560 w 7467600"/>
              <a:gd name="connsiteY838" fmla="*/ 1467551 h 6858000"/>
              <a:gd name="connsiteX839" fmla="*/ 7158730 w 7467600"/>
              <a:gd name="connsiteY839" fmla="*/ 1507835 h 6858000"/>
              <a:gd name="connsiteX840" fmla="*/ 6326959 w 7467600"/>
              <a:gd name="connsiteY840" fmla="*/ 1817686 h 6858000"/>
              <a:gd name="connsiteX841" fmla="*/ 6537433 w 7467600"/>
              <a:gd name="connsiteY841" fmla="*/ 1907790 h 6858000"/>
              <a:gd name="connsiteX842" fmla="*/ 6550221 w 7467600"/>
              <a:gd name="connsiteY842" fmla="*/ 1910729 h 6858000"/>
              <a:gd name="connsiteX843" fmla="*/ 6964438 w 7467600"/>
              <a:gd name="connsiteY843" fmla="*/ 2209505 h 6858000"/>
              <a:gd name="connsiteX844" fmla="*/ 7367862 w 7467600"/>
              <a:gd name="connsiteY844" fmla="*/ 2806833 h 6858000"/>
              <a:gd name="connsiteX845" fmla="*/ 7364329 w 7467600"/>
              <a:gd name="connsiteY845" fmla="*/ 2826907 h 6858000"/>
              <a:gd name="connsiteX846" fmla="*/ 7290545 w 7467600"/>
              <a:gd name="connsiteY846" fmla="*/ 2850663 h 6858000"/>
              <a:gd name="connsiteX847" fmla="*/ 6472036 w 7467600"/>
              <a:gd name="connsiteY847" fmla="*/ 1959003 h 6858000"/>
              <a:gd name="connsiteX848" fmla="*/ 5792897 w 7467600"/>
              <a:gd name="connsiteY848" fmla="*/ 1647747 h 6858000"/>
              <a:gd name="connsiteX849" fmla="*/ 5842751 w 7467600"/>
              <a:gd name="connsiteY849" fmla="*/ 1816112 h 6858000"/>
              <a:gd name="connsiteX850" fmla="*/ 5847424 w 7467600"/>
              <a:gd name="connsiteY850" fmla="*/ 1815776 h 6858000"/>
              <a:gd name="connsiteX851" fmla="*/ 6399821 w 7467600"/>
              <a:gd name="connsiteY851" fmla="*/ 2344799 h 6858000"/>
              <a:gd name="connsiteX852" fmla="*/ 6323232 w 7467600"/>
              <a:gd name="connsiteY852" fmla="*/ 2389634 h 6858000"/>
              <a:gd name="connsiteX853" fmla="*/ 5942958 w 7467600"/>
              <a:gd name="connsiteY853" fmla="*/ 2077708 h 6858000"/>
              <a:gd name="connsiteX854" fmla="*/ 5921559 w 7467600"/>
              <a:gd name="connsiteY854" fmla="*/ 2378596 h 6858000"/>
              <a:gd name="connsiteX855" fmla="*/ 5817651 w 7467600"/>
              <a:gd name="connsiteY855" fmla="*/ 3023919 h 6858000"/>
              <a:gd name="connsiteX856" fmla="*/ 5729634 w 7467600"/>
              <a:gd name="connsiteY856" fmla="*/ 3051849 h 6858000"/>
              <a:gd name="connsiteX857" fmla="*/ 5611018 w 7467600"/>
              <a:gd name="connsiteY857" fmla="*/ 2316769 h 6858000"/>
              <a:gd name="connsiteX858" fmla="*/ 5687608 w 7467600"/>
              <a:gd name="connsiteY858" fmla="*/ 2039972 h 6858000"/>
              <a:gd name="connsiteX859" fmla="*/ 5657554 w 7467600"/>
              <a:gd name="connsiteY859" fmla="*/ 1576445 h 6858000"/>
              <a:gd name="connsiteX860" fmla="*/ 5150475 w 7467600"/>
              <a:gd name="connsiteY860" fmla="*/ 1274012 h 6858000"/>
              <a:gd name="connsiteX861" fmla="*/ 5349142 w 7467600"/>
              <a:gd name="connsiteY861" fmla="*/ 2204405 h 6858000"/>
              <a:gd name="connsiteX862" fmla="*/ 5262214 w 7467600"/>
              <a:gd name="connsiteY862" fmla="*/ 2233836 h 6858000"/>
              <a:gd name="connsiteX863" fmla="*/ 4981539 w 7467600"/>
              <a:gd name="connsiteY863" fmla="*/ 1542201 h 6858000"/>
              <a:gd name="connsiteX864" fmla="*/ 4958461 w 7467600"/>
              <a:gd name="connsiteY864" fmla="*/ 1136957 h 6858000"/>
              <a:gd name="connsiteX865" fmla="*/ 4655015 w 7467600"/>
              <a:gd name="connsiteY865" fmla="*/ 891426 h 6858000"/>
              <a:gd name="connsiteX866" fmla="*/ 4348002 w 7467600"/>
              <a:gd name="connsiteY866" fmla="*/ 2205895 h 6858000"/>
              <a:gd name="connsiteX867" fmla="*/ 4262250 w 7467600"/>
              <a:gd name="connsiteY867" fmla="*/ 2219972 h 6858000"/>
              <a:gd name="connsiteX868" fmla="*/ 4550611 w 7467600"/>
              <a:gd name="connsiteY868" fmla="*/ 817540 h 6858000"/>
              <a:gd name="connsiteX869" fmla="*/ 4564418 w 7467600"/>
              <a:gd name="connsiteY869" fmla="*/ 808293 h 6858000"/>
              <a:gd name="connsiteX870" fmla="*/ 4266388 w 7467600"/>
              <a:gd name="connsiteY870" fmla="*/ 500083 h 6858000"/>
              <a:gd name="connsiteX871" fmla="*/ 4032842 w 7467600"/>
              <a:gd name="connsiteY871" fmla="*/ 211809 h 6858000"/>
              <a:gd name="connsiteX872" fmla="*/ 3882765 w 7467600"/>
              <a:gd name="connsiteY872" fmla="*/ 0 h 6858000"/>
              <a:gd name="connsiteX873" fmla="*/ 3721337 w 7467600"/>
              <a:gd name="connsiteY873" fmla="*/ 0 h 6858000"/>
              <a:gd name="connsiteX874" fmla="*/ 3797544 w 7467600"/>
              <a:gd name="connsiteY874" fmla="*/ 0 h 6858000"/>
              <a:gd name="connsiteX875" fmla="*/ 3775734 w 7467600"/>
              <a:gd name="connsiteY875" fmla="*/ 95131 h 6858000"/>
              <a:gd name="connsiteX876" fmla="*/ 3724807 w 7467600"/>
              <a:gd name="connsiteY876" fmla="*/ 272257 h 6858000"/>
              <a:gd name="connsiteX877" fmla="*/ 3726844 w 7467600"/>
              <a:gd name="connsiteY877" fmla="*/ 282988 h 6858000"/>
              <a:gd name="connsiteX878" fmla="*/ 3742664 w 7467600"/>
              <a:gd name="connsiteY878" fmla="*/ 279918 h 6858000"/>
              <a:gd name="connsiteX879" fmla="*/ 4103910 w 7467600"/>
              <a:gd name="connsiteY879" fmla="*/ 1161917 h 6858000"/>
              <a:gd name="connsiteX880" fmla="*/ 4020269 w 7467600"/>
              <a:gd name="connsiteY880" fmla="*/ 1200406 h 6858000"/>
              <a:gd name="connsiteX881" fmla="*/ 3674882 w 7467600"/>
              <a:gd name="connsiteY881" fmla="*/ 488524 h 6858000"/>
              <a:gd name="connsiteX882" fmla="*/ 3132682 w 7467600"/>
              <a:gd name="connsiteY882" fmla="*/ 1072284 h 6858000"/>
              <a:gd name="connsiteX883" fmla="*/ 2716346 w 7467600"/>
              <a:gd name="connsiteY883" fmla="*/ 1276376 h 6858000"/>
              <a:gd name="connsiteX884" fmla="*/ 2716772 w 7467600"/>
              <a:gd name="connsiteY884" fmla="*/ 1255462 h 6858000"/>
              <a:gd name="connsiteX885" fmla="*/ 3471096 w 7467600"/>
              <a:gd name="connsiteY885" fmla="*/ 437072 h 6858000"/>
              <a:gd name="connsiteX886" fmla="*/ 3639057 w 7467600"/>
              <a:gd name="connsiteY886" fmla="*/ 286334 h 6858000"/>
              <a:gd name="connsiteX887" fmla="*/ 3640309 w 7467600"/>
              <a:gd name="connsiteY887" fmla="*/ 284664 h 6858000"/>
              <a:gd name="connsiteX888" fmla="*/ 3646022 w 7467600"/>
              <a:gd name="connsiteY888" fmla="*/ 276711 h 6858000"/>
              <a:gd name="connsiteX889" fmla="*/ 3707943 w 7467600"/>
              <a:gd name="connsiteY889" fmla="*/ 65958 h 6858000"/>
              <a:gd name="connsiteX890" fmla="*/ 3721337 w 7467600"/>
              <a:gd name="connsiteY890" fmla="*/ 0 h 6858000"/>
              <a:gd name="connsiteX891" fmla="*/ 2867960 w 7467600"/>
              <a:gd name="connsiteY891" fmla="*/ 0 h 6858000"/>
              <a:gd name="connsiteX892" fmla="*/ 2926351 w 7467600"/>
              <a:gd name="connsiteY892" fmla="*/ 0 h 6858000"/>
              <a:gd name="connsiteX893" fmla="*/ 2902823 w 7467600"/>
              <a:gd name="connsiteY893" fmla="*/ 262929 h 6858000"/>
              <a:gd name="connsiteX894" fmla="*/ 2940663 w 7467600"/>
              <a:gd name="connsiteY894" fmla="*/ 140884 h 6858000"/>
              <a:gd name="connsiteX895" fmla="*/ 2947039 w 7467600"/>
              <a:gd name="connsiteY895" fmla="*/ 122524 h 6858000"/>
              <a:gd name="connsiteX896" fmla="*/ 2984316 w 7467600"/>
              <a:gd name="connsiteY896" fmla="*/ 0 h 6858000"/>
              <a:gd name="connsiteX897" fmla="*/ 3016114 w 7467600"/>
              <a:gd name="connsiteY897" fmla="*/ 0 h 6858000"/>
              <a:gd name="connsiteX898" fmla="*/ 2979949 w 7467600"/>
              <a:gd name="connsiteY898" fmla="*/ 119274 h 6858000"/>
              <a:gd name="connsiteX899" fmla="*/ 3023879 w 7467600"/>
              <a:gd name="connsiteY899" fmla="*/ 0 h 6858000"/>
              <a:gd name="connsiteX900" fmla="*/ 3105400 w 7467600"/>
              <a:gd name="connsiteY900" fmla="*/ 0 h 6858000"/>
              <a:gd name="connsiteX901" fmla="*/ 3094669 w 7467600"/>
              <a:gd name="connsiteY901" fmla="*/ 30308 h 6858000"/>
              <a:gd name="connsiteX902" fmla="*/ 2901945 w 7467600"/>
              <a:gd name="connsiteY902" fmla="*/ 466538 h 6858000"/>
              <a:gd name="connsiteX903" fmla="*/ 2815209 w 7467600"/>
              <a:gd name="connsiteY903" fmla="*/ 497361 h 6858000"/>
              <a:gd name="connsiteX904" fmla="*/ 2844845 w 7467600"/>
              <a:gd name="connsiteY904" fmla="*/ 127638 h 6858000"/>
              <a:gd name="connsiteX905" fmla="*/ 2867960 w 7467600"/>
              <a:gd name="connsiteY905" fmla="*/ 0 h 6858000"/>
              <a:gd name="connsiteX906" fmla="*/ 1057230 w 7467600"/>
              <a:gd name="connsiteY906" fmla="*/ 0 h 6858000"/>
              <a:gd name="connsiteX907" fmla="*/ 1111003 w 7467600"/>
              <a:gd name="connsiteY907" fmla="*/ 0 h 6858000"/>
              <a:gd name="connsiteX908" fmla="*/ 1125553 w 7467600"/>
              <a:gd name="connsiteY908" fmla="*/ 52588 h 6858000"/>
              <a:gd name="connsiteX909" fmla="*/ 1304276 w 7467600"/>
              <a:gd name="connsiteY909" fmla="*/ 476275 h 6858000"/>
              <a:gd name="connsiteX910" fmla="*/ 1492066 w 7467600"/>
              <a:gd name="connsiteY910" fmla="*/ 886333 h 6858000"/>
              <a:gd name="connsiteX911" fmla="*/ 1423698 w 7467600"/>
              <a:gd name="connsiteY911" fmla="*/ 710817 h 6858000"/>
              <a:gd name="connsiteX912" fmla="*/ 1357609 w 7467600"/>
              <a:gd name="connsiteY912" fmla="*/ 532892 h 6858000"/>
              <a:gd name="connsiteX913" fmla="*/ 1309550 w 7467600"/>
              <a:gd name="connsiteY913" fmla="*/ 374031 h 6858000"/>
              <a:gd name="connsiteX914" fmla="*/ 1193673 w 7467600"/>
              <a:gd name="connsiteY914" fmla="*/ 49533 h 6858000"/>
              <a:gd name="connsiteX915" fmla="*/ 1164391 w 7467600"/>
              <a:gd name="connsiteY915" fmla="*/ 0 h 6858000"/>
              <a:gd name="connsiteX916" fmla="*/ 1200666 w 7467600"/>
              <a:gd name="connsiteY916" fmla="*/ 0 h 6858000"/>
              <a:gd name="connsiteX917" fmla="*/ 1223408 w 7467600"/>
              <a:gd name="connsiteY917" fmla="*/ 38996 h 6858000"/>
              <a:gd name="connsiteX918" fmla="*/ 1339635 w 7467600"/>
              <a:gd name="connsiteY918" fmla="*/ 365517 h 6858000"/>
              <a:gd name="connsiteX919" fmla="*/ 1387469 w 7467600"/>
              <a:gd name="connsiteY919" fmla="*/ 523079 h 6858000"/>
              <a:gd name="connsiteX920" fmla="*/ 1452685 w 7467600"/>
              <a:gd name="connsiteY920" fmla="*/ 699806 h 6858000"/>
              <a:gd name="connsiteX921" fmla="*/ 1492092 w 7467600"/>
              <a:gd name="connsiteY921" fmla="*/ 800424 h 6858000"/>
              <a:gd name="connsiteX922" fmla="*/ 1455302 w 7467600"/>
              <a:gd name="connsiteY922" fmla="*/ 632913 h 6858000"/>
              <a:gd name="connsiteX923" fmla="*/ 1222336 w 7467600"/>
              <a:gd name="connsiteY923" fmla="*/ 9480 h 6858000"/>
              <a:gd name="connsiteX924" fmla="*/ 1214634 w 7467600"/>
              <a:gd name="connsiteY924" fmla="*/ 0 h 6858000"/>
              <a:gd name="connsiteX925" fmla="*/ 1289827 w 7467600"/>
              <a:gd name="connsiteY925" fmla="*/ 0 h 6858000"/>
              <a:gd name="connsiteX926" fmla="*/ 1321076 w 7467600"/>
              <a:gd name="connsiteY926" fmla="*/ 59722 h 6858000"/>
              <a:gd name="connsiteX927" fmla="*/ 1512579 w 7467600"/>
              <a:gd name="connsiteY927" fmla="*/ 626441 h 6858000"/>
              <a:gd name="connsiteX928" fmla="*/ 1506076 w 7467600"/>
              <a:gd name="connsiteY928" fmla="*/ 1089289 h 6858000"/>
              <a:gd name="connsiteX929" fmla="*/ 1486346 w 7467600"/>
              <a:gd name="connsiteY929" fmla="*/ 1079919 h 6858000"/>
              <a:gd name="connsiteX930" fmla="*/ 1070511 w 7467600"/>
              <a:gd name="connsiteY930" fmla="*/ 48609 h 6858000"/>
              <a:gd name="connsiteX931" fmla="*/ 1057230 w 7467600"/>
              <a:gd name="connsiteY931" fmla="*/ 0 h 6858000"/>
              <a:gd name="connsiteX932" fmla="*/ 43151 w 7467600"/>
              <a:gd name="connsiteY932" fmla="*/ 0 h 6858000"/>
              <a:gd name="connsiteX933" fmla="*/ 95283 w 7467600"/>
              <a:gd name="connsiteY933" fmla="*/ 0 h 6858000"/>
              <a:gd name="connsiteX934" fmla="*/ 300708 w 7467600"/>
              <a:gd name="connsiteY934" fmla="*/ 154571 h 6858000"/>
              <a:gd name="connsiteX935" fmla="*/ 530414 w 7467600"/>
              <a:gd name="connsiteY935" fmla="*/ 354673 h 6858000"/>
              <a:gd name="connsiteX936" fmla="*/ 333785 w 7467600"/>
              <a:gd name="connsiteY936" fmla="*/ 161564 h 6858000"/>
              <a:gd name="connsiteX937" fmla="*/ 147005 w 7467600"/>
              <a:gd name="connsiteY937" fmla="*/ 0 h 6858000"/>
              <a:gd name="connsiteX938" fmla="*/ 272509 w 7467600"/>
              <a:gd name="connsiteY938" fmla="*/ 0 h 6858000"/>
              <a:gd name="connsiteX939" fmla="*/ 326276 w 7467600"/>
              <a:gd name="connsiteY939" fmla="*/ 45847 h 6858000"/>
              <a:gd name="connsiteX940" fmla="*/ 823759 w 7467600"/>
              <a:gd name="connsiteY940" fmla="*/ 574145 h 6858000"/>
              <a:gd name="connsiteX941" fmla="*/ 811254 w 7467600"/>
              <a:gd name="connsiteY941" fmla="*/ 665546 h 6858000"/>
              <a:gd name="connsiteX942" fmla="*/ 154042 w 7467600"/>
              <a:gd name="connsiteY942" fmla="*/ 261522 h 6858000"/>
              <a:gd name="connsiteX943" fmla="*/ 13550 w 7467600"/>
              <a:gd name="connsiteY943" fmla="*/ 158423 h 6858000"/>
              <a:gd name="connsiteX944" fmla="*/ 0 w 7467600"/>
              <a:gd name="connsiteY944" fmla="*/ 146618 h 6858000"/>
              <a:gd name="connsiteX945" fmla="*/ 0 w 7467600"/>
              <a:gd name="connsiteY945" fmla="*/ 59161 h 6858000"/>
              <a:gd name="connsiteX946" fmla="*/ 45427 w 7467600"/>
              <a:gd name="connsiteY946" fmla="*/ 101078 h 6858000"/>
              <a:gd name="connsiteX947" fmla="*/ 630103 w 7467600"/>
              <a:gd name="connsiteY947" fmla="*/ 485885 h 6858000"/>
              <a:gd name="connsiteX948" fmla="*/ 532040 w 7467600"/>
              <a:gd name="connsiteY948" fmla="*/ 399359 h 6858000"/>
              <a:gd name="connsiteX949" fmla="*/ 517618 w 7467600"/>
              <a:gd name="connsiteY949" fmla="*/ 385726 h 6858000"/>
              <a:gd name="connsiteX950" fmla="*/ 285074 w 7467600"/>
              <a:gd name="connsiteY950" fmla="*/ 182755 h 6858000"/>
              <a:gd name="connsiteX951" fmla="*/ 43151 w 7467600"/>
              <a:gd name="connsiteY951"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410696 w 7467600"/>
              <a:gd name="connsiteY4" fmla="*/ 6803861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467600 w 7467600"/>
              <a:gd name="connsiteY16" fmla="*/ 6805948 h 6858000"/>
              <a:gd name="connsiteX17" fmla="*/ 7467600 w 7467600"/>
              <a:gd name="connsiteY17" fmla="*/ 6831490 h 6858000"/>
              <a:gd name="connsiteX18" fmla="*/ 7410696 w 7467600"/>
              <a:gd name="connsiteY18" fmla="*/ 6803861 h 6858000"/>
              <a:gd name="connsiteX19" fmla="*/ 1019354 w 7467600"/>
              <a:gd name="connsiteY19" fmla="*/ 6315006 h 6858000"/>
              <a:gd name="connsiteX20" fmla="*/ 441046 w 7467600"/>
              <a:gd name="connsiteY20" fmla="*/ 6691153 h 6858000"/>
              <a:gd name="connsiteX21" fmla="*/ 1019354 w 7467600"/>
              <a:gd name="connsiteY21" fmla="*/ 6315006 h 6858000"/>
              <a:gd name="connsiteX22" fmla="*/ 991680 w 7467600"/>
              <a:gd name="connsiteY22" fmla="*/ 6298413 h 6858000"/>
              <a:gd name="connsiteX23" fmla="*/ 409060 w 7467600"/>
              <a:gd name="connsiteY23" fmla="*/ 6671470 h 6858000"/>
              <a:gd name="connsiteX24" fmla="*/ 991680 w 7467600"/>
              <a:gd name="connsiteY24" fmla="*/ 6298413 h 6858000"/>
              <a:gd name="connsiteX25" fmla="*/ 103333 w 7467600"/>
              <a:gd name="connsiteY25" fmla="*/ 5699602 h 6858000"/>
              <a:gd name="connsiteX26" fmla="*/ 233938 w 7467600"/>
              <a:gd name="connsiteY26" fmla="*/ 5809416 h 6858000"/>
              <a:gd name="connsiteX27" fmla="*/ 883580 w 7467600"/>
              <a:gd name="connsiteY27" fmla="*/ 6180710 h 6858000"/>
              <a:gd name="connsiteX28" fmla="*/ 487337 w 7467600"/>
              <a:gd name="connsiteY28" fmla="*/ 5950182 h 6858000"/>
              <a:gd name="connsiteX29" fmla="*/ 354051 w 7467600"/>
              <a:gd name="connsiteY29" fmla="*/ 5854912 h 6858000"/>
              <a:gd name="connsiteX30" fmla="*/ 195436 w 7467600"/>
              <a:gd name="connsiteY30" fmla="*/ 5755068 h 6858000"/>
              <a:gd name="connsiteX31" fmla="*/ 103333 w 7467600"/>
              <a:gd name="connsiteY31" fmla="*/ 5699602 h 6858000"/>
              <a:gd name="connsiteX32" fmla="*/ 5539432 w 7467600"/>
              <a:gd name="connsiteY32" fmla="*/ 5642928 h 6858000"/>
              <a:gd name="connsiteX33" fmla="*/ 5555462 w 7467600"/>
              <a:gd name="connsiteY33" fmla="*/ 5694454 h 6858000"/>
              <a:gd name="connsiteX34" fmla="*/ 5828270 w 7467600"/>
              <a:gd name="connsiteY34" fmla="*/ 6320663 h 6858000"/>
              <a:gd name="connsiteX35" fmla="*/ 5947416 w 7467600"/>
              <a:gd name="connsiteY35" fmla="*/ 6574846 h 6858000"/>
              <a:gd name="connsiteX36" fmla="*/ 5539432 w 7467600"/>
              <a:gd name="connsiteY36" fmla="*/ 5642928 h 6858000"/>
              <a:gd name="connsiteX37" fmla="*/ 51253 w 7467600"/>
              <a:gd name="connsiteY37" fmla="*/ 5631825 h 6858000"/>
              <a:gd name="connsiteX38" fmla="*/ 211622 w 7467600"/>
              <a:gd name="connsiteY38" fmla="*/ 5728803 h 6858000"/>
              <a:gd name="connsiteX39" fmla="*/ 371652 w 7467600"/>
              <a:gd name="connsiteY39" fmla="*/ 5829062 h 6858000"/>
              <a:gd name="connsiteX40" fmla="*/ 505903 w 7467600"/>
              <a:gd name="connsiteY40" fmla="*/ 5925221 h 6858000"/>
              <a:gd name="connsiteX41" fmla="*/ 899240 w 7467600"/>
              <a:gd name="connsiteY41" fmla="*/ 6153068 h 6858000"/>
              <a:gd name="connsiteX42" fmla="*/ 988114 w 7467600"/>
              <a:gd name="connsiteY42" fmla="*/ 6174204 h 6858000"/>
              <a:gd name="connsiteX43" fmla="*/ 845971 w 7467600"/>
              <a:gd name="connsiteY43" fmla="*/ 6067177 h 6858000"/>
              <a:gd name="connsiteX44" fmla="*/ 448057 w 7467600"/>
              <a:gd name="connsiteY44" fmla="*/ 5841376 h 6858000"/>
              <a:gd name="connsiteX45" fmla="*/ 51253 w 7467600"/>
              <a:gd name="connsiteY45" fmla="*/ 5631825 h 6858000"/>
              <a:gd name="connsiteX46" fmla="*/ 2606687 w 7467600"/>
              <a:gd name="connsiteY46" fmla="*/ 5630718 h 6858000"/>
              <a:gd name="connsiteX47" fmla="*/ 2645658 w 7467600"/>
              <a:gd name="connsiteY47" fmla="*/ 6640259 h 6858000"/>
              <a:gd name="connsiteX48" fmla="*/ 2606687 w 7467600"/>
              <a:gd name="connsiteY48" fmla="*/ 5630718 h 6858000"/>
              <a:gd name="connsiteX49" fmla="*/ 3642057 w 7467600"/>
              <a:gd name="connsiteY49" fmla="*/ 5573487 h 6858000"/>
              <a:gd name="connsiteX50" fmla="*/ 3632981 w 7467600"/>
              <a:gd name="connsiteY50" fmla="*/ 5579437 h 6858000"/>
              <a:gd name="connsiteX51" fmla="*/ 3382436 w 7467600"/>
              <a:gd name="connsiteY51" fmla="*/ 5952726 h 6858000"/>
              <a:gd name="connsiteX52" fmla="*/ 3191929 w 7467600"/>
              <a:gd name="connsiteY52" fmla="*/ 6662669 h 6858000"/>
              <a:gd name="connsiteX53" fmla="*/ 3369898 w 7467600"/>
              <a:gd name="connsiteY53" fmla="*/ 6081771 h 6858000"/>
              <a:gd name="connsiteX54" fmla="*/ 3642057 w 7467600"/>
              <a:gd name="connsiteY54" fmla="*/ 5573487 h 6858000"/>
              <a:gd name="connsiteX55" fmla="*/ 2650666 w 7467600"/>
              <a:gd name="connsiteY55" fmla="*/ 5530686 h 6858000"/>
              <a:gd name="connsiteX56" fmla="*/ 2650249 w 7467600"/>
              <a:gd name="connsiteY56" fmla="*/ 5532101 h 6858000"/>
              <a:gd name="connsiteX57" fmla="*/ 2663808 w 7467600"/>
              <a:gd name="connsiteY57" fmla="*/ 6535215 h 6858000"/>
              <a:gd name="connsiteX58" fmla="*/ 2665418 w 7467600"/>
              <a:gd name="connsiteY58" fmla="*/ 6132756 h 6858000"/>
              <a:gd name="connsiteX59" fmla="*/ 2650666 w 7467600"/>
              <a:gd name="connsiteY59" fmla="*/ 5530686 h 6858000"/>
              <a:gd name="connsiteX60" fmla="*/ 2680277 w 7467600"/>
              <a:gd name="connsiteY60" fmla="*/ 5479204 h 6858000"/>
              <a:gd name="connsiteX61" fmla="*/ 2678972 w 7467600"/>
              <a:gd name="connsiteY61" fmla="*/ 5481582 h 6858000"/>
              <a:gd name="connsiteX62" fmla="*/ 2696666 w 7467600"/>
              <a:gd name="connsiteY62" fmla="*/ 6133836 h 6858000"/>
              <a:gd name="connsiteX63" fmla="*/ 2695769 w 7467600"/>
              <a:gd name="connsiteY63" fmla="*/ 6390955 h 6858000"/>
              <a:gd name="connsiteX64" fmla="*/ 2739893 w 7467600"/>
              <a:gd name="connsiteY64" fmla="*/ 6108357 h 6858000"/>
              <a:gd name="connsiteX65" fmla="*/ 2680277 w 7467600"/>
              <a:gd name="connsiteY65" fmla="*/ 5479204 h 6858000"/>
              <a:gd name="connsiteX66" fmla="*/ 1132195 w 7467600"/>
              <a:gd name="connsiteY66" fmla="*/ 5467980 h 6858000"/>
              <a:gd name="connsiteX67" fmla="*/ 1679056 w 7467600"/>
              <a:gd name="connsiteY67" fmla="*/ 5516907 h 6858000"/>
              <a:gd name="connsiteX68" fmla="*/ 2128648 w 7467600"/>
              <a:gd name="connsiteY68" fmla="*/ 5474249 h 6858000"/>
              <a:gd name="connsiteX69" fmla="*/ 1825619 w 7467600"/>
              <a:gd name="connsiteY69" fmla="*/ 5478447 h 6858000"/>
              <a:gd name="connsiteX70" fmla="*/ 1737798 w 7467600"/>
              <a:gd name="connsiteY70" fmla="*/ 5483353 h 6858000"/>
              <a:gd name="connsiteX71" fmla="*/ 1132195 w 7467600"/>
              <a:gd name="connsiteY71" fmla="*/ 5467980 h 6858000"/>
              <a:gd name="connsiteX72" fmla="*/ 1456157 w 7467600"/>
              <a:gd name="connsiteY72" fmla="*/ 5371404 h 6858000"/>
              <a:gd name="connsiteX73" fmla="*/ 1244432 w 7467600"/>
              <a:gd name="connsiteY73" fmla="*/ 5385601 h 6858000"/>
              <a:gd name="connsiteX74" fmla="*/ 973990 w 7467600"/>
              <a:gd name="connsiteY74" fmla="*/ 5424940 h 6858000"/>
              <a:gd name="connsiteX75" fmla="*/ 1103809 w 7467600"/>
              <a:gd name="connsiteY75" fmla="*/ 5433720 h 6858000"/>
              <a:gd name="connsiteX76" fmla="*/ 1123454 w 7467600"/>
              <a:gd name="connsiteY76" fmla="*/ 5435727 h 6858000"/>
              <a:gd name="connsiteX77" fmla="*/ 1737017 w 7467600"/>
              <a:gd name="connsiteY77" fmla="*/ 5452183 h 6858000"/>
              <a:gd name="connsiteX78" fmla="*/ 1824397 w 7467600"/>
              <a:gd name="connsiteY78" fmla="*/ 5447757 h 6858000"/>
              <a:gd name="connsiteX79" fmla="*/ 2070059 w 7467600"/>
              <a:gd name="connsiteY79" fmla="*/ 5441660 h 6858000"/>
              <a:gd name="connsiteX80" fmla="*/ 1456157 w 7467600"/>
              <a:gd name="connsiteY80" fmla="*/ 5371404 h 6858000"/>
              <a:gd name="connsiteX81" fmla="*/ 4988186 w 7467600"/>
              <a:gd name="connsiteY81" fmla="*/ 5216467 h 6858000"/>
              <a:gd name="connsiteX82" fmla="*/ 4777334 w 7467600"/>
              <a:gd name="connsiteY82" fmla="*/ 5406072 h 6858000"/>
              <a:gd name="connsiteX83" fmla="*/ 4718341 w 7467600"/>
              <a:gd name="connsiteY83" fmla="*/ 5468043 h 6858000"/>
              <a:gd name="connsiteX84" fmla="*/ 4604655 w 7467600"/>
              <a:gd name="connsiteY84" fmla="*/ 5583434 h 6858000"/>
              <a:gd name="connsiteX85" fmla="*/ 4565074 w 7467600"/>
              <a:gd name="connsiteY85" fmla="*/ 5618550 h 6858000"/>
              <a:gd name="connsiteX86" fmla="*/ 4988186 w 7467600"/>
              <a:gd name="connsiteY86" fmla="*/ 5216467 h 6858000"/>
              <a:gd name="connsiteX87" fmla="*/ 4978032 w 7467600"/>
              <a:gd name="connsiteY87" fmla="*/ 5183809 h 6858000"/>
              <a:gd name="connsiteX88" fmla="*/ 4463413 w 7467600"/>
              <a:gd name="connsiteY88" fmla="*/ 5615162 h 6858000"/>
              <a:gd name="connsiteX89" fmla="*/ 4358134 w 7467600"/>
              <a:gd name="connsiteY89" fmla="*/ 5742791 h 6858000"/>
              <a:gd name="connsiteX90" fmla="*/ 4376219 w 7467600"/>
              <a:gd name="connsiteY90" fmla="*/ 5729027 h 6858000"/>
              <a:gd name="connsiteX91" fmla="*/ 4582340 w 7467600"/>
              <a:gd name="connsiteY91" fmla="*/ 5561037 h 6858000"/>
              <a:gd name="connsiteX92" fmla="*/ 4694684 w 7467600"/>
              <a:gd name="connsiteY92" fmla="*/ 5447098 h 6858000"/>
              <a:gd name="connsiteX93" fmla="*/ 4754123 w 7467600"/>
              <a:gd name="connsiteY93" fmla="*/ 5384643 h 6858000"/>
              <a:gd name="connsiteX94" fmla="*/ 4978032 w 7467600"/>
              <a:gd name="connsiteY94" fmla="*/ 5183809 h 6858000"/>
              <a:gd name="connsiteX95" fmla="*/ 1903353 w 7467600"/>
              <a:gd name="connsiteY95" fmla="*/ 5044827 h 6858000"/>
              <a:gd name="connsiteX96" fmla="*/ 1936931 w 7467600"/>
              <a:gd name="connsiteY96" fmla="*/ 5093954 h 6858000"/>
              <a:gd name="connsiteX97" fmla="*/ 2195868 w 7467600"/>
              <a:gd name="connsiteY97" fmla="*/ 5396574 h 6858000"/>
              <a:gd name="connsiteX98" fmla="*/ 2088852 w 7467600"/>
              <a:gd name="connsiteY98" fmla="*/ 5166123 h 6858000"/>
              <a:gd name="connsiteX99" fmla="*/ 1958241 w 7467600"/>
              <a:gd name="connsiteY99" fmla="*/ 5067955 h 6858000"/>
              <a:gd name="connsiteX100" fmla="*/ 1903353 w 7467600"/>
              <a:gd name="connsiteY100" fmla="*/ 5044827 h 6858000"/>
              <a:gd name="connsiteX101" fmla="*/ 1979378 w 7467600"/>
              <a:gd name="connsiteY101" fmla="*/ 4769504 h 6858000"/>
              <a:gd name="connsiteX102" fmla="*/ 2882120 w 7467600"/>
              <a:gd name="connsiteY102" fmla="*/ 5064547 h 6858000"/>
              <a:gd name="connsiteX103" fmla="*/ 2793103 w 7467600"/>
              <a:gd name="connsiteY103" fmla="*/ 5039699 h 6858000"/>
              <a:gd name="connsiteX104" fmla="*/ 2770041 w 7467600"/>
              <a:gd name="connsiteY104" fmla="*/ 5033634 h 6858000"/>
              <a:gd name="connsiteX105" fmla="*/ 1979378 w 7467600"/>
              <a:gd name="connsiteY105" fmla="*/ 4769504 h 6858000"/>
              <a:gd name="connsiteX106" fmla="*/ 1927410 w 7467600"/>
              <a:gd name="connsiteY106" fmla="*/ 4716164 h 6858000"/>
              <a:gd name="connsiteX107" fmla="*/ 1959587 w 7467600"/>
              <a:gd name="connsiteY107" fmla="*/ 4728849 h 6858000"/>
              <a:gd name="connsiteX108" fmla="*/ 2777707 w 7467600"/>
              <a:gd name="connsiteY108" fmla="*/ 5003991 h 6858000"/>
              <a:gd name="connsiteX109" fmla="*/ 2800768 w 7467600"/>
              <a:gd name="connsiteY109" fmla="*/ 5010056 h 6858000"/>
              <a:gd name="connsiteX110" fmla="*/ 2879408 w 7467600"/>
              <a:gd name="connsiteY110" fmla="*/ 5031590 h 6858000"/>
              <a:gd name="connsiteX111" fmla="*/ 2862295 w 7467600"/>
              <a:gd name="connsiteY111" fmla="*/ 5022958 h 6858000"/>
              <a:gd name="connsiteX112" fmla="*/ 2813343 w 7467600"/>
              <a:gd name="connsiteY112" fmla="*/ 4998369 h 6858000"/>
              <a:gd name="connsiteX113" fmla="*/ 2646245 w 7467600"/>
              <a:gd name="connsiteY113" fmla="*/ 4930999 h 6858000"/>
              <a:gd name="connsiteX114" fmla="*/ 1999243 w 7467600"/>
              <a:gd name="connsiteY114" fmla="*/ 4730524 h 6858000"/>
              <a:gd name="connsiteX115" fmla="*/ 1979527 w 7467600"/>
              <a:gd name="connsiteY115" fmla="*/ 4726651 h 6858000"/>
              <a:gd name="connsiteX116" fmla="*/ 1927410 w 7467600"/>
              <a:gd name="connsiteY116" fmla="*/ 4716164 h 6858000"/>
              <a:gd name="connsiteX117" fmla="*/ 1997014 w 7467600"/>
              <a:gd name="connsiteY117" fmla="*/ 4698007 h 6858000"/>
              <a:gd name="connsiteX118" fmla="*/ 2005458 w 7467600"/>
              <a:gd name="connsiteY118" fmla="*/ 4699540 h 6858000"/>
              <a:gd name="connsiteX119" fmla="*/ 2657186 w 7467600"/>
              <a:gd name="connsiteY119" fmla="*/ 4901687 h 6858000"/>
              <a:gd name="connsiteX120" fmla="*/ 2826662 w 7467600"/>
              <a:gd name="connsiteY120" fmla="*/ 4970362 h 6858000"/>
              <a:gd name="connsiteX121" fmla="*/ 2876100 w 7467600"/>
              <a:gd name="connsiteY121" fmla="*/ 4995397 h 6858000"/>
              <a:gd name="connsiteX122" fmla="*/ 3042600 w 7467600"/>
              <a:gd name="connsiteY122" fmla="*/ 5059532 h 6858000"/>
              <a:gd name="connsiteX123" fmla="*/ 1997014 w 7467600"/>
              <a:gd name="connsiteY123" fmla="*/ 4698007 h 6858000"/>
              <a:gd name="connsiteX124" fmla="*/ 2305292 w 7467600"/>
              <a:gd name="connsiteY124" fmla="*/ 4219492 h 6858000"/>
              <a:gd name="connsiteX125" fmla="*/ 3360922 w 7467600"/>
              <a:gd name="connsiteY125" fmla="*/ 4529373 h 6858000"/>
              <a:gd name="connsiteX126" fmla="*/ 3492420 w 7467600"/>
              <a:gd name="connsiteY126" fmla="*/ 4510145 h 6858000"/>
              <a:gd name="connsiteX127" fmla="*/ 3364086 w 7467600"/>
              <a:gd name="connsiteY127" fmla="*/ 4480340 h 6858000"/>
              <a:gd name="connsiteX128" fmla="*/ 3225818 w 7467600"/>
              <a:gd name="connsiteY128" fmla="*/ 4411822 h 6858000"/>
              <a:gd name="connsiteX129" fmla="*/ 3129696 w 7467600"/>
              <a:gd name="connsiteY129" fmla="*/ 4360704 h 6858000"/>
              <a:gd name="connsiteX130" fmla="*/ 2814545 w 7467600"/>
              <a:gd name="connsiteY130" fmla="*/ 4282955 h 6858000"/>
              <a:gd name="connsiteX131" fmla="*/ 2305292 w 7467600"/>
              <a:gd name="connsiteY131" fmla="*/ 4219492 h 6858000"/>
              <a:gd name="connsiteX132" fmla="*/ 2626982 w 7467600"/>
              <a:gd name="connsiteY132" fmla="*/ 4206450 h 6858000"/>
              <a:gd name="connsiteX133" fmla="*/ 2490617 w 7467600"/>
              <a:gd name="connsiteY133" fmla="*/ 4206951 h 6858000"/>
              <a:gd name="connsiteX134" fmla="*/ 2819869 w 7467600"/>
              <a:gd name="connsiteY134" fmla="*/ 4252936 h 6858000"/>
              <a:gd name="connsiteX135" fmla="*/ 3143018 w 7467600"/>
              <a:gd name="connsiteY135" fmla="*/ 4332698 h 6858000"/>
              <a:gd name="connsiteX136" fmla="*/ 3241520 w 7467600"/>
              <a:gd name="connsiteY136" fmla="*/ 4385112 h 6858000"/>
              <a:gd name="connsiteX137" fmla="*/ 3374575 w 7467600"/>
              <a:gd name="connsiteY137" fmla="*/ 4451517 h 6858000"/>
              <a:gd name="connsiteX138" fmla="*/ 3505221 w 7467600"/>
              <a:gd name="connsiteY138" fmla="*/ 4480757 h 6858000"/>
              <a:gd name="connsiteX139" fmla="*/ 2626982 w 7467600"/>
              <a:gd name="connsiteY139" fmla="*/ 4206450 h 6858000"/>
              <a:gd name="connsiteX140" fmla="*/ 1310106 w 7467600"/>
              <a:gd name="connsiteY140" fmla="*/ 3943217 h 6858000"/>
              <a:gd name="connsiteX141" fmla="*/ 854994 w 7467600"/>
              <a:gd name="connsiteY141" fmla="*/ 4399136 h 6858000"/>
              <a:gd name="connsiteX142" fmla="*/ 742462 w 7467600"/>
              <a:gd name="connsiteY142" fmla="*/ 4594648 h 6858000"/>
              <a:gd name="connsiteX143" fmla="*/ 820602 w 7467600"/>
              <a:gd name="connsiteY143" fmla="*/ 4485915 h 6858000"/>
              <a:gd name="connsiteX144" fmla="*/ 878295 w 7467600"/>
              <a:gd name="connsiteY144" fmla="*/ 4403594 h 6858000"/>
              <a:gd name="connsiteX145" fmla="*/ 1240607 w 7467600"/>
              <a:gd name="connsiteY145" fmla="*/ 4010401 h 6858000"/>
              <a:gd name="connsiteX146" fmla="*/ 1310106 w 7467600"/>
              <a:gd name="connsiteY146" fmla="*/ 3943217 h 6858000"/>
              <a:gd name="connsiteX147" fmla="*/ 1423113 w 7467600"/>
              <a:gd name="connsiteY147" fmla="*/ 3874565 h 6858000"/>
              <a:gd name="connsiteX148" fmla="*/ 1260565 w 7467600"/>
              <a:gd name="connsiteY148" fmla="*/ 4031982 h 6858000"/>
              <a:gd name="connsiteX149" fmla="*/ 901900 w 7467600"/>
              <a:gd name="connsiteY149" fmla="*/ 4421236 h 6858000"/>
              <a:gd name="connsiteX150" fmla="*/ 845044 w 7467600"/>
              <a:gd name="connsiteY150" fmla="*/ 4502436 h 6858000"/>
              <a:gd name="connsiteX151" fmla="*/ 685926 w 7467600"/>
              <a:gd name="connsiteY151" fmla="*/ 4703069 h 6858000"/>
              <a:gd name="connsiteX152" fmla="*/ 684248 w 7467600"/>
              <a:gd name="connsiteY152" fmla="*/ 4706721 h 6858000"/>
              <a:gd name="connsiteX153" fmla="*/ 1423113 w 7467600"/>
              <a:gd name="connsiteY153" fmla="*/ 3874565 h 6858000"/>
              <a:gd name="connsiteX154" fmla="*/ 3316479 w 7467600"/>
              <a:gd name="connsiteY154" fmla="*/ 3872136 h 6858000"/>
              <a:gd name="connsiteX155" fmla="*/ 3546806 w 7467600"/>
              <a:gd name="connsiteY155" fmla="*/ 4356139 h 6858000"/>
              <a:gd name="connsiteX156" fmla="*/ 3364433 w 7467600"/>
              <a:gd name="connsiteY156" fmla="*/ 3953121 h 6858000"/>
              <a:gd name="connsiteX157" fmla="*/ 3316479 w 7467600"/>
              <a:gd name="connsiteY157" fmla="*/ 3872136 h 6858000"/>
              <a:gd name="connsiteX158" fmla="*/ 3291335 w 7467600"/>
              <a:gd name="connsiteY158" fmla="*/ 3767420 h 6858000"/>
              <a:gd name="connsiteX159" fmla="*/ 3390805 w 7467600"/>
              <a:gd name="connsiteY159" fmla="*/ 3937163 h 6858000"/>
              <a:gd name="connsiteX160" fmla="*/ 3579062 w 7467600"/>
              <a:gd name="connsiteY160" fmla="*/ 4359040 h 6858000"/>
              <a:gd name="connsiteX161" fmla="*/ 3467355 w 7467600"/>
              <a:gd name="connsiteY161" fmla="*/ 3988130 h 6858000"/>
              <a:gd name="connsiteX162" fmla="*/ 3310753 w 7467600"/>
              <a:gd name="connsiteY162" fmla="*/ 3787140 h 6858000"/>
              <a:gd name="connsiteX163" fmla="*/ 3291335 w 7467600"/>
              <a:gd name="connsiteY163" fmla="*/ 3767420 h 6858000"/>
              <a:gd name="connsiteX164" fmla="*/ 1635889 w 7467600"/>
              <a:gd name="connsiteY164" fmla="*/ 3709494 h 6858000"/>
              <a:gd name="connsiteX165" fmla="*/ 1634800 w 7467600"/>
              <a:gd name="connsiteY165" fmla="*/ 3731111 h 6858000"/>
              <a:gd name="connsiteX166" fmla="*/ 1635889 w 7467600"/>
              <a:gd name="connsiteY166" fmla="*/ 3709494 h 6858000"/>
              <a:gd name="connsiteX167" fmla="*/ 1510397 w 7467600"/>
              <a:gd name="connsiteY167" fmla="*/ 3684705 h 6858000"/>
              <a:gd name="connsiteX168" fmla="*/ 1146550 w 7467600"/>
              <a:gd name="connsiteY168" fmla="*/ 3802012 h 6858000"/>
              <a:gd name="connsiteX169" fmla="*/ 698834 w 7467600"/>
              <a:gd name="connsiteY169" fmla="*/ 3952272 h 6858000"/>
              <a:gd name="connsiteX170" fmla="*/ 34256 w 7467600"/>
              <a:gd name="connsiteY170" fmla="*/ 4347603 h 6858000"/>
              <a:gd name="connsiteX171" fmla="*/ 527241 w 7467600"/>
              <a:gd name="connsiteY171" fmla="*/ 4065078 h 6858000"/>
              <a:gd name="connsiteX172" fmla="*/ 1510397 w 7467600"/>
              <a:gd name="connsiteY172" fmla="*/ 3684705 h 6858000"/>
              <a:gd name="connsiteX173" fmla="*/ 1313114 w 7467600"/>
              <a:gd name="connsiteY173" fmla="*/ 3655216 h 6858000"/>
              <a:gd name="connsiteX174" fmla="*/ 1109304 w 7467600"/>
              <a:gd name="connsiteY174" fmla="*/ 3669030 h 6858000"/>
              <a:gd name="connsiteX175" fmla="*/ 8129 w 7467600"/>
              <a:gd name="connsiteY175" fmla="*/ 4330519 h 6858000"/>
              <a:gd name="connsiteX176" fmla="*/ 687572 w 7467600"/>
              <a:gd name="connsiteY176" fmla="*/ 3925629 h 6858000"/>
              <a:gd name="connsiteX177" fmla="*/ 1138365 w 7467600"/>
              <a:gd name="connsiteY177" fmla="*/ 3774515 h 6858000"/>
              <a:gd name="connsiteX178" fmla="*/ 1505579 w 7467600"/>
              <a:gd name="connsiteY178" fmla="*/ 3655526 h 6858000"/>
              <a:gd name="connsiteX179" fmla="*/ 1313114 w 7467600"/>
              <a:gd name="connsiteY179" fmla="*/ 3655216 h 6858000"/>
              <a:gd name="connsiteX180" fmla="*/ 3655073 w 7467600"/>
              <a:gd name="connsiteY180" fmla="*/ 3650884 h 6858000"/>
              <a:gd name="connsiteX181" fmla="*/ 3989938 w 7467600"/>
              <a:gd name="connsiteY181" fmla="*/ 3991685 h 6858000"/>
              <a:gd name="connsiteX182" fmla="*/ 4393907 w 7467600"/>
              <a:gd name="connsiteY182" fmla="*/ 4261258 h 6858000"/>
              <a:gd name="connsiteX183" fmla="*/ 4648051 w 7467600"/>
              <a:gd name="connsiteY183" fmla="*/ 4374051 h 6858000"/>
              <a:gd name="connsiteX184" fmla="*/ 4383389 w 7467600"/>
              <a:gd name="connsiteY184" fmla="*/ 4184369 h 6858000"/>
              <a:gd name="connsiteX185" fmla="*/ 4165508 w 7467600"/>
              <a:gd name="connsiteY185" fmla="*/ 4035196 h 6858000"/>
              <a:gd name="connsiteX186" fmla="*/ 4068162 w 7467600"/>
              <a:gd name="connsiteY186" fmla="*/ 3953394 h 6858000"/>
              <a:gd name="connsiteX187" fmla="*/ 3981416 w 7467600"/>
              <a:gd name="connsiteY187" fmla="*/ 3880482 h 6858000"/>
              <a:gd name="connsiteX188" fmla="*/ 3800147 w 7467600"/>
              <a:gd name="connsiteY188" fmla="*/ 3749872 h 6858000"/>
              <a:gd name="connsiteX189" fmla="*/ 3655073 w 7467600"/>
              <a:gd name="connsiteY189" fmla="*/ 3650884 h 6858000"/>
              <a:gd name="connsiteX190" fmla="*/ 3670252 w 7467600"/>
              <a:gd name="connsiteY190" fmla="*/ 3622798 h 6858000"/>
              <a:gd name="connsiteX191" fmla="*/ 3817258 w 7467600"/>
              <a:gd name="connsiteY191" fmla="*/ 3723577 h 6858000"/>
              <a:gd name="connsiteX192" fmla="*/ 4000461 w 7467600"/>
              <a:gd name="connsiteY192" fmla="*/ 3855966 h 6858000"/>
              <a:gd name="connsiteX193" fmla="*/ 4088180 w 7467600"/>
              <a:gd name="connsiteY193" fmla="*/ 3929774 h 6858000"/>
              <a:gd name="connsiteX194" fmla="*/ 4184555 w 7467600"/>
              <a:gd name="connsiteY194" fmla="*/ 4010683 h 6858000"/>
              <a:gd name="connsiteX195" fmla="*/ 4399563 w 7467600"/>
              <a:gd name="connsiteY195" fmla="*/ 4158106 h 6858000"/>
              <a:gd name="connsiteX196" fmla="*/ 4684469 w 7467600"/>
              <a:gd name="connsiteY196" fmla="*/ 4364680 h 6858000"/>
              <a:gd name="connsiteX197" fmla="*/ 4690271 w 7467600"/>
              <a:gd name="connsiteY197" fmla="*/ 4370034 h 6858000"/>
              <a:gd name="connsiteX198" fmla="*/ 4136093 w 7467600"/>
              <a:gd name="connsiteY198" fmla="*/ 3858466 h 6858000"/>
              <a:gd name="connsiteX199" fmla="*/ 3670252 w 7467600"/>
              <a:gd name="connsiteY199" fmla="*/ 3622798 h 6858000"/>
              <a:gd name="connsiteX200" fmla="*/ 4440129 w 7467600"/>
              <a:gd name="connsiteY200" fmla="*/ 3448571 h 6858000"/>
              <a:gd name="connsiteX201" fmla="*/ 4856525 w 7467600"/>
              <a:gd name="connsiteY201" fmla="*/ 3915351 h 6858000"/>
              <a:gd name="connsiteX202" fmla="*/ 5059055 w 7467600"/>
              <a:gd name="connsiteY202" fmla="*/ 4108918 h 6858000"/>
              <a:gd name="connsiteX203" fmla="*/ 5290070 w 7467600"/>
              <a:gd name="connsiteY203" fmla="*/ 4263619 h 6858000"/>
              <a:gd name="connsiteX204" fmla="*/ 4834991 w 7467600"/>
              <a:gd name="connsiteY204" fmla="*/ 3830985 h 6858000"/>
              <a:gd name="connsiteX205" fmla="*/ 4440129 w 7467600"/>
              <a:gd name="connsiteY205" fmla="*/ 3448571 h 6858000"/>
              <a:gd name="connsiteX206" fmla="*/ 4441737 w 7467600"/>
              <a:gd name="connsiteY206" fmla="*/ 3399734 h 6858000"/>
              <a:gd name="connsiteX207" fmla="*/ 4431236 w 7467600"/>
              <a:gd name="connsiteY207" fmla="*/ 3400954 h 6858000"/>
              <a:gd name="connsiteX208" fmla="*/ 4557150 w 7467600"/>
              <a:gd name="connsiteY208" fmla="*/ 3510023 h 6858000"/>
              <a:gd name="connsiteX209" fmla="*/ 4856936 w 7467600"/>
              <a:gd name="connsiteY209" fmla="*/ 3809146 h 6858000"/>
              <a:gd name="connsiteX210" fmla="*/ 5111996 w 7467600"/>
              <a:gd name="connsiteY210" fmla="*/ 4065759 h 6858000"/>
              <a:gd name="connsiteX211" fmla="*/ 5388878 w 7467600"/>
              <a:gd name="connsiteY211" fmla="*/ 4300185 h 6858000"/>
              <a:gd name="connsiteX212" fmla="*/ 5425556 w 7467600"/>
              <a:gd name="connsiteY212" fmla="*/ 4308967 h 6858000"/>
              <a:gd name="connsiteX213" fmla="*/ 4943646 w 7467600"/>
              <a:gd name="connsiteY213" fmla="*/ 3822916 h 6858000"/>
              <a:gd name="connsiteX214" fmla="*/ 4594837 w 7467600"/>
              <a:gd name="connsiteY214" fmla="*/ 3532274 h 6858000"/>
              <a:gd name="connsiteX215" fmla="*/ 4441737 w 7467600"/>
              <a:gd name="connsiteY215" fmla="*/ 3399734 h 6858000"/>
              <a:gd name="connsiteX216" fmla="*/ 5425834 w 7467600"/>
              <a:gd name="connsiteY216" fmla="*/ 3162785 h 6858000"/>
              <a:gd name="connsiteX217" fmla="*/ 5401644 w 7467600"/>
              <a:gd name="connsiteY217" fmla="*/ 3617847 h 6858000"/>
              <a:gd name="connsiteX218" fmla="*/ 5467256 w 7467600"/>
              <a:gd name="connsiteY218" fmla="*/ 4175494 h 6858000"/>
              <a:gd name="connsiteX219" fmla="*/ 5448069 w 7467600"/>
              <a:gd name="connsiteY219" fmla="*/ 3567554 h 6858000"/>
              <a:gd name="connsiteX220" fmla="*/ 5425834 w 7467600"/>
              <a:gd name="connsiteY220" fmla="*/ 3162785 h 6858000"/>
              <a:gd name="connsiteX221" fmla="*/ 1318687 w 7467600"/>
              <a:gd name="connsiteY221" fmla="*/ 3113840 h 6858000"/>
              <a:gd name="connsiteX222" fmla="*/ 1066793 w 7467600"/>
              <a:gd name="connsiteY222" fmla="*/ 3212171 h 6858000"/>
              <a:gd name="connsiteX223" fmla="*/ 993319 w 7467600"/>
              <a:gd name="connsiteY223" fmla="*/ 3247648 h 6858000"/>
              <a:gd name="connsiteX224" fmla="*/ 853081 w 7467600"/>
              <a:gd name="connsiteY224" fmla="*/ 3312410 h 6858000"/>
              <a:gd name="connsiteX225" fmla="*/ 805957 w 7467600"/>
              <a:gd name="connsiteY225" fmla="*/ 3330443 h 6858000"/>
              <a:gd name="connsiteX226" fmla="*/ 1318687 w 7467600"/>
              <a:gd name="connsiteY226" fmla="*/ 3113840 h 6858000"/>
              <a:gd name="connsiteX227" fmla="*/ 5453702 w 7467600"/>
              <a:gd name="connsiteY227" fmla="*/ 3090882 h 6858000"/>
              <a:gd name="connsiteX228" fmla="*/ 5480135 w 7467600"/>
              <a:gd name="connsiteY228" fmla="*/ 3565802 h 6858000"/>
              <a:gd name="connsiteX229" fmla="*/ 5499023 w 7467600"/>
              <a:gd name="connsiteY229" fmla="*/ 4166310 h 6858000"/>
              <a:gd name="connsiteX230" fmla="*/ 5547022 w 7467600"/>
              <a:gd name="connsiteY230" fmla="*/ 3607838 h 6858000"/>
              <a:gd name="connsiteX231" fmla="*/ 5515964 w 7467600"/>
              <a:gd name="connsiteY231" fmla="*/ 3378541 h 6858000"/>
              <a:gd name="connsiteX232" fmla="*/ 5453702 w 7467600"/>
              <a:gd name="connsiteY232" fmla="*/ 3090882 h 6858000"/>
              <a:gd name="connsiteX233" fmla="*/ 1238695 w 7467600"/>
              <a:gd name="connsiteY233" fmla="*/ 3076820 h 6858000"/>
              <a:gd name="connsiteX234" fmla="*/ 716371 w 7467600"/>
              <a:gd name="connsiteY234" fmla="*/ 3293249 h 6858000"/>
              <a:gd name="connsiteX235" fmla="*/ 579522 w 7467600"/>
              <a:gd name="connsiteY235" fmla="*/ 3371759 h 6858000"/>
              <a:gd name="connsiteX236" fmla="*/ 600288 w 7467600"/>
              <a:gd name="connsiteY236" fmla="*/ 3365555 h 6858000"/>
              <a:gd name="connsiteX237" fmla="*/ 840692 w 7467600"/>
              <a:gd name="connsiteY237" fmla="*/ 3284921 h 6858000"/>
              <a:gd name="connsiteX238" fmla="*/ 979248 w 7467600"/>
              <a:gd name="connsiteY238" fmla="*/ 3221003 h 6858000"/>
              <a:gd name="connsiteX239" fmla="*/ 1053282 w 7467600"/>
              <a:gd name="connsiteY239" fmla="*/ 3185247 h 6858000"/>
              <a:gd name="connsiteX240" fmla="*/ 1320603 w 7467600"/>
              <a:gd name="connsiteY240" fmla="*/ 3081281 h 6858000"/>
              <a:gd name="connsiteX241" fmla="*/ 1238695 w 7467600"/>
              <a:gd name="connsiteY241" fmla="*/ 3076820 h 6858000"/>
              <a:gd name="connsiteX242" fmla="*/ 5425627 w 7467600"/>
              <a:gd name="connsiteY242" fmla="*/ 2954192 h 6858000"/>
              <a:gd name="connsiteX243" fmla="*/ 5470770 w 7467600"/>
              <a:gd name="connsiteY243" fmla="*/ 3005435 h 6858000"/>
              <a:gd name="connsiteX244" fmla="*/ 5519779 w 7467600"/>
              <a:gd name="connsiteY244" fmla="*/ 4359223 h 6858000"/>
              <a:gd name="connsiteX245" fmla="*/ 5520293 w 7467600"/>
              <a:gd name="connsiteY245" fmla="*/ 4360602 h 6858000"/>
              <a:gd name="connsiteX246" fmla="*/ 5767221 w 7467600"/>
              <a:gd name="connsiteY246" fmla="*/ 4665564 h 6858000"/>
              <a:gd name="connsiteX247" fmla="*/ 6937169 w 7467600"/>
              <a:gd name="connsiteY247" fmla="*/ 4815941 h 6858000"/>
              <a:gd name="connsiteX248" fmla="*/ 6953922 w 7467600"/>
              <a:gd name="connsiteY248" fmla="*/ 4890068 h 6858000"/>
              <a:gd name="connsiteX249" fmla="*/ 6071359 w 7467600"/>
              <a:gd name="connsiteY249" fmla="*/ 4770770 h 6858000"/>
              <a:gd name="connsiteX250" fmla="*/ 6038839 w 7467600"/>
              <a:gd name="connsiteY250" fmla="*/ 4764474 h 6858000"/>
              <a:gd name="connsiteX251" fmla="*/ 6038706 w 7467600"/>
              <a:gd name="connsiteY251" fmla="*/ 4763847 h 6858000"/>
              <a:gd name="connsiteX252" fmla="*/ 6037784 w 7467600"/>
              <a:gd name="connsiteY252" fmla="*/ 4764270 h 6858000"/>
              <a:gd name="connsiteX253" fmla="*/ 6038839 w 7467600"/>
              <a:gd name="connsiteY253" fmla="*/ 4764474 h 6858000"/>
              <a:gd name="connsiteX254" fmla="*/ 6040338 w 7467600"/>
              <a:gd name="connsiteY254" fmla="*/ 4771418 h 6858000"/>
              <a:gd name="connsiteX255" fmla="*/ 6024488 w 7467600"/>
              <a:gd name="connsiteY255" fmla="*/ 4809903 h 6858000"/>
              <a:gd name="connsiteX256" fmla="*/ 5599771 w 7467600"/>
              <a:gd name="connsiteY256" fmla="*/ 5509652 h 6858000"/>
              <a:gd name="connsiteX257" fmla="*/ 5548843 w 7467600"/>
              <a:gd name="connsiteY257" fmla="*/ 5563845 h 6858000"/>
              <a:gd name="connsiteX258" fmla="*/ 5940952 w 7467600"/>
              <a:gd name="connsiteY258" fmla="*/ 6250028 h 6858000"/>
              <a:gd name="connsiteX259" fmla="*/ 6043441 w 7467600"/>
              <a:gd name="connsiteY259" fmla="*/ 6665847 h 6858000"/>
              <a:gd name="connsiteX260" fmla="*/ 6093432 w 7467600"/>
              <a:gd name="connsiteY260" fmla="*/ 6858000 h 6858000"/>
              <a:gd name="connsiteX261" fmla="*/ 6034344 w 7467600"/>
              <a:gd name="connsiteY261" fmla="*/ 6858000 h 6858000"/>
              <a:gd name="connsiteX262" fmla="*/ 6026679 w 7467600"/>
              <a:gd name="connsiteY262" fmla="*/ 6836959 h 6858000"/>
              <a:gd name="connsiteX263" fmla="*/ 5800441 w 7467600"/>
              <a:gd name="connsiteY263" fmla="*/ 6335286 h 6858000"/>
              <a:gd name="connsiteX264" fmla="*/ 5526562 w 7467600"/>
              <a:gd name="connsiteY264" fmla="*/ 5705388 h 6858000"/>
              <a:gd name="connsiteX265" fmla="*/ 5519640 w 7467600"/>
              <a:gd name="connsiteY265" fmla="*/ 5683774 h 6858000"/>
              <a:gd name="connsiteX266" fmla="*/ 5844559 w 7467600"/>
              <a:gd name="connsiteY266" fmla="*/ 6553349 h 6858000"/>
              <a:gd name="connsiteX267" fmla="*/ 5975994 w 7467600"/>
              <a:gd name="connsiteY267" fmla="*/ 6858000 h 6858000"/>
              <a:gd name="connsiteX268" fmla="*/ 5898547 w 7467600"/>
              <a:gd name="connsiteY268" fmla="*/ 6858000 h 6858000"/>
              <a:gd name="connsiteX269" fmla="*/ 5682041 w 7467600"/>
              <a:gd name="connsiteY269" fmla="*/ 6355860 h 6858000"/>
              <a:gd name="connsiteX270" fmla="*/ 5461758 w 7467600"/>
              <a:gd name="connsiteY270" fmla="*/ 5820220 h 6858000"/>
              <a:gd name="connsiteX271" fmla="*/ 5237282 w 7467600"/>
              <a:gd name="connsiteY271" fmla="*/ 6579086 h 6858000"/>
              <a:gd name="connsiteX272" fmla="*/ 5115009 w 7467600"/>
              <a:gd name="connsiteY272" fmla="*/ 6858000 h 6858000"/>
              <a:gd name="connsiteX273" fmla="*/ 5028074 w 7467600"/>
              <a:gd name="connsiteY273" fmla="*/ 6858000 h 6858000"/>
              <a:gd name="connsiteX274" fmla="*/ 5079508 w 7467600"/>
              <a:gd name="connsiteY274" fmla="*/ 6749074 h 6858000"/>
              <a:gd name="connsiteX275" fmla="*/ 5371846 w 7467600"/>
              <a:gd name="connsiteY275" fmla="*/ 5924413 h 6858000"/>
              <a:gd name="connsiteX276" fmla="*/ 5270512 w 7467600"/>
              <a:gd name="connsiteY276" fmla="*/ 6138975 h 6858000"/>
              <a:gd name="connsiteX277" fmla="*/ 5062409 w 7467600"/>
              <a:gd name="connsiteY277" fmla="*/ 6653544 h 6858000"/>
              <a:gd name="connsiteX278" fmla="*/ 5036628 w 7467600"/>
              <a:gd name="connsiteY278" fmla="*/ 6754247 h 6858000"/>
              <a:gd name="connsiteX279" fmla="*/ 5009112 w 7467600"/>
              <a:gd name="connsiteY279" fmla="*/ 6858000 h 6858000"/>
              <a:gd name="connsiteX280" fmla="*/ 4976679 w 7467600"/>
              <a:gd name="connsiteY280" fmla="*/ 6858000 h 6858000"/>
              <a:gd name="connsiteX281" fmla="*/ 5006537 w 7467600"/>
              <a:gd name="connsiteY281" fmla="*/ 6747068 h 6858000"/>
              <a:gd name="connsiteX282" fmla="*/ 5032723 w 7467600"/>
              <a:gd name="connsiteY282" fmla="*/ 6644957 h 6858000"/>
              <a:gd name="connsiteX283" fmla="*/ 5242949 w 7467600"/>
              <a:gd name="connsiteY283" fmla="*/ 6125175 h 6858000"/>
              <a:gd name="connsiteX284" fmla="*/ 5286321 w 7467600"/>
              <a:gd name="connsiteY284" fmla="*/ 6033555 h 6858000"/>
              <a:gd name="connsiteX285" fmla="*/ 5008210 w 7467600"/>
              <a:gd name="connsiteY285" fmla="*/ 6649194 h 6858000"/>
              <a:gd name="connsiteX286" fmla="*/ 4986321 w 7467600"/>
              <a:gd name="connsiteY286" fmla="*/ 6765687 h 6858000"/>
              <a:gd name="connsiteX287" fmla="*/ 4973474 w 7467600"/>
              <a:gd name="connsiteY287" fmla="*/ 6858000 h 6858000"/>
              <a:gd name="connsiteX288" fmla="*/ 4907178 w 7467600"/>
              <a:gd name="connsiteY288" fmla="*/ 6858000 h 6858000"/>
              <a:gd name="connsiteX289" fmla="*/ 4910810 w 7467600"/>
              <a:gd name="connsiteY289" fmla="*/ 6829660 h 6858000"/>
              <a:gd name="connsiteX290" fmla="*/ 4987461 w 7467600"/>
              <a:gd name="connsiteY290" fmla="*/ 6432994 h 6858000"/>
              <a:gd name="connsiteX291" fmla="*/ 5179262 w 7467600"/>
              <a:gd name="connsiteY291" fmla="*/ 6035044 h 6858000"/>
              <a:gd name="connsiteX292" fmla="*/ 4689678 w 7467600"/>
              <a:gd name="connsiteY292" fmla="*/ 6440241 h 6858000"/>
              <a:gd name="connsiteX293" fmla="*/ 4477543 w 7467600"/>
              <a:gd name="connsiteY293" fmla="*/ 6674836 h 6858000"/>
              <a:gd name="connsiteX294" fmla="*/ 4329957 w 7467600"/>
              <a:gd name="connsiteY294" fmla="*/ 6858000 h 6858000"/>
              <a:gd name="connsiteX295" fmla="*/ 4218595 w 7467600"/>
              <a:gd name="connsiteY295" fmla="*/ 6858000 h 6858000"/>
              <a:gd name="connsiteX296" fmla="*/ 4368888 w 7467600"/>
              <a:gd name="connsiteY296" fmla="*/ 6668412 h 6858000"/>
              <a:gd name="connsiteX297" fmla="*/ 4563091 w 7467600"/>
              <a:gd name="connsiteY297" fmla="*/ 6442508 h 6858000"/>
              <a:gd name="connsiteX298" fmla="*/ 5387324 w 7467600"/>
              <a:gd name="connsiteY298" fmla="*/ 5705830 h 6858000"/>
              <a:gd name="connsiteX299" fmla="*/ 5073620 w 7467600"/>
              <a:gd name="connsiteY299" fmla="*/ 5955437 h 6858000"/>
              <a:gd name="connsiteX300" fmla="*/ 4689789 w 7467600"/>
              <a:gd name="connsiteY300" fmla="*/ 6268382 h 6858000"/>
              <a:gd name="connsiteX301" fmla="*/ 4418722 w 7467600"/>
              <a:gd name="connsiteY301" fmla="*/ 6570886 h 6858000"/>
              <a:gd name="connsiteX302" fmla="*/ 4214944 w 7467600"/>
              <a:gd name="connsiteY302" fmla="*/ 6858000 h 6858000"/>
              <a:gd name="connsiteX303" fmla="*/ 4177898 w 7467600"/>
              <a:gd name="connsiteY303" fmla="*/ 6858000 h 6858000"/>
              <a:gd name="connsiteX304" fmla="*/ 4391597 w 7467600"/>
              <a:gd name="connsiteY304" fmla="*/ 6556370 h 6858000"/>
              <a:gd name="connsiteX305" fmla="*/ 4668889 w 7467600"/>
              <a:gd name="connsiteY305" fmla="*/ 6246399 h 6858000"/>
              <a:gd name="connsiteX306" fmla="*/ 5055427 w 7467600"/>
              <a:gd name="connsiteY306" fmla="*/ 5931476 h 6858000"/>
              <a:gd name="connsiteX307" fmla="*/ 5371814 w 7467600"/>
              <a:gd name="connsiteY307" fmla="*/ 5678975 h 6858000"/>
              <a:gd name="connsiteX308" fmla="*/ 4987918 w 7467600"/>
              <a:gd name="connsiteY308" fmla="*/ 5838701 h 6858000"/>
              <a:gd name="connsiteX309" fmla="*/ 4317146 w 7467600"/>
              <a:gd name="connsiteY309" fmla="*/ 6587716 h 6858000"/>
              <a:gd name="connsiteX310" fmla="*/ 4171627 w 7467600"/>
              <a:gd name="connsiteY310" fmla="*/ 6858000 h 6858000"/>
              <a:gd name="connsiteX311" fmla="*/ 4081585 w 7467600"/>
              <a:gd name="connsiteY311" fmla="*/ 6858000 h 6858000"/>
              <a:gd name="connsiteX312" fmla="*/ 4238603 w 7467600"/>
              <a:gd name="connsiteY312" fmla="*/ 6559341 h 6858000"/>
              <a:gd name="connsiteX313" fmla="*/ 4778333 w 7467600"/>
              <a:gd name="connsiteY313" fmla="*/ 5873626 h 6858000"/>
              <a:gd name="connsiteX314" fmla="*/ 5414185 w 7467600"/>
              <a:gd name="connsiteY314" fmla="*/ 5573882 h 6858000"/>
              <a:gd name="connsiteX315" fmla="*/ 5959648 w 7467600"/>
              <a:gd name="connsiteY315" fmla="*/ 4760797 h 6858000"/>
              <a:gd name="connsiteX316" fmla="*/ 5355019 w 7467600"/>
              <a:gd name="connsiteY316" fmla="*/ 4734672 h 6858000"/>
              <a:gd name="connsiteX317" fmla="*/ 5083565 w 7467600"/>
              <a:gd name="connsiteY317" fmla="*/ 5179121 h 6858000"/>
              <a:gd name="connsiteX318" fmla="*/ 4713577 w 7467600"/>
              <a:gd name="connsiteY318" fmla="*/ 5616803 h 6858000"/>
              <a:gd name="connsiteX319" fmla="*/ 3989559 w 7467600"/>
              <a:gd name="connsiteY319" fmla="*/ 6145945 h 6858000"/>
              <a:gd name="connsiteX320" fmla="*/ 3939824 w 7467600"/>
              <a:gd name="connsiteY320" fmla="*/ 6066900 h 6858000"/>
              <a:gd name="connsiteX321" fmla="*/ 4584537 w 7467600"/>
              <a:gd name="connsiteY321" fmla="*/ 5324826 h 6858000"/>
              <a:gd name="connsiteX322" fmla="*/ 5037105 w 7467600"/>
              <a:gd name="connsiteY322" fmla="*/ 5088765 h 6858000"/>
              <a:gd name="connsiteX323" fmla="*/ 5039930 w 7467600"/>
              <a:gd name="connsiteY323" fmla="*/ 5089585 h 6858000"/>
              <a:gd name="connsiteX324" fmla="*/ 5263764 w 7467600"/>
              <a:gd name="connsiteY324" fmla="*/ 4735525 h 6858000"/>
              <a:gd name="connsiteX325" fmla="*/ 4086300 w 7467600"/>
              <a:gd name="connsiteY325" fmla="*/ 4884599 h 6858000"/>
              <a:gd name="connsiteX326" fmla="*/ 4085485 w 7467600"/>
              <a:gd name="connsiteY326" fmla="*/ 4899070 h 6858000"/>
              <a:gd name="connsiteX327" fmla="*/ 3871915 w 7467600"/>
              <a:gd name="connsiteY327" fmla="*/ 5253645 h 6858000"/>
              <a:gd name="connsiteX328" fmla="*/ 3799374 w 7467600"/>
              <a:gd name="connsiteY328" fmla="*/ 5466127 h 6858000"/>
              <a:gd name="connsiteX329" fmla="*/ 3498850 w 7467600"/>
              <a:gd name="connsiteY329" fmla="*/ 6661888 h 6858000"/>
              <a:gd name="connsiteX330" fmla="*/ 3399216 w 7467600"/>
              <a:gd name="connsiteY330" fmla="*/ 6858000 h 6858000"/>
              <a:gd name="connsiteX331" fmla="*/ 3303688 w 7467600"/>
              <a:gd name="connsiteY331" fmla="*/ 6858000 h 6858000"/>
              <a:gd name="connsiteX332" fmla="*/ 3391774 w 7467600"/>
              <a:gd name="connsiteY332" fmla="*/ 6697181 h 6858000"/>
              <a:gd name="connsiteX333" fmla="*/ 3735540 w 7467600"/>
              <a:gd name="connsiteY333" fmla="*/ 5546923 h 6858000"/>
              <a:gd name="connsiteX334" fmla="*/ 3729438 w 7467600"/>
              <a:gd name="connsiteY334" fmla="*/ 5569058 h 6858000"/>
              <a:gd name="connsiteX335" fmla="*/ 3707782 w 7467600"/>
              <a:gd name="connsiteY335" fmla="*/ 5644908 h 6858000"/>
              <a:gd name="connsiteX336" fmla="*/ 3583827 w 7467600"/>
              <a:gd name="connsiteY336" fmla="*/ 6039215 h 6858000"/>
              <a:gd name="connsiteX337" fmla="*/ 3547861 w 7467600"/>
              <a:gd name="connsiteY337" fmla="*/ 6129609 h 6858000"/>
              <a:gd name="connsiteX338" fmla="*/ 3490905 w 7467600"/>
              <a:gd name="connsiteY338" fmla="*/ 6277660 h 6858000"/>
              <a:gd name="connsiteX339" fmla="*/ 3455859 w 7467600"/>
              <a:gd name="connsiteY339" fmla="*/ 6391301 h 6858000"/>
              <a:gd name="connsiteX340" fmla="*/ 3429112 w 7467600"/>
              <a:gd name="connsiteY340" fmla="*/ 6479469 h 6858000"/>
              <a:gd name="connsiteX341" fmla="*/ 3304862 w 7467600"/>
              <a:gd name="connsiteY341" fmla="*/ 6796476 h 6858000"/>
              <a:gd name="connsiteX342" fmla="*/ 3276071 w 7467600"/>
              <a:gd name="connsiteY342" fmla="*/ 6858000 h 6858000"/>
              <a:gd name="connsiteX343" fmla="*/ 3240805 w 7467600"/>
              <a:gd name="connsiteY343" fmla="*/ 6858000 h 6858000"/>
              <a:gd name="connsiteX344" fmla="*/ 3275917 w 7467600"/>
              <a:gd name="connsiteY344" fmla="*/ 6783192 h 6858000"/>
              <a:gd name="connsiteX345" fmla="*/ 3399358 w 7467600"/>
              <a:gd name="connsiteY345" fmla="*/ 6469011 h 6858000"/>
              <a:gd name="connsiteX346" fmla="*/ 3425650 w 7467600"/>
              <a:gd name="connsiteY346" fmla="*/ 6381333 h 6858000"/>
              <a:gd name="connsiteX347" fmla="*/ 3460661 w 7467600"/>
              <a:gd name="connsiteY347" fmla="*/ 6266763 h 6858000"/>
              <a:gd name="connsiteX348" fmla="*/ 3518021 w 7467600"/>
              <a:gd name="connsiteY348" fmla="*/ 6117298 h 6858000"/>
              <a:gd name="connsiteX349" fmla="*/ 3554035 w 7467600"/>
              <a:gd name="connsiteY349" fmla="*/ 6027832 h 6858000"/>
              <a:gd name="connsiteX350" fmla="*/ 3677174 w 7467600"/>
              <a:gd name="connsiteY350" fmla="*/ 5636351 h 6858000"/>
              <a:gd name="connsiteX351" fmla="*/ 3698819 w 7467600"/>
              <a:gd name="connsiteY351" fmla="*/ 5560503 h 6858000"/>
              <a:gd name="connsiteX352" fmla="*/ 3702094 w 7467600"/>
              <a:gd name="connsiteY352" fmla="*/ 5549194 h 6858000"/>
              <a:gd name="connsiteX353" fmla="*/ 3398355 w 7467600"/>
              <a:gd name="connsiteY353" fmla="*/ 6094603 h 6858000"/>
              <a:gd name="connsiteX354" fmla="*/ 3193941 w 7467600"/>
              <a:gd name="connsiteY354" fmla="*/ 6798775 h 6858000"/>
              <a:gd name="connsiteX355" fmla="*/ 3184140 w 7467600"/>
              <a:gd name="connsiteY355" fmla="*/ 6858000 h 6858000"/>
              <a:gd name="connsiteX356" fmla="*/ 3099978 w 7467600"/>
              <a:gd name="connsiteY356" fmla="*/ 6858000 h 6858000"/>
              <a:gd name="connsiteX357" fmla="*/ 3101556 w 7467600"/>
              <a:gd name="connsiteY357" fmla="*/ 6843337 h 6858000"/>
              <a:gd name="connsiteX358" fmla="*/ 3370162 w 7467600"/>
              <a:gd name="connsiteY358" fmla="*/ 5785550 h 6858000"/>
              <a:gd name="connsiteX359" fmla="*/ 3746477 w 7467600"/>
              <a:gd name="connsiteY359" fmla="*/ 5377889 h 6858000"/>
              <a:gd name="connsiteX360" fmla="*/ 3863399 w 7467600"/>
              <a:gd name="connsiteY360" fmla="*/ 5087257 h 6858000"/>
              <a:gd name="connsiteX361" fmla="*/ 3968712 w 7467600"/>
              <a:gd name="connsiteY361" fmla="*/ 4913989 h 6858000"/>
              <a:gd name="connsiteX362" fmla="*/ 2792390 w 7467600"/>
              <a:gd name="connsiteY362" fmla="*/ 5382974 h 6858000"/>
              <a:gd name="connsiteX363" fmla="*/ 2714982 w 7467600"/>
              <a:gd name="connsiteY363" fmla="*/ 5427051 h 6858000"/>
              <a:gd name="connsiteX364" fmla="*/ 2813361 w 7467600"/>
              <a:gd name="connsiteY364" fmla="*/ 6023912 h 6858000"/>
              <a:gd name="connsiteX365" fmla="*/ 2688430 w 7467600"/>
              <a:gd name="connsiteY365" fmla="*/ 6801564 h 6858000"/>
              <a:gd name="connsiteX366" fmla="*/ 2629626 w 7467600"/>
              <a:gd name="connsiteY366" fmla="*/ 6763394 h 6858000"/>
              <a:gd name="connsiteX367" fmla="*/ 2565328 w 7467600"/>
              <a:gd name="connsiteY367" fmla="*/ 5516399 h 6858000"/>
              <a:gd name="connsiteX368" fmla="*/ 1922999 w 7467600"/>
              <a:gd name="connsiteY368" fmla="*/ 5980343 h 6858000"/>
              <a:gd name="connsiteX369" fmla="*/ 1950261 w 7467600"/>
              <a:gd name="connsiteY369" fmla="*/ 6405858 h 6858000"/>
              <a:gd name="connsiteX370" fmla="*/ 2365554 w 7467600"/>
              <a:gd name="connsiteY370" fmla="*/ 6759107 h 6858000"/>
              <a:gd name="connsiteX371" fmla="*/ 2424142 w 7467600"/>
              <a:gd name="connsiteY371" fmla="*/ 6858000 h 6858000"/>
              <a:gd name="connsiteX372" fmla="*/ 2395994 w 7467600"/>
              <a:gd name="connsiteY372" fmla="*/ 6858000 h 6858000"/>
              <a:gd name="connsiteX373" fmla="*/ 2392863 w 7467600"/>
              <a:gd name="connsiteY373" fmla="*/ 6852964 h 6858000"/>
              <a:gd name="connsiteX374" fmla="*/ 2017589 w 7467600"/>
              <a:gd name="connsiteY374" fmla="*/ 6493982 h 6858000"/>
              <a:gd name="connsiteX375" fmla="*/ 2147336 w 7467600"/>
              <a:gd name="connsiteY375" fmla="*/ 6594052 h 6858000"/>
              <a:gd name="connsiteX376" fmla="*/ 2207047 w 7467600"/>
              <a:gd name="connsiteY376" fmla="*/ 6654540 h 6858000"/>
              <a:gd name="connsiteX377" fmla="*/ 2299106 w 7467600"/>
              <a:gd name="connsiteY377" fmla="*/ 6778931 h 6858000"/>
              <a:gd name="connsiteX378" fmla="*/ 2314430 w 7467600"/>
              <a:gd name="connsiteY378" fmla="*/ 6801144 h 6858000"/>
              <a:gd name="connsiteX379" fmla="*/ 2352406 w 7467600"/>
              <a:gd name="connsiteY379" fmla="*/ 6858000 h 6858000"/>
              <a:gd name="connsiteX380" fmla="*/ 2314492 w 7467600"/>
              <a:gd name="connsiteY380" fmla="*/ 6858000 h 6858000"/>
              <a:gd name="connsiteX381" fmla="*/ 2288095 w 7467600"/>
              <a:gd name="connsiteY381" fmla="*/ 6818030 h 6858000"/>
              <a:gd name="connsiteX382" fmla="*/ 2272768 w 7467600"/>
              <a:gd name="connsiteY382" fmla="*/ 6795822 h 6858000"/>
              <a:gd name="connsiteX383" fmla="*/ 2182715 w 7467600"/>
              <a:gd name="connsiteY383" fmla="*/ 6675071 h 6858000"/>
              <a:gd name="connsiteX384" fmla="*/ 2032061 w 7467600"/>
              <a:gd name="connsiteY384" fmla="*/ 6541380 h 6858000"/>
              <a:gd name="connsiteX385" fmla="*/ 2257220 w 7467600"/>
              <a:gd name="connsiteY385" fmla="*/ 6826257 h 6858000"/>
              <a:gd name="connsiteX386" fmla="*/ 2281324 w 7467600"/>
              <a:gd name="connsiteY386" fmla="*/ 6858000 h 6858000"/>
              <a:gd name="connsiteX387" fmla="*/ 2242860 w 7467600"/>
              <a:gd name="connsiteY387" fmla="*/ 6858000 h 6858000"/>
              <a:gd name="connsiteX388" fmla="*/ 2232818 w 7467600"/>
              <a:gd name="connsiteY388" fmla="*/ 6844926 h 6858000"/>
              <a:gd name="connsiteX389" fmla="*/ 1990172 w 7467600"/>
              <a:gd name="connsiteY389" fmla="*/ 6542121 h 6858000"/>
              <a:gd name="connsiteX390" fmla="*/ 2124090 w 7467600"/>
              <a:gd name="connsiteY390" fmla="*/ 6761017 h 6858000"/>
              <a:gd name="connsiteX391" fmla="*/ 2200380 w 7467600"/>
              <a:gd name="connsiteY391" fmla="*/ 6858000 h 6858000"/>
              <a:gd name="connsiteX392" fmla="*/ 2147507 w 7467600"/>
              <a:gd name="connsiteY392" fmla="*/ 6858000 h 6858000"/>
              <a:gd name="connsiteX393" fmla="*/ 2070668 w 7467600"/>
              <a:gd name="connsiteY393" fmla="*/ 6761520 h 6858000"/>
              <a:gd name="connsiteX394" fmla="*/ 1975142 w 7467600"/>
              <a:gd name="connsiteY394" fmla="*/ 6585570 h 6858000"/>
              <a:gd name="connsiteX395" fmla="*/ 2050035 w 7467600"/>
              <a:gd name="connsiteY395" fmla="*/ 6813345 h 6858000"/>
              <a:gd name="connsiteX396" fmla="*/ 2063025 w 7467600"/>
              <a:gd name="connsiteY396" fmla="*/ 6858000 h 6858000"/>
              <a:gd name="connsiteX397" fmla="*/ 2021675 w 7467600"/>
              <a:gd name="connsiteY397" fmla="*/ 6858000 h 6858000"/>
              <a:gd name="connsiteX398" fmla="*/ 2019308 w 7467600"/>
              <a:gd name="connsiteY398" fmla="*/ 6847118 h 6858000"/>
              <a:gd name="connsiteX399" fmla="*/ 1938835 w 7467600"/>
              <a:gd name="connsiteY399" fmla="*/ 6551160 h 6858000"/>
              <a:gd name="connsiteX400" fmla="*/ 1953230 w 7467600"/>
              <a:gd name="connsiteY400" fmla="*/ 6759699 h 6858000"/>
              <a:gd name="connsiteX401" fmla="*/ 1956763 w 7467600"/>
              <a:gd name="connsiteY401" fmla="*/ 6778191 h 6858000"/>
              <a:gd name="connsiteX402" fmla="*/ 1967925 w 7467600"/>
              <a:gd name="connsiteY402" fmla="*/ 6858000 h 6858000"/>
              <a:gd name="connsiteX403" fmla="*/ 1936622 w 7467600"/>
              <a:gd name="connsiteY403" fmla="*/ 6858000 h 6858000"/>
              <a:gd name="connsiteX404" fmla="*/ 1926261 w 7467600"/>
              <a:gd name="connsiteY404" fmla="*/ 6784064 h 6858000"/>
              <a:gd name="connsiteX405" fmla="*/ 1922724 w 7467600"/>
              <a:gd name="connsiteY405" fmla="*/ 6765577 h 6858000"/>
              <a:gd name="connsiteX406" fmla="*/ 1904650 w 7467600"/>
              <a:gd name="connsiteY406" fmla="*/ 6639616 h 6858000"/>
              <a:gd name="connsiteX407" fmla="*/ 1885273 w 7467600"/>
              <a:gd name="connsiteY407" fmla="*/ 6858000 h 6858000"/>
              <a:gd name="connsiteX408" fmla="*/ 1854363 w 7467600"/>
              <a:gd name="connsiteY408" fmla="*/ 6858000 h 6858000"/>
              <a:gd name="connsiteX409" fmla="*/ 1880391 w 7467600"/>
              <a:gd name="connsiteY409" fmla="*/ 6603796 h 6858000"/>
              <a:gd name="connsiteX410" fmla="*/ 1818273 w 7467600"/>
              <a:gd name="connsiteY410" fmla="*/ 6715729 h 6858000"/>
              <a:gd name="connsiteX411" fmla="*/ 1794691 w 7467600"/>
              <a:gd name="connsiteY411" fmla="*/ 6843239 h 6858000"/>
              <a:gd name="connsiteX412" fmla="*/ 1794914 w 7467600"/>
              <a:gd name="connsiteY412" fmla="*/ 6858000 h 6858000"/>
              <a:gd name="connsiteX413" fmla="*/ 1746128 w 7467600"/>
              <a:gd name="connsiteY413" fmla="*/ 6858000 h 6858000"/>
              <a:gd name="connsiteX414" fmla="*/ 1753934 w 7467600"/>
              <a:gd name="connsiteY414" fmla="*/ 6724796 h 6858000"/>
              <a:gd name="connsiteX415" fmla="*/ 1792053 w 7467600"/>
              <a:gd name="connsiteY415" fmla="*/ 6572396 h 6858000"/>
              <a:gd name="connsiteX416" fmla="*/ 1862248 w 7467600"/>
              <a:gd name="connsiteY416" fmla="*/ 6266397 h 6858000"/>
              <a:gd name="connsiteX417" fmla="*/ 1862250 w 7467600"/>
              <a:gd name="connsiteY417" fmla="*/ 6033531 h 6858000"/>
              <a:gd name="connsiteX418" fmla="*/ 1211999 w 7467600"/>
              <a:gd name="connsiteY418" fmla="*/ 6683610 h 6858000"/>
              <a:gd name="connsiteX419" fmla="*/ 1213266 w 7467600"/>
              <a:gd name="connsiteY419" fmla="*/ 6691947 h 6858000"/>
              <a:gd name="connsiteX420" fmla="*/ 1203370 w 7467600"/>
              <a:gd name="connsiteY420" fmla="*/ 6850676 h 6858000"/>
              <a:gd name="connsiteX421" fmla="*/ 1203671 w 7467600"/>
              <a:gd name="connsiteY421" fmla="*/ 6858000 h 6858000"/>
              <a:gd name="connsiteX422" fmla="*/ 1143180 w 7467600"/>
              <a:gd name="connsiteY422" fmla="*/ 6858000 h 6858000"/>
              <a:gd name="connsiteX423" fmla="*/ 1142176 w 7467600"/>
              <a:gd name="connsiteY423" fmla="*/ 6766045 h 6858000"/>
              <a:gd name="connsiteX424" fmla="*/ 1067484 w 7467600"/>
              <a:gd name="connsiteY424" fmla="*/ 6858000 h 6858000"/>
              <a:gd name="connsiteX425" fmla="*/ 953928 w 7467600"/>
              <a:gd name="connsiteY425" fmla="*/ 6858000 h 6858000"/>
              <a:gd name="connsiteX426" fmla="*/ 959715 w 7467600"/>
              <a:gd name="connsiteY426" fmla="*/ 6850185 h 6858000"/>
              <a:gd name="connsiteX427" fmla="*/ 1483788 w 7467600"/>
              <a:gd name="connsiteY427" fmla="*/ 6259174 h 6858000"/>
              <a:gd name="connsiteX428" fmla="*/ 1100671 w 7467600"/>
              <a:gd name="connsiteY428" fmla="*/ 6252137 h 6858000"/>
              <a:gd name="connsiteX429" fmla="*/ 1090144 w 7467600"/>
              <a:gd name="connsiteY429" fmla="*/ 6256748 h 6858000"/>
              <a:gd name="connsiteX430" fmla="*/ 1095872 w 7467600"/>
              <a:gd name="connsiteY430" fmla="*/ 6271892 h 6858000"/>
              <a:gd name="connsiteX431" fmla="*/ 262785 w 7467600"/>
              <a:gd name="connsiteY431" fmla="*/ 6845450 h 6858000"/>
              <a:gd name="connsiteX432" fmla="*/ 209968 w 7467600"/>
              <a:gd name="connsiteY432" fmla="*/ 6770713 h 6858000"/>
              <a:gd name="connsiteX433" fmla="*/ 873460 w 7467600"/>
              <a:gd name="connsiteY433" fmla="*/ 6253768 h 6858000"/>
              <a:gd name="connsiteX434" fmla="*/ 192686 w 7467600"/>
              <a:gd name="connsiteY434" fmla="*/ 5849257 h 6858000"/>
              <a:gd name="connsiteX435" fmla="*/ 4696 w 7467600"/>
              <a:gd name="connsiteY435" fmla="*/ 5697668 h 6858000"/>
              <a:gd name="connsiteX436" fmla="*/ 0 w 7467600"/>
              <a:gd name="connsiteY436" fmla="*/ 5689984 h 6858000"/>
              <a:gd name="connsiteX437" fmla="*/ 0 w 7467600"/>
              <a:gd name="connsiteY437" fmla="*/ 5513472 h 6858000"/>
              <a:gd name="connsiteX438" fmla="*/ 174101 w 7467600"/>
              <a:gd name="connsiteY438" fmla="*/ 5620277 h 6858000"/>
              <a:gd name="connsiteX439" fmla="*/ 891800 w 7467600"/>
              <a:gd name="connsiteY439" fmla="*/ 6036935 h 6858000"/>
              <a:gd name="connsiteX440" fmla="*/ 1072219 w 7467600"/>
              <a:gd name="connsiteY440" fmla="*/ 6169443 h 6858000"/>
              <a:gd name="connsiteX441" fmla="*/ 1074117 w 7467600"/>
              <a:gd name="connsiteY441" fmla="*/ 6170301 h 6858000"/>
              <a:gd name="connsiteX442" fmla="*/ 1083114 w 7467600"/>
              <a:gd name="connsiteY442" fmla="*/ 6174131 h 6858000"/>
              <a:gd name="connsiteX443" fmla="*/ 1543010 w 7467600"/>
              <a:gd name="connsiteY443" fmla="*/ 6191140 h 6858000"/>
              <a:gd name="connsiteX444" fmla="*/ 1551080 w 7467600"/>
              <a:gd name="connsiteY444" fmla="*/ 6195006 h 6858000"/>
              <a:gd name="connsiteX445" fmla="*/ 2345443 w 7467600"/>
              <a:gd name="connsiteY445" fmla="*/ 5549882 h 6858000"/>
              <a:gd name="connsiteX446" fmla="*/ 1721499 w 7467600"/>
              <a:gd name="connsiteY446" fmla="*/ 5599969 h 6858000"/>
              <a:gd name="connsiteX447" fmla="*/ 767716 w 7467600"/>
              <a:gd name="connsiteY447" fmla="*/ 5472768 h 6858000"/>
              <a:gd name="connsiteX448" fmla="*/ 722147 w 7467600"/>
              <a:gd name="connsiteY448" fmla="*/ 5393091 h 6858000"/>
              <a:gd name="connsiteX449" fmla="*/ 1485552 w 7467600"/>
              <a:gd name="connsiteY449" fmla="*/ 5313202 h 6858000"/>
              <a:gd name="connsiteX450" fmla="*/ 2143004 w 7467600"/>
              <a:gd name="connsiteY450" fmla="*/ 5402420 h 6858000"/>
              <a:gd name="connsiteX451" fmla="*/ 1933391 w 7467600"/>
              <a:gd name="connsiteY451" fmla="*/ 5156971 h 6858000"/>
              <a:gd name="connsiteX452" fmla="*/ 1827118 w 7467600"/>
              <a:gd name="connsiteY452" fmla="*/ 4968410 h 6858000"/>
              <a:gd name="connsiteX453" fmla="*/ 1837349 w 7467600"/>
              <a:gd name="connsiteY453" fmla="*/ 4956357 h 6858000"/>
              <a:gd name="connsiteX454" fmla="*/ 2162835 w 7467600"/>
              <a:gd name="connsiteY454" fmla="*/ 5187853 h 6858000"/>
              <a:gd name="connsiteX455" fmla="*/ 2257167 w 7467600"/>
              <a:gd name="connsiteY455" fmla="*/ 5462123 h 6858000"/>
              <a:gd name="connsiteX456" fmla="*/ 2261598 w 7467600"/>
              <a:gd name="connsiteY456" fmla="*/ 5467998 h 6858000"/>
              <a:gd name="connsiteX457" fmla="*/ 2437177 w 7467600"/>
              <a:gd name="connsiteY457" fmla="*/ 5479608 h 6858000"/>
              <a:gd name="connsiteX458" fmla="*/ 2445247 w 7467600"/>
              <a:gd name="connsiteY458" fmla="*/ 5483476 h 6858000"/>
              <a:gd name="connsiteX459" fmla="*/ 2743626 w 7467600"/>
              <a:gd name="connsiteY459" fmla="*/ 5304819 h 6858000"/>
              <a:gd name="connsiteX460" fmla="*/ 3048102 w 7467600"/>
              <a:gd name="connsiteY460" fmla="*/ 5150595 h 6858000"/>
              <a:gd name="connsiteX461" fmla="*/ 1799414 w 7467600"/>
              <a:gd name="connsiteY461" fmla="*/ 4694732 h 6858000"/>
              <a:gd name="connsiteX462" fmla="*/ 1771735 w 7467600"/>
              <a:gd name="connsiteY462" fmla="*/ 4619929 h 6858000"/>
              <a:gd name="connsiteX463" fmla="*/ 3104273 w 7467600"/>
              <a:gd name="connsiteY463" fmla="*/ 5076159 h 6858000"/>
              <a:gd name="connsiteX464" fmla="*/ 3113245 w 7467600"/>
              <a:gd name="connsiteY464" fmla="*/ 5090705 h 6858000"/>
              <a:gd name="connsiteX465" fmla="*/ 3126294 w 7467600"/>
              <a:gd name="connsiteY465" fmla="*/ 5114400 h 6858000"/>
              <a:gd name="connsiteX466" fmla="*/ 3937433 w 7467600"/>
              <a:gd name="connsiteY466" fmla="*/ 4830473 h 6858000"/>
              <a:gd name="connsiteX467" fmla="*/ 3590475 w 7467600"/>
              <a:gd name="connsiteY467" fmla="*/ 4597974 h 6858000"/>
              <a:gd name="connsiteX468" fmla="*/ 3100264 w 7467600"/>
              <a:gd name="connsiteY468" fmla="*/ 4579845 h 6858000"/>
              <a:gd name="connsiteX469" fmla="*/ 2183576 w 7467600"/>
              <a:gd name="connsiteY469" fmla="*/ 4227150 h 6858000"/>
              <a:gd name="connsiteX470" fmla="*/ 2151029 w 7467600"/>
              <a:gd name="connsiteY470" fmla="*/ 4146947 h 6858000"/>
              <a:gd name="connsiteX471" fmla="*/ 3563434 w 7467600"/>
              <a:gd name="connsiteY471" fmla="*/ 4469115 h 6858000"/>
              <a:gd name="connsiteX472" fmla="*/ 3177952 w 7467600"/>
              <a:gd name="connsiteY472" fmla="*/ 3657386 h 6858000"/>
              <a:gd name="connsiteX473" fmla="*/ 3189263 w 7467600"/>
              <a:gd name="connsiteY473" fmla="*/ 3625726 h 6858000"/>
              <a:gd name="connsiteX474" fmla="*/ 3560912 w 7467600"/>
              <a:gd name="connsiteY474" fmla="*/ 4079863 h 6858000"/>
              <a:gd name="connsiteX475" fmla="*/ 3626636 w 7467600"/>
              <a:gd name="connsiteY475" fmla="*/ 4512230 h 6858000"/>
              <a:gd name="connsiteX476" fmla="*/ 3653088 w 7467600"/>
              <a:gd name="connsiteY476" fmla="*/ 4521417 h 6858000"/>
              <a:gd name="connsiteX477" fmla="*/ 3988128 w 7467600"/>
              <a:gd name="connsiteY477" fmla="*/ 4817267 h 6858000"/>
              <a:gd name="connsiteX478" fmla="*/ 4830582 w 7467600"/>
              <a:gd name="connsiteY478" fmla="*/ 4676000 h 6858000"/>
              <a:gd name="connsiteX479" fmla="*/ 4830100 w 7467600"/>
              <a:gd name="connsiteY479" fmla="*/ 4675554 h 6858000"/>
              <a:gd name="connsiteX480" fmla="*/ 4036318 w 7467600"/>
              <a:gd name="connsiteY480" fmla="*/ 4147013 h 6858000"/>
              <a:gd name="connsiteX481" fmla="*/ 3432098 w 7467600"/>
              <a:gd name="connsiteY481" fmla="*/ 3537312 h 6858000"/>
              <a:gd name="connsiteX482" fmla="*/ 3446761 w 7467600"/>
              <a:gd name="connsiteY482" fmla="*/ 3461278 h 6858000"/>
              <a:gd name="connsiteX483" fmla="*/ 4419733 w 7467600"/>
              <a:gd name="connsiteY483" fmla="*/ 3963555 h 6858000"/>
              <a:gd name="connsiteX484" fmla="*/ 4781371 w 7467600"/>
              <a:gd name="connsiteY484" fmla="*/ 4458604 h 6858000"/>
              <a:gd name="connsiteX485" fmla="*/ 4780440 w 7467600"/>
              <a:gd name="connsiteY485" fmla="*/ 4470290 h 6858000"/>
              <a:gd name="connsiteX486" fmla="*/ 4898954 w 7467600"/>
              <a:gd name="connsiteY486" fmla="*/ 4662092 h 6858000"/>
              <a:gd name="connsiteX487" fmla="*/ 4900699 w 7467600"/>
              <a:gd name="connsiteY487" fmla="*/ 4670867 h 6858000"/>
              <a:gd name="connsiteX488" fmla="*/ 5714511 w 7467600"/>
              <a:gd name="connsiteY488" fmla="*/ 4663483 h 6858000"/>
              <a:gd name="connsiteX489" fmla="*/ 5464793 w 7467600"/>
              <a:gd name="connsiteY489" fmla="*/ 4393556 h 6858000"/>
              <a:gd name="connsiteX490" fmla="*/ 5461897 w 7467600"/>
              <a:gd name="connsiteY490" fmla="*/ 4390879 h 6858000"/>
              <a:gd name="connsiteX491" fmla="*/ 4294126 w 7467600"/>
              <a:gd name="connsiteY491" fmla="*/ 3303048 h 6858000"/>
              <a:gd name="connsiteX492" fmla="*/ 4305321 w 7467600"/>
              <a:gd name="connsiteY492" fmla="*/ 3256953 h 6858000"/>
              <a:gd name="connsiteX493" fmla="*/ 4949299 w 7467600"/>
              <a:gd name="connsiteY493" fmla="*/ 3766336 h 6858000"/>
              <a:gd name="connsiteX494" fmla="*/ 5291452 w 7467600"/>
              <a:gd name="connsiteY494" fmla="*/ 4076801 h 6858000"/>
              <a:gd name="connsiteX495" fmla="*/ 5434998 w 7467600"/>
              <a:gd name="connsiteY495" fmla="*/ 4254100 h 6858000"/>
              <a:gd name="connsiteX496" fmla="*/ 5351015 w 7467600"/>
              <a:gd name="connsiteY496" fmla="*/ 3760989 h 6858000"/>
              <a:gd name="connsiteX497" fmla="*/ 5413780 w 7467600"/>
              <a:gd name="connsiteY497" fmla="*/ 2966265 h 6858000"/>
              <a:gd name="connsiteX498" fmla="*/ 5425627 w 7467600"/>
              <a:gd name="connsiteY498" fmla="*/ 2954192 h 6858000"/>
              <a:gd name="connsiteX499" fmla="*/ 6604735 w 7467600"/>
              <a:gd name="connsiteY499" fmla="*/ 2041381 h 6858000"/>
              <a:gd name="connsiteX500" fmla="*/ 7204487 w 7467600"/>
              <a:gd name="connsiteY500" fmla="*/ 2742112 h 6858000"/>
              <a:gd name="connsiteX501" fmla="*/ 7131592 w 7467600"/>
              <a:gd name="connsiteY501" fmla="*/ 2672096 h 6858000"/>
              <a:gd name="connsiteX502" fmla="*/ 6996344 w 7467600"/>
              <a:gd name="connsiteY502" fmla="*/ 2518310 h 6858000"/>
              <a:gd name="connsiteX503" fmla="*/ 6735495 w 7467600"/>
              <a:gd name="connsiteY503" fmla="*/ 2196890 h 6858000"/>
              <a:gd name="connsiteX504" fmla="*/ 6721901 w 7467600"/>
              <a:gd name="connsiteY504" fmla="*/ 2179274 h 6858000"/>
              <a:gd name="connsiteX505" fmla="*/ 6604735 w 7467600"/>
              <a:gd name="connsiteY505" fmla="*/ 2041381 h 6858000"/>
              <a:gd name="connsiteX506" fmla="*/ 6591670 w 7467600"/>
              <a:gd name="connsiteY506" fmla="*/ 1988277 h 6858000"/>
              <a:gd name="connsiteX507" fmla="*/ 6747349 w 7467600"/>
              <a:gd name="connsiteY507" fmla="*/ 2160069 h 6858000"/>
              <a:gd name="connsiteX508" fmla="*/ 6760943 w 7467600"/>
              <a:gd name="connsiteY508" fmla="*/ 2177686 h 6858000"/>
              <a:gd name="connsiteX509" fmla="*/ 7021065 w 7467600"/>
              <a:gd name="connsiteY509" fmla="*/ 2498102 h 6858000"/>
              <a:gd name="connsiteX510" fmla="*/ 7155223 w 7467600"/>
              <a:gd name="connsiteY510" fmla="*/ 2650386 h 6858000"/>
              <a:gd name="connsiteX511" fmla="*/ 7203167 w 7467600"/>
              <a:gd name="connsiteY511" fmla="*/ 2697288 h 6858000"/>
              <a:gd name="connsiteX512" fmla="*/ 6937703 w 7467600"/>
              <a:gd name="connsiteY512" fmla="*/ 2321981 h 6858000"/>
              <a:gd name="connsiteX513" fmla="*/ 6591670 w 7467600"/>
              <a:gd name="connsiteY513" fmla="*/ 1988277 h 6858000"/>
              <a:gd name="connsiteX514" fmla="*/ 5798671 w 7467600"/>
              <a:gd name="connsiteY514" fmla="*/ 1981601 h 6858000"/>
              <a:gd name="connsiteX515" fmla="*/ 5754709 w 7467600"/>
              <a:gd name="connsiteY515" fmla="*/ 2071454 h 6858000"/>
              <a:gd name="connsiteX516" fmla="*/ 5763044 w 7467600"/>
              <a:gd name="connsiteY516" fmla="*/ 2842206 h 6858000"/>
              <a:gd name="connsiteX517" fmla="*/ 5764974 w 7467600"/>
              <a:gd name="connsiteY517" fmla="*/ 2799609 h 6858000"/>
              <a:gd name="connsiteX518" fmla="*/ 5767665 w 7467600"/>
              <a:gd name="connsiteY518" fmla="*/ 2666409 h 6858000"/>
              <a:gd name="connsiteX519" fmla="*/ 5763055 w 7467600"/>
              <a:gd name="connsiteY519" fmla="*/ 2579705 h 6858000"/>
              <a:gd name="connsiteX520" fmla="*/ 5758079 w 7467600"/>
              <a:gd name="connsiteY520" fmla="*/ 2492508 h 6858000"/>
              <a:gd name="connsiteX521" fmla="*/ 5779325 w 7467600"/>
              <a:gd name="connsiteY521" fmla="*/ 2197069 h 6858000"/>
              <a:gd name="connsiteX522" fmla="*/ 5798671 w 7467600"/>
              <a:gd name="connsiteY522" fmla="*/ 1981601 h 6858000"/>
              <a:gd name="connsiteX523" fmla="*/ 5829202 w 7467600"/>
              <a:gd name="connsiteY523" fmla="*/ 1971679 h 6858000"/>
              <a:gd name="connsiteX524" fmla="*/ 5809558 w 7467600"/>
              <a:gd name="connsiteY524" fmla="*/ 2198043 h 6858000"/>
              <a:gd name="connsiteX525" fmla="*/ 5788653 w 7467600"/>
              <a:gd name="connsiteY525" fmla="*/ 2489430 h 6858000"/>
              <a:gd name="connsiteX526" fmla="*/ 5793439 w 7467600"/>
              <a:gd name="connsiteY526" fmla="*/ 2575235 h 6858000"/>
              <a:gd name="connsiteX527" fmla="*/ 5796837 w 7467600"/>
              <a:gd name="connsiteY527" fmla="*/ 2637633 h 6858000"/>
              <a:gd name="connsiteX528" fmla="*/ 5818614 w 7467600"/>
              <a:gd name="connsiteY528" fmla="*/ 2473055 h 6858000"/>
              <a:gd name="connsiteX529" fmla="*/ 5829202 w 7467600"/>
              <a:gd name="connsiteY529" fmla="*/ 1971679 h 6858000"/>
              <a:gd name="connsiteX530" fmla="*/ 5911389 w 7467600"/>
              <a:gd name="connsiteY530" fmla="*/ 1898371 h 6858000"/>
              <a:gd name="connsiteX531" fmla="*/ 6237627 w 7467600"/>
              <a:gd name="connsiteY531" fmla="*/ 2231921 h 6858000"/>
              <a:gd name="connsiteX532" fmla="*/ 5911389 w 7467600"/>
              <a:gd name="connsiteY532" fmla="*/ 1898371 h 6858000"/>
              <a:gd name="connsiteX533" fmla="*/ 6944437 w 7467600"/>
              <a:gd name="connsiteY533" fmla="*/ 1575402 h 6858000"/>
              <a:gd name="connsiteX534" fmla="*/ 6304730 w 7467600"/>
              <a:gd name="connsiteY534" fmla="*/ 1766654 h 6858000"/>
              <a:gd name="connsiteX535" fmla="*/ 6944437 w 7467600"/>
              <a:gd name="connsiteY535" fmla="*/ 1575402 h 6858000"/>
              <a:gd name="connsiteX536" fmla="*/ 7019523 w 7467600"/>
              <a:gd name="connsiteY536" fmla="*/ 1519450 h 6858000"/>
              <a:gd name="connsiteX537" fmla="*/ 6298091 w 7467600"/>
              <a:gd name="connsiteY537" fmla="*/ 1737122 h 6858000"/>
              <a:gd name="connsiteX538" fmla="*/ 7019523 w 7467600"/>
              <a:gd name="connsiteY538" fmla="*/ 1519450 h 6858000"/>
              <a:gd name="connsiteX539" fmla="*/ 2399523 w 7467600"/>
              <a:gd name="connsiteY539" fmla="*/ 1428234 h 6858000"/>
              <a:gd name="connsiteX540" fmla="*/ 2224982 w 7467600"/>
              <a:gd name="connsiteY540" fmla="*/ 1826201 h 6858000"/>
              <a:gd name="connsiteX541" fmla="*/ 2096099 w 7467600"/>
              <a:gd name="connsiteY541" fmla="*/ 2345900 h 6858000"/>
              <a:gd name="connsiteX542" fmla="*/ 2283317 w 7467600"/>
              <a:gd name="connsiteY542" fmla="*/ 1796925 h 6858000"/>
              <a:gd name="connsiteX543" fmla="*/ 2399523 w 7467600"/>
              <a:gd name="connsiteY543" fmla="*/ 1428234 h 6858000"/>
              <a:gd name="connsiteX544" fmla="*/ 2448558 w 7467600"/>
              <a:gd name="connsiteY544" fmla="*/ 1373435 h 6858000"/>
              <a:gd name="connsiteX545" fmla="*/ 2312521 w 7467600"/>
              <a:gd name="connsiteY545" fmla="*/ 1806140 h 6858000"/>
              <a:gd name="connsiteX546" fmla="*/ 2127533 w 7467600"/>
              <a:gd name="connsiteY546" fmla="*/ 2348380 h 6858000"/>
              <a:gd name="connsiteX547" fmla="*/ 2358080 w 7467600"/>
              <a:gd name="connsiteY547" fmla="*/ 1866134 h 6858000"/>
              <a:gd name="connsiteX548" fmla="*/ 2407436 w 7467600"/>
              <a:gd name="connsiteY548" fmla="*/ 1651070 h 6858000"/>
              <a:gd name="connsiteX549" fmla="*/ 2448558 w 7467600"/>
              <a:gd name="connsiteY549" fmla="*/ 1373435 h 6858000"/>
              <a:gd name="connsiteX550" fmla="*/ 278707 w 7467600"/>
              <a:gd name="connsiteY550" fmla="*/ 1352270 h 6858000"/>
              <a:gd name="connsiteX551" fmla="*/ 321570 w 7467600"/>
              <a:gd name="connsiteY551" fmla="*/ 1861610 h 6858000"/>
              <a:gd name="connsiteX552" fmla="*/ 294281 w 7467600"/>
              <a:gd name="connsiteY552" fmla="*/ 1440658 h 6858000"/>
              <a:gd name="connsiteX553" fmla="*/ 278707 w 7467600"/>
              <a:gd name="connsiteY553" fmla="*/ 1352270 h 6858000"/>
              <a:gd name="connsiteX554" fmla="*/ 1423821 w 7467600"/>
              <a:gd name="connsiteY554" fmla="*/ 1351958 h 6858000"/>
              <a:gd name="connsiteX555" fmla="*/ 1638521 w 7467600"/>
              <a:gd name="connsiteY555" fmla="*/ 1908470 h 6858000"/>
              <a:gd name="connsiteX556" fmla="*/ 1754199 w 7467600"/>
              <a:gd name="connsiteY556" fmla="*/ 2149284 h 6858000"/>
              <a:gd name="connsiteX557" fmla="*/ 1908359 w 7467600"/>
              <a:gd name="connsiteY557" fmla="*/ 2364988 h 6858000"/>
              <a:gd name="connsiteX558" fmla="*/ 1647661 w 7467600"/>
              <a:gd name="connsiteY558" fmla="*/ 1825945 h 6858000"/>
              <a:gd name="connsiteX559" fmla="*/ 1423821 w 7467600"/>
              <a:gd name="connsiteY559" fmla="*/ 1351958 h 6858000"/>
              <a:gd name="connsiteX560" fmla="*/ 1431890 w 7467600"/>
              <a:gd name="connsiteY560" fmla="*/ 1306475 h 6858000"/>
              <a:gd name="connsiteX561" fmla="*/ 1507597 w 7467600"/>
              <a:gd name="connsiteY561" fmla="*/ 1446132 h 6858000"/>
              <a:gd name="connsiteX562" fmla="*/ 1674586 w 7467600"/>
              <a:gd name="connsiteY562" fmla="*/ 1813832 h 6858000"/>
              <a:gd name="connsiteX563" fmla="*/ 1815950 w 7467600"/>
              <a:gd name="connsiteY563" fmla="*/ 2128564 h 6858000"/>
              <a:gd name="connsiteX564" fmla="*/ 1984242 w 7467600"/>
              <a:gd name="connsiteY564" fmla="*/ 2430829 h 6858000"/>
              <a:gd name="connsiteX565" fmla="*/ 2014023 w 7467600"/>
              <a:gd name="connsiteY565" fmla="*/ 2450995 h 6858000"/>
              <a:gd name="connsiteX566" fmla="*/ 1747337 w 7467600"/>
              <a:gd name="connsiteY566" fmla="*/ 1855264 h 6858000"/>
              <a:gd name="connsiteX567" fmla="*/ 1533749 w 7467600"/>
              <a:gd name="connsiteY567" fmla="*/ 1478656 h 6858000"/>
              <a:gd name="connsiteX568" fmla="*/ 1431890 w 7467600"/>
              <a:gd name="connsiteY568" fmla="*/ 1306475 h 6858000"/>
              <a:gd name="connsiteX569" fmla="*/ 5052692 w 7467600"/>
              <a:gd name="connsiteY569" fmla="*/ 1292994 h 6858000"/>
              <a:gd name="connsiteX570" fmla="*/ 5200661 w 7467600"/>
              <a:gd name="connsiteY570" fmla="*/ 1635186 h 6858000"/>
              <a:gd name="connsiteX571" fmla="*/ 5297138 w 7467600"/>
              <a:gd name="connsiteY571" fmla="*/ 1906351 h 6858000"/>
              <a:gd name="connsiteX572" fmla="*/ 5052692 w 7467600"/>
              <a:gd name="connsiteY572" fmla="*/ 1292994 h 6858000"/>
              <a:gd name="connsiteX573" fmla="*/ 5009948 w 7467600"/>
              <a:gd name="connsiteY573" fmla="*/ 1273619 h 6858000"/>
              <a:gd name="connsiteX574" fmla="*/ 5121777 w 7467600"/>
              <a:gd name="connsiteY574" fmla="*/ 1654213 h 6858000"/>
              <a:gd name="connsiteX575" fmla="*/ 5293545 w 7467600"/>
              <a:gd name="connsiteY575" fmla="*/ 2072247 h 6858000"/>
              <a:gd name="connsiteX576" fmla="*/ 5294042 w 7467600"/>
              <a:gd name="connsiteY576" fmla="*/ 2065019 h 6858000"/>
              <a:gd name="connsiteX577" fmla="*/ 5171936 w 7467600"/>
              <a:gd name="connsiteY577" fmla="*/ 1647613 h 6858000"/>
              <a:gd name="connsiteX578" fmla="*/ 5009948 w 7467600"/>
              <a:gd name="connsiteY578" fmla="*/ 1273619 h 6858000"/>
              <a:gd name="connsiteX579" fmla="*/ 655236 w 7467600"/>
              <a:gd name="connsiteY579" fmla="*/ 1268632 h 6858000"/>
              <a:gd name="connsiteX580" fmla="*/ 839521 w 7467600"/>
              <a:gd name="connsiteY580" fmla="*/ 1685315 h 6858000"/>
              <a:gd name="connsiteX581" fmla="*/ 1109416 w 7467600"/>
              <a:gd name="connsiteY581" fmla="*/ 2061663 h 6858000"/>
              <a:gd name="connsiteX582" fmla="*/ 1298300 w 7467600"/>
              <a:gd name="connsiteY582" fmla="*/ 2247742 h 6858000"/>
              <a:gd name="connsiteX583" fmla="*/ 1125871 w 7467600"/>
              <a:gd name="connsiteY583" fmla="*/ 1989513 h 6858000"/>
              <a:gd name="connsiteX584" fmla="*/ 981574 w 7467600"/>
              <a:gd name="connsiteY584" fmla="*/ 1783157 h 6858000"/>
              <a:gd name="connsiteX585" fmla="*/ 922198 w 7467600"/>
              <a:gd name="connsiteY585" fmla="*/ 1677437 h 6858000"/>
              <a:gd name="connsiteX586" fmla="*/ 869293 w 7467600"/>
              <a:gd name="connsiteY586" fmla="*/ 1583214 h 6858000"/>
              <a:gd name="connsiteX587" fmla="*/ 751431 w 7467600"/>
              <a:gd name="connsiteY587" fmla="*/ 1405731 h 6858000"/>
              <a:gd name="connsiteX588" fmla="*/ 655236 w 7467600"/>
              <a:gd name="connsiteY588" fmla="*/ 1268632 h 6858000"/>
              <a:gd name="connsiteX589" fmla="*/ 6516292 w 7467600"/>
              <a:gd name="connsiteY589" fmla="*/ 1263064 h 6858000"/>
              <a:gd name="connsiteX590" fmla="*/ 5736320 w 7467600"/>
              <a:gd name="connsiteY590" fmla="*/ 1501803 h 6858000"/>
              <a:gd name="connsiteX591" fmla="*/ 6516292 w 7467600"/>
              <a:gd name="connsiteY591" fmla="*/ 1263064 h 6858000"/>
              <a:gd name="connsiteX592" fmla="*/ 291466 w 7467600"/>
              <a:gd name="connsiteY592" fmla="*/ 1250369 h 6858000"/>
              <a:gd name="connsiteX593" fmla="*/ 323180 w 7467600"/>
              <a:gd name="connsiteY593" fmla="*/ 1435283 h 6858000"/>
              <a:gd name="connsiteX594" fmla="*/ 349381 w 7467600"/>
              <a:gd name="connsiteY594" fmla="*/ 1875041 h 6858000"/>
              <a:gd name="connsiteX595" fmla="*/ 374363 w 7467600"/>
              <a:gd name="connsiteY595" fmla="*/ 1506494 h 6858000"/>
              <a:gd name="connsiteX596" fmla="*/ 302168 w 7467600"/>
              <a:gd name="connsiteY596" fmla="*/ 1274495 h 6858000"/>
              <a:gd name="connsiteX597" fmla="*/ 291466 w 7467600"/>
              <a:gd name="connsiteY597" fmla="*/ 1250369 h 6858000"/>
              <a:gd name="connsiteX598" fmla="*/ 678222 w 7467600"/>
              <a:gd name="connsiteY598" fmla="*/ 1248670 h 6858000"/>
              <a:gd name="connsiteX599" fmla="*/ 775536 w 7467600"/>
              <a:gd name="connsiteY599" fmla="*/ 1388015 h 6858000"/>
              <a:gd name="connsiteX600" fmla="*/ 894529 w 7467600"/>
              <a:gd name="connsiteY600" fmla="*/ 1567739 h 6858000"/>
              <a:gd name="connsiteX601" fmla="*/ 948000 w 7467600"/>
              <a:gd name="connsiteY601" fmla="*/ 1663088 h 6858000"/>
              <a:gd name="connsiteX602" fmla="*/ 1006812 w 7467600"/>
              <a:gd name="connsiteY602" fmla="*/ 1767683 h 6858000"/>
              <a:gd name="connsiteX603" fmla="*/ 1149133 w 7467600"/>
              <a:gd name="connsiteY603" fmla="*/ 1971513 h 6858000"/>
              <a:gd name="connsiteX604" fmla="*/ 1333952 w 7467600"/>
              <a:gd name="connsiteY604" fmla="*/ 2251620 h 6858000"/>
              <a:gd name="connsiteX605" fmla="*/ 1337329 w 7467600"/>
              <a:gd name="connsiteY605" fmla="*/ 2258350 h 6858000"/>
              <a:gd name="connsiteX606" fmla="*/ 1014726 w 7467600"/>
              <a:gd name="connsiteY606" fmla="*/ 1615556 h 6858000"/>
              <a:gd name="connsiteX607" fmla="*/ 678222 w 7467600"/>
              <a:gd name="connsiteY607" fmla="*/ 1248670 h 6858000"/>
              <a:gd name="connsiteX608" fmla="*/ 6691602 w 7467600"/>
              <a:gd name="connsiteY608" fmla="*/ 1140573 h 6858000"/>
              <a:gd name="connsiteX609" fmla="*/ 6571100 w 7467600"/>
              <a:gd name="connsiteY609" fmla="*/ 1183662 h 6858000"/>
              <a:gd name="connsiteX610" fmla="*/ 6241687 w 7467600"/>
              <a:gd name="connsiteY610" fmla="*/ 1257600 h 6858000"/>
              <a:gd name="connsiteX611" fmla="*/ 5693009 w 7467600"/>
              <a:gd name="connsiteY611" fmla="*/ 1478256 h 6858000"/>
              <a:gd name="connsiteX612" fmla="*/ 6548420 w 7467600"/>
              <a:gd name="connsiteY612" fmla="*/ 1214599 h 6858000"/>
              <a:gd name="connsiteX613" fmla="*/ 6605473 w 7467600"/>
              <a:gd name="connsiteY613" fmla="*/ 1184686 h 6858000"/>
              <a:gd name="connsiteX614" fmla="*/ 6691602 w 7467600"/>
              <a:gd name="connsiteY614" fmla="*/ 1140573 h 6858000"/>
              <a:gd name="connsiteX615" fmla="*/ 4002475 w 7467600"/>
              <a:gd name="connsiteY615" fmla="*/ 1037802 h 6858000"/>
              <a:gd name="connsiteX616" fmla="*/ 4000324 w 7467600"/>
              <a:gd name="connsiteY616" fmla="*/ 1039362 h 6858000"/>
              <a:gd name="connsiteX617" fmla="*/ 4002862 w 7467600"/>
              <a:gd name="connsiteY617" fmla="*/ 1042866 h 6858000"/>
              <a:gd name="connsiteX618" fmla="*/ 4002475 w 7467600"/>
              <a:gd name="connsiteY618" fmla="*/ 1037802 h 6858000"/>
              <a:gd name="connsiteX619" fmla="*/ 506322 w 7467600"/>
              <a:gd name="connsiteY619" fmla="*/ 1020997 h 6858000"/>
              <a:gd name="connsiteX620" fmla="*/ 533068 w 7467600"/>
              <a:gd name="connsiteY620" fmla="*/ 1029409 h 6858000"/>
              <a:gd name="connsiteX621" fmla="*/ 1232525 w 7467600"/>
              <a:gd name="connsiteY621" fmla="*/ 1804675 h 6858000"/>
              <a:gd name="connsiteX622" fmla="*/ 1388858 w 7467600"/>
              <a:gd name="connsiteY622" fmla="*/ 2368011 h 6858000"/>
              <a:gd name="connsiteX623" fmla="*/ 1384098 w 7467600"/>
              <a:gd name="connsiteY623" fmla="*/ 2378125 h 6858000"/>
              <a:gd name="connsiteX624" fmla="*/ 1425393 w 7467600"/>
              <a:gd name="connsiteY624" fmla="*/ 2589124 h 6858000"/>
              <a:gd name="connsiteX625" fmla="*/ 1424001 w 7467600"/>
              <a:gd name="connsiteY625" fmla="*/ 2597541 h 6858000"/>
              <a:gd name="connsiteX626" fmla="*/ 2152729 w 7467600"/>
              <a:gd name="connsiteY626" fmla="*/ 2864487 h 6858000"/>
              <a:gd name="connsiteX627" fmla="*/ 2020609 w 7467600"/>
              <a:gd name="connsiteY627" fmla="*/ 2539671 h 6858000"/>
              <a:gd name="connsiteX628" fmla="*/ 2018920 w 7467600"/>
              <a:gd name="connsiteY628" fmla="*/ 2536309 h 6858000"/>
              <a:gd name="connsiteX629" fmla="*/ 1342441 w 7467600"/>
              <a:gd name="connsiteY629" fmla="*/ 1173017 h 6858000"/>
              <a:gd name="connsiteX630" fmla="*/ 1367925 w 7467600"/>
              <a:gd name="connsiteY630" fmla="*/ 1135648 h 6858000"/>
              <a:gd name="connsiteX631" fmla="*/ 1771401 w 7467600"/>
              <a:gd name="connsiteY631" fmla="*/ 1806673 h 6858000"/>
              <a:gd name="connsiteX632" fmla="*/ 1972385 w 7467600"/>
              <a:gd name="connsiteY632" fmla="*/ 2198735 h 6858000"/>
              <a:gd name="connsiteX633" fmla="*/ 2040892 w 7467600"/>
              <a:gd name="connsiteY633" fmla="*/ 2405205 h 6858000"/>
              <a:gd name="connsiteX634" fmla="*/ 2131689 w 7467600"/>
              <a:gd name="connsiteY634" fmla="*/ 1936926 h 6858000"/>
              <a:gd name="connsiteX635" fmla="*/ 2454820 w 7467600"/>
              <a:gd name="connsiteY635" fmla="*/ 1248808 h 6858000"/>
              <a:gd name="connsiteX636" fmla="*/ 2492512 w 7467600"/>
              <a:gd name="connsiteY636" fmla="*/ 1302920 h 6858000"/>
              <a:gd name="connsiteX637" fmla="*/ 2081216 w 7467600"/>
              <a:gd name="connsiteY637" fmla="*/ 2527513 h 6858000"/>
              <a:gd name="connsiteX638" fmla="*/ 2081211 w 7467600"/>
              <a:gd name="connsiteY638" fmla="*/ 2528916 h 6858000"/>
              <a:gd name="connsiteX639" fmla="*/ 2199067 w 7467600"/>
              <a:gd name="connsiteY639" fmla="*/ 2884061 h 6858000"/>
              <a:gd name="connsiteX640" fmla="*/ 3192586 w 7467600"/>
              <a:gd name="connsiteY640" fmla="*/ 3411496 h 6858000"/>
              <a:gd name="connsiteX641" fmla="*/ 3182620 w 7467600"/>
              <a:gd name="connsiteY641" fmla="*/ 3483279 h 6858000"/>
              <a:gd name="connsiteX642" fmla="*/ 2435119 w 7467600"/>
              <a:gd name="connsiteY642" fmla="*/ 3080173 h 6858000"/>
              <a:gd name="connsiteX643" fmla="*/ 2410152 w 7467600"/>
              <a:gd name="connsiteY643" fmla="*/ 3063751 h 6858000"/>
              <a:gd name="connsiteX644" fmla="*/ 2408099 w 7467600"/>
              <a:gd name="connsiteY644" fmla="*/ 3064403 h 6858000"/>
              <a:gd name="connsiteX645" fmla="*/ 2407218 w 7467600"/>
              <a:gd name="connsiteY645" fmla="*/ 3070324 h 6858000"/>
              <a:gd name="connsiteX646" fmla="*/ 2380138 w 7467600"/>
              <a:gd name="connsiteY646" fmla="*/ 3099341 h 6858000"/>
              <a:gd name="connsiteX647" fmla="*/ 1765923 w 7467600"/>
              <a:gd name="connsiteY647" fmla="*/ 3581043 h 6858000"/>
              <a:gd name="connsiteX648" fmla="*/ 1702258 w 7467600"/>
              <a:gd name="connsiteY648" fmla="*/ 3612286 h 6858000"/>
              <a:gd name="connsiteX649" fmla="*/ 1538370 w 7467600"/>
              <a:gd name="connsiteY649" fmla="*/ 3811804 h 6858000"/>
              <a:gd name="connsiteX650" fmla="*/ 542867 w 7467600"/>
              <a:gd name="connsiteY650" fmla="*/ 4944092 h 6858000"/>
              <a:gd name="connsiteX651" fmla="*/ 515800 w 7467600"/>
              <a:gd name="connsiteY651" fmla="*/ 4862180 h 6858000"/>
              <a:gd name="connsiteX652" fmla="*/ 909145 w 7467600"/>
              <a:gd name="connsiteY652" fmla="*/ 4199225 h 6858000"/>
              <a:gd name="connsiteX653" fmla="*/ 1214067 w 7467600"/>
              <a:gd name="connsiteY653" fmla="*/ 3908561 h 6858000"/>
              <a:gd name="connsiteX654" fmla="*/ 640967 w 7467600"/>
              <a:gd name="connsiteY654" fmla="*/ 4105601 h 6858000"/>
              <a:gd name="connsiteX655" fmla="*/ 112563 w 7467600"/>
              <a:gd name="connsiteY655" fmla="*/ 4396952 h 6858000"/>
              <a:gd name="connsiteX656" fmla="*/ 0 w 7467600"/>
              <a:gd name="connsiteY656" fmla="*/ 4466006 h 6858000"/>
              <a:gd name="connsiteX657" fmla="*/ 0 w 7467600"/>
              <a:gd name="connsiteY657" fmla="*/ 4233763 h 6858000"/>
              <a:gd name="connsiteX658" fmla="*/ 36881 w 7467600"/>
              <a:gd name="connsiteY658" fmla="*/ 4200118 h 6858000"/>
              <a:gd name="connsiteX659" fmla="*/ 910534 w 7467600"/>
              <a:gd name="connsiteY659" fmla="*/ 3629753 h 6858000"/>
              <a:gd name="connsiteX660" fmla="*/ 1578717 w 7467600"/>
              <a:gd name="connsiteY660" fmla="*/ 3575982 h 6858000"/>
              <a:gd name="connsiteX661" fmla="*/ 2338780 w 7467600"/>
              <a:gd name="connsiteY661" fmla="*/ 3033725 h 6858000"/>
              <a:gd name="connsiteX662" fmla="*/ 1807991 w 7467600"/>
              <a:gd name="connsiteY662" fmla="*/ 2807184 h 6858000"/>
              <a:gd name="connsiteX663" fmla="*/ 1416358 w 7467600"/>
              <a:gd name="connsiteY663" fmla="*/ 3112571 h 6858000"/>
              <a:gd name="connsiteX664" fmla="*/ 939066 w 7467600"/>
              <a:gd name="connsiteY664" fmla="*/ 3378798 h 6858000"/>
              <a:gd name="connsiteX665" fmla="*/ 115099 w 7467600"/>
              <a:gd name="connsiteY665" fmla="*/ 3607650 h 6858000"/>
              <a:gd name="connsiteX666" fmla="*/ 97284 w 7467600"/>
              <a:gd name="connsiteY666" fmla="*/ 3520393 h 6858000"/>
              <a:gd name="connsiteX667" fmla="*/ 922050 w 7467600"/>
              <a:gd name="connsiteY667" fmla="*/ 3074867 h 6858000"/>
              <a:gd name="connsiteX668" fmla="*/ 1405265 w 7467600"/>
              <a:gd name="connsiteY668" fmla="*/ 3016319 h 6858000"/>
              <a:gd name="connsiteX669" fmla="*/ 1407512 w 7467600"/>
              <a:gd name="connsiteY669" fmla="*/ 3018001 h 6858000"/>
              <a:gd name="connsiteX670" fmla="*/ 1726266 w 7467600"/>
              <a:gd name="connsiteY670" fmla="*/ 2777274 h 6858000"/>
              <a:gd name="connsiteX671" fmla="*/ 625390 w 7467600"/>
              <a:gd name="connsiteY671" fmla="*/ 2514541 h 6858000"/>
              <a:gd name="connsiteX672" fmla="*/ 619799 w 7467600"/>
              <a:gd name="connsiteY672" fmla="*/ 2527180 h 6858000"/>
              <a:gd name="connsiteX673" fmla="*/ 310030 w 7467600"/>
              <a:gd name="connsiteY673" fmla="*/ 2771818 h 6858000"/>
              <a:gd name="connsiteX674" fmla="*/ 173877 w 7467600"/>
              <a:gd name="connsiteY674" fmla="*/ 2937056 h 6858000"/>
              <a:gd name="connsiteX675" fmla="*/ 77889 w 7467600"/>
              <a:gd name="connsiteY675" fmla="*/ 3138440 h 6858000"/>
              <a:gd name="connsiteX676" fmla="*/ 0 w 7467600"/>
              <a:gd name="connsiteY676" fmla="*/ 3271395 h 6858000"/>
              <a:gd name="connsiteX677" fmla="*/ 0 w 7467600"/>
              <a:gd name="connsiteY677" fmla="*/ 3153002 h 6858000"/>
              <a:gd name="connsiteX678" fmla="*/ 2386 w 7467600"/>
              <a:gd name="connsiteY678" fmla="*/ 3149203 h 6858000"/>
              <a:gd name="connsiteX679" fmla="*/ 89753 w 7467600"/>
              <a:gd name="connsiteY679" fmla="*/ 2987702 h 6858000"/>
              <a:gd name="connsiteX680" fmla="*/ 76869 w 7467600"/>
              <a:gd name="connsiteY680" fmla="*/ 3005404 h 6858000"/>
              <a:gd name="connsiteX681" fmla="*/ 32049 w 7467600"/>
              <a:gd name="connsiteY681" fmla="*/ 3065814 h 6858000"/>
              <a:gd name="connsiteX682" fmla="*/ 0 w 7467600"/>
              <a:gd name="connsiteY682" fmla="*/ 3108744 h 6858000"/>
              <a:gd name="connsiteX683" fmla="*/ 0 w 7467600"/>
              <a:gd name="connsiteY683" fmla="*/ 3058059 h 6858000"/>
              <a:gd name="connsiteX684" fmla="*/ 7610 w 7467600"/>
              <a:gd name="connsiteY684" fmla="*/ 3047889 h 6858000"/>
              <a:gd name="connsiteX685" fmla="*/ 52419 w 7467600"/>
              <a:gd name="connsiteY685" fmla="*/ 2987479 h 6858000"/>
              <a:gd name="connsiteX686" fmla="*/ 59142 w 7467600"/>
              <a:gd name="connsiteY686" fmla="*/ 2978488 h 6858000"/>
              <a:gd name="connsiteX687" fmla="*/ 0 w 7467600"/>
              <a:gd name="connsiteY687" fmla="*/ 3015334 h 6858000"/>
              <a:gd name="connsiteX688" fmla="*/ 0 w 7467600"/>
              <a:gd name="connsiteY688" fmla="*/ 2914286 h 6858000"/>
              <a:gd name="connsiteX689" fmla="*/ 36383 w 7467600"/>
              <a:gd name="connsiteY689" fmla="*/ 2901128 h 6858000"/>
              <a:gd name="connsiteX690" fmla="*/ 156329 w 7467600"/>
              <a:gd name="connsiteY690" fmla="*/ 2840533 h 6858000"/>
              <a:gd name="connsiteX691" fmla="*/ 358355 w 7467600"/>
              <a:gd name="connsiteY691" fmla="*/ 2620471 h 6858000"/>
              <a:gd name="connsiteX692" fmla="*/ 510577 w 7467600"/>
              <a:gd name="connsiteY692" fmla="*/ 2501244 h 6858000"/>
              <a:gd name="connsiteX693" fmla="*/ 211967 w 7467600"/>
              <a:gd name="connsiteY693" fmla="*/ 2479171 h 6858000"/>
              <a:gd name="connsiteX694" fmla="*/ 0 w 7467600"/>
              <a:gd name="connsiteY694" fmla="*/ 2476398 h 6858000"/>
              <a:gd name="connsiteX695" fmla="*/ 0 w 7467600"/>
              <a:gd name="connsiteY695" fmla="*/ 2389189 h 6858000"/>
              <a:gd name="connsiteX696" fmla="*/ 103062 w 7467600"/>
              <a:gd name="connsiteY696" fmla="*/ 2389518 h 6858000"/>
              <a:gd name="connsiteX697" fmla="*/ 510734 w 7467600"/>
              <a:gd name="connsiteY697" fmla="*/ 2416201 h 6858000"/>
              <a:gd name="connsiteX698" fmla="*/ 279257 w 7467600"/>
              <a:gd name="connsiteY698" fmla="*/ 2092102 h 6858000"/>
              <a:gd name="connsiteX699" fmla="*/ 65265 w 7467600"/>
              <a:gd name="connsiteY699" fmla="*/ 2006049 h 6858000"/>
              <a:gd name="connsiteX700" fmla="*/ 0 w 7467600"/>
              <a:gd name="connsiteY700" fmla="*/ 1982532 h 6858000"/>
              <a:gd name="connsiteX701" fmla="*/ 0 w 7467600"/>
              <a:gd name="connsiteY701" fmla="*/ 1912789 h 6858000"/>
              <a:gd name="connsiteX702" fmla="*/ 97460 w 7467600"/>
              <a:gd name="connsiteY702" fmla="*/ 1953725 h 6858000"/>
              <a:gd name="connsiteX703" fmla="*/ 221272 w 7467600"/>
              <a:gd name="connsiteY703" fmla="*/ 1980766 h 6858000"/>
              <a:gd name="connsiteX704" fmla="*/ 116765 w 7467600"/>
              <a:gd name="connsiteY704" fmla="*/ 1911033 h 6858000"/>
              <a:gd name="connsiteX705" fmla="*/ 16405 w 7467600"/>
              <a:gd name="connsiteY705" fmla="*/ 1803412 h 6858000"/>
              <a:gd name="connsiteX706" fmla="*/ 0 w 7467600"/>
              <a:gd name="connsiteY706" fmla="*/ 1784777 h 6858000"/>
              <a:gd name="connsiteX707" fmla="*/ 0 w 7467600"/>
              <a:gd name="connsiteY707" fmla="*/ 1740082 h 6858000"/>
              <a:gd name="connsiteX708" fmla="*/ 39394 w 7467600"/>
              <a:gd name="connsiteY708" fmla="*/ 1784856 h 6858000"/>
              <a:gd name="connsiteX709" fmla="*/ 135813 w 7467600"/>
              <a:gd name="connsiteY709" fmla="*/ 1888838 h 6858000"/>
              <a:gd name="connsiteX710" fmla="*/ 242575 w 7467600"/>
              <a:gd name="connsiteY710" fmla="*/ 1958841 h 6858000"/>
              <a:gd name="connsiteX711" fmla="*/ 82197 w 7467600"/>
              <a:gd name="connsiteY711" fmla="*/ 1754826 h 6858000"/>
              <a:gd name="connsiteX712" fmla="*/ 0 w 7467600"/>
              <a:gd name="connsiteY712" fmla="*/ 1679650 h 6858000"/>
              <a:gd name="connsiteX713" fmla="*/ 0 w 7467600"/>
              <a:gd name="connsiteY713" fmla="*/ 1602463 h 6858000"/>
              <a:gd name="connsiteX714" fmla="*/ 84689 w 7467600"/>
              <a:gd name="connsiteY714" fmla="*/ 1677442 h 6858000"/>
              <a:gd name="connsiteX715" fmla="*/ 298437 w 7467600"/>
              <a:gd name="connsiteY715" fmla="*/ 1968019 h 6858000"/>
              <a:gd name="connsiteX716" fmla="*/ 227269 w 7467600"/>
              <a:gd name="connsiteY716" fmla="*/ 1114064 h 6858000"/>
              <a:gd name="connsiteX717" fmla="*/ 248003 w 7467600"/>
              <a:gd name="connsiteY717" fmla="*/ 1089613 h 6858000"/>
              <a:gd name="connsiteX718" fmla="*/ 427020 w 7467600"/>
              <a:gd name="connsiteY718" fmla="*/ 1619803 h 6858000"/>
              <a:gd name="connsiteX719" fmla="*/ 340345 w 7467600"/>
              <a:gd name="connsiteY719" fmla="*/ 2027739 h 6858000"/>
              <a:gd name="connsiteX720" fmla="*/ 360865 w 7467600"/>
              <a:gd name="connsiteY720" fmla="*/ 2044827 h 6858000"/>
              <a:gd name="connsiteX721" fmla="*/ 560414 w 7467600"/>
              <a:gd name="connsiteY721" fmla="*/ 2421457 h 6858000"/>
              <a:gd name="connsiteX722" fmla="*/ 1359703 w 7467600"/>
              <a:gd name="connsiteY722" fmla="*/ 2578554 h 6858000"/>
              <a:gd name="connsiteX723" fmla="*/ 1359422 w 7467600"/>
              <a:gd name="connsiteY723" fmla="*/ 2577994 h 6858000"/>
              <a:gd name="connsiteX724" fmla="*/ 828701 w 7467600"/>
              <a:gd name="connsiteY724" fmla="*/ 1839520 h 6858000"/>
              <a:gd name="connsiteX725" fmla="*/ 494427 w 7467600"/>
              <a:gd name="connsiteY725" fmla="*/ 1092333 h 6858000"/>
              <a:gd name="connsiteX726" fmla="*/ 506322 w 7467600"/>
              <a:gd name="connsiteY726" fmla="*/ 1020997 h 6858000"/>
              <a:gd name="connsiteX727" fmla="*/ 4570198 w 7467600"/>
              <a:gd name="connsiteY727" fmla="*/ 978081 h 6858000"/>
              <a:gd name="connsiteX728" fmla="*/ 4523691 w 7467600"/>
              <a:gd name="connsiteY728" fmla="*/ 1127776 h 6858000"/>
              <a:gd name="connsiteX729" fmla="*/ 4509875 w 7467600"/>
              <a:gd name="connsiteY729" fmla="*/ 1167552 h 6858000"/>
              <a:gd name="connsiteX730" fmla="*/ 4478168 w 7467600"/>
              <a:gd name="connsiteY730" fmla="*/ 1260735 h 6858000"/>
              <a:gd name="connsiteX731" fmla="*/ 4409309 w 7467600"/>
              <a:gd name="connsiteY731" fmla="*/ 1666996 h 6858000"/>
              <a:gd name="connsiteX732" fmla="*/ 4370031 w 7467600"/>
              <a:gd name="connsiteY732" fmla="*/ 1955666 h 6858000"/>
              <a:gd name="connsiteX733" fmla="*/ 4570198 w 7467600"/>
              <a:gd name="connsiteY733" fmla="*/ 978081 h 6858000"/>
              <a:gd name="connsiteX734" fmla="*/ 4557898 w 7467600"/>
              <a:gd name="connsiteY734" fmla="*/ 900011 h 6858000"/>
              <a:gd name="connsiteX735" fmla="*/ 4344840 w 7467600"/>
              <a:gd name="connsiteY735" fmla="*/ 1922038 h 6858000"/>
              <a:gd name="connsiteX736" fmla="*/ 4378710 w 7467600"/>
              <a:gd name="connsiteY736" fmla="*/ 1665516 h 6858000"/>
              <a:gd name="connsiteX737" fmla="*/ 4448798 w 7467600"/>
              <a:gd name="connsiteY737" fmla="*/ 1253024 h 6858000"/>
              <a:gd name="connsiteX738" fmla="*/ 4480315 w 7467600"/>
              <a:gd name="connsiteY738" fmla="*/ 1158454 h 6858000"/>
              <a:gd name="connsiteX739" fmla="*/ 4494133 w 7467600"/>
              <a:gd name="connsiteY739" fmla="*/ 1118676 h 6858000"/>
              <a:gd name="connsiteX740" fmla="*/ 4557898 w 7467600"/>
              <a:gd name="connsiteY740" fmla="*/ 900011 h 6858000"/>
              <a:gd name="connsiteX741" fmla="*/ 5870151 w 7467600"/>
              <a:gd name="connsiteY741" fmla="*/ 898890 h 6858000"/>
              <a:gd name="connsiteX742" fmla="*/ 5861335 w 7467600"/>
              <a:gd name="connsiteY742" fmla="*/ 899177 h 6858000"/>
              <a:gd name="connsiteX743" fmla="*/ 5843702 w 7467600"/>
              <a:gd name="connsiteY743" fmla="*/ 899748 h 6858000"/>
              <a:gd name="connsiteX744" fmla="*/ 5651107 w 7467600"/>
              <a:gd name="connsiteY744" fmla="*/ 920306 h 6858000"/>
              <a:gd name="connsiteX745" fmla="*/ 5459407 w 7467600"/>
              <a:gd name="connsiteY745" fmla="*/ 940975 h 6858000"/>
              <a:gd name="connsiteX746" fmla="*/ 5374846 w 7467600"/>
              <a:gd name="connsiteY746" fmla="*/ 941988 h 6858000"/>
              <a:gd name="connsiteX747" fmla="*/ 5256105 w 7467600"/>
              <a:gd name="connsiteY747" fmla="*/ 945632 h 6858000"/>
              <a:gd name="connsiteX748" fmla="*/ 5107071 w 7467600"/>
              <a:gd name="connsiteY748" fmla="*/ 969720 h 6858000"/>
              <a:gd name="connsiteX749" fmla="*/ 4998681 w 7467600"/>
              <a:gd name="connsiteY749" fmla="*/ 988771 h 6858000"/>
              <a:gd name="connsiteX750" fmla="*/ 5870151 w 7467600"/>
              <a:gd name="connsiteY750" fmla="*/ 898890 h 6858000"/>
              <a:gd name="connsiteX751" fmla="*/ 5504425 w 7467600"/>
              <a:gd name="connsiteY751" fmla="*/ 848067 h 6858000"/>
              <a:gd name="connsiteX752" fmla="*/ 4968849 w 7467600"/>
              <a:gd name="connsiteY752" fmla="*/ 962318 h 6858000"/>
              <a:gd name="connsiteX753" fmla="*/ 5104039 w 7467600"/>
              <a:gd name="connsiteY753" fmla="*/ 940634 h 6858000"/>
              <a:gd name="connsiteX754" fmla="*/ 5256311 w 7467600"/>
              <a:gd name="connsiteY754" fmla="*/ 916490 h 6858000"/>
              <a:gd name="connsiteX755" fmla="*/ 5377381 w 7467600"/>
              <a:gd name="connsiteY755" fmla="*/ 912671 h 6858000"/>
              <a:gd name="connsiteX756" fmla="*/ 5460148 w 7467600"/>
              <a:gd name="connsiteY756" fmla="*/ 911442 h 6858000"/>
              <a:gd name="connsiteX757" fmla="*/ 5648971 w 7467600"/>
              <a:gd name="connsiteY757" fmla="*/ 891331 h 6858000"/>
              <a:gd name="connsiteX758" fmla="*/ 5844807 w 7467600"/>
              <a:gd name="connsiteY758" fmla="*/ 870718 h 6858000"/>
              <a:gd name="connsiteX759" fmla="*/ 5862975 w 7467600"/>
              <a:gd name="connsiteY759" fmla="*/ 869756 h 6858000"/>
              <a:gd name="connsiteX760" fmla="*/ 5920887 w 7467600"/>
              <a:gd name="connsiteY760" fmla="*/ 865929 h 6858000"/>
              <a:gd name="connsiteX761" fmla="*/ 5504425 w 7467600"/>
              <a:gd name="connsiteY761" fmla="*/ 848067 h 6858000"/>
              <a:gd name="connsiteX762" fmla="*/ 3607114 w 7467600"/>
              <a:gd name="connsiteY762" fmla="*/ 467441 h 6858000"/>
              <a:gd name="connsiteX763" fmla="*/ 3296242 w 7467600"/>
              <a:gd name="connsiteY763" fmla="*/ 807991 h 6858000"/>
              <a:gd name="connsiteX764" fmla="*/ 3174674 w 7467600"/>
              <a:gd name="connsiteY764" fmla="*/ 919759 h 6858000"/>
              <a:gd name="connsiteX765" fmla="*/ 3042978 w 7467600"/>
              <a:gd name="connsiteY765" fmla="*/ 1054894 h 6858000"/>
              <a:gd name="connsiteX766" fmla="*/ 2968914 w 7467600"/>
              <a:gd name="connsiteY766" fmla="*/ 1133756 h 6858000"/>
              <a:gd name="connsiteX767" fmla="*/ 3103823 w 7467600"/>
              <a:gd name="connsiteY767" fmla="*/ 1026814 h 6858000"/>
              <a:gd name="connsiteX768" fmla="*/ 3607114 w 7467600"/>
              <a:gd name="connsiteY768" fmla="*/ 467441 h 6858000"/>
              <a:gd name="connsiteX769" fmla="*/ 3744487 w 7467600"/>
              <a:gd name="connsiteY769" fmla="*/ 383136 h 6858000"/>
              <a:gd name="connsiteX770" fmla="*/ 3970213 w 7467600"/>
              <a:gd name="connsiteY770" fmla="*/ 995559 h 6858000"/>
              <a:gd name="connsiteX771" fmla="*/ 3744487 w 7467600"/>
              <a:gd name="connsiteY771" fmla="*/ 383136 h 6858000"/>
              <a:gd name="connsiteX772" fmla="*/ 3624562 w 7467600"/>
              <a:gd name="connsiteY772" fmla="*/ 367041 h 6858000"/>
              <a:gd name="connsiteX773" fmla="*/ 3489712 w 7467600"/>
              <a:gd name="connsiteY773" fmla="*/ 485386 h 6858000"/>
              <a:gd name="connsiteX774" fmla="*/ 3182994 w 7467600"/>
              <a:gd name="connsiteY774" fmla="*/ 828265 h 6858000"/>
              <a:gd name="connsiteX775" fmla="*/ 2892114 w 7467600"/>
              <a:gd name="connsiteY775" fmla="*/ 1172635 h 6858000"/>
              <a:gd name="connsiteX776" fmla="*/ 3021459 w 7467600"/>
              <a:gd name="connsiteY776" fmla="*/ 1035385 h 6858000"/>
              <a:gd name="connsiteX777" fmla="*/ 3153873 w 7467600"/>
              <a:gd name="connsiteY777" fmla="*/ 898971 h 6858000"/>
              <a:gd name="connsiteX778" fmla="*/ 3276511 w 7467600"/>
              <a:gd name="connsiteY778" fmla="*/ 786423 h 6858000"/>
              <a:gd name="connsiteX779" fmla="*/ 3584154 w 7467600"/>
              <a:gd name="connsiteY779" fmla="*/ 448218 h 6858000"/>
              <a:gd name="connsiteX780" fmla="*/ 3624562 w 7467600"/>
              <a:gd name="connsiteY780" fmla="*/ 367041 h 6858000"/>
              <a:gd name="connsiteX781" fmla="*/ 3766672 w 7467600"/>
              <a:gd name="connsiteY781" fmla="*/ 359429 h 6858000"/>
              <a:gd name="connsiteX782" fmla="*/ 3996338 w 7467600"/>
              <a:gd name="connsiteY782" fmla="*/ 968237 h 6858000"/>
              <a:gd name="connsiteX783" fmla="*/ 3766672 w 7467600"/>
              <a:gd name="connsiteY783" fmla="*/ 359429 h 6858000"/>
              <a:gd name="connsiteX784" fmla="*/ 5805386 w 7467600"/>
              <a:gd name="connsiteY784" fmla="*/ 239240 h 6858000"/>
              <a:gd name="connsiteX785" fmla="*/ 5736947 w 7467600"/>
              <a:gd name="connsiteY785" fmla="*/ 261367 h 6858000"/>
              <a:gd name="connsiteX786" fmla="*/ 5427012 w 7467600"/>
              <a:gd name="connsiteY786" fmla="*/ 311272 h 6858000"/>
              <a:gd name="connsiteX787" fmla="*/ 5147818 w 7467600"/>
              <a:gd name="connsiteY787" fmla="*/ 322112 h 6858000"/>
              <a:gd name="connsiteX788" fmla="*/ 5060854 w 7467600"/>
              <a:gd name="connsiteY788" fmla="*/ 311882 h 6858000"/>
              <a:gd name="connsiteX789" fmla="*/ 4945989 w 7467600"/>
              <a:gd name="connsiteY789" fmla="*/ 300516 h 6858000"/>
              <a:gd name="connsiteX790" fmla="*/ 5410479 w 7467600"/>
              <a:gd name="connsiteY790" fmla="*/ 348434 h 6858000"/>
              <a:gd name="connsiteX791" fmla="*/ 5805386 w 7467600"/>
              <a:gd name="connsiteY791" fmla="*/ 239240 h 6858000"/>
              <a:gd name="connsiteX792" fmla="*/ 5905192 w 7467600"/>
              <a:gd name="connsiteY792" fmla="*/ 163079 h 6858000"/>
              <a:gd name="connsiteX793" fmla="*/ 5865655 w 7467600"/>
              <a:gd name="connsiteY793" fmla="*/ 171901 h 6858000"/>
              <a:gd name="connsiteX794" fmla="*/ 5259740 w 7467600"/>
              <a:gd name="connsiteY794" fmla="*/ 257013 h 6858000"/>
              <a:gd name="connsiteX795" fmla="*/ 5208466 w 7467600"/>
              <a:gd name="connsiteY795" fmla="*/ 257550 h 6858000"/>
              <a:gd name="connsiteX796" fmla="*/ 4980204 w 7467600"/>
              <a:gd name="connsiteY796" fmla="*/ 271903 h 6858000"/>
              <a:gd name="connsiteX797" fmla="*/ 5068068 w 7467600"/>
              <a:gd name="connsiteY797" fmla="*/ 282244 h 6858000"/>
              <a:gd name="connsiteX798" fmla="*/ 5153231 w 7467600"/>
              <a:gd name="connsiteY798" fmla="*/ 292240 h 6858000"/>
              <a:gd name="connsiteX799" fmla="*/ 5426491 w 7467600"/>
              <a:gd name="connsiteY799" fmla="*/ 281128 h 6858000"/>
              <a:gd name="connsiteX800" fmla="*/ 5731212 w 7467600"/>
              <a:gd name="connsiteY800" fmla="*/ 231951 h 6858000"/>
              <a:gd name="connsiteX801" fmla="*/ 5905192 w 7467600"/>
              <a:gd name="connsiteY801" fmla="*/ 163079 h 6858000"/>
              <a:gd name="connsiteX802" fmla="*/ 5944437 w 7467600"/>
              <a:gd name="connsiteY802" fmla="*/ 113829 h 6858000"/>
              <a:gd name="connsiteX803" fmla="*/ 5825032 w 7467600"/>
              <a:gd name="connsiteY803" fmla="*/ 146405 h 6858000"/>
              <a:gd name="connsiteX804" fmla="*/ 4955599 w 7467600"/>
              <a:gd name="connsiteY804" fmla="*/ 247008 h 6858000"/>
              <a:gd name="connsiteX805" fmla="*/ 5210104 w 7467600"/>
              <a:gd name="connsiteY805" fmla="*/ 228123 h 6858000"/>
              <a:gd name="connsiteX806" fmla="*/ 5261015 w 7467600"/>
              <a:gd name="connsiteY806" fmla="*/ 227087 h 6858000"/>
              <a:gd name="connsiteX807" fmla="*/ 5861181 w 7467600"/>
              <a:gd name="connsiteY807" fmla="*/ 143093 h 6858000"/>
              <a:gd name="connsiteX808" fmla="*/ 5961252 w 7467600"/>
              <a:gd name="connsiteY808" fmla="*/ 114820 h 6858000"/>
              <a:gd name="connsiteX809" fmla="*/ 5944437 w 7467600"/>
              <a:gd name="connsiteY809" fmla="*/ 113829 h 6858000"/>
              <a:gd name="connsiteX810" fmla="*/ 3882765 w 7467600"/>
              <a:gd name="connsiteY810" fmla="*/ 0 h 6858000"/>
              <a:gd name="connsiteX811" fmla="*/ 3995099 w 7467600"/>
              <a:gd name="connsiteY811" fmla="*/ 0 h 6858000"/>
              <a:gd name="connsiteX812" fmla="*/ 4163818 w 7467600"/>
              <a:gd name="connsiteY812" fmla="*/ 234104 h 6858000"/>
              <a:gd name="connsiteX813" fmla="*/ 4172099 w 7467600"/>
              <a:gd name="connsiteY813" fmla="*/ 234207 h 6858000"/>
              <a:gd name="connsiteX814" fmla="*/ 4784282 w 7467600"/>
              <a:gd name="connsiteY814" fmla="*/ 276561 h 6858000"/>
              <a:gd name="connsiteX815" fmla="*/ 4801687 w 7467600"/>
              <a:gd name="connsiteY815" fmla="*/ 267764 h 6858000"/>
              <a:gd name="connsiteX816" fmla="*/ 6082788 w 7467600"/>
              <a:gd name="connsiteY816" fmla="*/ 64119 h 6858000"/>
              <a:gd name="connsiteX817" fmla="*/ 6099442 w 7467600"/>
              <a:gd name="connsiteY817" fmla="*/ 82568 h 6858000"/>
              <a:gd name="connsiteX818" fmla="*/ 4804137 w 7467600"/>
              <a:gd name="connsiteY818" fmla="*/ 320931 h 6858000"/>
              <a:gd name="connsiteX819" fmla="*/ 4227047 w 7467600"/>
              <a:gd name="connsiteY819" fmla="*/ 313415 h 6858000"/>
              <a:gd name="connsiteX820" fmla="*/ 4346041 w 7467600"/>
              <a:gd name="connsiteY820" fmla="*/ 456086 h 6858000"/>
              <a:gd name="connsiteX821" fmla="*/ 4870967 w 7467600"/>
              <a:gd name="connsiteY821" fmla="*/ 963061 h 6858000"/>
              <a:gd name="connsiteX822" fmla="*/ 4889647 w 7467600"/>
              <a:gd name="connsiteY822" fmla="*/ 957147 h 6858000"/>
              <a:gd name="connsiteX823" fmla="*/ 5422504 w 7467600"/>
              <a:gd name="connsiteY823" fmla="*/ 805191 h 6858000"/>
              <a:gd name="connsiteX824" fmla="*/ 6087656 w 7467600"/>
              <a:gd name="connsiteY824" fmla="*/ 826703 h 6858000"/>
              <a:gd name="connsiteX825" fmla="*/ 6058717 w 7467600"/>
              <a:gd name="connsiteY825" fmla="*/ 865992 h 6858000"/>
              <a:gd name="connsiteX826" fmla="*/ 4974153 w 7467600"/>
              <a:gd name="connsiteY826" fmla="*/ 1045456 h 6858000"/>
              <a:gd name="connsiteX827" fmla="*/ 5627835 w 7467600"/>
              <a:gd name="connsiteY827" fmla="*/ 1472077 h 6858000"/>
              <a:gd name="connsiteX828" fmla="*/ 5629817 w 7467600"/>
              <a:gd name="connsiteY828" fmla="*/ 1471412 h 6858000"/>
              <a:gd name="connsiteX829" fmla="*/ 5634124 w 7467600"/>
              <a:gd name="connsiteY829" fmla="*/ 1470572 h 6858000"/>
              <a:gd name="connsiteX830" fmla="*/ 5755832 w 7467600"/>
              <a:gd name="connsiteY830" fmla="*/ 1383886 h 6858000"/>
              <a:gd name="connsiteX831" fmla="*/ 6014186 w 7467600"/>
              <a:gd name="connsiteY831" fmla="*/ 1279799 h 6858000"/>
              <a:gd name="connsiteX832" fmla="*/ 6901619 w 7467600"/>
              <a:gd name="connsiteY832" fmla="*/ 1047874 h 6858000"/>
              <a:gd name="connsiteX833" fmla="*/ 6931566 w 7467600"/>
              <a:gd name="connsiteY833" fmla="*/ 1062034 h 6858000"/>
              <a:gd name="connsiteX834" fmla="*/ 5790982 w 7467600"/>
              <a:gd name="connsiteY834" fmla="*/ 1561380 h 6858000"/>
              <a:gd name="connsiteX835" fmla="*/ 6188971 w 7467600"/>
              <a:gd name="connsiteY835" fmla="*/ 1755168 h 6858000"/>
              <a:gd name="connsiteX836" fmla="*/ 6202446 w 7467600"/>
              <a:gd name="connsiteY836" fmla="*/ 1752268 h 6858000"/>
              <a:gd name="connsiteX837" fmla="*/ 7179560 w 7467600"/>
              <a:gd name="connsiteY837" fmla="*/ 1467551 h 6858000"/>
              <a:gd name="connsiteX838" fmla="*/ 7158730 w 7467600"/>
              <a:gd name="connsiteY838" fmla="*/ 1507835 h 6858000"/>
              <a:gd name="connsiteX839" fmla="*/ 6326959 w 7467600"/>
              <a:gd name="connsiteY839" fmla="*/ 1817686 h 6858000"/>
              <a:gd name="connsiteX840" fmla="*/ 6537433 w 7467600"/>
              <a:gd name="connsiteY840" fmla="*/ 1907790 h 6858000"/>
              <a:gd name="connsiteX841" fmla="*/ 6550221 w 7467600"/>
              <a:gd name="connsiteY841" fmla="*/ 1910729 h 6858000"/>
              <a:gd name="connsiteX842" fmla="*/ 6964438 w 7467600"/>
              <a:gd name="connsiteY842" fmla="*/ 2209505 h 6858000"/>
              <a:gd name="connsiteX843" fmla="*/ 7367862 w 7467600"/>
              <a:gd name="connsiteY843" fmla="*/ 2806833 h 6858000"/>
              <a:gd name="connsiteX844" fmla="*/ 7364329 w 7467600"/>
              <a:gd name="connsiteY844" fmla="*/ 2826907 h 6858000"/>
              <a:gd name="connsiteX845" fmla="*/ 7290545 w 7467600"/>
              <a:gd name="connsiteY845" fmla="*/ 2850663 h 6858000"/>
              <a:gd name="connsiteX846" fmla="*/ 6472036 w 7467600"/>
              <a:gd name="connsiteY846" fmla="*/ 1959003 h 6858000"/>
              <a:gd name="connsiteX847" fmla="*/ 5792897 w 7467600"/>
              <a:gd name="connsiteY847" fmla="*/ 1647747 h 6858000"/>
              <a:gd name="connsiteX848" fmla="*/ 5842751 w 7467600"/>
              <a:gd name="connsiteY848" fmla="*/ 1816112 h 6858000"/>
              <a:gd name="connsiteX849" fmla="*/ 5847424 w 7467600"/>
              <a:gd name="connsiteY849" fmla="*/ 1815776 h 6858000"/>
              <a:gd name="connsiteX850" fmla="*/ 6399821 w 7467600"/>
              <a:gd name="connsiteY850" fmla="*/ 2344799 h 6858000"/>
              <a:gd name="connsiteX851" fmla="*/ 6323232 w 7467600"/>
              <a:gd name="connsiteY851" fmla="*/ 2389634 h 6858000"/>
              <a:gd name="connsiteX852" fmla="*/ 5942958 w 7467600"/>
              <a:gd name="connsiteY852" fmla="*/ 2077708 h 6858000"/>
              <a:gd name="connsiteX853" fmla="*/ 5921559 w 7467600"/>
              <a:gd name="connsiteY853" fmla="*/ 2378596 h 6858000"/>
              <a:gd name="connsiteX854" fmla="*/ 5817651 w 7467600"/>
              <a:gd name="connsiteY854" fmla="*/ 3023919 h 6858000"/>
              <a:gd name="connsiteX855" fmla="*/ 5729634 w 7467600"/>
              <a:gd name="connsiteY855" fmla="*/ 3051849 h 6858000"/>
              <a:gd name="connsiteX856" fmla="*/ 5611018 w 7467600"/>
              <a:gd name="connsiteY856" fmla="*/ 2316769 h 6858000"/>
              <a:gd name="connsiteX857" fmla="*/ 5687608 w 7467600"/>
              <a:gd name="connsiteY857" fmla="*/ 2039972 h 6858000"/>
              <a:gd name="connsiteX858" fmla="*/ 5657554 w 7467600"/>
              <a:gd name="connsiteY858" fmla="*/ 1576445 h 6858000"/>
              <a:gd name="connsiteX859" fmla="*/ 5150475 w 7467600"/>
              <a:gd name="connsiteY859" fmla="*/ 1274012 h 6858000"/>
              <a:gd name="connsiteX860" fmla="*/ 5349142 w 7467600"/>
              <a:gd name="connsiteY860" fmla="*/ 2204405 h 6858000"/>
              <a:gd name="connsiteX861" fmla="*/ 5262214 w 7467600"/>
              <a:gd name="connsiteY861" fmla="*/ 2233836 h 6858000"/>
              <a:gd name="connsiteX862" fmla="*/ 4981539 w 7467600"/>
              <a:gd name="connsiteY862" fmla="*/ 1542201 h 6858000"/>
              <a:gd name="connsiteX863" fmla="*/ 4958461 w 7467600"/>
              <a:gd name="connsiteY863" fmla="*/ 1136957 h 6858000"/>
              <a:gd name="connsiteX864" fmla="*/ 4655015 w 7467600"/>
              <a:gd name="connsiteY864" fmla="*/ 891426 h 6858000"/>
              <a:gd name="connsiteX865" fmla="*/ 4348002 w 7467600"/>
              <a:gd name="connsiteY865" fmla="*/ 2205895 h 6858000"/>
              <a:gd name="connsiteX866" fmla="*/ 4262250 w 7467600"/>
              <a:gd name="connsiteY866" fmla="*/ 2219972 h 6858000"/>
              <a:gd name="connsiteX867" fmla="*/ 4550611 w 7467600"/>
              <a:gd name="connsiteY867" fmla="*/ 817540 h 6858000"/>
              <a:gd name="connsiteX868" fmla="*/ 4564418 w 7467600"/>
              <a:gd name="connsiteY868" fmla="*/ 808293 h 6858000"/>
              <a:gd name="connsiteX869" fmla="*/ 4266388 w 7467600"/>
              <a:gd name="connsiteY869" fmla="*/ 500083 h 6858000"/>
              <a:gd name="connsiteX870" fmla="*/ 4032842 w 7467600"/>
              <a:gd name="connsiteY870" fmla="*/ 211809 h 6858000"/>
              <a:gd name="connsiteX871" fmla="*/ 3882765 w 7467600"/>
              <a:gd name="connsiteY871" fmla="*/ 0 h 6858000"/>
              <a:gd name="connsiteX872" fmla="*/ 3721337 w 7467600"/>
              <a:gd name="connsiteY872" fmla="*/ 0 h 6858000"/>
              <a:gd name="connsiteX873" fmla="*/ 3797544 w 7467600"/>
              <a:gd name="connsiteY873" fmla="*/ 0 h 6858000"/>
              <a:gd name="connsiteX874" fmla="*/ 3775734 w 7467600"/>
              <a:gd name="connsiteY874" fmla="*/ 95131 h 6858000"/>
              <a:gd name="connsiteX875" fmla="*/ 3724807 w 7467600"/>
              <a:gd name="connsiteY875" fmla="*/ 272257 h 6858000"/>
              <a:gd name="connsiteX876" fmla="*/ 3726844 w 7467600"/>
              <a:gd name="connsiteY876" fmla="*/ 282988 h 6858000"/>
              <a:gd name="connsiteX877" fmla="*/ 3742664 w 7467600"/>
              <a:gd name="connsiteY877" fmla="*/ 279918 h 6858000"/>
              <a:gd name="connsiteX878" fmla="*/ 4103910 w 7467600"/>
              <a:gd name="connsiteY878" fmla="*/ 1161917 h 6858000"/>
              <a:gd name="connsiteX879" fmla="*/ 4020269 w 7467600"/>
              <a:gd name="connsiteY879" fmla="*/ 1200406 h 6858000"/>
              <a:gd name="connsiteX880" fmla="*/ 3674882 w 7467600"/>
              <a:gd name="connsiteY880" fmla="*/ 488524 h 6858000"/>
              <a:gd name="connsiteX881" fmla="*/ 3132682 w 7467600"/>
              <a:gd name="connsiteY881" fmla="*/ 1072284 h 6858000"/>
              <a:gd name="connsiteX882" fmla="*/ 2716346 w 7467600"/>
              <a:gd name="connsiteY882" fmla="*/ 1276376 h 6858000"/>
              <a:gd name="connsiteX883" fmla="*/ 2716772 w 7467600"/>
              <a:gd name="connsiteY883" fmla="*/ 1255462 h 6858000"/>
              <a:gd name="connsiteX884" fmla="*/ 3471096 w 7467600"/>
              <a:gd name="connsiteY884" fmla="*/ 437072 h 6858000"/>
              <a:gd name="connsiteX885" fmla="*/ 3639057 w 7467600"/>
              <a:gd name="connsiteY885" fmla="*/ 286334 h 6858000"/>
              <a:gd name="connsiteX886" fmla="*/ 3640309 w 7467600"/>
              <a:gd name="connsiteY886" fmla="*/ 284664 h 6858000"/>
              <a:gd name="connsiteX887" fmla="*/ 3646022 w 7467600"/>
              <a:gd name="connsiteY887" fmla="*/ 276711 h 6858000"/>
              <a:gd name="connsiteX888" fmla="*/ 3707943 w 7467600"/>
              <a:gd name="connsiteY888" fmla="*/ 65958 h 6858000"/>
              <a:gd name="connsiteX889" fmla="*/ 3721337 w 7467600"/>
              <a:gd name="connsiteY889" fmla="*/ 0 h 6858000"/>
              <a:gd name="connsiteX890" fmla="*/ 2867960 w 7467600"/>
              <a:gd name="connsiteY890" fmla="*/ 0 h 6858000"/>
              <a:gd name="connsiteX891" fmla="*/ 2926351 w 7467600"/>
              <a:gd name="connsiteY891" fmla="*/ 0 h 6858000"/>
              <a:gd name="connsiteX892" fmla="*/ 2902823 w 7467600"/>
              <a:gd name="connsiteY892" fmla="*/ 262929 h 6858000"/>
              <a:gd name="connsiteX893" fmla="*/ 2940663 w 7467600"/>
              <a:gd name="connsiteY893" fmla="*/ 140884 h 6858000"/>
              <a:gd name="connsiteX894" fmla="*/ 2947039 w 7467600"/>
              <a:gd name="connsiteY894" fmla="*/ 122524 h 6858000"/>
              <a:gd name="connsiteX895" fmla="*/ 2984316 w 7467600"/>
              <a:gd name="connsiteY895" fmla="*/ 0 h 6858000"/>
              <a:gd name="connsiteX896" fmla="*/ 3016114 w 7467600"/>
              <a:gd name="connsiteY896" fmla="*/ 0 h 6858000"/>
              <a:gd name="connsiteX897" fmla="*/ 2979949 w 7467600"/>
              <a:gd name="connsiteY897" fmla="*/ 119274 h 6858000"/>
              <a:gd name="connsiteX898" fmla="*/ 3023879 w 7467600"/>
              <a:gd name="connsiteY898" fmla="*/ 0 h 6858000"/>
              <a:gd name="connsiteX899" fmla="*/ 3105400 w 7467600"/>
              <a:gd name="connsiteY899" fmla="*/ 0 h 6858000"/>
              <a:gd name="connsiteX900" fmla="*/ 3094669 w 7467600"/>
              <a:gd name="connsiteY900" fmla="*/ 30308 h 6858000"/>
              <a:gd name="connsiteX901" fmla="*/ 2901945 w 7467600"/>
              <a:gd name="connsiteY901" fmla="*/ 466538 h 6858000"/>
              <a:gd name="connsiteX902" fmla="*/ 2815209 w 7467600"/>
              <a:gd name="connsiteY902" fmla="*/ 497361 h 6858000"/>
              <a:gd name="connsiteX903" fmla="*/ 2844845 w 7467600"/>
              <a:gd name="connsiteY903" fmla="*/ 127638 h 6858000"/>
              <a:gd name="connsiteX904" fmla="*/ 2867960 w 7467600"/>
              <a:gd name="connsiteY904" fmla="*/ 0 h 6858000"/>
              <a:gd name="connsiteX905" fmla="*/ 1057230 w 7467600"/>
              <a:gd name="connsiteY905" fmla="*/ 0 h 6858000"/>
              <a:gd name="connsiteX906" fmla="*/ 1111003 w 7467600"/>
              <a:gd name="connsiteY906" fmla="*/ 0 h 6858000"/>
              <a:gd name="connsiteX907" fmla="*/ 1125553 w 7467600"/>
              <a:gd name="connsiteY907" fmla="*/ 52588 h 6858000"/>
              <a:gd name="connsiteX908" fmla="*/ 1304276 w 7467600"/>
              <a:gd name="connsiteY908" fmla="*/ 476275 h 6858000"/>
              <a:gd name="connsiteX909" fmla="*/ 1492066 w 7467600"/>
              <a:gd name="connsiteY909" fmla="*/ 886333 h 6858000"/>
              <a:gd name="connsiteX910" fmla="*/ 1423698 w 7467600"/>
              <a:gd name="connsiteY910" fmla="*/ 710817 h 6858000"/>
              <a:gd name="connsiteX911" fmla="*/ 1357609 w 7467600"/>
              <a:gd name="connsiteY911" fmla="*/ 532892 h 6858000"/>
              <a:gd name="connsiteX912" fmla="*/ 1309550 w 7467600"/>
              <a:gd name="connsiteY912" fmla="*/ 374031 h 6858000"/>
              <a:gd name="connsiteX913" fmla="*/ 1193673 w 7467600"/>
              <a:gd name="connsiteY913" fmla="*/ 49533 h 6858000"/>
              <a:gd name="connsiteX914" fmla="*/ 1164391 w 7467600"/>
              <a:gd name="connsiteY914" fmla="*/ 0 h 6858000"/>
              <a:gd name="connsiteX915" fmla="*/ 1200666 w 7467600"/>
              <a:gd name="connsiteY915" fmla="*/ 0 h 6858000"/>
              <a:gd name="connsiteX916" fmla="*/ 1223408 w 7467600"/>
              <a:gd name="connsiteY916" fmla="*/ 38996 h 6858000"/>
              <a:gd name="connsiteX917" fmla="*/ 1339635 w 7467600"/>
              <a:gd name="connsiteY917" fmla="*/ 365517 h 6858000"/>
              <a:gd name="connsiteX918" fmla="*/ 1387469 w 7467600"/>
              <a:gd name="connsiteY918" fmla="*/ 523079 h 6858000"/>
              <a:gd name="connsiteX919" fmla="*/ 1452685 w 7467600"/>
              <a:gd name="connsiteY919" fmla="*/ 699806 h 6858000"/>
              <a:gd name="connsiteX920" fmla="*/ 1492092 w 7467600"/>
              <a:gd name="connsiteY920" fmla="*/ 800424 h 6858000"/>
              <a:gd name="connsiteX921" fmla="*/ 1455302 w 7467600"/>
              <a:gd name="connsiteY921" fmla="*/ 632913 h 6858000"/>
              <a:gd name="connsiteX922" fmla="*/ 1222336 w 7467600"/>
              <a:gd name="connsiteY922" fmla="*/ 9480 h 6858000"/>
              <a:gd name="connsiteX923" fmla="*/ 1214634 w 7467600"/>
              <a:gd name="connsiteY923" fmla="*/ 0 h 6858000"/>
              <a:gd name="connsiteX924" fmla="*/ 1289827 w 7467600"/>
              <a:gd name="connsiteY924" fmla="*/ 0 h 6858000"/>
              <a:gd name="connsiteX925" fmla="*/ 1321076 w 7467600"/>
              <a:gd name="connsiteY925" fmla="*/ 59722 h 6858000"/>
              <a:gd name="connsiteX926" fmla="*/ 1512579 w 7467600"/>
              <a:gd name="connsiteY926" fmla="*/ 626441 h 6858000"/>
              <a:gd name="connsiteX927" fmla="*/ 1506076 w 7467600"/>
              <a:gd name="connsiteY927" fmla="*/ 1089289 h 6858000"/>
              <a:gd name="connsiteX928" fmla="*/ 1486346 w 7467600"/>
              <a:gd name="connsiteY928" fmla="*/ 1079919 h 6858000"/>
              <a:gd name="connsiteX929" fmla="*/ 1070511 w 7467600"/>
              <a:gd name="connsiteY929" fmla="*/ 48609 h 6858000"/>
              <a:gd name="connsiteX930" fmla="*/ 1057230 w 7467600"/>
              <a:gd name="connsiteY930" fmla="*/ 0 h 6858000"/>
              <a:gd name="connsiteX931" fmla="*/ 43151 w 7467600"/>
              <a:gd name="connsiteY931" fmla="*/ 0 h 6858000"/>
              <a:gd name="connsiteX932" fmla="*/ 95283 w 7467600"/>
              <a:gd name="connsiteY932" fmla="*/ 0 h 6858000"/>
              <a:gd name="connsiteX933" fmla="*/ 300708 w 7467600"/>
              <a:gd name="connsiteY933" fmla="*/ 154571 h 6858000"/>
              <a:gd name="connsiteX934" fmla="*/ 530414 w 7467600"/>
              <a:gd name="connsiteY934" fmla="*/ 354673 h 6858000"/>
              <a:gd name="connsiteX935" fmla="*/ 333785 w 7467600"/>
              <a:gd name="connsiteY935" fmla="*/ 161564 h 6858000"/>
              <a:gd name="connsiteX936" fmla="*/ 147005 w 7467600"/>
              <a:gd name="connsiteY936" fmla="*/ 0 h 6858000"/>
              <a:gd name="connsiteX937" fmla="*/ 272509 w 7467600"/>
              <a:gd name="connsiteY937" fmla="*/ 0 h 6858000"/>
              <a:gd name="connsiteX938" fmla="*/ 326276 w 7467600"/>
              <a:gd name="connsiteY938" fmla="*/ 45847 h 6858000"/>
              <a:gd name="connsiteX939" fmla="*/ 823759 w 7467600"/>
              <a:gd name="connsiteY939" fmla="*/ 574145 h 6858000"/>
              <a:gd name="connsiteX940" fmla="*/ 811254 w 7467600"/>
              <a:gd name="connsiteY940" fmla="*/ 665546 h 6858000"/>
              <a:gd name="connsiteX941" fmla="*/ 154042 w 7467600"/>
              <a:gd name="connsiteY941" fmla="*/ 261522 h 6858000"/>
              <a:gd name="connsiteX942" fmla="*/ 13550 w 7467600"/>
              <a:gd name="connsiteY942" fmla="*/ 158423 h 6858000"/>
              <a:gd name="connsiteX943" fmla="*/ 0 w 7467600"/>
              <a:gd name="connsiteY943" fmla="*/ 146618 h 6858000"/>
              <a:gd name="connsiteX944" fmla="*/ 0 w 7467600"/>
              <a:gd name="connsiteY944" fmla="*/ 59161 h 6858000"/>
              <a:gd name="connsiteX945" fmla="*/ 45427 w 7467600"/>
              <a:gd name="connsiteY945" fmla="*/ 101078 h 6858000"/>
              <a:gd name="connsiteX946" fmla="*/ 630103 w 7467600"/>
              <a:gd name="connsiteY946" fmla="*/ 485885 h 6858000"/>
              <a:gd name="connsiteX947" fmla="*/ 532040 w 7467600"/>
              <a:gd name="connsiteY947" fmla="*/ 399359 h 6858000"/>
              <a:gd name="connsiteX948" fmla="*/ 517618 w 7467600"/>
              <a:gd name="connsiteY948" fmla="*/ 385726 h 6858000"/>
              <a:gd name="connsiteX949" fmla="*/ 285074 w 7467600"/>
              <a:gd name="connsiteY949" fmla="*/ 182755 h 6858000"/>
              <a:gd name="connsiteX950" fmla="*/ 43151 w 7467600"/>
              <a:gd name="connsiteY950"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467600 w 7467600"/>
              <a:gd name="connsiteY4" fmla="*/ 6831490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467600 w 7467600"/>
              <a:gd name="connsiteY16" fmla="*/ 6805948 h 6858000"/>
              <a:gd name="connsiteX17" fmla="*/ 7467600 w 7467600"/>
              <a:gd name="connsiteY17" fmla="*/ 6831490 h 6858000"/>
              <a:gd name="connsiteX18" fmla="*/ 1019354 w 7467600"/>
              <a:gd name="connsiteY18" fmla="*/ 6315006 h 6858000"/>
              <a:gd name="connsiteX19" fmla="*/ 441046 w 7467600"/>
              <a:gd name="connsiteY19" fmla="*/ 6691153 h 6858000"/>
              <a:gd name="connsiteX20" fmla="*/ 1019354 w 7467600"/>
              <a:gd name="connsiteY20" fmla="*/ 6315006 h 6858000"/>
              <a:gd name="connsiteX21" fmla="*/ 991680 w 7467600"/>
              <a:gd name="connsiteY21" fmla="*/ 6298413 h 6858000"/>
              <a:gd name="connsiteX22" fmla="*/ 409060 w 7467600"/>
              <a:gd name="connsiteY22" fmla="*/ 6671470 h 6858000"/>
              <a:gd name="connsiteX23" fmla="*/ 991680 w 7467600"/>
              <a:gd name="connsiteY23" fmla="*/ 6298413 h 6858000"/>
              <a:gd name="connsiteX24" fmla="*/ 103333 w 7467600"/>
              <a:gd name="connsiteY24" fmla="*/ 5699602 h 6858000"/>
              <a:gd name="connsiteX25" fmla="*/ 233938 w 7467600"/>
              <a:gd name="connsiteY25" fmla="*/ 5809416 h 6858000"/>
              <a:gd name="connsiteX26" fmla="*/ 883580 w 7467600"/>
              <a:gd name="connsiteY26" fmla="*/ 6180710 h 6858000"/>
              <a:gd name="connsiteX27" fmla="*/ 487337 w 7467600"/>
              <a:gd name="connsiteY27" fmla="*/ 5950182 h 6858000"/>
              <a:gd name="connsiteX28" fmla="*/ 354051 w 7467600"/>
              <a:gd name="connsiteY28" fmla="*/ 5854912 h 6858000"/>
              <a:gd name="connsiteX29" fmla="*/ 195436 w 7467600"/>
              <a:gd name="connsiteY29" fmla="*/ 5755068 h 6858000"/>
              <a:gd name="connsiteX30" fmla="*/ 103333 w 7467600"/>
              <a:gd name="connsiteY30" fmla="*/ 5699602 h 6858000"/>
              <a:gd name="connsiteX31" fmla="*/ 5539432 w 7467600"/>
              <a:gd name="connsiteY31" fmla="*/ 5642928 h 6858000"/>
              <a:gd name="connsiteX32" fmla="*/ 5555462 w 7467600"/>
              <a:gd name="connsiteY32" fmla="*/ 5694454 h 6858000"/>
              <a:gd name="connsiteX33" fmla="*/ 5828270 w 7467600"/>
              <a:gd name="connsiteY33" fmla="*/ 6320663 h 6858000"/>
              <a:gd name="connsiteX34" fmla="*/ 5947416 w 7467600"/>
              <a:gd name="connsiteY34" fmla="*/ 6574846 h 6858000"/>
              <a:gd name="connsiteX35" fmla="*/ 5539432 w 7467600"/>
              <a:gd name="connsiteY35" fmla="*/ 5642928 h 6858000"/>
              <a:gd name="connsiteX36" fmla="*/ 51253 w 7467600"/>
              <a:gd name="connsiteY36" fmla="*/ 5631825 h 6858000"/>
              <a:gd name="connsiteX37" fmla="*/ 211622 w 7467600"/>
              <a:gd name="connsiteY37" fmla="*/ 5728803 h 6858000"/>
              <a:gd name="connsiteX38" fmla="*/ 371652 w 7467600"/>
              <a:gd name="connsiteY38" fmla="*/ 5829062 h 6858000"/>
              <a:gd name="connsiteX39" fmla="*/ 505903 w 7467600"/>
              <a:gd name="connsiteY39" fmla="*/ 5925221 h 6858000"/>
              <a:gd name="connsiteX40" fmla="*/ 899240 w 7467600"/>
              <a:gd name="connsiteY40" fmla="*/ 6153068 h 6858000"/>
              <a:gd name="connsiteX41" fmla="*/ 988114 w 7467600"/>
              <a:gd name="connsiteY41" fmla="*/ 6174204 h 6858000"/>
              <a:gd name="connsiteX42" fmla="*/ 845971 w 7467600"/>
              <a:gd name="connsiteY42" fmla="*/ 6067177 h 6858000"/>
              <a:gd name="connsiteX43" fmla="*/ 448057 w 7467600"/>
              <a:gd name="connsiteY43" fmla="*/ 5841376 h 6858000"/>
              <a:gd name="connsiteX44" fmla="*/ 51253 w 7467600"/>
              <a:gd name="connsiteY44" fmla="*/ 5631825 h 6858000"/>
              <a:gd name="connsiteX45" fmla="*/ 2606687 w 7467600"/>
              <a:gd name="connsiteY45" fmla="*/ 5630718 h 6858000"/>
              <a:gd name="connsiteX46" fmla="*/ 2645658 w 7467600"/>
              <a:gd name="connsiteY46" fmla="*/ 6640259 h 6858000"/>
              <a:gd name="connsiteX47" fmla="*/ 2606687 w 7467600"/>
              <a:gd name="connsiteY47" fmla="*/ 5630718 h 6858000"/>
              <a:gd name="connsiteX48" fmla="*/ 3642057 w 7467600"/>
              <a:gd name="connsiteY48" fmla="*/ 5573487 h 6858000"/>
              <a:gd name="connsiteX49" fmla="*/ 3632981 w 7467600"/>
              <a:gd name="connsiteY49" fmla="*/ 5579437 h 6858000"/>
              <a:gd name="connsiteX50" fmla="*/ 3382436 w 7467600"/>
              <a:gd name="connsiteY50" fmla="*/ 5952726 h 6858000"/>
              <a:gd name="connsiteX51" fmla="*/ 3191929 w 7467600"/>
              <a:gd name="connsiteY51" fmla="*/ 6662669 h 6858000"/>
              <a:gd name="connsiteX52" fmla="*/ 3369898 w 7467600"/>
              <a:gd name="connsiteY52" fmla="*/ 6081771 h 6858000"/>
              <a:gd name="connsiteX53" fmla="*/ 3642057 w 7467600"/>
              <a:gd name="connsiteY53" fmla="*/ 5573487 h 6858000"/>
              <a:gd name="connsiteX54" fmla="*/ 2650666 w 7467600"/>
              <a:gd name="connsiteY54" fmla="*/ 5530686 h 6858000"/>
              <a:gd name="connsiteX55" fmla="*/ 2650249 w 7467600"/>
              <a:gd name="connsiteY55" fmla="*/ 5532101 h 6858000"/>
              <a:gd name="connsiteX56" fmla="*/ 2663808 w 7467600"/>
              <a:gd name="connsiteY56" fmla="*/ 6535215 h 6858000"/>
              <a:gd name="connsiteX57" fmla="*/ 2665418 w 7467600"/>
              <a:gd name="connsiteY57" fmla="*/ 6132756 h 6858000"/>
              <a:gd name="connsiteX58" fmla="*/ 2650666 w 7467600"/>
              <a:gd name="connsiteY58" fmla="*/ 5530686 h 6858000"/>
              <a:gd name="connsiteX59" fmla="*/ 2680277 w 7467600"/>
              <a:gd name="connsiteY59" fmla="*/ 5479204 h 6858000"/>
              <a:gd name="connsiteX60" fmla="*/ 2678972 w 7467600"/>
              <a:gd name="connsiteY60" fmla="*/ 5481582 h 6858000"/>
              <a:gd name="connsiteX61" fmla="*/ 2696666 w 7467600"/>
              <a:gd name="connsiteY61" fmla="*/ 6133836 h 6858000"/>
              <a:gd name="connsiteX62" fmla="*/ 2695769 w 7467600"/>
              <a:gd name="connsiteY62" fmla="*/ 6390955 h 6858000"/>
              <a:gd name="connsiteX63" fmla="*/ 2739893 w 7467600"/>
              <a:gd name="connsiteY63" fmla="*/ 6108357 h 6858000"/>
              <a:gd name="connsiteX64" fmla="*/ 2680277 w 7467600"/>
              <a:gd name="connsiteY64" fmla="*/ 5479204 h 6858000"/>
              <a:gd name="connsiteX65" fmla="*/ 1132195 w 7467600"/>
              <a:gd name="connsiteY65" fmla="*/ 5467980 h 6858000"/>
              <a:gd name="connsiteX66" fmla="*/ 1679056 w 7467600"/>
              <a:gd name="connsiteY66" fmla="*/ 5516907 h 6858000"/>
              <a:gd name="connsiteX67" fmla="*/ 2128648 w 7467600"/>
              <a:gd name="connsiteY67" fmla="*/ 5474249 h 6858000"/>
              <a:gd name="connsiteX68" fmla="*/ 1825619 w 7467600"/>
              <a:gd name="connsiteY68" fmla="*/ 5478447 h 6858000"/>
              <a:gd name="connsiteX69" fmla="*/ 1737798 w 7467600"/>
              <a:gd name="connsiteY69" fmla="*/ 5483353 h 6858000"/>
              <a:gd name="connsiteX70" fmla="*/ 1132195 w 7467600"/>
              <a:gd name="connsiteY70" fmla="*/ 5467980 h 6858000"/>
              <a:gd name="connsiteX71" fmla="*/ 1456157 w 7467600"/>
              <a:gd name="connsiteY71" fmla="*/ 5371404 h 6858000"/>
              <a:gd name="connsiteX72" fmla="*/ 1244432 w 7467600"/>
              <a:gd name="connsiteY72" fmla="*/ 5385601 h 6858000"/>
              <a:gd name="connsiteX73" fmla="*/ 973990 w 7467600"/>
              <a:gd name="connsiteY73" fmla="*/ 5424940 h 6858000"/>
              <a:gd name="connsiteX74" fmla="*/ 1103809 w 7467600"/>
              <a:gd name="connsiteY74" fmla="*/ 5433720 h 6858000"/>
              <a:gd name="connsiteX75" fmla="*/ 1123454 w 7467600"/>
              <a:gd name="connsiteY75" fmla="*/ 5435727 h 6858000"/>
              <a:gd name="connsiteX76" fmla="*/ 1737017 w 7467600"/>
              <a:gd name="connsiteY76" fmla="*/ 5452183 h 6858000"/>
              <a:gd name="connsiteX77" fmla="*/ 1824397 w 7467600"/>
              <a:gd name="connsiteY77" fmla="*/ 5447757 h 6858000"/>
              <a:gd name="connsiteX78" fmla="*/ 2070059 w 7467600"/>
              <a:gd name="connsiteY78" fmla="*/ 5441660 h 6858000"/>
              <a:gd name="connsiteX79" fmla="*/ 1456157 w 7467600"/>
              <a:gd name="connsiteY79" fmla="*/ 5371404 h 6858000"/>
              <a:gd name="connsiteX80" fmla="*/ 4988186 w 7467600"/>
              <a:gd name="connsiteY80" fmla="*/ 5216467 h 6858000"/>
              <a:gd name="connsiteX81" fmla="*/ 4777334 w 7467600"/>
              <a:gd name="connsiteY81" fmla="*/ 5406072 h 6858000"/>
              <a:gd name="connsiteX82" fmla="*/ 4718341 w 7467600"/>
              <a:gd name="connsiteY82" fmla="*/ 5468043 h 6858000"/>
              <a:gd name="connsiteX83" fmla="*/ 4604655 w 7467600"/>
              <a:gd name="connsiteY83" fmla="*/ 5583434 h 6858000"/>
              <a:gd name="connsiteX84" fmla="*/ 4565074 w 7467600"/>
              <a:gd name="connsiteY84" fmla="*/ 5618550 h 6858000"/>
              <a:gd name="connsiteX85" fmla="*/ 4988186 w 7467600"/>
              <a:gd name="connsiteY85" fmla="*/ 5216467 h 6858000"/>
              <a:gd name="connsiteX86" fmla="*/ 4978032 w 7467600"/>
              <a:gd name="connsiteY86" fmla="*/ 5183809 h 6858000"/>
              <a:gd name="connsiteX87" fmla="*/ 4463413 w 7467600"/>
              <a:gd name="connsiteY87" fmla="*/ 5615162 h 6858000"/>
              <a:gd name="connsiteX88" fmla="*/ 4358134 w 7467600"/>
              <a:gd name="connsiteY88" fmla="*/ 5742791 h 6858000"/>
              <a:gd name="connsiteX89" fmla="*/ 4376219 w 7467600"/>
              <a:gd name="connsiteY89" fmla="*/ 5729027 h 6858000"/>
              <a:gd name="connsiteX90" fmla="*/ 4582340 w 7467600"/>
              <a:gd name="connsiteY90" fmla="*/ 5561037 h 6858000"/>
              <a:gd name="connsiteX91" fmla="*/ 4694684 w 7467600"/>
              <a:gd name="connsiteY91" fmla="*/ 5447098 h 6858000"/>
              <a:gd name="connsiteX92" fmla="*/ 4754123 w 7467600"/>
              <a:gd name="connsiteY92" fmla="*/ 5384643 h 6858000"/>
              <a:gd name="connsiteX93" fmla="*/ 4978032 w 7467600"/>
              <a:gd name="connsiteY93" fmla="*/ 5183809 h 6858000"/>
              <a:gd name="connsiteX94" fmla="*/ 1903353 w 7467600"/>
              <a:gd name="connsiteY94" fmla="*/ 5044827 h 6858000"/>
              <a:gd name="connsiteX95" fmla="*/ 1936931 w 7467600"/>
              <a:gd name="connsiteY95" fmla="*/ 5093954 h 6858000"/>
              <a:gd name="connsiteX96" fmla="*/ 2195868 w 7467600"/>
              <a:gd name="connsiteY96" fmla="*/ 5396574 h 6858000"/>
              <a:gd name="connsiteX97" fmla="*/ 2088852 w 7467600"/>
              <a:gd name="connsiteY97" fmla="*/ 5166123 h 6858000"/>
              <a:gd name="connsiteX98" fmla="*/ 1958241 w 7467600"/>
              <a:gd name="connsiteY98" fmla="*/ 5067955 h 6858000"/>
              <a:gd name="connsiteX99" fmla="*/ 1903353 w 7467600"/>
              <a:gd name="connsiteY99" fmla="*/ 5044827 h 6858000"/>
              <a:gd name="connsiteX100" fmla="*/ 1979378 w 7467600"/>
              <a:gd name="connsiteY100" fmla="*/ 4769504 h 6858000"/>
              <a:gd name="connsiteX101" fmla="*/ 2882120 w 7467600"/>
              <a:gd name="connsiteY101" fmla="*/ 5064547 h 6858000"/>
              <a:gd name="connsiteX102" fmla="*/ 2793103 w 7467600"/>
              <a:gd name="connsiteY102" fmla="*/ 5039699 h 6858000"/>
              <a:gd name="connsiteX103" fmla="*/ 2770041 w 7467600"/>
              <a:gd name="connsiteY103" fmla="*/ 5033634 h 6858000"/>
              <a:gd name="connsiteX104" fmla="*/ 1979378 w 7467600"/>
              <a:gd name="connsiteY104" fmla="*/ 4769504 h 6858000"/>
              <a:gd name="connsiteX105" fmla="*/ 1927410 w 7467600"/>
              <a:gd name="connsiteY105" fmla="*/ 4716164 h 6858000"/>
              <a:gd name="connsiteX106" fmla="*/ 1959587 w 7467600"/>
              <a:gd name="connsiteY106" fmla="*/ 4728849 h 6858000"/>
              <a:gd name="connsiteX107" fmla="*/ 2777707 w 7467600"/>
              <a:gd name="connsiteY107" fmla="*/ 5003991 h 6858000"/>
              <a:gd name="connsiteX108" fmla="*/ 2800768 w 7467600"/>
              <a:gd name="connsiteY108" fmla="*/ 5010056 h 6858000"/>
              <a:gd name="connsiteX109" fmla="*/ 2879408 w 7467600"/>
              <a:gd name="connsiteY109" fmla="*/ 5031590 h 6858000"/>
              <a:gd name="connsiteX110" fmla="*/ 2862295 w 7467600"/>
              <a:gd name="connsiteY110" fmla="*/ 5022958 h 6858000"/>
              <a:gd name="connsiteX111" fmla="*/ 2813343 w 7467600"/>
              <a:gd name="connsiteY111" fmla="*/ 4998369 h 6858000"/>
              <a:gd name="connsiteX112" fmla="*/ 2646245 w 7467600"/>
              <a:gd name="connsiteY112" fmla="*/ 4930999 h 6858000"/>
              <a:gd name="connsiteX113" fmla="*/ 1999243 w 7467600"/>
              <a:gd name="connsiteY113" fmla="*/ 4730524 h 6858000"/>
              <a:gd name="connsiteX114" fmla="*/ 1979527 w 7467600"/>
              <a:gd name="connsiteY114" fmla="*/ 4726651 h 6858000"/>
              <a:gd name="connsiteX115" fmla="*/ 1927410 w 7467600"/>
              <a:gd name="connsiteY115" fmla="*/ 4716164 h 6858000"/>
              <a:gd name="connsiteX116" fmla="*/ 1997014 w 7467600"/>
              <a:gd name="connsiteY116" fmla="*/ 4698007 h 6858000"/>
              <a:gd name="connsiteX117" fmla="*/ 2005458 w 7467600"/>
              <a:gd name="connsiteY117" fmla="*/ 4699540 h 6858000"/>
              <a:gd name="connsiteX118" fmla="*/ 2657186 w 7467600"/>
              <a:gd name="connsiteY118" fmla="*/ 4901687 h 6858000"/>
              <a:gd name="connsiteX119" fmla="*/ 2826662 w 7467600"/>
              <a:gd name="connsiteY119" fmla="*/ 4970362 h 6858000"/>
              <a:gd name="connsiteX120" fmla="*/ 2876100 w 7467600"/>
              <a:gd name="connsiteY120" fmla="*/ 4995397 h 6858000"/>
              <a:gd name="connsiteX121" fmla="*/ 3042600 w 7467600"/>
              <a:gd name="connsiteY121" fmla="*/ 5059532 h 6858000"/>
              <a:gd name="connsiteX122" fmla="*/ 1997014 w 7467600"/>
              <a:gd name="connsiteY122" fmla="*/ 4698007 h 6858000"/>
              <a:gd name="connsiteX123" fmla="*/ 2305292 w 7467600"/>
              <a:gd name="connsiteY123" fmla="*/ 4219492 h 6858000"/>
              <a:gd name="connsiteX124" fmla="*/ 3360922 w 7467600"/>
              <a:gd name="connsiteY124" fmla="*/ 4529373 h 6858000"/>
              <a:gd name="connsiteX125" fmla="*/ 3492420 w 7467600"/>
              <a:gd name="connsiteY125" fmla="*/ 4510145 h 6858000"/>
              <a:gd name="connsiteX126" fmla="*/ 3364086 w 7467600"/>
              <a:gd name="connsiteY126" fmla="*/ 4480340 h 6858000"/>
              <a:gd name="connsiteX127" fmla="*/ 3225818 w 7467600"/>
              <a:gd name="connsiteY127" fmla="*/ 4411822 h 6858000"/>
              <a:gd name="connsiteX128" fmla="*/ 3129696 w 7467600"/>
              <a:gd name="connsiteY128" fmla="*/ 4360704 h 6858000"/>
              <a:gd name="connsiteX129" fmla="*/ 2814545 w 7467600"/>
              <a:gd name="connsiteY129" fmla="*/ 4282955 h 6858000"/>
              <a:gd name="connsiteX130" fmla="*/ 2305292 w 7467600"/>
              <a:gd name="connsiteY130" fmla="*/ 4219492 h 6858000"/>
              <a:gd name="connsiteX131" fmla="*/ 2626982 w 7467600"/>
              <a:gd name="connsiteY131" fmla="*/ 4206450 h 6858000"/>
              <a:gd name="connsiteX132" fmla="*/ 2490617 w 7467600"/>
              <a:gd name="connsiteY132" fmla="*/ 4206951 h 6858000"/>
              <a:gd name="connsiteX133" fmla="*/ 2819869 w 7467600"/>
              <a:gd name="connsiteY133" fmla="*/ 4252936 h 6858000"/>
              <a:gd name="connsiteX134" fmla="*/ 3143018 w 7467600"/>
              <a:gd name="connsiteY134" fmla="*/ 4332698 h 6858000"/>
              <a:gd name="connsiteX135" fmla="*/ 3241520 w 7467600"/>
              <a:gd name="connsiteY135" fmla="*/ 4385112 h 6858000"/>
              <a:gd name="connsiteX136" fmla="*/ 3374575 w 7467600"/>
              <a:gd name="connsiteY136" fmla="*/ 4451517 h 6858000"/>
              <a:gd name="connsiteX137" fmla="*/ 3505221 w 7467600"/>
              <a:gd name="connsiteY137" fmla="*/ 4480757 h 6858000"/>
              <a:gd name="connsiteX138" fmla="*/ 2626982 w 7467600"/>
              <a:gd name="connsiteY138" fmla="*/ 4206450 h 6858000"/>
              <a:gd name="connsiteX139" fmla="*/ 1310106 w 7467600"/>
              <a:gd name="connsiteY139" fmla="*/ 3943217 h 6858000"/>
              <a:gd name="connsiteX140" fmla="*/ 854994 w 7467600"/>
              <a:gd name="connsiteY140" fmla="*/ 4399136 h 6858000"/>
              <a:gd name="connsiteX141" fmla="*/ 742462 w 7467600"/>
              <a:gd name="connsiteY141" fmla="*/ 4594648 h 6858000"/>
              <a:gd name="connsiteX142" fmla="*/ 820602 w 7467600"/>
              <a:gd name="connsiteY142" fmla="*/ 4485915 h 6858000"/>
              <a:gd name="connsiteX143" fmla="*/ 878295 w 7467600"/>
              <a:gd name="connsiteY143" fmla="*/ 4403594 h 6858000"/>
              <a:gd name="connsiteX144" fmla="*/ 1240607 w 7467600"/>
              <a:gd name="connsiteY144" fmla="*/ 4010401 h 6858000"/>
              <a:gd name="connsiteX145" fmla="*/ 1310106 w 7467600"/>
              <a:gd name="connsiteY145" fmla="*/ 3943217 h 6858000"/>
              <a:gd name="connsiteX146" fmla="*/ 1423113 w 7467600"/>
              <a:gd name="connsiteY146" fmla="*/ 3874565 h 6858000"/>
              <a:gd name="connsiteX147" fmla="*/ 1260565 w 7467600"/>
              <a:gd name="connsiteY147" fmla="*/ 4031982 h 6858000"/>
              <a:gd name="connsiteX148" fmla="*/ 901900 w 7467600"/>
              <a:gd name="connsiteY148" fmla="*/ 4421236 h 6858000"/>
              <a:gd name="connsiteX149" fmla="*/ 845044 w 7467600"/>
              <a:gd name="connsiteY149" fmla="*/ 4502436 h 6858000"/>
              <a:gd name="connsiteX150" fmla="*/ 685926 w 7467600"/>
              <a:gd name="connsiteY150" fmla="*/ 4703069 h 6858000"/>
              <a:gd name="connsiteX151" fmla="*/ 684248 w 7467600"/>
              <a:gd name="connsiteY151" fmla="*/ 4706721 h 6858000"/>
              <a:gd name="connsiteX152" fmla="*/ 1423113 w 7467600"/>
              <a:gd name="connsiteY152" fmla="*/ 3874565 h 6858000"/>
              <a:gd name="connsiteX153" fmla="*/ 3316479 w 7467600"/>
              <a:gd name="connsiteY153" fmla="*/ 3872136 h 6858000"/>
              <a:gd name="connsiteX154" fmla="*/ 3546806 w 7467600"/>
              <a:gd name="connsiteY154" fmla="*/ 4356139 h 6858000"/>
              <a:gd name="connsiteX155" fmla="*/ 3364433 w 7467600"/>
              <a:gd name="connsiteY155" fmla="*/ 3953121 h 6858000"/>
              <a:gd name="connsiteX156" fmla="*/ 3316479 w 7467600"/>
              <a:gd name="connsiteY156" fmla="*/ 3872136 h 6858000"/>
              <a:gd name="connsiteX157" fmla="*/ 3291335 w 7467600"/>
              <a:gd name="connsiteY157" fmla="*/ 3767420 h 6858000"/>
              <a:gd name="connsiteX158" fmla="*/ 3390805 w 7467600"/>
              <a:gd name="connsiteY158" fmla="*/ 3937163 h 6858000"/>
              <a:gd name="connsiteX159" fmla="*/ 3579062 w 7467600"/>
              <a:gd name="connsiteY159" fmla="*/ 4359040 h 6858000"/>
              <a:gd name="connsiteX160" fmla="*/ 3467355 w 7467600"/>
              <a:gd name="connsiteY160" fmla="*/ 3988130 h 6858000"/>
              <a:gd name="connsiteX161" fmla="*/ 3310753 w 7467600"/>
              <a:gd name="connsiteY161" fmla="*/ 3787140 h 6858000"/>
              <a:gd name="connsiteX162" fmla="*/ 3291335 w 7467600"/>
              <a:gd name="connsiteY162" fmla="*/ 3767420 h 6858000"/>
              <a:gd name="connsiteX163" fmla="*/ 1635889 w 7467600"/>
              <a:gd name="connsiteY163" fmla="*/ 3709494 h 6858000"/>
              <a:gd name="connsiteX164" fmla="*/ 1634800 w 7467600"/>
              <a:gd name="connsiteY164" fmla="*/ 3731111 h 6858000"/>
              <a:gd name="connsiteX165" fmla="*/ 1635889 w 7467600"/>
              <a:gd name="connsiteY165" fmla="*/ 3709494 h 6858000"/>
              <a:gd name="connsiteX166" fmla="*/ 1510397 w 7467600"/>
              <a:gd name="connsiteY166" fmla="*/ 3684705 h 6858000"/>
              <a:gd name="connsiteX167" fmla="*/ 1146550 w 7467600"/>
              <a:gd name="connsiteY167" fmla="*/ 3802012 h 6858000"/>
              <a:gd name="connsiteX168" fmla="*/ 698834 w 7467600"/>
              <a:gd name="connsiteY168" fmla="*/ 3952272 h 6858000"/>
              <a:gd name="connsiteX169" fmla="*/ 34256 w 7467600"/>
              <a:gd name="connsiteY169" fmla="*/ 4347603 h 6858000"/>
              <a:gd name="connsiteX170" fmla="*/ 527241 w 7467600"/>
              <a:gd name="connsiteY170" fmla="*/ 4065078 h 6858000"/>
              <a:gd name="connsiteX171" fmla="*/ 1510397 w 7467600"/>
              <a:gd name="connsiteY171" fmla="*/ 3684705 h 6858000"/>
              <a:gd name="connsiteX172" fmla="*/ 1313114 w 7467600"/>
              <a:gd name="connsiteY172" fmla="*/ 3655216 h 6858000"/>
              <a:gd name="connsiteX173" fmla="*/ 1109304 w 7467600"/>
              <a:gd name="connsiteY173" fmla="*/ 3669030 h 6858000"/>
              <a:gd name="connsiteX174" fmla="*/ 8129 w 7467600"/>
              <a:gd name="connsiteY174" fmla="*/ 4330519 h 6858000"/>
              <a:gd name="connsiteX175" fmla="*/ 687572 w 7467600"/>
              <a:gd name="connsiteY175" fmla="*/ 3925629 h 6858000"/>
              <a:gd name="connsiteX176" fmla="*/ 1138365 w 7467600"/>
              <a:gd name="connsiteY176" fmla="*/ 3774515 h 6858000"/>
              <a:gd name="connsiteX177" fmla="*/ 1505579 w 7467600"/>
              <a:gd name="connsiteY177" fmla="*/ 3655526 h 6858000"/>
              <a:gd name="connsiteX178" fmla="*/ 1313114 w 7467600"/>
              <a:gd name="connsiteY178" fmla="*/ 3655216 h 6858000"/>
              <a:gd name="connsiteX179" fmla="*/ 3655073 w 7467600"/>
              <a:gd name="connsiteY179" fmla="*/ 3650884 h 6858000"/>
              <a:gd name="connsiteX180" fmla="*/ 3989938 w 7467600"/>
              <a:gd name="connsiteY180" fmla="*/ 3991685 h 6858000"/>
              <a:gd name="connsiteX181" fmla="*/ 4393907 w 7467600"/>
              <a:gd name="connsiteY181" fmla="*/ 4261258 h 6858000"/>
              <a:gd name="connsiteX182" fmla="*/ 4648051 w 7467600"/>
              <a:gd name="connsiteY182" fmla="*/ 4374051 h 6858000"/>
              <a:gd name="connsiteX183" fmla="*/ 4383389 w 7467600"/>
              <a:gd name="connsiteY183" fmla="*/ 4184369 h 6858000"/>
              <a:gd name="connsiteX184" fmla="*/ 4165508 w 7467600"/>
              <a:gd name="connsiteY184" fmla="*/ 4035196 h 6858000"/>
              <a:gd name="connsiteX185" fmla="*/ 4068162 w 7467600"/>
              <a:gd name="connsiteY185" fmla="*/ 3953394 h 6858000"/>
              <a:gd name="connsiteX186" fmla="*/ 3981416 w 7467600"/>
              <a:gd name="connsiteY186" fmla="*/ 3880482 h 6858000"/>
              <a:gd name="connsiteX187" fmla="*/ 3800147 w 7467600"/>
              <a:gd name="connsiteY187" fmla="*/ 3749872 h 6858000"/>
              <a:gd name="connsiteX188" fmla="*/ 3655073 w 7467600"/>
              <a:gd name="connsiteY188" fmla="*/ 3650884 h 6858000"/>
              <a:gd name="connsiteX189" fmla="*/ 3670252 w 7467600"/>
              <a:gd name="connsiteY189" fmla="*/ 3622798 h 6858000"/>
              <a:gd name="connsiteX190" fmla="*/ 3817258 w 7467600"/>
              <a:gd name="connsiteY190" fmla="*/ 3723577 h 6858000"/>
              <a:gd name="connsiteX191" fmla="*/ 4000461 w 7467600"/>
              <a:gd name="connsiteY191" fmla="*/ 3855966 h 6858000"/>
              <a:gd name="connsiteX192" fmla="*/ 4088180 w 7467600"/>
              <a:gd name="connsiteY192" fmla="*/ 3929774 h 6858000"/>
              <a:gd name="connsiteX193" fmla="*/ 4184555 w 7467600"/>
              <a:gd name="connsiteY193" fmla="*/ 4010683 h 6858000"/>
              <a:gd name="connsiteX194" fmla="*/ 4399563 w 7467600"/>
              <a:gd name="connsiteY194" fmla="*/ 4158106 h 6858000"/>
              <a:gd name="connsiteX195" fmla="*/ 4684469 w 7467600"/>
              <a:gd name="connsiteY195" fmla="*/ 4364680 h 6858000"/>
              <a:gd name="connsiteX196" fmla="*/ 4690271 w 7467600"/>
              <a:gd name="connsiteY196" fmla="*/ 4370034 h 6858000"/>
              <a:gd name="connsiteX197" fmla="*/ 4136093 w 7467600"/>
              <a:gd name="connsiteY197" fmla="*/ 3858466 h 6858000"/>
              <a:gd name="connsiteX198" fmla="*/ 3670252 w 7467600"/>
              <a:gd name="connsiteY198" fmla="*/ 3622798 h 6858000"/>
              <a:gd name="connsiteX199" fmla="*/ 4440129 w 7467600"/>
              <a:gd name="connsiteY199" fmla="*/ 3448571 h 6858000"/>
              <a:gd name="connsiteX200" fmla="*/ 4856525 w 7467600"/>
              <a:gd name="connsiteY200" fmla="*/ 3915351 h 6858000"/>
              <a:gd name="connsiteX201" fmla="*/ 5059055 w 7467600"/>
              <a:gd name="connsiteY201" fmla="*/ 4108918 h 6858000"/>
              <a:gd name="connsiteX202" fmla="*/ 5290070 w 7467600"/>
              <a:gd name="connsiteY202" fmla="*/ 4263619 h 6858000"/>
              <a:gd name="connsiteX203" fmla="*/ 4834991 w 7467600"/>
              <a:gd name="connsiteY203" fmla="*/ 3830985 h 6858000"/>
              <a:gd name="connsiteX204" fmla="*/ 4440129 w 7467600"/>
              <a:gd name="connsiteY204" fmla="*/ 3448571 h 6858000"/>
              <a:gd name="connsiteX205" fmla="*/ 4441737 w 7467600"/>
              <a:gd name="connsiteY205" fmla="*/ 3399734 h 6858000"/>
              <a:gd name="connsiteX206" fmla="*/ 4431236 w 7467600"/>
              <a:gd name="connsiteY206" fmla="*/ 3400954 h 6858000"/>
              <a:gd name="connsiteX207" fmla="*/ 4557150 w 7467600"/>
              <a:gd name="connsiteY207" fmla="*/ 3510023 h 6858000"/>
              <a:gd name="connsiteX208" fmla="*/ 4856936 w 7467600"/>
              <a:gd name="connsiteY208" fmla="*/ 3809146 h 6858000"/>
              <a:gd name="connsiteX209" fmla="*/ 5111996 w 7467600"/>
              <a:gd name="connsiteY209" fmla="*/ 4065759 h 6858000"/>
              <a:gd name="connsiteX210" fmla="*/ 5388878 w 7467600"/>
              <a:gd name="connsiteY210" fmla="*/ 4300185 h 6858000"/>
              <a:gd name="connsiteX211" fmla="*/ 5425556 w 7467600"/>
              <a:gd name="connsiteY211" fmla="*/ 4308967 h 6858000"/>
              <a:gd name="connsiteX212" fmla="*/ 4943646 w 7467600"/>
              <a:gd name="connsiteY212" fmla="*/ 3822916 h 6858000"/>
              <a:gd name="connsiteX213" fmla="*/ 4594837 w 7467600"/>
              <a:gd name="connsiteY213" fmla="*/ 3532274 h 6858000"/>
              <a:gd name="connsiteX214" fmla="*/ 4441737 w 7467600"/>
              <a:gd name="connsiteY214" fmla="*/ 3399734 h 6858000"/>
              <a:gd name="connsiteX215" fmla="*/ 5425834 w 7467600"/>
              <a:gd name="connsiteY215" fmla="*/ 3162785 h 6858000"/>
              <a:gd name="connsiteX216" fmla="*/ 5401644 w 7467600"/>
              <a:gd name="connsiteY216" fmla="*/ 3617847 h 6858000"/>
              <a:gd name="connsiteX217" fmla="*/ 5467256 w 7467600"/>
              <a:gd name="connsiteY217" fmla="*/ 4175494 h 6858000"/>
              <a:gd name="connsiteX218" fmla="*/ 5448069 w 7467600"/>
              <a:gd name="connsiteY218" fmla="*/ 3567554 h 6858000"/>
              <a:gd name="connsiteX219" fmla="*/ 5425834 w 7467600"/>
              <a:gd name="connsiteY219" fmla="*/ 3162785 h 6858000"/>
              <a:gd name="connsiteX220" fmla="*/ 1318687 w 7467600"/>
              <a:gd name="connsiteY220" fmla="*/ 3113840 h 6858000"/>
              <a:gd name="connsiteX221" fmla="*/ 1066793 w 7467600"/>
              <a:gd name="connsiteY221" fmla="*/ 3212171 h 6858000"/>
              <a:gd name="connsiteX222" fmla="*/ 993319 w 7467600"/>
              <a:gd name="connsiteY222" fmla="*/ 3247648 h 6858000"/>
              <a:gd name="connsiteX223" fmla="*/ 853081 w 7467600"/>
              <a:gd name="connsiteY223" fmla="*/ 3312410 h 6858000"/>
              <a:gd name="connsiteX224" fmla="*/ 805957 w 7467600"/>
              <a:gd name="connsiteY224" fmla="*/ 3330443 h 6858000"/>
              <a:gd name="connsiteX225" fmla="*/ 1318687 w 7467600"/>
              <a:gd name="connsiteY225" fmla="*/ 3113840 h 6858000"/>
              <a:gd name="connsiteX226" fmla="*/ 5453702 w 7467600"/>
              <a:gd name="connsiteY226" fmla="*/ 3090882 h 6858000"/>
              <a:gd name="connsiteX227" fmla="*/ 5480135 w 7467600"/>
              <a:gd name="connsiteY227" fmla="*/ 3565802 h 6858000"/>
              <a:gd name="connsiteX228" fmla="*/ 5499023 w 7467600"/>
              <a:gd name="connsiteY228" fmla="*/ 4166310 h 6858000"/>
              <a:gd name="connsiteX229" fmla="*/ 5547022 w 7467600"/>
              <a:gd name="connsiteY229" fmla="*/ 3607838 h 6858000"/>
              <a:gd name="connsiteX230" fmla="*/ 5515964 w 7467600"/>
              <a:gd name="connsiteY230" fmla="*/ 3378541 h 6858000"/>
              <a:gd name="connsiteX231" fmla="*/ 5453702 w 7467600"/>
              <a:gd name="connsiteY231" fmla="*/ 3090882 h 6858000"/>
              <a:gd name="connsiteX232" fmla="*/ 1238695 w 7467600"/>
              <a:gd name="connsiteY232" fmla="*/ 3076820 h 6858000"/>
              <a:gd name="connsiteX233" fmla="*/ 716371 w 7467600"/>
              <a:gd name="connsiteY233" fmla="*/ 3293249 h 6858000"/>
              <a:gd name="connsiteX234" fmla="*/ 579522 w 7467600"/>
              <a:gd name="connsiteY234" fmla="*/ 3371759 h 6858000"/>
              <a:gd name="connsiteX235" fmla="*/ 600288 w 7467600"/>
              <a:gd name="connsiteY235" fmla="*/ 3365555 h 6858000"/>
              <a:gd name="connsiteX236" fmla="*/ 840692 w 7467600"/>
              <a:gd name="connsiteY236" fmla="*/ 3284921 h 6858000"/>
              <a:gd name="connsiteX237" fmla="*/ 979248 w 7467600"/>
              <a:gd name="connsiteY237" fmla="*/ 3221003 h 6858000"/>
              <a:gd name="connsiteX238" fmla="*/ 1053282 w 7467600"/>
              <a:gd name="connsiteY238" fmla="*/ 3185247 h 6858000"/>
              <a:gd name="connsiteX239" fmla="*/ 1320603 w 7467600"/>
              <a:gd name="connsiteY239" fmla="*/ 3081281 h 6858000"/>
              <a:gd name="connsiteX240" fmla="*/ 1238695 w 7467600"/>
              <a:gd name="connsiteY240" fmla="*/ 3076820 h 6858000"/>
              <a:gd name="connsiteX241" fmla="*/ 5425627 w 7467600"/>
              <a:gd name="connsiteY241" fmla="*/ 2954192 h 6858000"/>
              <a:gd name="connsiteX242" fmla="*/ 5470770 w 7467600"/>
              <a:gd name="connsiteY242" fmla="*/ 3005435 h 6858000"/>
              <a:gd name="connsiteX243" fmla="*/ 5519779 w 7467600"/>
              <a:gd name="connsiteY243" fmla="*/ 4359223 h 6858000"/>
              <a:gd name="connsiteX244" fmla="*/ 5520293 w 7467600"/>
              <a:gd name="connsiteY244" fmla="*/ 4360602 h 6858000"/>
              <a:gd name="connsiteX245" fmla="*/ 5767221 w 7467600"/>
              <a:gd name="connsiteY245" fmla="*/ 4665564 h 6858000"/>
              <a:gd name="connsiteX246" fmla="*/ 6937169 w 7467600"/>
              <a:gd name="connsiteY246" fmla="*/ 4815941 h 6858000"/>
              <a:gd name="connsiteX247" fmla="*/ 6953922 w 7467600"/>
              <a:gd name="connsiteY247" fmla="*/ 4890068 h 6858000"/>
              <a:gd name="connsiteX248" fmla="*/ 6071359 w 7467600"/>
              <a:gd name="connsiteY248" fmla="*/ 4770770 h 6858000"/>
              <a:gd name="connsiteX249" fmla="*/ 6038839 w 7467600"/>
              <a:gd name="connsiteY249" fmla="*/ 4764474 h 6858000"/>
              <a:gd name="connsiteX250" fmla="*/ 6038706 w 7467600"/>
              <a:gd name="connsiteY250" fmla="*/ 4763847 h 6858000"/>
              <a:gd name="connsiteX251" fmla="*/ 6037784 w 7467600"/>
              <a:gd name="connsiteY251" fmla="*/ 4764270 h 6858000"/>
              <a:gd name="connsiteX252" fmla="*/ 6038839 w 7467600"/>
              <a:gd name="connsiteY252" fmla="*/ 4764474 h 6858000"/>
              <a:gd name="connsiteX253" fmla="*/ 6040338 w 7467600"/>
              <a:gd name="connsiteY253" fmla="*/ 4771418 h 6858000"/>
              <a:gd name="connsiteX254" fmla="*/ 6024488 w 7467600"/>
              <a:gd name="connsiteY254" fmla="*/ 4809903 h 6858000"/>
              <a:gd name="connsiteX255" fmla="*/ 5599771 w 7467600"/>
              <a:gd name="connsiteY255" fmla="*/ 5509652 h 6858000"/>
              <a:gd name="connsiteX256" fmla="*/ 5548843 w 7467600"/>
              <a:gd name="connsiteY256" fmla="*/ 5563845 h 6858000"/>
              <a:gd name="connsiteX257" fmla="*/ 5940952 w 7467600"/>
              <a:gd name="connsiteY257" fmla="*/ 6250028 h 6858000"/>
              <a:gd name="connsiteX258" fmla="*/ 6043441 w 7467600"/>
              <a:gd name="connsiteY258" fmla="*/ 6665847 h 6858000"/>
              <a:gd name="connsiteX259" fmla="*/ 6093432 w 7467600"/>
              <a:gd name="connsiteY259" fmla="*/ 6858000 h 6858000"/>
              <a:gd name="connsiteX260" fmla="*/ 6034344 w 7467600"/>
              <a:gd name="connsiteY260" fmla="*/ 6858000 h 6858000"/>
              <a:gd name="connsiteX261" fmla="*/ 6026679 w 7467600"/>
              <a:gd name="connsiteY261" fmla="*/ 6836959 h 6858000"/>
              <a:gd name="connsiteX262" fmla="*/ 5800441 w 7467600"/>
              <a:gd name="connsiteY262" fmla="*/ 6335286 h 6858000"/>
              <a:gd name="connsiteX263" fmla="*/ 5526562 w 7467600"/>
              <a:gd name="connsiteY263" fmla="*/ 5705388 h 6858000"/>
              <a:gd name="connsiteX264" fmla="*/ 5519640 w 7467600"/>
              <a:gd name="connsiteY264" fmla="*/ 5683774 h 6858000"/>
              <a:gd name="connsiteX265" fmla="*/ 5844559 w 7467600"/>
              <a:gd name="connsiteY265" fmla="*/ 6553349 h 6858000"/>
              <a:gd name="connsiteX266" fmla="*/ 5975994 w 7467600"/>
              <a:gd name="connsiteY266" fmla="*/ 6858000 h 6858000"/>
              <a:gd name="connsiteX267" fmla="*/ 5898547 w 7467600"/>
              <a:gd name="connsiteY267" fmla="*/ 6858000 h 6858000"/>
              <a:gd name="connsiteX268" fmla="*/ 5682041 w 7467600"/>
              <a:gd name="connsiteY268" fmla="*/ 6355860 h 6858000"/>
              <a:gd name="connsiteX269" fmla="*/ 5461758 w 7467600"/>
              <a:gd name="connsiteY269" fmla="*/ 5820220 h 6858000"/>
              <a:gd name="connsiteX270" fmla="*/ 5237282 w 7467600"/>
              <a:gd name="connsiteY270" fmla="*/ 6579086 h 6858000"/>
              <a:gd name="connsiteX271" fmla="*/ 5115009 w 7467600"/>
              <a:gd name="connsiteY271" fmla="*/ 6858000 h 6858000"/>
              <a:gd name="connsiteX272" fmla="*/ 5028074 w 7467600"/>
              <a:gd name="connsiteY272" fmla="*/ 6858000 h 6858000"/>
              <a:gd name="connsiteX273" fmla="*/ 5079508 w 7467600"/>
              <a:gd name="connsiteY273" fmla="*/ 6749074 h 6858000"/>
              <a:gd name="connsiteX274" fmla="*/ 5371846 w 7467600"/>
              <a:gd name="connsiteY274" fmla="*/ 5924413 h 6858000"/>
              <a:gd name="connsiteX275" fmla="*/ 5270512 w 7467600"/>
              <a:gd name="connsiteY275" fmla="*/ 6138975 h 6858000"/>
              <a:gd name="connsiteX276" fmla="*/ 5062409 w 7467600"/>
              <a:gd name="connsiteY276" fmla="*/ 6653544 h 6858000"/>
              <a:gd name="connsiteX277" fmla="*/ 5036628 w 7467600"/>
              <a:gd name="connsiteY277" fmla="*/ 6754247 h 6858000"/>
              <a:gd name="connsiteX278" fmla="*/ 5009112 w 7467600"/>
              <a:gd name="connsiteY278" fmla="*/ 6858000 h 6858000"/>
              <a:gd name="connsiteX279" fmla="*/ 4976679 w 7467600"/>
              <a:gd name="connsiteY279" fmla="*/ 6858000 h 6858000"/>
              <a:gd name="connsiteX280" fmla="*/ 5006537 w 7467600"/>
              <a:gd name="connsiteY280" fmla="*/ 6747068 h 6858000"/>
              <a:gd name="connsiteX281" fmla="*/ 5032723 w 7467600"/>
              <a:gd name="connsiteY281" fmla="*/ 6644957 h 6858000"/>
              <a:gd name="connsiteX282" fmla="*/ 5242949 w 7467600"/>
              <a:gd name="connsiteY282" fmla="*/ 6125175 h 6858000"/>
              <a:gd name="connsiteX283" fmla="*/ 5286321 w 7467600"/>
              <a:gd name="connsiteY283" fmla="*/ 6033555 h 6858000"/>
              <a:gd name="connsiteX284" fmla="*/ 5008210 w 7467600"/>
              <a:gd name="connsiteY284" fmla="*/ 6649194 h 6858000"/>
              <a:gd name="connsiteX285" fmla="*/ 4986321 w 7467600"/>
              <a:gd name="connsiteY285" fmla="*/ 6765687 h 6858000"/>
              <a:gd name="connsiteX286" fmla="*/ 4973474 w 7467600"/>
              <a:gd name="connsiteY286" fmla="*/ 6858000 h 6858000"/>
              <a:gd name="connsiteX287" fmla="*/ 4907178 w 7467600"/>
              <a:gd name="connsiteY287" fmla="*/ 6858000 h 6858000"/>
              <a:gd name="connsiteX288" fmla="*/ 4910810 w 7467600"/>
              <a:gd name="connsiteY288" fmla="*/ 6829660 h 6858000"/>
              <a:gd name="connsiteX289" fmla="*/ 4987461 w 7467600"/>
              <a:gd name="connsiteY289" fmla="*/ 6432994 h 6858000"/>
              <a:gd name="connsiteX290" fmla="*/ 5179262 w 7467600"/>
              <a:gd name="connsiteY290" fmla="*/ 6035044 h 6858000"/>
              <a:gd name="connsiteX291" fmla="*/ 4689678 w 7467600"/>
              <a:gd name="connsiteY291" fmla="*/ 6440241 h 6858000"/>
              <a:gd name="connsiteX292" fmla="*/ 4477543 w 7467600"/>
              <a:gd name="connsiteY292" fmla="*/ 6674836 h 6858000"/>
              <a:gd name="connsiteX293" fmla="*/ 4329957 w 7467600"/>
              <a:gd name="connsiteY293" fmla="*/ 6858000 h 6858000"/>
              <a:gd name="connsiteX294" fmla="*/ 4218595 w 7467600"/>
              <a:gd name="connsiteY294" fmla="*/ 6858000 h 6858000"/>
              <a:gd name="connsiteX295" fmla="*/ 4368888 w 7467600"/>
              <a:gd name="connsiteY295" fmla="*/ 6668412 h 6858000"/>
              <a:gd name="connsiteX296" fmla="*/ 4563091 w 7467600"/>
              <a:gd name="connsiteY296" fmla="*/ 6442508 h 6858000"/>
              <a:gd name="connsiteX297" fmla="*/ 5387324 w 7467600"/>
              <a:gd name="connsiteY297" fmla="*/ 5705830 h 6858000"/>
              <a:gd name="connsiteX298" fmla="*/ 5073620 w 7467600"/>
              <a:gd name="connsiteY298" fmla="*/ 5955437 h 6858000"/>
              <a:gd name="connsiteX299" fmla="*/ 4689789 w 7467600"/>
              <a:gd name="connsiteY299" fmla="*/ 6268382 h 6858000"/>
              <a:gd name="connsiteX300" fmla="*/ 4418722 w 7467600"/>
              <a:gd name="connsiteY300" fmla="*/ 6570886 h 6858000"/>
              <a:gd name="connsiteX301" fmla="*/ 4214944 w 7467600"/>
              <a:gd name="connsiteY301" fmla="*/ 6858000 h 6858000"/>
              <a:gd name="connsiteX302" fmla="*/ 4177898 w 7467600"/>
              <a:gd name="connsiteY302" fmla="*/ 6858000 h 6858000"/>
              <a:gd name="connsiteX303" fmla="*/ 4391597 w 7467600"/>
              <a:gd name="connsiteY303" fmla="*/ 6556370 h 6858000"/>
              <a:gd name="connsiteX304" fmla="*/ 4668889 w 7467600"/>
              <a:gd name="connsiteY304" fmla="*/ 6246399 h 6858000"/>
              <a:gd name="connsiteX305" fmla="*/ 5055427 w 7467600"/>
              <a:gd name="connsiteY305" fmla="*/ 5931476 h 6858000"/>
              <a:gd name="connsiteX306" fmla="*/ 5371814 w 7467600"/>
              <a:gd name="connsiteY306" fmla="*/ 5678975 h 6858000"/>
              <a:gd name="connsiteX307" fmla="*/ 4987918 w 7467600"/>
              <a:gd name="connsiteY307" fmla="*/ 5838701 h 6858000"/>
              <a:gd name="connsiteX308" fmla="*/ 4317146 w 7467600"/>
              <a:gd name="connsiteY308" fmla="*/ 6587716 h 6858000"/>
              <a:gd name="connsiteX309" fmla="*/ 4171627 w 7467600"/>
              <a:gd name="connsiteY309" fmla="*/ 6858000 h 6858000"/>
              <a:gd name="connsiteX310" fmla="*/ 4081585 w 7467600"/>
              <a:gd name="connsiteY310" fmla="*/ 6858000 h 6858000"/>
              <a:gd name="connsiteX311" fmla="*/ 4238603 w 7467600"/>
              <a:gd name="connsiteY311" fmla="*/ 6559341 h 6858000"/>
              <a:gd name="connsiteX312" fmla="*/ 4778333 w 7467600"/>
              <a:gd name="connsiteY312" fmla="*/ 5873626 h 6858000"/>
              <a:gd name="connsiteX313" fmla="*/ 5414185 w 7467600"/>
              <a:gd name="connsiteY313" fmla="*/ 5573882 h 6858000"/>
              <a:gd name="connsiteX314" fmla="*/ 5959648 w 7467600"/>
              <a:gd name="connsiteY314" fmla="*/ 4760797 h 6858000"/>
              <a:gd name="connsiteX315" fmla="*/ 5355019 w 7467600"/>
              <a:gd name="connsiteY315" fmla="*/ 4734672 h 6858000"/>
              <a:gd name="connsiteX316" fmla="*/ 5083565 w 7467600"/>
              <a:gd name="connsiteY316" fmla="*/ 5179121 h 6858000"/>
              <a:gd name="connsiteX317" fmla="*/ 4713577 w 7467600"/>
              <a:gd name="connsiteY317" fmla="*/ 5616803 h 6858000"/>
              <a:gd name="connsiteX318" fmla="*/ 3989559 w 7467600"/>
              <a:gd name="connsiteY318" fmla="*/ 6145945 h 6858000"/>
              <a:gd name="connsiteX319" fmla="*/ 3939824 w 7467600"/>
              <a:gd name="connsiteY319" fmla="*/ 6066900 h 6858000"/>
              <a:gd name="connsiteX320" fmla="*/ 4584537 w 7467600"/>
              <a:gd name="connsiteY320" fmla="*/ 5324826 h 6858000"/>
              <a:gd name="connsiteX321" fmla="*/ 5037105 w 7467600"/>
              <a:gd name="connsiteY321" fmla="*/ 5088765 h 6858000"/>
              <a:gd name="connsiteX322" fmla="*/ 5039930 w 7467600"/>
              <a:gd name="connsiteY322" fmla="*/ 5089585 h 6858000"/>
              <a:gd name="connsiteX323" fmla="*/ 5263764 w 7467600"/>
              <a:gd name="connsiteY323" fmla="*/ 4735525 h 6858000"/>
              <a:gd name="connsiteX324" fmla="*/ 4086300 w 7467600"/>
              <a:gd name="connsiteY324" fmla="*/ 4884599 h 6858000"/>
              <a:gd name="connsiteX325" fmla="*/ 4085485 w 7467600"/>
              <a:gd name="connsiteY325" fmla="*/ 4899070 h 6858000"/>
              <a:gd name="connsiteX326" fmla="*/ 3871915 w 7467600"/>
              <a:gd name="connsiteY326" fmla="*/ 5253645 h 6858000"/>
              <a:gd name="connsiteX327" fmla="*/ 3799374 w 7467600"/>
              <a:gd name="connsiteY327" fmla="*/ 5466127 h 6858000"/>
              <a:gd name="connsiteX328" fmla="*/ 3498850 w 7467600"/>
              <a:gd name="connsiteY328" fmla="*/ 6661888 h 6858000"/>
              <a:gd name="connsiteX329" fmla="*/ 3399216 w 7467600"/>
              <a:gd name="connsiteY329" fmla="*/ 6858000 h 6858000"/>
              <a:gd name="connsiteX330" fmla="*/ 3303688 w 7467600"/>
              <a:gd name="connsiteY330" fmla="*/ 6858000 h 6858000"/>
              <a:gd name="connsiteX331" fmla="*/ 3391774 w 7467600"/>
              <a:gd name="connsiteY331" fmla="*/ 6697181 h 6858000"/>
              <a:gd name="connsiteX332" fmla="*/ 3735540 w 7467600"/>
              <a:gd name="connsiteY332" fmla="*/ 5546923 h 6858000"/>
              <a:gd name="connsiteX333" fmla="*/ 3729438 w 7467600"/>
              <a:gd name="connsiteY333" fmla="*/ 5569058 h 6858000"/>
              <a:gd name="connsiteX334" fmla="*/ 3707782 w 7467600"/>
              <a:gd name="connsiteY334" fmla="*/ 5644908 h 6858000"/>
              <a:gd name="connsiteX335" fmla="*/ 3583827 w 7467600"/>
              <a:gd name="connsiteY335" fmla="*/ 6039215 h 6858000"/>
              <a:gd name="connsiteX336" fmla="*/ 3547861 w 7467600"/>
              <a:gd name="connsiteY336" fmla="*/ 6129609 h 6858000"/>
              <a:gd name="connsiteX337" fmla="*/ 3490905 w 7467600"/>
              <a:gd name="connsiteY337" fmla="*/ 6277660 h 6858000"/>
              <a:gd name="connsiteX338" fmla="*/ 3455859 w 7467600"/>
              <a:gd name="connsiteY338" fmla="*/ 6391301 h 6858000"/>
              <a:gd name="connsiteX339" fmla="*/ 3429112 w 7467600"/>
              <a:gd name="connsiteY339" fmla="*/ 6479469 h 6858000"/>
              <a:gd name="connsiteX340" fmla="*/ 3304862 w 7467600"/>
              <a:gd name="connsiteY340" fmla="*/ 6796476 h 6858000"/>
              <a:gd name="connsiteX341" fmla="*/ 3276071 w 7467600"/>
              <a:gd name="connsiteY341" fmla="*/ 6858000 h 6858000"/>
              <a:gd name="connsiteX342" fmla="*/ 3240805 w 7467600"/>
              <a:gd name="connsiteY342" fmla="*/ 6858000 h 6858000"/>
              <a:gd name="connsiteX343" fmla="*/ 3275917 w 7467600"/>
              <a:gd name="connsiteY343" fmla="*/ 6783192 h 6858000"/>
              <a:gd name="connsiteX344" fmla="*/ 3399358 w 7467600"/>
              <a:gd name="connsiteY344" fmla="*/ 6469011 h 6858000"/>
              <a:gd name="connsiteX345" fmla="*/ 3425650 w 7467600"/>
              <a:gd name="connsiteY345" fmla="*/ 6381333 h 6858000"/>
              <a:gd name="connsiteX346" fmla="*/ 3460661 w 7467600"/>
              <a:gd name="connsiteY346" fmla="*/ 6266763 h 6858000"/>
              <a:gd name="connsiteX347" fmla="*/ 3518021 w 7467600"/>
              <a:gd name="connsiteY347" fmla="*/ 6117298 h 6858000"/>
              <a:gd name="connsiteX348" fmla="*/ 3554035 w 7467600"/>
              <a:gd name="connsiteY348" fmla="*/ 6027832 h 6858000"/>
              <a:gd name="connsiteX349" fmla="*/ 3677174 w 7467600"/>
              <a:gd name="connsiteY349" fmla="*/ 5636351 h 6858000"/>
              <a:gd name="connsiteX350" fmla="*/ 3698819 w 7467600"/>
              <a:gd name="connsiteY350" fmla="*/ 5560503 h 6858000"/>
              <a:gd name="connsiteX351" fmla="*/ 3702094 w 7467600"/>
              <a:gd name="connsiteY351" fmla="*/ 5549194 h 6858000"/>
              <a:gd name="connsiteX352" fmla="*/ 3398355 w 7467600"/>
              <a:gd name="connsiteY352" fmla="*/ 6094603 h 6858000"/>
              <a:gd name="connsiteX353" fmla="*/ 3193941 w 7467600"/>
              <a:gd name="connsiteY353" fmla="*/ 6798775 h 6858000"/>
              <a:gd name="connsiteX354" fmla="*/ 3184140 w 7467600"/>
              <a:gd name="connsiteY354" fmla="*/ 6858000 h 6858000"/>
              <a:gd name="connsiteX355" fmla="*/ 3099978 w 7467600"/>
              <a:gd name="connsiteY355" fmla="*/ 6858000 h 6858000"/>
              <a:gd name="connsiteX356" fmla="*/ 3101556 w 7467600"/>
              <a:gd name="connsiteY356" fmla="*/ 6843337 h 6858000"/>
              <a:gd name="connsiteX357" fmla="*/ 3370162 w 7467600"/>
              <a:gd name="connsiteY357" fmla="*/ 5785550 h 6858000"/>
              <a:gd name="connsiteX358" fmla="*/ 3746477 w 7467600"/>
              <a:gd name="connsiteY358" fmla="*/ 5377889 h 6858000"/>
              <a:gd name="connsiteX359" fmla="*/ 3863399 w 7467600"/>
              <a:gd name="connsiteY359" fmla="*/ 5087257 h 6858000"/>
              <a:gd name="connsiteX360" fmla="*/ 3968712 w 7467600"/>
              <a:gd name="connsiteY360" fmla="*/ 4913989 h 6858000"/>
              <a:gd name="connsiteX361" fmla="*/ 2792390 w 7467600"/>
              <a:gd name="connsiteY361" fmla="*/ 5382974 h 6858000"/>
              <a:gd name="connsiteX362" fmla="*/ 2714982 w 7467600"/>
              <a:gd name="connsiteY362" fmla="*/ 5427051 h 6858000"/>
              <a:gd name="connsiteX363" fmla="*/ 2813361 w 7467600"/>
              <a:gd name="connsiteY363" fmla="*/ 6023912 h 6858000"/>
              <a:gd name="connsiteX364" fmla="*/ 2688430 w 7467600"/>
              <a:gd name="connsiteY364" fmla="*/ 6801564 h 6858000"/>
              <a:gd name="connsiteX365" fmla="*/ 2629626 w 7467600"/>
              <a:gd name="connsiteY365" fmla="*/ 6763394 h 6858000"/>
              <a:gd name="connsiteX366" fmla="*/ 2565328 w 7467600"/>
              <a:gd name="connsiteY366" fmla="*/ 5516399 h 6858000"/>
              <a:gd name="connsiteX367" fmla="*/ 1922999 w 7467600"/>
              <a:gd name="connsiteY367" fmla="*/ 5980343 h 6858000"/>
              <a:gd name="connsiteX368" fmla="*/ 1950261 w 7467600"/>
              <a:gd name="connsiteY368" fmla="*/ 6405858 h 6858000"/>
              <a:gd name="connsiteX369" fmla="*/ 2365554 w 7467600"/>
              <a:gd name="connsiteY369" fmla="*/ 6759107 h 6858000"/>
              <a:gd name="connsiteX370" fmla="*/ 2424142 w 7467600"/>
              <a:gd name="connsiteY370" fmla="*/ 6858000 h 6858000"/>
              <a:gd name="connsiteX371" fmla="*/ 2395994 w 7467600"/>
              <a:gd name="connsiteY371" fmla="*/ 6858000 h 6858000"/>
              <a:gd name="connsiteX372" fmla="*/ 2392863 w 7467600"/>
              <a:gd name="connsiteY372" fmla="*/ 6852964 h 6858000"/>
              <a:gd name="connsiteX373" fmla="*/ 2017589 w 7467600"/>
              <a:gd name="connsiteY373" fmla="*/ 6493982 h 6858000"/>
              <a:gd name="connsiteX374" fmla="*/ 2147336 w 7467600"/>
              <a:gd name="connsiteY374" fmla="*/ 6594052 h 6858000"/>
              <a:gd name="connsiteX375" fmla="*/ 2207047 w 7467600"/>
              <a:gd name="connsiteY375" fmla="*/ 6654540 h 6858000"/>
              <a:gd name="connsiteX376" fmla="*/ 2299106 w 7467600"/>
              <a:gd name="connsiteY376" fmla="*/ 6778931 h 6858000"/>
              <a:gd name="connsiteX377" fmla="*/ 2314430 w 7467600"/>
              <a:gd name="connsiteY377" fmla="*/ 6801144 h 6858000"/>
              <a:gd name="connsiteX378" fmla="*/ 2352406 w 7467600"/>
              <a:gd name="connsiteY378" fmla="*/ 6858000 h 6858000"/>
              <a:gd name="connsiteX379" fmla="*/ 2314492 w 7467600"/>
              <a:gd name="connsiteY379" fmla="*/ 6858000 h 6858000"/>
              <a:gd name="connsiteX380" fmla="*/ 2288095 w 7467600"/>
              <a:gd name="connsiteY380" fmla="*/ 6818030 h 6858000"/>
              <a:gd name="connsiteX381" fmla="*/ 2272768 w 7467600"/>
              <a:gd name="connsiteY381" fmla="*/ 6795822 h 6858000"/>
              <a:gd name="connsiteX382" fmla="*/ 2182715 w 7467600"/>
              <a:gd name="connsiteY382" fmla="*/ 6675071 h 6858000"/>
              <a:gd name="connsiteX383" fmla="*/ 2032061 w 7467600"/>
              <a:gd name="connsiteY383" fmla="*/ 6541380 h 6858000"/>
              <a:gd name="connsiteX384" fmla="*/ 2257220 w 7467600"/>
              <a:gd name="connsiteY384" fmla="*/ 6826257 h 6858000"/>
              <a:gd name="connsiteX385" fmla="*/ 2281324 w 7467600"/>
              <a:gd name="connsiteY385" fmla="*/ 6858000 h 6858000"/>
              <a:gd name="connsiteX386" fmla="*/ 2242860 w 7467600"/>
              <a:gd name="connsiteY386" fmla="*/ 6858000 h 6858000"/>
              <a:gd name="connsiteX387" fmla="*/ 2232818 w 7467600"/>
              <a:gd name="connsiteY387" fmla="*/ 6844926 h 6858000"/>
              <a:gd name="connsiteX388" fmla="*/ 1990172 w 7467600"/>
              <a:gd name="connsiteY388" fmla="*/ 6542121 h 6858000"/>
              <a:gd name="connsiteX389" fmla="*/ 2124090 w 7467600"/>
              <a:gd name="connsiteY389" fmla="*/ 6761017 h 6858000"/>
              <a:gd name="connsiteX390" fmla="*/ 2200380 w 7467600"/>
              <a:gd name="connsiteY390" fmla="*/ 6858000 h 6858000"/>
              <a:gd name="connsiteX391" fmla="*/ 2147507 w 7467600"/>
              <a:gd name="connsiteY391" fmla="*/ 6858000 h 6858000"/>
              <a:gd name="connsiteX392" fmla="*/ 2070668 w 7467600"/>
              <a:gd name="connsiteY392" fmla="*/ 6761520 h 6858000"/>
              <a:gd name="connsiteX393" fmla="*/ 1975142 w 7467600"/>
              <a:gd name="connsiteY393" fmla="*/ 6585570 h 6858000"/>
              <a:gd name="connsiteX394" fmla="*/ 2050035 w 7467600"/>
              <a:gd name="connsiteY394" fmla="*/ 6813345 h 6858000"/>
              <a:gd name="connsiteX395" fmla="*/ 2063025 w 7467600"/>
              <a:gd name="connsiteY395" fmla="*/ 6858000 h 6858000"/>
              <a:gd name="connsiteX396" fmla="*/ 2021675 w 7467600"/>
              <a:gd name="connsiteY396" fmla="*/ 6858000 h 6858000"/>
              <a:gd name="connsiteX397" fmla="*/ 2019308 w 7467600"/>
              <a:gd name="connsiteY397" fmla="*/ 6847118 h 6858000"/>
              <a:gd name="connsiteX398" fmla="*/ 1938835 w 7467600"/>
              <a:gd name="connsiteY398" fmla="*/ 6551160 h 6858000"/>
              <a:gd name="connsiteX399" fmla="*/ 1953230 w 7467600"/>
              <a:gd name="connsiteY399" fmla="*/ 6759699 h 6858000"/>
              <a:gd name="connsiteX400" fmla="*/ 1956763 w 7467600"/>
              <a:gd name="connsiteY400" fmla="*/ 6778191 h 6858000"/>
              <a:gd name="connsiteX401" fmla="*/ 1967925 w 7467600"/>
              <a:gd name="connsiteY401" fmla="*/ 6858000 h 6858000"/>
              <a:gd name="connsiteX402" fmla="*/ 1936622 w 7467600"/>
              <a:gd name="connsiteY402" fmla="*/ 6858000 h 6858000"/>
              <a:gd name="connsiteX403" fmla="*/ 1926261 w 7467600"/>
              <a:gd name="connsiteY403" fmla="*/ 6784064 h 6858000"/>
              <a:gd name="connsiteX404" fmla="*/ 1922724 w 7467600"/>
              <a:gd name="connsiteY404" fmla="*/ 6765577 h 6858000"/>
              <a:gd name="connsiteX405" fmla="*/ 1904650 w 7467600"/>
              <a:gd name="connsiteY405" fmla="*/ 6639616 h 6858000"/>
              <a:gd name="connsiteX406" fmla="*/ 1885273 w 7467600"/>
              <a:gd name="connsiteY406" fmla="*/ 6858000 h 6858000"/>
              <a:gd name="connsiteX407" fmla="*/ 1854363 w 7467600"/>
              <a:gd name="connsiteY407" fmla="*/ 6858000 h 6858000"/>
              <a:gd name="connsiteX408" fmla="*/ 1880391 w 7467600"/>
              <a:gd name="connsiteY408" fmla="*/ 6603796 h 6858000"/>
              <a:gd name="connsiteX409" fmla="*/ 1818273 w 7467600"/>
              <a:gd name="connsiteY409" fmla="*/ 6715729 h 6858000"/>
              <a:gd name="connsiteX410" fmla="*/ 1794691 w 7467600"/>
              <a:gd name="connsiteY410" fmla="*/ 6843239 h 6858000"/>
              <a:gd name="connsiteX411" fmla="*/ 1794914 w 7467600"/>
              <a:gd name="connsiteY411" fmla="*/ 6858000 h 6858000"/>
              <a:gd name="connsiteX412" fmla="*/ 1746128 w 7467600"/>
              <a:gd name="connsiteY412" fmla="*/ 6858000 h 6858000"/>
              <a:gd name="connsiteX413" fmla="*/ 1753934 w 7467600"/>
              <a:gd name="connsiteY413" fmla="*/ 6724796 h 6858000"/>
              <a:gd name="connsiteX414" fmla="*/ 1792053 w 7467600"/>
              <a:gd name="connsiteY414" fmla="*/ 6572396 h 6858000"/>
              <a:gd name="connsiteX415" fmla="*/ 1862248 w 7467600"/>
              <a:gd name="connsiteY415" fmla="*/ 6266397 h 6858000"/>
              <a:gd name="connsiteX416" fmla="*/ 1862250 w 7467600"/>
              <a:gd name="connsiteY416" fmla="*/ 6033531 h 6858000"/>
              <a:gd name="connsiteX417" fmla="*/ 1211999 w 7467600"/>
              <a:gd name="connsiteY417" fmla="*/ 6683610 h 6858000"/>
              <a:gd name="connsiteX418" fmla="*/ 1213266 w 7467600"/>
              <a:gd name="connsiteY418" fmla="*/ 6691947 h 6858000"/>
              <a:gd name="connsiteX419" fmla="*/ 1203370 w 7467600"/>
              <a:gd name="connsiteY419" fmla="*/ 6850676 h 6858000"/>
              <a:gd name="connsiteX420" fmla="*/ 1203671 w 7467600"/>
              <a:gd name="connsiteY420" fmla="*/ 6858000 h 6858000"/>
              <a:gd name="connsiteX421" fmla="*/ 1143180 w 7467600"/>
              <a:gd name="connsiteY421" fmla="*/ 6858000 h 6858000"/>
              <a:gd name="connsiteX422" fmla="*/ 1142176 w 7467600"/>
              <a:gd name="connsiteY422" fmla="*/ 6766045 h 6858000"/>
              <a:gd name="connsiteX423" fmla="*/ 1067484 w 7467600"/>
              <a:gd name="connsiteY423" fmla="*/ 6858000 h 6858000"/>
              <a:gd name="connsiteX424" fmla="*/ 953928 w 7467600"/>
              <a:gd name="connsiteY424" fmla="*/ 6858000 h 6858000"/>
              <a:gd name="connsiteX425" fmla="*/ 959715 w 7467600"/>
              <a:gd name="connsiteY425" fmla="*/ 6850185 h 6858000"/>
              <a:gd name="connsiteX426" fmla="*/ 1483788 w 7467600"/>
              <a:gd name="connsiteY426" fmla="*/ 6259174 h 6858000"/>
              <a:gd name="connsiteX427" fmla="*/ 1100671 w 7467600"/>
              <a:gd name="connsiteY427" fmla="*/ 6252137 h 6858000"/>
              <a:gd name="connsiteX428" fmla="*/ 1090144 w 7467600"/>
              <a:gd name="connsiteY428" fmla="*/ 6256748 h 6858000"/>
              <a:gd name="connsiteX429" fmla="*/ 1095872 w 7467600"/>
              <a:gd name="connsiteY429" fmla="*/ 6271892 h 6858000"/>
              <a:gd name="connsiteX430" fmla="*/ 262785 w 7467600"/>
              <a:gd name="connsiteY430" fmla="*/ 6845450 h 6858000"/>
              <a:gd name="connsiteX431" fmla="*/ 209968 w 7467600"/>
              <a:gd name="connsiteY431" fmla="*/ 6770713 h 6858000"/>
              <a:gd name="connsiteX432" fmla="*/ 873460 w 7467600"/>
              <a:gd name="connsiteY432" fmla="*/ 6253768 h 6858000"/>
              <a:gd name="connsiteX433" fmla="*/ 192686 w 7467600"/>
              <a:gd name="connsiteY433" fmla="*/ 5849257 h 6858000"/>
              <a:gd name="connsiteX434" fmla="*/ 4696 w 7467600"/>
              <a:gd name="connsiteY434" fmla="*/ 5697668 h 6858000"/>
              <a:gd name="connsiteX435" fmla="*/ 0 w 7467600"/>
              <a:gd name="connsiteY435" fmla="*/ 5689984 h 6858000"/>
              <a:gd name="connsiteX436" fmla="*/ 0 w 7467600"/>
              <a:gd name="connsiteY436" fmla="*/ 5513472 h 6858000"/>
              <a:gd name="connsiteX437" fmla="*/ 174101 w 7467600"/>
              <a:gd name="connsiteY437" fmla="*/ 5620277 h 6858000"/>
              <a:gd name="connsiteX438" fmla="*/ 891800 w 7467600"/>
              <a:gd name="connsiteY438" fmla="*/ 6036935 h 6858000"/>
              <a:gd name="connsiteX439" fmla="*/ 1072219 w 7467600"/>
              <a:gd name="connsiteY439" fmla="*/ 6169443 h 6858000"/>
              <a:gd name="connsiteX440" fmla="*/ 1074117 w 7467600"/>
              <a:gd name="connsiteY440" fmla="*/ 6170301 h 6858000"/>
              <a:gd name="connsiteX441" fmla="*/ 1083114 w 7467600"/>
              <a:gd name="connsiteY441" fmla="*/ 6174131 h 6858000"/>
              <a:gd name="connsiteX442" fmla="*/ 1543010 w 7467600"/>
              <a:gd name="connsiteY442" fmla="*/ 6191140 h 6858000"/>
              <a:gd name="connsiteX443" fmla="*/ 1551080 w 7467600"/>
              <a:gd name="connsiteY443" fmla="*/ 6195006 h 6858000"/>
              <a:gd name="connsiteX444" fmla="*/ 2345443 w 7467600"/>
              <a:gd name="connsiteY444" fmla="*/ 5549882 h 6858000"/>
              <a:gd name="connsiteX445" fmla="*/ 1721499 w 7467600"/>
              <a:gd name="connsiteY445" fmla="*/ 5599969 h 6858000"/>
              <a:gd name="connsiteX446" fmla="*/ 767716 w 7467600"/>
              <a:gd name="connsiteY446" fmla="*/ 5472768 h 6858000"/>
              <a:gd name="connsiteX447" fmla="*/ 722147 w 7467600"/>
              <a:gd name="connsiteY447" fmla="*/ 5393091 h 6858000"/>
              <a:gd name="connsiteX448" fmla="*/ 1485552 w 7467600"/>
              <a:gd name="connsiteY448" fmla="*/ 5313202 h 6858000"/>
              <a:gd name="connsiteX449" fmla="*/ 2143004 w 7467600"/>
              <a:gd name="connsiteY449" fmla="*/ 5402420 h 6858000"/>
              <a:gd name="connsiteX450" fmla="*/ 1933391 w 7467600"/>
              <a:gd name="connsiteY450" fmla="*/ 5156971 h 6858000"/>
              <a:gd name="connsiteX451" fmla="*/ 1827118 w 7467600"/>
              <a:gd name="connsiteY451" fmla="*/ 4968410 h 6858000"/>
              <a:gd name="connsiteX452" fmla="*/ 1837349 w 7467600"/>
              <a:gd name="connsiteY452" fmla="*/ 4956357 h 6858000"/>
              <a:gd name="connsiteX453" fmla="*/ 2162835 w 7467600"/>
              <a:gd name="connsiteY453" fmla="*/ 5187853 h 6858000"/>
              <a:gd name="connsiteX454" fmla="*/ 2257167 w 7467600"/>
              <a:gd name="connsiteY454" fmla="*/ 5462123 h 6858000"/>
              <a:gd name="connsiteX455" fmla="*/ 2261598 w 7467600"/>
              <a:gd name="connsiteY455" fmla="*/ 5467998 h 6858000"/>
              <a:gd name="connsiteX456" fmla="*/ 2437177 w 7467600"/>
              <a:gd name="connsiteY456" fmla="*/ 5479608 h 6858000"/>
              <a:gd name="connsiteX457" fmla="*/ 2445247 w 7467600"/>
              <a:gd name="connsiteY457" fmla="*/ 5483476 h 6858000"/>
              <a:gd name="connsiteX458" fmla="*/ 2743626 w 7467600"/>
              <a:gd name="connsiteY458" fmla="*/ 5304819 h 6858000"/>
              <a:gd name="connsiteX459" fmla="*/ 3048102 w 7467600"/>
              <a:gd name="connsiteY459" fmla="*/ 5150595 h 6858000"/>
              <a:gd name="connsiteX460" fmla="*/ 1799414 w 7467600"/>
              <a:gd name="connsiteY460" fmla="*/ 4694732 h 6858000"/>
              <a:gd name="connsiteX461" fmla="*/ 1771735 w 7467600"/>
              <a:gd name="connsiteY461" fmla="*/ 4619929 h 6858000"/>
              <a:gd name="connsiteX462" fmla="*/ 3104273 w 7467600"/>
              <a:gd name="connsiteY462" fmla="*/ 5076159 h 6858000"/>
              <a:gd name="connsiteX463" fmla="*/ 3113245 w 7467600"/>
              <a:gd name="connsiteY463" fmla="*/ 5090705 h 6858000"/>
              <a:gd name="connsiteX464" fmla="*/ 3126294 w 7467600"/>
              <a:gd name="connsiteY464" fmla="*/ 5114400 h 6858000"/>
              <a:gd name="connsiteX465" fmla="*/ 3937433 w 7467600"/>
              <a:gd name="connsiteY465" fmla="*/ 4830473 h 6858000"/>
              <a:gd name="connsiteX466" fmla="*/ 3590475 w 7467600"/>
              <a:gd name="connsiteY466" fmla="*/ 4597974 h 6858000"/>
              <a:gd name="connsiteX467" fmla="*/ 3100264 w 7467600"/>
              <a:gd name="connsiteY467" fmla="*/ 4579845 h 6858000"/>
              <a:gd name="connsiteX468" fmla="*/ 2183576 w 7467600"/>
              <a:gd name="connsiteY468" fmla="*/ 4227150 h 6858000"/>
              <a:gd name="connsiteX469" fmla="*/ 2151029 w 7467600"/>
              <a:gd name="connsiteY469" fmla="*/ 4146947 h 6858000"/>
              <a:gd name="connsiteX470" fmla="*/ 3563434 w 7467600"/>
              <a:gd name="connsiteY470" fmla="*/ 4469115 h 6858000"/>
              <a:gd name="connsiteX471" fmla="*/ 3177952 w 7467600"/>
              <a:gd name="connsiteY471" fmla="*/ 3657386 h 6858000"/>
              <a:gd name="connsiteX472" fmla="*/ 3189263 w 7467600"/>
              <a:gd name="connsiteY472" fmla="*/ 3625726 h 6858000"/>
              <a:gd name="connsiteX473" fmla="*/ 3560912 w 7467600"/>
              <a:gd name="connsiteY473" fmla="*/ 4079863 h 6858000"/>
              <a:gd name="connsiteX474" fmla="*/ 3626636 w 7467600"/>
              <a:gd name="connsiteY474" fmla="*/ 4512230 h 6858000"/>
              <a:gd name="connsiteX475" fmla="*/ 3653088 w 7467600"/>
              <a:gd name="connsiteY475" fmla="*/ 4521417 h 6858000"/>
              <a:gd name="connsiteX476" fmla="*/ 3988128 w 7467600"/>
              <a:gd name="connsiteY476" fmla="*/ 4817267 h 6858000"/>
              <a:gd name="connsiteX477" fmla="*/ 4830582 w 7467600"/>
              <a:gd name="connsiteY477" fmla="*/ 4676000 h 6858000"/>
              <a:gd name="connsiteX478" fmla="*/ 4830100 w 7467600"/>
              <a:gd name="connsiteY478" fmla="*/ 4675554 h 6858000"/>
              <a:gd name="connsiteX479" fmla="*/ 4036318 w 7467600"/>
              <a:gd name="connsiteY479" fmla="*/ 4147013 h 6858000"/>
              <a:gd name="connsiteX480" fmla="*/ 3432098 w 7467600"/>
              <a:gd name="connsiteY480" fmla="*/ 3537312 h 6858000"/>
              <a:gd name="connsiteX481" fmla="*/ 3446761 w 7467600"/>
              <a:gd name="connsiteY481" fmla="*/ 3461278 h 6858000"/>
              <a:gd name="connsiteX482" fmla="*/ 4419733 w 7467600"/>
              <a:gd name="connsiteY482" fmla="*/ 3963555 h 6858000"/>
              <a:gd name="connsiteX483" fmla="*/ 4781371 w 7467600"/>
              <a:gd name="connsiteY483" fmla="*/ 4458604 h 6858000"/>
              <a:gd name="connsiteX484" fmla="*/ 4780440 w 7467600"/>
              <a:gd name="connsiteY484" fmla="*/ 4470290 h 6858000"/>
              <a:gd name="connsiteX485" fmla="*/ 4898954 w 7467600"/>
              <a:gd name="connsiteY485" fmla="*/ 4662092 h 6858000"/>
              <a:gd name="connsiteX486" fmla="*/ 4900699 w 7467600"/>
              <a:gd name="connsiteY486" fmla="*/ 4670867 h 6858000"/>
              <a:gd name="connsiteX487" fmla="*/ 5714511 w 7467600"/>
              <a:gd name="connsiteY487" fmla="*/ 4663483 h 6858000"/>
              <a:gd name="connsiteX488" fmla="*/ 5464793 w 7467600"/>
              <a:gd name="connsiteY488" fmla="*/ 4393556 h 6858000"/>
              <a:gd name="connsiteX489" fmla="*/ 5461897 w 7467600"/>
              <a:gd name="connsiteY489" fmla="*/ 4390879 h 6858000"/>
              <a:gd name="connsiteX490" fmla="*/ 4294126 w 7467600"/>
              <a:gd name="connsiteY490" fmla="*/ 3303048 h 6858000"/>
              <a:gd name="connsiteX491" fmla="*/ 4305321 w 7467600"/>
              <a:gd name="connsiteY491" fmla="*/ 3256953 h 6858000"/>
              <a:gd name="connsiteX492" fmla="*/ 4949299 w 7467600"/>
              <a:gd name="connsiteY492" fmla="*/ 3766336 h 6858000"/>
              <a:gd name="connsiteX493" fmla="*/ 5291452 w 7467600"/>
              <a:gd name="connsiteY493" fmla="*/ 4076801 h 6858000"/>
              <a:gd name="connsiteX494" fmla="*/ 5434998 w 7467600"/>
              <a:gd name="connsiteY494" fmla="*/ 4254100 h 6858000"/>
              <a:gd name="connsiteX495" fmla="*/ 5351015 w 7467600"/>
              <a:gd name="connsiteY495" fmla="*/ 3760989 h 6858000"/>
              <a:gd name="connsiteX496" fmla="*/ 5413780 w 7467600"/>
              <a:gd name="connsiteY496" fmla="*/ 2966265 h 6858000"/>
              <a:gd name="connsiteX497" fmla="*/ 5425627 w 7467600"/>
              <a:gd name="connsiteY497" fmla="*/ 2954192 h 6858000"/>
              <a:gd name="connsiteX498" fmla="*/ 6604735 w 7467600"/>
              <a:gd name="connsiteY498" fmla="*/ 2041381 h 6858000"/>
              <a:gd name="connsiteX499" fmla="*/ 7204487 w 7467600"/>
              <a:gd name="connsiteY499" fmla="*/ 2742112 h 6858000"/>
              <a:gd name="connsiteX500" fmla="*/ 7131592 w 7467600"/>
              <a:gd name="connsiteY500" fmla="*/ 2672096 h 6858000"/>
              <a:gd name="connsiteX501" fmla="*/ 6996344 w 7467600"/>
              <a:gd name="connsiteY501" fmla="*/ 2518310 h 6858000"/>
              <a:gd name="connsiteX502" fmla="*/ 6735495 w 7467600"/>
              <a:gd name="connsiteY502" fmla="*/ 2196890 h 6858000"/>
              <a:gd name="connsiteX503" fmla="*/ 6721901 w 7467600"/>
              <a:gd name="connsiteY503" fmla="*/ 2179274 h 6858000"/>
              <a:gd name="connsiteX504" fmla="*/ 6604735 w 7467600"/>
              <a:gd name="connsiteY504" fmla="*/ 2041381 h 6858000"/>
              <a:gd name="connsiteX505" fmla="*/ 6591670 w 7467600"/>
              <a:gd name="connsiteY505" fmla="*/ 1988277 h 6858000"/>
              <a:gd name="connsiteX506" fmla="*/ 6747349 w 7467600"/>
              <a:gd name="connsiteY506" fmla="*/ 2160069 h 6858000"/>
              <a:gd name="connsiteX507" fmla="*/ 6760943 w 7467600"/>
              <a:gd name="connsiteY507" fmla="*/ 2177686 h 6858000"/>
              <a:gd name="connsiteX508" fmla="*/ 7021065 w 7467600"/>
              <a:gd name="connsiteY508" fmla="*/ 2498102 h 6858000"/>
              <a:gd name="connsiteX509" fmla="*/ 7155223 w 7467600"/>
              <a:gd name="connsiteY509" fmla="*/ 2650386 h 6858000"/>
              <a:gd name="connsiteX510" fmla="*/ 7203167 w 7467600"/>
              <a:gd name="connsiteY510" fmla="*/ 2697288 h 6858000"/>
              <a:gd name="connsiteX511" fmla="*/ 6937703 w 7467600"/>
              <a:gd name="connsiteY511" fmla="*/ 2321981 h 6858000"/>
              <a:gd name="connsiteX512" fmla="*/ 6591670 w 7467600"/>
              <a:gd name="connsiteY512" fmla="*/ 1988277 h 6858000"/>
              <a:gd name="connsiteX513" fmla="*/ 5798671 w 7467600"/>
              <a:gd name="connsiteY513" fmla="*/ 1981601 h 6858000"/>
              <a:gd name="connsiteX514" fmla="*/ 5754709 w 7467600"/>
              <a:gd name="connsiteY514" fmla="*/ 2071454 h 6858000"/>
              <a:gd name="connsiteX515" fmla="*/ 5763044 w 7467600"/>
              <a:gd name="connsiteY515" fmla="*/ 2842206 h 6858000"/>
              <a:gd name="connsiteX516" fmla="*/ 5764974 w 7467600"/>
              <a:gd name="connsiteY516" fmla="*/ 2799609 h 6858000"/>
              <a:gd name="connsiteX517" fmla="*/ 5767665 w 7467600"/>
              <a:gd name="connsiteY517" fmla="*/ 2666409 h 6858000"/>
              <a:gd name="connsiteX518" fmla="*/ 5763055 w 7467600"/>
              <a:gd name="connsiteY518" fmla="*/ 2579705 h 6858000"/>
              <a:gd name="connsiteX519" fmla="*/ 5758079 w 7467600"/>
              <a:gd name="connsiteY519" fmla="*/ 2492508 h 6858000"/>
              <a:gd name="connsiteX520" fmla="*/ 5779325 w 7467600"/>
              <a:gd name="connsiteY520" fmla="*/ 2197069 h 6858000"/>
              <a:gd name="connsiteX521" fmla="*/ 5798671 w 7467600"/>
              <a:gd name="connsiteY521" fmla="*/ 1981601 h 6858000"/>
              <a:gd name="connsiteX522" fmla="*/ 5829202 w 7467600"/>
              <a:gd name="connsiteY522" fmla="*/ 1971679 h 6858000"/>
              <a:gd name="connsiteX523" fmla="*/ 5809558 w 7467600"/>
              <a:gd name="connsiteY523" fmla="*/ 2198043 h 6858000"/>
              <a:gd name="connsiteX524" fmla="*/ 5788653 w 7467600"/>
              <a:gd name="connsiteY524" fmla="*/ 2489430 h 6858000"/>
              <a:gd name="connsiteX525" fmla="*/ 5793439 w 7467600"/>
              <a:gd name="connsiteY525" fmla="*/ 2575235 h 6858000"/>
              <a:gd name="connsiteX526" fmla="*/ 5796837 w 7467600"/>
              <a:gd name="connsiteY526" fmla="*/ 2637633 h 6858000"/>
              <a:gd name="connsiteX527" fmla="*/ 5818614 w 7467600"/>
              <a:gd name="connsiteY527" fmla="*/ 2473055 h 6858000"/>
              <a:gd name="connsiteX528" fmla="*/ 5829202 w 7467600"/>
              <a:gd name="connsiteY528" fmla="*/ 1971679 h 6858000"/>
              <a:gd name="connsiteX529" fmla="*/ 5911389 w 7467600"/>
              <a:gd name="connsiteY529" fmla="*/ 1898371 h 6858000"/>
              <a:gd name="connsiteX530" fmla="*/ 6237627 w 7467600"/>
              <a:gd name="connsiteY530" fmla="*/ 2231921 h 6858000"/>
              <a:gd name="connsiteX531" fmla="*/ 5911389 w 7467600"/>
              <a:gd name="connsiteY531" fmla="*/ 1898371 h 6858000"/>
              <a:gd name="connsiteX532" fmla="*/ 6944437 w 7467600"/>
              <a:gd name="connsiteY532" fmla="*/ 1575402 h 6858000"/>
              <a:gd name="connsiteX533" fmla="*/ 6304730 w 7467600"/>
              <a:gd name="connsiteY533" fmla="*/ 1766654 h 6858000"/>
              <a:gd name="connsiteX534" fmla="*/ 6944437 w 7467600"/>
              <a:gd name="connsiteY534" fmla="*/ 1575402 h 6858000"/>
              <a:gd name="connsiteX535" fmla="*/ 7019523 w 7467600"/>
              <a:gd name="connsiteY535" fmla="*/ 1519450 h 6858000"/>
              <a:gd name="connsiteX536" fmla="*/ 6298091 w 7467600"/>
              <a:gd name="connsiteY536" fmla="*/ 1737122 h 6858000"/>
              <a:gd name="connsiteX537" fmla="*/ 7019523 w 7467600"/>
              <a:gd name="connsiteY537" fmla="*/ 1519450 h 6858000"/>
              <a:gd name="connsiteX538" fmla="*/ 2399523 w 7467600"/>
              <a:gd name="connsiteY538" fmla="*/ 1428234 h 6858000"/>
              <a:gd name="connsiteX539" fmla="*/ 2224982 w 7467600"/>
              <a:gd name="connsiteY539" fmla="*/ 1826201 h 6858000"/>
              <a:gd name="connsiteX540" fmla="*/ 2096099 w 7467600"/>
              <a:gd name="connsiteY540" fmla="*/ 2345900 h 6858000"/>
              <a:gd name="connsiteX541" fmla="*/ 2283317 w 7467600"/>
              <a:gd name="connsiteY541" fmla="*/ 1796925 h 6858000"/>
              <a:gd name="connsiteX542" fmla="*/ 2399523 w 7467600"/>
              <a:gd name="connsiteY542" fmla="*/ 1428234 h 6858000"/>
              <a:gd name="connsiteX543" fmla="*/ 2448558 w 7467600"/>
              <a:gd name="connsiteY543" fmla="*/ 1373435 h 6858000"/>
              <a:gd name="connsiteX544" fmla="*/ 2312521 w 7467600"/>
              <a:gd name="connsiteY544" fmla="*/ 1806140 h 6858000"/>
              <a:gd name="connsiteX545" fmla="*/ 2127533 w 7467600"/>
              <a:gd name="connsiteY545" fmla="*/ 2348380 h 6858000"/>
              <a:gd name="connsiteX546" fmla="*/ 2358080 w 7467600"/>
              <a:gd name="connsiteY546" fmla="*/ 1866134 h 6858000"/>
              <a:gd name="connsiteX547" fmla="*/ 2407436 w 7467600"/>
              <a:gd name="connsiteY547" fmla="*/ 1651070 h 6858000"/>
              <a:gd name="connsiteX548" fmla="*/ 2448558 w 7467600"/>
              <a:gd name="connsiteY548" fmla="*/ 1373435 h 6858000"/>
              <a:gd name="connsiteX549" fmla="*/ 278707 w 7467600"/>
              <a:gd name="connsiteY549" fmla="*/ 1352270 h 6858000"/>
              <a:gd name="connsiteX550" fmla="*/ 321570 w 7467600"/>
              <a:gd name="connsiteY550" fmla="*/ 1861610 h 6858000"/>
              <a:gd name="connsiteX551" fmla="*/ 294281 w 7467600"/>
              <a:gd name="connsiteY551" fmla="*/ 1440658 h 6858000"/>
              <a:gd name="connsiteX552" fmla="*/ 278707 w 7467600"/>
              <a:gd name="connsiteY552" fmla="*/ 1352270 h 6858000"/>
              <a:gd name="connsiteX553" fmla="*/ 1423821 w 7467600"/>
              <a:gd name="connsiteY553" fmla="*/ 1351958 h 6858000"/>
              <a:gd name="connsiteX554" fmla="*/ 1638521 w 7467600"/>
              <a:gd name="connsiteY554" fmla="*/ 1908470 h 6858000"/>
              <a:gd name="connsiteX555" fmla="*/ 1754199 w 7467600"/>
              <a:gd name="connsiteY555" fmla="*/ 2149284 h 6858000"/>
              <a:gd name="connsiteX556" fmla="*/ 1908359 w 7467600"/>
              <a:gd name="connsiteY556" fmla="*/ 2364988 h 6858000"/>
              <a:gd name="connsiteX557" fmla="*/ 1647661 w 7467600"/>
              <a:gd name="connsiteY557" fmla="*/ 1825945 h 6858000"/>
              <a:gd name="connsiteX558" fmla="*/ 1423821 w 7467600"/>
              <a:gd name="connsiteY558" fmla="*/ 1351958 h 6858000"/>
              <a:gd name="connsiteX559" fmla="*/ 1431890 w 7467600"/>
              <a:gd name="connsiteY559" fmla="*/ 1306475 h 6858000"/>
              <a:gd name="connsiteX560" fmla="*/ 1507597 w 7467600"/>
              <a:gd name="connsiteY560" fmla="*/ 1446132 h 6858000"/>
              <a:gd name="connsiteX561" fmla="*/ 1674586 w 7467600"/>
              <a:gd name="connsiteY561" fmla="*/ 1813832 h 6858000"/>
              <a:gd name="connsiteX562" fmla="*/ 1815950 w 7467600"/>
              <a:gd name="connsiteY562" fmla="*/ 2128564 h 6858000"/>
              <a:gd name="connsiteX563" fmla="*/ 1984242 w 7467600"/>
              <a:gd name="connsiteY563" fmla="*/ 2430829 h 6858000"/>
              <a:gd name="connsiteX564" fmla="*/ 2014023 w 7467600"/>
              <a:gd name="connsiteY564" fmla="*/ 2450995 h 6858000"/>
              <a:gd name="connsiteX565" fmla="*/ 1747337 w 7467600"/>
              <a:gd name="connsiteY565" fmla="*/ 1855264 h 6858000"/>
              <a:gd name="connsiteX566" fmla="*/ 1533749 w 7467600"/>
              <a:gd name="connsiteY566" fmla="*/ 1478656 h 6858000"/>
              <a:gd name="connsiteX567" fmla="*/ 1431890 w 7467600"/>
              <a:gd name="connsiteY567" fmla="*/ 1306475 h 6858000"/>
              <a:gd name="connsiteX568" fmla="*/ 5052692 w 7467600"/>
              <a:gd name="connsiteY568" fmla="*/ 1292994 h 6858000"/>
              <a:gd name="connsiteX569" fmla="*/ 5200661 w 7467600"/>
              <a:gd name="connsiteY569" fmla="*/ 1635186 h 6858000"/>
              <a:gd name="connsiteX570" fmla="*/ 5297138 w 7467600"/>
              <a:gd name="connsiteY570" fmla="*/ 1906351 h 6858000"/>
              <a:gd name="connsiteX571" fmla="*/ 5052692 w 7467600"/>
              <a:gd name="connsiteY571" fmla="*/ 1292994 h 6858000"/>
              <a:gd name="connsiteX572" fmla="*/ 5009948 w 7467600"/>
              <a:gd name="connsiteY572" fmla="*/ 1273619 h 6858000"/>
              <a:gd name="connsiteX573" fmla="*/ 5121777 w 7467600"/>
              <a:gd name="connsiteY573" fmla="*/ 1654213 h 6858000"/>
              <a:gd name="connsiteX574" fmla="*/ 5293545 w 7467600"/>
              <a:gd name="connsiteY574" fmla="*/ 2072247 h 6858000"/>
              <a:gd name="connsiteX575" fmla="*/ 5294042 w 7467600"/>
              <a:gd name="connsiteY575" fmla="*/ 2065019 h 6858000"/>
              <a:gd name="connsiteX576" fmla="*/ 5171936 w 7467600"/>
              <a:gd name="connsiteY576" fmla="*/ 1647613 h 6858000"/>
              <a:gd name="connsiteX577" fmla="*/ 5009948 w 7467600"/>
              <a:gd name="connsiteY577" fmla="*/ 1273619 h 6858000"/>
              <a:gd name="connsiteX578" fmla="*/ 655236 w 7467600"/>
              <a:gd name="connsiteY578" fmla="*/ 1268632 h 6858000"/>
              <a:gd name="connsiteX579" fmla="*/ 839521 w 7467600"/>
              <a:gd name="connsiteY579" fmla="*/ 1685315 h 6858000"/>
              <a:gd name="connsiteX580" fmla="*/ 1109416 w 7467600"/>
              <a:gd name="connsiteY580" fmla="*/ 2061663 h 6858000"/>
              <a:gd name="connsiteX581" fmla="*/ 1298300 w 7467600"/>
              <a:gd name="connsiteY581" fmla="*/ 2247742 h 6858000"/>
              <a:gd name="connsiteX582" fmla="*/ 1125871 w 7467600"/>
              <a:gd name="connsiteY582" fmla="*/ 1989513 h 6858000"/>
              <a:gd name="connsiteX583" fmla="*/ 981574 w 7467600"/>
              <a:gd name="connsiteY583" fmla="*/ 1783157 h 6858000"/>
              <a:gd name="connsiteX584" fmla="*/ 922198 w 7467600"/>
              <a:gd name="connsiteY584" fmla="*/ 1677437 h 6858000"/>
              <a:gd name="connsiteX585" fmla="*/ 869293 w 7467600"/>
              <a:gd name="connsiteY585" fmla="*/ 1583214 h 6858000"/>
              <a:gd name="connsiteX586" fmla="*/ 751431 w 7467600"/>
              <a:gd name="connsiteY586" fmla="*/ 1405731 h 6858000"/>
              <a:gd name="connsiteX587" fmla="*/ 655236 w 7467600"/>
              <a:gd name="connsiteY587" fmla="*/ 1268632 h 6858000"/>
              <a:gd name="connsiteX588" fmla="*/ 6516292 w 7467600"/>
              <a:gd name="connsiteY588" fmla="*/ 1263064 h 6858000"/>
              <a:gd name="connsiteX589" fmla="*/ 5736320 w 7467600"/>
              <a:gd name="connsiteY589" fmla="*/ 1501803 h 6858000"/>
              <a:gd name="connsiteX590" fmla="*/ 6516292 w 7467600"/>
              <a:gd name="connsiteY590" fmla="*/ 1263064 h 6858000"/>
              <a:gd name="connsiteX591" fmla="*/ 291466 w 7467600"/>
              <a:gd name="connsiteY591" fmla="*/ 1250369 h 6858000"/>
              <a:gd name="connsiteX592" fmla="*/ 323180 w 7467600"/>
              <a:gd name="connsiteY592" fmla="*/ 1435283 h 6858000"/>
              <a:gd name="connsiteX593" fmla="*/ 349381 w 7467600"/>
              <a:gd name="connsiteY593" fmla="*/ 1875041 h 6858000"/>
              <a:gd name="connsiteX594" fmla="*/ 374363 w 7467600"/>
              <a:gd name="connsiteY594" fmla="*/ 1506494 h 6858000"/>
              <a:gd name="connsiteX595" fmla="*/ 302168 w 7467600"/>
              <a:gd name="connsiteY595" fmla="*/ 1274495 h 6858000"/>
              <a:gd name="connsiteX596" fmla="*/ 291466 w 7467600"/>
              <a:gd name="connsiteY596" fmla="*/ 1250369 h 6858000"/>
              <a:gd name="connsiteX597" fmla="*/ 678222 w 7467600"/>
              <a:gd name="connsiteY597" fmla="*/ 1248670 h 6858000"/>
              <a:gd name="connsiteX598" fmla="*/ 775536 w 7467600"/>
              <a:gd name="connsiteY598" fmla="*/ 1388015 h 6858000"/>
              <a:gd name="connsiteX599" fmla="*/ 894529 w 7467600"/>
              <a:gd name="connsiteY599" fmla="*/ 1567739 h 6858000"/>
              <a:gd name="connsiteX600" fmla="*/ 948000 w 7467600"/>
              <a:gd name="connsiteY600" fmla="*/ 1663088 h 6858000"/>
              <a:gd name="connsiteX601" fmla="*/ 1006812 w 7467600"/>
              <a:gd name="connsiteY601" fmla="*/ 1767683 h 6858000"/>
              <a:gd name="connsiteX602" fmla="*/ 1149133 w 7467600"/>
              <a:gd name="connsiteY602" fmla="*/ 1971513 h 6858000"/>
              <a:gd name="connsiteX603" fmla="*/ 1333952 w 7467600"/>
              <a:gd name="connsiteY603" fmla="*/ 2251620 h 6858000"/>
              <a:gd name="connsiteX604" fmla="*/ 1337329 w 7467600"/>
              <a:gd name="connsiteY604" fmla="*/ 2258350 h 6858000"/>
              <a:gd name="connsiteX605" fmla="*/ 1014726 w 7467600"/>
              <a:gd name="connsiteY605" fmla="*/ 1615556 h 6858000"/>
              <a:gd name="connsiteX606" fmla="*/ 678222 w 7467600"/>
              <a:gd name="connsiteY606" fmla="*/ 1248670 h 6858000"/>
              <a:gd name="connsiteX607" fmla="*/ 6691602 w 7467600"/>
              <a:gd name="connsiteY607" fmla="*/ 1140573 h 6858000"/>
              <a:gd name="connsiteX608" fmla="*/ 6571100 w 7467600"/>
              <a:gd name="connsiteY608" fmla="*/ 1183662 h 6858000"/>
              <a:gd name="connsiteX609" fmla="*/ 6241687 w 7467600"/>
              <a:gd name="connsiteY609" fmla="*/ 1257600 h 6858000"/>
              <a:gd name="connsiteX610" fmla="*/ 5693009 w 7467600"/>
              <a:gd name="connsiteY610" fmla="*/ 1478256 h 6858000"/>
              <a:gd name="connsiteX611" fmla="*/ 6548420 w 7467600"/>
              <a:gd name="connsiteY611" fmla="*/ 1214599 h 6858000"/>
              <a:gd name="connsiteX612" fmla="*/ 6605473 w 7467600"/>
              <a:gd name="connsiteY612" fmla="*/ 1184686 h 6858000"/>
              <a:gd name="connsiteX613" fmla="*/ 6691602 w 7467600"/>
              <a:gd name="connsiteY613" fmla="*/ 1140573 h 6858000"/>
              <a:gd name="connsiteX614" fmla="*/ 4002475 w 7467600"/>
              <a:gd name="connsiteY614" fmla="*/ 1037802 h 6858000"/>
              <a:gd name="connsiteX615" fmla="*/ 4000324 w 7467600"/>
              <a:gd name="connsiteY615" fmla="*/ 1039362 h 6858000"/>
              <a:gd name="connsiteX616" fmla="*/ 4002862 w 7467600"/>
              <a:gd name="connsiteY616" fmla="*/ 1042866 h 6858000"/>
              <a:gd name="connsiteX617" fmla="*/ 4002475 w 7467600"/>
              <a:gd name="connsiteY617" fmla="*/ 1037802 h 6858000"/>
              <a:gd name="connsiteX618" fmla="*/ 506322 w 7467600"/>
              <a:gd name="connsiteY618" fmla="*/ 1020997 h 6858000"/>
              <a:gd name="connsiteX619" fmla="*/ 533068 w 7467600"/>
              <a:gd name="connsiteY619" fmla="*/ 1029409 h 6858000"/>
              <a:gd name="connsiteX620" fmla="*/ 1232525 w 7467600"/>
              <a:gd name="connsiteY620" fmla="*/ 1804675 h 6858000"/>
              <a:gd name="connsiteX621" fmla="*/ 1388858 w 7467600"/>
              <a:gd name="connsiteY621" fmla="*/ 2368011 h 6858000"/>
              <a:gd name="connsiteX622" fmla="*/ 1384098 w 7467600"/>
              <a:gd name="connsiteY622" fmla="*/ 2378125 h 6858000"/>
              <a:gd name="connsiteX623" fmla="*/ 1425393 w 7467600"/>
              <a:gd name="connsiteY623" fmla="*/ 2589124 h 6858000"/>
              <a:gd name="connsiteX624" fmla="*/ 1424001 w 7467600"/>
              <a:gd name="connsiteY624" fmla="*/ 2597541 h 6858000"/>
              <a:gd name="connsiteX625" fmla="*/ 2152729 w 7467600"/>
              <a:gd name="connsiteY625" fmla="*/ 2864487 h 6858000"/>
              <a:gd name="connsiteX626" fmla="*/ 2020609 w 7467600"/>
              <a:gd name="connsiteY626" fmla="*/ 2539671 h 6858000"/>
              <a:gd name="connsiteX627" fmla="*/ 2018920 w 7467600"/>
              <a:gd name="connsiteY627" fmla="*/ 2536309 h 6858000"/>
              <a:gd name="connsiteX628" fmla="*/ 1342441 w 7467600"/>
              <a:gd name="connsiteY628" fmla="*/ 1173017 h 6858000"/>
              <a:gd name="connsiteX629" fmla="*/ 1367925 w 7467600"/>
              <a:gd name="connsiteY629" fmla="*/ 1135648 h 6858000"/>
              <a:gd name="connsiteX630" fmla="*/ 1771401 w 7467600"/>
              <a:gd name="connsiteY630" fmla="*/ 1806673 h 6858000"/>
              <a:gd name="connsiteX631" fmla="*/ 1972385 w 7467600"/>
              <a:gd name="connsiteY631" fmla="*/ 2198735 h 6858000"/>
              <a:gd name="connsiteX632" fmla="*/ 2040892 w 7467600"/>
              <a:gd name="connsiteY632" fmla="*/ 2405205 h 6858000"/>
              <a:gd name="connsiteX633" fmla="*/ 2131689 w 7467600"/>
              <a:gd name="connsiteY633" fmla="*/ 1936926 h 6858000"/>
              <a:gd name="connsiteX634" fmla="*/ 2454820 w 7467600"/>
              <a:gd name="connsiteY634" fmla="*/ 1248808 h 6858000"/>
              <a:gd name="connsiteX635" fmla="*/ 2492512 w 7467600"/>
              <a:gd name="connsiteY635" fmla="*/ 1302920 h 6858000"/>
              <a:gd name="connsiteX636" fmla="*/ 2081216 w 7467600"/>
              <a:gd name="connsiteY636" fmla="*/ 2527513 h 6858000"/>
              <a:gd name="connsiteX637" fmla="*/ 2081211 w 7467600"/>
              <a:gd name="connsiteY637" fmla="*/ 2528916 h 6858000"/>
              <a:gd name="connsiteX638" fmla="*/ 2199067 w 7467600"/>
              <a:gd name="connsiteY638" fmla="*/ 2884061 h 6858000"/>
              <a:gd name="connsiteX639" fmla="*/ 3192586 w 7467600"/>
              <a:gd name="connsiteY639" fmla="*/ 3411496 h 6858000"/>
              <a:gd name="connsiteX640" fmla="*/ 3182620 w 7467600"/>
              <a:gd name="connsiteY640" fmla="*/ 3483279 h 6858000"/>
              <a:gd name="connsiteX641" fmla="*/ 2435119 w 7467600"/>
              <a:gd name="connsiteY641" fmla="*/ 3080173 h 6858000"/>
              <a:gd name="connsiteX642" fmla="*/ 2410152 w 7467600"/>
              <a:gd name="connsiteY642" fmla="*/ 3063751 h 6858000"/>
              <a:gd name="connsiteX643" fmla="*/ 2408099 w 7467600"/>
              <a:gd name="connsiteY643" fmla="*/ 3064403 h 6858000"/>
              <a:gd name="connsiteX644" fmla="*/ 2407218 w 7467600"/>
              <a:gd name="connsiteY644" fmla="*/ 3070324 h 6858000"/>
              <a:gd name="connsiteX645" fmla="*/ 2380138 w 7467600"/>
              <a:gd name="connsiteY645" fmla="*/ 3099341 h 6858000"/>
              <a:gd name="connsiteX646" fmla="*/ 1765923 w 7467600"/>
              <a:gd name="connsiteY646" fmla="*/ 3581043 h 6858000"/>
              <a:gd name="connsiteX647" fmla="*/ 1702258 w 7467600"/>
              <a:gd name="connsiteY647" fmla="*/ 3612286 h 6858000"/>
              <a:gd name="connsiteX648" fmla="*/ 1538370 w 7467600"/>
              <a:gd name="connsiteY648" fmla="*/ 3811804 h 6858000"/>
              <a:gd name="connsiteX649" fmla="*/ 542867 w 7467600"/>
              <a:gd name="connsiteY649" fmla="*/ 4944092 h 6858000"/>
              <a:gd name="connsiteX650" fmla="*/ 515800 w 7467600"/>
              <a:gd name="connsiteY650" fmla="*/ 4862180 h 6858000"/>
              <a:gd name="connsiteX651" fmla="*/ 909145 w 7467600"/>
              <a:gd name="connsiteY651" fmla="*/ 4199225 h 6858000"/>
              <a:gd name="connsiteX652" fmla="*/ 1214067 w 7467600"/>
              <a:gd name="connsiteY652" fmla="*/ 3908561 h 6858000"/>
              <a:gd name="connsiteX653" fmla="*/ 640967 w 7467600"/>
              <a:gd name="connsiteY653" fmla="*/ 4105601 h 6858000"/>
              <a:gd name="connsiteX654" fmla="*/ 112563 w 7467600"/>
              <a:gd name="connsiteY654" fmla="*/ 4396952 h 6858000"/>
              <a:gd name="connsiteX655" fmla="*/ 0 w 7467600"/>
              <a:gd name="connsiteY655" fmla="*/ 4466006 h 6858000"/>
              <a:gd name="connsiteX656" fmla="*/ 0 w 7467600"/>
              <a:gd name="connsiteY656" fmla="*/ 4233763 h 6858000"/>
              <a:gd name="connsiteX657" fmla="*/ 36881 w 7467600"/>
              <a:gd name="connsiteY657" fmla="*/ 4200118 h 6858000"/>
              <a:gd name="connsiteX658" fmla="*/ 910534 w 7467600"/>
              <a:gd name="connsiteY658" fmla="*/ 3629753 h 6858000"/>
              <a:gd name="connsiteX659" fmla="*/ 1578717 w 7467600"/>
              <a:gd name="connsiteY659" fmla="*/ 3575982 h 6858000"/>
              <a:gd name="connsiteX660" fmla="*/ 2338780 w 7467600"/>
              <a:gd name="connsiteY660" fmla="*/ 3033725 h 6858000"/>
              <a:gd name="connsiteX661" fmla="*/ 1807991 w 7467600"/>
              <a:gd name="connsiteY661" fmla="*/ 2807184 h 6858000"/>
              <a:gd name="connsiteX662" fmla="*/ 1416358 w 7467600"/>
              <a:gd name="connsiteY662" fmla="*/ 3112571 h 6858000"/>
              <a:gd name="connsiteX663" fmla="*/ 939066 w 7467600"/>
              <a:gd name="connsiteY663" fmla="*/ 3378798 h 6858000"/>
              <a:gd name="connsiteX664" fmla="*/ 115099 w 7467600"/>
              <a:gd name="connsiteY664" fmla="*/ 3607650 h 6858000"/>
              <a:gd name="connsiteX665" fmla="*/ 97284 w 7467600"/>
              <a:gd name="connsiteY665" fmla="*/ 3520393 h 6858000"/>
              <a:gd name="connsiteX666" fmla="*/ 922050 w 7467600"/>
              <a:gd name="connsiteY666" fmla="*/ 3074867 h 6858000"/>
              <a:gd name="connsiteX667" fmla="*/ 1405265 w 7467600"/>
              <a:gd name="connsiteY667" fmla="*/ 3016319 h 6858000"/>
              <a:gd name="connsiteX668" fmla="*/ 1407512 w 7467600"/>
              <a:gd name="connsiteY668" fmla="*/ 3018001 h 6858000"/>
              <a:gd name="connsiteX669" fmla="*/ 1726266 w 7467600"/>
              <a:gd name="connsiteY669" fmla="*/ 2777274 h 6858000"/>
              <a:gd name="connsiteX670" fmla="*/ 625390 w 7467600"/>
              <a:gd name="connsiteY670" fmla="*/ 2514541 h 6858000"/>
              <a:gd name="connsiteX671" fmla="*/ 619799 w 7467600"/>
              <a:gd name="connsiteY671" fmla="*/ 2527180 h 6858000"/>
              <a:gd name="connsiteX672" fmla="*/ 310030 w 7467600"/>
              <a:gd name="connsiteY672" fmla="*/ 2771818 h 6858000"/>
              <a:gd name="connsiteX673" fmla="*/ 173877 w 7467600"/>
              <a:gd name="connsiteY673" fmla="*/ 2937056 h 6858000"/>
              <a:gd name="connsiteX674" fmla="*/ 77889 w 7467600"/>
              <a:gd name="connsiteY674" fmla="*/ 3138440 h 6858000"/>
              <a:gd name="connsiteX675" fmla="*/ 0 w 7467600"/>
              <a:gd name="connsiteY675" fmla="*/ 3271395 h 6858000"/>
              <a:gd name="connsiteX676" fmla="*/ 0 w 7467600"/>
              <a:gd name="connsiteY676" fmla="*/ 3153002 h 6858000"/>
              <a:gd name="connsiteX677" fmla="*/ 2386 w 7467600"/>
              <a:gd name="connsiteY677" fmla="*/ 3149203 h 6858000"/>
              <a:gd name="connsiteX678" fmla="*/ 89753 w 7467600"/>
              <a:gd name="connsiteY678" fmla="*/ 2987702 h 6858000"/>
              <a:gd name="connsiteX679" fmla="*/ 76869 w 7467600"/>
              <a:gd name="connsiteY679" fmla="*/ 3005404 h 6858000"/>
              <a:gd name="connsiteX680" fmla="*/ 32049 w 7467600"/>
              <a:gd name="connsiteY680" fmla="*/ 3065814 h 6858000"/>
              <a:gd name="connsiteX681" fmla="*/ 0 w 7467600"/>
              <a:gd name="connsiteY681" fmla="*/ 3108744 h 6858000"/>
              <a:gd name="connsiteX682" fmla="*/ 0 w 7467600"/>
              <a:gd name="connsiteY682" fmla="*/ 3058059 h 6858000"/>
              <a:gd name="connsiteX683" fmla="*/ 7610 w 7467600"/>
              <a:gd name="connsiteY683" fmla="*/ 3047889 h 6858000"/>
              <a:gd name="connsiteX684" fmla="*/ 52419 w 7467600"/>
              <a:gd name="connsiteY684" fmla="*/ 2987479 h 6858000"/>
              <a:gd name="connsiteX685" fmla="*/ 59142 w 7467600"/>
              <a:gd name="connsiteY685" fmla="*/ 2978488 h 6858000"/>
              <a:gd name="connsiteX686" fmla="*/ 0 w 7467600"/>
              <a:gd name="connsiteY686" fmla="*/ 3015334 h 6858000"/>
              <a:gd name="connsiteX687" fmla="*/ 0 w 7467600"/>
              <a:gd name="connsiteY687" fmla="*/ 2914286 h 6858000"/>
              <a:gd name="connsiteX688" fmla="*/ 36383 w 7467600"/>
              <a:gd name="connsiteY688" fmla="*/ 2901128 h 6858000"/>
              <a:gd name="connsiteX689" fmla="*/ 156329 w 7467600"/>
              <a:gd name="connsiteY689" fmla="*/ 2840533 h 6858000"/>
              <a:gd name="connsiteX690" fmla="*/ 358355 w 7467600"/>
              <a:gd name="connsiteY690" fmla="*/ 2620471 h 6858000"/>
              <a:gd name="connsiteX691" fmla="*/ 510577 w 7467600"/>
              <a:gd name="connsiteY691" fmla="*/ 2501244 h 6858000"/>
              <a:gd name="connsiteX692" fmla="*/ 211967 w 7467600"/>
              <a:gd name="connsiteY692" fmla="*/ 2479171 h 6858000"/>
              <a:gd name="connsiteX693" fmla="*/ 0 w 7467600"/>
              <a:gd name="connsiteY693" fmla="*/ 2476398 h 6858000"/>
              <a:gd name="connsiteX694" fmla="*/ 0 w 7467600"/>
              <a:gd name="connsiteY694" fmla="*/ 2389189 h 6858000"/>
              <a:gd name="connsiteX695" fmla="*/ 103062 w 7467600"/>
              <a:gd name="connsiteY695" fmla="*/ 2389518 h 6858000"/>
              <a:gd name="connsiteX696" fmla="*/ 510734 w 7467600"/>
              <a:gd name="connsiteY696" fmla="*/ 2416201 h 6858000"/>
              <a:gd name="connsiteX697" fmla="*/ 279257 w 7467600"/>
              <a:gd name="connsiteY697" fmla="*/ 2092102 h 6858000"/>
              <a:gd name="connsiteX698" fmla="*/ 65265 w 7467600"/>
              <a:gd name="connsiteY698" fmla="*/ 2006049 h 6858000"/>
              <a:gd name="connsiteX699" fmla="*/ 0 w 7467600"/>
              <a:gd name="connsiteY699" fmla="*/ 1982532 h 6858000"/>
              <a:gd name="connsiteX700" fmla="*/ 0 w 7467600"/>
              <a:gd name="connsiteY700" fmla="*/ 1912789 h 6858000"/>
              <a:gd name="connsiteX701" fmla="*/ 97460 w 7467600"/>
              <a:gd name="connsiteY701" fmla="*/ 1953725 h 6858000"/>
              <a:gd name="connsiteX702" fmla="*/ 221272 w 7467600"/>
              <a:gd name="connsiteY702" fmla="*/ 1980766 h 6858000"/>
              <a:gd name="connsiteX703" fmla="*/ 116765 w 7467600"/>
              <a:gd name="connsiteY703" fmla="*/ 1911033 h 6858000"/>
              <a:gd name="connsiteX704" fmla="*/ 16405 w 7467600"/>
              <a:gd name="connsiteY704" fmla="*/ 1803412 h 6858000"/>
              <a:gd name="connsiteX705" fmla="*/ 0 w 7467600"/>
              <a:gd name="connsiteY705" fmla="*/ 1784777 h 6858000"/>
              <a:gd name="connsiteX706" fmla="*/ 0 w 7467600"/>
              <a:gd name="connsiteY706" fmla="*/ 1740082 h 6858000"/>
              <a:gd name="connsiteX707" fmla="*/ 39394 w 7467600"/>
              <a:gd name="connsiteY707" fmla="*/ 1784856 h 6858000"/>
              <a:gd name="connsiteX708" fmla="*/ 135813 w 7467600"/>
              <a:gd name="connsiteY708" fmla="*/ 1888838 h 6858000"/>
              <a:gd name="connsiteX709" fmla="*/ 242575 w 7467600"/>
              <a:gd name="connsiteY709" fmla="*/ 1958841 h 6858000"/>
              <a:gd name="connsiteX710" fmla="*/ 82197 w 7467600"/>
              <a:gd name="connsiteY710" fmla="*/ 1754826 h 6858000"/>
              <a:gd name="connsiteX711" fmla="*/ 0 w 7467600"/>
              <a:gd name="connsiteY711" fmla="*/ 1679650 h 6858000"/>
              <a:gd name="connsiteX712" fmla="*/ 0 w 7467600"/>
              <a:gd name="connsiteY712" fmla="*/ 1602463 h 6858000"/>
              <a:gd name="connsiteX713" fmla="*/ 84689 w 7467600"/>
              <a:gd name="connsiteY713" fmla="*/ 1677442 h 6858000"/>
              <a:gd name="connsiteX714" fmla="*/ 298437 w 7467600"/>
              <a:gd name="connsiteY714" fmla="*/ 1968019 h 6858000"/>
              <a:gd name="connsiteX715" fmla="*/ 227269 w 7467600"/>
              <a:gd name="connsiteY715" fmla="*/ 1114064 h 6858000"/>
              <a:gd name="connsiteX716" fmla="*/ 248003 w 7467600"/>
              <a:gd name="connsiteY716" fmla="*/ 1089613 h 6858000"/>
              <a:gd name="connsiteX717" fmla="*/ 427020 w 7467600"/>
              <a:gd name="connsiteY717" fmla="*/ 1619803 h 6858000"/>
              <a:gd name="connsiteX718" fmla="*/ 340345 w 7467600"/>
              <a:gd name="connsiteY718" fmla="*/ 2027739 h 6858000"/>
              <a:gd name="connsiteX719" fmla="*/ 360865 w 7467600"/>
              <a:gd name="connsiteY719" fmla="*/ 2044827 h 6858000"/>
              <a:gd name="connsiteX720" fmla="*/ 560414 w 7467600"/>
              <a:gd name="connsiteY720" fmla="*/ 2421457 h 6858000"/>
              <a:gd name="connsiteX721" fmla="*/ 1359703 w 7467600"/>
              <a:gd name="connsiteY721" fmla="*/ 2578554 h 6858000"/>
              <a:gd name="connsiteX722" fmla="*/ 1359422 w 7467600"/>
              <a:gd name="connsiteY722" fmla="*/ 2577994 h 6858000"/>
              <a:gd name="connsiteX723" fmla="*/ 828701 w 7467600"/>
              <a:gd name="connsiteY723" fmla="*/ 1839520 h 6858000"/>
              <a:gd name="connsiteX724" fmla="*/ 494427 w 7467600"/>
              <a:gd name="connsiteY724" fmla="*/ 1092333 h 6858000"/>
              <a:gd name="connsiteX725" fmla="*/ 506322 w 7467600"/>
              <a:gd name="connsiteY725" fmla="*/ 1020997 h 6858000"/>
              <a:gd name="connsiteX726" fmla="*/ 4570198 w 7467600"/>
              <a:gd name="connsiteY726" fmla="*/ 978081 h 6858000"/>
              <a:gd name="connsiteX727" fmla="*/ 4523691 w 7467600"/>
              <a:gd name="connsiteY727" fmla="*/ 1127776 h 6858000"/>
              <a:gd name="connsiteX728" fmla="*/ 4509875 w 7467600"/>
              <a:gd name="connsiteY728" fmla="*/ 1167552 h 6858000"/>
              <a:gd name="connsiteX729" fmla="*/ 4478168 w 7467600"/>
              <a:gd name="connsiteY729" fmla="*/ 1260735 h 6858000"/>
              <a:gd name="connsiteX730" fmla="*/ 4409309 w 7467600"/>
              <a:gd name="connsiteY730" fmla="*/ 1666996 h 6858000"/>
              <a:gd name="connsiteX731" fmla="*/ 4370031 w 7467600"/>
              <a:gd name="connsiteY731" fmla="*/ 1955666 h 6858000"/>
              <a:gd name="connsiteX732" fmla="*/ 4570198 w 7467600"/>
              <a:gd name="connsiteY732" fmla="*/ 978081 h 6858000"/>
              <a:gd name="connsiteX733" fmla="*/ 4557898 w 7467600"/>
              <a:gd name="connsiteY733" fmla="*/ 900011 h 6858000"/>
              <a:gd name="connsiteX734" fmla="*/ 4344840 w 7467600"/>
              <a:gd name="connsiteY734" fmla="*/ 1922038 h 6858000"/>
              <a:gd name="connsiteX735" fmla="*/ 4378710 w 7467600"/>
              <a:gd name="connsiteY735" fmla="*/ 1665516 h 6858000"/>
              <a:gd name="connsiteX736" fmla="*/ 4448798 w 7467600"/>
              <a:gd name="connsiteY736" fmla="*/ 1253024 h 6858000"/>
              <a:gd name="connsiteX737" fmla="*/ 4480315 w 7467600"/>
              <a:gd name="connsiteY737" fmla="*/ 1158454 h 6858000"/>
              <a:gd name="connsiteX738" fmla="*/ 4494133 w 7467600"/>
              <a:gd name="connsiteY738" fmla="*/ 1118676 h 6858000"/>
              <a:gd name="connsiteX739" fmla="*/ 4557898 w 7467600"/>
              <a:gd name="connsiteY739" fmla="*/ 900011 h 6858000"/>
              <a:gd name="connsiteX740" fmla="*/ 5870151 w 7467600"/>
              <a:gd name="connsiteY740" fmla="*/ 898890 h 6858000"/>
              <a:gd name="connsiteX741" fmla="*/ 5861335 w 7467600"/>
              <a:gd name="connsiteY741" fmla="*/ 899177 h 6858000"/>
              <a:gd name="connsiteX742" fmla="*/ 5843702 w 7467600"/>
              <a:gd name="connsiteY742" fmla="*/ 899748 h 6858000"/>
              <a:gd name="connsiteX743" fmla="*/ 5651107 w 7467600"/>
              <a:gd name="connsiteY743" fmla="*/ 920306 h 6858000"/>
              <a:gd name="connsiteX744" fmla="*/ 5459407 w 7467600"/>
              <a:gd name="connsiteY744" fmla="*/ 940975 h 6858000"/>
              <a:gd name="connsiteX745" fmla="*/ 5374846 w 7467600"/>
              <a:gd name="connsiteY745" fmla="*/ 941988 h 6858000"/>
              <a:gd name="connsiteX746" fmla="*/ 5256105 w 7467600"/>
              <a:gd name="connsiteY746" fmla="*/ 945632 h 6858000"/>
              <a:gd name="connsiteX747" fmla="*/ 5107071 w 7467600"/>
              <a:gd name="connsiteY747" fmla="*/ 969720 h 6858000"/>
              <a:gd name="connsiteX748" fmla="*/ 4998681 w 7467600"/>
              <a:gd name="connsiteY748" fmla="*/ 988771 h 6858000"/>
              <a:gd name="connsiteX749" fmla="*/ 5870151 w 7467600"/>
              <a:gd name="connsiteY749" fmla="*/ 898890 h 6858000"/>
              <a:gd name="connsiteX750" fmla="*/ 5504425 w 7467600"/>
              <a:gd name="connsiteY750" fmla="*/ 848067 h 6858000"/>
              <a:gd name="connsiteX751" fmla="*/ 4968849 w 7467600"/>
              <a:gd name="connsiteY751" fmla="*/ 962318 h 6858000"/>
              <a:gd name="connsiteX752" fmla="*/ 5104039 w 7467600"/>
              <a:gd name="connsiteY752" fmla="*/ 940634 h 6858000"/>
              <a:gd name="connsiteX753" fmla="*/ 5256311 w 7467600"/>
              <a:gd name="connsiteY753" fmla="*/ 916490 h 6858000"/>
              <a:gd name="connsiteX754" fmla="*/ 5377381 w 7467600"/>
              <a:gd name="connsiteY754" fmla="*/ 912671 h 6858000"/>
              <a:gd name="connsiteX755" fmla="*/ 5460148 w 7467600"/>
              <a:gd name="connsiteY755" fmla="*/ 911442 h 6858000"/>
              <a:gd name="connsiteX756" fmla="*/ 5648971 w 7467600"/>
              <a:gd name="connsiteY756" fmla="*/ 891331 h 6858000"/>
              <a:gd name="connsiteX757" fmla="*/ 5844807 w 7467600"/>
              <a:gd name="connsiteY757" fmla="*/ 870718 h 6858000"/>
              <a:gd name="connsiteX758" fmla="*/ 5862975 w 7467600"/>
              <a:gd name="connsiteY758" fmla="*/ 869756 h 6858000"/>
              <a:gd name="connsiteX759" fmla="*/ 5920887 w 7467600"/>
              <a:gd name="connsiteY759" fmla="*/ 865929 h 6858000"/>
              <a:gd name="connsiteX760" fmla="*/ 5504425 w 7467600"/>
              <a:gd name="connsiteY760" fmla="*/ 848067 h 6858000"/>
              <a:gd name="connsiteX761" fmla="*/ 3607114 w 7467600"/>
              <a:gd name="connsiteY761" fmla="*/ 467441 h 6858000"/>
              <a:gd name="connsiteX762" fmla="*/ 3296242 w 7467600"/>
              <a:gd name="connsiteY762" fmla="*/ 807991 h 6858000"/>
              <a:gd name="connsiteX763" fmla="*/ 3174674 w 7467600"/>
              <a:gd name="connsiteY763" fmla="*/ 919759 h 6858000"/>
              <a:gd name="connsiteX764" fmla="*/ 3042978 w 7467600"/>
              <a:gd name="connsiteY764" fmla="*/ 1054894 h 6858000"/>
              <a:gd name="connsiteX765" fmla="*/ 2968914 w 7467600"/>
              <a:gd name="connsiteY765" fmla="*/ 1133756 h 6858000"/>
              <a:gd name="connsiteX766" fmla="*/ 3103823 w 7467600"/>
              <a:gd name="connsiteY766" fmla="*/ 1026814 h 6858000"/>
              <a:gd name="connsiteX767" fmla="*/ 3607114 w 7467600"/>
              <a:gd name="connsiteY767" fmla="*/ 467441 h 6858000"/>
              <a:gd name="connsiteX768" fmla="*/ 3744487 w 7467600"/>
              <a:gd name="connsiteY768" fmla="*/ 383136 h 6858000"/>
              <a:gd name="connsiteX769" fmla="*/ 3970213 w 7467600"/>
              <a:gd name="connsiteY769" fmla="*/ 995559 h 6858000"/>
              <a:gd name="connsiteX770" fmla="*/ 3744487 w 7467600"/>
              <a:gd name="connsiteY770" fmla="*/ 383136 h 6858000"/>
              <a:gd name="connsiteX771" fmla="*/ 3624562 w 7467600"/>
              <a:gd name="connsiteY771" fmla="*/ 367041 h 6858000"/>
              <a:gd name="connsiteX772" fmla="*/ 3489712 w 7467600"/>
              <a:gd name="connsiteY772" fmla="*/ 485386 h 6858000"/>
              <a:gd name="connsiteX773" fmla="*/ 3182994 w 7467600"/>
              <a:gd name="connsiteY773" fmla="*/ 828265 h 6858000"/>
              <a:gd name="connsiteX774" fmla="*/ 2892114 w 7467600"/>
              <a:gd name="connsiteY774" fmla="*/ 1172635 h 6858000"/>
              <a:gd name="connsiteX775" fmla="*/ 3021459 w 7467600"/>
              <a:gd name="connsiteY775" fmla="*/ 1035385 h 6858000"/>
              <a:gd name="connsiteX776" fmla="*/ 3153873 w 7467600"/>
              <a:gd name="connsiteY776" fmla="*/ 898971 h 6858000"/>
              <a:gd name="connsiteX777" fmla="*/ 3276511 w 7467600"/>
              <a:gd name="connsiteY777" fmla="*/ 786423 h 6858000"/>
              <a:gd name="connsiteX778" fmla="*/ 3584154 w 7467600"/>
              <a:gd name="connsiteY778" fmla="*/ 448218 h 6858000"/>
              <a:gd name="connsiteX779" fmla="*/ 3624562 w 7467600"/>
              <a:gd name="connsiteY779" fmla="*/ 367041 h 6858000"/>
              <a:gd name="connsiteX780" fmla="*/ 3766672 w 7467600"/>
              <a:gd name="connsiteY780" fmla="*/ 359429 h 6858000"/>
              <a:gd name="connsiteX781" fmla="*/ 3996338 w 7467600"/>
              <a:gd name="connsiteY781" fmla="*/ 968237 h 6858000"/>
              <a:gd name="connsiteX782" fmla="*/ 3766672 w 7467600"/>
              <a:gd name="connsiteY782" fmla="*/ 359429 h 6858000"/>
              <a:gd name="connsiteX783" fmla="*/ 5805386 w 7467600"/>
              <a:gd name="connsiteY783" fmla="*/ 239240 h 6858000"/>
              <a:gd name="connsiteX784" fmla="*/ 5736947 w 7467600"/>
              <a:gd name="connsiteY784" fmla="*/ 261367 h 6858000"/>
              <a:gd name="connsiteX785" fmla="*/ 5427012 w 7467600"/>
              <a:gd name="connsiteY785" fmla="*/ 311272 h 6858000"/>
              <a:gd name="connsiteX786" fmla="*/ 5147818 w 7467600"/>
              <a:gd name="connsiteY786" fmla="*/ 322112 h 6858000"/>
              <a:gd name="connsiteX787" fmla="*/ 5060854 w 7467600"/>
              <a:gd name="connsiteY787" fmla="*/ 311882 h 6858000"/>
              <a:gd name="connsiteX788" fmla="*/ 4945989 w 7467600"/>
              <a:gd name="connsiteY788" fmla="*/ 300516 h 6858000"/>
              <a:gd name="connsiteX789" fmla="*/ 5410479 w 7467600"/>
              <a:gd name="connsiteY789" fmla="*/ 348434 h 6858000"/>
              <a:gd name="connsiteX790" fmla="*/ 5805386 w 7467600"/>
              <a:gd name="connsiteY790" fmla="*/ 239240 h 6858000"/>
              <a:gd name="connsiteX791" fmla="*/ 5905192 w 7467600"/>
              <a:gd name="connsiteY791" fmla="*/ 163079 h 6858000"/>
              <a:gd name="connsiteX792" fmla="*/ 5865655 w 7467600"/>
              <a:gd name="connsiteY792" fmla="*/ 171901 h 6858000"/>
              <a:gd name="connsiteX793" fmla="*/ 5259740 w 7467600"/>
              <a:gd name="connsiteY793" fmla="*/ 257013 h 6858000"/>
              <a:gd name="connsiteX794" fmla="*/ 5208466 w 7467600"/>
              <a:gd name="connsiteY794" fmla="*/ 257550 h 6858000"/>
              <a:gd name="connsiteX795" fmla="*/ 4980204 w 7467600"/>
              <a:gd name="connsiteY795" fmla="*/ 271903 h 6858000"/>
              <a:gd name="connsiteX796" fmla="*/ 5068068 w 7467600"/>
              <a:gd name="connsiteY796" fmla="*/ 282244 h 6858000"/>
              <a:gd name="connsiteX797" fmla="*/ 5153231 w 7467600"/>
              <a:gd name="connsiteY797" fmla="*/ 292240 h 6858000"/>
              <a:gd name="connsiteX798" fmla="*/ 5426491 w 7467600"/>
              <a:gd name="connsiteY798" fmla="*/ 281128 h 6858000"/>
              <a:gd name="connsiteX799" fmla="*/ 5731212 w 7467600"/>
              <a:gd name="connsiteY799" fmla="*/ 231951 h 6858000"/>
              <a:gd name="connsiteX800" fmla="*/ 5905192 w 7467600"/>
              <a:gd name="connsiteY800" fmla="*/ 163079 h 6858000"/>
              <a:gd name="connsiteX801" fmla="*/ 5944437 w 7467600"/>
              <a:gd name="connsiteY801" fmla="*/ 113829 h 6858000"/>
              <a:gd name="connsiteX802" fmla="*/ 5825032 w 7467600"/>
              <a:gd name="connsiteY802" fmla="*/ 146405 h 6858000"/>
              <a:gd name="connsiteX803" fmla="*/ 4955599 w 7467600"/>
              <a:gd name="connsiteY803" fmla="*/ 247008 h 6858000"/>
              <a:gd name="connsiteX804" fmla="*/ 5210104 w 7467600"/>
              <a:gd name="connsiteY804" fmla="*/ 228123 h 6858000"/>
              <a:gd name="connsiteX805" fmla="*/ 5261015 w 7467600"/>
              <a:gd name="connsiteY805" fmla="*/ 227087 h 6858000"/>
              <a:gd name="connsiteX806" fmla="*/ 5861181 w 7467600"/>
              <a:gd name="connsiteY806" fmla="*/ 143093 h 6858000"/>
              <a:gd name="connsiteX807" fmla="*/ 5961252 w 7467600"/>
              <a:gd name="connsiteY807" fmla="*/ 114820 h 6858000"/>
              <a:gd name="connsiteX808" fmla="*/ 5944437 w 7467600"/>
              <a:gd name="connsiteY808" fmla="*/ 113829 h 6858000"/>
              <a:gd name="connsiteX809" fmla="*/ 3882765 w 7467600"/>
              <a:gd name="connsiteY809" fmla="*/ 0 h 6858000"/>
              <a:gd name="connsiteX810" fmla="*/ 3995099 w 7467600"/>
              <a:gd name="connsiteY810" fmla="*/ 0 h 6858000"/>
              <a:gd name="connsiteX811" fmla="*/ 4163818 w 7467600"/>
              <a:gd name="connsiteY811" fmla="*/ 234104 h 6858000"/>
              <a:gd name="connsiteX812" fmla="*/ 4172099 w 7467600"/>
              <a:gd name="connsiteY812" fmla="*/ 234207 h 6858000"/>
              <a:gd name="connsiteX813" fmla="*/ 4784282 w 7467600"/>
              <a:gd name="connsiteY813" fmla="*/ 276561 h 6858000"/>
              <a:gd name="connsiteX814" fmla="*/ 4801687 w 7467600"/>
              <a:gd name="connsiteY814" fmla="*/ 267764 h 6858000"/>
              <a:gd name="connsiteX815" fmla="*/ 6082788 w 7467600"/>
              <a:gd name="connsiteY815" fmla="*/ 64119 h 6858000"/>
              <a:gd name="connsiteX816" fmla="*/ 6099442 w 7467600"/>
              <a:gd name="connsiteY816" fmla="*/ 82568 h 6858000"/>
              <a:gd name="connsiteX817" fmla="*/ 4804137 w 7467600"/>
              <a:gd name="connsiteY817" fmla="*/ 320931 h 6858000"/>
              <a:gd name="connsiteX818" fmla="*/ 4227047 w 7467600"/>
              <a:gd name="connsiteY818" fmla="*/ 313415 h 6858000"/>
              <a:gd name="connsiteX819" fmla="*/ 4346041 w 7467600"/>
              <a:gd name="connsiteY819" fmla="*/ 456086 h 6858000"/>
              <a:gd name="connsiteX820" fmla="*/ 4870967 w 7467600"/>
              <a:gd name="connsiteY820" fmla="*/ 963061 h 6858000"/>
              <a:gd name="connsiteX821" fmla="*/ 4889647 w 7467600"/>
              <a:gd name="connsiteY821" fmla="*/ 957147 h 6858000"/>
              <a:gd name="connsiteX822" fmla="*/ 5422504 w 7467600"/>
              <a:gd name="connsiteY822" fmla="*/ 805191 h 6858000"/>
              <a:gd name="connsiteX823" fmla="*/ 6087656 w 7467600"/>
              <a:gd name="connsiteY823" fmla="*/ 826703 h 6858000"/>
              <a:gd name="connsiteX824" fmla="*/ 6058717 w 7467600"/>
              <a:gd name="connsiteY824" fmla="*/ 865992 h 6858000"/>
              <a:gd name="connsiteX825" fmla="*/ 4974153 w 7467600"/>
              <a:gd name="connsiteY825" fmla="*/ 1045456 h 6858000"/>
              <a:gd name="connsiteX826" fmla="*/ 5627835 w 7467600"/>
              <a:gd name="connsiteY826" fmla="*/ 1472077 h 6858000"/>
              <a:gd name="connsiteX827" fmla="*/ 5629817 w 7467600"/>
              <a:gd name="connsiteY827" fmla="*/ 1471412 h 6858000"/>
              <a:gd name="connsiteX828" fmla="*/ 5634124 w 7467600"/>
              <a:gd name="connsiteY828" fmla="*/ 1470572 h 6858000"/>
              <a:gd name="connsiteX829" fmla="*/ 5755832 w 7467600"/>
              <a:gd name="connsiteY829" fmla="*/ 1383886 h 6858000"/>
              <a:gd name="connsiteX830" fmla="*/ 6014186 w 7467600"/>
              <a:gd name="connsiteY830" fmla="*/ 1279799 h 6858000"/>
              <a:gd name="connsiteX831" fmla="*/ 6901619 w 7467600"/>
              <a:gd name="connsiteY831" fmla="*/ 1047874 h 6858000"/>
              <a:gd name="connsiteX832" fmla="*/ 6931566 w 7467600"/>
              <a:gd name="connsiteY832" fmla="*/ 1062034 h 6858000"/>
              <a:gd name="connsiteX833" fmla="*/ 5790982 w 7467600"/>
              <a:gd name="connsiteY833" fmla="*/ 1561380 h 6858000"/>
              <a:gd name="connsiteX834" fmla="*/ 6188971 w 7467600"/>
              <a:gd name="connsiteY834" fmla="*/ 1755168 h 6858000"/>
              <a:gd name="connsiteX835" fmla="*/ 6202446 w 7467600"/>
              <a:gd name="connsiteY835" fmla="*/ 1752268 h 6858000"/>
              <a:gd name="connsiteX836" fmla="*/ 7179560 w 7467600"/>
              <a:gd name="connsiteY836" fmla="*/ 1467551 h 6858000"/>
              <a:gd name="connsiteX837" fmla="*/ 7158730 w 7467600"/>
              <a:gd name="connsiteY837" fmla="*/ 1507835 h 6858000"/>
              <a:gd name="connsiteX838" fmla="*/ 6326959 w 7467600"/>
              <a:gd name="connsiteY838" fmla="*/ 1817686 h 6858000"/>
              <a:gd name="connsiteX839" fmla="*/ 6537433 w 7467600"/>
              <a:gd name="connsiteY839" fmla="*/ 1907790 h 6858000"/>
              <a:gd name="connsiteX840" fmla="*/ 6550221 w 7467600"/>
              <a:gd name="connsiteY840" fmla="*/ 1910729 h 6858000"/>
              <a:gd name="connsiteX841" fmla="*/ 6964438 w 7467600"/>
              <a:gd name="connsiteY841" fmla="*/ 2209505 h 6858000"/>
              <a:gd name="connsiteX842" fmla="*/ 7367862 w 7467600"/>
              <a:gd name="connsiteY842" fmla="*/ 2806833 h 6858000"/>
              <a:gd name="connsiteX843" fmla="*/ 7364329 w 7467600"/>
              <a:gd name="connsiteY843" fmla="*/ 2826907 h 6858000"/>
              <a:gd name="connsiteX844" fmla="*/ 7290545 w 7467600"/>
              <a:gd name="connsiteY844" fmla="*/ 2850663 h 6858000"/>
              <a:gd name="connsiteX845" fmla="*/ 6472036 w 7467600"/>
              <a:gd name="connsiteY845" fmla="*/ 1959003 h 6858000"/>
              <a:gd name="connsiteX846" fmla="*/ 5792897 w 7467600"/>
              <a:gd name="connsiteY846" fmla="*/ 1647747 h 6858000"/>
              <a:gd name="connsiteX847" fmla="*/ 5842751 w 7467600"/>
              <a:gd name="connsiteY847" fmla="*/ 1816112 h 6858000"/>
              <a:gd name="connsiteX848" fmla="*/ 5847424 w 7467600"/>
              <a:gd name="connsiteY848" fmla="*/ 1815776 h 6858000"/>
              <a:gd name="connsiteX849" fmla="*/ 6399821 w 7467600"/>
              <a:gd name="connsiteY849" fmla="*/ 2344799 h 6858000"/>
              <a:gd name="connsiteX850" fmla="*/ 6323232 w 7467600"/>
              <a:gd name="connsiteY850" fmla="*/ 2389634 h 6858000"/>
              <a:gd name="connsiteX851" fmla="*/ 5942958 w 7467600"/>
              <a:gd name="connsiteY851" fmla="*/ 2077708 h 6858000"/>
              <a:gd name="connsiteX852" fmla="*/ 5921559 w 7467600"/>
              <a:gd name="connsiteY852" fmla="*/ 2378596 h 6858000"/>
              <a:gd name="connsiteX853" fmla="*/ 5817651 w 7467600"/>
              <a:gd name="connsiteY853" fmla="*/ 3023919 h 6858000"/>
              <a:gd name="connsiteX854" fmla="*/ 5729634 w 7467600"/>
              <a:gd name="connsiteY854" fmla="*/ 3051849 h 6858000"/>
              <a:gd name="connsiteX855" fmla="*/ 5611018 w 7467600"/>
              <a:gd name="connsiteY855" fmla="*/ 2316769 h 6858000"/>
              <a:gd name="connsiteX856" fmla="*/ 5687608 w 7467600"/>
              <a:gd name="connsiteY856" fmla="*/ 2039972 h 6858000"/>
              <a:gd name="connsiteX857" fmla="*/ 5657554 w 7467600"/>
              <a:gd name="connsiteY857" fmla="*/ 1576445 h 6858000"/>
              <a:gd name="connsiteX858" fmla="*/ 5150475 w 7467600"/>
              <a:gd name="connsiteY858" fmla="*/ 1274012 h 6858000"/>
              <a:gd name="connsiteX859" fmla="*/ 5349142 w 7467600"/>
              <a:gd name="connsiteY859" fmla="*/ 2204405 h 6858000"/>
              <a:gd name="connsiteX860" fmla="*/ 5262214 w 7467600"/>
              <a:gd name="connsiteY860" fmla="*/ 2233836 h 6858000"/>
              <a:gd name="connsiteX861" fmla="*/ 4981539 w 7467600"/>
              <a:gd name="connsiteY861" fmla="*/ 1542201 h 6858000"/>
              <a:gd name="connsiteX862" fmla="*/ 4958461 w 7467600"/>
              <a:gd name="connsiteY862" fmla="*/ 1136957 h 6858000"/>
              <a:gd name="connsiteX863" fmla="*/ 4655015 w 7467600"/>
              <a:gd name="connsiteY863" fmla="*/ 891426 h 6858000"/>
              <a:gd name="connsiteX864" fmla="*/ 4348002 w 7467600"/>
              <a:gd name="connsiteY864" fmla="*/ 2205895 h 6858000"/>
              <a:gd name="connsiteX865" fmla="*/ 4262250 w 7467600"/>
              <a:gd name="connsiteY865" fmla="*/ 2219972 h 6858000"/>
              <a:gd name="connsiteX866" fmla="*/ 4550611 w 7467600"/>
              <a:gd name="connsiteY866" fmla="*/ 817540 h 6858000"/>
              <a:gd name="connsiteX867" fmla="*/ 4564418 w 7467600"/>
              <a:gd name="connsiteY867" fmla="*/ 808293 h 6858000"/>
              <a:gd name="connsiteX868" fmla="*/ 4266388 w 7467600"/>
              <a:gd name="connsiteY868" fmla="*/ 500083 h 6858000"/>
              <a:gd name="connsiteX869" fmla="*/ 4032842 w 7467600"/>
              <a:gd name="connsiteY869" fmla="*/ 211809 h 6858000"/>
              <a:gd name="connsiteX870" fmla="*/ 3882765 w 7467600"/>
              <a:gd name="connsiteY870" fmla="*/ 0 h 6858000"/>
              <a:gd name="connsiteX871" fmla="*/ 3721337 w 7467600"/>
              <a:gd name="connsiteY871" fmla="*/ 0 h 6858000"/>
              <a:gd name="connsiteX872" fmla="*/ 3797544 w 7467600"/>
              <a:gd name="connsiteY872" fmla="*/ 0 h 6858000"/>
              <a:gd name="connsiteX873" fmla="*/ 3775734 w 7467600"/>
              <a:gd name="connsiteY873" fmla="*/ 95131 h 6858000"/>
              <a:gd name="connsiteX874" fmla="*/ 3724807 w 7467600"/>
              <a:gd name="connsiteY874" fmla="*/ 272257 h 6858000"/>
              <a:gd name="connsiteX875" fmla="*/ 3726844 w 7467600"/>
              <a:gd name="connsiteY875" fmla="*/ 282988 h 6858000"/>
              <a:gd name="connsiteX876" fmla="*/ 3742664 w 7467600"/>
              <a:gd name="connsiteY876" fmla="*/ 279918 h 6858000"/>
              <a:gd name="connsiteX877" fmla="*/ 4103910 w 7467600"/>
              <a:gd name="connsiteY877" fmla="*/ 1161917 h 6858000"/>
              <a:gd name="connsiteX878" fmla="*/ 4020269 w 7467600"/>
              <a:gd name="connsiteY878" fmla="*/ 1200406 h 6858000"/>
              <a:gd name="connsiteX879" fmla="*/ 3674882 w 7467600"/>
              <a:gd name="connsiteY879" fmla="*/ 488524 h 6858000"/>
              <a:gd name="connsiteX880" fmla="*/ 3132682 w 7467600"/>
              <a:gd name="connsiteY880" fmla="*/ 1072284 h 6858000"/>
              <a:gd name="connsiteX881" fmla="*/ 2716346 w 7467600"/>
              <a:gd name="connsiteY881" fmla="*/ 1276376 h 6858000"/>
              <a:gd name="connsiteX882" fmla="*/ 2716772 w 7467600"/>
              <a:gd name="connsiteY882" fmla="*/ 1255462 h 6858000"/>
              <a:gd name="connsiteX883" fmla="*/ 3471096 w 7467600"/>
              <a:gd name="connsiteY883" fmla="*/ 437072 h 6858000"/>
              <a:gd name="connsiteX884" fmla="*/ 3639057 w 7467600"/>
              <a:gd name="connsiteY884" fmla="*/ 286334 h 6858000"/>
              <a:gd name="connsiteX885" fmla="*/ 3640309 w 7467600"/>
              <a:gd name="connsiteY885" fmla="*/ 284664 h 6858000"/>
              <a:gd name="connsiteX886" fmla="*/ 3646022 w 7467600"/>
              <a:gd name="connsiteY886" fmla="*/ 276711 h 6858000"/>
              <a:gd name="connsiteX887" fmla="*/ 3707943 w 7467600"/>
              <a:gd name="connsiteY887" fmla="*/ 65958 h 6858000"/>
              <a:gd name="connsiteX888" fmla="*/ 3721337 w 7467600"/>
              <a:gd name="connsiteY888" fmla="*/ 0 h 6858000"/>
              <a:gd name="connsiteX889" fmla="*/ 2867960 w 7467600"/>
              <a:gd name="connsiteY889" fmla="*/ 0 h 6858000"/>
              <a:gd name="connsiteX890" fmla="*/ 2926351 w 7467600"/>
              <a:gd name="connsiteY890" fmla="*/ 0 h 6858000"/>
              <a:gd name="connsiteX891" fmla="*/ 2902823 w 7467600"/>
              <a:gd name="connsiteY891" fmla="*/ 262929 h 6858000"/>
              <a:gd name="connsiteX892" fmla="*/ 2940663 w 7467600"/>
              <a:gd name="connsiteY892" fmla="*/ 140884 h 6858000"/>
              <a:gd name="connsiteX893" fmla="*/ 2947039 w 7467600"/>
              <a:gd name="connsiteY893" fmla="*/ 122524 h 6858000"/>
              <a:gd name="connsiteX894" fmla="*/ 2984316 w 7467600"/>
              <a:gd name="connsiteY894" fmla="*/ 0 h 6858000"/>
              <a:gd name="connsiteX895" fmla="*/ 3016114 w 7467600"/>
              <a:gd name="connsiteY895" fmla="*/ 0 h 6858000"/>
              <a:gd name="connsiteX896" fmla="*/ 2979949 w 7467600"/>
              <a:gd name="connsiteY896" fmla="*/ 119274 h 6858000"/>
              <a:gd name="connsiteX897" fmla="*/ 3023879 w 7467600"/>
              <a:gd name="connsiteY897" fmla="*/ 0 h 6858000"/>
              <a:gd name="connsiteX898" fmla="*/ 3105400 w 7467600"/>
              <a:gd name="connsiteY898" fmla="*/ 0 h 6858000"/>
              <a:gd name="connsiteX899" fmla="*/ 3094669 w 7467600"/>
              <a:gd name="connsiteY899" fmla="*/ 30308 h 6858000"/>
              <a:gd name="connsiteX900" fmla="*/ 2901945 w 7467600"/>
              <a:gd name="connsiteY900" fmla="*/ 466538 h 6858000"/>
              <a:gd name="connsiteX901" fmla="*/ 2815209 w 7467600"/>
              <a:gd name="connsiteY901" fmla="*/ 497361 h 6858000"/>
              <a:gd name="connsiteX902" fmla="*/ 2844845 w 7467600"/>
              <a:gd name="connsiteY902" fmla="*/ 127638 h 6858000"/>
              <a:gd name="connsiteX903" fmla="*/ 2867960 w 7467600"/>
              <a:gd name="connsiteY903" fmla="*/ 0 h 6858000"/>
              <a:gd name="connsiteX904" fmla="*/ 1057230 w 7467600"/>
              <a:gd name="connsiteY904" fmla="*/ 0 h 6858000"/>
              <a:gd name="connsiteX905" fmla="*/ 1111003 w 7467600"/>
              <a:gd name="connsiteY905" fmla="*/ 0 h 6858000"/>
              <a:gd name="connsiteX906" fmla="*/ 1125553 w 7467600"/>
              <a:gd name="connsiteY906" fmla="*/ 52588 h 6858000"/>
              <a:gd name="connsiteX907" fmla="*/ 1304276 w 7467600"/>
              <a:gd name="connsiteY907" fmla="*/ 476275 h 6858000"/>
              <a:gd name="connsiteX908" fmla="*/ 1492066 w 7467600"/>
              <a:gd name="connsiteY908" fmla="*/ 886333 h 6858000"/>
              <a:gd name="connsiteX909" fmla="*/ 1423698 w 7467600"/>
              <a:gd name="connsiteY909" fmla="*/ 710817 h 6858000"/>
              <a:gd name="connsiteX910" fmla="*/ 1357609 w 7467600"/>
              <a:gd name="connsiteY910" fmla="*/ 532892 h 6858000"/>
              <a:gd name="connsiteX911" fmla="*/ 1309550 w 7467600"/>
              <a:gd name="connsiteY911" fmla="*/ 374031 h 6858000"/>
              <a:gd name="connsiteX912" fmla="*/ 1193673 w 7467600"/>
              <a:gd name="connsiteY912" fmla="*/ 49533 h 6858000"/>
              <a:gd name="connsiteX913" fmla="*/ 1164391 w 7467600"/>
              <a:gd name="connsiteY913" fmla="*/ 0 h 6858000"/>
              <a:gd name="connsiteX914" fmla="*/ 1200666 w 7467600"/>
              <a:gd name="connsiteY914" fmla="*/ 0 h 6858000"/>
              <a:gd name="connsiteX915" fmla="*/ 1223408 w 7467600"/>
              <a:gd name="connsiteY915" fmla="*/ 38996 h 6858000"/>
              <a:gd name="connsiteX916" fmla="*/ 1339635 w 7467600"/>
              <a:gd name="connsiteY916" fmla="*/ 365517 h 6858000"/>
              <a:gd name="connsiteX917" fmla="*/ 1387469 w 7467600"/>
              <a:gd name="connsiteY917" fmla="*/ 523079 h 6858000"/>
              <a:gd name="connsiteX918" fmla="*/ 1452685 w 7467600"/>
              <a:gd name="connsiteY918" fmla="*/ 699806 h 6858000"/>
              <a:gd name="connsiteX919" fmla="*/ 1492092 w 7467600"/>
              <a:gd name="connsiteY919" fmla="*/ 800424 h 6858000"/>
              <a:gd name="connsiteX920" fmla="*/ 1455302 w 7467600"/>
              <a:gd name="connsiteY920" fmla="*/ 632913 h 6858000"/>
              <a:gd name="connsiteX921" fmla="*/ 1222336 w 7467600"/>
              <a:gd name="connsiteY921" fmla="*/ 9480 h 6858000"/>
              <a:gd name="connsiteX922" fmla="*/ 1214634 w 7467600"/>
              <a:gd name="connsiteY922" fmla="*/ 0 h 6858000"/>
              <a:gd name="connsiteX923" fmla="*/ 1289827 w 7467600"/>
              <a:gd name="connsiteY923" fmla="*/ 0 h 6858000"/>
              <a:gd name="connsiteX924" fmla="*/ 1321076 w 7467600"/>
              <a:gd name="connsiteY924" fmla="*/ 59722 h 6858000"/>
              <a:gd name="connsiteX925" fmla="*/ 1512579 w 7467600"/>
              <a:gd name="connsiteY925" fmla="*/ 626441 h 6858000"/>
              <a:gd name="connsiteX926" fmla="*/ 1506076 w 7467600"/>
              <a:gd name="connsiteY926" fmla="*/ 1089289 h 6858000"/>
              <a:gd name="connsiteX927" fmla="*/ 1486346 w 7467600"/>
              <a:gd name="connsiteY927" fmla="*/ 1079919 h 6858000"/>
              <a:gd name="connsiteX928" fmla="*/ 1070511 w 7467600"/>
              <a:gd name="connsiteY928" fmla="*/ 48609 h 6858000"/>
              <a:gd name="connsiteX929" fmla="*/ 1057230 w 7467600"/>
              <a:gd name="connsiteY929" fmla="*/ 0 h 6858000"/>
              <a:gd name="connsiteX930" fmla="*/ 43151 w 7467600"/>
              <a:gd name="connsiteY930" fmla="*/ 0 h 6858000"/>
              <a:gd name="connsiteX931" fmla="*/ 95283 w 7467600"/>
              <a:gd name="connsiteY931" fmla="*/ 0 h 6858000"/>
              <a:gd name="connsiteX932" fmla="*/ 300708 w 7467600"/>
              <a:gd name="connsiteY932" fmla="*/ 154571 h 6858000"/>
              <a:gd name="connsiteX933" fmla="*/ 530414 w 7467600"/>
              <a:gd name="connsiteY933" fmla="*/ 354673 h 6858000"/>
              <a:gd name="connsiteX934" fmla="*/ 333785 w 7467600"/>
              <a:gd name="connsiteY934" fmla="*/ 161564 h 6858000"/>
              <a:gd name="connsiteX935" fmla="*/ 147005 w 7467600"/>
              <a:gd name="connsiteY935" fmla="*/ 0 h 6858000"/>
              <a:gd name="connsiteX936" fmla="*/ 272509 w 7467600"/>
              <a:gd name="connsiteY936" fmla="*/ 0 h 6858000"/>
              <a:gd name="connsiteX937" fmla="*/ 326276 w 7467600"/>
              <a:gd name="connsiteY937" fmla="*/ 45847 h 6858000"/>
              <a:gd name="connsiteX938" fmla="*/ 823759 w 7467600"/>
              <a:gd name="connsiteY938" fmla="*/ 574145 h 6858000"/>
              <a:gd name="connsiteX939" fmla="*/ 811254 w 7467600"/>
              <a:gd name="connsiteY939" fmla="*/ 665546 h 6858000"/>
              <a:gd name="connsiteX940" fmla="*/ 154042 w 7467600"/>
              <a:gd name="connsiteY940" fmla="*/ 261522 h 6858000"/>
              <a:gd name="connsiteX941" fmla="*/ 13550 w 7467600"/>
              <a:gd name="connsiteY941" fmla="*/ 158423 h 6858000"/>
              <a:gd name="connsiteX942" fmla="*/ 0 w 7467600"/>
              <a:gd name="connsiteY942" fmla="*/ 146618 h 6858000"/>
              <a:gd name="connsiteX943" fmla="*/ 0 w 7467600"/>
              <a:gd name="connsiteY943" fmla="*/ 59161 h 6858000"/>
              <a:gd name="connsiteX944" fmla="*/ 45427 w 7467600"/>
              <a:gd name="connsiteY944" fmla="*/ 101078 h 6858000"/>
              <a:gd name="connsiteX945" fmla="*/ 630103 w 7467600"/>
              <a:gd name="connsiteY945" fmla="*/ 485885 h 6858000"/>
              <a:gd name="connsiteX946" fmla="*/ 532040 w 7467600"/>
              <a:gd name="connsiteY946" fmla="*/ 399359 h 6858000"/>
              <a:gd name="connsiteX947" fmla="*/ 517618 w 7467600"/>
              <a:gd name="connsiteY947" fmla="*/ 385726 h 6858000"/>
              <a:gd name="connsiteX948" fmla="*/ 285074 w 7467600"/>
              <a:gd name="connsiteY948" fmla="*/ 182755 h 6858000"/>
              <a:gd name="connsiteX949" fmla="*/ 43151 w 7467600"/>
              <a:gd name="connsiteY949"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467600 w 7467600"/>
              <a:gd name="connsiteY4" fmla="*/ 6805948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7467600 w 7467600"/>
              <a:gd name="connsiteY16" fmla="*/ 6805948 h 6858000"/>
              <a:gd name="connsiteX17" fmla="*/ 1019354 w 7467600"/>
              <a:gd name="connsiteY17" fmla="*/ 6315006 h 6858000"/>
              <a:gd name="connsiteX18" fmla="*/ 441046 w 7467600"/>
              <a:gd name="connsiteY18" fmla="*/ 6691153 h 6858000"/>
              <a:gd name="connsiteX19" fmla="*/ 1019354 w 7467600"/>
              <a:gd name="connsiteY19" fmla="*/ 6315006 h 6858000"/>
              <a:gd name="connsiteX20" fmla="*/ 991680 w 7467600"/>
              <a:gd name="connsiteY20" fmla="*/ 6298413 h 6858000"/>
              <a:gd name="connsiteX21" fmla="*/ 409060 w 7467600"/>
              <a:gd name="connsiteY21" fmla="*/ 6671470 h 6858000"/>
              <a:gd name="connsiteX22" fmla="*/ 991680 w 7467600"/>
              <a:gd name="connsiteY22" fmla="*/ 6298413 h 6858000"/>
              <a:gd name="connsiteX23" fmla="*/ 103333 w 7467600"/>
              <a:gd name="connsiteY23" fmla="*/ 5699602 h 6858000"/>
              <a:gd name="connsiteX24" fmla="*/ 233938 w 7467600"/>
              <a:gd name="connsiteY24" fmla="*/ 5809416 h 6858000"/>
              <a:gd name="connsiteX25" fmla="*/ 883580 w 7467600"/>
              <a:gd name="connsiteY25" fmla="*/ 6180710 h 6858000"/>
              <a:gd name="connsiteX26" fmla="*/ 487337 w 7467600"/>
              <a:gd name="connsiteY26" fmla="*/ 5950182 h 6858000"/>
              <a:gd name="connsiteX27" fmla="*/ 354051 w 7467600"/>
              <a:gd name="connsiteY27" fmla="*/ 5854912 h 6858000"/>
              <a:gd name="connsiteX28" fmla="*/ 195436 w 7467600"/>
              <a:gd name="connsiteY28" fmla="*/ 5755068 h 6858000"/>
              <a:gd name="connsiteX29" fmla="*/ 103333 w 7467600"/>
              <a:gd name="connsiteY29" fmla="*/ 5699602 h 6858000"/>
              <a:gd name="connsiteX30" fmla="*/ 5539432 w 7467600"/>
              <a:gd name="connsiteY30" fmla="*/ 5642928 h 6858000"/>
              <a:gd name="connsiteX31" fmla="*/ 5555462 w 7467600"/>
              <a:gd name="connsiteY31" fmla="*/ 5694454 h 6858000"/>
              <a:gd name="connsiteX32" fmla="*/ 5828270 w 7467600"/>
              <a:gd name="connsiteY32" fmla="*/ 6320663 h 6858000"/>
              <a:gd name="connsiteX33" fmla="*/ 5947416 w 7467600"/>
              <a:gd name="connsiteY33" fmla="*/ 6574846 h 6858000"/>
              <a:gd name="connsiteX34" fmla="*/ 5539432 w 7467600"/>
              <a:gd name="connsiteY34" fmla="*/ 5642928 h 6858000"/>
              <a:gd name="connsiteX35" fmla="*/ 51253 w 7467600"/>
              <a:gd name="connsiteY35" fmla="*/ 5631825 h 6858000"/>
              <a:gd name="connsiteX36" fmla="*/ 211622 w 7467600"/>
              <a:gd name="connsiteY36" fmla="*/ 5728803 h 6858000"/>
              <a:gd name="connsiteX37" fmla="*/ 371652 w 7467600"/>
              <a:gd name="connsiteY37" fmla="*/ 5829062 h 6858000"/>
              <a:gd name="connsiteX38" fmla="*/ 505903 w 7467600"/>
              <a:gd name="connsiteY38" fmla="*/ 5925221 h 6858000"/>
              <a:gd name="connsiteX39" fmla="*/ 899240 w 7467600"/>
              <a:gd name="connsiteY39" fmla="*/ 6153068 h 6858000"/>
              <a:gd name="connsiteX40" fmla="*/ 988114 w 7467600"/>
              <a:gd name="connsiteY40" fmla="*/ 6174204 h 6858000"/>
              <a:gd name="connsiteX41" fmla="*/ 845971 w 7467600"/>
              <a:gd name="connsiteY41" fmla="*/ 6067177 h 6858000"/>
              <a:gd name="connsiteX42" fmla="*/ 448057 w 7467600"/>
              <a:gd name="connsiteY42" fmla="*/ 5841376 h 6858000"/>
              <a:gd name="connsiteX43" fmla="*/ 51253 w 7467600"/>
              <a:gd name="connsiteY43" fmla="*/ 5631825 h 6858000"/>
              <a:gd name="connsiteX44" fmla="*/ 2606687 w 7467600"/>
              <a:gd name="connsiteY44" fmla="*/ 5630718 h 6858000"/>
              <a:gd name="connsiteX45" fmla="*/ 2645658 w 7467600"/>
              <a:gd name="connsiteY45" fmla="*/ 6640259 h 6858000"/>
              <a:gd name="connsiteX46" fmla="*/ 2606687 w 7467600"/>
              <a:gd name="connsiteY46" fmla="*/ 5630718 h 6858000"/>
              <a:gd name="connsiteX47" fmla="*/ 3642057 w 7467600"/>
              <a:gd name="connsiteY47" fmla="*/ 5573487 h 6858000"/>
              <a:gd name="connsiteX48" fmla="*/ 3632981 w 7467600"/>
              <a:gd name="connsiteY48" fmla="*/ 5579437 h 6858000"/>
              <a:gd name="connsiteX49" fmla="*/ 3382436 w 7467600"/>
              <a:gd name="connsiteY49" fmla="*/ 5952726 h 6858000"/>
              <a:gd name="connsiteX50" fmla="*/ 3191929 w 7467600"/>
              <a:gd name="connsiteY50" fmla="*/ 6662669 h 6858000"/>
              <a:gd name="connsiteX51" fmla="*/ 3369898 w 7467600"/>
              <a:gd name="connsiteY51" fmla="*/ 6081771 h 6858000"/>
              <a:gd name="connsiteX52" fmla="*/ 3642057 w 7467600"/>
              <a:gd name="connsiteY52" fmla="*/ 5573487 h 6858000"/>
              <a:gd name="connsiteX53" fmla="*/ 2650666 w 7467600"/>
              <a:gd name="connsiteY53" fmla="*/ 5530686 h 6858000"/>
              <a:gd name="connsiteX54" fmla="*/ 2650249 w 7467600"/>
              <a:gd name="connsiteY54" fmla="*/ 5532101 h 6858000"/>
              <a:gd name="connsiteX55" fmla="*/ 2663808 w 7467600"/>
              <a:gd name="connsiteY55" fmla="*/ 6535215 h 6858000"/>
              <a:gd name="connsiteX56" fmla="*/ 2665418 w 7467600"/>
              <a:gd name="connsiteY56" fmla="*/ 6132756 h 6858000"/>
              <a:gd name="connsiteX57" fmla="*/ 2650666 w 7467600"/>
              <a:gd name="connsiteY57" fmla="*/ 5530686 h 6858000"/>
              <a:gd name="connsiteX58" fmla="*/ 2680277 w 7467600"/>
              <a:gd name="connsiteY58" fmla="*/ 5479204 h 6858000"/>
              <a:gd name="connsiteX59" fmla="*/ 2678972 w 7467600"/>
              <a:gd name="connsiteY59" fmla="*/ 5481582 h 6858000"/>
              <a:gd name="connsiteX60" fmla="*/ 2696666 w 7467600"/>
              <a:gd name="connsiteY60" fmla="*/ 6133836 h 6858000"/>
              <a:gd name="connsiteX61" fmla="*/ 2695769 w 7467600"/>
              <a:gd name="connsiteY61" fmla="*/ 6390955 h 6858000"/>
              <a:gd name="connsiteX62" fmla="*/ 2739893 w 7467600"/>
              <a:gd name="connsiteY62" fmla="*/ 6108357 h 6858000"/>
              <a:gd name="connsiteX63" fmla="*/ 2680277 w 7467600"/>
              <a:gd name="connsiteY63" fmla="*/ 5479204 h 6858000"/>
              <a:gd name="connsiteX64" fmla="*/ 1132195 w 7467600"/>
              <a:gd name="connsiteY64" fmla="*/ 5467980 h 6858000"/>
              <a:gd name="connsiteX65" fmla="*/ 1679056 w 7467600"/>
              <a:gd name="connsiteY65" fmla="*/ 5516907 h 6858000"/>
              <a:gd name="connsiteX66" fmla="*/ 2128648 w 7467600"/>
              <a:gd name="connsiteY66" fmla="*/ 5474249 h 6858000"/>
              <a:gd name="connsiteX67" fmla="*/ 1825619 w 7467600"/>
              <a:gd name="connsiteY67" fmla="*/ 5478447 h 6858000"/>
              <a:gd name="connsiteX68" fmla="*/ 1737798 w 7467600"/>
              <a:gd name="connsiteY68" fmla="*/ 5483353 h 6858000"/>
              <a:gd name="connsiteX69" fmla="*/ 1132195 w 7467600"/>
              <a:gd name="connsiteY69" fmla="*/ 5467980 h 6858000"/>
              <a:gd name="connsiteX70" fmla="*/ 1456157 w 7467600"/>
              <a:gd name="connsiteY70" fmla="*/ 5371404 h 6858000"/>
              <a:gd name="connsiteX71" fmla="*/ 1244432 w 7467600"/>
              <a:gd name="connsiteY71" fmla="*/ 5385601 h 6858000"/>
              <a:gd name="connsiteX72" fmla="*/ 973990 w 7467600"/>
              <a:gd name="connsiteY72" fmla="*/ 5424940 h 6858000"/>
              <a:gd name="connsiteX73" fmla="*/ 1103809 w 7467600"/>
              <a:gd name="connsiteY73" fmla="*/ 5433720 h 6858000"/>
              <a:gd name="connsiteX74" fmla="*/ 1123454 w 7467600"/>
              <a:gd name="connsiteY74" fmla="*/ 5435727 h 6858000"/>
              <a:gd name="connsiteX75" fmla="*/ 1737017 w 7467600"/>
              <a:gd name="connsiteY75" fmla="*/ 5452183 h 6858000"/>
              <a:gd name="connsiteX76" fmla="*/ 1824397 w 7467600"/>
              <a:gd name="connsiteY76" fmla="*/ 5447757 h 6858000"/>
              <a:gd name="connsiteX77" fmla="*/ 2070059 w 7467600"/>
              <a:gd name="connsiteY77" fmla="*/ 5441660 h 6858000"/>
              <a:gd name="connsiteX78" fmla="*/ 1456157 w 7467600"/>
              <a:gd name="connsiteY78" fmla="*/ 5371404 h 6858000"/>
              <a:gd name="connsiteX79" fmla="*/ 4988186 w 7467600"/>
              <a:gd name="connsiteY79" fmla="*/ 5216467 h 6858000"/>
              <a:gd name="connsiteX80" fmla="*/ 4777334 w 7467600"/>
              <a:gd name="connsiteY80" fmla="*/ 5406072 h 6858000"/>
              <a:gd name="connsiteX81" fmla="*/ 4718341 w 7467600"/>
              <a:gd name="connsiteY81" fmla="*/ 5468043 h 6858000"/>
              <a:gd name="connsiteX82" fmla="*/ 4604655 w 7467600"/>
              <a:gd name="connsiteY82" fmla="*/ 5583434 h 6858000"/>
              <a:gd name="connsiteX83" fmla="*/ 4565074 w 7467600"/>
              <a:gd name="connsiteY83" fmla="*/ 5618550 h 6858000"/>
              <a:gd name="connsiteX84" fmla="*/ 4988186 w 7467600"/>
              <a:gd name="connsiteY84" fmla="*/ 5216467 h 6858000"/>
              <a:gd name="connsiteX85" fmla="*/ 4978032 w 7467600"/>
              <a:gd name="connsiteY85" fmla="*/ 5183809 h 6858000"/>
              <a:gd name="connsiteX86" fmla="*/ 4463413 w 7467600"/>
              <a:gd name="connsiteY86" fmla="*/ 5615162 h 6858000"/>
              <a:gd name="connsiteX87" fmla="*/ 4358134 w 7467600"/>
              <a:gd name="connsiteY87" fmla="*/ 5742791 h 6858000"/>
              <a:gd name="connsiteX88" fmla="*/ 4376219 w 7467600"/>
              <a:gd name="connsiteY88" fmla="*/ 5729027 h 6858000"/>
              <a:gd name="connsiteX89" fmla="*/ 4582340 w 7467600"/>
              <a:gd name="connsiteY89" fmla="*/ 5561037 h 6858000"/>
              <a:gd name="connsiteX90" fmla="*/ 4694684 w 7467600"/>
              <a:gd name="connsiteY90" fmla="*/ 5447098 h 6858000"/>
              <a:gd name="connsiteX91" fmla="*/ 4754123 w 7467600"/>
              <a:gd name="connsiteY91" fmla="*/ 5384643 h 6858000"/>
              <a:gd name="connsiteX92" fmla="*/ 4978032 w 7467600"/>
              <a:gd name="connsiteY92" fmla="*/ 5183809 h 6858000"/>
              <a:gd name="connsiteX93" fmla="*/ 1903353 w 7467600"/>
              <a:gd name="connsiteY93" fmla="*/ 5044827 h 6858000"/>
              <a:gd name="connsiteX94" fmla="*/ 1936931 w 7467600"/>
              <a:gd name="connsiteY94" fmla="*/ 5093954 h 6858000"/>
              <a:gd name="connsiteX95" fmla="*/ 2195868 w 7467600"/>
              <a:gd name="connsiteY95" fmla="*/ 5396574 h 6858000"/>
              <a:gd name="connsiteX96" fmla="*/ 2088852 w 7467600"/>
              <a:gd name="connsiteY96" fmla="*/ 5166123 h 6858000"/>
              <a:gd name="connsiteX97" fmla="*/ 1958241 w 7467600"/>
              <a:gd name="connsiteY97" fmla="*/ 5067955 h 6858000"/>
              <a:gd name="connsiteX98" fmla="*/ 1903353 w 7467600"/>
              <a:gd name="connsiteY98" fmla="*/ 5044827 h 6858000"/>
              <a:gd name="connsiteX99" fmla="*/ 1979378 w 7467600"/>
              <a:gd name="connsiteY99" fmla="*/ 4769504 h 6858000"/>
              <a:gd name="connsiteX100" fmla="*/ 2882120 w 7467600"/>
              <a:gd name="connsiteY100" fmla="*/ 5064547 h 6858000"/>
              <a:gd name="connsiteX101" fmla="*/ 2793103 w 7467600"/>
              <a:gd name="connsiteY101" fmla="*/ 5039699 h 6858000"/>
              <a:gd name="connsiteX102" fmla="*/ 2770041 w 7467600"/>
              <a:gd name="connsiteY102" fmla="*/ 5033634 h 6858000"/>
              <a:gd name="connsiteX103" fmla="*/ 1979378 w 7467600"/>
              <a:gd name="connsiteY103" fmla="*/ 4769504 h 6858000"/>
              <a:gd name="connsiteX104" fmla="*/ 1927410 w 7467600"/>
              <a:gd name="connsiteY104" fmla="*/ 4716164 h 6858000"/>
              <a:gd name="connsiteX105" fmla="*/ 1959587 w 7467600"/>
              <a:gd name="connsiteY105" fmla="*/ 4728849 h 6858000"/>
              <a:gd name="connsiteX106" fmla="*/ 2777707 w 7467600"/>
              <a:gd name="connsiteY106" fmla="*/ 5003991 h 6858000"/>
              <a:gd name="connsiteX107" fmla="*/ 2800768 w 7467600"/>
              <a:gd name="connsiteY107" fmla="*/ 5010056 h 6858000"/>
              <a:gd name="connsiteX108" fmla="*/ 2879408 w 7467600"/>
              <a:gd name="connsiteY108" fmla="*/ 5031590 h 6858000"/>
              <a:gd name="connsiteX109" fmla="*/ 2862295 w 7467600"/>
              <a:gd name="connsiteY109" fmla="*/ 5022958 h 6858000"/>
              <a:gd name="connsiteX110" fmla="*/ 2813343 w 7467600"/>
              <a:gd name="connsiteY110" fmla="*/ 4998369 h 6858000"/>
              <a:gd name="connsiteX111" fmla="*/ 2646245 w 7467600"/>
              <a:gd name="connsiteY111" fmla="*/ 4930999 h 6858000"/>
              <a:gd name="connsiteX112" fmla="*/ 1999243 w 7467600"/>
              <a:gd name="connsiteY112" fmla="*/ 4730524 h 6858000"/>
              <a:gd name="connsiteX113" fmla="*/ 1979527 w 7467600"/>
              <a:gd name="connsiteY113" fmla="*/ 4726651 h 6858000"/>
              <a:gd name="connsiteX114" fmla="*/ 1927410 w 7467600"/>
              <a:gd name="connsiteY114" fmla="*/ 4716164 h 6858000"/>
              <a:gd name="connsiteX115" fmla="*/ 1997014 w 7467600"/>
              <a:gd name="connsiteY115" fmla="*/ 4698007 h 6858000"/>
              <a:gd name="connsiteX116" fmla="*/ 2005458 w 7467600"/>
              <a:gd name="connsiteY116" fmla="*/ 4699540 h 6858000"/>
              <a:gd name="connsiteX117" fmla="*/ 2657186 w 7467600"/>
              <a:gd name="connsiteY117" fmla="*/ 4901687 h 6858000"/>
              <a:gd name="connsiteX118" fmla="*/ 2826662 w 7467600"/>
              <a:gd name="connsiteY118" fmla="*/ 4970362 h 6858000"/>
              <a:gd name="connsiteX119" fmla="*/ 2876100 w 7467600"/>
              <a:gd name="connsiteY119" fmla="*/ 4995397 h 6858000"/>
              <a:gd name="connsiteX120" fmla="*/ 3042600 w 7467600"/>
              <a:gd name="connsiteY120" fmla="*/ 5059532 h 6858000"/>
              <a:gd name="connsiteX121" fmla="*/ 1997014 w 7467600"/>
              <a:gd name="connsiteY121" fmla="*/ 4698007 h 6858000"/>
              <a:gd name="connsiteX122" fmla="*/ 2305292 w 7467600"/>
              <a:gd name="connsiteY122" fmla="*/ 4219492 h 6858000"/>
              <a:gd name="connsiteX123" fmla="*/ 3360922 w 7467600"/>
              <a:gd name="connsiteY123" fmla="*/ 4529373 h 6858000"/>
              <a:gd name="connsiteX124" fmla="*/ 3492420 w 7467600"/>
              <a:gd name="connsiteY124" fmla="*/ 4510145 h 6858000"/>
              <a:gd name="connsiteX125" fmla="*/ 3364086 w 7467600"/>
              <a:gd name="connsiteY125" fmla="*/ 4480340 h 6858000"/>
              <a:gd name="connsiteX126" fmla="*/ 3225818 w 7467600"/>
              <a:gd name="connsiteY126" fmla="*/ 4411822 h 6858000"/>
              <a:gd name="connsiteX127" fmla="*/ 3129696 w 7467600"/>
              <a:gd name="connsiteY127" fmla="*/ 4360704 h 6858000"/>
              <a:gd name="connsiteX128" fmla="*/ 2814545 w 7467600"/>
              <a:gd name="connsiteY128" fmla="*/ 4282955 h 6858000"/>
              <a:gd name="connsiteX129" fmla="*/ 2305292 w 7467600"/>
              <a:gd name="connsiteY129" fmla="*/ 4219492 h 6858000"/>
              <a:gd name="connsiteX130" fmla="*/ 2626982 w 7467600"/>
              <a:gd name="connsiteY130" fmla="*/ 4206450 h 6858000"/>
              <a:gd name="connsiteX131" fmla="*/ 2490617 w 7467600"/>
              <a:gd name="connsiteY131" fmla="*/ 4206951 h 6858000"/>
              <a:gd name="connsiteX132" fmla="*/ 2819869 w 7467600"/>
              <a:gd name="connsiteY132" fmla="*/ 4252936 h 6858000"/>
              <a:gd name="connsiteX133" fmla="*/ 3143018 w 7467600"/>
              <a:gd name="connsiteY133" fmla="*/ 4332698 h 6858000"/>
              <a:gd name="connsiteX134" fmla="*/ 3241520 w 7467600"/>
              <a:gd name="connsiteY134" fmla="*/ 4385112 h 6858000"/>
              <a:gd name="connsiteX135" fmla="*/ 3374575 w 7467600"/>
              <a:gd name="connsiteY135" fmla="*/ 4451517 h 6858000"/>
              <a:gd name="connsiteX136" fmla="*/ 3505221 w 7467600"/>
              <a:gd name="connsiteY136" fmla="*/ 4480757 h 6858000"/>
              <a:gd name="connsiteX137" fmla="*/ 2626982 w 7467600"/>
              <a:gd name="connsiteY137" fmla="*/ 4206450 h 6858000"/>
              <a:gd name="connsiteX138" fmla="*/ 1310106 w 7467600"/>
              <a:gd name="connsiteY138" fmla="*/ 3943217 h 6858000"/>
              <a:gd name="connsiteX139" fmla="*/ 854994 w 7467600"/>
              <a:gd name="connsiteY139" fmla="*/ 4399136 h 6858000"/>
              <a:gd name="connsiteX140" fmla="*/ 742462 w 7467600"/>
              <a:gd name="connsiteY140" fmla="*/ 4594648 h 6858000"/>
              <a:gd name="connsiteX141" fmla="*/ 820602 w 7467600"/>
              <a:gd name="connsiteY141" fmla="*/ 4485915 h 6858000"/>
              <a:gd name="connsiteX142" fmla="*/ 878295 w 7467600"/>
              <a:gd name="connsiteY142" fmla="*/ 4403594 h 6858000"/>
              <a:gd name="connsiteX143" fmla="*/ 1240607 w 7467600"/>
              <a:gd name="connsiteY143" fmla="*/ 4010401 h 6858000"/>
              <a:gd name="connsiteX144" fmla="*/ 1310106 w 7467600"/>
              <a:gd name="connsiteY144" fmla="*/ 3943217 h 6858000"/>
              <a:gd name="connsiteX145" fmla="*/ 1423113 w 7467600"/>
              <a:gd name="connsiteY145" fmla="*/ 3874565 h 6858000"/>
              <a:gd name="connsiteX146" fmla="*/ 1260565 w 7467600"/>
              <a:gd name="connsiteY146" fmla="*/ 4031982 h 6858000"/>
              <a:gd name="connsiteX147" fmla="*/ 901900 w 7467600"/>
              <a:gd name="connsiteY147" fmla="*/ 4421236 h 6858000"/>
              <a:gd name="connsiteX148" fmla="*/ 845044 w 7467600"/>
              <a:gd name="connsiteY148" fmla="*/ 4502436 h 6858000"/>
              <a:gd name="connsiteX149" fmla="*/ 685926 w 7467600"/>
              <a:gd name="connsiteY149" fmla="*/ 4703069 h 6858000"/>
              <a:gd name="connsiteX150" fmla="*/ 684248 w 7467600"/>
              <a:gd name="connsiteY150" fmla="*/ 4706721 h 6858000"/>
              <a:gd name="connsiteX151" fmla="*/ 1423113 w 7467600"/>
              <a:gd name="connsiteY151" fmla="*/ 3874565 h 6858000"/>
              <a:gd name="connsiteX152" fmla="*/ 3316479 w 7467600"/>
              <a:gd name="connsiteY152" fmla="*/ 3872136 h 6858000"/>
              <a:gd name="connsiteX153" fmla="*/ 3546806 w 7467600"/>
              <a:gd name="connsiteY153" fmla="*/ 4356139 h 6858000"/>
              <a:gd name="connsiteX154" fmla="*/ 3364433 w 7467600"/>
              <a:gd name="connsiteY154" fmla="*/ 3953121 h 6858000"/>
              <a:gd name="connsiteX155" fmla="*/ 3316479 w 7467600"/>
              <a:gd name="connsiteY155" fmla="*/ 3872136 h 6858000"/>
              <a:gd name="connsiteX156" fmla="*/ 3291335 w 7467600"/>
              <a:gd name="connsiteY156" fmla="*/ 3767420 h 6858000"/>
              <a:gd name="connsiteX157" fmla="*/ 3390805 w 7467600"/>
              <a:gd name="connsiteY157" fmla="*/ 3937163 h 6858000"/>
              <a:gd name="connsiteX158" fmla="*/ 3579062 w 7467600"/>
              <a:gd name="connsiteY158" fmla="*/ 4359040 h 6858000"/>
              <a:gd name="connsiteX159" fmla="*/ 3467355 w 7467600"/>
              <a:gd name="connsiteY159" fmla="*/ 3988130 h 6858000"/>
              <a:gd name="connsiteX160" fmla="*/ 3310753 w 7467600"/>
              <a:gd name="connsiteY160" fmla="*/ 3787140 h 6858000"/>
              <a:gd name="connsiteX161" fmla="*/ 3291335 w 7467600"/>
              <a:gd name="connsiteY161" fmla="*/ 3767420 h 6858000"/>
              <a:gd name="connsiteX162" fmla="*/ 1635889 w 7467600"/>
              <a:gd name="connsiteY162" fmla="*/ 3709494 h 6858000"/>
              <a:gd name="connsiteX163" fmla="*/ 1634800 w 7467600"/>
              <a:gd name="connsiteY163" fmla="*/ 3731111 h 6858000"/>
              <a:gd name="connsiteX164" fmla="*/ 1635889 w 7467600"/>
              <a:gd name="connsiteY164" fmla="*/ 3709494 h 6858000"/>
              <a:gd name="connsiteX165" fmla="*/ 1510397 w 7467600"/>
              <a:gd name="connsiteY165" fmla="*/ 3684705 h 6858000"/>
              <a:gd name="connsiteX166" fmla="*/ 1146550 w 7467600"/>
              <a:gd name="connsiteY166" fmla="*/ 3802012 h 6858000"/>
              <a:gd name="connsiteX167" fmla="*/ 698834 w 7467600"/>
              <a:gd name="connsiteY167" fmla="*/ 3952272 h 6858000"/>
              <a:gd name="connsiteX168" fmla="*/ 34256 w 7467600"/>
              <a:gd name="connsiteY168" fmla="*/ 4347603 h 6858000"/>
              <a:gd name="connsiteX169" fmla="*/ 527241 w 7467600"/>
              <a:gd name="connsiteY169" fmla="*/ 4065078 h 6858000"/>
              <a:gd name="connsiteX170" fmla="*/ 1510397 w 7467600"/>
              <a:gd name="connsiteY170" fmla="*/ 3684705 h 6858000"/>
              <a:gd name="connsiteX171" fmla="*/ 1313114 w 7467600"/>
              <a:gd name="connsiteY171" fmla="*/ 3655216 h 6858000"/>
              <a:gd name="connsiteX172" fmla="*/ 1109304 w 7467600"/>
              <a:gd name="connsiteY172" fmla="*/ 3669030 h 6858000"/>
              <a:gd name="connsiteX173" fmla="*/ 8129 w 7467600"/>
              <a:gd name="connsiteY173" fmla="*/ 4330519 h 6858000"/>
              <a:gd name="connsiteX174" fmla="*/ 687572 w 7467600"/>
              <a:gd name="connsiteY174" fmla="*/ 3925629 h 6858000"/>
              <a:gd name="connsiteX175" fmla="*/ 1138365 w 7467600"/>
              <a:gd name="connsiteY175" fmla="*/ 3774515 h 6858000"/>
              <a:gd name="connsiteX176" fmla="*/ 1505579 w 7467600"/>
              <a:gd name="connsiteY176" fmla="*/ 3655526 h 6858000"/>
              <a:gd name="connsiteX177" fmla="*/ 1313114 w 7467600"/>
              <a:gd name="connsiteY177" fmla="*/ 3655216 h 6858000"/>
              <a:gd name="connsiteX178" fmla="*/ 3655073 w 7467600"/>
              <a:gd name="connsiteY178" fmla="*/ 3650884 h 6858000"/>
              <a:gd name="connsiteX179" fmla="*/ 3989938 w 7467600"/>
              <a:gd name="connsiteY179" fmla="*/ 3991685 h 6858000"/>
              <a:gd name="connsiteX180" fmla="*/ 4393907 w 7467600"/>
              <a:gd name="connsiteY180" fmla="*/ 4261258 h 6858000"/>
              <a:gd name="connsiteX181" fmla="*/ 4648051 w 7467600"/>
              <a:gd name="connsiteY181" fmla="*/ 4374051 h 6858000"/>
              <a:gd name="connsiteX182" fmla="*/ 4383389 w 7467600"/>
              <a:gd name="connsiteY182" fmla="*/ 4184369 h 6858000"/>
              <a:gd name="connsiteX183" fmla="*/ 4165508 w 7467600"/>
              <a:gd name="connsiteY183" fmla="*/ 4035196 h 6858000"/>
              <a:gd name="connsiteX184" fmla="*/ 4068162 w 7467600"/>
              <a:gd name="connsiteY184" fmla="*/ 3953394 h 6858000"/>
              <a:gd name="connsiteX185" fmla="*/ 3981416 w 7467600"/>
              <a:gd name="connsiteY185" fmla="*/ 3880482 h 6858000"/>
              <a:gd name="connsiteX186" fmla="*/ 3800147 w 7467600"/>
              <a:gd name="connsiteY186" fmla="*/ 3749872 h 6858000"/>
              <a:gd name="connsiteX187" fmla="*/ 3655073 w 7467600"/>
              <a:gd name="connsiteY187" fmla="*/ 3650884 h 6858000"/>
              <a:gd name="connsiteX188" fmla="*/ 3670252 w 7467600"/>
              <a:gd name="connsiteY188" fmla="*/ 3622798 h 6858000"/>
              <a:gd name="connsiteX189" fmla="*/ 3817258 w 7467600"/>
              <a:gd name="connsiteY189" fmla="*/ 3723577 h 6858000"/>
              <a:gd name="connsiteX190" fmla="*/ 4000461 w 7467600"/>
              <a:gd name="connsiteY190" fmla="*/ 3855966 h 6858000"/>
              <a:gd name="connsiteX191" fmla="*/ 4088180 w 7467600"/>
              <a:gd name="connsiteY191" fmla="*/ 3929774 h 6858000"/>
              <a:gd name="connsiteX192" fmla="*/ 4184555 w 7467600"/>
              <a:gd name="connsiteY192" fmla="*/ 4010683 h 6858000"/>
              <a:gd name="connsiteX193" fmla="*/ 4399563 w 7467600"/>
              <a:gd name="connsiteY193" fmla="*/ 4158106 h 6858000"/>
              <a:gd name="connsiteX194" fmla="*/ 4684469 w 7467600"/>
              <a:gd name="connsiteY194" fmla="*/ 4364680 h 6858000"/>
              <a:gd name="connsiteX195" fmla="*/ 4690271 w 7467600"/>
              <a:gd name="connsiteY195" fmla="*/ 4370034 h 6858000"/>
              <a:gd name="connsiteX196" fmla="*/ 4136093 w 7467600"/>
              <a:gd name="connsiteY196" fmla="*/ 3858466 h 6858000"/>
              <a:gd name="connsiteX197" fmla="*/ 3670252 w 7467600"/>
              <a:gd name="connsiteY197" fmla="*/ 3622798 h 6858000"/>
              <a:gd name="connsiteX198" fmla="*/ 4440129 w 7467600"/>
              <a:gd name="connsiteY198" fmla="*/ 3448571 h 6858000"/>
              <a:gd name="connsiteX199" fmla="*/ 4856525 w 7467600"/>
              <a:gd name="connsiteY199" fmla="*/ 3915351 h 6858000"/>
              <a:gd name="connsiteX200" fmla="*/ 5059055 w 7467600"/>
              <a:gd name="connsiteY200" fmla="*/ 4108918 h 6858000"/>
              <a:gd name="connsiteX201" fmla="*/ 5290070 w 7467600"/>
              <a:gd name="connsiteY201" fmla="*/ 4263619 h 6858000"/>
              <a:gd name="connsiteX202" fmla="*/ 4834991 w 7467600"/>
              <a:gd name="connsiteY202" fmla="*/ 3830985 h 6858000"/>
              <a:gd name="connsiteX203" fmla="*/ 4440129 w 7467600"/>
              <a:gd name="connsiteY203" fmla="*/ 3448571 h 6858000"/>
              <a:gd name="connsiteX204" fmla="*/ 4441737 w 7467600"/>
              <a:gd name="connsiteY204" fmla="*/ 3399734 h 6858000"/>
              <a:gd name="connsiteX205" fmla="*/ 4431236 w 7467600"/>
              <a:gd name="connsiteY205" fmla="*/ 3400954 h 6858000"/>
              <a:gd name="connsiteX206" fmla="*/ 4557150 w 7467600"/>
              <a:gd name="connsiteY206" fmla="*/ 3510023 h 6858000"/>
              <a:gd name="connsiteX207" fmla="*/ 4856936 w 7467600"/>
              <a:gd name="connsiteY207" fmla="*/ 3809146 h 6858000"/>
              <a:gd name="connsiteX208" fmla="*/ 5111996 w 7467600"/>
              <a:gd name="connsiteY208" fmla="*/ 4065759 h 6858000"/>
              <a:gd name="connsiteX209" fmla="*/ 5388878 w 7467600"/>
              <a:gd name="connsiteY209" fmla="*/ 4300185 h 6858000"/>
              <a:gd name="connsiteX210" fmla="*/ 5425556 w 7467600"/>
              <a:gd name="connsiteY210" fmla="*/ 4308967 h 6858000"/>
              <a:gd name="connsiteX211" fmla="*/ 4943646 w 7467600"/>
              <a:gd name="connsiteY211" fmla="*/ 3822916 h 6858000"/>
              <a:gd name="connsiteX212" fmla="*/ 4594837 w 7467600"/>
              <a:gd name="connsiteY212" fmla="*/ 3532274 h 6858000"/>
              <a:gd name="connsiteX213" fmla="*/ 4441737 w 7467600"/>
              <a:gd name="connsiteY213" fmla="*/ 3399734 h 6858000"/>
              <a:gd name="connsiteX214" fmla="*/ 5425834 w 7467600"/>
              <a:gd name="connsiteY214" fmla="*/ 3162785 h 6858000"/>
              <a:gd name="connsiteX215" fmla="*/ 5401644 w 7467600"/>
              <a:gd name="connsiteY215" fmla="*/ 3617847 h 6858000"/>
              <a:gd name="connsiteX216" fmla="*/ 5467256 w 7467600"/>
              <a:gd name="connsiteY216" fmla="*/ 4175494 h 6858000"/>
              <a:gd name="connsiteX217" fmla="*/ 5448069 w 7467600"/>
              <a:gd name="connsiteY217" fmla="*/ 3567554 h 6858000"/>
              <a:gd name="connsiteX218" fmla="*/ 5425834 w 7467600"/>
              <a:gd name="connsiteY218" fmla="*/ 3162785 h 6858000"/>
              <a:gd name="connsiteX219" fmla="*/ 1318687 w 7467600"/>
              <a:gd name="connsiteY219" fmla="*/ 3113840 h 6858000"/>
              <a:gd name="connsiteX220" fmla="*/ 1066793 w 7467600"/>
              <a:gd name="connsiteY220" fmla="*/ 3212171 h 6858000"/>
              <a:gd name="connsiteX221" fmla="*/ 993319 w 7467600"/>
              <a:gd name="connsiteY221" fmla="*/ 3247648 h 6858000"/>
              <a:gd name="connsiteX222" fmla="*/ 853081 w 7467600"/>
              <a:gd name="connsiteY222" fmla="*/ 3312410 h 6858000"/>
              <a:gd name="connsiteX223" fmla="*/ 805957 w 7467600"/>
              <a:gd name="connsiteY223" fmla="*/ 3330443 h 6858000"/>
              <a:gd name="connsiteX224" fmla="*/ 1318687 w 7467600"/>
              <a:gd name="connsiteY224" fmla="*/ 3113840 h 6858000"/>
              <a:gd name="connsiteX225" fmla="*/ 5453702 w 7467600"/>
              <a:gd name="connsiteY225" fmla="*/ 3090882 h 6858000"/>
              <a:gd name="connsiteX226" fmla="*/ 5480135 w 7467600"/>
              <a:gd name="connsiteY226" fmla="*/ 3565802 h 6858000"/>
              <a:gd name="connsiteX227" fmla="*/ 5499023 w 7467600"/>
              <a:gd name="connsiteY227" fmla="*/ 4166310 h 6858000"/>
              <a:gd name="connsiteX228" fmla="*/ 5547022 w 7467600"/>
              <a:gd name="connsiteY228" fmla="*/ 3607838 h 6858000"/>
              <a:gd name="connsiteX229" fmla="*/ 5515964 w 7467600"/>
              <a:gd name="connsiteY229" fmla="*/ 3378541 h 6858000"/>
              <a:gd name="connsiteX230" fmla="*/ 5453702 w 7467600"/>
              <a:gd name="connsiteY230" fmla="*/ 3090882 h 6858000"/>
              <a:gd name="connsiteX231" fmla="*/ 1238695 w 7467600"/>
              <a:gd name="connsiteY231" fmla="*/ 3076820 h 6858000"/>
              <a:gd name="connsiteX232" fmla="*/ 716371 w 7467600"/>
              <a:gd name="connsiteY232" fmla="*/ 3293249 h 6858000"/>
              <a:gd name="connsiteX233" fmla="*/ 579522 w 7467600"/>
              <a:gd name="connsiteY233" fmla="*/ 3371759 h 6858000"/>
              <a:gd name="connsiteX234" fmla="*/ 600288 w 7467600"/>
              <a:gd name="connsiteY234" fmla="*/ 3365555 h 6858000"/>
              <a:gd name="connsiteX235" fmla="*/ 840692 w 7467600"/>
              <a:gd name="connsiteY235" fmla="*/ 3284921 h 6858000"/>
              <a:gd name="connsiteX236" fmla="*/ 979248 w 7467600"/>
              <a:gd name="connsiteY236" fmla="*/ 3221003 h 6858000"/>
              <a:gd name="connsiteX237" fmla="*/ 1053282 w 7467600"/>
              <a:gd name="connsiteY237" fmla="*/ 3185247 h 6858000"/>
              <a:gd name="connsiteX238" fmla="*/ 1320603 w 7467600"/>
              <a:gd name="connsiteY238" fmla="*/ 3081281 h 6858000"/>
              <a:gd name="connsiteX239" fmla="*/ 1238695 w 7467600"/>
              <a:gd name="connsiteY239" fmla="*/ 3076820 h 6858000"/>
              <a:gd name="connsiteX240" fmla="*/ 5425627 w 7467600"/>
              <a:gd name="connsiteY240" fmla="*/ 2954192 h 6858000"/>
              <a:gd name="connsiteX241" fmla="*/ 5470770 w 7467600"/>
              <a:gd name="connsiteY241" fmla="*/ 3005435 h 6858000"/>
              <a:gd name="connsiteX242" fmla="*/ 5519779 w 7467600"/>
              <a:gd name="connsiteY242" fmla="*/ 4359223 h 6858000"/>
              <a:gd name="connsiteX243" fmla="*/ 5520293 w 7467600"/>
              <a:gd name="connsiteY243" fmla="*/ 4360602 h 6858000"/>
              <a:gd name="connsiteX244" fmla="*/ 5767221 w 7467600"/>
              <a:gd name="connsiteY244" fmla="*/ 4665564 h 6858000"/>
              <a:gd name="connsiteX245" fmla="*/ 6937169 w 7467600"/>
              <a:gd name="connsiteY245" fmla="*/ 4815941 h 6858000"/>
              <a:gd name="connsiteX246" fmla="*/ 6953922 w 7467600"/>
              <a:gd name="connsiteY246" fmla="*/ 4890068 h 6858000"/>
              <a:gd name="connsiteX247" fmla="*/ 6071359 w 7467600"/>
              <a:gd name="connsiteY247" fmla="*/ 4770770 h 6858000"/>
              <a:gd name="connsiteX248" fmla="*/ 6038839 w 7467600"/>
              <a:gd name="connsiteY248" fmla="*/ 4764474 h 6858000"/>
              <a:gd name="connsiteX249" fmla="*/ 6038706 w 7467600"/>
              <a:gd name="connsiteY249" fmla="*/ 4763847 h 6858000"/>
              <a:gd name="connsiteX250" fmla="*/ 6037784 w 7467600"/>
              <a:gd name="connsiteY250" fmla="*/ 4764270 h 6858000"/>
              <a:gd name="connsiteX251" fmla="*/ 6038839 w 7467600"/>
              <a:gd name="connsiteY251" fmla="*/ 4764474 h 6858000"/>
              <a:gd name="connsiteX252" fmla="*/ 6040338 w 7467600"/>
              <a:gd name="connsiteY252" fmla="*/ 4771418 h 6858000"/>
              <a:gd name="connsiteX253" fmla="*/ 6024488 w 7467600"/>
              <a:gd name="connsiteY253" fmla="*/ 4809903 h 6858000"/>
              <a:gd name="connsiteX254" fmla="*/ 5599771 w 7467600"/>
              <a:gd name="connsiteY254" fmla="*/ 5509652 h 6858000"/>
              <a:gd name="connsiteX255" fmla="*/ 5548843 w 7467600"/>
              <a:gd name="connsiteY255" fmla="*/ 5563845 h 6858000"/>
              <a:gd name="connsiteX256" fmla="*/ 5940952 w 7467600"/>
              <a:gd name="connsiteY256" fmla="*/ 6250028 h 6858000"/>
              <a:gd name="connsiteX257" fmla="*/ 6043441 w 7467600"/>
              <a:gd name="connsiteY257" fmla="*/ 6665847 h 6858000"/>
              <a:gd name="connsiteX258" fmla="*/ 6093432 w 7467600"/>
              <a:gd name="connsiteY258" fmla="*/ 6858000 h 6858000"/>
              <a:gd name="connsiteX259" fmla="*/ 6034344 w 7467600"/>
              <a:gd name="connsiteY259" fmla="*/ 6858000 h 6858000"/>
              <a:gd name="connsiteX260" fmla="*/ 6026679 w 7467600"/>
              <a:gd name="connsiteY260" fmla="*/ 6836959 h 6858000"/>
              <a:gd name="connsiteX261" fmla="*/ 5800441 w 7467600"/>
              <a:gd name="connsiteY261" fmla="*/ 6335286 h 6858000"/>
              <a:gd name="connsiteX262" fmla="*/ 5526562 w 7467600"/>
              <a:gd name="connsiteY262" fmla="*/ 5705388 h 6858000"/>
              <a:gd name="connsiteX263" fmla="*/ 5519640 w 7467600"/>
              <a:gd name="connsiteY263" fmla="*/ 5683774 h 6858000"/>
              <a:gd name="connsiteX264" fmla="*/ 5844559 w 7467600"/>
              <a:gd name="connsiteY264" fmla="*/ 6553349 h 6858000"/>
              <a:gd name="connsiteX265" fmla="*/ 5975994 w 7467600"/>
              <a:gd name="connsiteY265" fmla="*/ 6858000 h 6858000"/>
              <a:gd name="connsiteX266" fmla="*/ 5898547 w 7467600"/>
              <a:gd name="connsiteY266" fmla="*/ 6858000 h 6858000"/>
              <a:gd name="connsiteX267" fmla="*/ 5682041 w 7467600"/>
              <a:gd name="connsiteY267" fmla="*/ 6355860 h 6858000"/>
              <a:gd name="connsiteX268" fmla="*/ 5461758 w 7467600"/>
              <a:gd name="connsiteY268" fmla="*/ 5820220 h 6858000"/>
              <a:gd name="connsiteX269" fmla="*/ 5237282 w 7467600"/>
              <a:gd name="connsiteY269" fmla="*/ 6579086 h 6858000"/>
              <a:gd name="connsiteX270" fmla="*/ 5115009 w 7467600"/>
              <a:gd name="connsiteY270" fmla="*/ 6858000 h 6858000"/>
              <a:gd name="connsiteX271" fmla="*/ 5028074 w 7467600"/>
              <a:gd name="connsiteY271" fmla="*/ 6858000 h 6858000"/>
              <a:gd name="connsiteX272" fmla="*/ 5079508 w 7467600"/>
              <a:gd name="connsiteY272" fmla="*/ 6749074 h 6858000"/>
              <a:gd name="connsiteX273" fmla="*/ 5371846 w 7467600"/>
              <a:gd name="connsiteY273" fmla="*/ 5924413 h 6858000"/>
              <a:gd name="connsiteX274" fmla="*/ 5270512 w 7467600"/>
              <a:gd name="connsiteY274" fmla="*/ 6138975 h 6858000"/>
              <a:gd name="connsiteX275" fmla="*/ 5062409 w 7467600"/>
              <a:gd name="connsiteY275" fmla="*/ 6653544 h 6858000"/>
              <a:gd name="connsiteX276" fmla="*/ 5036628 w 7467600"/>
              <a:gd name="connsiteY276" fmla="*/ 6754247 h 6858000"/>
              <a:gd name="connsiteX277" fmla="*/ 5009112 w 7467600"/>
              <a:gd name="connsiteY277" fmla="*/ 6858000 h 6858000"/>
              <a:gd name="connsiteX278" fmla="*/ 4976679 w 7467600"/>
              <a:gd name="connsiteY278" fmla="*/ 6858000 h 6858000"/>
              <a:gd name="connsiteX279" fmla="*/ 5006537 w 7467600"/>
              <a:gd name="connsiteY279" fmla="*/ 6747068 h 6858000"/>
              <a:gd name="connsiteX280" fmla="*/ 5032723 w 7467600"/>
              <a:gd name="connsiteY280" fmla="*/ 6644957 h 6858000"/>
              <a:gd name="connsiteX281" fmla="*/ 5242949 w 7467600"/>
              <a:gd name="connsiteY281" fmla="*/ 6125175 h 6858000"/>
              <a:gd name="connsiteX282" fmla="*/ 5286321 w 7467600"/>
              <a:gd name="connsiteY282" fmla="*/ 6033555 h 6858000"/>
              <a:gd name="connsiteX283" fmla="*/ 5008210 w 7467600"/>
              <a:gd name="connsiteY283" fmla="*/ 6649194 h 6858000"/>
              <a:gd name="connsiteX284" fmla="*/ 4986321 w 7467600"/>
              <a:gd name="connsiteY284" fmla="*/ 6765687 h 6858000"/>
              <a:gd name="connsiteX285" fmla="*/ 4973474 w 7467600"/>
              <a:gd name="connsiteY285" fmla="*/ 6858000 h 6858000"/>
              <a:gd name="connsiteX286" fmla="*/ 4907178 w 7467600"/>
              <a:gd name="connsiteY286" fmla="*/ 6858000 h 6858000"/>
              <a:gd name="connsiteX287" fmla="*/ 4910810 w 7467600"/>
              <a:gd name="connsiteY287" fmla="*/ 6829660 h 6858000"/>
              <a:gd name="connsiteX288" fmla="*/ 4987461 w 7467600"/>
              <a:gd name="connsiteY288" fmla="*/ 6432994 h 6858000"/>
              <a:gd name="connsiteX289" fmla="*/ 5179262 w 7467600"/>
              <a:gd name="connsiteY289" fmla="*/ 6035044 h 6858000"/>
              <a:gd name="connsiteX290" fmla="*/ 4689678 w 7467600"/>
              <a:gd name="connsiteY290" fmla="*/ 6440241 h 6858000"/>
              <a:gd name="connsiteX291" fmla="*/ 4477543 w 7467600"/>
              <a:gd name="connsiteY291" fmla="*/ 6674836 h 6858000"/>
              <a:gd name="connsiteX292" fmla="*/ 4329957 w 7467600"/>
              <a:gd name="connsiteY292" fmla="*/ 6858000 h 6858000"/>
              <a:gd name="connsiteX293" fmla="*/ 4218595 w 7467600"/>
              <a:gd name="connsiteY293" fmla="*/ 6858000 h 6858000"/>
              <a:gd name="connsiteX294" fmla="*/ 4368888 w 7467600"/>
              <a:gd name="connsiteY294" fmla="*/ 6668412 h 6858000"/>
              <a:gd name="connsiteX295" fmla="*/ 4563091 w 7467600"/>
              <a:gd name="connsiteY295" fmla="*/ 6442508 h 6858000"/>
              <a:gd name="connsiteX296" fmla="*/ 5387324 w 7467600"/>
              <a:gd name="connsiteY296" fmla="*/ 5705830 h 6858000"/>
              <a:gd name="connsiteX297" fmla="*/ 5073620 w 7467600"/>
              <a:gd name="connsiteY297" fmla="*/ 5955437 h 6858000"/>
              <a:gd name="connsiteX298" fmla="*/ 4689789 w 7467600"/>
              <a:gd name="connsiteY298" fmla="*/ 6268382 h 6858000"/>
              <a:gd name="connsiteX299" fmla="*/ 4418722 w 7467600"/>
              <a:gd name="connsiteY299" fmla="*/ 6570886 h 6858000"/>
              <a:gd name="connsiteX300" fmla="*/ 4214944 w 7467600"/>
              <a:gd name="connsiteY300" fmla="*/ 6858000 h 6858000"/>
              <a:gd name="connsiteX301" fmla="*/ 4177898 w 7467600"/>
              <a:gd name="connsiteY301" fmla="*/ 6858000 h 6858000"/>
              <a:gd name="connsiteX302" fmla="*/ 4391597 w 7467600"/>
              <a:gd name="connsiteY302" fmla="*/ 6556370 h 6858000"/>
              <a:gd name="connsiteX303" fmla="*/ 4668889 w 7467600"/>
              <a:gd name="connsiteY303" fmla="*/ 6246399 h 6858000"/>
              <a:gd name="connsiteX304" fmla="*/ 5055427 w 7467600"/>
              <a:gd name="connsiteY304" fmla="*/ 5931476 h 6858000"/>
              <a:gd name="connsiteX305" fmla="*/ 5371814 w 7467600"/>
              <a:gd name="connsiteY305" fmla="*/ 5678975 h 6858000"/>
              <a:gd name="connsiteX306" fmla="*/ 4987918 w 7467600"/>
              <a:gd name="connsiteY306" fmla="*/ 5838701 h 6858000"/>
              <a:gd name="connsiteX307" fmla="*/ 4317146 w 7467600"/>
              <a:gd name="connsiteY307" fmla="*/ 6587716 h 6858000"/>
              <a:gd name="connsiteX308" fmla="*/ 4171627 w 7467600"/>
              <a:gd name="connsiteY308" fmla="*/ 6858000 h 6858000"/>
              <a:gd name="connsiteX309" fmla="*/ 4081585 w 7467600"/>
              <a:gd name="connsiteY309" fmla="*/ 6858000 h 6858000"/>
              <a:gd name="connsiteX310" fmla="*/ 4238603 w 7467600"/>
              <a:gd name="connsiteY310" fmla="*/ 6559341 h 6858000"/>
              <a:gd name="connsiteX311" fmla="*/ 4778333 w 7467600"/>
              <a:gd name="connsiteY311" fmla="*/ 5873626 h 6858000"/>
              <a:gd name="connsiteX312" fmla="*/ 5414185 w 7467600"/>
              <a:gd name="connsiteY312" fmla="*/ 5573882 h 6858000"/>
              <a:gd name="connsiteX313" fmla="*/ 5959648 w 7467600"/>
              <a:gd name="connsiteY313" fmla="*/ 4760797 h 6858000"/>
              <a:gd name="connsiteX314" fmla="*/ 5355019 w 7467600"/>
              <a:gd name="connsiteY314" fmla="*/ 4734672 h 6858000"/>
              <a:gd name="connsiteX315" fmla="*/ 5083565 w 7467600"/>
              <a:gd name="connsiteY315" fmla="*/ 5179121 h 6858000"/>
              <a:gd name="connsiteX316" fmla="*/ 4713577 w 7467600"/>
              <a:gd name="connsiteY316" fmla="*/ 5616803 h 6858000"/>
              <a:gd name="connsiteX317" fmla="*/ 3989559 w 7467600"/>
              <a:gd name="connsiteY317" fmla="*/ 6145945 h 6858000"/>
              <a:gd name="connsiteX318" fmla="*/ 3939824 w 7467600"/>
              <a:gd name="connsiteY318" fmla="*/ 6066900 h 6858000"/>
              <a:gd name="connsiteX319" fmla="*/ 4584537 w 7467600"/>
              <a:gd name="connsiteY319" fmla="*/ 5324826 h 6858000"/>
              <a:gd name="connsiteX320" fmla="*/ 5037105 w 7467600"/>
              <a:gd name="connsiteY320" fmla="*/ 5088765 h 6858000"/>
              <a:gd name="connsiteX321" fmla="*/ 5039930 w 7467600"/>
              <a:gd name="connsiteY321" fmla="*/ 5089585 h 6858000"/>
              <a:gd name="connsiteX322" fmla="*/ 5263764 w 7467600"/>
              <a:gd name="connsiteY322" fmla="*/ 4735525 h 6858000"/>
              <a:gd name="connsiteX323" fmla="*/ 4086300 w 7467600"/>
              <a:gd name="connsiteY323" fmla="*/ 4884599 h 6858000"/>
              <a:gd name="connsiteX324" fmla="*/ 4085485 w 7467600"/>
              <a:gd name="connsiteY324" fmla="*/ 4899070 h 6858000"/>
              <a:gd name="connsiteX325" fmla="*/ 3871915 w 7467600"/>
              <a:gd name="connsiteY325" fmla="*/ 5253645 h 6858000"/>
              <a:gd name="connsiteX326" fmla="*/ 3799374 w 7467600"/>
              <a:gd name="connsiteY326" fmla="*/ 5466127 h 6858000"/>
              <a:gd name="connsiteX327" fmla="*/ 3498850 w 7467600"/>
              <a:gd name="connsiteY327" fmla="*/ 6661888 h 6858000"/>
              <a:gd name="connsiteX328" fmla="*/ 3399216 w 7467600"/>
              <a:gd name="connsiteY328" fmla="*/ 6858000 h 6858000"/>
              <a:gd name="connsiteX329" fmla="*/ 3303688 w 7467600"/>
              <a:gd name="connsiteY329" fmla="*/ 6858000 h 6858000"/>
              <a:gd name="connsiteX330" fmla="*/ 3391774 w 7467600"/>
              <a:gd name="connsiteY330" fmla="*/ 6697181 h 6858000"/>
              <a:gd name="connsiteX331" fmla="*/ 3735540 w 7467600"/>
              <a:gd name="connsiteY331" fmla="*/ 5546923 h 6858000"/>
              <a:gd name="connsiteX332" fmla="*/ 3729438 w 7467600"/>
              <a:gd name="connsiteY332" fmla="*/ 5569058 h 6858000"/>
              <a:gd name="connsiteX333" fmla="*/ 3707782 w 7467600"/>
              <a:gd name="connsiteY333" fmla="*/ 5644908 h 6858000"/>
              <a:gd name="connsiteX334" fmla="*/ 3583827 w 7467600"/>
              <a:gd name="connsiteY334" fmla="*/ 6039215 h 6858000"/>
              <a:gd name="connsiteX335" fmla="*/ 3547861 w 7467600"/>
              <a:gd name="connsiteY335" fmla="*/ 6129609 h 6858000"/>
              <a:gd name="connsiteX336" fmla="*/ 3490905 w 7467600"/>
              <a:gd name="connsiteY336" fmla="*/ 6277660 h 6858000"/>
              <a:gd name="connsiteX337" fmla="*/ 3455859 w 7467600"/>
              <a:gd name="connsiteY337" fmla="*/ 6391301 h 6858000"/>
              <a:gd name="connsiteX338" fmla="*/ 3429112 w 7467600"/>
              <a:gd name="connsiteY338" fmla="*/ 6479469 h 6858000"/>
              <a:gd name="connsiteX339" fmla="*/ 3304862 w 7467600"/>
              <a:gd name="connsiteY339" fmla="*/ 6796476 h 6858000"/>
              <a:gd name="connsiteX340" fmla="*/ 3276071 w 7467600"/>
              <a:gd name="connsiteY340" fmla="*/ 6858000 h 6858000"/>
              <a:gd name="connsiteX341" fmla="*/ 3240805 w 7467600"/>
              <a:gd name="connsiteY341" fmla="*/ 6858000 h 6858000"/>
              <a:gd name="connsiteX342" fmla="*/ 3275917 w 7467600"/>
              <a:gd name="connsiteY342" fmla="*/ 6783192 h 6858000"/>
              <a:gd name="connsiteX343" fmla="*/ 3399358 w 7467600"/>
              <a:gd name="connsiteY343" fmla="*/ 6469011 h 6858000"/>
              <a:gd name="connsiteX344" fmla="*/ 3425650 w 7467600"/>
              <a:gd name="connsiteY344" fmla="*/ 6381333 h 6858000"/>
              <a:gd name="connsiteX345" fmla="*/ 3460661 w 7467600"/>
              <a:gd name="connsiteY345" fmla="*/ 6266763 h 6858000"/>
              <a:gd name="connsiteX346" fmla="*/ 3518021 w 7467600"/>
              <a:gd name="connsiteY346" fmla="*/ 6117298 h 6858000"/>
              <a:gd name="connsiteX347" fmla="*/ 3554035 w 7467600"/>
              <a:gd name="connsiteY347" fmla="*/ 6027832 h 6858000"/>
              <a:gd name="connsiteX348" fmla="*/ 3677174 w 7467600"/>
              <a:gd name="connsiteY348" fmla="*/ 5636351 h 6858000"/>
              <a:gd name="connsiteX349" fmla="*/ 3698819 w 7467600"/>
              <a:gd name="connsiteY349" fmla="*/ 5560503 h 6858000"/>
              <a:gd name="connsiteX350" fmla="*/ 3702094 w 7467600"/>
              <a:gd name="connsiteY350" fmla="*/ 5549194 h 6858000"/>
              <a:gd name="connsiteX351" fmla="*/ 3398355 w 7467600"/>
              <a:gd name="connsiteY351" fmla="*/ 6094603 h 6858000"/>
              <a:gd name="connsiteX352" fmla="*/ 3193941 w 7467600"/>
              <a:gd name="connsiteY352" fmla="*/ 6798775 h 6858000"/>
              <a:gd name="connsiteX353" fmla="*/ 3184140 w 7467600"/>
              <a:gd name="connsiteY353" fmla="*/ 6858000 h 6858000"/>
              <a:gd name="connsiteX354" fmla="*/ 3099978 w 7467600"/>
              <a:gd name="connsiteY354" fmla="*/ 6858000 h 6858000"/>
              <a:gd name="connsiteX355" fmla="*/ 3101556 w 7467600"/>
              <a:gd name="connsiteY355" fmla="*/ 6843337 h 6858000"/>
              <a:gd name="connsiteX356" fmla="*/ 3370162 w 7467600"/>
              <a:gd name="connsiteY356" fmla="*/ 5785550 h 6858000"/>
              <a:gd name="connsiteX357" fmla="*/ 3746477 w 7467600"/>
              <a:gd name="connsiteY357" fmla="*/ 5377889 h 6858000"/>
              <a:gd name="connsiteX358" fmla="*/ 3863399 w 7467600"/>
              <a:gd name="connsiteY358" fmla="*/ 5087257 h 6858000"/>
              <a:gd name="connsiteX359" fmla="*/ 3968712 w 7467600"/>
              <a:gd name="connsiteY359" fmla="*/ 4913989 h 6858000"/>
              <a:gd name="connsiteX360" fmla="*/ 2792390 w 7467600"/>
              <a:gd name="connsiteY360" fmla="*/ 5382974 h 6858000"/>
              <a:gd name="connsiteX361" fmla="*/ 2714982 w 7467600"/>
              <a:gd name="connsiteY361" fmla="*/ 5427051 h 6858000"/>
              <a:gd name="connsiteX362" fmla="*/ 2813361 w 7467600"/>
              <a:gd name="connsiteY362" fmla="*/ 6023912 h 6858000"/>
              <a:gd name="connsiteX363" fmla="*/ 2688430 w 7467600"/>
              <a:gd name="connsiteY363" fmla="*/ 6801564 h 6858000"/>
              <a:gd name="connsiteX364" fmla="*/ 2629626 w 7467600"/>
              <a:gd name="connsiteY364" fmla="*/ 6763394 h 6858000"/>
              <a:gd name="connsiteX365" fmla="*/ 2565328 w 7467600"/>
              <a:gd name="connsiteY365" fmla="*/ 5516399 h 6858000"/>
              <a:gd name="connsiteX366" fmla="*/ 1922999 w 7467600"/>
              <a:gd name="connsiteY366" fmla="*/ 5980343 h 6858000"/>
              <a:gd name="connsiteX367" fmla="*/ 1950261 w 7467600"/>
              <a:gd name="connsiteY367" fmla="*/ 6405858 h 6858000"/>
              <a:gd name="connsiteX368" fmla="*/ 2365554 w 7467600"/>
              <a:gd name="connsiteY368" fmla="*/ 6759107 h 6858000"/>
              <a:gd name="connsiteX369" fmla="*/ 2424142 w 7467600"/>
              <a:gd name="connsiteY369" fmla="*/ 6858000 h 6858000"/>
              <a:gd name="connsiteX370" fmla="*/ 2395994 w 7467600"/>
              <a:gd name="connsiteY370" fmla="*/ 6858000 h 6858000"/>
              <a:gd name="connsiteX371" fmla="*/ 2392863 w 7467600"/>
              <a:gd name="connsiteY371" fmla="*/ 6852964 h 6858000"/>
              <a:gd name="connsiteX372" fmla="*/ 2017589 w 7467600"/>
              <a:gd name="connsiteY372" fmla="*/ 6493982 h 6858000"/>
              <a:gd name="connsiteX373" fmla="*/ 2147336 w 7467600"/>
              <a:gd name="connsiteY373" fmla="*/ 6594052 h 6858000"/>
              <a:gd name="connsiteX374" fmla="*/ 2207047 w 7467600"/>
              <a:gd name="connsiteY374" fmla="*/ 6654540 h 6858000"/>
              <a:gd name="connsiteX375" fmla="*/ 2299106 w 7467600"/>
              <a:gd name="connsiteY375" fmla="*/ 6778931 h 6858000"/>
              <a:gd name="connsiteX376" fmla="*/ 2314430 w 7467600"/>
              <a:gd name="connsiteY376" fmla="*/ 6801144 h 6858000"/>
              <a:gd name="connsiteX377" fmla="*/ 2352406 w 7467600"/>
              <a:gd name="connsiteY377" fmla="*/ 6858000 h 6858000"/>
              <a:gd name="connsiteX378" fmla="*/ 2314492 w 7467600"/>
              <a:gd name="connsiteY378" fmla="*/ 6858000 h 6858000"/>
              <a:gd name="connsiteX379" fmla="*/ 2288095 w 7467600"/>
              <a:gd name="connsiteY379" fmla="*/ 6818030 h 6858000"/>
              <a:gd name="connsiteX380" fmla="*/ 2272768 w 7467600"/>
              <a:gd name="connsiteY380" fmla="*/ 6795822 h 6858000"/>
              <a:gd name="connsiteX381" fmla="*/ 2182715 w 7467600"/>
              <a:gd name="connsiteY381" fmla="*/ 6675071 h 6858000"/>
              <a:gd name="connsiteX382" fmla="*/ 2032061 w 7467600"/>
              <a:gd name="connsiteY382" fmla="*/ 6541380 h 6858000"/>
              <a:gd name="connsiteX383" fmla="*/ 2257220 w 7467600"/>
              <a:gd name="connsiteY383" fmla="*/ 6826257 h 6858000"/>
              <a:gd name="connsiteX384" fmla="*/ 2281324 w 7467600"/>
              <a:gd name="connsiteY384" fmla="*/ 6858000 h 6858000"/>
              <a:gd name="connsiteX385" fmla="*/ 2242860 w 7467600"/>
              <a:gd name="connsiteY385" fmla="*/ 6858000 h 6858000"/>
              <a:gd name="connsiteX386" fmla="*/ 2232818 w 7467600"/>
              <a:gd name="connsiteY386" fmla="*/ 6844926 h 6858000"/>
              <a:gd name="connsiteX387" fmla="*/ 1990172 w 7467600"/>
              <a:gd name="connsiteY387" fmla="*/ 6542121 h 6858000"/>
              <a:gd name="connsiteX388" fmla="*/ 2124090 w 7467600"/>
              <a:gd name="connsiteY388" fmla="*/ 6761017 h 6858000"/>
              <a:gd name="connsiteX389" fmla="*/ 2200380 w 7467600"/>
              <a:gd name="connsiteY389" fmla="*/ 6858000 h 6858000"/>
              <a:gd name="connsiteX390" fmla="*/ 2147507 w 7467600"/>
              <a:gd name="connsiteY390" fmla="*/ 6858000 h 6858000"/>
              <a:gd name="connsiteX391" fmla="*/ 2070668 w 7467600"/>
              <a:gd name="connsiteY391" fmla="*/ 6761520 h 6858000"/>
              <a:gd name="connsiteX392" fmla="*/ 1975142 w 7467600"/>
              <a:gd name="connsiteY392" fmla="*/ 6585570 h 6858000"/>
              <a:gd name="connsiteX393" fmla="*/ 2050035 w 7467600"/>
              <a:gd name="connsiteY393" fmla="*/ 6813345 h 6858000"/>
              <a:gd name="connsiteX394" fmla="*/ 2063025 w 7467600"/>
              <a:gd name="connsiteY394" fmla="*/ 6858000 h 6858000"/>
              <a:gd name="connsiteX395" fmla="*/ 2021675 w 7467600"/>
              <a:gd name="connsiteY395" fmla="*/ 6858000 h 6858000"/>
              <a:gd name="connsiteX396" fmla="*/ 2019308 w 7467600"/>
              <a:gd name="connsiteY396" fmla="*/ 6847118 h 6858000"/>
              <a:gd name="connsiteX397" fmla="*/ 1938835 w 7467600"/>
              <a:gd name="connsiteY397" fmla="*/ 6551160 h 6858000"/>
              <a:gd name="connsiteX398" fmla="*/ 1953230 w 7467600"/>
              <a:gd name="connsiteY398" fmla="*/ 6759699 h 6858000"/>
              <a:gd name="connsiteX399" fmla="*/ 1956763 w 7467600"/>
              <a:gd name="connsiteY399" fmla="*/ 6778191 h 6858000"/>
              <a:gd name="connsiteX400" fmla="*/ 1967925 w 7467600"/>
              <a:gd name="connsiteY400" fmla="*/ 6858000 h 6858000"/>
              <a:gd name="connsiteX401" fmla="*/ 1936622 w 7467600"/>
              <a:gd name="connsiteY401" fmla="*/ 6858000 h 6858000"/>
              <a:gd name="connsiteX402" fmla="*/ 1926261 w 7467600"/>
              <a:gd name="connsiteY402" fmla="*/ 6784064 h 6858000"/>
              <a:gd name="connsiteX403" fmla="*/ 1922724 w 7467600"/>
              <a:gd name="connsiteY403" fmla="*/ 6765577 h 6858000"/>
              <a:gd name="connsiteX404" fmla="*/ 1904650 w 7467600"/>
              <a:gd name="connsiteY404" fmla="*/ 6639616 h 6858000"/>
              <a:gd name="connsiteX405" fmla="*/ 1885273 w 7467600"/>
              <a:gd name="connsiteY405" fmla="*/ 6858000 h 6858000"/>
              <a:gd name="connsiteX406" fmla="*/ 1854363 w 7467600"/>
              <a:gd name="connsiteY406" fmla="*/ 6858000 h 6858000"/>
              <a:gd name="connsiteX407" fmla="*/ 1880391 w 7467600"/>
              <a:gd name="connsiteY407" fmla="*/ 6603796 h 6858000"/>
              <a:gd name="connsiteX408" fmla="*/ 1818273 w 7467600"/>
              <a:gd name="connsiteY408" fmla="*/ 6715729 h 6858000"/>
              <a:gd name="connsiteX409" fmla="*/ 1794691 w 7467600"/>
              <a:gd name="connsiteY409" fmla="*/ 6843239 h 6858000"/>
              <a:gd name="connsiteX410" fmla="*/ 1794914 w 7467600"/>
              <a:gd name="connsiteY410" fmla="*/ 6858000 h 6858000"/>
              <a:gd name="connsiteX411" fmla="*/ 1746128 w 7467600"/>
              <a:gd name="connsiteY411" fmla="*/ 6858000 h 6858000"/>
              <a:gd name="connsiteX412" fmla="*/ 1753934 w 7467600"/>
              <a:gd name="connsiteY412" fmla="*/ 6724796 h 6858000"/>
              <a:gd name="connsiteX413" fmla="*/ 1792053 w 7467600"/>
              <a:gd name="connsiteY413" fmla="*/ 6572396 h 6858000"/>
              <a:gd name="connsiteX414" fmla="*/ 1862248 w 7467600"/>
              <a:gd name="connsiteY414" fmla="*/ 6266397 h 6858000"/>
              <a:gd name="connsiteX415" fmla="*/ 1862250 w 7467600"/>
              <a:gd name="connsiteY415" fmla="*/ 6033531 h 6858000"/>
              <a:gd name="connsiteX416" fmla="*/ 1211999 w 7467600"/>
              <a:gd name="connsiteY416" fmla="*/ 6683610 h 6858000"/>
              <a:gd name="connsiteX417" fmla="*/ 1213266 w 7467600"/>
              <a:gd name="connsiteY417" fmla="*/ 6691947 h 6858000"/>
              <a:gd name="connsiteX418" fmla="*/ 1203370 w 7467600"/>
              <a:gd name="connsiteY418" fmla="*/ 6850676 h 6858000"/>
              <a:gd name="connsiteX419" fmla="*/ 1203671 w 7467600"/>
              <a:gd name="connsiteY419" fmla="*/ 6858000 h 6858000"/>
              <a:gd name="connsiteX420" fmla="*/ 1143180 w 7467600"/>
              <a:gd name="connsiteY420" fmla="*/ 6858000 h 6858000"/>
              <a:gd name="connsiteX421" fmla="*/ 1142176 w 7467600"/>
              <a:gd name="connsiteY421" fmla="*/ 6766045 h 6858000"/>
              <a:gd name="connsiteX422" fmla="*/ 1067484 w 7467600"/>
              <a:gd name="connsiteY422" fmla="*/ 6858000 h 6858000"/>
              <a:gd name="connsiteX423" fmla="*/ 953928 w 7467600"/>
              <a:gd name="connsiteY423" fmla="*/ 6858000 h 6858000"/>
              <a:gd name="connsiteX424" fmla="*/ 959715 w 7467600"/>
              <a:gd name="connsiteY424" fmla="*/ 6850185 h 6858000"/>
              <a:gd name="connsiteX425" fmla="*/ 1483788 w 7467600"/>
              <a:gd name="connsiteY425" fmla="*/ 6259174 h 6858000"/>
              <a:gd name="connsiteX426" fmla="*/ 1100671 w 7467600"/>
              <a:gd name="connsiteY426" fmla="*/ 6252137 h 6858000"/>
              <a:gd name="connsiteX427" fmla="*/ 1090144 w 7467600"/>
              <a:gd name="connsiteY427" fmla="*/ 6256748 h 6858000"/>
              <a:gd name="connsiteX428" fmla="*/ 1095872 w 7467600"/>
              <a:gd name="connsiteY428" fmla="*/ 6271892 h 6858000"/>
              <a:gd name="connsiteX429" fmla="*/ 262785 w 7467600"/>
              <a:gd name="connsiteY429" fmla="*/ 6845450 h 6858000"/>
              <a:gd name="connsiteX430" fmla="*/ 209968 w 7467600"/>
              <a:gd name="connsiteY430" fmla="*/ 6770713 h 6858000"/>
              <a:gd name="connsiteX431" fmla="*/ 873460 w 7467600"/>
              <a:gd name="connsiteY431" fmla="*/ 6253768 h 6858000"/>
              <a:gd name="connsiteX432" fmla="*/ 192686 w 7467600"/>
              <a:gd name="connsiteY432" fmla="*/ 5849257 h 6858000"/>
              <a:gd name="connsiteX433" fmla="*/ 4696 w 7467600"/>
              <a:gd name="connsiteY433" fmla="*/ 5697668 h 6858000"/>
              <a:gd name="connsiteX434" fmla="*/ 0 w 7467600"/>
              <a:gd name="connsiteY434" fmla="*/ 5689984 h 6858000"/>
              <a:gd name="connsiteX435" fmla="*/ 0 w 7467600"/>
              <a:gd name="connsiteY435" fmla="*/ 5513472 h 6858000"/>
              <a:gd name="connsiteX436" fmla="*/ 174101 w 7467600"/>
              <a:gd name="connsiteY436" fmla="*/ 5620277 h 6858000"/>
              <a:gd name="connsiteX437" fmla="*/ 891800 w 7467600"/>
              <a:gd name="connsiteY437" fmla="*/ 6036935 h 6858000"/>
              <a:gd name="connsiteX438" fmla="*/ 1072219 w 7467600"/>
              <a:gd name="connsiteY438" fmla="*/ 6169443 h 6858000"/>
              <a:gd name="connsiteX439" fmla="*/ 1074117 w 7467600"/>
              <a:gd name="connsiteY439" fmla="*/ 6170301 h 6858000"/>
              <a:gd name="connsiteX440" fmla="*/ 1083114 w 7467600"/>
              <a:gd name="connsiteY440" fmla="*/ 6174131 h 6858000"/>
              <a:gd name="connsiteX441" fmla="*/ 1543010 w 7467600"/>
              <a:gd name="connsiteY441" fmla="*/ 6191140 h 6858000"/>
              <a:gd name="connsiteX442" fmla="*/ 1551080 w 7467600"/>
              <a:gd name="connsiteY442" fmla="*/ 6195006 h 6858000"/>
              <a:gd name="connsiteX443" fmla="*/ 2345443 w 7467600"/>
              <a:gd name="connsiteY443" fmla="*/ 5549882 h 6858000"/>
              <a:gd name="connsiteX444" fmla="*/ 1721499 w 7467600"/>
              <a:gd name="connsiteY444" fmla="*/ 5599969 h 6858000"/>
              <a:gd name="connsiteX445" fmla="*/ 767716 w 7467600"/>
              <a:gd name="connsiteY445" fmla="*/ 5472768 h 6858000"/>
              <a:gd name="connsiteX446" fmla="*/ 722147 w 7467600"/>
              <a:gd name="connsiteY446" fmla="*/ 5393091 h 6858000"/>
              <a:gd name="connsiteX447" fmla="*/ 1485552 w 7467600"/>
              <a:gd name="connsiteY447" fmla="*/ 5313202 h 6858000"/>
              <a:gd name="connsiteX448" fmla="*/ 2143004 w 7467600"/>
              <a:gd name="connsiteY448" fmla="*/ 5402420 h 6858000"/>
              <a:gd name="connsiteX449" fmla="*/ 1933391 w 7467600"/>
              <a:gd name="connsiteY449" fmla="*/ 5156971 h 6858000"/>
              <a:gd name="connsiteX450" fmla="*/ 1827118 w 7467600"/>
              <a:gd name="connsiteY450" fmla="*/ 4968410 h 6858000"/>
              <a:gd name="connsiteX451" fmla="*/ 1837349 w 7467600"/>
              <a:gd name="connsiteY451" fmla="*/ 4956357 h 6858000"/>
              <a:gd name="connsiteX452" fmla="*/ 2162835 w 7467600"/>
              <a:gd name="connsiteY452" fmla="*/ 5187853 h 6858000"/>
              <a:gd name="connsiteX453" fmla="*/ 2257167 w 7467600"/>
              <a:gd name="connsiteY453" fmla="*/ 5462123 h 6858000"/>
              <a:gd name="connsiteX454" fmla="*/ 2261598 w 7467600"/>
              <a:gd name="connsiteY454" fmla="*/ 5467998 h 6858000"/>
              <a:gd name="connsiteX455" fmla="*/ 2437177 w 7467600"/>
              <a:gd name="connsiteY455" fmla="*/ 5479608 h 6858000"/>
              <a:gd name="connsiteX456" fmla="*/ 2445247 w 7467600"/>
              <a:gd name="connsiteY456" fmla="*/ 5483476 h 6858000"/>
              <a:gd name="connsiteX457" fmla="*/ 2743626 w 7467600"/>
              <a:gd name="connsiteY457" fmla="*/ 5304819 h 6858000"/>
              <a:gd name="connsiteX458" fmla="*/ 3048102 w 7467600"/>
              <a:gd name="connsiteY458" fmla="*/ 5150595 h 6858000"/>
              <a:gd name="connsiteX459" fmla="*/ 1799414 w 7467600"/>
              <a:gd name="connsiteY459" fmla="*/ 4694732 h 6858000"/>
              <a:gd name="connsiteX460" fmla="*/ 1771735 w 7467600"/>
              <a:gd name="connsiteY460" fmla="*/ 4619929 h 6858000"/>
              <a:gd name="connsiteX461" fmla="*/ 3104273 w 7467600"/>
              <a:gd name="connsiteY461" fmla="*/ 5076159 h 6858000"/>
              <a:gd name="connsiteX462" fmla="*/ 3113245 w 7467600"/>
              <a:gd name="connsiteY462" fmla="*/ 5090705 h 6858000"/>
              <a:gd name="connsiteX463" fmla="*/ 3126294 w 7467600"/>
              <a:gd name="connsiteY463" fmla="*/ 5114400 h 6858000"/>
              <a:gd name="connsiteX464" fmla="*/ 3937433 w 7467600"/>
              <a:gd name="connsiteY464" fmla="*/ 4830473 h 6858000"/>
              <a:gd name="connsiteX465" fmla="*/ 3590475 w 7467600"/>
              <a:gd name="connsiteY465" fmla="*/ 4597974 h 6858000"/>
              <a:gd name="connsiteX466" fmla="*/ 3100264 w 7467600"/>
              <a:gd name="connsiteY466" fmla="*/ 4579845 h 6858000"/>
              <a:gd name="connsiteX467" fmla="*/ 2183576 w 7467600"/>
              <a:gd name="connsiteY467" fmla="*/ 4227150 h 6858000"/>
              <a:gd name="connsiteX468" fmla="*/ 2151029 w 7467600"/>
              <a:gd name="connsiteY468" fmla="*/ 4146947 h 6858000"/>
              <a:gd name="connsiteX469" fmla="*/ 3563434 w 7467600"/>
              <a:gd name="connsiteY469" fmla="*/ 4469115 h 6858000"/>
              <a:gd name="connsiteX470" fmla="*/ 3177952 w 7467600"/>
              <a:gd name="connsiteY470" fmla="*/ 3657386 h 6858000"/>
              <a:gd name="connsiteX471" fmla="*/ 3189263 w 7467600"/>
              <a:gd name="connsiteY471" fmla="*/ 3625726 h 6858000"/>
              <a:gd name="connsiteX472" fmla="*/ 3560912 w 7467600"/>
              <a:gd name="connsiteY472" fmla="*/ 4079863 h 6858000"/>
              <a:gd name="connsiteX473" fmla="*/ 3626636 w 7467600"/>
              <a:gd name="connsiteY473" fmla="*/ 4512230 h 6858000"/>
              <a:gd name="connsiteX474" fmla="*/ 3653088 w 7467600"/>
              <a:gd name="connsiteY474" fmla="*/ 4521417 h 6858000"/>
              <a:gd name="connsiteX475" fmla="*/ 3988128 w 7467600"/>
              <a:gd name="connsiteY475" fmla="*/ 4817267 h 6858000"/>
              <a:gd name="connsiteX476" fmla="*/ 4830582 w 7467600"/>
              <a:gd name="connsiteY476" fmla="*/ 4676000 h 6858000"/>
              <a:gd name="connsiteX477" fmla="*/ 4830100 w 7467600"/>
              <a:gd name="connsiteY477" fmla="*/ 4675554 h 6858000"/>
              <a:gd name="connsiteX478" fmla="*/ 4036318 w 7467600"/>
              <a:gd name="connsiteY478" fmla="*/ 4147013 h 6858000"/>
              <a:gd name="connsiteX479" fmla="*/ 3432098 w 7467600"/>
              <a:gd name="connsiteY479" fmla="*/ 3537312 h 6858000"/>
              <a:gd name="connsiteX480" fmla="*/ 3446761 w 7467600"/>
              <a:gd name="connsiteY480" fmla="*/ 3461278 h 6858000"/>
              <a:gd name="connsiteX481" fmla="*/ 4419733 w 7467600"/>
              <a:gd name="connsiteY481" fmla="*/ 3963555 h 6858000"/>
              <a:gd name="connsiteX482" fmla="*/ 4781371 w 7467600"/>
              <a:gd name="connsiteY482" fmla="*/ 4458604 h 6858000"/>
              <a:gd name="connsiteX483" fmla="*/ 4780440 w 7467600"/>
              <a:gd name="connsiteY483" fmla="*/ 4470290 h 6858000"/>
              <a:gd name="connsiteX484" fmla="*/ 4898954 w 7467600"/>
              <a:gd name="connsiteY484" fmla="*/ 4662092 h 6858000"/>
              <a:gd name="connsiteX485" fmla="*/ 4900699 w 7467600"/>
              <a:gd name="connsiteY485" fmla="*/ 4670867 h 6858000"/>
              <a:gd name="connsiteX486" fmla="*/ 5714511 w 7467600"/>
              <a:gd name="connsiteY486" fmla="*/ 4663483 h 6858000"/>
              <a:gd name="connsiteX487" fmla="*/ 5464793 w 7467600"/>
              <a:gd name="connsiteY487" fmla="*/ 4393556 h 6858000"/>
              <a:gd name="connsiteX488" fmla="*/ 5461897 w 7467600"/>
              <a:gd name="connsiteY488" fmla="*/ 4390879 h 6858000"/>
              <a:gd name="connsiteX489" fmla="*/ 4294126 w 7467600"/>
              <a:gd name="connsiteY489" fmla="*/ 3303048 h 6858000"/>
              <a:gd name="connsiteX490" fmla="*/ 4305321 w 7467600"/>
              <a:gd name="connsiteY490" fmla="*/ 3256953 h 6858000"/>
              <a:gd name="connsiteX491" fmla="*/ 4949299 w 7467600"/>
              <a:gd name="connsiteY491" fmla="*/ 3766336 h 6858000"/>
              <a:gd name="connsiteX492" fmla="*/ 5291452 w 7467600"/>
              <a:gd name="connsiteY492" fmla="*/ 4076801 h 6858000"/>
              <a:gd name="connsiteX493" fmla="*/ 5434998 w 7467600"/>
              <a:gd name="connsiteY493" fmla="*/ 4254100 h 6858000"/>
              <a:gd name="connsiteX494" fmla="*/ 5351015 w 7467600"/>
              <a:gd name="connsiteY494" fmla="*/ 3760989 h 6858000"/>
              <a:gd name="connsiteX495" fmla="*/ 5413780 w 7467600"/>
              <a:gd name="connsiteY495" fmla="*/ 2966265 h 6858000"/>
              <a:gd name="connsiteX496" fmla="*/ 5425627 w 7467600"/>
              <a:gd name="connsiteY496" fmla="*/ 2954192 h 6858000"/>
              <a:gd name="connsiteX497" fmla="*/ 6604735 w 7467600"/>
              <a:gd name="connsiteY497" fmla="*/ 2041381 h 6858000"/>
              <a:gd name="connsiteX498" fmla="*/ 7204487 w 7467600"/>
              <a:gd name="connsiteY498" fmla="*/ 2742112 h 6858000"/>
              <a:gd name="connsiteX499" fmla="*/ 7131592 w 7467600"/>
              <a:gd name="connsiteY499" fmla="*/ 2672096 h 6858000"/>
              <a:gd name="connsiteX500" fmla="*/ 6996344 w 7467600"/>
              <a:gd name="connsiteY500" fmla="*/ 2518310 h 6858000"/>
              <a:gd name="connsiteX501" fmla="*/ 6735495 w 7467600"/>
              <a:gd name="connsiteY501" fmla="*/ 2196890 h 6858000"/>
              <a:gd name="connsiteX502" fmla="*/ 6721901 w 7467600"/>
              <a:gd name="connsiteY502" fmla="*/ 2179274 h 6858000"/>
              <a:gd name="connsiteX503" fmla="*/ 6604735 w 7467600"/>
              <a:gd name="connsiteY503" fmla="*/ 2041381 h 6858000"/>
              <a:gd name="connsiteX504" fmla="*/ 6591670 w 7467600"/>
              <a:gd name="connsiteY504" fmla="*/ 1988277 h 6858000"/>
              <a:gd name="connsiteX505" fmla="*/ 6747349 w 7467600"/>
              <a:gd name="connsiteY505" fmla="*/ 2160069 h 6858000"/>
              <a:gd name="connsiteX506" fmla="*/ 6760943 w 7467600"/>
              <a:gd name="connsiteY506" fmla="*/ 2177686 h 6858000"/>
              <a:gd name="connsiteX507" fmla="*/ 7021065 w 7467600"/>
              <a:gd name="connsiteY507" fmla="*/ 2498102 h 6858000"/>
              <a:gd name="connsiteX508" fmla="*/ 7155223 w 7467600"/>
              <a:gd name="connsiteY508" fmla="*/ 2650386 h 6858000"/>
              <a:gd name="connsiteX509" fmla="*/ 7203167 w 7467600"/>
              <a:gd name="connsiteY509" fmla="*/ 2697288 h 6858000"/>
              <a:gd name="connsiteX510" fmla="*/ 6937703 w 7467600"/>
              <a:gd name="connsiteY510" fmla="*/ 2321981 h 6858000"/>
              <a:gd name="connsiteX511" fmla="*/ 6591670 w 7467600"/>
              <a:gd name="connsiteY511" fmla="*/ 1988277 h 6858000"/>
              <a:gd name="connsiteX512" fmla="*/ 5798671 w 7467600"/>
              <a:gd name="connsiteY512" fmla="*/ 1981601 h 6858000"/>
              <a:gd name="connsiteX513" fmla="*/ 5754709 w 7467600"/>
              <a:gd name="connsiteY513" fmla="*/ 2071454 h 6858000"/>
              <a:gd name="connsiteX514" fmla="*/ 5763044 w 7467600"/>
              <a:gd name="connsiteY514" fmla="*/ 2842206 h 6858000"/>
              <a:gd name="connsiteX515" fmla="*/ 5764974 w 7467600"/>
              <a:gd name="connsiteY515" fmla="*/ 2799609 h 6858000"/>
              <a:gd name="connsiteX516" fmla="*/ 5767665 w 7467600"/>
              <a:gd name="connsiteY516" fmla="*/ 2666409 h 6858000"/>
              <a:gd name="connsiteX517" fmla="*/ 5763055 w 7467600"/>
              <a:gd name="connsiteY517" fmla="*/ 2579705 h 6858000"/>
              <a:gd name="connsiteX518" fmla="*/ 5758079 w 7467600"/>
              <a:gd name="connsiteY518" fmla="*/ 2492508 h 6858000"/>
              <a:gd name="connsiteX519" fmla="*/ 5779325 w 7467600"/>
              <a:gd name="connsiteY519" fmla="*/ 2197069 h 6858000"/>
              <a:gd name="connsiteX520" fmla="*/ 5798671 w 7467600"/>
              <a:gd name="connsiteY520" fmla="*/ 1981601 h 6858000"/>
              <a:gd name="connsiteX521" fmla="*/ 5829202 w 7467600"/>
              <a:gd name="connsiteY521" fmla="*/ 1971679 h 6858000"/>
              <a:gd name="connsiteX522" fmla="*/ 5809558 w 7467600"/>
              <a:gd name="connsiteY522" fmla="*/ 2198043 h 6858000"/>
              <a:gd name="connsiteX523" fmla="*/ 5788653 w 7467600"/>
              <a:gd name="connsiteY523" fmla="*/ 2489430 h 6858000"/>
              <a:gd name="connsiteX524" fmla="*/ 5793439 w 7467600"/>
              <a:gd name="connsiteY524" fmla="*/ 2575235 h 6858000"/>
              <a:gd name="connsiteX525" fmla="*/ 5796837 w 7467600"/>
              <a:gd name="connsiteY525" fmla="*/ 2637633 h 6858000"/>
              <a:gd name="connsiteX526" fmla="*/ 5818614 w 7467600"/>
              <a:gd name="connsiteY526" fmla="*/ 2473055 h 6858000"/>
              <a:gd name="connsiteX527" fmla="*/ 5829202 w 7467600"/>
              <a:gd name="connsiteY527" fmla="*/ 1971679 h 6858000"/>
              <a:gd name="connsiteX528" fmla="*/ 5911389 w 7467600"/>
              <a:gd name="connsiteY528" fmla="*/ 1898371 h 6858000"/>
              <a:gd name="connsiteX529" fmla="*/ 6237627 w 7467600"/>
              <a:gd name="connsiteY529" fmla="*/ 2231921 h 6858000"/>
              <a:gd name="connsiteX530" fmla="*/ 5911389 w 7467600"/>
              <a:gd name="connsiteY530" fmla="*/ 1898371 h 6858000"/>
              <a:gd name="connsiteX531" fmla="*/ 6944437 w 7467600"/>
              <a:gd name="connsiteY531" fmla="*/ 1575402 h 6858000"/>
              <a:gd name="connsiteX532" fmla="*/ 6304730 w 7467600"/>
              <a:gd name="connsiteY532" fmla="*/ 1766654 h 6858000"/>
              <a:gd name="connsiteX533" fmla="*/ 6944437 w 7467600"/>
              <a:gd name="connsiteY533" fmla="*/ 1575402 h 6858000"/>
              <a:gd name="connsiteX534" fmla="*/ 7019523 w 7467600"/>
              <a:gd name="connsiteY534" fmla="*/ 1519450 h 6858000"/>
              <a:gd name="connsiteX535" fmla="*/ 6298091 w 7467600"/>
              <a:gd name="connsiteY535" fmla="*/ 1737122 h 6858000"/>
              <a:gd name="connsiteX536" fmla="*/ 7019523 w 7467600"/>
              <a:gd name="connsiteY536" fmla="*/ 1519450 h 6858000"/>
              <a:gd name="connsiteX537" fmla="*/ 2399523 w 7467600"/>
              <a:gd name="connsiteY537" fmla="*/ 1428234 h 6858000"/>
              <a:gd name="connsiteX538" fmla="*/ 2224982 w 7467600"/>
              <a:gd name="connsiteY538" fmla="*/ 1826201 h 6858000"/>
              <a:gd name="connsiteX539" fmla="*/ 2096099 w 7467600"/>
              <a:gd name="connsiteY539" fmla="*/ 2345900 h 6858000"/>
              <a:gd name="connsiteX540" fmla="*/ 2283317 w 7467600"/>
              <a:gd name="connsiteY540" fmla="*/ 1796925 h 6858000"/>
              <a:gd name="connsiteX541" fmla="*/ 2399523 w 7467600"/>
              <a:gd name="connsiteY541" fmla="*/ 1428234 h 6858000"/>
              <a:gd name="connsiteX542" fmla="*/ 2448558 w 7467600"/>
              <a:gd name="connsiteY542" fmla="*/ 1373435 h 6858000"/>
              <a:gd name="connsiteX543" fmla="*/ 2312521 w 7467600"/>
              <a:gd name="connsiteY543" fmla="*/ 1806140 h 6858000"/>
              <a:gd name="connsiteX544" fmla="*/ 2127533 w 7467600"/>
              <a:gd name="connsiteY544" fmla="*/ 2348380 h 6858000"/>
              <a:gd name="connsiteX545" fmla="*/ 2358080 w 7467600"/>
              <a:gd name="connsiteY545" fmla="*/ 1866134 h 6858000"/>
              <a:gd name="connsiteX546" fmla="*/ 2407436 w 7467600"/>
              <a:gd name="connsiteY546" fmla="*/ 1651070 h 6858000"/>
              <a:gd name="connsiteX547" fmla="*/ 2448558 w 7467600"/>
              <a:gd name="connsiteY547" fmla="*/ 1373435 h 6858000"/>
              <a:gd name="connsiteX548" fmla="*/ 278707 w 7467600"/>
              <a:gd name="connsiteY548" fmla="*/ 1352270 h 6858000"/>
              <a:gd name="connsiteX549" fmla="*/ 321570 w 7467600"/>
              <a:gd name="connsiteY549" fmla="*/ 1861610 h 6858000"/>
              <a:gd name="connsiteX550" fmla="*/ 294281 w 7467600"/>
              <a:gd name="connsiteY550" fmla="*/ 1440658 h 6858000"/>
              <a:gd name="connsiteX551" fmla="*/ 278707 w 7467600"/>
              <a:gd name="connsiteY551" fmla="*/ 1352270 h 6858000"/>
              <a:gd name="connsiteX552" fmla="*/ 1423821 w 7467600"/>
              <a:gd name="connsiteY552" fmla="*/ 1351958 h 6858000"/>
              <a:gd name="connsiteX553" fmla="*/ 1638521 w 7467600"/>
              <a:gd name="connsiteY553" fmla="*/ 1908470 h 6858000"/>
              <a:gd name="connsiteX554" fmla="*/ 1754199 w 7467600"/>
              <a:gd name="connsiteY554" fmla="*/ 2149284 h 6858000"/>
              <a:gd name="connsiteX555" fmla="*/ 1908359 w 7467600"/>
              <a:gd name="connsiteY555" fmla="*/ 2364988 h 6858000"/>
              <a:gd name="connsiteX556" fmla="*/ 1647661 w 7467600"/>
              <a:gd name="connsiteY556" fmla="*/ 1825945 h 6858000"/>
              <a:gd name="connsiteX557" fmla="*/ 1423821 w 7467600"/>
              <a:gd name="connsiteY557" fmla="*/ 1351958 h 6858000"/>
              <a:gd name="connsiteX558" fmla="*/ 1431890 w 7467600"/>
              <a:gd name="connsiteY558" fmla="*/ 1306475 h 6858000"/>
              <a:gd name="connsiteX559" fmla="*/ 1507597 w 7467600"/>
              <a:gd name="connsiteY559" fmla="*/ 1446132 h 6858000"/>
              <a:gd name="connsiteX560" fmla="*/ 1674586 w 7467600"/>
              <a:gd name="connsiteY560" fmla="*/ 1813832 h 6858000"/>
              <a:gd name="connsiteX561" fmla="*/ 1815950 w 7467600"/>
              <a:gd name="connsiteY561" fmla="*/ 2128564 h 6858000"/>
              <a:gd name="connsiteX562" fmla="*/ 1984242 w 7467600"/>
              <a:gd name="connsiteY562" fmla="*/ 2430829 h 6858000"/>
              <a:gd name="connsiteX563" fmla="*/ 2014023 w 7467600"/>
              <a:gd name="connsiteY563" fmla="*/ 2450995 h 6858000"/>
              <a:gd name="connsiteX564" fmla="*/ 1747337 w 7467600"/>
              <a:gd name="connsiteY564" fmla="*/ 1855264 h 6858000"/>
              <a:gd name="connsiteX565" fmla="*/ 1533749 w 7467600"/>
              <a:gd name="connsiteY565" fmla="*/ 1478656 h 6858000"/>
              <a:gd name="connsiteX566" fmla="*/ 1431890 w 7467600"/>
              <a:gd name="connsiteY566" fmla="*/ 1306475 h 6858000"/>
              <a:gd name="connsiteX567" fmla="*/ 5052692 w 7467600"/>
              <a:gd name="connsiteY567" fmla="*/ 1292994 h 6858000"/>
              <a:gd name="connsiteX568" fmla="*/ 5200661 w 7467600"/>
              <a:gd name="connsiteY568" fmla="*/ 1635186 h 6858000"/>
              <a:gd name="connsiteX569" fmla="*/ 5297138 w 7467600"/>
              <a:gd name="connsiteY569" fmla="*/ 1906351 h 6858000"/>
              <a:gd name="connsiteX570" fmla="*/ 5052692 w 7467600"/>
              <a:gd name="connsiteY570" fmla="*/ 1292994 h 6858000"/>
              <a:gd name="connsiteX571" fmla="*/ 5009948 w 7467600"/>
              <a:gd name="connsiteY571" fmla="*/ 1273619 h 6858000"/>
              <a:gd name="connsiteX572" fmla="*/ 5121777 w 7467600"/>
              <a:gd name="connsiteY572" fmla="*/ 1654213 h 6858000"/>
              <a:gd name="connsiteX573" fmla="*/ 5293545 w 7467600"/>
              <a:gd name="connsiteY573" fmla="*/ 2072247 h 6858000"/>
              <a:gd name="connsiteX574" fmla="*/ 5294042 w 7467600"/>
              <a:gd name="connsiteY574" fmla="*/ 2065019 h 6858000"/>
              <a:gd name="connsiteX575" fmla="*/ 5171936 w 7467600"/>
              <a:gd name="connsiteY575" fmla="*/ 1647613 h 6858000"/>
              <a:gd name="connsiteX576" fmla="*/ 5009948 w 7467600"/>
              <a:gd name="connsiteY576" fmla="*/ 1273619 h 6858000"/>
              <a:gd name="connsiteX577" fmla="*/ 655236 w 7467600"/>
              <a:gd name="connsiteY577" fmla="*/ 1268632 h 6858000"/>
              <a:gd name="connsiteX578" fmla="*/ 839521 w 7467600"/>
              <a:gd name="connsiteY578" fmla="*/ 1685315 h 6858000"/>
              <a:gd name="connsiteX579" fmla="*/ 1109416 w 7467600"/>
              <a:gd name="connsiteY579" fmla="*/ 2061663 h 6858000"/>
              <a:gd name="connsiteX580" fmla="*/ 1298300 w 7467600"/>
              <a:gd name="connsiteY580" fmla="*/ 2247742 h 6858000"/>
              <a:gd name="connsiteX581" fmla="*/ 1125871 w 7467600"/>
              <a:gd name="connsiteY581" fmla="*/ 1989513 h 6858000"/>
              <a:gd name="connsiteX582" fmla="*/ 981574 w 7467600"/>
              <a:gd name="connsiteY582" fmla="*/ 1783157 h 6858000"/>
              <a:gd name="connsiteX583" fmla="*/ 922198 w 7467600"/>
              <a:gd name="connsiteY583" fmla="*/ 1677437 h 6858000"/>
              <a:gd name="connsiteX584" fmla="*/ 869293 w 7467600"/>
              <a:gd name="connsiteY584" fmla="*/ 1583214 h 6858000"/>
              <a:gd name="connsiteX585" fmla="*/ 751431 w 7467600"/>
              <a:gd name="connsiteY585" fmla="*/ 1405731 h 6858000"/>
              <a:gd name="connsiteX586" fmla="*/ 655236 w 7467600"/>
              <a:gd name="connsiteY586" fmla="*/ 1268632 h 6858000"/>
              <a:gd name="connsiteX587" fmla="*/ 6516292 w 7467600"/>
              <a:gd name="connsiteY587" fmla="*/ 1263064 h 6858000"/>
              <a:gd name="connsiteX588" fmla="*/ 5736320 w 7467600"/>
              <a:gd name="connsiteY588" fmla="*/ 1501803 h 6858000"/>
              <a:gd name="connsiteX589" fmla="*/ 6516292 w 7467600"/>
              <a:gd name="connsiteY589" fmla="*/ 1263064 h 6858000"/>
              <a:gd name="connsiteX590" fmla="*/ 291466 w 7467600"/>
              <a:gd name="connsiteY590" fmla="*/ 1250369 h 6858000"/>
              <a:gd name="connsiteX591" fmla="*/ 323180 w 7467600"/>
              <a:gd name="connsiteY591" fmla="*/ 1435283 h 6858000"/>
              <a:gd name="connsiteX592" fmla="*/ 349381 w 7467600"/>
              <a:gd name="connsiteY592" fmla="*/ 1875041 h 6858000"/>
              <a:gd name="connsiteX593" fmla="*/ 374363 w 7467600"/>
              <a:gd name="connsiteY593" fmla="*/ 1506494 h 6858000"/>
              <a:gd name="connsiteX594" fmla="*/ 302168 w 7467600"/>
              <a:gd name="connsiteY594" fmla="*/ 1274495 h 6858000"/>
              <a:gd name="connsiteX595" fmla="*/ 291466 w 7467600"/>
              <a:gd name="connsiteY595" fmla="*/ 1250369 h 6858000"/>
              <a:gd name="connsiteX596" fmla="*/ 678222 w 7467600"/>
              <a:gd name="connsiteY596" fmla="*/ 1248670 h 6858000"/>
              <a:gd name="connsiteX597" fmla="*/ 775536 w 7467600"/>
              <a:gd name="connsiteY597" fmla="*/ 1388015 h 6858000"/>
              <a:gd name="connsiteX598" fmla="*/ 894529 w 7467600"/>
              <a:gd name="connsiteY598" fmla="*/ 1567739 h 6858000"/>
              <a:gd name="connsiteX599" fmla="*/ 948000 w 7467600"/>
              <a:gd name="connsiteY599" fmla="*/ 1663088 h 6858000"/>
              <a:gd name="connsiteX600" fmla="*/ 1006812 w 7467600"/>
              <a:gd name="connsiteY600" fmla="*/ 1767683 h 6858000"/>
              <a:gd name="connsiteX601" fmla="*/ 1149133 w 7467600"/>
              <a:gd name="connsiteY601" fmla="*/ 1971513 h 6858000"/>
              <a:gd name="connsiteX602" fmla="*/ 1333952 w 7467600"/>
              <a:gd name="connsiteY602" fmla="*/ 2251620 h 6858000"/>
              <a:gd name="connsiteX603" fmla="*/ 1337329 w 7467600"/>
              <a:gd name="connsiteY603" fmla="*/ 2258350 h 6858000"/>
              <a:gd name="connsiteX604" fmla="*/ 1014726 w 7467600"/>
              <a:gd name="connsiteY604" fmla="*/ 1615556 h 6858000"/>
              <a:gd name="connsiteX605" fmla="*/ 678222 w 7467600"/>
              <a:gd name="connsiteY605" fmla="*/ 1248670 h 6858000"/>
              <a:gd name="connsiteX606" fmla="*/ 6691602 w 7467600"/>
              <a:gd name="connsiteY606" fmla="*/ 1140573 h 6858000"/>
              <a:gd name="connsiteX607" fmla="*/ 6571100 w 7467600"/>
              <a:gd name="connsiteY607" fmla="*/ 1183662 h 6858000"/>
              <a:gd name="connsiteX608" fmla="*/ 6241687 w 7467600"/>
              <a:gd name="connsiteY608" fmla="*/ 1257600 h 6858000"/>
              <a:gd name="connsiteX609" fmla="*/ 5693009 w 7467600"/>
              <a:gd name="connsiteY609" fmla="*/ 1478256 h 6858000"/>
              <a:gd name="connsiteX610" fmla="*/ 6548420 w 7467600"/>
              <a:gd name="connsiteY610" fmla="*/ 1214599 h 6858000"/>
              <a:gd name="connsiteX611" fmla="*/ 6605473 w 7467600"/>
              <a:gd name="connsiteY611" fmla="*/ 1184686 h 6858000"/>
              <a:gd name="connsiteX612" fmla="*/ 6691602 w 7467600"/>
              <a:gd name="connsiteY612" fmla="*/ 1140573 h 6858000"/>
              <a:gd name="connsiteX613" fmla="*/ 4002475 w 7467600"/>
              <a:gd name="connsiteY613" fmla="*/ 1037802 h 6858000"/>
              <a:gd name="connsiteX614" fmla="*/ 4000324 w 7467600"/>
              <a:gd name="connsiteY614" fmla="*/ 1039362 h 6858000"/>
              <a:gd name="connsiteX615" fmla="*/ 4002862 w 7467600"/>
              <a:gd name="connsiteY615" fmla="*/ 1042866 h 6858000"/>
              <a:gd name="connsiteX616" fmla="*/ 4002475 w 7467600"/>
              <a:gd name="connsiteY616" fmla="*/ 1037802 h 6858000"/>
              <a:gd name="connsiteX617" fmla="*/ 506322 w 7467600"/>
              <a:gd name="connsiteY617" fmla="*/ 1020997 h 6858000"/>
              <a:gd name="connsiteX618" fmla="*/ 533068 w 7467600"/>
              <a:gd name="connsiteY618" fmla="*/ 1029409 h 6858000"/>
              <a:gd name="connsiteX619" fmla="*/ 1232525 w 7467600"/>
              <a:gd name="connsiteY619" fmla="*/ 1804675 h 6858000"/>
              <a:gd name="connsiteX620" fmla="*/ 1388858 w 7467600"/>
              <a:gd name="connsiteY620" fmla="*/ 2368011 h 6858000"/>
              <a:gd name="connsiteX621" fmla="*/ 1384098 w 7467600"/>
              <a:gd name="connsiteY621" fmla="*/ 2378125 h 6858000"/>
              <a:gd name="connsiteX622" fmla="*/ 1425393 w 7467600"/>
              <a:gd name="connsiteY622" fmla="*/ 2589124 h 6858000"/>
              <a:gd name="connsiteX623" fmla="*/ 1424001 w 7467600"/>
              <a:gd name="connsiteY623" fmla="*/ 2597541 h 6858000"/>
              <a:gd name="connsiteX624" fmla="*/ 2152729 w 7467600"/>
              <a:gd name="connsiteY624" fmla="*/ 2864487 h 6858000"/>
              <a:gd name="connsiteX625" fmla="*/ 2020609 w 7467600"/>
              <a:gd name="connsiteY625" fmla="*/ 2539671 h 6858000"/>
              <a:gd name="connsiteX626" fmla="*/ 2018920 w 7467600"/>
              <a:gd name="connsiteY626" fmla="*/ 2536309 h 6858000"/>
              <a:gd name="connsiteX627" fmla="*/ 1342441 w 7467600"/>
              <a:gd name="connsiteY627" fmla="*/ 1173017 h 6858000"/>
              <a:gd name="connsiteX628" fmla="*/ 1367925 w 7467600"/>
              <a:gd name="connsiteY628" fmla="*/ 1135648 h 6858000"/>
              <a:gd name="connsiteX629" fmla="*/ 1771401 w 7467600"/>
              <a:gd name="connsiteY629" fmla="*/ 1806673 h 6858000"/>
              <a:gd name="connsiteX630" fmla="*/ 1972385 w 7467600"/>
              <a:gd name="connsiteY630" fmla="*/ 2198735 h 6858000"/>
              <a:gd name="connsiteX631" fmla="*/ 2040892 w 7467600"/>
              <a:gd name="connsiteY631" fmla="*/ 2405205 h 6858000"/>
              <a:gd name="connsiteX632" fmla="*/ 2131689 w 7467600"/>
              <a:gd name="connsiteY632" fmla="*/ 1936926 h 6858000"/>
              <a:gd name="connsiteX633" fmla="*/ 2454820 w 7467600"/>
              <a:gd name="connsiteY633" fmla="*/ 1248808 h 6858000"/>
              <a:gd name="connsiteX634" fmla="*/ 2492512 w 7467600"/>
              <a:gd name="connsiteY634" fmla="*/ 1302920 h 6858000"/>
              <a:gd name="connsiteX635" fmla="*/ 2081216 w 7467600"/>
              <a:gd name="connsiteY635" fmla="*/ 2527513 h 6858000"/>
              <a:gd name="connsiteX636" fmla="*/ 2081211 w 7467600"/>
              <a:gd name="connsiteY636" fmla="*/ 2528916 h 6858000"/>
              <a:gd name="connsiteX637" fmla="*/ 2199067 w 7467600"/>
              <a:gd name="connsiteY637" fmla="*/ 2884061 h 6858000"/>
              <a:gd name="connsiteX638" fmla="*/ 3192586 w 7467600"/>
              <a:gd name="connsiteY638" fmla="*/ 3411496 h 6858000"/>
              <a:gd name="connsiteX639" fmla="*/ 3182620 w 7467600"/>
              <a:gd name="connsiteY639" fmla="*/ 3483279 h 6858000"/>
              <a:gd name="connsiteX640" fmla="*/ 2435119 w 7467600"/>
              <a:gd name="connsiteY640" fmla="*/ 3080173 h 6858000"/>
              <a:gd name="connsiteX641" fmla="*/ 2410152 w 7467600"/>
              <a:gd name="connsiteY641" fmla="*/ 3063751 h 6858000"/>
              <a:gd name="connsiteX642" fmla="*/ 2408099 w 7467600"/>
              <a:gd name="connsiteY642" fmla="*/ 3064403 h 6858000"/>
              <a:gd name="connsiteX643" fmla="*/ 2407218 w 7467600"/>
              <a:gd name="connsiteY643" fmla="*/ 3070324 h 6858000"/>
              <a:gd name="connsiteX644" fmla="*/ 2380138 w 7467600"/>
              <a:gd name="connsiteY644" fmla="*/ 3099341 h 6858000"/>
              <a:gd name="connsiteX645" fmla="*/ 1765923 w 7467600"/>
              <a:gd name="connsiteY645" fmla="*/ 3581043 h 6858000"/>
              <a:gd name="connsiteX646" fmla="*/ 1702258 w 7467600"/>
              <a:gd name="connsiteY646" fmla="*/ 3612286 h 6858000"/>
              <a:gd name="connsiteX647" fmla="*/ 1538370 w 7467600"/>
              <a:gd name="connsiteY647" fmla="*/ 3811804 h 6858000"/>
              <a:gd name="connsiteX648" fmla="*/ 542867 w 7467600"/>
              <a:gd name="connsiteY648" fmla="*/ 4944092 h 6858000"/>
              <a:gd name="connsiteX649" fmla="*/ 515800 w 7467600"/>
              <a:gd name="connsiteY649" fmla="*/ 4862180 h 6858000"/>
              <a:gd name="connsiteX650" fmla="*/ 909145 w 7467600"/>
              <a:gd name="connsiteY650" fmla="*/ 4199225 h 6858000"/>
              <a:gd name="connsiteX651" fmla="*/ 1214067 w 7467600"/>
              <a:gd name="connsiteY651" fmla="*/ 3908561 h 6858000"/>
              <a:gd name="connsiteX652" fmla="*/ 640967 w 7467600"/>
              <a:gd name="connsiteY652" fmla="*/ 4105601 h 6858000"/>
              <a:gd name="connsiteX653" fmla="*/ 112563 w 7467600"/>
              <a:gd name="connsiteY653" fmla="*/ 4396952 h 6858000"/>
              <a:gd name="connsiteX654" fmla="*/ 0 w 7467600"/>
              <a:gd name="connsiteY654" fmla="*/ 4466006 h 6858000"/>
              <a:gd name="connsiteX655" fmla="*/ 0 w 7467600"/>
              <a:gd name="connsiteY655" fmla="*/ 4233763 h 6858000"/>
              <a:gd name="connsiteX656" fmla="*/ 36881 w 7467600"/>
              <a:gd name="connsiteY656" fmla="*/ 4200118 h 6858000"/>
              <a:gd name="connsiteX657" fmla="*/ 910534 w 7467600"/>
              <a:gd name="connsiteY657" fmla="*/ 3629753 h 6858000"/>
              <a:gd name="connsiteX658" fmla="*/ 1578717 w 7467600"/>
              <a:gd name="connsiteY658" fmla="*/ 3575982 h 6858000"/>
              <a:gd name="connsiteX659" fmla="*/ 2338780 w 7467600"/>
              <a:gd name="connsiteY659" fmla="*/ 3033725 h 6858000"/>
              <a:gd name="connsiteX660" fmla="*/ 1807991 w 7467600"/>
              <a:gd name="connsiteY660" fmla="*/ 2807184 h 6858000"/>
              <a:gd name="connsiteX661" fmla="*/ 1416358 w 7467600"/>
              <a:gd name="connsiteY661" fmla="*/ 3112571 h 6858000"/>
              <a:gd name="connsiteX662" fmla="*/ 939066 w 7467600"/>
              <a:gd name="connsiteY662" fmla="*/ 3378798 h 6858000"/>
              <a:gd name="connsiteX663" fmla="*/ 115099 w 7467600"/>
              <a:gd name="connsiteY663" fmla="*/ 3607650 h 6858000"/>
              <a:gd name="connsiteX664" fmla="*/ 97284 w 7467600"/>
              <a:gd name="connsiteY664" fmla="*/ 3520393 h 6858000"/>
              <a:gd name="connsiteX665" fmla="*/ 922050 w 7467600"/>
              <a:gd name="connsiteY665" fmla="*/ 3074867 h 6858000"/>
              <a:gd name="connsiteX666" fmla="*/ 1405265 w 7467600"/>
              <a:gd name="connsiteY666" fmla="*/ 3016319 h 6858000"/>
              <a:gd name="connsiteX667" fmla="*/ 1407512 w 7467600"/>
              <a:gd name="connsiteY667" fmla="*/ 3018001 h 6858000"/>
              <a:gd name="connsiteX668" fmla="*/ 1726266 w 7467600"/>
              <a:gd name="connsiteY668" fmla="*/ 2777274 h 6858000"/>
              <a:gd name="connsiteX669" fmla="*/ 625390 w 7467600"/>
              <a:gd name="connsiteY669" fmla="*/ 2514541 h 6858000"/>
              <a:gd name="connsiteX670" fmla="*/ 619799 w 7467600"/>
              <a:gd name="connsiteY670" fmla="*/ 2527180 h 6858000"/>
              <a:gd name="connsiteX671" fmla="*/ 310030 w 7467600"/>
              <a:gd name="connsiteY671" fmla="*/ 2771818 h 6858000"/>
              <a:gd name="connsiteX672" fmla="*/ 173877 w 7467600"/>
              <a:gd name="connsiteY672" fmla="*/ 2937056 h 6858000"/>
              <a:gd name="connsiteX673" fmla="*/ 77889 w 7467600"/>
              <a:gd name="connsiteY673" fmla="*/ 3138440 h 6858000"/>
              <a:gd name="connsiteX674" fmla="*/ 0 w 7467600"/>
              <a:gd name="connsiteY674" fmla="*/ 3271395 h 6858000"/>
              <a:gd name="connsiteX675" fmla="*/ 0 w 7467600"/>
              <a:gd name="connsiteY675" fmla="*/ 3153002 h 6858000"/>
              <a:gd name="connsiteX676" fmla="*/ 2386 w 7467600"/>
              <a:gd name="connsiteY676" fmla="*/ 3149203 h 6858000"/>
              <a:gd name="connsiteX677" fmla="*/ 89753 w 7467600"/>
              <a:gd name="connsiteY677" fmla="*/ 2987702 h 6858000"/>
              <a:gd name="connsiteX678" fmla="*/ 76869 w 7467600"/>
              <a:gd name="connsiteY678" fmla="*/ 3005404 h 6858000"/>
              <a:gd name="connsiteX679" fmla="*/ 32049 w 7467600"/>
              <a:gd name="connsiteY679" fmla="*/ 3065814 h 6858000"/>
              <a:gd name="connsiteX680" fmla="*/ 0 w 7467600"/>
              <a:gd name="connsiteY680" fmla="*/ 3108744 h 6858000"/>
              <a:gd name="connsiteX681" fmla="*/ 0 w 7467600"/>
              <a:gd name="connsiteY681" fmla="*/ 3058059 h 6858000"/>
              <a:gd name="connsiteX682" fmla="*/ 7610 w 7467600"/>
              <a:gd name="connsiteY682" fmla="*/ 3047889 h 6858000"/>
              <a:gd name="connsiteX683" fmla="*/ 52419 w 7467600"/>
              <a:gd name="connsiteY683" fmla="*/ 2987479 h 6858000"/>
              <a:gd name="connsiteX684" fmla="*/ 59142 w 7467600"/>
              <a:gd name="connsiteY684" fmla="*/ 2978488 h 6858000"/>
              <a:gd name="connsiteX685" fmla="*/ 0 w 7467600"/>
              <a:gd name="connsiteY685" fmla="*/ 3015334 h 6858000"/>
              <a:gd name="connsiteX686" fmla="*/ 0 w 7467600"/>
              <a:gd name="connsiteY686" fmla="*/ 2914286 h 6858000"/>
              <a:gd name="connsiteX687" fmla="*/ 36383 w 7467600"/>
              <a:gd name="connsiteY687" fmla="*/ 2901128 h 6858000"/>
              <a:gd name="connsiteX688" fmla="*/ 156329 w 7467600"/>
              <a:gd name="connsiteY688" fmla="*/ 2840533 h 6858000"/>
              <a:gd name="connsiteX689" fmla="*/ 358355 w 7467600"/>
              <a:gd name="connsiteY689" fmla="*/ 2620471 h 6858000"/>
              <a:gd name="connsiteX690" fmla="*/ 510577 w 7467600"/>
              <a:gd name="connsiteY690" fmla="*/ 2501244 h 6858000"/>
              <a:gd name="connsiteX691" fmla="*/ 211967 w 7467600"/>
              <a:gd name="connsiteY691" fmla="*/ 2479171 h 6858000"/>
              <a:gd name="connsiteX692" fmla="*/ 0 w 7467600"/>
              <a:gd name="connsiteY692" fmla="*/ 2476398 h 6858000"/>
              <a:gd name="connsiteX693" fmla="*/ 0 w 7467600"/>
              <a:gd name="connsiteY693" fmla="*/ 2389189 h 6858000"/>
              <a:gd name="connsiteX694" fmla="*/ 103062 w 7467600"/>
              <a:gd name="connsiteY694" fmla="*/ 2389518 h 6858000"/>
              <a:gd name="connsiteX695" fmla="*/ 510734 w 7467600"/>
              <a:gd name="connsiteY695" fmla="*/ 2416201 h 6858000"/>
              <a:gd name="connsiteX696" fmla="*/ 279257 w 7467600"/>
              <a:gd name="connsiteY696" fmla="*/ 2092102 h 6858000"/>
              <a:gd name="connsiteX697" fmla="*/ 65265 w 7467600"/>
              <a:gd name="connsiteY697" fmla="*/ 2006049 h 6858000"/>
              <a:gd name="connsiteX698" fmla="*/ 0 w 7467600"/>
              <a:gd name="connsiteY698" fmla="*/ 1982532 h 6858000"/>
              <a:gd name="connsiteX699" fmla="*/ 0 w 7467600"/>
              <a:gd name="connsiteY699" fmla="*/ 1912789 h 6858000"/>
              <a:gd name="connsiteX700" fmla="*/ 97460 w 7467600"/>
              <a:gd name="connsiteY700" fmla="*/ 1953725 h 6858000"/>
              <a:gd name="connsiteX701" fmla="*/ 221272 w 7467600"/>
              <a:gd name="connsiteY701" fmla="*/ 1980766 h 6858000"/>
              <a:gd name="connsiteX702" fmla="*/ 116765 w 7467600"/>
              <a:gd name="connsiteY702" fmla="*/ 1911033 h 6858000"/>
              <a:gd name="connsiteX703" fmla="*/ 16405 w 7467600"/>
              <a:gd name="connsiteY703" fmla="*/ 1803412 h 6858000"/>
              <a:gd name="connsiteX704" fmla="*/ 0 w 7467600"/>
              <a:gd name="connsiteY704" fmla="*/ 1784777 h 6858000"/>
              <a:gd name="connsiteX705" fmla="*/ 0 w 7467600"/>
              <a:gd name="connsiteY705" fmla="*/ 1740082 h 6858000"/>
              <a:gd name="connsiteX706" fmla="*/ 39394 w 7467600"/>
              <a:gd name="connsiteY706" fmla="*/ 1784856 h 6858000"/>
              <a:gd name="connsiteX707" fmla="*/ 135813 w 7467600"/>
              <a:gd name="connsiteY707" fmla="*/ 1888838 h 6858000"/>
              <a:gd name="connsiteX708" fmla="*/ 242575 w 7467600"/>
              <a:gd name="connsiteY708" fmla="*/ 1958841 h 6858000"/>
              <a:gd name="connsiteX709" fmla="*/ 82197 w 7467600"/>
              <a:gd name="connsiteY709" fmla="*/ 1754826 h 6858000"/>
              <a:gd name="connsiteX710" fmla="*/ 0 w 7467600"/>
              <a:gd name="connsiteY710" fmla="*/ 1679650 h 6858000"/>
              <a:gd name="connsiteX711" fmla="*/ 0 w 7467600"/>
              <a:gd name="connsiteY711" fmla="*/ 1602463 h 6858000"/>
              <a:gd name="connsiteX712" fmla="*/ 84689 w 7467600"/>
              <a:gd name="connsiteY712" fmla="*/ 1677442 h 6858000"/>
              <a:gd name="connsiteX713" fmla="*/ 298437 w 7467600"/>
              <a:gd name="connsiteY713" fmla="*/ 1968019 h 6858000"/>
              <a:gd name="connsiteX714" fmla="*/ 227269 w 7467600"/>
              <a:gd name="connsiteY714" fmla="*/ 1114064 h 6858000"/>
              <a:gd name="connsiteX715" fmla="*/ 248003 w 7467600"/>
              <a:gd name="connsiteY715" fmla="*/ 1089613 h 6858000"/>
              <a:gd name="connsiteX716" fmla="*/ 427020 w 7467600"/>
              <a:gd name="connsiteY716" fmla="*/ 1619803 h 6858000"/>
              <a:gd name="connsiteX717" fmla="*/ 340345 w 7467600"/>
              <a:gd name="connsiteY717" fmla="*/ 2027739 h 6858000"/>
              <a:gd name="connsiteX718" fmla="*/ 360865 w 7467600"/>
              <a:gd name="connsiteY718" fmla="*/ 2044827 h 6858000"/>
              <a:gd name="connsiteX719" fmla="*/ 560414 w 7467600"/>
              <a:gd name="connsiteY719" fmla="*/ 2421457 h 6858000"/>
              <a:gd name="connsiteX720" fmla="*/ 1359703 w 7467600"/>
              <a:gd name="connsiteY720" fmla="*/ 2578554 h 6858000"/>
              <a:gd name="connsiteX721" fmla="*/ 1359422 w 7467600"/>
              <a:gd name="connsiteY721" fmla="*/ 2577994 h 6858000"/>
              <a:gd name="connsiteX722" fmla="*/ 828701 w 7467600"/>
              <a:gd name="connsiteY722" fmla="*/ 1839520 h 6858000"/>
              <a:gd name="connsiteX723" fmla="*/ 494427 w 7467600"/>
              <a:gd name="connsiteY723" fmla="*/ 1092333 h 6858000"/>
              <a:gd name="connsiteX724" fmla="*/ 506322 w 7467600"/>
              <a:gd name="connsiteY724" fmla="*/ 1020997 h 6858000"/>
              <a:gd name="connsiteX725" fmla="*/ 4570198 w 7467600"/>
              <a:gd name="connsiteY725" fmla="*/ 978081 h 6858000"/>
              <a:gd name="connsiteX726" fmla="*/ 4523691 w 7467600"/>
              <a:gd name="connsiteY726" fmla="*/ 1127776 h 6858000"/>
              <a:gd name="connsiteX727" fmla="*/ 4509875 w 7467600"/>
              <a:gd name="connsiteY727" fmla="*/ 1167552 h 6858000"/>
              <a:gd name="connsiteX728" fmla="*/ 4478168 w 7467600"/>
              <a:gd name="connsiteY728" fmla="*/ 1260735 h 6858000"/>
              <a:gd name="connsiteX729" fmla="*/ 4409309 w 7467600"/>
              <a:gd name="connsiteY729" fmla="*/ 1666996 h 6858000"/>
              <a:gd name="connsiteX730" fmla="*/ 4370031 w 7467600"/>
              <a:gd name="connsiteY730" fmla="*/ 1955666 h 6858000"/>
              <a:gd name="connsiteX731" fmla="*/ 4570198 w 7467600"/>
              <a:gd name="connsiteY731" fmla="*/ 978081 h 6858000"/>
              <a:gd name="connsiteX732" fmla="*/ 4557898 w 7467600"/>
              <a:gd name="connsiteY732" fmla="*/ 900011 h 6858000"/>
              <a:gd name="connsiteX733" fmla="*/ 4344840 w 7467600"/>
              <a:gd name="connsiteY733" fmla="*/ 1922038 h 6858000"/>
              <a:gd name="connsiteX734" fmla="*/ 4378710 w 7467600"/>
              <a:gd name="connsiteY734" fmla="*/ 1665516 h 6858000"/>
              <a:gd name="connsiteX735" fmla="*/ 4448798 w 7467600"/>
              <a:gd name="connsiteY735" fmla="*/ 1253024 h 6858000"/>
              <a:gd name="connsiteX736" fmla="*/ 4480315 w 7467600"/>
              <a:gd name="connsiteY736" fmla="*/ 1158454 h 6858000"/>
              <a:gd name="connsiteX737" fmla="*/ 4494133 w 7467600"/>
              <a:gd name="connsiteY737" fmla="*/ 1118676 h 6858000"/>
              <a:gd name="connsiteX738" fmla="*/ 4557898 w 7467600"/>
              <a:gd name="connsiteY738" fmla="*/ 900011 h 6858000"/>
              <a:gd name="connsiteX739" fmla="*/ 5870151 w 7467600"/>
              <a:gd name="connsiteY739" fmla="*/ 898890 h 6858000"/>
              <a:gd name="connsiteX740" fmla="*/ 5861335 w 7467600"/>
              <a:gd name="connsiteY740" fmla="*/ 899177 h 6858000"/>
              <a:gd name="connsiteX741" fmla="*/ 5843702 w 7467600"/>
              <a:gd name="connsiteY741" fmla="*/ 899748 h 6858000"/>
              <a:gd name="connsiteX742" fmla="*/ 5651107 w 7467600"/>
              <a:gd name="connsiteY742" fmla="*/ 920306 h 6858000"/>
              <a:gd name="connsiteX743" fmla="*/ 5459407 w 7467600"/>
              <a:gd name="connsiteY743" fmla="*/ 940975 h 6858000"/>
              <a:gd name="connsiteX744" fmla="*/ 5374846 w 7467600"/>
              <a:gd name="connsiteY744" fmla="*/ 941988 h 6858000"/>
              <a:gd name="connsiteX745" fmla="*/ 5256105 w 7467600"/>
              <a:gd name="connsiteY745" fmla="*/ 945632 h 6858000"/>
              <a:gd name="connsiteX746" fmla="*/ 5107071 w 7467600"/>
              <a:gd name="connsiteY746" fmla="*/ 969720 h 6858000"/>
              <a:gd name="connsiteX747" fmla="*/ 4998681 w 7467600"/>
              <a:gd name="connsiteY747" fmla="*/ 988771 h 6858000"/>
              <a:gd name="connsiteX748" fmla="*/ 5870151 w 7467600"/>
              <a:gd name="connsiteY748" fmla="*/ 898890 h 6858000"/>
              <a:gd name="connsiteX749" fmla="*/ 5504425 w 7467600"/>
              <a:gd name="connsiteY749" fmla="*/ 848067 h 6858000"/>
              <a:gd name="connsiteX750" fmla="*/ 4968849 w 7467600"/>
              <a:gd name="connsiteY750" fmla="*/ 962318 h 6858000"/>
              <a:gd name="connsiteX751" fmla="*/ 5104039 w 7467600"/>
              <a:gd name="connsiteY751" fmla="*/ 940634 h 6858000"/>
              <a:gd name="connsiteX752" fmla="*/ 5256311 w 7467600"/>
              <a:gd name="connsiteY752" fmla="*/ 916490 h 6858000"/>
              <a:gd name="connsiteX753" fmla="*/ 5377381 w 7467600"/>
              <a:gd name="connsiteY753" fmla="*/ 912671 h 6858000"/>
              <a:gd name="connsiteX754" fmla="*/ 5460148 w 7467600"/>
              <a:gd name="connsiteY754" fmla="*/ 911442 h 6858000"/>
              <a:gd name="connsiteX755" fmla="*/ 5648971 w 7467600"/>
              <a:gd name="connsiteY755" fmla="*/ 891331 h 6858000"/>
              <a:gd name="connsiteX756" fmla="*/ 5844807 w 7467600"/>
              <a:gd name="connsiteY756" fmla="*/ 870718 h 6858000"/>
              <a:gd name="connsiteX757" fmla="*/ 5862975 w 7467600"/>
              <a:gd name="connsiteY757" fmla="*/ 869756 h 6858000"/>
              <a:gd name="connsiteX758" fmla="*/ 5920887 w 7467600"/>
              <a:gd name="connsiteY758" fmla="*/ 865929 h 6858000"/>
              <a:gd name="connsiteX759" fmla="*/ 5504425 w 7467600"/>
              <a:gd name="connsiteY759" fmla="*/ 848067 h 6858000"/>
              <a:gd name="connsiteX760" fmla="*/ 3607114 w 7467600"/>
              <a:gd name="connsiteY760" fmla="*/ 467441 h 6858000"/>
              <a:gd name="connsiteX761" fmla="*/ 3296242 w 7467600"/>
              <a:gd name="connsiteY761" fmla="*/ 807991 h 6858000"/>
              <a:gd name="connsiteX762" fmla="*/ 3174674 w 7467600"/>
              <a:gd name="connsiteY762" fmla="*/ 919759 h 6858000"/>
              <a:gd name="connsiteX763" fmla="*/ 3042978 w 7467600"/>
              <a:gd name="connsiteY763" fmla="*/ 1054894 h 6858000"/>
              <a:gd name="connsiteX764" fmla="*/ 2968914 w 7467600"/>
              <a:gd name="connsiteY764" fmla="*/ 1133756 h 6858000"/>
              <a:gd name="connsiteX765" fmla="*/ 3103823 w 7467600"/>
              <a:gd name="connsiteY765" fmla="*/ 1026814 h 6858000"/>
              <a:gd name="connsiteX766" fmla="*/ 3607114 w 7467600"/>
              <a:gd name="connsiteY766" fmla="*/ 467441 h 6858000"/>
              <a:gd name="connsiteX767" fmla="*/ 3744487 w 7467600"/>
              <a:gd name="connsiteY767" fmla="*/ 383136 h 6858000"/>
              <a:gd name="connsiteX768" fmla="*/ 3970213 w 7467600"/>
              <a:gd name="connsiteY768" fmla="*/ 995559 h 6858000"/>
              <a:gd name="connsiteX769" fmla="*/ 3744487 w 7467600"/>
              <a:gd name="connsiteY769" fmla="*/ 383136 h 6858000"/>
              <a:gd name="connsiteX770" fmla="*/ 3624562 w 7467600"/>
              <a:gd name="connsiteY770" fmla="*/ 367041 h 6858000"/>
              <a:gd name="connsiteX771" fmla="*/ 3489712 w 7467600"/>
              <a:gd name="connsiteY771" fmla="*/ 485386 h 6858000"/>
              <a:gd name="connsiteX772" fmla="*/ 3182994 w 7467600"/>
              <a:gd name="connsiteY772" fmla="*/ 828265 h 6858000"/>
              <a:gd name="connsiteX773" fmla="*/ 2892114 w 7467600"/>
              <a:gd name="connsiteY773" fmla="*/ 1172635 h 6858000"/>
              <a:gd name="connsiteX774" fmla="*/ 3021459 w 7467600"/>
              <a:gd name="connsiteY774" fmla="*/ 1035385 h 6858000"/>
              <a:gd name="connsiteX775" fmla="*/ 3153873 w 7467600"/>
              <a:gd name="connsiteY775" fmla="*/ 898971 h 6858000"/>
              <a:gd name="connsiteX776" fmla="*/ 3276511 w 7467600"/>
              <a:gd name="connsiteY776" fmla="*/ 786423 h 6858000"/>
              <a:gd name="connsiteX777" fmla="*/ 3584154 w 7467600"/>
              <a:gd name="connsiteY777" fmla="*/ 448218 h 6858000"/>
              <a:gd name="connsiteX778" fmla="*/ 3624562 w 7467600"/>
              <a:gd name="connsiteY778" fmla="*/ 367041 h 6858000"/>
              <a:gd name="connsiteX779" fmla="*/ 3766672 w 7467600"/>
              <a:gd name="connsiteY779" fmla="*/ 359429 h 6858000"/>
              <a:gd name="connsiteX780" fmla="*/ 3996338 w 7467600"/>
              <a:gd name="connsiteY780" fmla="*/ 968237 h 6858000"/>
              <a:gd name="connsiteX781" fmla="*/ 3766672 w 7467600"/>
              <a:gd name="connsiteY781" fmla="*/ 359429 h 6858000"/>
              <a:gd name="connsiteX782" fmla="*/ 5805386 w 7467600"/>
              <a:gd name="connsiteY782" fmla="*/ 239240 h 6858000"/>
              <a:gd name="connsiteX783" fmla="*/ 5736947 w 7467600"/>
              <a:gd name="connsiteY783" fmla="*/ 261367 h 6858000"/>
              <a:gd name="connsiteX784" fmla="*/ 5427012 w 7467600"/>
              <a:gd name="connsiteY784" fmla="*/ 311272 h 6858000"/>
              <a:gd name="connsiteX785" fmla="*/ 5147818 w 7467600"/>
              <a:gd name="connsiteY785" fmla="*/ 322112 h 6858000"/>
              <a:gd name="connsiteX786" fmla="*/ 5060854 w 7467600"/>
              <a:gd name="connsiteY786" fmla="*/ 311882 h 6858000"/>
              <a:gd name="connsiteX787" fmla="*/ 4945989 w 7467600"/>
              <a:gd name="connsiteY787" fmla="*/ 300516 h 6858000"/>
              <a:gd name="connsiteX788" fmla="*/ 5410479 w 7467600"/>
              <a:gd name="connsiteY788" fmla="*/ 348434 h 6858000"/>
              <a:gd name="connsiteX789" fmla="*/ 5805386 w 7467600"/>
              <a:gd name="connsiteY789" fmla="*/ 239240 h 6858000"/>
              <a:gd name="connsiteX790" fmla="*/ 5905192 w 7467600"/>
              <a:gd name="connsiteY790" fmla="*/ 163079 h 6858000"/>
              <a:gd name="connsiteX791" fmla="*/ 5865655 w 7467600"/>
              <a:gd name="connsiteY791" fmla="*/ 171901 h 6858000"/>
              <a:gd name="connsiteX792" fmla="*/ 5259740 w 7467600"/>
              <a:gd name="connsiteY792" fmla="*/ 257013 h 6858000"/>
              <a:gd name="connsiteX793" fmla="*/ 5208466 w 7467600"/>
              <a:gd name="connsiteY793" fmla="*/ 257550 h 6858000"/>
              <a:gd name="connsiteX794" fmla="*/ 4980204 w 7467600"/>
              <a:gd name="connsiteY794" fmla="*/ 271903 h 6858000"/>
              <a:gd name="connsiteX795" fmla="*/ 5068068 w 7467600"/>
              <a:gd name="connsiteY795" fmla="*/ 282244 h 6858000"/>
              <a:gd name="connsiteX796" fmla="*/ 5153231 w 7467600"/>
              <a:gd name="connsiteY796" fmla="*/ 292240 h 6858000"/>
              <a:gd name="connsiteX797" fmla="*/ 5426491 w 7467600"/>
              <a:gd name="connsiteY797" fmla="*/ 281128 h 6858000"/>
              <a:gd name="connsiteX798" fmla="*/ 5731212 w 7467600"/>
              <a:gd name="connsiteY798" fmla="*/ 231951 h 6858000"/>
              <a:gd name="connsiteX799" fmla="*/ 5905192 w 7467600"/>
              <a:gd name="connsiteY799" fmla="*/ 163079 h 6858000"/>
              <a:gd name="connsiteX800" fmla="*/ 5944437 w 7467600"/>
              <a:gd name="connsiteY800" fmla="*/ 113829 h 6858000"/>
              <a:gd name="connsiteX801" fmla="*/ 5825032 w 7467600"/>
              <a:gd name="connsiteY801" fmla="*/ 146405 h 6858000"/>
              <a:gd name="connsiteX802" fmla="*/ 4955599 w 7467600"/>
              <a:gd name="connsiteY802" fmla="*/ 247008 h 6858000"/>
              <a:gd name="connsiteX803" fmla="*/ 5210104 w 7467600"/>
              <a:gd name="connsiteY803" fmla="*/ 228123 h 6858000"/>
              <a:gd name="connsiteX804" fmla="*/ 5261015 w 7467600"/>
              <a:gd name="connsiteY804" fmla="*/ 227087 h 6858000"/>
              <a:gd name="connsiteX805" fmla="*/ 5861181 w 7467600"/>
              <a:gd name="connsiteY805" fmla="*/ 143093 h 6858000"/>
              <a:gd name="connsiteX806" fmla="*/ 5961252 w 7467600"/>
              <a:gd name="connsiteY806" fmla="*/ 114820 h 6858000"/>
              <a:gd name="connsiteX807" fmla="*/ 5944437 w 7467600"/>
              <a:gd name="connsiteY807" fmla="*/ 113829 h 6858000"/>
              <a:gd name="connsiteX808" fmla="*/ 3882765 w 7467600"/>
              <a:gd name="connsiteY808" fmla="*/ 0 h 6858000"/>
              <a:gd name="connsiteX809" fmla="*/ 3995099 w 7467600"/>
              <a:gd name="connsiteY809" fmla="*/ 0 h 6858000"/>
              <a:gd name="connsiteX810" fmla="*/ 4163818 w 7467600"/>
              <a:gd name="connsiteY810" fmla="*/ 234104 h 6858000"/>
              <a:gd name="connsiteX811" fmla="*/ 4172099 w 7467600"/>
              <a:gd name="connsiteY811" fmla="*/ 234207 h 6858000"/>
              <a:gd name="connsiteX812" fmla="*/ 4784282 w 7467600"/>
              <a:gd name="connsiteY812" fmla="*/ 276561 h 6858000"/>
              <a:gd name="connsiteX813" fmla="*/ 4801687 w 7467600"/>
              <a:gd name="connsiteY813" fmla="*/ 267764 h 6858000"/>
              <a:gd name="connsiteX814" fmla="*/ 6082788 w 7467600"/>
              <a:gd name="connsiteY814" fmla="*/ 64119 h 6858000"/>
              <a:gd name="connsiteX815" fmla="*/ 6099442 w 7467600"/>
              <a:gd name="connsiteY815" fmla="*/ 82568 h 6858000"/>
              <a:gd name="connsiteX816" fmla="*/ 4804137 w 7467600"/>
              <a:gd name="connsiteY816" fmla="*/ 320931 h 6858000"/>
              <a:gd name="connsiteX817" fmla="*/ 4227047 w 7467600"/>
              <a:gd name="connsiteY817" fmla="*/ 313415 h 6858000"/>
              <a:gd name="connsiteX818" fmla="*/ 4346041 w 7467600"/>
              <a:gd name="connsiteY818" fmla="*/ 456086 h 6858000"/>
              <a:gd name="connsiteX819" fmla="*/ 4870967 w 7467600"/>
              <a:gd name="connsiteY819" fmla="*/ 963061 h 6858000"/>
              <a:gd name="connsiteX820" fmla="*/ 4889647 w 7467600"/>
              <a:gd name="connsiteY820" fmla="*/ 957147 h 6858000"/>
              <a:gd name="connsiteX821" fmla="*/ 5422504 w 7467600"/>
              <a:gd name="connsiteY821" fmla="*/ 805191 h 6858000"/>
              <a:gd name="connsiteX822" fmla="*/ 6087656 w 7467600"/>
              <a:gd name="connsiteY822" fmla="*/ 826703 h 6858000"/>
              <a:gd name="connsiteX823" fmla="*/ 6058717 w 7467600"/>
              <a:gd name="connsiteY823" fmla="*/ 865992 h 6858000"/>
              <a:gd name="connsiteX824" fmla="*/ 4974153 w 7467600"/>
              <a:gd name="connsiteY824" fmla="*/ 1045456 h 6858000"/>
              <a:gd name="connsiteX825" fmla="*/ 5627835 w 7467600"/>
              <a:gd name="connsiteY825" fmla="*/ 1472077 h 6858000"/>
              <a:gd name="connsiteX826" fmla="*/ 5629817 w 7467600"/>
              <a:gd name="connsiteY826" fmla="*/ 1471412 h 6858000"/>
              <a:gd name="connsiteX827" fmla="*/ 5634124 w 7467600"/>
              <a:gd name="connsiteY827" fmla="*/ 1470572 h 6858000"/>
              <a:gd name="connsiteX828" fmla="*/ 5755832 w 7467600"/>
              <a:gd name="connsiteY828" fmla="*/ 1383886 h 6858000"/>
              <a:gd name="connsiteX829" fmla="*/ 6014186 w 7467600"/>
              <a:gd name="connsiteY829" fmla="*/ 1279799 h 6858000"/>
              <a:gd name="connsiteX830" fmla="*/ 6901619 w 7467600"/>
              <a:gd name="connsiteY830" fmla="*/ 1047874 h 6858000"/>
              <a:gd name="connsiteX831" fmla="*/ 6931566 w 7467600"/>
              <a:gd name="connsiteY831" fmla="*/ 1062034 h 6858000"/>
              <a:gd name="connsiteX832" fmla="*/ 5790982 w 7467600"/>
              <a:gd name="connsiteY832" fmla="*/ 1561380 h 6858000"/>
              <a:gd name="connsiteX833" fmla="*/ 6188971 w 7467600"/>
              <a:gd name="connsiteY833" fmla="*/ 1755168 h 6858000"/>
              <a:gd name="connsiteX834" fmla="*/ 6202446 w 7467600"/>
              <a:gd name="connsiteY834" fmla="*/ 1752268 h 6858000"/>
              <a:gd name="connsiteX835" fmla="*/ 7179560 w 7467600"/>
              <a:gd name="connsiteY835" fmla="*/ 1467551 h 6858000"/>
              <a:gd name="connsiteX836" fmla="*/ 7158730 w 7467600"/>
              <a:gd name="connsiteY836" fmla="*/ 1507835 h 6858000"/>
              <a:gd name="connsiteX837" fmla="*/ 6326959 w 7467600"/>
              <a:gd name="connsiteY837" fmla="*/ 1817686 h 6858000"/>
              <a:gd name="connsiteX838" fmla="*/ 6537433 w 7467600"/>
              <a:gd name="connsiteY838" fmla="*/ 1907790 h 6858000"/>
              <a:gd name="connsiteX839" fmla="*/ 6550221 w 7467600"/>
              <a:gd name="connsiteY839" fmla="*/ 1910729 h 6858000"/>
              <a:gd name="connsiteX840" fmla="*/ 6964438 w 7467600"/>
              <a:gd name="connsiteY840" fmla="*/ 2209505 h 6858000"/>
              <a:gd name="connsiteX841" fmla="*/ 7367862 w 7467600"/>
              <a:gd name="connsiteY841" fmla="*/ 2806833 h 6858000"/>
              <a:gd name="connsiteX842" fmla="*/ 7364329 w 7467600"/>
              <a:gd name="connsiteY842" fmla="*/ 2826907 h 6858000"/>
              <a:gd name="connsiteX843" fmla="*/ 7290545 w 7467600"/>
              <a:gd name="connsiteY843" fmla="*/ 2850663 h 6858000"/>
              <a:gd name="connsiteX844" fmla="*/ 6472036 w 7467600"/>
              <a:gd name="connsiteY844" fmla="*/ 1959003 h 6858000"/>
              <a:gd name="connsiteX845" fmla="*/ 5792897 w 7467600"/>
              <a:gd name="connsiteY845" fmla="*/ 1647747 h 6858000"/>
              <a:gd name="connsiteX846" fmla="*/ 5842751 w 7467600"/>
              <a:gd name="connsiteY846" fmla="*/ 1816112 h 6858000"/>
              <a:gd name="connsiteX847" fmla="*/ 5847424 w 7467600"/>
              <a:gd name="connsiteY847" fmla="*/ 1815776 h 6858000"/>
              <a:gd name="connsiteX848" fmla="*/ 6399821 w 7467600"/>
              <a:gd name="connsiteY848" fmla="*/ 2344799 h 6858000"/>
              <a:gd name="connsiteX849" fmla="*/ 6323232 w 7467600"/>
              <a:gd name="connsiteY849" fmla="*/ 2389634 h 6858000"/>
              <a:gd name="connsiteX850" fmla="*/ 5942958 w 7467600"/>
              <a:gd name="connsiteY850" fmla="*/ 2077708 h 6858000"/>
              <a:gd name="connsiteX851" fmla="*/ 5921559 w 7467600"/>
              <a:gd name="connsiteY851" fmla="*/ 2378596 h 6858000"/>
              <a:gd name="connsiteX852" fmla="*/ 5817651 w 7467600"/>
              <a:gd name="connsiteY852" fmla="*/ 3023919 h 6858000"/>
              <a:gd name="connsiteX853" fmla="*/ 5729634 w 7467600"/>
              <a:gd name="connsiteY853" fmla="*/ 3051849 h 6858000"/>
              <a:gd name="connsiteX854" fmla="*/ 5611018 w 7467600"/>
              <a:gd name="connsiteY854" fmla="*/ 2316769 h 6858000"/>
              <a:gd name="connsiteX855" fmla="*/ 5687608 w 7467600"/>
              <a:gd name="connsiteY855" fmla="*/ 2039972 h 6858000"/>
              <a:gd name="connsiteX856" fmla="*/ 5657554 w 7467600"/>
              <a:gd name="connsiteY856" fmla="*/ 1576445 h 6858000"/>
              <a:gd name="connsiteX857" fmla="*/ 5150475 w 7467600"/>
              <a:gd name="connsiteY857" fmla="*/ 1274012 h 6858000"/>
              <a:gd name="connsiteX858" fmla="*/ 5349142 w 7467600"/>
              <a:gd name="connsiteY858" fmla="*/ 2204405 h 6858000"/>
              <a:gd name="connsiteX859" fmla="*/ 5262214 w 7467600"/>
              <a:gd name="connsiteY859" fmla="*/ 2233836 h 6858000"/>
              <a:gd name="connsiteX860" fmla="*/ 4981539 w 7467600"/>
              <a:gd name="connsiteY860" fmla="*/ 1542201 h 6858000"/>
              <a:gd name="connsiteX861" fmla="*/ 4958461 w 7467600"/>
              <a:gd name="connsiteY861" fmla="*/ 1136957 h 6858000"/>
              <a:gd name="connsiteX862" fmla="*/ 4655015 w 7467600"/>
              <a:gd name="connsiteY862" fmla="*/ 891426 h 6858000"/>
              <a:gd name="connsiteX863" fmla="*/ 4348002 w 7467600"/>
              <a:gd name="connsiteY863" fmla="*/ 2205895 h 6858000"/>
              <a:gd name="connsiteX864" fmla="*/ 4262250 w 7467600"/>
              <a:gd name="connsiteY864" fmla="*/ 2219972 h 6858000"/>
              <a:gd name="connsiteX865" fmla="*/ 4550611 w 7467600"/>
              <a:gd name="connsiteY865" fmla="*/ 817540 h 6858000"/>
              <a:gd name="connsiteX866" fmla="*/ 4564418 w 7467600"/>
              <a:gd name="connsiteY866" fmla="*/ 808293 h 6858000"/>
              <a:gd name="connsiteX867" fmla="*/ 4266388 w 7467600"/>
              <a:gd name="connsiteY867" fmla="*/ 500083 h 6858000"/>
              <a:gd name="connsiteX868" fmla="*/ 4032842 w 7467600"/>
              <a:gd name="connsiteY868" fmla="*/ 211809 h 6858000"/>
              <a:gd name="connsiteX869" fmla="*/ 3882765 w 7467600"/>
              <a:gd name="connsiteY869" fmla="*/ 0 h 6858000"/>
              <a:gd name="connsiteX870" fmla="*/ 3721337 w 7467600"/>
              <a:gd name="connsiteY870" fmla="*/ 0 h 6858000"/>
              <a:gd name="connsiteX871" fmla="*/ 3797544 w 7467600"/>
              <a:gd name="connsiteY871" fmla="*/ 0 h 6858000"/>
              <a:gd name="connsiteX872" fmla="*/ 3775734 w 7467600"/>
              <a:gd name="connsiteY872" fmla="*/ 95131 h 6858000"/>
              <a:gd name="connsiteX873" fmla="*/ 3724807 w 7467600"/>
              <a:gd name="connsiteY873" fmla="*/ 272257 h 6858000"/>
              <a:gd name="connsiteX874" fmla="*/ 3726844 w 7467600"/>
              <a:gd name="connsiteY874" fmla="*/ 282988 h 6858000"/>
              <a:gd name="connsiteX875" fmla="*/ 3742664 w 7467600"/>
              <a:gd name="connsiteY875" fmla="*/ 279918 h 6858000"/>
              <a:gd name="connsiteX876" fmla="*/ 4103910 w 7467600"/>
              <a:gd name="connsiteY876" fmla="*/ 1161917 h 6858000"/>
              <a:gd name="connsiteX877" fmla="*/ 4020269 w 7467600"/>
              <a:gd name="connsiteY877" fmla="*/ 1200406 h 6858000"/>
              <a:gd name="connsiteX878" fmla="*/ 3674882 w 7467600"/>
              <a:gd name="connsiteY878" fmla="*/ 488524 h 6858000"/>
              <a:gd name="connsiteX879" fmla="*/ 3132682 w 7467600"/>
              <a:gd name="connsiteY879" fmla="*/ 1072284 h 6858000"/>
              <a:gd name="connsiteX880" fmla="*/ 2716346 w 7467600"/>
              <a:gd name="connsiteY880" fmla="*/ 1276376 h 6858000"/>
              <a:gd name="connsiteX881" fmla="*/ 2716772 w 7467600"/>
              <a:gd name="connsiteY881" fmla="*/ 1255462 h 6858000"/>
              <a:gd name="connsiteX882" fmla="*/ 3471096 w 7467600"/>
              <a:gd name="connsiteY882" fmla="*/ 437072 h 6858000"/>
              <a:gd name="connsiteX883" fmla="*/ 3639057 w 7467600"/>
              <a:gd name="connsiteY883" fmla="*/ 286334 h 6858000"/>
              <a:gd name="connsiteX884" fmla="*/ 3640309 w 7467600"/>
              <a:gd name="connsiteY884" fmla="*/ 284664 h 6858000"/>
              <a:gd name="connsiteX885" fmla="*/ 3646022 w 7467600"/>
              <a:gd name="connsiteY885" fmla="*/ 276711 h 6858000"/>
              <a:gd name="connsiteX886" fmla="*/ 3707943 w 7467600"/>
              <a:gd name="connsiteY886" fmla="*/ 65958 h 6858000"/>
              <a:gd name="connsiteX887" fmla="*/ 3721337 w 7467600"/>
              <a:gd name="connsiteY887" fmla="*/ 0 h 6858000"/>
              <a:gd name="connsiteX888" fmla="*/ 2867960 w 7467600"/>
              <a:gd name="connsiteY888" fmla="*/ 0 h 6858000"/>
              <a:gd name="connsiteX889" fmla="*/ 2926351 w 7467600"/>
              <a:gd name="connsiteY889" fmla="*/ 0 h 6858000"/>
              <a:gd name="connsiteX890" fmla="*/ 2902823 w 7467600"/>
              <a:gd name="connsiteY890" fmla="*/ 262929 h 6858000"/>
              <a:gd name="connsiteX891" fmla="*/ 2940663 w 7467600"/>
              <a:gd name="connsiteY891" fmla="*/ 140884 h 6858000"/>
              <a:gd name="connsiteX892" fmla="*/ 2947039 w 7467600"/>
              <a:gd name="connsiteY892" fmla="*/ 122524 h 6858000"/>
              <a:gd name="connsiteX893" fmla="*/ 2984316 w 7467600"/>
              <a:gd name="connsiteY893" fmla="*/ 0 h 6858000"/>
              <a:gd name="connsiteX894" fmla="*/ 3016114 w 7467600"/>
              <a:gd name="connsiteY894" fmla="*/ 0 h 6858000"/>
              <a:gd name="connsiteX895" fmla="*/ 2979949 w 7467600"/>
              <a:gd name="connsiteY895" fmla="*/ 119274 h 6858000"/>
              <a:gd name="connsiteX896" fmla="*/ 3023879 w 7467600"/>
              <a:gd name="connsiteY896" fmla="*/ 0 h 6858000"/>
              <a:gd name="connsiteX897" fmla="*/ 3105400 w 7467600"/>
              <a:gd name="connsiteY897" fmla="*/ 0 h 6858000"/>
              <a:gd name="connsiteX898" fmla="*/ 3094669 w 7467600"/>
              <a:gd name="connsiteY898" fmla="*/ 30308 h 6858000"/>
              <a:gd name="connsiteX899" fmla="*/ 2901945 w 7467600"/>
              <a:gd name="connsiteY899" fmla="*/ 466538 h 6858000"/>
              <a:gd name="connsiteX900" fmla="*/ 2815209 w 7467600"/>
              <a:gd name="connsiteY900" fmla="*/ 497361 h 6858000"/>
              <a:gd name="connsiteX901" fmla="*/ 2844845 w 7467600"/>
              <a:gd name="connsiteY901" fmla="*/ 127638 h 6858000"/>
              <a:gd name="connsiteX902" fmla="*/ 2867960 w 7467600"/>
              <a:gd name="connsiteY902" fmla="*/ 0 h 6858000"/>
              <a:gd name="connsiteX903" fmla="*/ 1057230 w 7467600"/>
              <a:gd name="connsiteY903" fmla="*/ 0 h 6858000"/>
              <a:gd name="connsiteX904" fmla="*/ 1111003 w 7467600"/>
              <a:gd name="connsiteY904" fmla="*/ 0 h 6858000"/>
              <a:gd name="connsiteX905" fmla="*/ 1125553 w 7467600"/>
              <a:gd name="connsiteY905" fmla="*/ 52588 h 6858000"/>
              <a:gd name="connsiteX906" fmla="*/ 1304276 w 7467600"/>
              <a:gd name="connsiteY906" fmla="*/ 476275 h 6858000"/>
              <a:gd name="connsiteX907" fmla="*/ 1492066 w 7467600"/>
              <a:gd name="connsiteY907" fmla="*/ 886333 h 6858000"/>
              <a:gd name="connsiteX908" fmla="*/ 1423698 w 7467600"/>
              <a:gd name="connsiteY908" fmla="*/ 710817 h 6858000"/>
              <a:gd name="connsiteX909" fmla="*/ 1357609 w 7467600"/>
              <a:gd name="connsiteY909" fmla="*/ 532892 h 6858000"/>
              <a:gd name="connsiteX910" fmla="*/ 1309550 w 7467600"/>
              <a:gd name="connsiteY910" fmla="*/ 374031 h 6858000"/>
              <a:gd name="connsiteX911" fmla="*/ 1193673 w 7467600"/>
              <a:gd name="connsiteY911" fmla="*/ 49533 h 6858000"/>
              <a:gd name="connsiteX912" fmla="*/ 1164391 w 7467600"/>
              <a:gd name="connsiteY912" fmla="*/ 0 h 6858000"/>
              <a:gd name="connsiteX913" fmla="*/ 1200666 w 7467600"/>
              <a:gd name="connsiteY913" fmla="*/ 0 h 6858000"/>
              <a:gd name="connsiteX914" fmla="*/ 1223408 w 7467600"/>
              <a:gd name="connsiteY914" fmla="*/ 38996 h 6858000"/>
              <a:gd name="connsiteX915" fmla="*/ 1339635 w 7467600"/>
              <a:gd name="connsiteY915" fmla="*/ 365517 h 6858000"/>
              <a:gd name="connsiteX916" fmla="*/ 1387469 w 7467600"/>
              <a:gd name="connsiteY916" fmla="*/ 523079 h 6858000"/>
              <a:gd name="connsiteX917" fmla="*/ 1452685 w 7467600"/>
              <a:gd name="connsiteY917" fmla="*/ 699806 h 6858000"/>
              <a:gd name="connsiteX918" fmla="*/ 1492092 w 7467600"/>
              <a:gd name="connsiteY918" fmla="*/ 800424 h 6858000"/>
              <a:gd name="connsiteX919" fmla="*/ 1455302 w 7467600"/>
              <a:gd name="connsiteY919" fmla="*/ 632913 h 6858000"/>
              <a:gd name="connsiteX920" fmla="*/ 1222336 w 7467600"/>
              <a:gd name="connsiteY920" fmla="*/ 9480 h 6858000"/>
              <a:gd name="connsiteX921" fmla="*/ 1214634 w 7467600"/>
              <a:gd name="connsiteY921" fmla="*/ 0 h 6858000"/>
              <a:gd name="connsiteX922" fmla="*/ 1289827 w 7467600"/>
              <a:gd name="connsiteY922" fmla="*/ 0 h 6858000"/>
              <a:gd name="connsiteX923" fmla="*/ 1321076 w 7467600"/>
              <a:gd name="connsiteY923" fmla="*/ 59722 h 6858000"/>
              <a:gd name="connsiteX924" fmla="*/ 1512579 w 7467600"/>
              <a:gd name="connsiteY924" fmla="*/ 626441 h 6858000"/>
              <a:gd name="connsiteX925" fmla="*/ 1506076 w 7467600"/>
              <a:gd name="connsiteY925" fmla="*/ 1089289 h 6858000"/>
              <a:gd name="connsiteX926" fmla="*/ 1486346 w 7467600"/>
              <a:gd name="connsiteY926" fmla="*/ 1079919 h 6858000"/>
              <a:gd name="connsiteX927" fmla="*/ 1070511 w 7467600"/>
              <a:gd name="connsiteY927" fmla="*/ 48609 h 6858000"/>
              <a:gd name="connsiteX928" fmla="*/ 1057230 w 7467600"/>
              <a:gd name="connsiteY928" fmla="*/ 0 h 6858000"/>
              <a:gd name="connsiteX929" fmla="*/ 43151 w 7467600"/>
              <a:gd name="connsiteY929" fmla="*/ 0 h 6858000"/>
              <a:gd name="connsiteX930" fmla="*/ 95283 w 7467600"/>
              <a:gd name="connsiteY930" fmla="*/ 0 h 6858000"/>
              <a:gd name="connsiteX931" fmla="*/ 300708 w 7467600"/>
              <a:gd name="connsiteY931" fmla="*/ 154571 h 6858000"/>
              <a:gd name="connsiteX932" fmla="*/ 530414 w 7467600"/>
              <a:gd name="connsiteY932" fmla="*/ 354673 h 6858000"/>
              <a:gd name="connsiteX933" fmla="*/ 333785 w 7467600"/>
              <a:gd name="connsiteY933" fmla="*/ 161564 h 6858000"/>
              <a:gd name="connsiteX934" fmla="*/ 147005 w 7467600"/>
              <a:gd name="connsiteY934" fmla="*/ 0 h 6858000"/>
              <a:gd name="connsiteX935" fmla="*/ 272509 w 7467600"/>
              <a:gd name="connsiteY935" fmla="*/ 0 h 6858000"/>
              <a:gd name="connsiteX936" fmla="*/ 326276 w 7467600"/>
              <a:gd name="connsiteY936" fmla="*/ 45847 h 6858000"/>
              <a:gd name="connsiteX937" fmla="*/ 823759 w 7467600"/>
              <a:gd name="connsiteY937" fmla="*/ 574145 h 6858000"/>
              <a:gd name="connsiteX938" fmla="*/ 811254 w 7467600"/>
              <a:gd name="connsiteY938" fmla="*/ 665546 h 6858000"/>
              <a:gd name="connsiteX939" fmla="*/ 154042 w 7467600"/>
              <a:gd name="connsiteY939" fmla="*/ 261522 h 6858000"/>
              <a:gd name="connsiteX940" fmla="*/ 13550 w 7467600"/>
              <a:gd name="connsiteY940" fmla="*/ 158423 h 6858000"/>
              <a:gd name="connsiteX941" fmla="*/ 0 w 7467600"/>
              <a:gd name="connsiteY941" fmla="*/ 146618 h 6858000"/>
              <a:gd name="connsiteX942" fmla="*/ 0 w 7467600"/>
              <a:gd name="connsiteY942" fmla="*/ 59161 h 6858000"/>
              <a:gd name="connsiteX943" fmla="*/ 45427 w 7467600"/>
              <a:gd name="connsiteY943" fmla="*/ 101078 h 6858000"/>
              <a:gd name="connsiteX944" fmla="*/ 630103 w 7467600"/>
              <a:gd name="connsiteY944" fmla="*/ 485885 h 6858000"/>
              <a:gd name="connsiteX945" fmla="*/ 532040 w 7467600"/>
              <a:gd name="connsiteY945" fmla="*/ 399359 h 6858000"/>
              <a:gd name="connsiteX946" fmla="*/ 517618 w 7467600"/>
              <a:gd name="connsiteY946" fmla="*/ 385726 h 6858000"/>
              <a:gd name="connsiteX947" fmla="*/ 285074 w 7467600"/>
              <a:gd name="connsiteY947" fmla="*/ 182755 h 6858000"/>
              <a:gd name="connsiteX948" fmla="*/ 43151 w 7467600"/>
              <a:gd name="connsiteY948"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467600 w 7467600"/>
              <a:gd name="connsiteY4" fmla="*/ 6767913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7467600 w 7467600"/>
              <a:gd name="connsiteY15" fmla="*/ 6767913 h 6858000"/>
              <a:gd name="connsiteX16" fmla="*/ 1019354 w 7467600"/>
              <a:gd name="connsiteY16" fmla="*/ 6315006 h 6858000"/>
              <a:gd name="connsiteX17" fmla="*/ 441046 w 7467600"/>
              <a:gd name="connsiteY17" fmla="*/ 6691153 h 6858000"/>
              <a:gd name="connsiteX18" fmla="*/ 1019354 w 7467600"/>
              <a:gd name="connsiteY18" fmla="*/ 6315006 h 6858000"/>
              <a:gd name="connsiteX19" fmla="*/ 991680 w 7467600"/>
              <a:gd name="connsiteY19" fmla="*/ 6298413 h 6858000"/>
              <a:gd name="connsiteX20" fmla="*/ 409060 w 7467600"/>
              <a:gd name="connsiteY20" fmla="*/ 6671470 h 6858000"/>
              <a:gd name="connsiteX21" fmla="*/ 991680 w 7467600"/>
              <a:gd name="connsiteY21" fmla="*/ 6298413 h 6858000"/>
              <a:gd name="connsiteX22" fmla="*/ 103333 w 7467600"/>
              <a:gd name="connsiteY22" fmla="*/ 5699602 h 6858000"/>
              <a:gd name="connsiteX23" fmla="*/ 233938 w 7467600"/>
              <a:gd name="connsiteY23" fmla="*/ 5809416 h 6858000"/>
              <a:gd name="connsiteX24" fmla="*/ 883580 w 7467600"/>
              <a:gd name="connsiteY24" fmla="*/ 6180710 h 6858000"/>
              <a:gd name="connsiteX25" fmla="*/ 487337 w 7467600"/>
              <a:gd name="connsiteY25" fmla="*/ 5950182 h 6858000"/>
              <a:gd name="connsiteX26" fmla="*/ 354051 w 7467600"/>
              <a:gd name="connsiteY26" fmla="*/ 5854912 h 6858000"/>
              <a:gd name="connsiteX27" fmla="*/ 195436 w 7467600"/>
              <a:gd name="connsiteY27" fmla="*/ 5755068 h 6858000"/>
              <a:gd name="connsiteX28" fmla="*/ 103333 w 7467600"/>
              <a:gd name="connsiteY28" fmla="*/ 5699602 h 6858000"/>
              <a:gd name="connsiteX29" fmla="*/ 5539432 w 7467600"/>
              <a:gd name="connsiteY29" fmla="*/ 5642928 h 6858000"/>
              <a:gd name="connsiteX30" fmla="*/ 5555462 w 7467600"/>
              <a:gd name="connsiteY30" fmla="*/ 5694454 h 6858000"/>
              <a:gd name="connsiteX31" fmla="*/ 5828270 w 7467600"/>
              <a:gd name="connsiteY31" fmla="*/ 6320663 h 6858000"/>
              <a:gd name="connsiteX32" fmla="*/ 5947416 w 7467600"/>
              <a:gd name="connsiteY32" fmla="*/ 6574846 h 6858000"/>
              <a:gd name="connsiteX33" fmla="*/ 5539432 w 7467600"/>
              <a:gd name="connsiteY33" fmla="*/ 5642928 h 6858000"/>
              <a:gd name="connsiteX34" fmla="*/ 51253 w 7467600"/>
              <a:gd name="connsiteY34" fmla="*/ 5631825 h 6858000"/>
              <a:gd name="connsiteX35" fmla="*/ 211622 w 7467600"/>
              <a:gd name="connsiteY35" fmla="*/ 5728803 h 6858000"/>
              <a:gd name="connsiteX36" fmla="*/ 371652 w 7467600"/>
              <a:gd name="connsiteY36" fmla="*/ 5829062 h 6858000"/>
              <a:gd name="connsiteX37" fmla="*/ 505903 w 7467600"/>
              <a:gd name="connsiteY37" fmla="*/ 5925221 h 6858000"/>
              <a:gd name="connsiteX38" fmla="*/ 899240 w 7467600"/>
              <a:gd name="connsiteY38" fmla="*/ 6153068 h 6858000"/>
              <a:gd name="connsiteX39" fmla="*/ 988114 w 7467600"/>
              <a:gd name="connsiteY39" fmla="*/ 6174204 h 6858000"/>
              <a:gd name="connsiteX40" fmla="*/ 845971 w 7467600"/>
              <a:gd name="connsiteY40" fmla="*/ 6067177 h 6858000"/>
              <a:gd name="connsiteX41" fmla="*/ 448057 w 7467600"/>
              <a:gd name="connsiteY41" fmla="*/ 5841376 h 6858000"/>
              <a:gd name="connsiteX42" fmla="*/ 51253 w 7467600"/>
              <a:gd name="connsiteY42" fmla="*/ 5631825 h 6858000"/>
              <a:gd name="connsiteX43" fmla="*/ 2606687 w 7467600"/>
              <a:gd name="connsiteY43" fmla="*/ 5630718 h 6858000"/>
              <a:gd name="connsiteX44" fmla="*/ 2645658 w 7467600"/>
              <a:gd name="connsiteY44" fmla="*/ 6640259 h 6858000"/>
              <a:gd name="connsiteX45" fmla="*/ 2606687 w 7467600"/>
              <a:gd name="connsiteY45" fmla="*/ 5630718 h 6858000"/>
              <a:gd name="connsiteX46" fmla="*/ 3642057 w 7467600"/>
              <a:gd name="connsiteY46" fmla="*/ 5573487 h 6858000"/>
              <a:gd name="connsiteX47" fmla="*/ 3632981 w 7467600"/>
              <a:gd name="connsiteY47" fmla="*/ 5579437 h 6858000"/>
              <a:gd name="connsiteX48" fmla="*/ 3382436 w 7467600"/>
              <a:gd name="connsiteY48" fmla="*/ 5952726 h 6858000"/>
              <a:gd name="connsiteX49" fmla="*/ 3191929 w 7467600"/>
              <a:gd name="connsiteY49" fmla="*/ 6662669 h 6858000"/>
              <a:gd name="connsiteX50" fmla="*/ 3369898 w 7467600"/>
              <a:gd name="connsiteY50" fmla="*/ 6081771 h 6858000"/>
              <a:gd name="connsiteX51" fmla="*/ 3642057 w 7467600"/>
              <a:gd name="connsiteY51" fmla="*/ 5573487 h 6858000"/>
              <a:gd name="connsiteX52" fmla="*/ 2650666 w 7467600"/>
              <a:gd name="connsiteY52" fmla="*/ 5530686 h 6858000"/>
              <a:gd name="connsiteX53" fmla="*/ 2650249 w 7467600"/>
              <a:gd name="connsiteY53" fmla="*/ 5532101 h 6858000"/>
              <a:gd name="connsiteX54" fmla="*/ 2663808 w 7467600"/>
              <a:gd name="connsiteY54" fmla="*/ 6535215 h 6858000"/>
              <a:gd name="connsiteX55" fmla="*/ 2665418 w 7467600"/>
              <a:gd name="connsiteY55" fmla="*/ 6132756 h 6858000"/>
              <a:gd name="connsiteX56" fmla="*/ 2650666 w 7467600"/>
              <a:gd name="connsiteY56" fmla="*/ 5530686 h 6858000"/>
              <a:gd name="connsiteX57" fmla="*/ 2680277 w 7467600"/>
              <a:gd name="connsiteY57" fmla="*/ 5479204 h 6858000"/>
              <a:gd name="connsiteX58" fmla="*/ 2678972 w 7467600"/>
              <a:gd name="connsiteY58" fmla="*/ 5481582 h 6858000"/>
              <a:gd name="connsiteX59" fmla="*/ 2696666 w 7467600"/>
              <a:gd name="connsiteY59" fmla="*/ 6133836 h 6858000"/>
              <a:gd name="connsiteX60" fmla="*/ 2695769 w 7467600"/>
              <a:gd name="connsiteY60" fmla="*/ 6390955 h 6858000"/>
              <a:gd name="connsiteX61" fmla="*/ 2739893 w 7467600"/>
              <a:gd name="connsiteY61" fmla="*/ 6108357 h 6858000"/>
              <a:gd name="connsiteX62" fmla="*/ 2680277 w 7467600"/>
              <a:gd name="connsiteY62" fmla="*/ 5479204 h 6858000"/>
              <a:gd name="connsiteX63" fmla="*/ 1132195 w 7467600"/>
              <a:gd name="connsiteY63" fmla="*/ 5467980 h 6858000"/>
              <a:gd name="connsiteX64" fmla="*/ 1679056 w 7467600"/>
              <a:gd name="connsiteY64" fmla="*/ 5516907 h 6858000"/>
              <a:gd name="connsiteX65" fmla="*/ 2128648 w 7467600"/>
              <a:gd name="connsiteY65" fmla="*/ 5474249 h 6858000"/>
              <a:gd name="connsiteX66" fmla="*/ 1825619 w 7467600"/>
              <a:gd name="connsiteY66" fmla="*/ 5478447 h 6858000"/>
              <a:gd name="connsiteX67" fmla="*/ 1737798 w 7467600"/>
              <a:gd name="connsiteY67" fmla="*/ 5483353 h 6858000"/>
              <a:gd name="connsiteX68" fmla="*/ 1132195 w 7467600"/>
              <a:gd name="connsiteY68" fmla="*/ 5467980 h 6858000"/>
              <a:gd name="connsiteX69" fmla="*/ 1456157 w 7467600"/>
              <a:gd name="connsiteY69" fmla="*/ 5371404 h 6858000"/>
              <a:gd name="connsiteX70" fmla="*/ 1244432 w 7467600"/>
              <a:gd name="connsiteY70" fmla="*/ 5385601 h 6858000"/>
              <a:gd name="connsiteX71" fmla="*/ 973990 w 7467600"/>
              <a:gd name="connsiteY71" fmla="*/ 5424940 h 6858000"/>
              <a:gd name="connsiteX72" fmla="*/ 1103809 w 7467600"/>
              <a:gd name="connsiteY72" fmla="*/ 5433720 h 6858000"/>
              <a:gd name="connsiteX73" fmla="*/ 1123454 w 7467600"/>
              <a:gd name="connsiteY73" fmla="*/ 5435727 h 6858000"/>
              <a:gd name="connsiteX74" fmla="*/ 1737017 w 7467600"/>
              <a:gd name="connsiteY74" fmla="*/ 5452183 h 6858000"/>
              <a:gd name="connsiteX75" fmla="*/ 1824397 w 7467600"/>
              <a:gd name="connsiteY75" fmla="*/ 5447757 h 6858000"/>
              <a:gd name="connsiteX76" fmla="*/ 2070059 w 7467600"/>
              <a:gd name="connsiteY76" fmla="*/ 5441660 h 6858000"/>
              <a:gd name="connsiteX77" fmla="*/ 1456157 w 7467600"/>
              <a:gd name="connsiteY77" fmla="*/ 5371404 h 6858000"/>
              <a:gd name="connsiteX78" fmla="*/ 4988186 w 7467600"/>
              <a:gd name="connsiteY78" fmla="*/ 5216467 h 6858000"/>
              <a:gd name="connsiteX79" fmla="*/ 4777334 w 7467600"/>
              <a:gd name="connsiteY79" fmla="*/ 5406072 h 6858000"/>
              <a:gd name="connsiteX80" fmla="*/ 4718341 w 7467600"/>
              <a:gd name="connsiteY80" fmla="*/ 5468043 h 6858000"/>
              <a:gd name="connsiteX81" fmla="*/ 4604655 w 7467600"/>
              <a:gd name="connsiteY81" fmla="*/ 5583434 h 6858000"/>
              <a:gd name="connsiteX82" fmla="*/ 4565074 w 7467600"/>
              <a:gd name="connsiteY82" fmla="*/ 5618550 h 6858000"/>
              <a:gd name="connsiteX83" fmla="*/ 4988186 w 7467600"/>
              <a:gd name="connsiteY83" fmla="*/ 5216467 h 6858000"/>
              <a:gd name="connsiteX84" fmla="*/ 4978032 w 7467600"/>
              <a:gd name="connsiteY84" fmla="*/ 5183809 h 6858000"/>
              <a:gd name="connsiteX85" fmla="*/ 4463413 w 7467600"/>
              <a:gd name="connsiteY85" fmla="*/ 5615162 h 6858000"/>
              <a:gd name="connsiteX86" fmla="*/ 4358134 w 7467600"/>
              <a:gd name="connsiteY86" fmla="*/ 5742791 h 6858000"/>
              <a:gd name="connsiteX87" fmla="*/ 4376219 w 7467600"/>
              <a:gd name="connsiteY87" fmla="*/ 5729027 h 6858000"/>
              <a:gd name="connsiteX88" fmla="*/ 4582340 w 7467600"/>
              <a:gd name="connsiteY88" fmla="*/ 5561037 h 6858000"/>
              <a:gd name="connsiteX89" fmla="*/ 4694684 w 7467600"/>
              <a:gd name="connsiteY89" fmla="*/ 5447098 h 6858000"/>
              <a:gd name="connsiteX90" fmla="*/ 4754123 w 7467600"/>
              <a:gd name="connsiteY90" fmla="*/ 5384643 h 6858000"/>
              <a:gd name="connsiteX91" fmla="*/ 4978032 w 7467600"/>
              <a:gd name="connsiteY91" fmla="*/ 5183809 h 6858000"/>
              <a:gd name="connsiteX92" fmla="*/ 1903353 w 7467600"/>
              <a:gd name="connsiteY92" fmla="*/ 5044827 h 6858000"/>
              <a:gd name="connsiteX93" fmla="*/ 1936931 w 7467600"/>
              <a:gd name="connsiteY93" fmla="*/ 5093954 h 6858000"/>
              <a:gd name="connsiteX94" fmla="*/ 2195868 w 7467600"/>
              <a:gd name="connsiteY94" fmla="*/ 5396574 h 6858000"/>
              <a:gd name="connsiteX95" fmla="*/ 2088852 w 7467600"/>
              <a:gd name="connsiteY95" fmla="*/ 5166123 h 6858000"/>
              <a:gd name="connsiteX96" fmla="*/ 1958241 w 7467600"/>
              <a:gd name="connsiteY96" fmla="*/ 5067955 h 6858000"/>
              <a:gd name="connsiteX97" fmla="*/ 1903353 w 7467600"/>
              <a:gd name="connsiteY97" fmla="*/ 5044827 h 6858000"/>
              <a:gd name="connsiteX98" fmla="*/ 1979378 w 7467600"/>
              <a:gd name="connsiteY98" fmla="*/ 4769504 h 6858000"/>
              <a:gd name="connsiteX99" fmla="*/ 2882120 w 7467600"/>
              <a:gd name="connsiteY99" fmla="*/ 5064547 h 6858000"/>
              <a:gd name="connsiteX100" fmla="*/ 2793103 w 7467600"/>
              <a:gd name="connsiteY100" fmla="*/ 5039699 h 6858000"/>
              <a:gd name="connsiteX101" fmla="*/ 2770041 w 7467600"/>
              <a:gd name="connsiteY101" fmla="*/ 5033634 h 6858000"/>
              <a:gd name="connsiteX102" fmla="*/ 1979378 w 7467600"/>
              <a:gd name="connsiteY102" fmla="*/ 4769504 h 6858000"/>
              <a:gd name="connsiteX103" fmla="*/ 1927410 w 7467600"/>
              <a:gd name="connsiteY103" fmla="*/ 4716164 h 6858000"/>
              <a:gd name="connsiteX104" fmla="*/ 1959587 w 7467600"/>
              <a:gd name="connsiteY104" fmla="*/ 4728849 h 6858000"/>
              <a:gd name="connsiteX105" fmla="*/ 2777707 w 7467600"/>
              <a:gd name="connsiteY105" fmla="*/ 5003991 h 6858000"/>
              <a:gd name="connsiteX106" fmla="*/ 2800768 w 7467600"/>
              <a:gd name="connsiteY106" fmla="*/ 5010056 h 6858000"/>
              <a:gd name="connsiteX107" fmla="*/ 2879408 w 7467600"/>
              <a:gd name="connsiteY107" fmla="*/ 5031590 h 6858000"/>
              <a:gd name="connsiteX108" fmla="*/ 2862295 w 7467600"/>
              <a:gd name="connsiteY108" fmla="*/ 5022958 h 6858000"/>
              <a:gd name="connsiteX109" fmla="*/ 2813343 w 7467600"/>
              <a:gd name="connsiteY109" fmla="*/ 4998369 h 6858000"/>
              <a:gd name="connsiteX110" fmla="*/ 2646245 w 7467600"/>
              <a:gd name="connsiteY110" fmla="*/ 4930999 h 6858000"/>
              <a:gd name="connsiteX111" fmla="*/ 1999243 w 7467600"/>
              <a:gd name="connsiteY111" fmla="*/ 4730524 h 6858000"/>
              <a:gd name="connsiteX112" fmla="*/ 1979527 w 7467600"/>
              <a:gd name="connsiteY112" fmla="*/ 4726651 h 6858000"/>
              <a:gd name="connsiteX113" fmla="*/ 1927410 w 7467600"/>
              <a:gd name="connsiteY113" fmla="*/ 4716164 h 6858000"/>
              <a:gd name="connsiteX114" fmla="*/ 1997014 w 7467600"/>
              <a:gd name="connsiteY114" fmla="*/ 4698007 h 6858000"/>
              <a:gd name="connsiteX115" fmla="*/ 2005458 w 7467600"/>
              <a:gd name="connsiteY115" fmla="*/ 4699540 h 6858000"/>
              <a:gd name="connsiteX116" fmla="*/ 2657186 w 7467600"/>
              <a:gd name="connsiteY116" fmla="*/ 4901687 h 6858000"/>
              <a:gd name="connsiteX117" fmla="*/ 2826662 w 7467600"/>
              <a:gd name="connsiteY117" fmla="*/ 4970362 h 6858000"/>
              <a:gd name="connsiteX118" fmla="*/ 2876100 w 7467600"/>
              <a:gd name="connsiteY118" fmla="*/ 4995397 h 6858000"/>
              <a:gd name="connsiteX119" fmla="*/ 3042600 w 7467600"/>
              <a:gd name="connsiteY119" fmla="*/ 5059532 h 6858000"/>
              <a:gd name="connsiteX120" fmla="*/ 1997014 w 7467600"/>
              <a:gd name="connsiteY120" fmla="*/ 4698007 h 6858000"/>
              <a:gd name="connsiteX121" fmla="*/ 2305292 w 7467600"/>
              <a:gd name="connsiteY121" fmla="*/ 4219492 h 6858000"/>
              <a:gd name="connsiteX122" fmla="*/ 3360922 w 7467600"/>
              <a:gd name="connsiteY122" fmla="*/ 4529373 h 6858000"/>
              <a:gd name="connsiteX123" fmla="*/ 3492420 w 7467600"/>
              <a:gd name="connsiteY123" fmla="*/ 4510145 h 6858000"/>
              <a:gd name="connsiteX124" fmla="*/ 3364086 w 7467600"/>
              <a:gd name="connsiteY124" fmla="*/ 4480340 h 6858000"/>
              <a:gd name="connsiteX125" fmla="*/ 3225818 w 7467600"/>
              <a:gd name="connsiteY125" fmla="*/ 4411822 h 6858000"/>
              <a:gd name="connsiteX126" fmla="*/ 3129696 w 7467600"/>
              <a:gd name="connsiteY126" fmla="*/ 4360704 h 6858000"/>
              <a:gd name="connsiteX127" fmla="*/ 2814545 w 7467600"/>
              <a:gd name="connsiteY127" fmla="*/ 4282955 h 6858000"/>
              <a:gd name="connsiteX128" fmla="*/ 2305292 w 7467600"/>
              <a:gd name="connsiteY128" fmla="*/ 4219492 h 6858000"/>
              <a:gd name="connsiteX129" fmla="*/ 2626982 w 7467600"/>
              <a:gd name="connsiteY129" fmla="*/ 4206450 h 6858000"/>
              <a:gd name="connsiteX130" fmla="*/ 2490617 w 7467600"/>
              <a:gd name="connsiteY130" fmla="*/ 4206951 h 6858000"/>
              <a:gd name="connsiteX131" fmla="*/ 2819869 w 7467600"/>
              <a:gd name="connsiteY131" fmla="*/ 4252936 h 6858000"/>
              <a:gd name="connsiteX132" fmla="*/ 3143018 w 7467600"/>
              <a:gd name="connsiteY132" fmla="*/ 4332698 h 6858000"/>
              <a:gd name="connsiteX133" fmla="*/ 3241520 w 7467600"/>
              <a:gd name="connsiteY133" fmla="*/ 4385112 h 6858000"/>
              <a:gd name="connsiteX134" fmla="*/ 3374575 w 7467600"/>
              <a:gd name="connsiteY134" fmla="*/ 4451517 h 6858000"/>
              <a:gd name="connsiteX135" fmla="*/ 3505221 w 7467600"/>
              <a:gd name="connsiteY135" fmla="*/ 4480757 h 6858000"/>
              <a:gd name="connsiteX136" fmla="*/ 2626982 w 7467600"/>
              <a:gd name="connsiteY136" fmla="*/ 4206450 h 6858000"/>
              <a:gd name="connsiteX137" fmla="*/ 1310106 w 7467600"/>
              <a:gd name="connsiteY137" fmla="*/ 3943217 h 6858000"/>
              <a:gd name="connsiteX138" fmla="*/ 854994 w 7467600"/>
              <a:gd name="connsiteY138" fmla="*/ 4399136 h 6858000"/>
              <a:gd name="connsiteX139" fmla="*/ 742462 w 7467600"/>
              <a:gd name="connsiteY139" fmla="*/ 4594648 h 6858000"/>
              <a:gd name="connsiteX140" fmla="*/ 820602 w 7467600"/>
              <a:gd name="connsiteY140" fmla="*/ 4485915 h 6858000"/>
              <a:gd name="connsiteX141" fmla="*/ 878295 w 7467600"/>
              <a:gd name="connsiteY141" fmla="*/ 4403594 h 6858000"/>
              <a:gd name="connsiteX142" fmla="*/ 1240607 w 7467600"/>
              <a:gd name="connsiteY142" fmla="*/ 4010401 h 6858000"/>
              <a:gd name="connsiteX143" fmla="*/ 1310106 w 7467600"/>
              <a:gd name="connsiteY143" fmla="*/ 3943217 h 6858000"/>
              <a:gd name="connsiteX144" fmla="*/ 1423113 w 7467600"/>
              <a:gd name="connsiteY144" fmla="*/ 3874565 h 6858000"/>
              <a:gd name="connsiteX145" fmla="*/ 1260565 w 7467600"/>
              <a:gd name="connsiteY145" fmla="*/ 4031982 h 6858000"/>
              <a:gd name="connsiteX146" fmla="*/ 901900 w 7467600"/>
              <a:gd name="connsiteY146" fmla="*/ 4421236 h 6858000"/>
              <a:gd name="connsiteX147" fmla="*/ 845044 w 7467600"/>
              <a:gd name="connsiteY147" fmla="*/ 4502436 h 6858000"/>
              <a:gd name="connsiteX148" fmla="*/ 685926 w 7467600"/>
              <a:gd name="connsiteY148" fmla="*/ 4703069 h 6858000"/>
              <a:gd name="connsiteX149" fmla="*/ 684248 w 7467600"/>
              <a:gd name="connsiteY149" fmla="*/ 4706721 h 6858000"/>
              <a:gd name="connsiteX150" fmla="*/ 1423113 w 7467600"/>
              <a:gd name="connsiteY150" fmla="*/ 3874565 h 6858000"/>
              <a:gd name="connsiteX151" fmla="*/ 3316479 w 7467600"/>
              <a:gd name="connsiteY151" fmla="*/ 3872136 h 6858000"/>
              <a:gd name="connsiteX152" fmla="*/ 3546806 w 7467600"/>
              <a:gd name="connsiteY152" fmla="*/ 4356139 h 6858000"/>
              <a:gd name="connsiteX153" fmla="*/ 3364433 w 7467600"/>
              <a:gd name="connsiteY153" fmla="*/ 3953121 h 6858000"/>
              <a:gd name="connsiteX154" fmla="*/ 3316479 w 7467600"/>
              <a:gd name="connsiteY154" fmla="*/ 3872136 h 6858000"/>
              <a:gd name="connsiteX155" fmla="*/ 3291335 w 7467600"/>
              <a:gd name="connsiteY155" fmla="*/ 3767420 h 6858000"/>
              <a:gd name="connsiteX156" fmla="*/ 3390805 w 7467600"/>
              <a:gd name="connsiteY156" fmla="*/ 3937163 h 6858000"/>
              <a:gd name="connsiteX157" fmla="*/ 3579062 w 7467600"/>
              <a:gd name="connsiteY157" fmla="*/ 4359040 h 6858000"/>
              <a:gd name="connsiteX158" fmla="*/ 3467355 w 7467600"/>
              <a:gd name="connsiteY158" fmla="*/ 3988130 h 6858000"/>
              <a:gd name="connsiteX159" fmla="*/ 3310753 w 7467600"/>
              <a:gd name="connsiteY159" fmla="*/ 3787140 h 6858000"/>
              <a:gd name="connsiteX160" fmla="*/ 3291335 w 7467600"/>
              <a:gd name="connsiteY160" fmla="*/ 3767420 h 6858000"/>
              <a:gd name="connsiteX161" fmla="*/ 1635889 w 7467600"/>
              <a:gd name="connsiteY161" fmla="*/ 3709494 h 6858000"/>
              <a:gd name="connsiteX162" fmla="*/ 1634800 w 7467600"/>
              <a:gd name="connsiteY162" fmla="*/ 3731111 h 6858000"/>
              <a:gd name="connsiteX163" fmla="*/ 1635889 w 7467600"/>
              <a:gd name="connsiteY163" fmla="*/ 3709494 h 6858000"/>
              <a:gd name="connsiteX164" fmla="*/ 1510397 w 7467600"/>
              <a:gd name="connsiteY164" fmla="*/ 3684705 h 6858000"/>
              <a:gd name="connsiteX165" fmla="*/ 1146550 w 7467600"/>
              <a:gd name="connsiteY165" fmla="*/ 3802012 h 6858000"/>
              <a:gd name="connsiteX166" fmla="*/ 698834 w 7467600"/>
              <a:gd name="connsiteY166" fmla="*/ 3952272 h 6858000"/>
              <a:gd name="connsiteX167" fmla="*/ 34256 w 7467600"/>
              <a:gd name="connsiteY167" fmla="*/ 4347603 h 6858000"/>
              <a:gd name="connsiteX168" fmla="*/ 527241 w 7467600"/>
              <a:gd name="connsiteY168" fmla="*/ 4065078 h 6858000"/>
              <a:gd name="connsiteX169" fmla="*/ 1510397 w 7467600"/>
              <a:gd name="connsiteY169" fmla="*/ 3684705 h 6858000"/>
              <a:gd name="connsiteX170" fmla="*/ 1313114 w 7467600"/>
              <a:gd name="connsiteY170" fmla="*/ 3655216 h 6858000"/>
              <a:gd name="connsiteX171" fmla="*/ 1109304 w 7467600"/>
              <a:gd name="connsiteY171" fmla="*/ 3669030 h 6858000"/>
              <a:gd name="connsiteX172" fmla="*/ 8129 w 7467600"/>
              <a:gd name="connsiteY172" fmla="*/ 4330519 h 6858000"/>
              <a:gd name="connsiteX173" fmla="*/ 687572 w 7467600"/>
              <a:gd name="connsiteY173" fmla="*/ 3925629 h 6858000"/>
              <a:gd name="connsiteX174" fmla="*/ 1138365 w 7467600"/>
              <a:gd name="connsiteY174" fmla="*/ 3774515 h 6858000"/>
              <a:gd name="connsiteX175" fmla="*/ 1505579 w 7467600"/>
              <a:gd name="connsiteY175" fmla="*/ 3655526 h 6858000"/>
              <a:gd name="connsiteX176" fmla="*/ 1313114 w 7467600"/>
              <a:gd name="connsiteY176" fmla="*/ 3655216 h 6858000"/>
              <a:gd name="connsiteX177" fmla="*/ 3655073 w 7467600"/>
              <a:gd name="connsiteY177" fmla="*/ 3650884 h 6858000"/>
              <a:gd name="connsiteX178" fmla="*/ 3989938 w 7467600"/>
              <a:gd name="connsiteY178" fmla="*/ 3991685 h 6858000"/>
              <a:gd name="connsiteX179" fmla="*/ 4393907 w 7467600"/>
              <a:gd name="connsiteY179" fmla="*/ 4261258 h 6858000"/>
              <a:gd name="connsiteX180" fmla="*/ 4648051 w 7467600"/>
              <a:gd name="connsiteY180" fmla="*/ 4374051 h 6858000"/>
              <a:gd name="connsiteX181" fmla="*/ 4383389 w 7467600"/>
              <a:gd name="connsiteY181" fmla="*/ 4184369 h 6858000"/>
              <a:gd name="connsiteX182" fmla="*/ 4165508 w 7467600"/>
              <a:gd name="connsiteY182" fmla="*/ 4035196 h 6858000"/>
              <a:gd name="connsiteX183" fmla="*/ 4068162 w 7467600"/>
              <a:gd name="connsiteY183" fmla="*/ 3953394 h 6858000"/>
              <a:gd name="connsiteX184" fmla="*/ 3981416 w 7467600"/>
              <a:gd name="connsiteY184" fmla="*/ 3880482 h 6858000"/>
              <a:gd name="connsiteX185" fmla="*/ 3800147 w 7467600"/>
              <a:gd name="connsiteY185" fmla="*/ 3749872 h 6858000"/>
              <a:gd name="connsiteX186" fmla="*/ 3655073 w 7467600"/>
              <a:gd name="connsiteY186" fmla="*/ 3650884 h 6858000"/>
              <a:gd name="connsiteX187" fmla="*/ 3670252 w 7467600"/>
              <a:gd name="connsiteY187" fmla="*/ 3622798 h 6858000"/>
              <a:gd name="connsiteX188" fmla="*/ 3817258 w 7467600"/>
              <a:gd name="connsiteY188" fmla="*/ 3723577 h 6858000"/>
              <a:gd name="connsiteX189" fmla="*/ 4000461 w 7467600"/>
              <a:gd name="connsiteY189" fmla="*/ 3855966 h 6858000"/>
              <a:gd name="connsiteX190" fmla="*/ 4088180 w 7467600"/>
              <a:gd name="connsiteY190" fmla="*/ 3929774 h 6858000"/>
              <a:gd name="connsiteX191" fmla="*/ 4184555 w 7467600"/>
              <a:gd name="connsiteY191" fmla="*/ 4010683 h 6858000"/>
              <a:gd name="connsiteX192" fmla="*/ 4399563 w 7467600"/>
              <a:gd name="connsiteY192" fmla="*/ 4158106 h 6858000"/>
              <a:gd name="connsiteX193" fmla="*/ 4684469 w 7467600"/>
              <a:gd name="connsiteY193" fmla="*/ 4364680 h 6858000"/>
              <a:gd name="connsiteX194" fmla="*/ 4690271 w 7467600"/>
              <a:gd name="connsiteY194" fmla="*/ 4370034 h 6858000"/>
              <a:gd name="connsiteX195" fmla="*/ 4136093 w 7467600"/>
              <a:gd name="connsiteY195" fmla="*/ 3858466 h 6858000"/>
              <a:gd name="connsiteX196" fmla="*/ 3670252 w 7467600"/>
              <a:gd name="connsiteY196" fmla="*/ 3622798 h 6858000"/>
              <a:gd name="connsiteX197" fmla="*/ 4440129 w 7467600"/>
              <a:gd name="connsiteY197" fmla="*/ 3448571 h 6858000"/>
              <a:gd name="connsiteX198" fmla="*/ 4856525 w 7467600"/>
              <a:gd name="connsiteY198" fmla="*/ 3915351 h 6858000"/>
              <a:gd name="connsiteX199" fmla="*/ 5059055 w 7467600"/>
              <a:gd name="connsiteY199" fmla="*/ 4108918 h 6858000"/>
              <a:gd name="connsiteX200" fmla="*/ 5290070 w 7467600"/>
              <a:gd name="connsiteY200" fmla="*/ 4263619 h 6858000"/>
              <a:gd name="connsiteX201" fmla="*/ 4834991 w 7467600"/>
              <a:gd name="connsiteY201" fmla="*/ 3830985 h 6858000"/>
              <a:gd name="connsiteX202" fmla="*/ 4440129 w 7467600"/>
              <a:gd name="connsiteY202" fmla="*/ 3448571 h 6858000"/>
              <a:gd name="connsiteX203" fmla="*/ 4441737 w 7467600"/>
              <a:gd name="connsiteY203" fmla="*/ 3399734 h 6858000"/>
              <a:gd name="connsiteX204" fmla="*/ 4431236 w 7467600"/>
              <a:gd name="connsiteY204" fmla="*/ 3400954 h 6858000"/>
              <a:gd name="connsiteX205" fmla="*/ 4557150 w 7467600"/>
              <a:gd name="connsiteY205" fmla="*/ 3510023 h 6858000"/>
              <a:gd name="connsiteX206" fmla="*/ 4856936 w 7467600"/>
              <a:gd name="connsiteY206" fmla="*/ 3809146 h 6858000"/>
              <a:gd name="connsiteX207" fmla="*/ 5111996 w 7467600"/>
              <a:gd name="connsiteY207" fmla="*/ 4065759 h 6858000"/>
              <a:gd name="connsiteX208" fmla="*/ 5388878 w 7467600"/>
              <a:gd name="connsiteY208" fmla="*/ 4300185 h 6858000"/>
              <a:gd name="connsiteX209" fmla="*/ 5425556 w 7467600"/>
              <a:gd name="connsiteY209" fmla="*/ 4308967 h 6858000"/>
              <a:gd name="connsiteX210" fmla="*/ 4943646 w 7467600"/>
              <a:gd name="connsiteY210" fmla="*/ 3822916 h 6858000"/>
              <a:gd name="connsiteX211" fmla="*/ 4594837 w 7467600"/>
              <a:gd name="connsiteY211" fmla="*/ 3532274 h 6858000"/>
              <a:gd name="connsiteX212" fmla="*/ 4441737 w 7467600"/>
              <a:gd name="connsiteY212" fmla="*/ 3399734 h 6858000"/>
              <a:gd name="connsiteX213" fmla="*/ 5425834 w 7467600"/>
              <a:gd name="connsiteY213" fmla="*/ 3162785 h 6858000"/>
              <a:gd name="connsiteX214" fmla="*/ 5401644 w 7467600"/>
              <a:gd name="connsiteY214" fmla="*/ 3617847 h 6858000"/>
              <a:gd name="connsiteX215" fmla="*/ 5467256 w 7467600"/>
              <a:gd name="connsiteY215" fmla="*/ 4175494 h 6858000"/>
              <a:gd name="connsiteX216" fmla="*/ 5448069 w 7467600"/>
              <a:gd name="connsiteY216" fmla="*/ 3567554 h 6858000"/>
              <a:gd name="connsiteX217" fmla="*/ 5425834 w 7467600"/>
              <a:gd name="connsiteY217" fmla="*/ 3162785 h 6858000"/>
              <a:gd name="connsiteX218" fmla="*/ 1318687 w 7467600"/>
              <a:gd name="connsiteY218" fmla="*/ 3113840 h 6858000"/>
              <a:gd name="connsiteX219" fmla="*/ 1066793 w 7467600"/>
              <a:gd name="connsiteY219" fmla="*/ 3212171 h 6858000"/>
              <a:gd name="connsiteX220" fmla="*/ 993319 w 7467600"/>
              <a:gd name="connsiteY220" fmla="*/ 3247648 h 6858000"/>
              <a:gd name="connsiteX221" fmla="*/ 853081 w 7467600"/>
              <a:gd name="connsiteY221" fmla="*/ 3312410 h 6858000"/>
              <a:gd name="connsiteX222" fmla="*/ 805957 w 7467600"/>
              <a:gd name="connsiteY222" fmla="*/ 3330443 h 6858000"/>
              <a:gd name="connsiteX223" fmla="*/ 1318687 w 7467600"/>
              <a:gd name="connsiteY223" fmla="*/ 3113840 h 6858000"/>
              <a:gd name="connsiteX224" fmla="*/ 5453702 w 7467600"/>
              <a:gd name="connsiteY224" fmla="*/ 3090882 h 6858000"/>
              <a:gd name="connsiteX225" fmla="*/ 5480135 w 7467600"/>
              <a:gd name="connsiteY225" fmla="*/ 3565802 h 6858000"/>
              <a:gd name="connsiteX226" fmla="*/ 5499023 w 7467600"/>
              <a:gd name="connsiteY226" fmla="*/ 4166310 h 6858000"/>
              <a:gd name="connsiteX227" fmla="*/ 5547022 w 7467600"/>
              <a:gd name="connsiteY227" fmla="*/ 3607838 h 6858000"/>
              <a:gd name="connsiteX228" fmla="*/ 5515964 w 7467600"/>
              <a:gd name="connsiteY228" fmla="*/ 3378541 h 6858000"/>
              <a:gd name="connsiteX229" fmla="*/ 5453702 w 7467600"/>
              <a:gd name="connsiteY229" fmla="*/ 3090882 h 6858000"/>
              <a:gd name="connsiteX230" fmla="*/ 1238695 w 7467600"/>
              <a:gd name="connsiteY230" fmla="*/ 3076820 h 6858000"/>
              <a:gd name="connsiteX231" fmla="*/ 716371 w 7467600"/>
              <a:gd name="connsiteY231" fmla="*/ 3293249 h 6858000"/>
              <a:gd name="connsiteX232" fmla="*/ 579522 w 7467600"/>
              <a:gd name="connsiteY232" fmla="*/ 3371759 h 6858000"/>
              <a:gd name="connsiteX233" fmla="*/ 600288 w 7467600"/>
              <a:gd name="connsiteY233" fmla="*/ 3365555 h 6858000"/>
              <a:gd name="connsiteX234" fmla="*/ 840692 w 7467600"/>
              <a:gd name="connsiteY234" fmla="*/ 3284921 h 6858000"/>
              <a:gd name="connsiteX235" fmla="*/ 979248 w 7467600"/>
              <a:gd name="connsiteY235" fmla="*/ 3221003 h 6858000"/>
              <a:gd name="connsiteX236" fmla="*/ 1053282 w 7467600"/>
              <a:gd name="connsiteY236" fmla="*/ 3185247 h 6858000"/>
              <a:gd name="connsiteX237" fmla="*/ 1320603 w 7467600"/>
              <a:gd name="connsiteY237" fmla="*/ 3081281 h 6858000"/>
              <a:gd name="connsiteX238" fmla="*/ 1238695 w 7467600"/>
              <a:gd name="connsiteY238" fmla="*/ 3076820 h 6858000"/>
              <a:gd name="connsiteX239" fmla="*/ 5425627 w 7467600"/>
              <a:gd name="connsiteY239" fmla="*/ 2954192 h 6858000"/>
              <a:gd name="connsiteX240" fmla="*/ 5470770 w 7467600"/>
              <a:gd name="connsiteY240" fmla="*/ 3005435 h 6858000"/>
              <a:gd name="connsiteX241" fmla="*/ 5519779 w 7467600"/>
              <a:gd name="connsiteY241" fmla="*/ 4359223 h 6858000"/>
              <a:gd name="connsiteX242" fmla="*/ 5520293 w 7467600"/>
              <a:gd name="connsiteY242" fmla="*/ 4360602 h 6858000"/>
              <a:gd name="connsiteX243" fmla="*/ 5767221 w 7467600"/>
              <a:gd name="connsiteY243" fmla="*/ 4665564 h 6858000"/>
              <a:gd name="connsiteX244" fmla="*/ 6937169 w 7467600"/>
              <a:gd name="connsiteY244" fmla="*/ 4815941 h 6858000"/>
              <a:gd name="connsiteX245" fmla="*/ 6953922 w 7467600"/>
              <a:gd name="connsiteY245" fmla="*/ 4890068 h 6858000"/>
              <a:gd name="connsiteX246" fmla="*/ 6071359 w 7467600"/>
              <a:gd name="connsiteY246" fmla="*/ 4770770 h 6858000"/>
              <a:gd name="connsiteX247" fmla="*/ 6038839 w 7467600"/>
              <a:gd name="connsiteY247" fmla="*/ 4764474 h 6858000"/>
              <a:gd name="connsiteX248" fmla="*/ 6038706 w 7467600"/>
              <a:gd name="connsiteY248" fmla="*/ 4763847 h 6858000"/>
              <a:gd name="connsiteX249" fmla="*/ 6037784 w 7467600"/>
              <a:gd name="connsiteY249" fmla="*/ 4764270 h 6858000"/>
              <a:gd name="connsiteX250" fmla="*/ 6038839 w 7467600"/>
              <a:gd name="connsiteY250" fmla="*/ 4764474 h 6858000"/>
              <a:gd name="connsiteX251" fmla="*/ 6040338 w 7467600"/>
              <a:gd name="connsiteY251" fmla="*/ 4771418 h 6858000"/>
              <a:gd name="connsiteX252" fmla="*/ 6024488 w 7467600"/>
              <a:gd name="connsiteY252" fmla="*/ 4809903 h 6858000"/>
              <a:gd name="connsiteX253" fmla="*/ 5599771 w 7467600"/>
              <a:gd name="connsiteY253" fmla="*/ 5509652 h 6858000"/>
              <a:gd name="connsiteX254" fmla="*/ 5548843 w 7467600"/>
              <a:gd name="connsiteY254" fmla="*/ 5563845 h 6858000"/>
              <a:gd name="connsiteX255" fmla="*/ 5940952 w 7467600"/>
              <a:gd name="connsiteY255" fmla="*/ 6250028 h 6858000"/>
              <a:gd name="connsiteX256" fmla="*/ 6043441 w 7467600"/>
              <a:gd name="connsiteY256" fmla="*/ 6665847 h 6858000"/>
              <a:gd name="connsiteX257" fmla="*/ 6093432 w 7467600"/>
              <a:gd name="connsiteY257" fmla="*/ 6858000 h 6858000"/>
              <a:gd name="connsiteX258" fmla="*/ 6034344 w 7467600"/>
              <a:gd name="connsiteY258" fmla="*/ 6858000 h 6858000"/>
              <a:gd name="connsiteX259" fmla="*/ 6026679 w 7467600"/>
              <a:gd name="connsiteY259" fmla="*/ 6836959 h 6858000"/>
              <a:gd name="connsiteX260" fmla="*/ 5800441 w 7467600"/>
              <a:gd name="connsiteY260" fmla="*/ 6335286 h 6858000"/>
              <a:gd name="connsiteX261" fmla="*/ 5526562 w 7467600"/>
              <a:gd name="connsiteY261" fmla="*/ 5705388 h 6858000"/>
              <a:gd name="connsiteX262" fmla="*/ 5519640 w 7467600"/>
              <a:gd name="connsiteY262" fmla="*/ 5683774 h 6858000"/>
              <a:gd name="connsiteX263" fmla="*/ 5844559 w 7467600"/>
              <a:gd name="connsiteY263" fmla="*/ 6553349 h 6858000"/>
              <a:gd name="connsiteX264" fmla="*/ 5975994 w 7467600"/>
              <a:gd name="connsiteY264" fmla="*/ 6858000 h 6858000"/>
              <a:gd name="connsiteX265" fmla="*/ 5898547 w 7467600"/>
              <a:gd name="connsiteY265" fmla="*/ 6858000 h 6858000"/>
              <a:gd name="connsiteX266" fmla="*/ 5682041 w 7467600"/>
              <a:gd name="connsiteY266" fmla="*/ 6355860 h 6858000"/>
              <a:gd name="connsiteX267" fmla="*/ 5461758 w 7467600"/>
              <a:gd name="connsiteY267" fmla="*/ 5820220 h 6858000"/>
              <a:gd name="connsiteX268" fmla="*/ 5237282 w 7467600"/>
              <a:gd name="connsiteY268" fmla="*/ 6579086 h 6858000"/>
              <a:gd name="connsiteX269" fmla="*/ 5115009 w 7467600"/>
              <a:gd name="connsiteY269" fmla="*/ 6858000 h 6858000"/>
              <a:gd name="connsiteX270" fmla="*/ 5028074 w 7467600"/>
              <a:gd name="connsiteY270" fmla="*/ 6858000 h 6858000"/>
              <a:gd name="connsiteX271" fmla="*/ 5079508 w 7467600"/>
              <a:gd name="connsiteY271" fmla="*/ 6749074 h 6858000"/>
              <a:gd name="connsiteX272" fmla="*/ 5371846 w 7467600"/>
              <a:gd name="connsiteY272" fmla="*/ 5924413 h 6858000"/>
              <a:gd name="connsiteX273" fmla="*/ 5270512 w 7467600"/>
              <a:gd name="connsiteY273" fmla="*/ 6138975 h 6858000"/>
              <a:gd name="connsiteX274" fmla="*/ 5062409 w 7467600"/>
              <a:gd name="connsiteY274" fmla="*/ 6653544 h 6858000"/>
              <a:gd name="connsiteX275" fmla="*/ 5036628 w 7467600"/>
              <a:gd name="connsiteY275" fmla="*/ 6754247 h 6858000"/>
              <a:gd name="connsiteX276" fmla="*/ 5009112 w 7467600"/>
              <a:gd name="connsiteY276" fmla="*/ 6858000 h 6858000"/>
              <a:gd name="connsiteX277" fmla="*/ 4976679 w 7467600"/>
              <a:gd name="connsiteY277" fmla="*/ 6858000 h 6858000"/>
              <a:gd name="connsiteX278" fmla="*/ 5006537 w 7467600"/>
              <a:gd name="connsiteY278" fmla="*/ 6747068 h 6858000"/>
              <a:gd name="connsiteX279" fmla="*/ 5032723 w 7467600"/>
              <a:gd name="connsiteY279" fmla="*/ 6644957 h 6858000"/>
              <a:gd name="connsiteX280" fmla="*/ 5242949 w 7467600"/>
              <a:gd name="connsiteY280" fmla="*/ 6125175 h 6858000"/>
              <a:gd name="connsiteX281" fmla="*/ 5286321 w 7467600"/>
              <a:gd name="connsiteY281" fmla="*/ 6033555 h 6858000"/>
              <a:gd name="connsiteX282" fmla="*/ 5008210 w 7467600"/>
              <a:gd name="connsiteY282" fmla="*/ 6649194 h 6858000"/>
              <a:gd name="connsiteX283" fmla="*/ 4986321 w 7467600"/>
              <a:gd name="connsiteY283" fmla="*/ 6765687 h 6858000"/>
              <a:gd name="connsiteX284" fmla="*/ 4973474 w 7467600"/>
              <a:gd name="connsiteY284" fmla="*/ 6858000 h 6858000"/>
              <a:gd name="connsiteX285" fmla="*/ 4907178 w 7467600"/>
              <a:gd name="connsiteY285" fmla="*/ 6858000 h 6858000"/>
              <a:gd name="connsiteX286" fmla="*/ 4910810 w 7467600"/>
              <a:gd name="connsiteY286" fmla="*/ 6829660 h 6858000"/>
              <a:gd name="connsiteX287" fmla="*/ 4987461 w 7467600"/>
              <a:gd name="connsiteY287" fmla="*/ 6432994 h 6858000"/>
              <a:gd name="connsiteX288" fmla="*/ 5179262 w 7467600"/>
              <a:gd name="connsiteY288" fmla="*/ 6035044 h 6858000"/>
              <a:gd name="connsiteX289" fmla="*/ 4689678 w 7467600"/>
              <a:gd name="connsiteY289" fmla="*/ 6440241 h 6858000"/>
              <a:gd name="connsiteX290" fmla="*/ 4477543 w 7467600"/>
              <a:gd name="connsiteY290" fmla="*/ 6674836 h 6858000"/>
              <a:gd name="connsiteX291" fmla="*/ 4329957 w 7467600"/>
              <a:gd name="connsiteY291" fmla="*/ 6858000 h 6858000"/>
              <a:gd name="connsiteX292" fmla="*/ 4218595 w 7467600"/>
              <a:gd name="connsiteY292" fmla="*/ 6858000 h 6858000"/>
              <a:gd name="connsiteX293" fmla="*/ 4368888 w 7467600"/>
              <a:gd name="connsiteY293" fmla="*/ 6668412 h 6858000"/>
              <a:gd name="connsiteX294" fmla="*/ 4563091 w 7467600"/>
              <a:gd name="connsiteY294" fmla="*/ 6442508 h 6858000"/>
              <a:gd name="connsiteX295" fmla="*/ 5387324 w 7467600"/>
              <a:gd name="connsiteY295" fmla="*/ 5705830 h 6858000"/>
              <a:gd name="connsiteX296" fmla="*/ 5073620 w 7467600"/>
              <a:gd name="connsiteY296" fmla="*/ 5955437 h 6858000"/>
              <a:gd name="connsiteX297" fmla="*/ 4689789 w 7467600"/>
              <a:gd name="connsiteY297" fmla="*/ 6268382 h 6858000"/>
              <a:gd name="connsiteX298" fmla="*/ 4418722 w 7467600"/>
              <a:gd name="connsiteY298" fmla="*/ 6570886 h 6858000"/>
              <a:gd name="connsiteX299" fmla="*/ 4214944 w 7467600"/>
              <a:gd name="connsiteY299" fmla="*/ 6858000 h 6858000"/>
              <a:gd name="connsiteX300" fmla="*/ 4177898 w 7467600"/>
              <a:gd name="connsiteY300" fmla="*/ 6858000 h 6858000"/>
              <a:gd name="connsiteX301" fmla="*/ 4391597 w 7467600"/>
              <a:gd name="connsiteY301" fmla="*/ 6556370 h 6858000"/>
              <a:gd name="connsiteX302" fmla="*/ 4668889 w 7467600"/>
              <a:gd name="connsiteY302" fmla="*/ 6246399 h 6858000"/>
              <a:gd name="connsiteX303" fmla="*/ 5055427 w 7467600"/>
              <a:gd name="connsiteY303" fmla="*/ 5931476 h 6858000"/>
              <a:gd name="connsiteX304" fmla="*/ 5371814 w 7467600"/>
              <a:gd name="connsiteY304" fmla="*/ 5678975 h 6858000"/>
              <a:gd name="connsiteX305" fmla="*/ 4987918 w 7467600"/>
              <a:gd name="connsiteY305" fmla="*/ 5838701 h 6858000"/>
              <a:gd name="connsiteX306" fmla="*/ 4317146 w 7467600"/>
              <a:gd name="connsiteY306" fmla="*/ 6587716 h 6858000"/>
              <a:gd name="connsiteX307" fmla="*/ 4171627 w 7467600"/>
              <a:gd name="connsiteY307" fmla="*/ 6858000 h 6858000"/>
              <a:gd name="connsiteX308" fmla="*/ 4081585 w 7467600"/>
              <a:gd name="connsiteY308" fmla="*/ 6858000 h 6858000"/>
              <a:gd name="connsiteX309" fmla="*/ 4238603 w 7467600"/>
              <a:gd name="connsiteY309" fmla="*/ 6559341 h 6858000"/>
              <a:gd name="connsiteX310" fmla="*/ 4778333 w 7467600"/>
              <a:gd name="connsiteY310" fmla="*/ 5873626 h 6858000"/>
              <a:gd name="connsiteX311" fmla="*/ 5414185 w 7467600"/>
              <a:gd name="connsiteY311" fmla="*/ 5573882 h 6858000"/>
              <a:gd name="connsiteX312" fmla="*/ 5959648 w 7467600"/>
              <a:gd name="connsiteY312" fmla="*/ 4760797 h 6858000"/>
              <a:gd name="connsiteX313" fmla="*/ 5355019 w 7467600"/>
              <a:gd name="connsiteY313" fmla="*/ 4734672 h 6858000"/>
              <a:gd name="connsiteX314" fmla="*/ 5083565 w 7467600"/>
              <a:gd name="connsiteY314" fmla="*/ 5179121 h 6858000"/>
              <a:gd name="connsiteX315" fmla="*/ 4713577 w 7467600"/>
              <a:gd name="connsiteY315" fmla="*/ 5616803 h 6858000"/>
              <a:gd name="connsiteX316" fmla="*/ 3989559 w 7467600"/>
              <a:gd name="connsiteY316" fmla="*/ 6145945 h 6858000"/>
              <a:gd name="connsiteX317" fmla="*/ 3939824 w 7467600"/>
              <a:gd name="connsiteY317" fmla="*/ 6066900 h 6858000"/>
              <a:gd name="connsiteX318" fmla="*/ 4584537 w 7467600"/>
              <a:gd name="connsiteY318" fmla="*/ 5324826 h 6858000"/>
              <a:gd name="connsiteX319" fmla="*/ 5037105 w 7467600"/>
              <a:gd name="connsiteY319" fmla="*/ 5088765 h 6858000"/>
              <a:gd name="connsiteX320" fmla="*/ 5039930 w 7467600"/>
              <a:gd name="connsiteY320" fmla="*/ 5089585 h 6858000"/>
              <a:gd name="connsiteX321" fmla="*/ 5263764 w 7467600"/>
              <a:gd name="connsiteY321" fmla="*/ 4735525 h 6858000"/>
              <a:gd name="connsiteX322" fmla="*/ 4086300 w 7467600"/>
              <a:gd name="connsiteY322" fmla="*/ 4884599 h 6858000"/>
              <a:gd name="connsiteX323" fmla="*/ 4085485 w 7467600"/>
              <a:gd name="connsiteY323" fmla="*/ 4899070 h 6858000"/>
              <a:gd name="connsiteX324" fmla="*/ 3871915 w 7467600"/>
              <a:gd name="connsiteY324" fmla="*/ 5253645 h 6858000"/>
              <a:gd name="connsiteX325" fmla="*/ 3799374 w 7467600"/>
              <a:gd name="connsiteY325" fmla="*/ 5466127 h 6858000"/>
              <a:gd name="connsiteX326" fmla="*/ 3498850 w 7467600"/>
              <a:gd name="connsiteY326" fmla="*/ 6661888 h 6858000"/>
              <a:gd name="connsiteX327" fmla="*/ 3399216 w 7467600"/>
              <a:gd name="connsiteY327" fmla="*/ 6858000 h 6858000"/>
              <a:gd name="connsiteX328" fmla="*/ 3303688 w 7467600"/>
              <a:gd name="connsiteY328" fmla="*/ 6858000 h 6858000"/>
              <a:gd name="connsiteX329" fmla="*/ 3391774 w 7467600"/>
              <a:gd name="connsiteY329" fmla="*/ 6697181 h 6858000"/>
              <a:gd name="connsiteX330" fmla="*/ 3735540 w 7467600"/>
              <a:gd name="connsiteY330" fmla="*/ 5546923 h 6858000"/>
              <a:gd name="connsiteX331" fmla="*/ 3729438 w 7467600"/>
              <a:gd name="connsiteY331" fmla="*/ 5569058 h 6858000"/>
              <a:gd name="connsiteX332" fmla="*/ 3707782 w 7467600"/>
              <a:gd name="connsiteY332" fmla="*/ 5644908 h 6858000"/>
              <a:gd name="connsiteX333" fmla="*/ 3583827 w 7467600"/>
              <a:gd name="connsiteY333" fmla="*/ 6039215 h 6858000"/>
              <a:gd name="connsiteX334" fmla="*/ 3547861 w 7467600"/>
              <a:gd name="connsiteY334" fmla="*/ 6129609 h 6858000"/>
              <a:gd name="connsiteX335" fmla="*/ 3490905 w 7467600"/>
              <a:gd name="connsiteY335" fmla="*/ 6277660 h 6858000"/>
              <a:gd name="connsiteX336" fmla="*/ 3455859 w 7467600"/>
              <a:gd name="connsiteY336" fmla="*/ 6391301 h 6858000"/>
              <a:gd name="connsiteX337" fmla="*/ 3429112 w 7467600"/>
              <a:gd name="connsiteY337" fmla="*/ 6479469 h 6858000"/>
              <a:gd name="connsiteX338" fmla="*/ 3304862 w 7467600"/>
              <a:gd name="connsiteY338" fmla="*/ 6796476 h 6858000"/>
              <a:gd name="connsiteX339" fmla="*/ 3276071 w 7467600"/>
              <a:gd name="connsiteY339" fmla="*/ 6858000 h 6858000"/>
              <a:gd name="connsiteX340" fmla="*/ 3240805 w 7467600"/>
              <a:gd name="connsiteY340" fmla="*/ 6858000 h 6858000"/>
              <a:gd name="connsiteX341" fmla="*/ 3275917 w 7467600"/>
              <a:gd name="connsiteY341" fmla="*/ 6783192 h 6858000"/>
              <a:gd name="connsiteX342" fmla="*/ 3399358 w 7467600"/>
              <a:gd name="connsiteY342" fmla="*/ 6469011 h 6858000"/>
              <a:gd name="connsiteX343" fmla="*/ 3425650 w 7467600"/>
              <a:gd name="connsiteY343" fmla="*/ 6381333 h 6858000"/>
              <a:gd name="connsiteX344" fmla="*/ 3460661 w 7467600"/>
              <a:gd name="connsiteY344" fmla="*/ 6266763 h 6858000"/>
              <a:gd name="connsiteX345" fmla="*/ 3518021 w 7467600"/>
              <a:gd name="connsiteY345" fmla="*/ 6117298 h 6858000"/>
              <a:gd name="connsiteX346" fmla="*/ 3554035 w 7467600"/>
              <a:gd name="connsiteY346" fmla="*/ 6027832 h 6858000"/>
              <a:gd name="connsiteX347" fmla="*/ 3677174 w 7467600"/>
              <a:gd name="connsiteY347" fmla="*/ 5636351 h 6858000"/>
              <a:gd name="connsiteX348" fmla="*/ 3698819 w 7467600"/>
              <a:gd name="connsiteY348" fmla="*/ 5560503 h 6858000"/>
              <a:gd name="connsiteX349" fmla="*/ 3702094 w 7467600"/>
              <a:gd name="connsiteY349" fmla="*/ 5549194 h 6858000"/>
              <a:gd name="connsiteX350" fmla="*/ 3398355 w 7467600"/>
              <a:gd name="connsiteY350" fmla="*/ 6094603 h 6858000"/>
              <a:gd name="connsiteX351" fmla="*/ 3193941 w 7467600"/>
              <a:gd name="connsiteY351" fmla="*/ 6798775 h 6858000"/>
              <a:gd name="connsiteX352" fmla="*/ 3184140 w 7467600"/>
              <a:gd name="connsiteY352" fmla="*/ 6858000 h 6858000"/>
              <a:gd name="connsiteX353" fmla="*/ 3099978 w 7467600"/>
              <a:gd name="connsiteY353" fmla="*/ 6858000 h 6858000"/>
              <a:gd name="connsiteX354" fmla="*/ 3101556 w 7467600"/>
              <a:gd name="connsiteY354" fmla="*/ 6843337 h 6858000"/>
              <a:gd name="connsiteX355" fmla="*/ 3370162 w 7467600"/>
              <a:gd name="connsiteY355" fmla="*/ 5785550 h 6858000"/>
              <a:gd name="connsiteX356" fmla="*/ 3746477 w 7467600"/>
              <a:gd name="connsiteY356" fmla="*/ 5377889 h 6858000"/>
              <a:gd name="connsiteX357" fmla="*/ 3863399 w 7467600"/>
              <a:gd name="connsiteY357" fmla="*/ 5087257 h 6858000"/>
              <a:gd name="connsiteX358" fmla="*/ 3968712 w 7467600"/>
              <a:gd name="connsiteY358" fmla="*/ 4913989 h 6858000"/>
              <a:gd name="connsiteX359" fmla="*/ 2792390 w 7467600"/>
              <a:gd name="connsiteY359" fmla="*/ 5382974 h 6858000"/>
              <a:gd name="connsiteX360" fmla="*/ 2714982 w 7467600"/>
              <a:gd name="connsiteY360" fmla="*/ 5427051 h 6858000"/>
              <a:gd name="connsiteX361" fmla="*/ 2813361 w 7467600"/>
              <a:gd name="connsiteY361" fmla="*/ 6023912 h 6858000"/>
              <a:gd name="connsiteX362" fmla="*/ 2688430 w 7467600"/>
              <a:gd name="connsiteY362" fmla="*/ 6801564 h 6858000"/>
              <a:gd name="connsiteX363" fmla="*/ 2629626 w 7467600"/>
              <a:gd name="connsiteY363" fmla="*/ 6763394 h 6858000"/>
              <a:gd name="connsiteX364" fmla="*/ 2565328 w 7467600"/>
              <a:gd name="connsiteY364" fmla="*/ 5516399 h 6858000"/>
              <a:gd name="connsiteX365" fmla="*/ 1922999 w 7467600"/>
              <a:gd name="connsiteY365" fmla="*/ 5980343 h 6858000"/>
              <a:gd name="connsiteX366" fmla="*/ 1950261 w 7467600"/>
              <a:gd name="connsiteY366" fmla="*/ 6405858 h 6858000"/>
              <a:gd name="connsiteX367" fmla="*/ 2365554 w 7467600"/>
              <a:gd name="connsiteY367" fmla="*/ 6759107 h 6858000"/>
              <a:gd name="connsiteX368" fmla="*/ 2424142 w 7467600"/>
              <a:gd name="connsiteY368" fmla="*/ 6858000 h 6858000"/>
              <a:gd name="connsiteX369" fmla="*/ 2395994 w 7467600"/>
              <a:gd name="connsiteY369" fmla="*/ 6858000 h 6858000"/>
              <a:gd name="connsiteX370" fmla="*/ 2392863 w 7467600"/>
              <a:gd name="connsiteY370" fmla="*/ 6852964 h 6858000"/>
              <a:gd name="connsiteX371" fmla="*/ 2017589 w 7467600"/>
              <a:gd name="connsiteY371" fmla="*/ 6493982 h 6858000"/>
              <a:gd name="connsiteX372" fmla="*/ 2147336 w 7467600"/>
              <a:gd name="connsiteY372" fmla="*/ 6594052 h 6858000"/>
              <a:gd name="connsiteX373" fmla="*/ 2207047 w 7467600"/>
              <a:gd name="connsiteY373" fmla="*/ 6654540 h 6858000"/>
              <a:gd name="connsiteX374" fmla="*/ 2299106 w 7467600"/>
              <a:gd name="connsiteY374" fmla="*/ 6778931 h 6858000"/>
              <a:gd name="connsiteX375" fmla="*/ 2314430 w 7467600"/>
              <a:gd name="connsiteY375" fmla="*/ 6801144 h 6858000"/>
              <a:gd name="connsiteX376" fmla="*/ 2352406 w 7467600"/>
              <a:gd name="connsiteY376" fmla="*/ 6858000 h 6858000"/>
              <a:gd name="connsiteX377" fmla="*/ 2314492 w 7467600"/>
              <a:gd name="connsiteY377" fmla="*/ 6858000 h 6858000"/>
              <a:gd name="connsiteX378" fmla="*/ 2288095 w 7467600"/>
              <a:gd name="connsiteY378" fmla="*/ 6818030 h 6858000"/>
              <a:gd name="connsiteX379" fmla="*/ 2272768 w 7467600"/>
              <a:gd name="connsiteY379" fmla="*/ 6795822 h 6858000"/>
              <a:gd name="connsiteX380" fmla="*/ 2182715 w 7467600"/>
              <a:gd name="connsiteY380" fmla="*/ 6675071 h 6858000"/>
              <a:gd name="connsiteX381" fmla="*/ 2032061 w 7467600"/>
              <a:gd name="connsiteY381" fmla="*/ 6541380 h 6858000"/>
              <a:gd name="connsiteX382" fmla="*/ 2257220 w 7467600"/>
              <a:gd name="connsiteY382" fmla="*/ 6826257 h 6858000"/>
              <a:gd name="connsiteX383" fmla="*/ 2281324 w 7467600"/>
              <a:gd name="connsiteY383" fmla="*/ 6858000 h 6858000"/>
              <a:gd name="connsiteX384" fmla="*/ 2242860 w 7467600"/>
              <a:gd name="connsiteY384" fmla="*/ 6858000 h 6858000"/>
              <a:gd name="connsiteX385" fmla="*/ 2232818 w 7467600"/>
              <a:gd name="connsiteY385" fmla="*/ 6844926 h 6858000"/>
              <a:gd name="connsiteX386" fmla="*/ 1990172 w 7467600"/>
              <a:gd name="connsiteY386" fmla="*/ 6542121 h 6858000"/>
              <a:gd name="connsiteX387" fmla="*/ 2124090 w 7467600"/>
              <a:gd name="connsiteY387" fmla="*/ 6761017 h 6858000"/>
              <a:gd name="connsiteX388" fmla="*/ 2200380 w 7467600"/>
              <a:gd name="connsiteY388" fmla="*/ 6858000 h 6858000"/>
              <a:gd name="connsiteX389" fmla="*/ 2147507 w 7467600"/>
              <a:gd name="connsiteY389" fmla="*/ 6858000 h 6858000"/>
              <a:gd name="connsiteX390" fmla="*/ 2070668 w 7467600"/>
              <a:gd name="connsiteY390" fmla="*/ 6761520 h 6858000"/>
              <a:gd name="connsiteX391" fmla="*/ 1975142 w 7467600"/>
              <a:gd name="connsiteY391" fmla="*/ 6585570 h 6858000"/>
              <a:gd name="connsiteX392" fmla="*/ 2050035 w 7467600"/>
              <a:gd name="connsiteY392" fmla="*/ 6813345 h 6858000"/>
              <a:gd name="connsiteX393" fmla="*/ 2063025 w 7467600"/>
              <a:gd name="connsiteY393" fmla="*/ 6858000 h 6858000"/>
              <a:gd name="connsiteX394" fmla="*/ 2021675 w 7467600"/>
              <a:gd name="connsiteY394" fmla="*/ 6858000 h 6858000"/>
              <a:gd name="connsiteX395" fmla="*/ 2019308 w 7467600"/>
              <a:gd name="connsiteY395" fmla="*/ 6847118 h 6858000"/>
              <a:gd name="connsiteX396" fmla="*/ 1938835 w 7467600"/>
              <a:gd name="connsiteY396" fmla="*/ 6551160 h 6858000"/>
              <a:gd name="connsiteX397" fmla="*/ 1953230 w 7467600"/>
              <a:gd name="connsiteY397" fmla="*/ 6759699 h 6858000"/>
              <a:gd name="connsiteX398" fmla="*/ 1956763 w 7467600"/>
              <a:gd name="connsiteY398" fmla="*/ 6778191 h 6858000"/>
              <a:gd name="connsiteX399" fmla="*/ 1967925 w 7467600"/>
              <a:gd name="connsiteY399" fmla="*/ 6858000 h 6858000"/>
              <a:gd name="connsiteX400" fmla="*/ 1936622 w 7467600"/>
              <a:gd name="connsiteY400" fmla="*/ 6858000 h 6858000"/>
              <a:gd name="connsiteX401" fmla="*/ 1926261 w 7467600"/>
              <a:gd name="connsiteY401" fmla="*/ 6784064 h 6858000"/>
              <a:gd name="connsiteX402" fmla="*/ 1922724 w 7467600"/>
              <a:gd name="connsiteY402" fmla="*/ 6765577 h 6858000"/>
              <a:gd name="connsiteX403" fmla="*/ 1904650 w 7467600"/>
              <a:gd name="connsiteY403" fmla="*/ 6639616 h 6858000"/>
              <a:gd name="connsiteX404" fmla="*/ 1885273 w 7467600"/>
              <a:gd name="connsiteY404" fmla="*/ 6858000 h 6858000"/>
              <a:gd name="connsiteX405" fmla="*/ 1854363 w 7467600"/>
              <a:gd name="connsiteY405" fmla="*/ 6858000 h 6858000"/>
              <a:gd name="connsiteX406" fmla="*/ 1880391 w 7467600"/>
              <a:gd name="connsiteY406" fmla="*/ 6603796 h 6858000"/>
              <a:gd name="connsiteX407" fmla="*/ 1818273 w 7467600"/>
              <a:gd name="connsiteY407" fmla="*/ 6715729 h 6858000"/>
              <a:gd name="connsiteX408" fmla="*/ 1794691 w 7467600"/>
              <a:gd name="connsiteY408" fmla="*/ 6843239 h 6858000"/>
              <a:gd name="connsiteX409" fmla="*/ 1794914 w 7467600"/>
              <a:gd name="connsiteY409" fmla="*/ 6858000 h 6858000"/>
              <a:gd name="connsiteX410" fmla="*/ 1746128 w 7467600"/>
              <a:gd name="connsiteY410" fmla="*/ 6858000 h 6858000"/>
              <a:gd name="connsiteX411" fmla="*/ 1753934 w 7467600"/>
              <a:gd name="connsiteY411" fmla="*/ 6724796 h 6858000"/>
              <a:gd name="connsiteX412" fmla="*/ 1792053 w 7467600"/>
              <a:gd name="connsiteY412" fmla="*/ 6572396 h 6858000"/>
              <a:gd name="connsiteX413" fmla="*/ 1862248 w 7467600"/>
              <a:gd name="connsiteY413" fmla="*/ 6266397 h 6858000"/>
              <a:gd name="connsiteX414" fmla="*/ 1862250 w 7467600"/>
              <a:gd name="connsiteY414" fmla="*/ 6033531 h 6858000"/>
              <a:gd name="connsiteX415" fmla="*/ 1211999 w 7467600"/>
              <a:gd name="connsiteY415" fmla="*/ 6683610 h 6858000"/>
              <a:gd name="connsiteX416" fmla="*/ 1213266 w 7467600"/>
              <a:gd name="connsiteY416" fmla="*/ 6691947 h 6858000"/>
              <a:gd name="connsiteX417" fmla="*/ 1203370 w 7467600"/>
              <a:gd name="connsiteY417" fmla="*/ 6850676 h 6858000"/>
              <a:gd name="connsiteX418" fmla="*/ 1203671 w 7467600"/>
              <a:gd name="connsiteY418" fmla="*/ 6858000 h 6858000"/>
              <a:gd name="connsiteX419" fmla="*/ 1143180 w 7467600"/>
              <a:gd name="connsiteY419" fmla="*/ 6858000 h 6858000"/>
              <a:gd name="connsiteX420" fmla="*/ 1142176 w 7467600"/>
              <a:gd name="connsiteY420" fmla="*/ 6766045 h 6858000"/>
              <a:gd name="connsiteX421" fmla="*/ 1067484 w 7467600"/>
              <a:gd name="connsiteY421" fmla="*/ 6858000 h 6858000"/>
              <a:gd name="connsiteX422" fmla="*/ 953928 w 7467600"/>
              <a:gd name="connsiteY422" fmla="*/ 6858000 h 6858000"/>
              <a:gd name="connsiteX423" fmla="*/ 959715 w 7467600"/>
              <a:gd name="connsiteY423" fmla="*/ 6850185 h 6858000"/>
              <a:gd name="connsiteX424" fmla="*/ 1483788 w 7467600"/>
              <a:gd name="connsiteY424" fmla="*/ 6259174 h 6858000"/>
              <a:gd name="connsiteX425" fmla="*/ 1100671 w 7467600"/>
              <a:gd name="connsiteY425" fmla="*/ 6252137 h 6858000"/>
              <a:gd name="connsiteX426" fmla="*/ 1090144 w 7467600"/>
              <a:gd name="connsiteY426" fmla="*/ 6256748 h 6858000"/>
              <a:gd name="connsiteX427" fmla="*/ 1095872 w 7467600"/>
              <a:gd name="connsiteY427" fmla="*/ 6271892 h 6858000"/>
              <a:gd name="connsiteX428" fmla="*/ 262785 w 7467600"/>
              <a:gd name="connsiteY428" fmla="*/ 6845450 h 6858000"/>
              <a:gd name="connsiteX429" fmla="*/ 209968 w 7467600"/>
              <a:gd name="connsiteY429" fmla="*/ 6770713 h 6858000"/>
              <a:gd name="connsiteX430" fmla="*/ 873460 w 7467600"/>
              <a:gd name="connsiteY430" fmla="*/ 6253768 h 6858000"/>
              <a:gd name="connsiteX431" fmla="*/ 192686 w 7467600"/>
              <a:gd name="connsiteY431" fmla="*/ 5849257 h 6858000"/>
              <a:gd name="connsiteX432" fmla="*/ 4696 w 7467600"/>
              <a:gd name="connsiteY432" fmla="*/ 5697668 h 6858000"/>
              <a:gd name="connsiteX433" fmla="*/ 0 w 7467600"/>
              <a:gd name="connsiteY433" fmla="*/ 5689984 h 6858000"/>
              <a:gd name="connsiteX434" fmla="*/ 0 w 7467600"/>
              <a:gd name="connsiteY434" fmla="*/ 5513472 h 6858000"/>
              <a:gd name="connsiteX435" fmla="*/ 174101 w 7467600"/>
              <a:gd name="connsiteY435" fmla="*/ 5620277 h 6858000"/>
              <a:gd name="connsiteX436" fmla="*/ 891800 w 7467600"/>
              <a:gd name="connsiteY436" fmla="*/ 6036935 h 6858000"/>
              <a:gd name="connsiteX437" fmla="*/ 1072219 w 7467600"/>
              <a:gd name="connsiteY437" fmla="*/ 6169443 h 6858000"/>
              <a:gd name="connsiteX438" fmla="*/ 1074117 w 7467600"/>
              <a:gd name="connsiteY438" fmla="*/ 6170301 h 6858000"/>
              <a:gd name="connsiteX439" fmla="*/ 1083114 w 7467600"/>
              <a:gd name="connsiteY439" fmla="*/ 6174131 h 6858000"/>
              <a:gd name="connsiteX440" fmla="*/ 1543010 w 7467600"/>
              <a:gd name="connsiteY440" fmla="*/ 6191140 h 6858000"/>
              <a:gd name="connsiteX441" fmla="*/ 1551080 w 7467600"/>
              <a:gd name="connsiteY441" fmla="*/ 6195006 h 6858000"/>
              <a:gd name="connsiteX442" fmla="*/ 2345443 w 7467600"/>
              <a:gd name="connsiteY442" fmla="*/ 5549882 h 6858000"/>
              <a:gd name="connsiteX443" fmla="*/ 1721499 w 7467600"/>
              <a:gd name="connsiteY443" fmla="*/ 5599969 h 6858000"/>
              <a:gd name="connsiteX444" fmla="*/ 767716 w 7467600"/>
              <a:gd name="connsiteY444" fmla="*/ 5472768 h 6858000"/>
              <a:gd name="connsiteX445" fmla="*/ 722147 w 7467600"/>
              <a:gd name="connsiteY445" fmla="*/ 5393091 h 6858000"/>
              <a:gd name="connsiteX446" fmla="*/ 1485552 w 7467600"/>
              <a:gd name="connsiteY446" fmla="*/ 5313202 h 6858000"/>
              <a:gd name="connsiteX447" fmla="*/ 2143004 w 7467600"/>
              <a:gd name="connsiteY447" fmla="*/ 5402420 h 6858000"/>
              <a:gd name="connsiteX448" fmla="*/ 1933391 w 7467600"/>
              <a:gd name="connsiteY448" fmla="*/ 5156971 h 6858000"/>
              <a:gd name="connsiteX449" fmla="*/ 1827118 w 7467600"/>
              <a:gd name="connsiteY449" fmla="*/ 4968410 h 6858000"/>
              <a:gd name="connsiteX450" fmla="*/ 1837349 w 7467600"/>
              <a:gd name="connsiteY450" fmla="*/ 4956357 h 6858000"/>
              <a:gd name="connsiteX451" fmla="*/ 2162835 w 7467600"/>
              <a:gd name="connsiteY451" fmla="*/ 5187853 h 6858000"/>
              <a:gd name="connsiteX452" fmla="*/ 2257167 w 7467600"/>
              <a:gd name="connsiteY452" fmla="*/ 5462123 h 6858000"/>
              <a:gd name="connsiteX453" fmla="*/ 2261598 w 7467600"/>
              <a:gd name="connsiteY453" fmla="*/ 5467998 h 6858000"/>
              <a:gd name="connsiteX454" fmla="*/ 2437177 w 7467600"/>
              <a:gd name="connsiteY454" fmla="*/ 5479608 h 6858000"/>
              <a:gd name="connsiteX455" fmla="*/ 2445247 w 7467600"/>
              <a:gd name="connsiteY455" fmla="*/ 5483476 h 6858000"/>
              <a:gd name="connsiteX456" fmla="*/ 2743626 w 7467600"/>
              <a:gd name="connsiteY456" fmla="*/ 5304819 h 6858000"/>
              <a:gd name="connsiteX457" fmla="*/ 3048102 w 7467600"/>
              <a:gd name="connsiteY457" fmla="*/ 5150595 h 6858000"/>
              <a:gd name="connsiteX458" fmla="*/ 1799414 w 7467600"/>
              <a:gd name="connsiteY458" fmla="*/ 4694732 h 6858000"/>
              <a:gd name="connsiteX459" fmla="*/ 1771735 w 7467600"/>
              <a:gd name="connsiteY459" fmla="*/ 4619929 h 6858000"/>
              <a:gd name="connsiteX460" fmla="*/ 3104273 w 7467600"/>
              <a:gd name="connsiteY460" fmla="*/ 5076159 h 6858000"/>
              <a:gd name="connsiteX461" fmla="*/ 3113245 w 7467600"/>
              <a:gd name="connsiteY461" fmla="*/ 5090705 h 6858000"/>
              <a:gd name="connsiteX462" fmla="*/ 3126294 w 7467600"/>
              <a:gd name="connsiteY462" fmla="*/ 5114400 h 6858000"/>
              <a:gd name="connsiteX463" fmla="*/ 3937433 w 7467600"/>
              <a:gd name="connsiteY463" fmla="*/ 4830473 h 6858000"/>
              <a:gd name="connsiteX464" fmla="*/ 3590475 w 7467600"/>
              <a:gd name="connsiteY464" fmla="*/ 4597974 h 6858000"/>
              <a:gd name="connsiteX465" fmla="*/ 3100264 w 7467600"/>
              <a:gd name="connsiteY465" fmla="*/ 4579845 h 6858000"/>
              <a:gd name="connsiteX466" fmla="*/ 2183576 w 7467600"/>
              <a:gd name="connsiteY466" fmla="*/ 4227150 h 6858000"/>
              <a:gd name="connsiteX467" fmla="*/ 2151029 w 7467600"/>
              <a:gd name="connsiteY467" fmla="*/ 4146947 h 6858000"/>
              <a:gd name="connsiteX468" fmla="*/ 3563434 w 7467600"/>
              <a:gd name="connsiteY468" fmla="*/ 4469115 h 6858000"/>
              <a:gd name="connsiteX469" fmla="*/ 3177952 w 7467600"/>
              <a:gd name="connsiteY469" fmla="*/ 3657386 h 6858000"/>
              <a:gd name="connsiteX470" fmla="*/ 3189263 w 7467600"/>
              <a:gd name="connsiteY470" fmla="*/ 3625726 h 6858000"/>
              <a:gd name="connsiteX471" fmla="*/ 3560912 w 7467600"/>
              <a:gd name="connsiteY471" fmla="*/ 4079863 h 6858000"/>
              <a:gd name="connsiteX472" fmla="*/ 3626636 w 7467600"/>
              <a:gd name="connsiteY472" fmla="*/ 4512230 h 6858000"/>
              <a:gd name="connsiteX473" fmla="*/ 3653088 w 7467600"/>
              <a:gd name="connsiteY473" fmla="*/ 4521417 h 6858000"/>
              <a:gd name="connsiteX474" fmla="*/ 3988128 w 7467600"/>
              <a:gd name="connsiteY474" fmla="*/ 4817267 h 6858000"/>
              <a:gd name="connsiteX475" fmla="*/ 4830582 w 7467600"/>
              <a:gd name="connsiteY475" fmla="*/ 4676000 h 6858000"/>
              <a:gd name="connsiteX476" fmla="*/ 4830100 w 7467600"/>
              <a:gd name="connsiteY476" fmla="*/ 4675554 h 6858000"/>
              <a:gd name="connsiteX477" fmla="*/ 4036318 w 7467600"/>
              <a:gd name="connsiteY477" fmla="*/ 4147013 h 6858000"/>
              <a:gd name="connsiteX478" fmla="*/ 3432098 w 7467600"/>
              <a:gd name="connsiteY478" fmla="*/ 3537312 h 6858000"/>
              <a:gd name="connsiteX479" fmla="*/ 3446761 w 7467600"/>
              <a:gd name="connsiteY479" fmla="*/ 3461278 h 6858000"/>
              <a:gd name="connsiteX480" fmla="*/ 4419733 w 7467600"/>
              <a:gd name="connsiteY480" fmla="*/ 3963555 h 6858000"/>
              <a:gd name="connsiteX481" fmla="*/ 4781371 w 7467600"/>
              <a:gd name="connsiteY481" fmla="*/ 4458604 h 6858000"/>
              <a:gd name="connsiteX482" fmla="*/ 4780440 w 7467600"/>
              <a:gd name="connsiteY482" fmla="*/ 4470290 h 6858000"/>
              <a:gd name="connsiteX483" fmla="*/ 4898954 w 7467600"/>
              <a:gd name="connsiteY483" fmla="*/ 4662092 h 6858000"/>
              <a:gd name="connsiteX484" fmla="*/ 4900699 w 7467600"/>
              <a:gd name="connsiteY484" fmla="*/ 4670867 h 6858000"/>
              <a:gd name="connsiteX485" fmla="*/ 5714511 w 7467600"/>
              <a:gd name="connsiteY485" fmla="*/ 4663483 h 6858000"/>
              <a:gd name="connsiteX486" fmla="*/ 5464793 w 7467600"/>
              <a:gd name="connsiteY486" fmla="*/ 4393556 h 6858000"/>
              <a:gd name="connsiteX487" fmla="*/ 5461897 w 7467600"/>
              <a:gd name="connsiteY487" fmla="*/ 4390879 h 6858000"/>
              <a:gd name="connsiteX488" fmla="*/ 4294126 w 7467600"/>
              <a:gd name="connsiteY488" fmla="*/ 3303048 h 6858000"/>
              <a:gd name="connsiteX489" fmla="*/ 4305321 w 7467600"/>
              <a:gd name="connsiteY489" fmla="*/ 3256953 h 6858000"/>
              <a:gd name="connsiteX490" fmla="*/ 4949299 w 7467600"/>
              <a:gd name="connsiteY490" fmla="*/ 3766336 h 6858000"/>
              <a:gd name="connsiteX491" fmla="*/ 5291452 w 7467600"/>
              <a:gd name="connsiteY491" fmla="*/ 4076801 h 6858000"/>
              <a:gd name="connsiteX492" fmla="*/ 5434998 w 7467600"/>
              <a:gd name="connsiteY492" fmla="*/ 4254100 h 6858000"/>
              <a:gd name="connsiteX493" fmla="*/ 5351015 w 7467600"/>
              <a:gd name="connsiteY493" fmla="*/ 3760989 h 6858000"/>
              <a:gd name="connsiteX494" fmla="*/ 5413780 w 7467600"/>
              <a:gd name="connsiteY494" fmla="*/ 2966265 h 6858000"/>
              <a:gd name="connsiteX495" fmla="*/ 5425627 w 7467600"/>
              <a:gd name="connsiteY495" fmla="*/ 2954192 h 6858000"/>
              <a:gd name="connsiteX496" fmla="*/ 6604735 w 7467600"/>
              <a:gd name="connsiteY496" fmla="*/ 2041381 h 6858000"/>
              <a:gd name="connsiteX497" fmla="*/ 7204487 w 7467600"/>
              <a:gd name="connsiteY497" fmla="*/ 2742112 h 6858000"/>
              <a:gd name="connsiteX498" fmla="*/ 7131592 w 7467600"/>
              <a:gd name="connsiteY498" fmla="*/ 2672096 h 6858000"/>
              <a:gd name="connsiteX499" fmla="*/ 6996344 w 7467600"/>
              <a:gd name="connsiteY499" fmla="*/ 2518310 h 6858000"/>
              <a:gd name="connsiteX500" fmla="*/ 6735495 w 7467600"/>
              <a:gd name="connsiteY500" fmla="*/ 2196890 h 6858000"/>
              <a:gd name="connsiteX501" fmla="*/ 6721901 w 7467600"/>
              <a:gd name="connsiteY501" fmla="*/ 2179274 h 6858000"/>
              <a:gd name="connsiteX502" fmla="*/ 6604735 w 7467600"/>
              <a:gd name="connsiteY502" fmla="*/ 2041381 h 6858000"/>
              <a:gd name="connsiteX503" fmla="*/ 6591670 w 7467600"/>
              <a:gd name="connsiteY503" fmla="*/ 1988277 h 6858000"/>
              <a:gd name="connsiteX504" fmla="*/ 6747349 w 7467600"/>
              <a:gd name="connsiteY504" fmla="*/ 2160069 h 6858000"/>
              <a:gd name="connsiteX505" fmla="*/ 6760943 w 7467600"/>
              <a:gd name="connsiteY505" fmla="*/ 2177686 h 6858000"/>
              <a:gd name="connsiteX506" fmla="*/ 7021065 w 7467600"/>
              <a:gd name="connsiteY506" fmla="*/ 2498102 h 6858000"/>
              <a:gd name="connsiteX507" fmla="*/ 7155223 w 7467600"/>
              <a:gd name="connsiteY507" fmla="*/ 2650386 h 6858000"/>
              <a:gd name="connsiteX508" fmla="*/ 7203167 w 7467600"/>
              <a:gd name="connsiteY508" fmla="*/ 2697288 h 6858000"/>
              <a:gd name="connsiteX509" fmla="*/ 6937703 w 7467600"/>
              <a:gd name="connsiteY509" fmla="*/ 2321981 h 6858000"/>
              <a:gd name="connsiteX510" fmla="*/ 6591670 w 7467600"/>
              <a:gd name="connsiteY510" fmla="*/ 1988277 h 6858000"/>
              <a:gd name="connsiteX511" fmla="*/ 5798671 w 7467600"/>
              <a:gd name="connsiteY511" fmla="*/ 1981601 h 6858000"/>
              <a:gd name="connsiteX512" fmla="*/ 5754709 w 7467600"/>
              <a:gd name="connsiteY512" fmla="*/ 2071454 h 6858000"/>
              <a:gd name="connsiteX513" fmla="*/ 5763044 w 7467600"/>
              <a:gd name="connsiteY513" fmla="*/ 2842206 h 6858000"/>
              <a:gd name="connsiteX514" fmla="*/ 5764974 w 7467600"/>
              <a:gd name="connsiteY514" fmla="*/ 2799609 h 6858000"/>
              <a:gd name="connsiteX515" fmla="*/ 5767665 w 7467600"/>
              <a:gd name="connsiteY515" fmla="*/ 2666409 h 6858000"/>
              <a:gd name="connsiteX516" fmla="*/ 5763055 w 7467600"/>
              <a:gd name="connsiteY516" fmla="*/ 2579705 h 6858000"/>
              <a:gd name="connsiteX517" fmla="*/ 5758079 w 7467600"/>
              <a:gd name="connsiteY517" fmla="*/ 2492508 h 6858000"/>
              <a:gd name="connsiteX518" fmla="*/ 5779325 w 7467600"/>
              <a:gd name="connsiteY518" fmla="*/ 2197069 h 6858000"/>
              <a:gd name="connsiteX519" fmla="*/ 5798671 w 7467600"/>
              <a:gd name="connsiteY519" fmla="*/ 1981601 h 6858000"/>
              <a:gd name="connsiteX520" fmla="*/ 5829202 w 7467600"/>
              <a:gd name="connsiteY520" fmla="*/ 1971679 h 6858000"/>
              <a:gd name="connsiteX521" fmla="*/ 5809558 w 7467600"/>
              <a:gd name="connsiteY521" fmla="*/ 2198043 h 6858000"/>
              <a:gd name="connsiteX522" fmla="*/ 5788653 w 7467600"/>
              <a:gd name="connsiteY522" fmla="*/ 2489430 h 6858000"/>
              <a:gd name="connsiteX523" fmla="*/ 5793439 w 7467600"/>
              <a:gd name="connsiteY523" fmla="*/ 2575235 h 6858000"/>
              <a:gd name="connsiteX524" fmla="*/ 5796837 w 7467600"/>
              <a:gd name="connsiteY524" fmla="*/ 2637633 h 6858000"/>
              <a:gd name="connsiteX525" fmla="*/ 5818614 w 7467600"/>
              <a:gd name="connsiteY525" fmla="*/ 2473055 h 6858000"/>
              <a:gd name="connsiteX526" fmla="*/ 5829202 w 7467600"/>
              <a:gd name="connsiteY526" fmla="*/ 1971679 h 6858000"/>
              <a:gd name="connsiteX527" fmla="*/ 5911389 w 7467600"/>
              <a:gd name="connsiteY527" fmla="*/ 1898371 h 6858000"/>
              <a:gd name="connsiteX528" fmla="*/ 6237627 w 7467600"/>
              <a:gd name="connsiteY528" fmla="*/ 2231921 h 6858000"/>
              <a:gd name="connsiteX529" fmla="*/ 5911389 w 7467600"/>
              <a:gd name="connsiteY529" fmla="*/ 1898371 h 6858000"/>
              <a:gd name="connsiteX530" fmla="*/ 6944437 w 7467600"/>
              <a:gd name="connsiteY530" fmla="*/ 1575402 h 6858000"/>
              <a:gd name="connsiteX531" fmla="*/ 6304730 w 7467600"/>
              <a:gd name="connsiteY531" fmla="*/ 1766654 h 6858000"/>
              <a:gd name="connsiteX532" fmla="*/ 6944437 w 7467600"/>
              <a:gd name="connsiteY532" fmla="*/ 1575402 h 6858000"/>
              <a:gd name="connsiteX533" fmla="*/ 7019523 w 7467600"/>
              <a:gd name="connsiteY533" fmla="*/ 1519450 h 6858000"/>
              <a:gd name="connsiteX534" fmla="*/ 6298091 w 7467600"/>
              <a:gd name="connsiteY534" fmla="*/ 1737122 h 6858000"/>
              <a:gd name="connsiteX535" fmla="*/ 7019523 w 7467600"/>
              <a:gd name="connsiteY535" fmla="*/ 1519450 h 6858000"/>
              <a:gd name="connsiteX536" fmla="*/ 2399523 w 7467600"/>
              <a:gd name="connsiteY536" fmla="*/ 1428234 h 6858000"/>
              <a:gd name="connsiteX537" fmla="*/ 2224982 w 7467600"/>
              <a:gd name="connsiteY537" fmla="*/ 1826201 h 6858000"/>
              <a:gd name="connsiteX538" fmla="*/ 2096099 w 7467600"/>
              <a:gd name="connsiteY538" fmla="*/ 2345900 h 6858000"/>
              <a:gd name="connsiteX539" fmla="*/ 2283317 w 7467600"/>
              <a:gd name="connsiteY539" fmla="*/ 1796925 h 6858000"/>
              <a:gd name="connsiteX540" fmla="*/ 2399523 w 7467600"/>
              <a:gd name="connsiteY540" fmla="*/ 1428234 h 6858000"/>
              <a:gd name="connsiteX541" fmla="*/ 2448558 w 7467600"/>
              <a:gd name="connsiteY541" fmla="*/ 1373435 h 6858000"/>
              <a:gd name="connsiteX542" fmla="*/ 2312521 w 7467600"/>
              <a:gd name="connsiteY542" fmla="*/ 1806140 h 6858000"/>
              <a:gd name="connsiteX543" fmla="*/ 2127533 w 7467600"/>
              <a:gd name="connsiteY543" fmla="*/ 2348380 h 6858000"/>
              <a:gd name="connsiteX544" fmla="*/ 2358080 w 7467600"/>
              <a:gd name="connsiteY544" fmla="*/ 1866134 h 6858000"/>
              <a:gd name="connsiteX545" fmla="*/ 2407436 w 7467600"/>
              <a:gd name="connsiteY545" fmla="*/ 1651070 h 6858000"/>
              <a:gd name="connsiteX546" fmla="*/ 2448558 w 7467600"/>
              <a:gd name="connsiteY546" fmla="*/ 1373435 h 6858000"/>
              <a:gd name="connsiteX547" fmla="*/ 278707 w 7467600"/>
              <a:gd name="connsiteY547" fmla="*/ 1352270 h 6858000"/>
              <a:gd name="connsiteX548" fmla="*/ 321570 w 7467600"/>
              <a:gd name="connsiteY548" fmla="*/ 1861610 h 6858000"/>
              <a:gd name="connsiteX549" fmla="*/ 294281 w 7467600"/>
              <a:gd name="connsiteY549" fmla="*/ 1440658 h 6858000"/>
              <a:gd name="connsiteX550" fmla="*/ 278707 w 7467600"/>
              <a:gd name="connsiteY550" fmla="*/ 1352270 h 6858000"/>
              <a:gd name="connsiteX551" fmla="*/ 1423821 w 7467600"/>
              <a:gd name="connsiteY551" fmla="*/ 1351958 h 6858000"/>
              <a:gd name="connsiteX552" fmla="*/ 1638521 w 7467600"/>
              <a:gd name="connsiteY552" fmla="*/ 1908470 h 6858000"/>
              <a:gd name="connsiteX553" fmla="*/ 1754199 w 7467600"/>
              <a:gd name="connsiteY553" fmla="*/ 2149284 h 6858000"/>
              <a:gd name="connsiteX554" fmla="*/ 1908359 w 7467600"/>
              <a:gd name="connsiteY554" fmla="*/ 2364988 h 6858000"/>
              <a:gd name="connsiteX555" fmla="*/ 1647661 w 7467600"/>
              <a:gd name="connsiteY555" fmla="*/ 1825945 h 6858000"/>
              <a:gd name="connsiteX556" fmla="*/ 1423821 w 7467600"/>
              <a:gd name="connsiteY556" fmla="*/ 1351958 h 6858000"/>
              <a:gd name="connsiteX557" fmla="*/ 1431890 w 7467600"/>
              <a:gd name="connsiteY557" fmla="*/ 1306475 h 6858000"/>
              <a:gd name="connsiteX558" fmla="*/ 1507597 w 7467600"/>
              <a:gd name="connsiteY558" fmla="*/ 1446132 h 6858000"/>
              <a:gd name="connsiteX559" fmla="*/ 1674586 w 7467600"/>
              <a:gd name="connsiteY559" fmla="*/ 1813832 h 6858000"/>
              <a:gd name="connsiteX560" fmla="*/ 1815950 w 7467600"/>
              <a:gd name="connsiteY560" fmla="*/ 2128564 h 6858000"/>
              <a:gd name="connsiteX561" fmla="*/ 1984242 w 7467600"/>
              <a:gd name="connsiteY561" fmla="*/ 2430829 h 6858000"/>
              <a:gd name="connsiteX562" fmla="*/ 2014023 w 7467600"/>
              <a:gd name="connsiteY562" fmla="*/ 2450995 h 6858000"/>
              <a:gd name="connsiteX563" fmla="*/ 1747337 w 7467600"/>
              <a:gd name="connsiteY563" fmla="*/ 1855264 h 6858000"/>
              <a:gd name="connsiteX564" fmla="*/ 1533749 w 7467600"/>
              <a:gd name="connsiteY564" fmla="*/ 1478656 h 6858000"/>
              <a:gd name="connsiteX565" fmla="*/ 1431890 w 7467600"/>
              <a:gd name="connsiteY565" fmla="*/ 1306475 h 6858000"/>
              <a:gd name="connsiteX566" fmla="*/ 5052692 w 7467600"/>
              <a:gd name="connsiteY566" fmla="*/ 1292994 h 6858000"/>
              <a:gd name="connsiteX567" fmla="*/ 5200661 w 7467600"/>
              <a:gd name="connsiteY567" fmla="*/ 1635186 h 6858000"/>
              <a:gd name="connsiteX568" fmla="*/ 5297138 w 7467600"/>
              <a:gd name="connsiteY568" fmla="*/ 1906351 h 6858000"/>
              <a:gd name="connsiteX569" fmla="*/ 5052692 w 7467600"/>
              <a:gd name="connsiteY569" fmla="*/ 1292994 h 6858000"/>
              <a:gd name="connsiteX570" fmla="*/ 5009948 w 7467600"/>
              <a:gd name="connsiteY570" fmla="*/ 1273619 h 6858000"/>
              <a:gd name="connsiteX571" fmla="*/ 5121777 w 7467600"/>
              <a:gd name="connsiteY571" fmla="*/ 1654213 h 6858000"/>
              <a:gd name="connsiteX572" fmla="*/ 5293545 w 7467600"/>
              <a:gd name="connsiteY572" fmla="*/ 2072247 h 6858000"/>
              <a:gd name="connsiteX573" fmla="*/ 5294042 w 7467600"/>
              <a:gd name="connsiteY573" fmla="*/ 2065019 h 6858000"/>
              <a:gd name="connsiteX574" fmla="*/ 5171936 w 7467600"/>
              <a:gd name="connsiteY574" fmla="*/ 1647613 h 6858000"/>
              <a:gd name="connsiteX575" fmla="*/ 5009948 w 7467600"/>
              <a:gd name="connsiteY575" fmla="*/ 1273619 h 6858000"/>
              <a:gd name="connsiteX576" fmla="*/ 655236 w 7467600"/>
              <a:gd name="connsiteY576" fmla="*/ 1268632 h 6858000"/>
              <a:gd name="connsiteX577" fmla="*/ 839521 w 7467600"/>
              <a:gd name="connsiteY577" fmla="*/ 1685315 h 6858000"/>
              <a:gd name="connsiteX578" fmla="*/ 1109416 w 7467600"/>
              <a:gd name="connsiteY578" fmla="*/ 2061663 h 6858000"/>
              <a:gd name="connsiteX579" fmla="*/ 1298300 w 7467600"/>
              <a:gd name="connsiteY579" fmla="*/ 2247742 h 6858000"/>
              <a:gd name="connsiteX580" fmla="*/ 1125871 w 7467600"/>
              <a:gd name="connsiteY580" fmla="*/ 1989513 h 6858000"/>
              <a:gd name="connsiteX581" fmla="*/ 981574 w 7467600"/>
              <a:gd name="connsiteY581" fmla="*/ 1783157 h 6858000"/>
              <a:gd name="connsiteX582" fmla="*/ 922198 w 7467600"/>
              <a:gd name="connsiteY582" fmla="*/ 1677437 h 6858000"/>
              <a:gd name="connsiteX583" fmla="*/ 869293 w 7467600"/>
              <a:gd name="connsiteY583" fmla="*/ 1583214 h 6858000"/>
              <a:gd name="connsiteX584" fmla="*/ 751431 w 7467600"/>
              <a:gd name="connsiteY584" fmla="*/ 1405731 h 6858000"/>
              <a:gd name="connsiteX585" fmla="*/ 655236 w 7467600"/>
              <a:gd name="connsiteY585" fmla="*/ 1268632 h 6858000"/>
              <a:gd name="connsiteX586" fmla="*/ 6516292 w 7467600"/>
              <a:gd name="connsiteY586" fmla="*/ 1263064 h 6858000"/>
              <a:gd name="connsiteX587" fmla="*/ 5736320 w 7467600"/>
              <a:gd name="connsiteY587" fmla="*/ 1501803 h 6858000"/>
              <a:gd name="connsiteX588" fmla="*/ 6516292 w 7467600"/>
              <a:gd name="connsiteY588" fmla="*/ 1263064 h 6858000"/>
              <a:gd name="connsiteX589" fmla="*/ 291466 w 7467600"/>
              <a:gd name="connsiteY589" fmla="*/ 1250369 h 6858000"/>
              <a:gd name="connsiteX590" fmla="*/ 323180 w 7467600"/>
              <a:gd name="connsiteY590" fmla="*/ 1435283 h 6858000"/>
              <a:gd name="connsiteX591" fmla="*/ 349381 w 7467600"/>
              <a:gd name="connsiteY591" fmla="*/ 1875041 h 6858000"/>
              <a:gd name="connsiteX592" fmla="*/ 374363 w 7467600"/>
              <a:gd name="connsiteY592" fmla="*/ 1506494 h 6858000"/>
              <a:gd name="connsiteX593" fmla="*/ 302168 w 7467600"/>
              <a:gd name="connsiteY593" fmla="*/ 1274495 h 6858000"/>
              <a:gd name="connsiteX594" fmla="*/ 291466 w 7467600"/>
              <a:gd name="connsiteY594" fmla="*/ 1250369 h 6858000"/>
              <a:gd name="connsiteX595" fmla="*/ 678222 w 7467600"/>
              <a:gd name="connsiteY595" fmla="*/ 1248670 h 6858000"/>
              <a:gd name="connsiteX596" fmla="*/ 775536 w 7467600"/>
              <a:gd name="connsiteY596" fmla="*/ 1388015 h 6858000"/>
              <a:gd name="connsiteX597" fmla="*/ 894529 w 7467600"/>
              <a:gd name="connsiteY597" fmla="*/ 1567739 h 6858000"/>
              <a:gd name="connsiteX598" fmla="*/ 948000 w 7467600"/>
              <a:gd name="connsiteY598" fmla="*/ 1663088 h 6858000"/>
              <a:gd name="connsiteX599" fmla="*/ 1006812 w 7467600"/>
              <a:gd name="connsiteY599" fmla="*/ 1767683 h 6858000"/>
              <a:gd name="connsiteX600" fmla="*/ 1149133 w 7467600"/>
              <a:gd name="connsiteY600" fmla="*/ 1971513 h 6858000"/>
              <a:gd name="connsiteX601" fmla="*/ 1333952 w 7467600"/>
              <a:gd name="connsiteY601" fmla="*/ 2251620 h 6858000"/>
              <a:gd name="connsiteX602" fmla="*/ 1337329 w 7467600"/>
              <a:gd name="connsiteY602" fmla="*/ 2258350 h 6858000"/>
              <a:gd name="connsiteX603" fmla="*/ 1014726 w 7467600"/>
              <a:gd name="connsiteY603" fmla="*/ 1615556 h 6858000"/>
              <a:gd name="connsiteX604" fmla="*/ 678222 w 7467600"/>
              <a:gd name="connsiteY604" fmla="*/ 1248670 h 6858000"/>
              <a:gd name="connsiteX605" fmla="*/ 6691602 w 7467600"/>
              <a:gd name="connsiteY605" fmla="*/ 1140573 h 6858000"/>
              <a:gd name="connsiteX606" fmla="*/ 6571100 w 7467600"/>
              <a:gd name="connsiteY606" fmla="*/ 1183662 h 6858000"/>
              <a:gd name="connsiteX607" fmla="*/ 6241687 w 7467600"/>
              <a:gd name="connsiteY607" fmla="*/ 1257600 h 6858000"/>
              <a:gd name="connsiteX608" fmla="*/ 5693009 w 7467600"/>
              <a:gd name="connsiteY608" fmla="*/ 1478256 h 6858000"/>
              <a:gd name="connsiteX609" fmla="*/ 6548420 w 7467600"/>
              <a:gd name="connsiteY609" fmla="*/ 1214599 h 6858000"/>
              <a:gd name="connsiteX610" fmla="*/ 6605473 w 7467600"/>
              <a:gd name="connsiteY610" fmla="*/ 1184686 h 6858000"/>
              <a:gd name="connsiteX611" fmla="*/ 6691602 w 7467600"/>
              <a:gd name="connsiteY611" fmla="*/ 1140573 h 6858000"/>
              <a:gd name="connsiteX612" fmla="*/ 4002475 w 7467600"/>
              <a:gd name="connsiteY612" fmla="*/ 1037802 h 6858000"/>
              <a:gd name="connsiteX613" fmla="*/ 4000324 w 7467600"/>
              <a:gd name="connsiteY613" fmla="*/ 1039362 h 6858000"/>
              <a:gd name="connsiteX614" fmla="*/ 4002862 w 7467600"/>
              <a:gd name="connsiteY614" fmla="*/ 1042866 h 6858000"/>
              <a:gd name="connsiteX615" fmla="*/ 4002475 w 7467600"/>
              <a:gd name="connsiteY615" fmla="*/ 1037802 h 6858000"/>
              <a:gd name="connsiteX616" fmla="*/ 506322 w 7467600"/>
              <a:gd name="connsiteY616" fmla="*/ 1020997 h 6858000"/>
              <a:gd name="connsiteX617" fmla="*/ 533068 w 7467600"/>
              <a:gd name="connsiteY617" fmla="*/ 1029409 h 6858000"/>
              <a:gd name="connsiteX618" fmla="*/ 1232525 w 7467600"/>
              <a:gd name="connsiteY618" fmla="*/ 1804675 h 6858000"/>
              <a:gd name="connsiteX619" fmla="*/ 1388858 w 7467600"/>
              <a:gd name="connsiteY619" fmla="*/ 2368011 h 6858000"/>
              <a:gd name="connsiteX620" fmla="*/ 1384098 w 7467600"/>
              <a:gd name="connsiteY620" fmla="*/ 2378125 h 6858000"/>
              <a:gd name="connsiteX621" fmla="*/ 1425393 w 7467600"/>
              <a:gd name="connsiteY621" fmla="*/ 2589124 h 6858000"/>
              <a:gd name="connsiteX622" fmla="*/ 1424001 w 7467600"/>
              <a:gd name="connsiteY622" fmla="*/ 2597541 h 6858000"/>
              <a:gd name="connsiteX623" fmla="*/ 2152729 w 7467600"/>
              <a:gd name="connsiteY623" fmla="*/ 2864487 h 6858000"/>
              <a:gd name="connsiteX624" fmla="*/ 2020609 w 7467600"/>
              <a:gd name="connsiteY624" fmla="*/ 2539671 h 6858000"/>
              <a:gd name="connsiteX625" fmla="*/ 2018920 w 7467600"/>
              <a:gd name="connsiteY625" fmla="*/ 2536309 h 6858000"/>
              <a:gd name="connsiteX626" fmla="*/ 1342441 w 7467600"/>
              <a:gd name="connsiteY626" fmla="*/ 1173017 h 6858000"/>
              <a:gd name="connsiteX627" fmla="*/ 1367925 w 7467600"/>
              <a:gd name="connsiteY627" fmla="*/ 1135648 h 6858000"/>
              <a:gd name="connsiteX628" fmla="*/ 1771401 w 7467600"/>
              <a:gd name="connsiteY628" fmla="*/ 1806673 h 6858000"/>
              <a:gd name="connsiteX629" fmla="*/ 1972385 w 7467600"/>
              <a:gd name="connsiteY629" fmla="*/ 2198735 h 6858000"/>
              <a:gd name="connsiteX630" fmla="*/ 2040892 w 7467600"/>
              <a:gd name="connsiteY630" fmla="*/ 2405205 h 6858000"/>
              <a:gd name="connsiteX631" fmla="*/ 2131689 w 7467600"/>
              <a:gd name="connsiteY631" fmla="*/ 1936926 h 6858000"/>
              <a:gd name="connsiteX632" fmla="*/ 2454820 w 7467600"/>
              <a:gd name="connsiteY632" fmla="*/ 1248808 h 6858000"/>
              <a:gd name="connsiteX633" fmla="*/ 2492512 w 7467600"/>
              <a:gd name="connsiteY633" fmla="*/ 1302920 h 6858000"/>
              <a:gd name="connsiteX634" fmla="*/ 2081216 w 7467600"/>
              <a:gd name="connsiteY634" fmla="*/ 2527513 h 6858000"/>
              <a:gd name="connsiteX635" fmla="*/ 2081211 w 7467600"/>
              <a:gd name="connsiteY635" fmla="*/ 2528916 h 6858000"/>
              <a:gd name="connsiteX636" fmla="*/ 2199067 w 7467600"/>
              <a:gd name="connsiteY636" fmla="*/ 2884061 h 6858000"/>
              <a:gd name="connsiteX637" fmla="*/ 3192586 w 7467600"/>
              <a:gd name="connsiteY637" fmla="*/ 3411496 h 6858000"/>
              <a:gd name="connsiteX638" fmla="*/ 3182620 w 7467600"/>
              <a:gd name="connsiteY638" fmla="*/ 3483279 h 6858000"/>
              <a:gd name="connsiteX639" fmla="*/ 2435119 w 7467600"/>
              <a:gd name="connsiteY639" fmla="*/ 3080173 h 6858000"/>
              <a:gd name="connsiteX640" fmla="*/ 2410152 w 7467600"/>
              <a:gd name="connsiteY640" fmla="*/ 3063751 h 6858000"/>
              <a:gd name="connsiteX641" fmla="*/ 2408099 w 7467600"/>
              <a:gd name="connsiteY641" fmla="*/ 3064403 h 6858000"/>
              <a:gd name="connsiteX642" fmla="*/ 2407218 w 7467600"/>
              <a:gd name="connsiteY642" fmla="*/ 3070324 h 6858000"/>
              <a:gd name="connsiteX643" fmla="*/ 2380138 w 7467600"/>
              <a:gd name="connsiteY643" fmla="*/ 3099341 h 6858000"/>
              <a:gd name="connsiteX644" fmla="*/ 1765923 w 7467600"/>
              <a:gd name="connsiteY644" fmla="*/ 3581043 h 6858000"/>
              <a:gd name="connsiteX645" fmla="*/ 1702258 w 7467600"/>
              <a:gd name="connsiteY645" fmla="*/ 3612286 h 6858000"/>
              <a:gd name="connsiteX646" fmla="*/ 1538370 w 7467600"/>
              <a:gd name="connsiteY646" fmla="*/ 3811804 h 6858000"/>
              <a:gd name="connsiteX647" fmla="*/ 542867 w 7467600"/>
              <a:gd name="connsiteY647" fmla="*/ 4944092 h 6858000"/>
              <a:gd name="connsiteX648" fmla="*/ 515800 w 7467600"/>
              <a:gd name="connsiteY648" fmla="*/ 4862180 h 6858000"/>
              <a:gd name="connsiteX649" fmla="*/ 909145 w 7467600"/>
              <a:gd name="connsiteY649" fmla="*/ 4199225 h 6858000"/>
              <a:gd name="connsiteX650" fmla="*/ 1214067 w 7467600"/>
              <a:gd name="connsiteY650" fmla="*/ 3908561 h 6858000"/>
              <a:gd name="connsiteX651" fmla="*/ 640967 w 7467600"/>
              <a:gd name="connsiteY651" fmla="*/ 4105601 h 6858000"/>
              <a:gd name="connsiteX652" fmla="*/ 112563 w 7467600"/>
              <a:gd name="connsiteY652" fmla="*/ 4396952 h 6858000"/>
              <a:gd name="connsiteX653" fmla="*/ 0 w 7467600"/>
              <a:gd name="connsiteY653" fmla="*/ 4466006 h 6858000"/>
              <a:gd name="connsiteX654" fmla="*/ 0 w 7467600"/>
              <a:gd name="connsiteY654" fmla="*/ 4233763 h 6858000"/>
              <a:gd name="connsiteX655" fmla="*/ 36881 w 7467600"/>
              <a:gd name="connsiteY655" fmla="*/ 4200118 h 6858000"/>
              <a:gd name="connsiteX656" fmla="*/ 910534 w 7467600"/>
              <a:gd name="connsiteY656" fmla="*/ 3629753 h 6858000"/>
              <a:gd name="connsiteX657" fmla="*/ 1578717 w 7467600"/>
              <a:gd name="connsiteY657" fmla="*/ 3575982 h 6858000"/>
              <a:gd name="connsiteX658" fmla="*/ 2338780 w 7467600"/>
              <a:gd name="connsiteY658" fmla="*/ 3033725 h 6858000"/>
              <a:gd name="connsiteX659" fmla="*/ 1807991 w 7467600"/>
              <a:gd name="connsiteY659" fmla="*/ 2807184 h 6858000"/>
              <a:gd name="connsiteX660" fmla="*/ 1416358 w 7467600"/>
              <a:gd name="connsiteY660" fmla="*/ 3112571 h 6858000"/>
              <a:gd name="connsiteX661" fmla="*/ 939066 w 7467600"/>
              <a:gd name="connsiteY661" fmla="*/ 3378798 h 6858000"/>
              <a:gd name="connsiteX662" fmla="*/ 115099 w 7467600"/>
              <a:gd name="connsiteY662" fmla="*/ 3607650 h 6858000"/>
              <a:gd name="connsiteX663" fmla="*/ 97284 w 7467600"/>
              <a:gd name="connsiteY663" fmla="*/ 3520393 h 6858000"/>
              <a:gd name="connsiteX664" fmla="*/ 922050 w 7467600"/>
              <a:gd name="connsiteY664" fmla="*/ 3074867 h 6858000"/>
              <a:gd name="connsiteX665" fmla="*/ 1405265 w 7467600"/>
              <a:gd name="connsiteY665" fmla="*/ 3016319 h 6858000"/>
              <a:gd name="connsiteX666" fmla="*/ 1407512 w 7467600"/>
              <a:gd name="connsiteY666" fmla="*/ 3018001 h 6858000"/>
              <a:gd name="connsiteX667" fmla="*/ 1726266 w 7467600"/>
              <a:gd name="connsiteY667" fmla="*/ 2777274 h 6858000"/>
              <a:gd name="connsiteX668" fmla="*/ 625390 w 7467600"/>
              <a:gd name="connsiteY668" fmla="*/ 2514541 h 6858000"/>
              <a:gd name="connsiteX669" fmla="*/ 619799 w 7467600"/>
              <a:gd name="connsiteY669" fmla="*/ 2527180 h 6858000"/>
              <a:gd name="connsiteX670" fmla="*/ 310030 w 7467600"/>
              <a:gd name="connsiteY670" fmla="*/ 2771818 h 6858000"/>
              <a:gd name="connsiteX671" fmla="*/ 173877 w 7467600"/>
              <a:gd name="connsiteY671" fmla="*/ 2937056 h 6858000"/>
              <a:gd name="connsiteX672" fmla="*/ 77889 w 7467600"/>
              <a:gd name="connsiteY672" fmla="*/ 3138440 h 6858000"/>
              <a:gd name="connsiteX673" fmla="*/ 0 w 7467600"/>
              <a:gd name="connsiteY673" fmla="*/ 3271395 h 6858000"/>
              <a:gd name="connsiteX674" fmla="*/ 0 w 7467600"/>
              <a:gd name="connsiteY674" fmla="*/ 3153002 h 6858000"/>
              <a:gd name="connsiteX675" fmla="*/ 2386 w 7467600"/>
              <a:gd name="connsiteY675" fmla="*/ 3149203 h 6858000"/>
              <a:gd name="connsiteX676" fmla="*/ 89753 w 7467600"/>
              <a:gd name="connsiteY676" fmla="*/ 2987702 h 6858000"/>
              <a:gd name="connsiteX677" fmla="*/ 76869 w 7467600"/>
              <a:gd name="connsiteY677" fmla="*/ 3005404 h 6858000"/>
              <a:gd name="connsiteX678" fmla="*/ 32049 w 7467600"/>
              <a:gd name="connsiteY678" fmla="*/ 3065814 h 6858000"/>
              <a:gd name="connsiteX679" fmla="*/ 0 w 7467600"/>
              <a:gd name="connsiteY679" fmla="*/ 3108744 h 6858000"/>
              <a:gd name="connsiteX680" fmla="*/ 0 w 7467600"/>
              <a:gd name="connsiteY680" fmla="*/ 3058059 h 6858000"/>
              <a:gd name="connsiteX681" fmla="*/ 7610 w 7467600"/>
              <a:gd name="connsiteY681" fmla="*/ 3047889 h 6858000"/>
              <a:gd name="connsiteX682" fmla="*/ 52419 w 7467600"/>
              <a:gd name="connsiteY682" fmla="*/ 2987479 h 6858000"/>
              <a:gd name="connsiteX683" fmla="*/ 59142 w 7467600"/>
              <a:gd name="connsiteY683" fmla="*/ 2978488 h 6858000"/>
              <a:gd name="connsiteX684" fmla="*/ 0 w 7467600"/>
              <a:gd name="connsiteY684" fmla="*/ 3015334 h 6858000"/>
              <a:gd name="connsiteX685" fmla="*/ 0 w 7467600"/>
              <a:gd name="connsiteY685" fmla="*/ 2914286 h 6858000"/>
              <a:gd name="connsiteX686" fmla="*/ 36383 w 7467600"/>
              <a:gd name="connsiteY686" fmla="*/ 2901128 h 6858000"/>
              <a:gd name="connsiteX687" fmla="*/ 156329 w 7467600"/>
              <a:gd name="connsiteY687" fmla="*/ 2840533 h 6858000"/>
              <a:gd name="connsiteX688" fmla="*/ 358355 w 7467600"/>
              <a:gd name="connsiteY688" fmla="*/ 2620471 h 6858000"/>
              <a:gd name="connsiteX689" fmla="*/ 510577 w 7467600"/>
              <a:gd name="connsiteY689" fmla="*/ 2501244 h 6858000"/>
              <a:gd name="connsiteX690" fmla="*/ 211967 w 7467600"/>
              <a:gd name="connsiteY690" fmla="*/ 2479171 h 6858000"/>
              <a:gd name="connsiteX691" fmla="*/ 0 w 7467600"/>
              <a:gd name="connsiteY691" fmla="*/ 2476398 h 6858000"/>
              <a:gd name="connsiteX692" fmla="*/ 0 w 7467600"/>
              <a:gd name="connsiteY692" fmla="*/ 2389189 h 6858000"/>
              <a:gd name="connsiteX693" fmla="*/ 103062 w 7467600"/>
              <a:gd name="connsiteY693" fmla="*/ 2389518 h 6858000"/>
              <a:gd name="connsiteX694" fmla="*/ 510734 w 7467600"/>
              <a:gd name="connsiteY694" fmla="*/ 2416201 h 6858000"/>
              <a:gd name="connsiteX695" fmla="*/ 279257 w 7467600"/>
              <a:gd name="connsiteY695" fmla="*/ 2092102 h 6858000"/>
              <a:gd name="connsiteX696" fmla="*/ 65265 w 7467600"/>
              <a:gd name="connsiteY696" fmla="*/ 2006049 h 6858000"/>
              <a:gd name="connsiteX697" fmla="*/ 0 w 7467600"/>
              <a:gd name="connsiteY697" fmla="*/ 1982532 h 6858000"/>
              <a:gd name="connsiteX698" fmla="*/ 0 w 7467600"/>
              <a:gd name="connsiteY698" fmla="*/ 1912789 h 6858000"/>
              <a:gd name="connsiteX699" fmla="*/ 97460 w 7467600"/>
              <a:gd name="connsiteY699" fmla="*/ 1953725 h 6858000"/>
              <a:gd name="connsiteX700" fmla="*/ 221272 w 7467600"/>
              <a:gd name="connsiteY700" fmla="*/ 1980766 h 6858000"/>
              <a:gd name="connsiteX701" fmla="*/ 116765 w 7467600"/>
              <a:gd name="connsiteY701" fmla="*/ 1911033 h 6858000"/>
              <a:gd name="connsiteX702" fmla="*/ 16405 w 7467600"/>
              <a:gd name="connsiteY702" fmla="*/ 1803412 h 6858000"/>
              <a:gd name="connsiteX703" fmla="*/ 0 w 7467600"/>
              <a:gd name="connsiteY703" fmla="*/ 1784777 h 6858000"/>
              <a:gd name="connsiteX704" fmla="*/ 0 w 7467600"/>
              <a:gd name="connsiteY704" fmla="*/ 1740082 h 6858000"/>
              <a:gd name="connsiteX705" fmla="*/ 39394 w 7467600"/>
              <a:gd name="connsiteY705" fmla="*/ 1784856 h 6858000"/>
              <a:gd name="connsiteX706" fmla="*/ 135813 w 7467600"/>
              <a:gd name="connsiteY706" fmla="*/ 1888838 h 6858000"/>
              <a:gd name="connsiteX707" fmla="*/ 242575 w 7467600"/>
              <a:gd name="connsiteY707" fmla="*/ 1958841 h 6858000"/>
              <a:gd name="connsiteX708" fmla="*/ 82197 w 7467600"/>
              <a:gd name="connsiteY708" fmla="*/ 1754826 h 6858000"/>
              <a:gd name="connsiteX709" fmla="*/ 0 w 7467600"/>
              <a:gd name="connsiteY709" fmla="*/ 1679650 h 6858000"/>
              <a:gd name="connsiteX710" fmla="*/ 0 w 7467600"/>
              <a:gd name="connsiteY710" fmla="*/ 1602463 h 6858000"/>
              <a:gd name="connsiteX711" fmla="*/ 84689 w 7467600"/>
              <a:gd name="connsiteY711" fmla="*/ 1677442 h 6858000"/>
              <a:gd name="connsiteX712" fmla="*/ 298437 w 7467600"/>
              <a:gd name="connsiteY712" fmla="*/ 1968019 h 6858000"/>
              <a:gd name="connsiteX713" fmla="*/ 227269 w 7467600"/>
              <a:gd name="connsiteY713" fmla="*/ 1114064 h 6858000"/>
              <a:gd name="connsiteX714" fmla="*/ 248003 w 7467600"/>
              <a:gd name="connsiteY714" fmla="*/ 1089613 h 6858000"/>
              <a:gd name="connsiteX715" fmla="*/ 427020 w 7467600"/>
              <a:gd name="connsiteY715" fmla="*/ 1619803 h 6858000"/>
              <a:gd name="connsiteX716" fmla="*/ 340345 w 7467600"/>
              <a:gd name="connsiteY716" fmla="*/ 2027739 h 6858000"/>
              <a:gd name="connsiteX717" fmla="*/ 360865 w 7467600"/>
              <a:gd name="connsiteY717" fmla="*/ 2044827 h 6858000"/>
              <a:gd name="connsiteX718" fmla="*/ 560414 w 7467600"/>
              <a:gd name="connsiteY718" fmla="*/ 2421457 h 6858000"/>
              <a:gd name="connsiteX719" fmla="*/ 1359703 w 7467600"/>
              <a:gd name="connsiteY719" fmla="*/ 2578554 h 6858000"/>
              <a:gd name="connsiteX720" fmla="*/ 1359422 w 7467600"/>
              <a:gd name="connsiteY720" fmla="*/ 2577994 h 6858000"/>
              <a:gd name="connsiteX721" fmla="*/ 828701 w 7467600"/>
              <a:gd name="connsiteY721" fmla="*/ 1839520 h 6858000"/>
              <a:gd name="connsiteX722" fmla="*/ 494427 w 7467600"/>
              <a:gd name="connsiteY722" fmla="*/ 1092333 h 6858000"/>
              <a:gd name="connsiteX723" fmla="*/ 506322 w 7467600"/>
              <a:gd name="connsiteY723" fmla="*/ 1020997 h 6858000"/>
              <a:gd name="connsiteX724" fmla="*/ 4570198 w 7467600"/>
              <a:gd name="connsiteY724" fmla="*/ 978081 h 6858000"/>
              <a:gd name="connsiteX725" fmla="*/ 4523691 w 7467600"/>
              <a:gd name="connsiteY725" fmla="*/ 1127776 h 6858000"/>
              <a:gd name="connsiteX726" fmla="*/ 4509875 w 7467600"/>
              <a:gd name="connsiteY726" fmla="*/ 1167552 h 6858000"/>
              <a:gd name="connsiteX727" fmla="*/ 4478168 w 7467600"/>
              <a:gd name="connsiteY727" fmla="*/ 1260735 h 6858000"/>
              <a:gd name="connsiteX728" fmla="*/ 4409309 w 7467600"/>
              <a:gd name="connsiteY728" fmla="*/ 1666996 h 6858000"/>
              <a:gd name="connsiteX729" fmla="*/ 4370031 w 7467600"/>
              <a:gd name="connsiteY729" fmla="*/ 1955666 h 6858000"/>
              <a:gd name="connsiteX730" fmla="*/ 4570198 w 7467600"/>
              <a:gd name="connsiteY730" fmla="*/ 978081 h 6858000"/>
              <a:gd name="connsiteX731" fmla="*/ 4557898 w 7467600"/>
              <a:gd name="connsiteY731" fmla="*/ 900011 h 6858000"/>
              <a:gd name="connsiteX732" fmla="*/ 4344840 w 7467600"/>
              <a:gd name="connsiteY732" fmla="*/ 1922038 h 6858000"/>
              <a:gd name="connsiteX733" fmla="*/ 4378710 w 7467600"/>
              <a:gd name="connsiteY733" fmla="*/ 1665516 h 6858000"/>
              <a:gd name="connsiteX734" fmla="*/ 4448798 w 7467600"/>
              <a:gd name="connsiteY734" fmla="*/ 1253024 h 6858000"/>
              <a:gd name="connsiteX735" fmla="*/ 4480315 w 7467600"/>
              <a:gd name="connsiteY735" fmla="*/ 1158454 h 6858000"/>
              <a:gd name="connsiteX736" fmla="*/ 4494133 w 7467600"/>
              <a:gd name="connsiteY736" fmla="*/ 1118676 h 6858000"/>
              <a:gd name="connsiteX737" fmla="*/ 4557898 w 7467600"/>
              <a:gd name="connsiteY737" fmla="*/ 900011 h 6858000"/>
              <a:gd name="connsiteX738" fmla="*/ 5870151 w 7467600"/>
              <a:gd name="connsiteY738" fmla="*/ 898890 h 6858000"/>
              <a:gd name="connsiteX739" fmla="*/ 5861335 w 7467600"/>
              <a:gd name="connsiteY739" fmla="*/ 899177 h 6858000"/>
              <a:gd name="connsiteX740" fmla="*/ 5843702 w 7467600"/>
              <a:gd name="connsiteY740" fmla="*/ 899748 h 6858000"/>
              <a:gd name="connsiteX741" fmla="*/ 5651107 w 7467600"/>
              <a:gd name="connsiteY741" fmla="*/ 920306 h 6858000"/>
              <a:gd name="connsiteX742" fmla="*/ 5459407 w 7467600"/>
              <a:gd name="connsiteY742" fmla="*/ 940975 h 6858000"/>
              <a:gd name="connsiteX743" fmla="*/ 5374846 w 7467600"/>
              <a:gd name="connsiteY743" fmla="*/ 941988 h 6858000"/>
              <a:gd name="connsiteX744" fmla="*/ 5256105 w 7467600"/>
              <a:gd name="connsiteY744" fmla="*/ 945632 h 6858000"/>
              <a:gd name="connsiteX745" fmla="*/ 5107071 w 7467600"/>
              <a:gd name="connsiteY745" fmla="*/ 969720 h 6858000"/>
              <a:gd name="connsiteX746" fmla="*/ 4998681 w 7467600"/>
              <a:gd name="connsiteY746" fmla="*/ 988771 h 6858000"/>
              <a:gd name="connsiteX747" fmla="*/ 5870151 w 7467600"/>
              <a:gd name="connsiteY747" fmla="*/ 898890 h 6858000"/>
              <a:gd name="connsiteX748" fmla="*/ 5504425 w 7467600"/>
              <a:gd name="connsiteY748" fmla="*/ 848067 h 6858000"/>
              <a:gd name="connsiteX749" fmla="*/ 4968849 w 7467600"/>
              <a:gd name="connsiteY749" fmla="*/ 962318 h 6858000"/>
              <a:gd name="connsiteX750" fmla="*/ 5104039 w 7467600"/>
              <a:gd name="connsiteY750" fmla="*/ 940634 h 6858000"/>
              <a:gd name="connsiteX751" fmla="*/ 5256311 w 7467600"/>
              <a:gd name="connsiteY751" fmla="*/ 916490 h 6858000"/>
              <a:gd name="connsiteX752" fmla="*/ 5377381 w 7467600"/>
              <a:gd name="connsiteY752" fmla="*/ 912671 h 6858000"/>
              <a:gd name="connsiteX753" fmla="*/ 5460148 w 7467600"/>
              <a:gd name="connsiteY753" fmla="*/ 911442 h 6858000"/>
              <a:gd name="connsiteX754" fmla="*/ 5648971 w 7467600"/>
              <a:gd name="connsiteY754" fmla="*/ 891331 h 6858000"/>
              <a:gd name="connsiteX755" fmla="*/ 5844807 w 7467600"/>
              <a:gd name="connsiteY755" fmla="*/ 870718 h 6858000"/>
              <a:gd name="connsiteX756" fmla="*/ 5862975 w 7467600"/>
              <a:gd name="connsiteY756" fmla="*/ 869756 h 6858000"/>
              <a:gd name="connsiteX757" fmla="*/ 5920887 w 7467600"/>
              <a:gd name="connsiteY757" fmla="*/ 865929 h 6858000"/>
              <a:gd name="connsiteX758" fmla="*/ 5504425 w 7467600"/>
              <a:gd name="connsiteY758" fmla="*/ 848067 h 6858000"/>
              <a:gd name="connsiteX759" fmla="*/ 3607114 w 7467600"/>
              <a:gd name="connsiteY759" fmla="*/ 467441 h 6858000"/>
              <a:gd name="connsiteX760" fmla="*/ 3296242 w 7467600"/>
              <a:gd name="connsiteY760" fmla="*/ 807991 h 6858000"/>
              <a:gd name="connsiteX761" fmla="*/ 3174674 w 7467600"/>
              <a:gd name="connsiteY761" fmla="*/ 919759 h 6858000"/>
              <a:gd name="connsiteX762" fmla="*/ 3042978 w 7467600"/>
              <a:gd name="connsiteY762" fmla="*/ 1054894 h 6858000"/>
              <a:gd name="connsiteX763" fmla="*/ 2968914 w 7467600"/>
              <a:gd name="connsiteY763" fmla="*/ 1133756 h 6858000"/>
              <a:gd name="connsiteX764" fmla="*/ 3103823 w 7467600"/>
              <a:gd name="connsiteY764" fmla="*/ 1026814 h 6858000"/>
              <a:gd name="connsiteX765" fmla="*/ 3607114 w 7467600"/>
              <a:gd name="connsiteY765" fmla="*/ 467441 h 6858000"/>
              <a:gd name="connsiteX766" fmla="*/ 3744487 w 7467600"/>
              <a:gd name="connsiteY766" fmla="*/ 383136 h 6858000"/>
              <a:gd name="connsiteX767" fmla="*/ 3970213 w 7467600"/>
              <a:gd name="connsiteY767" fmla="*/ 995559 h 6858000"/>
              <a:gd name="connsiteX768" fmla="*/ 3744487 w 7467600"/>
              <a:gd name="connsiteY768" fmla="*/ 383136 h 6858000"/>
              <a:gd name="connsiteX769" fmla="*/ 3624562 w 7467600"/>
              <a:gd name="connsiteY769" fmla="*/ 367041 h 6858000"/>
              <a:gd name="connsiteX770" fmla="*/ 3489712 w 7467600"/>
              <a:gd name="connsiteY770" fmla="*/ 485386 h 6858000"/>
              <a:gd name="connsiteX771" fmla="*/ 3182994 w 7467600"/>
              <a:gd name="connsiteY771" fmla="*/ 828265 h 6858000"/>
              <a:gd name="connsiteX772" fmla="*/ 2892114 w 7467600"/>
              <a:gd name="connsiteY772" fmla="*/ 1172635 h 6858000"/>
              <a:gd name="connsiteX773" fmla="*/ 3021459 w 7467600"/>
              <a:gd name="connsiteY773" fmla="*/ 1035385 h 6858000"/>
              <a:gd name="connsiteX774" fmla="*/ 3153873 w 7467600"/>
              <a:gd name="connsiteY774" fmla="*/ 898971 h 6858000"/>
              <a:gd name="connsiteX775" fmla="*/ 3276511 w 7467600"/>
              <a:gd name="connsiteY775" fmla="*/ 786423 h 6858000"/>
              <a:gd name="connsiteX776" fmla="*/ 3584154 w 7467600"/>
              <a:gd name="connsiteY776" fmla="*/ 448218 h 6858000"/>
              <a:gd name="connsiteX777" fmla="*/ 3624562 w 7467600"/>
              <a:gd name="connsiteY777" fmla="*/ 367041 h 6858000"/>
              <a:gd name="connsiteX778" fmla="*/ 3766672 w 7467600"/>
              <a:gd name="connsiteY778" fmla="*/ 359429 h 6858000"/>
              <a:gd name="connsiteX779" fmla="*/ 3996338 w 7467600"/>
              <a:gd name="connsiteY779" fmla="*/ 968237 h 6858000"/>
              <a:gd name="connsiteX780" fmla="*/ 3766672 w 7467600"/>
              <a:gd name="connsiteY780" fmla="*/ 359429 h 6858000"/>
              <a:gd name="connsiteX781" fmla="*/ 5805386 w 7467600"/>
              <a:gd name="connsiteY781" fmla="*/ 239240 h 6858000"/>
              <a:gd name="connsiteX782" fmla="*/ 5736947 w 7467600"/>
              <a:gd name="connsiteY782" fmla="*/ 261367 h 6858000"/>
              <a:gd name="connsiteX783" fmla="*/ 5427012 w 7467600"/>
              <a:gd name="connsiteY783" fmla="*/ 311272 h 6858000"/>
              <a:gd name="connsiteX784" fmla="*/ 5147818 w 7467600"/>
              <a:gd name="connsiteY784" fmla="*/ 322112 h 6858000"/>
              <a:gd name="connsiteX785" fmla="*/ 5060854 w 7467600"/>
              <a:gd name="connsiteY785" fmla="*/ 311882 h 6858000"/>
              <a:gd name="connsiteX786" fmla="*/ 4945989 w 7467600"/>
              <a:gd name="connsiteY786" fmla="*/ 300516 h 6858000"/>
              <a:gd name="connsiteX787" fmla="*/ 5410479 w 7467600"/>
              <a:gd name="connsiteY787" fmla="*/ 348434 h 6858000"/>
              <a:gd name="connsiteX788" fmla="*/ 5805386 w 7467600"/>
              <a:gd name="connsiteY788" fmla="*/ 239240 h 6858000"/>
              <a:gd name="connsiteX789" fmla="*/ 5905192 w 7467600"/>
              <a:gd name="connsiteY789" fmla="*/ 163079 h 6858000"/>
              <a:gd name="connsiteX790" fmla="*/ 5865655 w 7467600"/>
              <a:gd name="connsiteY790" fmla="*/ 171901 h 6858000"/>
              <a:gd name="connsiteX791" fmla="*/ 5259740 w 7467600"/>
              <a:gd name="connsiteY791" fmla="*/ 257013 h 6858000"/>
              <a:gd name="connsiteX792" fmla="*/ 5208466 w 7467600"/>
              <a:gd name="connsiteY792" fmla="*/ 257550 h 6858000"/>
              <a:gd name="connsiteX793" fmla="*/ 4980204 w 7467600"/>
              <a:gd name="connsiteY793" fmla="*/ 271903 h 6858000"/>
              <a:gd name="connsiteX794" fmla="*/ 5068068 w 7467600"/>
              <a:gd name="connsiteY794" fmla="*/ 282244 h 6858000"/>
              <a:gd name="connsiteX795" fmla="*/ 5153231 w 7467600"/>
              <a:gd name="connsiteY795" fmla="*/ 292240 h 6858000"/>
              <a:gd name="connsiteX796" fmla="*/ 5426491 w 7467600"/>
              <a:gd name="connsiteY796" fmla="*/ 281128 h 6858000"/>
              <a:gd name="connsiteX797" fmla="*/ 5731212 w 7467600"/>
              <a:gd name="connsiteY797" fmla="*/ 231951 h 6858000"/>
              <a:gd name="connsiteX798" fmla="*/ 5905192 w 7467600"/>
              <a:gd name="connsiteY798" fmla="*/ 163079 h 6858000"/>
              <a:gd name="connsiteX799" fmla="*/ 5944437 w 7467600"/>
              <a:gd name="connsiteY799" fmla="*/ 113829 h 6858000"/>
              <a:gd name="connsiteX800" fmla="*/ 5825032 w 7467600"/>
              <a:gd name="connsiteY800" fmla="*/ 146405 h 6858000"/>
              <a:gd name="connsiteX801" fmla="*/ 4955599 w 7467600"/>
              <a:gd name="connsiteY801" fmla="*/ 247008 h 6858000"/>
              <a:gd name="connsiteX802" fmla="*/ 5210104 w 7467600"/>
              <a:gd name="connsiteY802" fmla="*/ 228123 h 6858000"/>
              <a:gd name="connsiteX803" fmla="*/ 5261015 w 7467600"/>
              <a:gd name="connsiteY803" fmla="*/ 227087 h 6858000"/>
              <a:gd name="connsiteX804" fmla="*/ 5861181 w 7467600"/>
              <a:gd name="connsiteY804" fmla="*/ 143093 h 6858000"/>
              <a:gd name="connsiteX805" fmla="*/ 5961252 w 7467600"/>
              <a:gd name="connsiteY805" fmla="*/ 114820 h 6858000"/>
              <a:gd name="connsiteX806" fmla="*/ 5944437 w 7467600"/>
              <a:gd name="connsiteY806" fmla="*/ 113829 h 6858000"/>
              <a:gd name="connsiteX807" fmla="*/ 3882765 w 7467600"/>
              <a:gd name="connsiteY807" fmla="*/ 0 h 6858000"/>
              <a:gd name="connsiteX808" fmla="*/ 3995099 w 7467600"/>
              <a:gd name="connsiteY808" fmla="*/ 0 h 6858000"/>
              <a:gd name="connsiteX809" fmla="*/ 4163818 w 7467600"/>
              <a:gd name="connsiteY809" fmla="*/ 234104 h 6858000"/>
              <a:gd name="connsiteX810" fmla="*/ 4172099 w 7467600"/>
              <a:gd name="connsiteY810" fmla="*/ 234207 h 6858000"/>
              <a:gd name="connsiteX811" fmla="*/ 4784282 w 7467600"/>
              <a:gd name="connsiteY811" fmla="*/ 276561 h 6858000"/>
              <a:gd name="connsiteX812" fmla="*/ 4801687 w 7467600"/>
              <a:gd name="connsiteY812" fmla="*/ 267764 h 6858000"/>
              <a:gd name="connsiteX813" fmla="*/ 6082788 w 7467600"/>
              <a:gd name="connsiteY813" fmla="*/ 64119 h 6858000"/>
              <a:gd name="connsiteX814" fmla="*/ 6099442 w 7467600"/>
              <a:gd name="connsiteY814" fmla="*/ 82568 h 6858000"/>
              <a:gd name="connsiteX815" fmla="*/ 4804137 w 7467600"/>
              <a:gd name="connsiteY815" fmla="*/ 320931 h 6858000"/>
              <a:gd name="connsiteX816" fmla="*/ 4227047 w 7467600"/>
              <a:gd name="connsiteY816" fmla="*/ 313415 h 6858000"/>
              <a:gd name="connsiteX817" fmla="*/ 4346041 w 7467600"/>
              <a:gd name="connsiteY817" fmla="*/ 456086 h 6858000"/>
              <a:gd name="connsiteX818" fmla="*/ 4870967 w 7467600"/>
              <a:gd name="connsiteY818" fmla="*/ 963061 h 6858000"/>
              <a:gd name="connsiteX819" fmla="*/ 4889647 w 7467600"/>
              <a:gd name="connsiteY819" fmla="*/ 957147 h 6858000"/>
              <a:gd name="connsiteX820" fmla="*/ 5422504 w 7467600"/>
              <a:gd name="connsiteY820" fmla="*/ 805191 h 6858000"/>
              <a:gd name="connsiteX821" fmla="*/ 6087656 w 7467600"/>
              <a:gd name="connsiteY821" fmla="*/ 826703 h 6858000"/>
              <a:gd name="connsiteX822" fmla="*/ 6058717 w 7467600"/>
              <a:gd name="connsiteY822" fmla="*/ 865992 h 6858000"/>
              <a:gd name="connsiteX823" fmla="*/ 4974153 w 7467600"/>
              <a:gd name="connsiteY823" fmla="*/ 1045456 h 6858000"/>
              <a:gd name="connsiteX824" fmla="*/ 5627835 w 7467600"/>
              <a:gd name="connsiteY824" fmla="*/ 1472077 h 6858000"/>
              <a:gd name="connsiteX825" fmla="*/ 5629817 w 7467600"/>
              <a:gd name="connsiteY825" fmla="*/ 1471412 h 6858000"/>
              <a:gd name="connsiteX826" fmla="*/ 5634124 w 7467600"/>
              <a:gd name="connsiteY826" fmla="*/ 1470572 h 6858000"/>
              <a:gd name="connsiteX827" fmla="*/ 5755832 w 7467600"/>
              <a:gd name="connsiteY827" fmla="*/ 1383886 h 6858000"/>
              <a:gd name="connsiteX828" fmla="*/ 6014186 w 7467600"/>
              <a:gd name="connsiteY828" fmla="*/ 1279799 h 6858000"/>
              <a:gd name="connsiteX829" fmla="*/ 6901619 w 7467600"/>
              <a:gd name="connsiteY829" fmla="*/ 1047874 h 6858000"/>
              <a:gd name="connsiteX830" fmla="*/ 6931566 w 7467600"/>
              <a:gd name="connsiteY830" fmla="*/ 1062034 h 6858000"/>
              <a:gd name="connsiteX831" fmla="*/ 5790982 w 7467600"/>
              <a:gd name="connsiteY831" fmla="*/ 1561380 h 6858000"/>
              <a:gd name="connsiteX832" fmla="*/ 6188971 w 7467600"/>
              <a:gd name="connsiteY832" fmla="*/ 1755168 h 6858000"/>
              <a:gd name="connsiteX833" fmla="*/ 6202446 w 7467600"/>
              <a:gd name="connsiteY833" fmla="*/ 1752268 h 6858000"/>
              <a:gd name="connsiteX834" fmla="*/ 7179560 w 7467600"/>
              <a:gd name="connsiteY834" fmla="*/ 1467551 h 6858000"/>
              <a:gd name="connsiteX835" fmla="*/ 7158730 w 7467600"/>
              <a:gd name="connsiteY835" fmla="*/ 1507835 h 6858000"/>
              <a:gd name="connsiteX836" fmla="*/ 6326959 w 7467600"/>
              <a:gd name="connsiteY836" fmla="*/ 1817686 h 6858000"/>
              <a:gd name="connsiteX837" fmla="*/ 6537433 w 7467600"/>
              <a:gd name="connsiteY837" fmla="*/ 1907790 h 6858000"/>
              <a:gd name="connsiteX838" fmla="*/ 6550221 w 7467600"/>
              <a:gd name="connsiteY838" fmla="*/ 1910729 h 6858000"/>
              <a:gd name="connsiteX839" fmla="*/ 6964438 w 7467600"/>
              <a:gd name="connsiteY839" fmla="*/ 2209505 h 6858000"/>
              <a:gd name="connsiteX840" fmla="*/ 7367862 w 7467600"/>
              <a:gd name="connsiteY840" fmla="*/ 2806833 h 6858000"/>
              <a:gd name="connsiteX841" fmla="*/ 7364329 w 7467600"/>
              <a:gd name="connsiteY841" fmla="*/ 2826907 h 6858000"/>
              <a:gd name="connsiteX842" fmla="*/ 7290545 w 7467600"/>
              <a:gd name="connsiteY842" fmla="*/ 2850663 h 6858000"/>
              <a:gd name="connsiteX843" fmla="*/ 6472036 w 7467600"/>
              <a:gd name="connsiteY843" fmla="*/ 1959003 h 6858000"/>
              <a:gd name="connsiteX844" fmla="*/ 5792897 w 7467600"/>
              <a:gd name="connsiteY844" fmla="*/ 1647747 h 6858000"/>
              <a:gd name="connsiteX845" fmla="*/ 5842751 w 7467600"/>
              <a:gd name="connsiteY845" fmla="*/ 1816112 h 6858000"/>
              <a:gd name="connsiteX846" fmla="*/ 5847424 w 7467600"/>
              <a:gd name="connsiteY846" fmla="*/ 1815776 h 6858000"/>
              <a:gd name="connsiteX847" fmla="*/ 6399821 w 7467600"/>
              <a:gd name="connsiteY847" fmla="*/ 2344799 h 6858000"/>
              <a:gd name="connsiteX848" fmla="*/ 6323232 w 7467600"/>
              <a:gd name="connsiteY848" fmla="*/ 2389634 h 6858000"/>
              <a:gd name="connsiteX849" fmla="*/ 5942958 w 7467600"/>
              <a:gd name="connsiteY849" fmla="*/ 2077708 h 6858000"/>
              <a:gd name="connsiteX850" fmla="*/ 5921559 w 7467600"/>
              <a:gd name="connsiteY850" fmla="*/ 2378596 h 6858000"/>
              <a:gd name="connsiteX851" fmla="*/ 5817651 w 7467600"/>
              <a:gd name="connsiteY851" fmla="*/ 3023919 h 6858000"/>
              <a:gd name="connsiteX852" fmla="*/ 5729634 w 7467600"/>
              <a:gd name="connsiteY852" fmla="*/ 3051849 h 6858000"/>
              <a:gd name="connsiteX853" fmla="*/ 5611018 w 7467600"/>
              <a:gd name="connsiteY853" fmla="*/ 2316769 h 6858000"/>
              <a:gd name="connsiteX854" fmla="*/ 5687608 w 7467600"/>
              <a:gd name="connsiteY854" fmla="*/ 2039972 h 6858000"/>
              <a:gd name="connsiteX855" fmla="*/ 5657554 w 7467600"/>
              <a:gd name="connsiteY855" fmla="*/ 1576445 h 6858000"/>
              <a:gd name="connsiteX856" fmla="*/ 5150475 w 7467600"/>
              <a:gd name="connsiteY856" fmla="*/ 1274012 h 6858000"/>
              <a:gd name="connsiteX857" fmla="*/ 5349142 w 7467600"/>
              <a:gd name="connsiteY857" fmla="*/ 2204405 h 6858000"/>
              <a:gd name="connsiteX858" fmla="*/ 5262214 w 7467600"/>
              <a:gd name="connsiteY858" fmla="*/ 2233836 h 6858000"/>
              <a:gd name="connsiteX859" fmla="*/ 4981539 w 7467600"/>
              <a:gd name="connsiteY859" fmla="*/ 1542201 h 6858000"/>
              <a:gd name="connsiteX860" fmla="*/ 4958461 w 7467600"/>
              <a:gd name="connsiteY860" fmla="*/ 1136957 h 6858000"/>
              <a:gd name="connsiteX861" fmla="*/ 4655015 w 7467600"/>
              <a:gd name="connsiteY861" fmla="*/ 891426 h 6858000"/>
              <a:gd name="connsiteX862" fmla="*/ 4348002 w 7467600"/>
              <a:gd name="connsiteY862" fmla="*/ 2205895 h 6858000"/>
              <a:gd name="connsiteX863" fmla="*/ 4262250 w 7467600"/>
              <a:gd name="connsiteY863" fmla="*/ 2219972 h 6858000"/>
              <a:gd name="connsiteX864" fmla="*/ 4550611 w 7467600"/>
              <a:gd name="connsiteY864" fmla="*/ 817540 h 6858000"/>
              <a:gd name="connsiteX865" fmla="*/ 4564418 w 7467600"/>
              <a:gd name="connsiteY865" fmla="*/ 808293 h 6858000"/>
              <a:gd name="connsiteX866" fmla="*/ 4266388 w 7467600"/>
              <a:gd name="connsiteY866" fmla="*/ 500083 h 6858000"/>
              <a:gd name="connsiteX867" fmla="*/ 4032842 w 7467600"/>
              <a:gd name="connsiteY867" fmla="*/ 211809 h 6858000"/>
              <a:gd name="connsiteX868" fmla="*/ 3882765 w 7467600"/>
              <a:gd name="connsiteY868" fmla="*/ 0 h 6858000"/>
              <a:gd name="connsiteX869" fmla="*/ 3721337 w 7467600"/>
              <a:gd name="connsiteY869" fmla="*/ 0 h 6858000"/>
              <a:gd name="connsiteX870" fmla="*/ 3797544 w 7467600"/>
              <a:gd name="connsiteY870" fmla="*/ 0 h 6858000"/>
              <a:gd name="connsiteX871" fmla="*/ 3775734 w 7467600"/>
              <a:gd name="connsiteY871" fmla="*/ 95131 h 6858000"/>
              <a:gd name="connsiteX872" fmla="*/ 3724807 w 7467600"/>
              <a:gd name="connsiteY872" fmla="*/ 272257 h 6858000"/>
              <a:gd name="connsiteX873" fmla="*/ 3726844 w 7467600"/>
              <a:gd name="connsiteY873" fmla="*/ 282988 h 6858000"/>
              <a:gd name="connsiteX874" fmla="*/ 3742664 w 7467600"/>
              <a:gd name="connsiteY874" fmla="*/ 279918 h 6858000"/>
              <a:gd name="connsiteX875" fmla="*/ 4103910 w 7467600"/>
              <a:gd name="connsiteY875" fmla="*/ 1161917 h 6858000"/>
              <a:gd name="connsiteX876" fmla="*/ 4020269 w 7467600"/>
              <a:gd name="connsiteY876" fmla="*/ 1200406 h 6858000"/>
              <a:gd name="connsiteX877" fmla="*/ 3674882 w 7467600"/>
              <a:gd name="connsiteY877" fmla="*/ 488524 h 6858000"/>
              <a:gd name="connsiteX878" fmla="*/ 3132682 w 7467600"/>
              <a:gd name="connsiteY878" fmla="*/ 1072284 h 6858000"/>
              <a:gd name="connsiteX879" fmla="*/ 2716346 w 7467600"/>
              <a:gd name="connsiteY879" fmla="*/ 1276376 h 6858000"/>
              <a:gd name="connsiteX880" fmla="*/ 2716772 w 7467600"/>
              <a:gd name="connsiteY880" fmla="*/ 1255462 h 6858000"/>
              <a:gd name="connsiteX881" fmla="*/ 3471096 w 7467600"/>
              <a:gd name="connsiteY881" fmla="*/ 437072 h 6858000"/>
              <a:gd name="connsiteX882" fmla="*/ 3639057 w 7467600"/>
              <a:gd name="connsiteY882" fmla="*/ 286334 h 6858000"/>
              <a:gd name="connsiteX883" fmla="*/ 3640309 w 7467600"/>
              <a:gd name="connsiteY883" fmla="*/ 284664 h 6858000"/>
              <a:gd name="connsiteX884" fmla="*/ 3646022 w 7467600"/>
              <a:gd name="connsiteY884" fmla="*/ 276711 h 6858000"/>
              <a:gd name="connsiteX885" fmla="*/ 3707943 w 7467600"/>
              <a:gd name="connsiteY885" fmla="*/ 65958 h 6858000"/>
              <a:gd name="connsiteX886" fmla="*/ 3721337 w 7467600"/>
              <a:gd name="connsiteY886" fmla="*/ 0 h 6858000"/>
              <a:gd name="connsiteX887" fmla="*/ 2867960 w 7467600"/>
              <a:gd name="connsiteY887" fmla="*/ 0 h 6858000"/>
              <a:gd name="connsiteX888" fmla="*/ 2926351 w 7467600"/>
              <a:gd name="connsiteY888" fmla="*/ 0 h 6858000"/>
              <a:gd name="connsiteX889" fmla="*/ 2902823 w 7467600"/>
              <a:gd name="connsiteY889" fmla="*/ 262929 h 6858000"/>
              <a:gd name="connsiteX890" fmla="*/ 2940663 w 7467600"/>
              <a:gd name="connsiteY890" fmla="*/ 140884 h 6858000"/>
              <a:gd name="connsiteX891" fmla="*/ 2947039 w 7467600"/>
              <a:gd name="connsiteY891" fmla="*/ 122524 h 6858000"/>
              <a:gd name="connsiteX892" fmla="*/ 2984316 w 7467600"/>
              <a:gd name="connsiteY892" fmla="*/ 0 h 6858000"/>
              <a:gd name="connsiteX893" fmla="*/ 3016114 w 7467600"/>
              <a:gd name="connsiteY893" fmla="*/ 0 h 6858000"/>
              <a:gd name="connsiteX894" fmla="*/ 2979949 w 7467600"/>
              <a:gd name="connsiteY894" fmla="*/ 119274 h 6858000"/>
              <a:gd name="connsiteX895" fmla="*/ 3023879 w 7467600"/>
              <a:gd name="connsiteY895" fmla="*/ 0 h 6858000"/>
              <a:gd name="connsiteX896" fmla="*/ 3105400 w 7467600"/>
              <a:gd name="connsiteY896" fmla="*/ 0 h 6858000"/>
              <a:gd name="connsiteX897" fmla="*/ 3094669 w 7467600"/>
              <a:gd name="connsiteY897" fmla="*/ 30308 h 6858000"/>
              <a:gd name="connsiteX898" fmla="*/ 2901945 w 7467600"/>
              <a:gd name="connsiteY898" fmla="*/ 466538 h 6858000"/>
              <a:gd name="connsiteX899" fmla="*/ 2815209 w 7467600"/>
              <a:gd name="connsiteY899" fmla="*/ 497361 h 6858000"/>
              <a:gd name="connsiteX900" fmla="*/ 2844845 w 7467600"/>
              <a:gd name="connsiteY900" fmla="*/ 127638 h 6858000"/>
              <a:gd name="connsiteX901" fmla="*/ 2867960 w 7467600"/>
              <a:gd name="connsiteY901" fmla="*/ 0 h 6858000"/>
              <a:gd name="connsiteX902" fmla="*/ 1057230 w 7467600"/>
              <a:gd name="connsiteY902" fmla="*/ 0 h 6858000"/>
              <a:gd name="connsiteX903" fmla="*/ 1111003 w 7467600"/>
              <a:gd name="connsiteY903" fmla="*/ 0 h 6858000"/>
              <a:gd name="connsiteX904" fmla="*/ 1125553 w 7467600"/>
              <a:gd name="connsiteY904" fmla="*/ 52588 h 6858000"/>
              <a:gd name="connsiteX905" fmla="*/ 1304276 w 7467600"/>
              <a:gd name="connsiteY905" fmla="*/ 476275 h 6858000"/>
              <a:gd name="connsiteX906" fmla="*/ 1492066 w 7467600"/>
              <a:gd name="connsiteY906" fmla="*/ 886333 h 6858000"/>
              <a:gd name="connsiteX907" fmla="*/ 1423698 w 7467600"/>
              <a:gd name="connsiteY907" fmla="*/ 710817 h 6858000"/>
              <a:gd name="connsiteX908" fmla="*/ 1357609 w 7467600"/>
              <a:gd name="connsiteY908" fmla="*/ 532892 h 6858000"/>
              <a:gd name="connsiteX909" fmla="*/ 1309550 w 7467600"/>
              <a:gd name="connsiteY909" fmla="*/ 374031 h 6858000"/>
              <a:gd name="connsiteX910" fmla="*/ 1193673 w 7467600"/>
              <a:gd name="connsiteY910" fmla="*/ 49533 h 6858000"/>
              <a:gd name="connsiteX911" fmla="*/ 1164391 w 7467600"/>
              <a:gd name="connsiteY911" fmla="*/ 0 h 6858000"/>
              <a:gd name="connsiteX912" fmla="*/ 1200666 w 7467600"/>
              <a:gd name="connsiteY912" fmla="*/ 0 h 6858000"/>
              <a:gd name="connsiteX913" fmla="*/ 1223408 w 7467600"/>
              <a:gd name="connsiteY913" fmla="*/ 38996 h 6858000"/>
              <a:gd name="connsiteX914" fmla="*/ 1339635 w 7467600"/>
              <a:gd name="connsiteY914" fmla="*/ 365517 h 6858000"/>
              <a:gd name="connsiteX915" fmla="*/ 1387469 w 7467600"/>
              <a:gd name="connsiteY915" fmla="*/ 523079 h 6858000"/>
              <a:gd name="connsiteX916" fmla="*/ 1452685 w 7467600"/>
              <a:gd name="connsiteY916" fmla="*/ 699806 h 6858000"/>
              <a:gd name="connsiteX917" fmla="*/ 1492092 w 7467600"/>
              <a:gd name="connsiteY917" fmla="*/ 800424 h 6858000"/>
              <a:gd name="connsiteX918" fmla="*/ 1455302 w 7467600"/>
              <a:gd name="connsiteY918" fmla="*/ 632913 h 6858000"/>
              <a:gd name="connsiteX919" fmla="*/ 1222336 w 7467600"/>
              <a:gd name="connsiteY919" fmla="*/ 9480 h 6858000"/>
              <a:gd name="connsiteX920" fmla="*/ 1214634 w 7467600"/>
              <a:gd name="connsiteY920" fmla="*/ 0 h 6858000"/>
              <a:gd name="connsiteX921" fmla="*/ 1289827 w 7467600"/>
              <a:gd name="connsiteY921" fmla="*/ 0 h 6858000"/>
              <a:gd name="connsiteX922" fmla="*/ 1321076 w 7467600"/>
              <a:gd name="connsiteY922" fmla="*/ 59722 h 6858000"/>
              <a:gd name="connsiteX923" fmla="*/ 1512579 w 7467600"/>
              <a:gd name="connsiteY923" fmla="*/ 626441 h 6858000"/>
              <a:gd name="connsiteX924" fmla="*/ 1506076 w 7467600"/>
              <a:gd name="connsiteY924" fmla="*/ 1089289 h 6858000"/>
              <a:gd name="connsiteX925" fmla="*/ 1486346 w 7467600"/>
              <a:gd name="connsiteY925" fmla="*/ 1079919 h 6858000"/>
              <a:gd name="connsiteX926" fmla="*/ 1070511 w 7467600"/>
              <a:gd name="connsiteY926" fmla="*/ 48609 h 6858000"/>
              <a:gd name="connsiteX927" fmla="*/ 1057230 w 7467600"/>
              <a:gd name="connsiteY927" fmla="*/ 0 h 6858000"/>
              <a:gd name="connsiteX928" fmla="*/ 43151 w 7467600"/>
              <a:gd name="connsiteY928" fmla="*/ 0 h 6858000"/>
              <a:gd name="connsiteX929" fmla="*/ 95283 w 7467600"/>
              <a:gd name="connsiteY929" fmla="*/ 0 h 6858000"/>
              <a:gd name="connsiteX930" fmla="*/ 300708 w 7467600"/>
              <a:gd name="connsiteY930" fmla="*/ 154571 h 6858000"/>
              <a:gd name="connsiteX931" fmla="*/ 530414 w 7467600"/>
              <a:gd name="connsiteY931" fmla="*/ 354673 h 6858000"/>
              <a:gd name="connsiteX932" fmla="*/ 333785 w 7467600"/>
              <a:gd name="connsiteY932" fmla="*/ 161564 h 6858000"/>
              <a:gd name="connsiteX933" fmla="*/ 147005 w 7467600"/>
              <a:gd name="connsiteY933" fmla="*/ 0 h 6858000"/>
              <a:gd name="connsiteX934" fmla="*/ 272509 w 7467600"/>
              <a:gd name="connsiteY934" fmla="*/ 0 h 6858000"/>
              <a:gd name="connsiteX935" fmla="*/ 326276 w 7467600"/>
              <a:gd name="connsiteY935" fmla="*/ 45847 h 6858000"/>
              <a:gd name="connsiteX936" fmla="*/ 823759 w 7467600"/>
              <a:gd name="connsiteY936" fmla="*/ 574145 h 6858000"/>
              <a:gd name="connsiteX937" fmla="*/ 811254 w 7467600"/>
              <a:gd name="connsiteY937" fmla="*/ 665546 h 6858000"/>
              <a:gd name="connsiteX938" fmla="*/ 154042 w 7467600"/>
              <a:gd name="connsiteY938" fmla="*/ 261522 h 6858000"/>
              <a:gd name="connsiteX939" fmla="*/ 13550 w 7467600"/>
              <a:gd name="connsiteY939" fmla="*/ 158423 h 6858000"/>
              <a:gd name="connsiteX940" fmla="*/ 0 w 7467600"/>
              <a:gd name="connsiteY940" fmla="*/ 146618 h 6858000"/>
              <a:gd name="connsiteX941" fmla="*/ 0 w 7467600"/>
              <a:gd name="connsiteY941" fmla="*/ 59161 h 6858000"/>
              <a:gd name="connsiteX942" fmla="*/ 45427 w 7467600"/>
              <a:gd name="connsiteY942" fmla="*/ 101078 h 6858000"/>
              <a:gd name="connsiteX943" fmla="*/ 630103 w 7467600"/>
              <a:gd name="connsiteY943" fmla="*/ 485885 h 6858000"/>
              <a:gd name="connsiteX944" fmla="*/ 532040 w 7467600"/>
              <a:gd name="connsiteY944" fmla="*/ 399359 h 6858000"/>
              <a:gd name="connsiteX945" fmla="*/ 517618 w 7467600"/>
              <a:gd name="connsiteY945" fmla="*/ 385726 h 6858000"/>
              <a:gd name="connsiteX946" fmla="*/ 285074 w 7467600"/>
              <a:gd name="connsiteY946" fmla="*/ 182755 h 6858000"/>
              <a:gd name="connsiteX947" fmla="*/ 43151 w 7467600"/>
              <a:gd name="connsiteY947"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467600 w 7467600"/>
              <a:gd name="connsiteY4" fmla="*/ 6736157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7467600 w 7467600"/>
              <a:gd name="connsiteY14" fmla="*/ 6736157 h 6858000"/>
              <a:gd name="connsiteX15" fmla="*/ 1019354 w 7467600"/>
              <a:gd name="connsiteY15" fmla="*/ 6315006 h 6858000"/>
              <a:gd name="connsiteX16" fmla="*/ 441046 w 7467600"/>
              <a:gd name="connsiteY16" fmla="*/ 6691153 h 6858000"/>
              <a:gd name="connsiteX17" fmla="*/ 1019354 w 7467600"/>
              <a:gd name="connsiteY17" fmla="*/ 6315006 h 6858000"/>
              <a:gd name="connsiteX18" fmla="*/ 991680 w 7467600"/>
              <a:gd name="connsiteY18" fmla="*/ 6298413 h 6858000"/>
              <a:gd name="connsiteX19" fmla="*/ 409060 w 7467600"/>
              <a:gd name="connsiteY19" fmla="*/ 6671470 h 6858000"/>
              <a:gd name="connsiteX20" fmla="*/ 991680 w 7467600"/>
              <a:gd name="connsiteY20" fmla="*/ 6298413 h 6858000"/>
              <a:gd name="connsiteX21" fmla="*/ 103333 w 7467600"/>
              <a:gd name="connsiteY21" fmla="*/ 5699602 h 6858000"/>
              <a:gd name="connsiteX22" fmla="*/ 233938 w 7467600"/>
              <a:gd name="connsiteY22" fmla="*/ 5809416 h 6858000"/>
              <a:gd name="connsiteX23" fmla="*/ 883580 w 7467600"/>
              <a:gd name="connsiteY23" fmla="*/ 6180710 h 6858000"/>
              <a:gd name="connsiteX24" fmla="*/ 487337 w 7467600"/>
              <a:gd name="connsiteY24" fmla="*/ 5950182 h 6858000"/>
              <a:gd name="connsiteX25" fmla="*/ 354051 w 7467600"/>
              <a:gd name="connsiteY25" fmla="*/ 5854912 h 6858000"/>
              <a:gd name="connsiteX26" fmla="*/ 195436 w 7467600"/>
              <a:gd name="connsiteY26" fmla="*/ 5755068 h 6858000"/>
              <a:gd name="connsiteX27" fmla="*/ 103333 w 7467600"/>
              <a:gd name="connsiteY27" fmla="*/ 5699602 h 6858000"/>
              <a:gd name="connsiteX28" fmla="*/ 5539432 w 7467600"/>
              <a:gd name="connsiteY28" fmla="*/ 5642928 h 6858000"/>
              <a:gd name="connsiteX29" fmla="*/ 5555462 w 7467600"/>
              <a:gd name="connsiteY29" fmla="*/ 5694454 h 6858000"/>
              <a:gd name="connsiteX30" fmla="*/ 5828270 w 7467600"/>
              <a:gd name="connsiteY30" fmla="*/ 6320663 h 6858000"/>
              <a:gd name="connsiteX31" fmla="*/ 5947416 w 7467600"/>
              <a:gd name="connsiteY31" fmla="*/ 6574846 h 6858000"/>
              <a:gd name="connsiteX32" fmla="*/ 5539432 w 7467600"/>
              <a:gd name="connsiteY32" fmla="*/ 5642928 h 6858000"/>
              <a:gd name="connsiteX33" fmla="*/ 51253 w 7467600"/>
              <a:gd name="connsiteY33" fmla="*/ 5631825 h 6858000"/>
              <a:gd name="connsiteX34" fmla="*/ 211622 w 7467600"/>
              <a:gd name="connsiteY34" fmla="*/ 5728803 h 6858000"/>
              <a:gd name="connsiteX35" fmla="*/ 371652 w 7467600"/>
              <a:gd name="connsiteY35" fmla="*/ 5829062 h 6858000"/>
              <a:gd name="connsiteX36" fmla="*/ 505903 w 7467600"/>
              <a:gd name="connsiteY36" fmla="*/ 5925221 h 6858000"/>
              <a:gd name="connsiteX37" fmla="*/ 899240 w 7467600"/>
              <a:gd name="connsiteY37" fmla="*/ 6153068 h 6858000"/>
              <a:gd name="connsiteX38" fmla="*/ 988114 w 7467600"/>
              <a:gd name="connsiteY38" fmla="*/ 6174204 h 6858000"/>
              <a:gd name="connsiteX39" fmla="*/ 845971 w 7467600"/>
              <a:gd name="connsiteY39" fmla="*/ 6067177 h 6858000"/>
              <a:gd name="connsiteX40" fmla="*/ 448057 w 7467600"/>
              <a:gd name="connsiteY40" fmla="*/ 5841376 h 6858000"/>
              <a:gd name="connsiteX41" fmla="*/ 51253 w 7467600"/>
              <a:gd name="connsiteY41" fmla="*/ 5631825 h 6858000"/>
              <a:gd name="connsiteX42" fmla="*/ 2606687 w 7467600"/>
              <a:gd name="connsiteY42" fmla="*/ 5630718 h 6858000"/>
              <a:gd name="connsiteX43" fmla="*/ 2645658 w 7467600"/>
              <a:gd name="connsiteY43" fmla="*/ 6640259 h 6858000"/>
              <a:gd name="connsiteX44" fmla="*/ 2606687 w 7467600"/>
              <a:gd name="connsiteY44" fmla="*/ 5630718 h 6858000"/>
              <a:gd name="connsiteX45" fmla="*/ 3642057 w 7467600"/>
              <a:gd name="connsiteY45" fmla="*/ 5573487 h 6858000"/>
              <a:gd name="connsiteX46" fmla="*/ 3632981 w 7467600"/>
              <a:gd name="connsiteY46" fmla="*/ 5579437 h 6858000"/>
              <a:gd name="connsiteX47" fmla="*/ 3382436 w 7467600"/>
              <a:gd name="connsiteY47" fmla="*/ 5952726 h 6858000"/>
              <a:gd name="connsiteX48" fmla="*/ 3191929 w 7467600"/>
              <a:gd name="connsiteY48" fmla="*/ 6662669 h 6858000"/>
              <a:gd name="connsiteX49" fmla="*/ 3369898 w 7467600"/>
              <a:gd name="connsiteY49" fmla="*/ 6081771 h 6858000"/>
              <a:gd name="connsiteX50" fmla="*/ 3642057 w 7467600"/>
              <a:gd name="connsiteY50" fmla="*/ 5573487 h 6858000"/>
              <a:gd name="connsiteX51" fmla="*/ 2650666 w 7467600"/>
              <a:gd name="connsiteY51" fmla="*/ 5530686 h 6858000"/>
              <a:gd name="connsiteX52" fmla="*/ 2650249 w 7467600"/>
              <a:gd name="connsiteY52" fmla="*/ 5532101 h 6858000"/>
              <a:gd name="connsiteX53" fmla="*/ 2663808 w 7467600"/>
              <a:gd name="connsiteY53" fmla="*/ 6535215 h 6858000"/>
              <a:gd name="connsiteX54" fmla="*/ 2665418 w 7467600"/>
              <a:gd name="connsiteY54" fmla="*/ 6132756 h 6858000"/>
              <a:gd name="connsiteX55" fmla="*/ 2650666 w 7467600"/>
              <a:gd name="connsiteY55" fmla="*/ 5530686 h 6858000"/>
              <a:gd name="connsiteX56" fmla="*/ 2680277 w 7467600"/>
              <a:gd name="connsiteY56" fmla="*/ 5479204 h 6858000"/>
              <a:gd name="connsiteX57" fmla="*/ 2678972 w 7467600"/>
              <a:gd name="connsiteY57" fmla="*/ 5481582 h 6858000"/>
              <a:gd name="connsiteX58" fmla="*/ 2696666 w 7467600"/>
              <a:gd name="connsiteY58" fmla="*/ 6133836 h 6858000"/>
              <a:gd name="connsiteX59" fmla="*/ 2695769 w 7467600"/>
              <a:gd name="connsiteY59" fmla="*/ 6390955 h 6858000"/>
              <a:gd name="connsiteX60" fmla="*/ 2739893 w 7467600"/>
              <a:gd name="connsiteY60" fmla="*/ 6108357 h 6858000"/>
              <a:gd name="connsiteX61" fmla="*/ 2680277 w 7467600"/>
              <a:gd name="connsiteY61" fmla="*/ 5479204 h 6858000"/>
              <a:gd name="connsiteX62" fmla="*/ 1132195 w 7467600"/>
              <a:gd name="connsiteY62" fmla="*/ 5467980 h 6858000"/>
              <a:gd name="connsiteX63" fmla="*/ 1679056 w 7467600"/>
              <a:gd name="connsiteY63" fmla="*/ 5516907 h 6858000"/>
              <a:gd name="connsiteX64" fmla="*/ 2128648 w 7467600"/>
              <a:gd name="connsiteY64" fmla="*/ 5474249 h 6858000"/>
              <a:gd name="connsiteX65" fmla="*/ 1825619 w 7467600"/>
              <a:gd name="connsiteY65" fmla="*/ 5478447 h 6858000"/>
              <a:gd name="connsiteX66" fmla="*/ 1737798 w 7467600"/>
              <a:gd name="connsiteY66" fmla="*/ 5483353 h 6858000"/>
              <a:gd name="connsiteX67" fmla="*/ 1132195 w 7467600"/>
              <a:gd name="connsiteY67" fmla="*/ 5467980 h 6858000"/>
              <a:gd name="connsiteX68" fmla="*/ 1456157 w 7467600"/>
              <a:gd name="connsiteY68" fmla="*/ 5371404 h 6858000"/>
              <a:gd name="connsiteX69" fmla="*/ 1244432 w 7467600"/>
              <a:gd name="connsiteY69" fmla="*/ 5385601 h 6858000"/>
              <a:gd name="connsiteX70" fmla="*/ 973990 w 7467600"/>
              <a:gd name="connsiteY70" fmla="*/ 5424940 h 6858000"/>
              <a:gd name="connsiteX71" fmla="*/ 1103809 w 7467600"/>
              <a:gd name="connsiteY71" fmla="*/ 5433720 h 6858000"/>
              <a:gd name="connsiteX72" fmla="*/ 1123454 w 7467600"/>
              <a:gd name="connsiteY72" fmla="*/ 5435727 h 6858000"/>
              <a:gd name="connsiteX73" fmla="*/ 1737017 w 7467600"/>
              <a:gd name="connsiteY73" fmla="*/ 5452183 h 6858000"/>
              <a:gd name="connsiteX74" fmla="*/ 1824397 w 7467600"/>
              <a:gd name="connsiteY74" fmla="*/ 5447757 h 6858000"/>
              <a:gd name="connsiteX75" fmla="*/ 2070059 w 7467600"/>
              <a:gd name="connsiteY75" fmla="*/ 5441660 h 6858000"/>
              <a:gd name="connsiteX76" fmla="*/ 1456157 w 7467600"/>
              <a:gd name="connsiteY76" fmla="*/ 5371404 h 6858000"/>
              <a:gd name="connsiteX77" fmla="*/ 4988186 w 7467600"/>
              <a:gd name="connsiteY77" fmla="*/ 5216467 h 6858000"/>
              <a:gd name="connsiteX78" fmla="*/ 4777334 w 7467600"/>
              <a:gd name="connsiteY78" fmla="*/ 5406072 h 6858000"/>
              <a:gd name="connsiteX79" fmla="*/ 4718341 w 7467600"/>
              <a:gd name="connsiteY79" fmla="*/ 5468043 h 6858000"/>
              <a:gd name="connsiteX80" fmla="*/ 4604655 w 7467600"/>
              <a:gd name="connsiteY80" fmla="*/ 5583434 h 6858000"/>
              <a:gd name="connsiteX81" fmla="*/ 4565074 w 7467600"/>
              <a:gd name="connsiteY81" fmla="*/ 5618550 h 6858000"/>
              <a:gd name="connsiteX82" fmla="*/ 4988186 w 7467600"/>
              <a:gd name="connsiteY82" fmla="*/ 5216467 h 6858000"/>
              <a:gd name="connsiteX83" fmla="*/ 4978032 w 7467600"/>
              <a:gd name="connsiteY83" fmla="*/ 5183809 h 6858000"/>
              <a:gd name="connsiteX84" fmla="*/ 4463413 w 7467600"/>
              <a:gd name="connsiteY84" fmla="*/ 5615162 h 6858000"/>
              <a:gd name="connsiteX85" fmla="*/ 4358134 w 7467600"/>
              <a:gd name="connsiteY85" fmla="*/ 5742791 h 6858000"/>
              <a:gd name="connsiteX86" fmla="*/ 4376219 w 7467600"/>
              <a:gd name="connsiteY86" fmla="*/ 5729027 h 6858000"/>
              <a:gd name="connsiteX87" fmla="*/ 4582340 w 7467600"/>
              <a:gd name="connsiteY87" fmla="*/ 5561037 h 6858000"/>
              <a:gd name="connsiteX88" fmla="*/ 4694684 w 7467600"/>
              <a:gd name="connsiteY88" fmla="*/ 5447098 h 6858000"/>
              <a:gd name="connsiteX89" fmla="*/ 4754123 w 7467600"/>
              <a:gd name="connsiteY89" fmla="*/ 5384643 h 6858000"/>
              <a:gd name="connsiteX90" fmla="*/ 4978032 w 7467600"/>
              <a:gd name="connsiteY90" fmla="*/ 5183809 h 6858000"/>
              <a:gd name="connsiteX91" fmla="*/ 1903353 w 7467600"/>
              <a:gd name="connsiteY91" fmla="*/ 5044827 h 6858000"/>
              <a:gd name="connsiteX92" fmla="*/ 1936931 w 7467600"/>
              <a:gd name="connsiteY92" fmla="*/ 5093954 h 6858000"/>
              <a:gd name="connsiteX93" fmla="*/ 2195868 w 7467600"/>
              <a:gd name="connsiteY93" fmla="*/ 5396574 h 6858000"/>
              <a:gd name="connsiteX94" fmla="*/ 2088852 w 7467600"/>
              <a:gd name="connsiteY94" fmla="*/ 5166123 h 6858000"/>
              <a:gd name="connsiteX95" fmla="*/ 1958241 w 7467600"/>
              <a:gd name="connsiteY95" fmla="*/ 5067955 h 6858000"/>
              <a:gd name="connsiteX96" fmla="*/ 1903353 w 7467600"/>
              <a:gd name="connsiteY96" fmla="*/ 5044827 h 6858000"/>
              <a:gd name="connsiteX97" fmla="*/ 1979378 w 7467600"/>
              <a:gd name="connsiteY97" fmla="*/ 4769504 h 6858000"/>
              <a:gd name="connsiteX98" fmla="*/ 2882120 w 7467600"/>
              <a:gd name="connsiteY98" fmla="*/ 5064547 h 6858000"/>
              <a:gd name="connsiteX99" fmla="*/ 2793103 w 7467600"/>
              <a:gd name="connsiteY99" fmla="*/ 5039699 h 6858000"/>
              <a:gd name="connsiteX100" fmla="*/ 2770041 w 7467600"/>
              <a:gd name="connsiteY100" fmla="*/ 5033634 h 6858000"/>
              <a:gd name="connsiteX101" fmla="*/ 1979378 w 7467600"/>
              <a:gd name="connsiteY101" fmla="*/ 4769504 h 6858000"/>
              <a:gd name="connsiteX102" fmla="*/ 1927410 w 7467600"/>
              <a:gd name="connsiteY102" fmla="*/ 4716164 h 6858000"/>
              <a:gd name="connsiteX103" fmla="*/ 1959587 w 7467600"/>
              <a:gd name="connsiteY103" fmla="*/ 4728849 h 6858000"/>
              <a:gd name="connsiteX104" fmla="*/ 2777707 w 7467600"/>
              <a:gd name="connsiteY104" fmla="*/ 5003991 h 6858000"/>
              <a:gd name="connsiteX105" fmla="*/ 2800768 w 7467600"/>
              <a:gd name="connsiteY105" fmla="*/ 5010056 h 6858000"/>
              <a:gd name="connsiteX106" fmla="*/ 2879408 w 7467600"/>
              <a:gd name="connsiteY106" fmla="*/ 5031590 h 6858000"/>
              <a:gd name="connsiteX107" fmla="*/ 2862295 w 7467600"/>
              <a:gd name="connsiteY107" fmla="*/ 5022958 h 6858000"/>
              <a:gd name="connsiteX108" fmla="*/ 2813343 w 7467600"/>
              <a:gd name="connsiteY108" fmla="*/ 4998369 h 6858000"/>
              <a:gd name="connsiteX109" fmla="*/ 2646245 w 7467600"/>
              <a:gd name="connsiteY109" fmla="*/ 4930999 h 6858000"/>
              <a:gd name="connsiteX110" fmla="*/ 1999243 w 7467600"/>
              <a:gd name="connsiteY110" fmla="*/ 4730524 h 6858000"/>
              <a:gd name="connsiteX111" fmla="*/ 1979527 w 7467600"/>
              <a:gd name="connsiteY111" fmla="*/ 4726651 h 6858000"/>
              <a:gd name="connsiteX112" fmla="*/ 1927410 w 7467600"/>
              <a:gd name="connsiteY112" fmla="*/ 4716164 h 6858000"/>
              <a:gd name="connsiteX113" fmla="*/ 1997014 w 7467600"/>
              <a:gd name="connsiteY113" fmla="*/ 4698007 h 6858000"/>
              <a:gd name="connsiteX114" fmla="*/ 2005458 w 7467600"/>
              <a:gd name="connsiteY114" fmla="*/ 4699540 h 6858000"/>
              <a:gd name="connsiteX115" fmla="*/ 2657186 w 7467600"/>
              <a:gd name="connsiteY115" fmla="*/ 4901687 h 6858000"/>
              <a:gd name="connsiteX116" fmla="*/ 2826662 w 7467600"/>
              <a:gd name="connsiteY116" fmla="*/ 4970362 h 6858000"/>
              <a:gd name="connsiteX117" fmla="*/ 2876100 w 7467600"/>
              <a:gd name="connsiteY117" fmla="*/ 4995397 h 6858000"/>
              <a:gd name="connsiteX118" fmla="*/ 3042600 w 7467600"/>
              <a:gd name="connsiteY118" fmla="*/ 5059532 h 6858000"/>
              <a:gd name="connsiteX119" fmla="*/ 1997014 w 7467600"/>
              <a:gd name="connsiteY119" fmla="*/ 4698007 h 6858000"/>
              <a:gd name="connsiteX120" fmla="*/ 2305292 w 7467600"/>
              <a:gd name="connsiteY120" fmla="*/ 4219492 h 6858000"/>
              <a:gd name="connsiteX121" fmla="*/ 3360922 w 7467600"/>
              <a:gd name="connsiteY121" fmla="*/ 4529373 h 6858000"/>
              <a:gd name="connsiteX122" fmla="*/ 3492420 w 7467600"/>
              <a:gd name="connsiteY122" fmla="*/ 4510145 h 6858000"/>
              <a:gd name="connsiteX123" fmla="*/ 3364086 w 7467600"/>
              <a:gd name="connsiteY123" fmla="*/ 4480340 h 6858000"/>
              <a:gd name="connsiteX124" fmla="*/ 3225818 w 7467600"/>
              <a:gd name="connsiteY124" fmla="*/ 4411822 h 6858000"/>
              <a:gd name="connsiteX125" fmla="*/ 3129696 w 7467600"/>
              <a:gd name="connsiteY125" fmla="*/ 4360704 h 6858000"/>
              <a:gd name="connsiteX126" fmla="*/ 2814545 w 7467600"/>
              <a:gd name="connsiteY126" fmla="*/ 4282955 h 6858000"/>
              <a:gd name="connsiteX127" fmla="*/ 2305292 w 7467600"/>
              <a:gd name="connsiteY127" fmla="*/ 4219492 h 6858000"/>
              <a:gd name="connsiteX128" fmla="*/ 2626982 w 7467600"/>
              <a:gd name="connsiteY128" fmla="*/ 4206450 h 6858000"/>
              <a:gd name="connsiteX129" fmla="*/ 2490617 w 7467600"/>
              <a:gd name="connsiteY129" fmla="*/ 4206951 h 6858000"/>
              <a:gd name="connsiteX130" fmla="*/ 2819869 w 7467600"/>
              <a:gd name="connsiteY130" fmla="*/ 4252936 h 6858000"/>
              <a:gd name="connsiteX131" fmla="*/ 3143018 w 7467600"/>
              <a:gd name="connsiteY131" fmla="*/ 4332698 h 6858000"/>
              <a:gd name="connsiteX132" fmla="*/ 3241520 w 7467600"/>
              <a:gd name="connsiteY132" fmla="*/ 4385112 h 6858000"/>
              <a:gd name="connsiteX133" fmla="*/ 3374575 w 7467600"/>
              <a:gd name="connsiteY133" fmla="*/ 4451517 h 6858000"/>
              <a:gd name="connsiteX134" fmla="*/ 3505221 w 7467600"/>
              <a:gd name="connsiteY134" fmla="*/ 4480757 h 6858000"/>
              <a:gd name="connsiteX135" fmla="*/ 2626982 w 7467600"/>
              <a:gd name="connsiteY135" fmla="*/ 4206450 h 6858000"/>
              <a:gd name="connsiteX136" fmla="*/ 1310106 w 7467600"/>
              <a:gd name="connsiteY136" fmla="*/ 3943217 h 6858000"/>
              <a:gd name="connsiteX137" fmla="*/ 854994 w 7467600"/>
              <a:gd name="connsiteY137" fmla="*/ 4399136 h 6858000"/>
              <a:gd name="connsiteX138" fmla="*/ 742462 w 7467600"/>
              <a:gd name="connsiteY138" fmla="*/ 4594648 h 6858000"/>
              <a:gd name="connsiteX139" fmla="*/ 820602 w 7467600"/>
              <a:gd name="connsiteY139" fmla="*/ 4485915 h 6858000"/>
              <a:gd name="connsiteX140" fmla="*/ 878295 w 7467600"/>
              <a:gd name="connsiteY140" fmla="*/ 4403594 h 6858000"/>
              <a:gd name="connsiteX141" fmla="*/ 1240607 w 7467600"/>
              <a:gd name="connsiteY141" fmla="*/ 4010401 h 6858000"/>
              <a:gd name="connsiteX142" fmla="*/ 1310106 w 7467600"/>
              <a:gd name="connsiteY142" fmla="*/ 3943217 h 6858000"/>
              <a:gd name="connsiteX143" fmla="*/ 1423113 w 7467600"/>
              <a:gd name="connsiteY143" fmla="*/ 3874565 h 6858000"/>
              <a:gd name="connsiteX144" fmla="*/ 1260565 w 7467600"/>
              <a:gd name="connsiteY144" fmla="*/ 4031982 h 6858000"/>
              <a:gd name="connsiteX145" fmla="*/ 901900 w 7467600"/>
              <a:gd name="connsiteY145" fmla="*/ 4421236 h 6858000"/>
              <a:gd name="connsiteX146" fmla="*/ 845044 w 7467600"/>
              <a:gd name="connsiteY146" fmla="*/ 4502436 h 6858000"/>
              <a:gd name="connsiteX147" fmla="*/ 685926 w 7467600"/>
              <a:gd name="connsiteY147" fmla="*/ 4703069 h 6858000"/>
              <a:gd name="connsiteX148" fmla="*/ 684248 w 7467600"/>
              <a:gd name="connsiteY148" fmla="*/ 4706721 h 6858000"/>
              <a:gd name="connsiteX149" fmla="*/ 1423113 w 7467600"/>
              <a:gd name="connsiteY149" fmla="*/ 3874565 h 6858000"/>
              <a:gd name="connsiteX150" fmla="*/ 3316479 w 7467600"/>
              <a:gd name="connsiteY150" fmla="*/ 3872136 h 6858000"/>
              <a:gd name="connsiteX151" fmla="*/ 3546806 w 7467600"/>
              <a:gd name="connsiteY151" fmla="*/ 4356139 h 6858000"/>
              <a:gd name="connsiteX152" fmla="*/ 3364433 w 7467600"/>
              <a:gd name="connsiteY152" fmla="*/ 3953121 h 6858000"/>
              <a:gd name="connsiteX153" fmla="*/ 3316479 w 7467600"/>
              <a:gd name="connsiteY153" fmla="*/ 3872136 h 6858000"/>
              <a:gd name="connsiteX154" fmla="*/ 3291335 w 7467600"/>
              <a:gd name="connsiteY154" fmla="*/ 3767420 h 6858000"/>
              <a:gd name="connsiteX155" fmla="*/ 3390805 w 7467600"/>
              <a:gd name="connsiteY155" fmla="*/ 3937163 h 6858000"/>
              <a:gd name="connsiteX156" fmla="*/ 3579062 w 7467600"/>
              <a:gd name="connsiteY156" fmla="*/ 4359040 h 6858000"/>
              <a:gd name="connsiteX157" fmla="*/ 3467355 w 7467600"/>
              <a:gd name="connsiteY157" fmla="*/ 3988130 h 6858000"/>
              <a:gd name="connsiteX158" fmla="*/ 3310753 w 7467600"/>
              <a:gd name="connsiteY158" fmla="*/ 3787140 h 6858000"/>
              <a:gd name="connsiteX159" fmla="*/ 3291335 w 7467600"/>
              <a:gd name="connsiteY159" fmla="*/ 3767420 h 6858000"/>
              <a:gd name="connsiteX160" fmla="*/ 1635889 w 7467600"/>
              <a:gd name="connsiteY160" fmla="*/ 3709494 h 6858000"/>
              <a:gd name="connsiteX161" fmla="*/ 1634800 w 7467600"/>
              <a:gd name="connsiteY161" fmla="*/ 3731111 h 6858000"/>
              <a:gd name="connsiteX162" fmla="*/ 1635889 w 7467600"/>
              <a:gd name="connsiteY162" fmla="*/ 3709494 h 6858000"/>
              <a:gd name="connsiteX163" fmla="*/ 1510397 w 7467600"/>
              <a:gd name="connsiteY163" fmla="*/ 3684705 h 6858000"/>
              <a:gd name="connsiteX164" fmla="*/ 1146550 w 7467600"/>
              <a:gd name="connsiteY164" fmla="*/ 3802012 h 6858000"/>
              <a:gd name="connsiteX165" fmla="*/ 698834 w 7467600"/>
              <a:gd name="connsiteY165" fmla="*/ 3952272 h 6858000"/>
              <a:gd name="connsiteX166" fmla="*/ 34256 w 7467600"/>
              <a:gd name="connsiteY166" fmla="*/ 4347603 h 6858000"/>
              <a:gd name="connsiteX167" fmla="*/ 527241 w 7467600"/>
              <a:gd name="connsiteY167" fmla="*/ 4065078 h 6858000"/>
              <a:gd name="connsiteX168" fmla="*/ 1510397 w 7467600"/>
              <a:gd name="connsiteY168" fmla="*/ 3684705 h 6858000"/>
              <a:gd name="connsiteX169" fmla="*/ 1313114 w 7467600"/>
              <a:gd name="connsiteY169" fmla="*/ 3655216 h 6858000"/>
              <a:gd name="connsiteX170" fmla="*/ 1109304 w 7467600"/>
              <a:gd name="connsiteY170" fmla="*/ 3669030 h 6858000"/>
              <a:gd name="connsiteX171" fmla="*/ 8129 w 7467600"/>
              <a:gd name="connsiteY171" fmla="*/ 4330519 h 6858000"/>
              <a:gd name="connsiteX172" fmla="*/ 687572 w 7467600"/>
              <a:gd name="connsiteY172" fmla="*/ 3925629 h 6858000"/>
              <a:gd name="connsiteX173" fmla="*/ 1138365 w 7467600"/>
              <a:gd name="connsiteY173" fmla="*/ 3774515 h 6858000"/>
              <a:gd name="connsiteX174" fmla="*/ 1505579 w 7467600"/>
              <a:gd name="connsiteY174" fmla="*/ 3655526 h 6858000"/>
              <a:gd name="connsiteX175" fmla="*/ 1313114 w 7467600"/>
              <a:gd name="connsiteY175" fmla="*/ 3655216 h 6858000"/>
              <a:gd name="connsiteX176" fmla="*/ 3655073 w 7467600"/>
              <a:gd name="connsiteY176" fmla="*/ 3650884 h 6858000"/>
              <a:gd name="connsiteX177" fmla="*/ 3989938 w 7467600"/>
              <a:gd name="connsiteY177" fmla="*/ 3991685 h 6858000"/>
              <a:gd name="connsiteX178" fmla="*/ 4393907 w 7467600"/>
              <a:gd name="connsiteY178" fmla="*/ 4261258 h 6858000"/>
              <a:gd name="connsiteX179" fmla="*/ 4648051 w 7467600"/>
              <a:gd name="connsiteY179" fmla="*/ 4374051 h 6858000"/>
              <a:gd name="connsiteX180" fmla="*/ 4383389 w 7467600"/>
              <a:gd name="connsiteY180" fmla="*/ 4184369 h 6858000"/>
              <a:gd name="connsiteX181" fmla="*/ 4165508 w 7467600"/>
              <a:gd name="connsiteY181" fmla="*/ 4035196 h 6858000"/>
              <a:gd name="connsiteX182" fmla="*/ 4068162 w 7467600"/>
              <a:gd name="connsiteY182" fmla="*/ 3953394 h 6858000"/>
              <a:gd name="connsiteX183" fmla="*/ 3981416 w 7467600"/>
              <a:gd name="connsiteY183" fmla="*/ 3880482 h 6858000"/>
              <a:gd name="connsiteX184" fmla="*/ 3800147 w 7467600"/>
              <a:gd name="connsiteY184" fmla="*/ 3749872 h 6858000"/>
              <a:gd name="connsiteX185" fmla="*/ 3655073 w 7467600"/>
              <a:gd name="connsiteY185" fmla="*/ 3650884 h 6858000"/>
              <a:gd name="connsiteX186" fmla="*/ 3670252 w 7467600"/>
              <a:gd name="connsiteY186" fmla="*/ 3622798 h 6858000"/>
              <a:gd name="connsiteX187" fmla="*/ 3817258 w 7467600"/>
              <a:gd name="connsiteY187" fmla="*/ 3723577 h 6858000"/>
              <a:gd name="connsiteX188" fmla="*/ 4000461 w 7467600"/>
              <a:gd name="connsiteY188" fmla="*/ 3855966 h 6858000"/>
              <a:gd name="connsiteX189" fmla="*/ 4088180 w 7467600"/>
              <a:gd name="connsiteY189" fmla="*/ 3929774 h 6858000"/>
              <a:gd name="connsiteX190" fmla="*/ 4184555 w 7467600"/>
              <a:gd name="connsiteY190" fmla="*/ 4010683 h 6858000"/>
              <a:gd name="connsiteX191" fmla="*/ 4399563 w 7467600"/>
              <a:gd name="connsiteY191" fmla="*/ 4158106 h 6858000"/>
              <a:gd name="connsiteX192" fmla="*/ 4684469 w 7467600"/>
              <a:gd name="connsiteY192" fmla="*/ 4364680 h 6858000"/>
              <a:gd name="connsiteX193" fmla="*/ 4690271 w 7467600"/>
              <a:gd name="connsiteY193" fmla="*/ 4370034 h 6858000"/>
              <a:gd name="connsiteX194" fmla="*/ 4136093 w 7467600"/>
              <a:gd name="connsiteY194" fmla="*/ 3858466 h 6858000"/>
              <a:gd name="connsiteX195" fmla="*/ 3670252 w 7467600"/>
              <a:gd name="connsiteY195" fmla="*/ 3622798 h 6858000"/>
              <a:gd name="connsiteX196" fmla="*/ 4440129 w 7467600"/>
              <a:gd name="connsiteY196" fmla="*/ 3448571 h 6858000"/>
              <a:gd name="connsiteX197" fmla="*/ 4856525 w 7467600"/>
              <a:gd name="connsiteY197" fmla="*/ 3915351 h 6858000"/>
              <a:gd name="connsiteX198" fmla="*/ 5059055 w 7467600"/>
              <a:gd name="connsiteY198" fmla="*/ 4108918 h 6858000"/>
              <a:gd name="connsiteX199" fmla="*/ 5290070 w 7467600"/>
              <a:gd name="connsiteY199" fmla="*/ 4263619 h 6858000"/>
              <a:gd name="connsiteX200" fmla="*/ 4834991 w 7467600"/>
              <a:gd name="connsiteY200" fmla="*/ 3830985 h 6858000"/>
              <a:gd name="connsiteX201" fmla="*/ 4440129 w 7467600"/>
              <a:gd name="connsiteY201" fmla="*/ 3448571 h 6858000"/>
              <a:gd name="connsiteX202" fmla="*/ 4441737 w 7467600"/>
              <a:gd name="connsiteY202" fmla="*/ 3399734 h 6858000"/>
              <a:gd name="connsiteX203" fmla="*/ 4431236 w 7467600"/>
              <a:gd name="connsiteY203" fmla="*/ 3400954 h 6858000"/>
              <a:gd name="connsiteX204" fmla="*/ 4557150 w 7467600"/>
              <a:gd name="connsiteY204" fmla="*/ 3510023 h 6858000"/>
              <a:gd name="connsiteX205" fmla="*/ 4856936 w 7467600"/>
              <a:gd name="connsiteY205" fmla="*/ 3809146 h 6858000"/>
              <a:gd name="connsiteX206" fmla="*/ 5111996 w 7467600"/>
              <a:gd name="connsiteY206" fmla="*/ 4065759 h 6858000"/>
              <a:gd name="connsiteX207" fmla="*/ 5388878 w 7467600"/>
              <a:gd name="connsiteY207" fmla="*/ 4300185 h 6858000"/>
              <a:gd name="connsiteX208" fmla="*/ 5425556 w 7467600"/>
              <a:gd name="connsiteY208" fmla="*/ 4308967 h 6858000"/>
              <a:gd name="connsiteX209" fmla="*/ 4943646 w 7467600"/>
              <a:gd name="connsiteY209" fmla="*/ 3822916 h 6858000"/>
              <a:gd name="connsiteX210" fmla="*/ 4594837 w 7467600"/>
              <a:gd name="connsiteY210" fmla="*/ 3532274 h 6858000"/>
              <a:gd name="connsiteX211" fmla="*/ 4441737 w 7467600"/>
              <a:gd name="connsiteY211" fmla="*/ 3399734 h 6858000"/>
              <a:gd name="connsiteX212" fmla="*/ 5425834 w 7467600"/>
              <a:gd name="connsiteY212" fmla="*/ 3162785 h 6858000"/>
              <a:gd name="connsiteX213" fmla="*/ 5401644 w 7467600"/>
              <a:gd name="connsiteY213" fmla="*/ 3617847 h 6858000"/>
              <a:gd name="connsiteX214" fmla="*/ 5467256 w 7467600"/>
              <a:gd name="connsiteY214" fmla="*/ 4175494 h 6858000"/>
              <a:gd name="connsiteX215" fmla="*/ 5448069 w 7467600"/>
              <a:gd name="connsiteY215" fmla="*/ 3567554 h 6858000"/>
              <a:gd name="connsiteX216" fmla="*/ 5425834 w 7467600"/>
              <a:gd name="connsiteY216" fmla="*/ 3162785 h 6858000"/>
              <a:gd name="connsiteX217" fmla="*/ 1318687 w 7467600"/>
              <a:gd name="connsiteY217" fmla="*/ 3113840 h 6858000"/>
              <a:gd name="connsiteX218" fmla="*/ 1066793 w 7467600"/>
              <a:gd name="connsiteY218" fmla="*/ 3212171 h 6858000"/>
              <a:gd name="connsiteX219" fmla="*/ 993319 w 7467600"/>
              <a:gd name="connsiteY219" fmla="*/ 3247648 h 6858000"/>
              <a:gd name="connsiteX220" fmla="*/ 853081 w 7467600"/>
              <a:gd name="connsiteY220" fmla="*/ 3312410 h 6858000"/>
              <a:gd name="connsiteX221" fmla="*/ 805957 w 7467600"/>
              <a:gd name="connsiteY221" fmla="*/ 3330443 h 6858000"/>
              <a:gd name="connsiteX222" fmla="*/ 1318687 w 7467600"/>
              <a:gd name="connsiteY222" fmla="*/ 3113840 h 6858000"/>
              <a:gd name="connsiteX223" fmla="*/ 5453702 w 7467600"/>
              <a:gd name="connsiteY223" fmla="*/ 3090882 h 6858000"/>
              <a:gd name="connsiteX224" fmla="*/ 5480135 w 7467600"/>
              <a:gd name="connsiteY224" fmla="*/ 3565802 h 6858000"/>
              <a:gd name="connsiteX225" fmla="*/ 5499023 w 7467600"/>
              <a:gd name="connsiteY225" fmla="*/ 4166310 h 6858000"/>
              <a:gd name="connsiteX226" fmla="*/ 5547022 w 7467600"/>
              <a:gd name="connsiteY226" fmla="*/ 3607838 h 6858000"/>
              <a:gd name="connsiteX227" fmla="*/ 5515964 w 7467600"/>
              <a:gd name="connsiteY227" fmla="*/ 3378541 h 6858000"/>
              <a:gd name="connsiteX228" fmla="*/ 5453702 w 7467600"/>
              <a:gd name="connsiteY228" fmla="*/ 3090882 h 6858000"/>
              <a:gd name="connsiteX229" fmla="*/ 1238695 w 7467600"/>
              <a:gd name="connsiteY229" fmla="*/ 3076820 h 6858000"/>
              <a:gd name="connsiteX230" fmla="*/ 716371 w 7467600"/>
              <a:gd name="connsiteY230" fmla="*/ 3293249 h 6858000"/>
              <a:gd name="connsiteX231" fmla="*/ 579522 w 7467600"/>
              <a:gd name="connsiteY231" fmla="*/ 3371759 h 6858000"/>
              <a:gd name="connsiteX232" fmla="*/ 600288 w 7467600"/>
              <a:gd name="connsiteY232" fmla="*/ 3365555 h 6858000"/>
              <a:gd name="connsiteX233" fmla="*/ 840692 w 7467600"/>
              <a:gd name="connsiteY233" fmla="*/ 3284921 h 6858000"/>
              <a:gd name="connsiteX234" fmla="*/ 979248 w 7467600"/>
              <a:gd name="connsiteY234" fmla="*/ 3221003 h 6858000"/>
              <a:gd name="connsiteX235" fmla="*/ 1053282 w 7467600"/>
              <a:gd name="connsiteY235" fmla="*/ 3185247 h 6858000"/>
              <a:gd name="connsiteX236" fmla="*/ 1320603 w 7467600"/>
              <a:gd name="connsiteY236" fmla="*/ 3081281 h 6858000"/>
              <a:gd name="connsiteX237" fmla="*/ 1238695 w 7467600"/>
              <a:gd name="connsiteY237" fmla="*/ 3076820 h 6858000"/>
              <a:gd name="connsiteX238" fmla="*/ 5425627 w 7467600"/>
              <a:gd name="connsiteY238" fmla="*/ 2954192 h 6858000"/>
              <a:gd name="connsiteX239" fmla="*/ 5470770 w 7467600"/>
              <a:gd name="connsiteY239" fmla="*/ 3005435 h 6858000"/>
              <a:gd name="connsiteX240" fmla="*/ 5519779 w 7467600"/>
              <a:gd name="connsiteY240" fmla="*/ 4359223 h 6858000"/>
              <a:gd name="connsiteX241" fmla="*/ 5520293 w 7467600"/>
              <a:gd name="connsiteY241" fmla="*/ 4360602 h 6858000"/>
              <a:gd name="connsiteX242" fmla="*/ 5767221 w 7467600"/>
              <a:gd name="connsiteY242" fmla="*/ 4665564 h 6858000"/>
              <a:gd name="connsiteX243" fmla="*/ 6937169 w 7467600"/>
              <a:gd name="connsiteY243" fmla="*/ 4815941 h 6858000"/>
              <a:gd name="connsiteX244" fmla="*/ 6953922 w 7467600"/>
              <a:gd name="connsiteY244" fmla="*/ 4890068 h 6858000"/>
              <a:gd name="connsiteX245" fmla="*/ 6071359 w 7467600"/>
              <a:gd name="connsiteY245" fmla="*/ 4770770 h 6858000"/>
              <a:gd name="connsiteX246" fmla="*/ 6038839 w 7467600"/>
              <a:gd name="connsiteY246" fmla="*/ 4764474 h 6858000"/>
              <a:gd name="connsiteX247" fmla="*/ 6038706 w 7467600"/>
              <a:gd name="connsiteY247" fmla="*/ 4763847 h 6858000"/>
              <a:gd name="connsiteX248" fmla="*/ 6037784 w 7467600"/>
              <a:gd name="connsiteY248" fmla="*/ 4764270 h 6858000"/>
              <a:gd name="connsiteX249" fmla="*/ 6038839 w 7467600"/>
              <a:gd name="connsiteY249" fmla="*/ 4764474 h 6858000"/>
              <a:gd name="connsiteX250" fmla="*/ 6040338 w 7467600"/>
              <a:gd name="connsiteY250" fmla="*/ 4771418 h 6858000"/>
              <a:gd name="connsiteX251" fmla="*/ 6024488 w 7467600"/>
              <a:gd name="connsiteY251" fmla="*/ 4809903 h 6858000"/>
              <a:gd name="connsiteX252" fmla="*/ 5599771 w 7467600"/>
              <a:gd name="connsiteY252" fmla="*/ 5509652 h 6858000"/>
              <a:gd name="connsiteX253" fmla="*/ 5548843 w 7467600"/>
              <a:gd name="connsiteY253" fmla="*/ 5563845 h 6858000"/>
              <a:gd name="connsiteX254" fmla="*/ 5940952 w 7467600"/>
              <a:gd name="connsiteY254" fmla="*/ 6250028 h 6858000"/>
              <a:gd name="connsiteX255" fmla="*/ 6043441 w 7467600"/>
              <a:gd name="connsiteY255" fmla="*/ 6665847 h 6858000"/>
              <a:gd name="connsiteX256" fmla="*/ 6093432 w 7467600"/>
              <a:gd name="connsiteY256" fmla="*/ 6858000 h 6858000"/>
              <a:gd name="connsiteX257" fmla="*/ 6034344 w 7467600"/>
              <a:gd name="connsiteY257" fmla="*/ 6858000 h 6858000"/>
              <a:gd name="connsiteX258" fmla="*/ 6026679 w 7467600"/>
              <a:gd name="connsiteY258" fmla="*/ 6836959 h 6858000"/>
              <a:gd name="connsiteX259" fmla="*/ 5800441 w 7467600"/>
              <a:gd name="connsiteY259" fmla="*/ 6335286 h 6858000"/>
              <a:gd name="connsiteX260" fmla="*/ 5526562 w 7467600"/>
              <a:gd name="connsiteY260" fmla="*/ 5705388 h 6858000"/>
              <a:gd name="connsiteX261" fmla="*/ 5519640 w 7467600"/>
              <a:gd name="connsiteY261" fmla="*/ 5683774 h 6858000"/>
              <a:gd name="connsiteX262" fmla="*/ 5844559 w 7467600"/>
              <a:gd name="connsiteY262" fmla="*/ 6553349 h 6858000"/>
              <a:gd name="connsiteX263" fmla="*/ 5975994 w 7467600"/>
              <a:gd name="connsiteY263" fmla="*/ 6858000 h 6858000"/>
              <a:gd name="connsiteX264" fmla="*/ 5898547 w 7467600"/>
              <a:gd name="connsiteY264" fmla="*/ 6858000 h 6858000"/>
              <a:gd name="connsiteX265" fmla="*/ 5682041 w 7467600"/>
              <a:gd name="connsiteY265" fmla="*/ 6355860 h 6858000"/>
              <a:gd name="connsiteX266" fmla="*/ 5461758 w 7467600"/>
              <a:gd name="connsiteY266" fmla="*/ 5820220 h 6858000"/>
              <a:gd name="connsiteX267" fmla="*/ 5237282 w 7467600"/>
              <a:gd name="connsiteY267" fmla="*/ 6579086 h 6858000"/>
              <a:gd name="connsiteX268" fmla="*/ 5115009 w 7467600"/>
              <a:gd name="connsiteY268" fmla="*/ 6858000 h 6858000"/>
              <a:gd name="connsiteX269" fmla="*/ 5028074 w 7467600"/>
              <a:gd name="connsiteY269" fmla="*/ 6858000 h 6858000"/>
              <a:gd name="connsiteX270" fmla="*/ 5079508 w 7467600"/>
              <a:gd name="connsiteY270" fmla="*/ 6749074 h 6858000"/>
              <a:gd name="connsiteX271" fmla="*/ 5371846 w 7467600"/>
              <a:gd name="connsiteY271" fmla="*/ 5924413 h 6858000"/>
              <a:gd name="connsiteX272" fmla="*/ 5270512 w 7467600"/>
              <a:gd name="connsiteY272" fmla="*/ 6138975 h 6858000"/>
              <a:gd name="connsiteX273" fmla="*/ 5062409 w 7467600"/>
              <a:gd name="connsiteY273" fmla="*/ 6653544 h 6858000"/>
              <a:gd name="connsiteX274" fmla="*/ 5036628 w 7467600"/>
              <a:gd name="connsiteY274" fmla="*/ 6754247 h 6858000"/>
              <a:gd name="connsiteX275" fmla="*/ 5009112 w 7467600"/>
              <a:gd name="connsiteY275" fmla="*/ 6858000 h 6858000"/>
              <a:gd name="connsiteX276" fmla="*/ 4976679 w 7467600"/>
              <a:gd name="connsiteY276" fmla="*/ 6858000 h 6858000"/>
              <a:gd name="connsiteX277" fmla="*/ 5006537 w 7467600"/>
              <a:gd name="connsiteY277" fmla="*/ 6747068 h 6858000"/>
              <a:gd name="connsiteX278" fmla="*/ 5032723 w 7467600"/>
              <a:gd name="connsiteY278" fmla="*/ 6644957 h 6858000"/>
              <a:gd name="connsiteX279" fmla="*/ 5242949 w 7467600"/>
              <a:gd name="connsiteY279" fmla="*/ 6125175 h 6858000"/>
              <a:gd name="connsiteX280" fmla="*/ 5286321 w 7467600"/>
              <a:gd name="connsiteY280" fmla="*/ 6033555 h 6858000"/>
              <a:gd name="connsiteX281" fmla="*/ 5008210 w 7467600"/>
              <a:gd name="connsiteY281" fmla="*/ 6649194 h 6858000"/>
              <a:gd name="connsiteX282" fmla="*/ 4986321 w 7467600"/>
              <a:gd name="connsiteY282" fmla="*/ 6765687 h 6858000"/>
              <a:gd name="connsiteX283" fmla="*/ 4973474 w 7467600"/>
              <a:gd name="connsiteY283" fmla="*/ 6858000 h 6858000"/>
              <a:gd name="connsiteX284" fmla="*/ 4907178 w 7467600"/>
              <a:gd name="connsiteY284" fmla="*/ 6858000 h 6858000"/>
              <a:gd name="connsiteX285" fmla="*/ 4910810 w 7467600"/>
              <a:gd name="connsiteY285" fmla="*/ 6829660 h 6858000"/>
              <a:gd name="connsiteX286" fmla="*/ 4987461 w 7467600"/>
              <a:gd name="connsiteY286" fmla="*/ 6432994 h 6858000"/>
              <a:gd name="connsiteX287" fmla="*/ 5179262 w 7467600"/>
              <a:gd name="connsiteY287" fmla="*/ 6035044 h 6858000"/>
              <a:gd name="connsiteX288" fmla="*/ 4689678 w 7467600"/>
              <a:gd name="connsiteY288" fmla="*/ 6440241 h 6858000"/>
              <a:gd name="connsiteX289" fmla="*/ 4477543 w 7467600"/>
              <a:gd name="connsiteY289" fmla="*/ 6674836 h 6858000"/>
              <a:gd name="connsiteX290" fmla="*/ 4329957 w 7467600"/>
              <a:gd name="connsiteY290" fmla="*/ 6858000 h 6858000"/>
              <a:gd name="connsiteX291" fmla="*/ 4218595 w 7467600"/>
              <a:gd name="connsiteY291" fmla="*/ 6858000 h 6858000"/>
              <a:gd name="connsiteX292" fmla="*/ 4368888 w 7467600"/>
              <a:gd name="connsiteY292" fmla="*/ 6668412 h 6858000"/>
              <a:gd name="connsiteX293" fmla="*/ 4563091 w 7467600"/>
              <a:gd name="connsiteY293" fmla="*/ 6442508 h 6858000"/>
              <a:gd name="connsiteX294" fmla="*/ 5387324 w 7467600"/>
              <a:gd name="connsiteY294" fmla="*/ 5705830 h 6858000"/>
              <a:gd name="connsiteX295" fmla="*/ 5073620 w 7467600"/>
              <a:gd name="connsiteY295" fmla="*/ 5955437 h 6858000"/>
              <a:gd name="connsiteX296" fmla="*/ 4689789 w 7467600"/>
              <a:gd name="connsiteY296" fmla="*/ 6268382 h 6858000"/>
              <a:gd name="connsiteX297" fmla="*/ 4418722 w 7467600"/>
              <a:gd name="connsiteY297" fmla="*/ 6570886 h 6858000"/>
              <a:gd name="connsiteX298" fmla="*/ 4214944 w 7467600"/>
              <a:gd name="connsiteY298" fmla="*/ 6858000 h 6858000"/>
              <a:gd name="connsiteX299" fmla="*/ 4177898 w 7467600"/>
              <a:gd name="connsiteY299" fmla="*/ 6858000 h 6858000"/>
              <a:gd name="connsiteX300" fmla="*/ 4391597 w 7467600"/>
              <a:gd name="connsiteY300" fmla="*/ 6556370 h 6858000"/>
              <a:gd name="connsiteX301" fmla="*/ 4668889 w 7467600"/>
              <a:gd name="connsiteY301" fmla="*/ 6246399 h 6858000"/>
              <a:gd name="connsiteX302" fmla="*/ 5055427 w 7467600"/>
              <a:gd name="connsiteY302" fmla="*/ 5931476 h 6858000"/>
              <a:gd name="connsiteX303" fmla="*/ 5371814 w 7467600"/>
              <a:gd name="connsiteY303" fmla="*/ 5678975 h 6858000"/>
              <a:gd name="connsiteX304" fmla="*/ 4987918 w 7467600"/>
              <a:gd name="connsiteY304" fmla="*/ 5838701 h 6858000"/>
              <a:gd name="connsiteX305" fmla="*/ 4317146 w 7467600"/>
              <a:gd name="connsiteY305" fmla="*/ 6587716 h 6858000"/>
              <a:gd name="connsiteX306" fmla="*/ 4171627 w 7467600"/>
              <a:gd name="connsiteY306" fmla="*/ 6858000 h 6858000"/>
              <a:gd name="connsiteX307" fmla="*/ 4081585 w 7467600"/>
              <a:gd name="connsiteY307" fmla="*/ 6858000 h 6858000"/>
              <a:gd name="connsiteX308" fmla="*/ 4238603 w 7467600"/>
              <a:gd name="connsiteY308" fmla="*/ 6559341 h 6858000"/>
              <a:gd name="connsiteX309" fmla="*/ 4778333 w 7467600"/>
              <a:gd name="connsiteY309" fmla="*/ 5873626 h 6858000"/>
              <a:gd name="connsiteX310" fmla="*/ 5414185 w 7467600"/>
              <a:gd name="connsiteY310" fmla="*/ 5573882 h 6858000"/>
              <a:gd name="connsiteX311" fmla="*/ 5959648 w 7467600"/>
              <a:gd name="connsiteY311" fmla="*/ 4760797 h 6858000"/>
              <a:gd name="connsiteX312" fmla="*/ 5355019 w 7467600"/>
              <a:gd name="connsiteY312" fmla="*/ 4734672 h 6858000"/>
              <a:gd name="connsiteX313" fmla="*/ 5083565 w 7467600"/>
              <a:gd name="connsiteY313" fmla="*/ 5179121 h 6858000"/>
              <a:gd name="connsiteX314" fmla="*/ 4713577 w 7467600"/>
              <a:gd name="connsiteY314" fmla="*/ 5616803 h 6858000"/>
              <a:gd name="connsiteX315" fmla="*/ 3989559 w 7467600"/>
              <a:gd name="connsiteY315" fmla="*/ 6145945 h 6858000"/>
              <a:gd name="connsiteX316" fmla="*/ 3939824 w 7467600"/>
              <a:gd name="connsiteY316" fmla="*/ 6066900 h 6858000"/>
              <a:gd name="connsiteX317" fmla="*/ 4584537 w 7467600"/>
              <a:gd name="connsiteY317" fmla="*/ 5324826 h 6858000"/>
              <a:gd name="connsiteX318" fmla="*/ 5037105 w 7467600"/>
              <a:gd name="connsiteY318" fmla="*/ 5088765 h 6858000"/>
              <a:gd name="connsiteX319" fmla="*/ 5039930 w 7467600"/>
              <a:gd name="connsiteY319" fmla="*/ 5089585 h 6858000"/>
              <a:gd name="connsiteX320" fmla="*/ 5263764 w 7467600"/>
              <a:gd name="connsiteY320" fmla="*/ 4735525 h 6858000"/>
              <a:gd name="connsiteX321" fmla="*/ 4086300 w 7467600"/>
              <a:gd name="connsiteY321" fmla="*/ 4884599 h 6858000"/>
              <a:gd name="connsiteX322" fmla="*/ 4085485 w 7467600"/>
              <a:gd name="connsiteY322" fmla="*/ 4899070 h 6858000"/>
              <a:gd name="connsiteX323" fmla="*/ 3871915 w 7467600"/>
              <a:gd name="connsiteY323" fmla="*/ 5253645 h 6858000"/>
              <a:gd name="connsiteX324" fmla="*/ 3799374 w 7467600"/>
              <a:gd name="connsiteY324" fmla="*/ 5466127 h 6858000"/>
              <a:gd name="connsiteX325" fmla="*/ 3498850 w 7467600"/>
              <a:gd name="connsiteY325" fmla="*/ 6661888 h 6858000"/>
              <a:gd name="connsiteX326" fmla="*/ 3399216 w 7467600"/>
              <a:gd name="connsiteY326" fmla="*/ 6858000 h 6858000"/>
              <a:gd name="connsiteX327" fmla="*/ 3303688 w 7467600"/>
              <a:gd name="connsiteY327" fmla="*/ 6858000 h 6858000"/>
              <a:gd name="connsiteX328" fmla="*/ 3391774 w 7467600"/>
              <a:gd name="connsiteY328" fmla="*/ 6697181 h 6858000"/>
              <a:gd name="connsiteX329" fmla="*/ 3735540 w 7467600"/>
              <a:gd name="connsiteY329" fmla="*/ 5546923 h 6858000"/>
              <a:gd name="connsiteX330" fmla="*/ 3729438 w 7467600"/>
              <a:gd name="connsiteY330" fmla="*/ 5569058 h 6858000"/>
              <a:gd name="connsiteX331" fmla="*/ 3707782 w 7467600"/>
              <a:gd name="connsiteY331" fmla="*/ 5644908 h 6858000"/>
              <a:gd name="connsiteX332" fmla="*/ 3583827 w 7467600"/>
              <a:gd name="connsiteY332" fmla="*/ 6039215 h 6858000"/>
              <a:gd name="connsiteX333" fmla="*/ 3547861 w 7467600"/>
              <a:gd name="connsiteY333" fmla="*/ 6129609 h 6858000"/>
              <a:gd name="connsiteX334" fmla="*/ 3490905 w 7467600"/>
              <a:gd name="connsiteY334" fmla="*/ 6277660 h 6858000"/>
              <a:gd name="connsiteX335" fmla="*/ 3455859 w 7467600"/>
              <a:gd name="connsiteY335" fmla="*/ 6391301 h 6858000"/>
              <a:gd name="connsiteX336" fmla="*/ 3429112 w 7467600"/>
              <a:gd name="connsiteY336" fmla="*/ 6479469 h 6858000"/>
              <a:gd name="connsiteX337" fmla="*/ 3304862 w 7467600"/>
              <a:gd name="connsiteY337" fmla="*/ 6796476 h 6858000"/>
              <a:gd name="connsiteX338" fmla="*/ 3276071 w 7467600"/>
              <a:gd name="connsiteY338" fmla="*/ 6858000 h 6858000"/>
              <a:gd name="connsiteX339" fmla="*/ 3240805 w 7467600"/>
              <a:gd name="connsiteY339" fmla="*/ 6858000 h 6858000"/>
              <a:gd name="connsiteX340" fmla="*/ 3275917 w 7467600"/>
              <a:gd name="connsiteY340" fmla="*/ 6783192 h 6858000"/>
              <a:gd name="connsiteX341" fmla="*/ 3399358 w 7467600"/>
              <a:gd name="connsiteY341" fmla="*/ 6469011 h 6858000"/>
              <a:gd name="connsiteX342" fmla="*/ 3425650 w 7467600"/>
              <a:gd name="connsiteY342" fmla="*/ 6381333 h 6858000"/>
              <a:gd name="connsiteX343" fmla="*/ 3460661 w 7467600"/>
              <a:gd name="connsiteY343" fmla="*/ 6266763 h 6858000"/>
              <a:gd name="connsiteX344" fmla="*/ 3518021 w 7467600"/>
              <a:gd name="connsiteY344" fmla="*/ 6117298 h 6858000"/>
              <a:gd name="connsiteX345" fmla="*/ 3554035 w 7467600"/>
              <a:gd name="connsiteY345" fmla="*/ 6027832 h 6858000"/>
              <a:gd name="connsiteX346" fmla="*/ 3677174 w 7467600"/>
              <a:gd name="connsiteY346" fmla="*/ 5636351 h 6858000"/>
              <a:gd name="connsiteX347" fmla="*/ 3698819 w 7467600"/>
              <a:gd name="connsiteY347" fmla="*/ 5560503 h 6858000"/>
              <a:gd name="connsiteX348" fmla="*/ 3702094 w 7467600"/>
              <a:gd name="connsiteY348" fmla="*/ 5549194 h 6858000"/>
              <a:gd name="connsiteX349" fmla="*/ 3398355 w 7467600"/>
              <a:gd name="connsiteY349" fmla="*/ 6094603 h 6858000"/>
              <a:gd name="connsiteX350" fmla="*/ 3193941 w 7467600"/>
              <a:gd name="connsiteY350" fmla="*/ 6798775 h 6858000"/>
              <a:gd name="connsiteX351" fmla="*/ 3184140 w 7467600"/>
              <a:gd name="connsiteY351" fmla="*/ 6858000 h 6858000"/>
              <a:gd name="connsiteX352" fmla="*/ 3099978 w 7467600"/>
              <a:gd name="connsiteY352" fmla="*/ 6858000 h 6858000"/>
              <a:gd name="connsiteX353" fmla="*/ 3101556 w 7467600"/>
              <a:gd name="connsiteY353" fmla="*/ 6843337 h 6858000"/>
              <a:gd name="connsiteX354" fmla="*/ 3370162 w 7467600"/>
              <a:gd name="connsiteY354" fmla="*/ 5785550 h 6858000"/>
              <a:gd name="connsiteX355" fmla="*/ 3746477 w 7467600"/>
              <a:gd name="connsiteY355" fmla="*/ 5377889 h 6858000"/>
              <a:gd name="connsiteX356" fmla="*/ 3863399 w 7467600"/>
              <a:gd name="connsiteY356" fmla="*/ 5087257 h 6858000"/>
              <a:gd name="connsiteX357" fmla="*/ 3968712 w 7467600"/>
              <a:gd name="connsiteY357" fmla="*/ 4913989 h 6858000"/>
              <a:gd name="connsiteX358" fmla="*/ 2792390 w 7467600"/>
              <a:gd name="connsiteY358" fmla="*/ 5382974 h 6858000"/>
              <a:gd name="connsiteX359" fmla="*/ 2714982 w 7467600"/>
              <a:gd name="connsiteY359" fmla="*/ 5427051 h 6858000"/>
              <a:gd name="connsiteX360" fmla="*/ 2813361 w 7467600"/>
              <a:gd name="connsiteY360" fmla="*/ 6023912 h 6858000"/>
              <a:gd name="connsiteX361" fmla="*/ 2688430 w 7467600"/>
              <a:gd name="connsiteY361" fmla="*/ 6801564 h 6858000"/>
              <a:gd name="connsiteX362" fmla="*/ 2629626 w 7467600"/>
              <a:gd name="connsiteY362" fmla="*/ 6763394 h 6858000"/>
              <a:gd name="connsiteX363" fmla="*/ 2565328 w 7467600"/>
              <a:gd name="connsiteY363" fmla="*/ 5516399 h 6858000"/>
              <a:gd name="connsiteX364" fmla="*/ 1922999 w 7467600"/>
              <a:gd name="connsiteY364" fmla="*/ 5980343 h 6858000"/>
              <a:gd name="connsiteX365" fmla="*/ 1950261 w 7467600"/>
              <a:gd name="connsiteY365" fmla="*/ 6405858 h 6858000"/>
              <a:gd name="connsiteX366" fmla="*/ 2365554 w 7467600"/>
              <a:gd name="connsiteY366" fmla="*/ 6759107 h 6858000"/>
              <a:gd name="connsiteX367" fmla="*/ 2424142 w 7467600"/>
              <a:gd name="connsiteY367" fmla="*/ 6858000 h 6858000"/>
              <a:gd name="connsiteX368" fmla="*/ 2395994 w 7467600"/>
              <a:gd name="connsiteY368" fmla="*/ 6858000 h 6858000"/>
              <a:gd name="connsiteX369" fmla="*/ 2392863 w 7467600"/>
              <a:gd name="connsiteY369" fmla="*/ 6852964 h 6858000"/>
              <a:gd name="connsiteX370" fmla="*/ 2017589 w 7467600"/>
              <a:gd name="connsiteY370" fmla="*/ 6493982 h 6858000"/>
              <a:gd name="connsiteX371" fmla="*/ 2147336 w 7467600"/>
              <a:gd name="connsiteY371" fmla="*/ 6594052 h 6858000"/>
              <a:gd name="connsiteX372" fmla="*/ 2207047 w 7467600"/>
              <a:gd name="connsiteY372" fmla="*/ 6654540 h 6858000"/>
              <a:gd name="connsiteX373" fmla="*/ 2299106 w 7467600"/>
              <a:gd name="connsiteY373" fmla="*/ 6778931 h 6858000"/>
              <a:gd name="connsiteX374" fmla="*/ 2314430 w 7467600"/>
              <a:gd name="connsiteY374" fmla="*/ 6801144 h 6858000"/>
              <a:gd name="connsiteX375" fmla="*/ 2352406 w 7467600"/>
              <a:gd name="connsiteY375" fmla="*/ 6858000 h 6858000"/>
              <a:gd name="connsiteX376" fmla="*/ 2314492 w 7467600"/>
              <a:gd name="connsiteY376" fmla="*/ 6858000 h 6858000"/>
              <a:gd name="connsiteX377" fmla="*/ 2288095 w 7467600"/>
              <a:gd name="connsiteY377" fmla="*/ 6818030 h 6858000"/>
              <a:gd name="connsiteX378" fmla="*/ 2272768 w 7467600"/>
              <a:gd name="connsiteY378" fmla="*/ 6795822 h 6858000"/>
              <a:gd name="connsiteX379" fmla="*/ 2182715 w 7467600"/>
              <a:gd name="connsiteY379" fmla="*/ 6675071 h 6858000"/>
              <a:gd name="connsiteX380" fmla="*/ 2032061 w 7467600"/>
              <a:gd name="connsiteY380" fmla="*/ 6541380 h 6858000"/>
              <a:gd name="connsiteX381" fmla="*/ 2257220 w 7467600"/>
              <a:gd name="connsiteY381" fmla="*/ 6826257 h 6858000"/>
              <a:gd name="connsiteX382" fmla="*/ 2281324 w 7467600"/>
              <a:gd name="connsiteY382" fmla="*/ 6858000 h 6858000"/>
              <a:gd name="connsiteX383" fmla="*/ 2242860 w 7467600"/>
              <a:gd name="connsiteY383" fmla="*/ 6858000 h 6858000"/>
              <a:gd name="connsiteX384" fmla="*/ 2232818 w 7467600"/>
              <a:gd name="connsiteY384" fmla="*/ 6844926 h 6858000"/>
              <a:gd name="connsiteX385" fmla="*/ 1990172 w 7467600"/>
              <a:gd name="connsiteY385" fmla="*/ 6542121 h 6858000"/>
              <a:gd name="connsiteX386" fmla="*/ 2124090 w 7467600"/>
              <a:gd name="connsiteY386" fmla="*/ 6761017 h 6858000"/>
              <a:gd name="connsiteX387" fmla="*/ 2200380 w 7467600"/>
              <a:gd name="connsiteY387" fmla="*/ 6858000 h 6858000"/>
              <a:gd name="connsiteX388" fmla="*/ 2147507 w 7467600"/>
              <a:gd name="connsiteY388" fmla="*/ 6858000 h 6858000"/>
              <a:gd name="connsiteX389" fmla="*/ 2070668 w 7467600"/>
              <a:gd name="connsiteY389" fmla="*/ 6761520 h 6858000"/>
              <a:gd name="connsiteX390" fmla="*/ 1975142 w 7467600"/>
              <a:gd name="connsiteY390" fmla="*/ 6585570 h 6858000"/>
              <a:gd name="connsiteX391" fmla="*/ 2050035 w 7467600"/>
              <a:gd name="connsiteY391" fmla="*/ 6813345 h 6858000"/>
              <a:gd name="connsiteX392" fmla="*/ 2063025 w 7467600"/>
              <a:gd name="connsiteY392" fmla="*/ 6858000 h 6858000"/>
              <a:gd name="connsiteX393" fmla="*/ 2021675 w 7467600"/>
              <a:gd name="connsiteY393" fmla="*/ 6858000 h 6858000"/>
              <a:gd name="connsiteX394" fmla="*/ 2019308 w 7467600"/>
              <a:gd name="connsiteY394" fmla="*/ 6847118 h 6858000"/>
              <a:gd name="connsiteX395" fmla="*/ 1938835 w 7467600"/>
              <a:gd name="connsiteY395" fmla="*/ 6551160 h 6858000"/>
              <a:gd name="connsiteX396" fmla="*/ 1953230 w 7467600"/>
              <a:gd name="connsiteY396" fmla="*/ 6759699 h 6858000"/>
              <a:gd name="connsiteX397" fmla="*/ 1956763 w 7467600"/>
              <a:gd name="connsiteY397" fmla="*/ 6778191 h 6858000"/>
              <a:gd name="connsiteX398" fmla="*/ 1967925 w 7467600"/>
              <a:gd name="connsiteY398" fmla="*/ 6858000 h 6858000"/>
              <a:gd name="connsiteX399" fmla="*/ 1936622 w 7467600"/>
              <a:gd name="connsiteY399" fmla="*/ 6858000 h 6858000"/>
              <a:gd name="connsiteX400" fmla="*/ 1926261 w 7467600"/>
              <a:gd name="connsiteY400" fmla="*/ 6784064 h 6858000"/>
              <a:gd name="connsiteX401" fmla="*/ 1922724 w 7467600"/>
              <a:gd name="connsiteY401" fmla="*/ 6765577 h 6858000"/>
              <a:gd name="connsiteX402" fmla="*/ 1904650 w 7467600"/>
              <a:gd name="connsiteY402" fmla="*/ 6639616 h 6858000"/>
              <a:gd name="connsiteX403" fmla="*/ 1885273 w 7467600"/>
              <a:gd name="connsiteY403" fmla="*/ 6858000 h 6858000"/>
              <a:gd name="connsiteX404" fmla="*/ 1854363 w 7467600"/>
              <a:gd name="connsiteY404" fmla="*/ 6858000 h 6858000"/>
              <a:gd name="connsiteX405" fmla="*/ 1880391 w 7467600"/>
              <a:gd name="connsiteY405" fmla="*/ 6603796 h 6858000"/>
              <a:gd name="connsiteX406" fmla="*/ 1818273 w 7467600"/>
              <a:gd name="connsiteY406" fmla="*/ 6715729 h 6858000"/>
              <a:gd name="connsiteX407" fmla="*/ 1794691 w 7467600"/>
              <a:gd name="connsiteY407" fmla="*/ 6843239 h 6858000"/>
              <a:gd name="connsiteX408" fmla="*/ 1794914 w 7467600"/>
              <a:gd name="connsiteY408" fmla="*/ 6858000 h 6858000"/>
              <a:gd name="connsiteX409" fmla="*/ 1746128 w 7467600"/>
              <a:gd name="connsiteY409" fmla="*/ 6858000 h 6858000"/>
              <a:gd name="connsiteX410" fmla="*/ 1753934 w 7467600"/>
              <a:gd name="connsiteY410" fmla="*/ 6724796 h 6858000"/>
              <a:gd name="connsiteX411" fmla="*/ 1792053 w 7467600"/>
              <a:gd name="connsiteY411" fmla="*/ 6572396 h 6858000"/>
              <a:gd name="connsiteX412" fmla="*/ 1862248 w 7467600"/>
              <a:gd name="connsiteY412" fmla="*/ 6266397 h 6858000"/>
              <a:gd name="connsiteX413" fmla="*/ 1862250 w 7467600"/>
              <a:gd name="connsiteY413" fmla="*/ 6033531 h 6858000"/>
              <a:gd name="connsiteX414" fmla="*/ 1211999 w 7467600"/>
              <a:gd name="connsiteY414" fmla="*/ 6683610 h 6858000"/>
              <a:gd name="connsiteX415" fmla="*/ 1213266 w 7467600"/>
              <a:gd name="connsiteY415" fmla="*/ 6691947 h 6858000"/>
              <a:gd name="connsiteX416" fmla="*/ 1203370 w 7467600"/>
              <a:gd name="connsiteY416" fmla="*/ 6850676 h 6858000"/>
              <a:gd name="connsiteX417" fmla="*/ 1203671 w 7467600"/>
              <a:gd name="connsiteY417" fmla="*/ 6858000 h 6858000"/>
              <a:gd name="connsiteX418" fmla="*/ 1143180 w 7467600"/>
              <a:gd name="connsiteY418" fmla="*/ 6858000 h 6858000"/>
              <a:gd name="connsiteX419" fmla="*/ 1142176 w 7467600"/>
              <a:gd name="connsiteY419" fmla="*/ 6766045 h 6858000"/>
              <a:gd name="connsiteX420" fmla="*/ 1067484 w 7467600"/>
              <a:gd name="connsiteY420" fmla="*/ 6858000 h 6858000"/>
              <a:gd name="connsiteX421" fmla="*/ 953928 w 7467600"/>
              <a:gd name="connsiteY421" fmla="*/ 6858000 h 6858000"/>
              <a:gd name="connsiteX422" fmla="*/ 959715 w 7467600"/>
              <a:gd name="connsiteY422" fmla="*/ 6850185 h 6858000"/>
              <a:gd name="connsiteX423" fmla="*/ 1483788 w 7467600"/>
              <a:gd name="connsiteY423" fmla="*/ 6259174 h 6858000"/>
              <a:gd name="connsiteX424" fmla="*/ 1100671 w 7467600"/>
              <a:gd name="connsiteY424" fmla="*/ 6252137 h 6858000"/>
              <a:gd name="connsiteX425" fmla="*/ 1090144 w 7467600"/>
              <a:gd name="connsiteY425" fmla="*/ 6256748 h 6858000"/>
              <a:gd name="connsiteX426" fmla="*/ 1095872 w 7467600"/>
              <a:gd name="connsiteY426" fmla="*/ 6271892 h 6858000"/>
              <a:gd name="connsiteX427" fmla="*/ 262785 w 7467600"/>
              <a:gd name="connsiteY427" fmla="*/ 6845450 h 6858000"/>
              <a:gd name="connsiteX428" fmla="*/ 209968 w 7467600"/>
              <a:gd name="connsiteY428" fmla="*/ 6770713 h 6858000"/>
              <a:gd name="connsiteX429" fmla="*/ 873460 w 7467600"/>
              <a:gd name="connsiteY429" fmla="*/ 6253768 h 6858000"/>
              <a:gd name="connsiteX430" fmla="*/ 192686 w 7467600"/>
              <a:gd name="connsiteY430" fmla="*/ 5849257 h 6858000"/>
              <a:gd name="connsiteX431" fmla="*/ 4696 w 7467600"/>
              <a:gd name="connsiteY431" fmla="*/ 5697668 h 6858000"/>
              <a:gd name="connsiteX432" fmla="*/ 0 w 7467600"/>
              <a:gd name="connsiteY432" fmla="*/ 5689984 h 6858000"/>
              <a:gd name="connsiteX433" fmla="*/ 0 w 7467600"/>
              <a:gd name="connsiteY433" fmla="*/ 5513472 h 6858000"/>
              <a:gd name="connsiteX434" fmla="*/ 174101 w 7467600"/>
              <a:gd name="connsiteY434" fmla="*/ 5620277 h 6858000"/>
              <a:gd name="connsiteX435" fmla="*/ 891800 w 7467600"/>
              <a:gd name="connsiteY435" fmla="*/ 6036935 h 6858000"/>
              <a:gd name="connsiteX436" fmla="*/ 1072219 w 7467600"/>
              <a:gd name="connsiteY436" fmla="*/ 6169443 h 6858000"/>
              <a:gd name="connsiteX437" fmla="*/ 1074117 w 7467600"/>
              <a:gd name="connsiteY437" fmla="*/ 6170301 h 6858000"/>
              <a:gd name="connsiteX438" fmla="*/ 1083114 w 7467600"/>
              <a:gd name="connsiteY438" fmla="*/ 6174131 h 6858000"/>
              <a:gd name="connsiteX439" fmla="*/ 1543010 w 7467600"/>
              <a:gd name="connsiteY439" fmla="*/ 6191140 h 6858000"/>
              <a:gd name="connsiteX440" fmla="*/ 1551080 w 7467600"/>
              <a:gd name="connsiteY440" fmla="*/ 6195006 h 6858000"/>
              <a:gd name="connsiteX441" fmla="*/ 2345443 w 7467600"/>
              <a:gd name="connsiteY441" fmla="*/ 5549882 h 6858000"/>
              <a:gd name="connsiteX442" fmla="*/ 1721499 w 7467600"/>
              <a:gd name="connsiteY442" fmla="*/ 5599969 h 6858000"/>
              <a:gd name="connsiteX443" fmla="*/ 767716 w 7467600"/>
              <a:gd name="connsiteY443" fmla="*/ 5472768 h 6858000"/>
              <a:gd name="connsiteX444" fmla="*/ 722147 w 7467600"/>
              <a:gd name="connsiteY444" fmla="*/ 5393091 h 6858000"/>
              <a:gd name="connsiteX445" fmla="*/ 1485552 w 7467600"/>
              <a:gd name="connsiteY445" fmla="*/ 5313202 h 6858000"/>
              <a:gd name="connsiteX446" fmla="*/ 2143004 w 7467600"/>
              <a:gd name="connsiteY446" fmla="*/ 5402420 h 6858000"/>
              <a:gd name="connsiteX447" fmla="*/ 1933391 w 7467600"/>
              <a:gd name="connsiteY447" fmla="*/ 5156971 h 6858000"/>
              <a:gd name="connsiteX448" fmla="*/ 1827118 w 7467600"/>
              <a:gd name="connsiteY448" fmla="*/ 4968410 h 6858000"/>
              <a:gd name="connsiteX449" fmla="*/ 1837349 w 7467600"/>
              <a:gd name="connsiteY449" fmla="*/ 4956357 h 6858000"/>
              <a:gd name="connsiteX450" fmla="*/ 2162835 w 7467600"/>
              <a:gd name="connsiteY450" fmla="*/ 5187853 h 6858000"/>
              <a:gd name="connsiteX451" fmla="*/ 2257167 w 7467600"/>
              <a:gd name="connsiteY451" fmla="*/ 5462123 h 6858000"/>
              <a:gd name="connsiteX452" fmla="*/ 2261598 w 7467600"/>
              <a:gd name="connsiteY452" fmla="*/ 5467998 h 6858000"/>
              <a:gd name="connsiteX453" fmla="*/ 2437177 w 7467600"/>
              <a:gd name="connsiteY453" fmla="*/ 5479608 h 6858000"/>
              <a:gd name="connsiteX454" fmla="*/ 2445247 w 7467600"/>
              <a:gd name="connsiteY454" fmla="*/ 5483476 h 6858000"/>
              <a:gd name="connsiteX455" fmla="*/ 2743626 w 7467600"/>
              <a:gd name="connsiteY455" fmla="*/ 5304819 h 6858000"/>
              <a:gd name="connsiteX456" fmla="*/ 3048102 w 7467600"/>
              <a:gd name="connsiteY456" fmla="*/ 5150595 h 6858000"/>
              <a:gd name="connsiteX457" fmla="*/ 1799414 w 7467600"/>
              <a:gd name="connsiteY457" fmla="*/ 4694732 h 6858000"/>
              <a:gd name="connsiteX458" fmla="*/ 1771735 w 7467600"/>
              <a:gd name="connsiteY458" fmla="*/ 4619929 h 6858000"/>
              <a:gd name="connsiteX459" fmla="*/ 3104273 w 7467600"/>
              <a:gd name="connsiteY459" fmla="*/ 5076159 h 6858000"/>
              <a:gd name="connsiteX460" fmla="*/ 3113245 w 7467600"/>
              <a:gd name="connsiteY460" fmla="*/ 5090705 h 6858000"/>
              <a:gd name="connsiteX461" fmla="*/ 3126294 w 7467600"/>
              <a:gd name="connsiteY461" fmla="*/ 5114400 h 6858000"/>
              <a:gd name="connsiteX462" fmla="*/ 3937433 w 7467600"/>
              <a:gd name="connsiteY462" fmla="*/ 4830473 h 6858000"/>
              <a:gd name="connsiteX463" fmla="*/ 3590475 w 7467600"/>
              <a:gd name="connsiteY463" fmla="*/ 4597974 h 6858000"/>
              <a:gd name="connsiteX464" fmla="*/ 3100264 w 7467600"/>
              <a:gd name="connsiteY464" fmla="*/ 4579845 h 6858000"/>
              <a:gd name="connsiteX465" fmla="*/ 2183576 w 7467600"/>
              <a:gd name="connsiteY465" fmla="*/ 4227150 h 6858000"/>
              <a:gd name="connsiteX466" fmla="*/ 2151029 w 7467600"/>
              <a:gd name="connsiteY466" fmla="*/ 4146947 h 6858000"/>
              <a:gd name="connsiteX467" fmla="*/ 3563434 w 7467600"/>
              <a:gd name="connsiteY467" fmla="*/ 4469115 h 6858000"/>
              <a:gd name="connsiteX468" fmla="*/ 3177952 w 7467600"/>
              <a:gd name="connsiteY468" fmla="*/ 3657386 h 6858000"/>
              <a:gd name="connsiteX469" fmla="*/ 3189263 w 7467600"/>
              <a:gd name="connsiteY469" fmla="*/ 3625726 h 6858000"/>
              <a:gd name="connsiteX470" fmla="*/ 3560912 w 7467600"/>
              <a:gd name="connsiteY470" fmla="*/ 4079863 h 6858000"/>
              <a:gd name="connsiteX471" fmla="*/ 3626636 w 7467600"/>
              <a:gd name="connsiteY471" fmla="*/ 4512230 h 6858000"/>
              <a:gd name="connsiteX472" fmla="*/ 3653088 w 7467600"/>
              <a:gd name="connsiteY472" fmla="*/ 4521417 h 6858000"/>
              <a:gd name="connsiteX473" fmla="*/ 3988128 w 7467600"/>
              <a:gd name="connsiteY473" fmla="*/ 4817267 h 6858000"/>
              <a:gd name="connsiteX474" fmla="*/ 4830582 w 7467600"/>
              <a:gd name="connsiteY474" fmla="*/ 4676000 h 6858000"/>
              <a:gd name="connsiteX475" fmla="*/ 4830100 w 7467600"/>
              <a:gd name="connsiteY475" fmla="*/ 4675554 h 6858000"/>
              <a:gd name="connsiteX476" fmla="*/ 4036318 w 7467600"/>
              <a:gd name="connsiteY476" fmla="*/ 4147013 h 6858000"/>
              <a:gd name="connsiteX477" fmla="*/ 3432098 w 7467600"/>
              <a:gd name="connsiteY477" fmla="*/ 3537312 h 6858000"/>
              <a:gd name="connsiteX478" fmla="*/ 3446761 w 7467600"/>
              <a:gd name="connsiteY478" fmla="*/ 3461278 h 6858000"/>
              <a:gd name="connsiteX479" fmla="*/ 4419733 w 7467600"/>
              <a:gd name="connsiteY479" fmla="*/ 3963555 h 6858000"/>
              <a:gd name="connsiteX480" fmla="*/ 4781371 w 7467600"/>
              <a:gd name="connsiteY480" fmla="*/ 4458604 h 6858000"/>
              <a:gd name="connsiteX481" fmla="*/ 4780440 w 7467600"/>
              <a:gd name="connsiteY481" fmla="*/ 4470290 h 6858000"/>
              <a:gd name="connsiteX482" fmla="*/ 4898954 w 7467600"/>
              <a:gd name="connsiteY482" fmla="*/ 4662092 h 6858000"/>
              <a:gd name="connsiteX483" fmla="*/ 4900699 w 7467600"/>
              <a:gd name="connsiteY483" fmla="*/ 4670867 h 6858000"/>
              <a:gd name="connsiteX484" fmla="*/ 5714511 w 7467600"/>
              <a:gd name="connsiteY484" fmla="*/ 4663483 h 6858000"/>
              <a:gd name="connsiteX485" fmla="*/ 5464793 w 7467600"/>
              <a:gd name="connsiteY485" fmla="*/ 4393556 h 6858000"/>
              <a:gd name="connsiteX486" fmla="*/ 5461897 w 7467600"/>
              <a:gd name="connsiteY486" fmla="*/ 4390879 h 6858000"/>
              <a:gd name="connsiteX487" fmla="*/ 4294126 w 7467600"/>
              <a:gd name="connsiteY487" fmla="*/ 3303048 h 6858000"/>
              <a:gd name="connsiteX488" fmla="*/ 4305321 w 7467600"/>
              <a:gd name="connsiteY488" fmla="*/ 3256953 h 6858000"/>
              <a:gd name="connsiteX489" fmla="*/ 4949299 w 7467600"/>
              <a:gd name="connsiteY489" fmla="*/ 3766336 h 6858000"/>
              <a:gd name="connsiteX490" fmla="*/ 5291452 w 7467600"/>
              <a:gd name="connsiteY490" fmla="*/ 4076801 h 6858000"/>
              <a:gd name="connsiteX491" fmla="*/ 5434998 w 7467600"/>
              <a:gd name="connsiteY491" fmla="*/ 4254100 h 6858000"/>
              <a:gd name="connsiteX492" fmla="*/ 5351015 w 7467600"/>
              <a:gd name="connsiteY492" fmla="*/ 3760989 h 6858000"/>
              <a:gd name="connsiteX493" fmla="*/ 5413780 w 7467600"/>
              <a:gd name="connsiteY493" fmla="*/ 2966265 h 6858000"/>
              <a:gd name="connsiteX494" fmla="*/ 5425627 w 7467600"/>
              <a:gd name="connsiteY494" fmla="*/ 2954192 h 6858000"/>
              <a:gd name="connsiteX495" fmla="*/ 6604735 w 7467600"/>
              <a:gd name="connsiteY495" fmla="*/ 2041381 h 6858000"/>
              <a:gd name="connsiteX496" fmla="*/ 7204487 w 7467600"/>
              <a:gd name="connsiteY496" fmla="*/ 2742112 h 6858000"/>
              <a:gd name="connsiteX497" fmla="*/ 7131592 w 7467600"/>
              <a:gd name="connsiteY497" fmla="*/ 2672096 h 6858000"/>
              <a:gd name="connsiteX498" fmla="*/ 6996344 w 7467600"/>
              <a:gd name="connsiteY498" fmla="*/ 2518310 h 6858000"/>
              <a:gd name="connsiteX499" fmla="*/ 6735495 w 7467600"/>
              <a:gd name="connsiteY499" fmla="*/ 2196890 h 6858000"/>
              <a:gd name="connsiteX500" fmla="*/ 6721901 w 7467600"/>
              <a:gd name="connsiteY500" fmla="*/ 2179274 h 6858000"/>
              <a:gd name="connsiteX501" fmla="*/ 6604735 w 7467600"/>
              <a:gd name="connsiteY501" fmla="*/ 2041381 h 6858000"/>
              <a:gd name="connsiteX502" fmla="*/ 6591670 w 7467600"/>
              <a:gd name="connsiteY502" fmla="*/ 1988277 h 6858000"/>
              <a:gd name="connsiteX503" fmla="*/ 6747349 w 7467600"/>
              <a:gd name="connsiteY503" fmla="*/ 2160069 h 6858000"/>
              <a:gd name="connsiteX504" fmla="*/ 6760943 w 7467600"/>
              <a:gd name="connsiteY504" fmla="*/ 2177686 h 6858000"/>
              <a:gd name="connsiteX505" fmla="*/ 7021065 w 7467600"/>
              <a:gd name="connsiteY505" fmla="*/ 2498102 h 6858000"/>
              <a:gd name="connsiteX506" fmla="*/ 7155223 w 7467600"/>
              <a:gd name="connsiteY506" fmla="*/ 2650386 h 6858000"/>
              <a:gd name="connsiteX507" fmla="*/ 7203167 w 7467600"/>
              <a:gd name="connsiteY507" fmla="*/ 2697288 h 6858000"/>
              <a:gd name="connsiteX508" fmla="*/ 6937703 w 7467600"/>
              <a:gd name="connsiteY508" fmla="*/ 2321981 h 6858000"/>
              <a:gd name="connsiteX509" fmla="*/ 6591670 w 7467600"/>
              <a:gd name="connsiteY509" fmla="*/ 1988277 h 6858000"/>
              <a:gd name="connsiteX510" fmla="*/ 5798671 w 7467600"/>
              <a:gd name="connsiteY510" fmla="*/ 1981601 h 6858000"/>
              <a:gd name="connsiteX511" fmla="*/ 5754709 w 7467600"/>
              <a:gd name="connsiteY511" fmla="*/ 2071454 h 6858000"/>
              <a:gd name="connsiteX512" fmla="*/ 5763044 w 7467600"/>
              <a:gd name="connsiteY512" fmla="*/ 2842206 h 6858000"/>
              <a:gd name="connsiteX513" fmla="*/ 5764974 w 7467600"/>
              <a:gd name="connsiteY513" fmla="*/ 2799609 h 6858000"/>
              <a:gd name="connsiteX514" fmla="*/ 5767665 w 7467600"/>
              <a:gd name="connsiteY514" fmla="*/ 2666409 h 6858000"/>
              <a:gd name="connsiteX515" fmla="*/ 5763055 w 7467600"/>
              <a:gd name="connsiteY515" fmla="*/ 2579705 h 6858000"/>
              <a:gd name="connsiteX516" fmla="*/ 5758079 w 7467600"/>
              <a:gd name="connsiteY516" fmla="*/ 2492508 h 6858000"/>
              <a:gd name="connsiteX517" fmla="*/ 5779325 w 7467600"/>
              <a:gd name="connsiteY517" fmla="*/ 2197069 h 6858000"/>
              <a:gd name="connsiteX518" fmla="*/ 5798671 w 7467600"/>
              <a:gd name="connsiteY518" fmla="*/ 1981601 h 6858000"/>
              <a:gd name="connsiteX519" fmla="*/ 5829202 w 7467600"/>
              <a:gd name="connsiteY519" fmla="*/ 1971679 h 6858000"/>
              <a:gd name="connsiteX520" fmla="*/ 5809558 w 7467600"/>
              <a:gd name="connsiteY520" fmla="*/ 2198043 h 6858000"/>
              <a:gd name="connsiteX521" fmla="*/ 5788653 w 7467600"/>
              <a:gd name="connsiteY521" fmla="*/ 2489430 h 6858000"/>
              <a:gd name="connsiteX522" fmla="*/ 5793439 w 7467600"/>
              <a:gd name="connsiteY522" fmla="*/ 2575235 h 6858000"/>
              <a:gd name="connsiteX523" fmla="*/ 5796837 w 7467600"/>
              <a:gd name="connsiteY523" fmla="*/ 2637633 h 6858000"/>
              <a:gd name="connsiteX524" fmla="*/ 5818614 w 7467600"/>
              <a:gd name="connsiteY524" fmla="*/ 2473055 h 6858000"/>
              <a:gd name="connsiteX525" fmla="*/ 5829202 w 7467600"/>
              <a:gd name="connsiteY525" fmla="*/ 1971679 h 6858000"/>
              <a:gd name="connsiteX526" fmla="*/ 5911389 w 7467600"/>
              <a:gd name="connsiteY526" fmla="*/ 1898371 h 6858000"/>
              <a:gd name="connsiteX527" fmla="*/ 6237627 w 7467600"/>
              <a:gd name="connsiteY527" fmla="*/ 2231921 h 6858000"/>
              <a:gd name="connsiteX528" fmla="*/ 5911389 w 7467600"/>
              <a:gd name="connsiteY528" fmla="*/ 1898371 h 6858000"/>
              <a:gd name="connsiteX529" fmla="*/ 6944437 w 7467600"/>
              <a:gd name="connsiteY529" fmla="*/ 1575402 h 6858000"/>
              <a:gd name="connsiteX530" fmla="*/ 6304730 w 7467600"/>
              <a:gd name="connsiteY530" fmla="*/ 1766654 h 6858000"/>
              <a:gd name="connsiteX531" fmla="*/ 6944437 w 7467600"/>
              <a:gd name="connsiteY531" fmla="*/ 1575402 h 6858000"/>
              <a:gd name="connsiteX532" fmla="*/ 7019523 w 7467600"/>
              <a:gd name="connsiteY532" fmla="*/ 1519450 h 6858000"/>
              <a:gd name="connsiteX533" fmla="*/ 6298091 w 7467600"/>
              <a:gd name="connsiteY533" fmla="*/ 1737122 h 6858000"/>
              <a:gd name="connsiteX534" fmla="*/ 7019523 w 7467600"/>
              <a:gd name="connsiteY534" fmla="*/ 1519450 h 6858000"/>
              <a:gd name="connsiteX535" fmla="*/ 2399523 w 7467600"/>
              <a:gd name="connsiteY535" fmla="*/ 1428234 h 6858000"/>
              <a:gd name="connsiteX536" fmla="*/ 2224982 w 7467600"/>
              <a:gd name="connsiteY536" fmla="*/ 1826201 h 6858000"/>
              <a:gd name="connsiteX537" fmla="*/ 2096099 w 7467600"/>
              <a:gd name="connsiteY537" fmla="*/ 2345900 h 6858000"/>
              <a:gd name="connsiteX538" fmla="*/ 2283317 w 7467600"/>
              <a:gd name="connsiteY538" fmla="*/ 1796925 h 6858000"/>
              <a:gd name="connsiteX539" fmla="*/ 2399523 w 7467600"/>
              <a:gd name="connsiteY539" fmla="*/ 1428234 h 6858000"/>
              <a:gd name="connsiteX540" fmla="*/ 2448558 w 7467600"/>
              <a:gd name="connsiteY540" fmla="*/ 1373435 h 6858000"/>
              <a:gd name="connsiteX541" fmla="*/ 2312521 w 7467600"/>
              <a:gd name="connsiteY541" fmla="*/ 1806140 h 6858000"/>
              <a:gd name="connsiteX542" fmla="*/ 2127533 w 7467600"/>
              <a:gd name="connsiteY542" fmla="*/ 2348380 h 6858000"/>
              <a:gd name="connsiteX543" fmla="*/ 2358080 w 7467600"/>
              <a:gd name="connsiteY543" fmla="*/ 1866134 h 6858000"/>
              <a:gd name="connsiteX544" fmla="*/ 2407436 w 7467600"/>
              <a:gd name="connsiteY544" fmla="*/ 1651070 h 6858000"/>
              <a:gd name="connsiteX545" fmla="*/ 2448558 w 7467600"/>
              <a:gd name="connsiteY545" fmla="*/ 1373435 h 6858000"/>
              <a:gd name="connsiteX546" fmla="*/ 278707 w 7467600"/>
              <a:gd name="connsiteY546" fmla="*/ 1352270 h 6858000"/>
              <a:gd name="connsiteX547" fmla="*/ 321570 w 7467600"/>
              <a:gd name="connsiteY547" fmla="*/ 1861610 h 6858000"/>
              <a:gd name="connsiteX548" fmla="*/ 294281 w 7467600"/>
              <a:gd name="connsiteY548" fmla="*/ 1440658 h 6858000"/>
              <a:gd name="connsiteX549" fmla="*/ 278707 w 7467600"/>
              <a:gd name="connsiteY549" fmla="*/ 1352270 h 6858000"/>
              <a:gd name="connsiteX550" fmla="*/ 1423821 w 7467600"/>
              <a:gd name="connsiteY550" fmla="*/ 1351958 h 6858000"/>
              <a:gd name="connsiteX551" fmla="*/ 1638521 w 7467600"/>
              <a:gd name="connsiteY551" fmla="*/ 1908470 h 6858000"/>
              <a:gd name="connsiteX552" fmla="*/ 1754199 w 7467600"/>
              <a:gd name="connsiteY552" fmla="*/ 2149284 h 6858000"/>
              <a:gd name="connsiteX553" fmla="*/ 1908359 w 7467600"/>
              <a:gd name="connsiteY553" fmla="*/ 2364988 h 6858000"/>
              <a:gd name="connsiteX554" fmla="*/ 1647661 w 7467600"/>
              <a:gd name="connsiteY554" fmla="*/ 1825945 h 6858000"/>
              <a:gd name="connsiteX555" fmla="*/ 1423821 w 7467600"/>
              <a:gd name="connsiteY555" fmla="*/ 1351958 h 6858000"/>
              <a:gd name="connsiteX556" fmla="*/ 1431890 w 7467600"/>
              <a:gd name="connsiteY556" fmla="*/ 1306475 h 6858000"/>
              <a:gd name="connsiteX557" fmla="*/ 1507597 w 7467600"/>
              <a:gd name="connsiteY557" fmla="*/ 1446132 h 6858000"/>
              <a:gd name="connsiteX558" fmla="*/ 1674586 w 7467600"/>
              <a:gd name="connsiteY558" fmla="*/ 1813832 h 6858000"/>
              <a:gd name="connsiteX559" fmla="*/ 1815950 w 7467600"/>
              <a:gd name="connsiteY559" fmla="*/ 2128564 h 6858000"/>
              <a:gd name="connsiteX560" fmla="*/ 1984242 w 7467600"/>
              <a:gd name="connsiteY560" fmla="*/ 2430829 h 6858000"/>
              <a:gd name="connsiteX561" fmla="*/ 2014023 w 7467600"/>
              <a:gd name="connsiteY561" fmla="*/ 2450995 h 6858000"/>
              <a:gd name="connsiteX562" fmla="*/ 1747337 w 7467600"/>
              <a:gd name="connsiteY562" fmla="*/ 1855264 h 6858000"/>
              <a:gd name="connsiteX563" fmla="*/ 1533749 w 7467600"/>
              <a:gd name="connsiteY563" fmla="*/ 1478656 h 6858000"/>
              <a:gd name="connsiteX564" fmla="*/ 1431890 w 7467600"/>
              <a:gd name="connsiteY564" fmla="*/ 1306475 h 6858000"/>
              <a:gd name="connsiteX565" fmla="*/ 5052692 w 7467600"/>
              <a:gd name="connsiteY565" fmla="*/ 1292994 h 6858000"/>
              <a:gd name="connsiteX566" fmla="*/ 5200661 w 7467600"/>
              <a:gd name="connsiteY566" fmla="*/ 1635186 h 6858000"/>
              <a:gd name="connsiteX567" fmla="*/ 5297138 w 7467600"/>
              <a:gd name="connsiteY567" fmla="*/ 1906351 h 6858000"/>
              <a:gd name="connsiteX568" fmla="*/ 5052692 w 7467600"/>
              <a:gd name="connsiteY568" fmla="*/ 1292994 h 6858000"/>
              <a:gd name="connsiteX569" fmla="*/ 5009948 w 7467600"/>
              <a:gd name="connsiteY569" fmla="*/ 1273619 h 6858000"/>
              <a:gd name="connsiteX570" fmla="*/ 5121777 w 7467600"/>
              <a:gd name="connsiteY570" fmla="*/ 1654213 h 6858000"/>
              <a:gd name="connsiteX571" fmla="*/ 5293545 w 7467600"/>
              <a:gd name="connsiteY571" fmla="*/ 2072247 h 6858000"/>
              <a:gd name="connsiteX572" fmla="*/ 5294042 w 7467600"/>
              <a:gd name="connsiteY572" fmla="*/ 2065019 h 6858000"/>
              <a:gd name="connsiteX573" fmla="*/ 5171936 w 7467600"/>
              <a:gd name="connsiteY573" fmla="*/ 1647613 h 6858000"/>
              <a:gd name="connsiteX574" fmla="*/ 5009948 w 7467600"/>
              <a:gd name="connsiteY574" fmla="*/ 1273619 h 6858000"/>
              <a:gd name="connsiteX575" fmla="*/ 655236 w 7467600"/>
              <a:gd name="connsiteY575" fmla="*/ 1268632 h 6858000"/>
              <a:gd name="connsiteX576" fmla="*/ 839521 w 7467600"/>
              <a:gd name="connsiteY576" fmla="*/ 1685315 h 6858000"/>
              <a:gd name="connsiteX577" fmla="*/ 1109416 w 7467600"/>
              <a:gd name="connsiteY577" fmla="*/ 2061663 h 6858000"/>
              <a:gd name="connsiteX578" fmla="*/ 1298300 w 7467600"/>
              <a:gd name="connsiteY578" fmla="*/ 2247742 h 6858000"/>
              <a:gd name="connsiteX579" fmla="*/ 1125871 w 7467600"/>
              <a:gd name="connsiteY579" fmla="*/ 1989513 h 6858000"/>
              <a:gd name="connsiteX580" fmla="*/ 981574 w 7467600"/>
              <a:gd name="connsiteY580" fmla="*/ 1783157 h 6858000"/>
              <a:gd name="connsiteX581" fmla="*/ 922198 w 7467600"/>
              <a:gd name="connsiteY581" fmla="*/ 1677437 h 6858000"/>
              <a:gd name="connsiteX582" fmla="*/ 869293 w 7467600"/>
              <a:gd name="connsiteY582" fmla="*/ 1583214 h 6858000"/>
              <a:gd name="connsiteX583" fmla="*/ 751431 w 7467600"/>
              <a:gd name="connsiteY583" fmla="*/ 1405731 h 6858000"/>
              <a:gd name="connsiteX584" fmla="*/ 655236 w 7467600"/>
              <a:gd name="connsiteY584" fmla="*/ 1268632 h 6858000"/>
              <a:gd name="connsiteX585" fmla="*/ 6516292 w 7467600"/>
              <a:gd name="connsiteY585" fmla="*/ 1263064 h 6858000"/>
              <a:gd name="connsiteX586" fmla="*/ 5736320 w 7467600"/>
              <a:gd name="connsiteY586" fmla="*/ 1501803 h 6858000"/>
              <a:gd name="connsiteX587" fmla="*/ 6516292 w 7467600"/>
              <a:gd name="connsiteY587" fmla="*/ 1263064 h 6858000"/>
              <a:gd name="connsiteX588" fmla="*/ 291466 w 7467600"/>
              <a:gd name="connsiteY588" fmla="*/ 1250369 h 6858000"/>
              <a:gd name="connsiteX589" fmla="*/ 323180 w 7467600"/>
              <a:gd name="connsiteY589" fmla="*/ 1435283 h 6858000"/>
              <a:gd name="connsiteX590" fmla="*/ 349381 w 7467600"/>
              <a:gd name="connsiteY590" fmla="*/ 1875041 h 6858000"/>
              <a:gd name="connsiteX591" fmla="*/ 374363 w 7467600"/>
              <a:gd name="connsiteY591" fmla="*/ 1506494 h 6858000"/>
              <a:gd name="connsiteX592" fmla="*/ 302168 w 7467600"/>
              <a:gd name="connsiteY592" fmla="*/ 1274495 h 6858000"/>
              <a:gd name="connsiteX593" fmla="*/ 291466 w 7467600"/>
              <a:gd name="connsiteY593" fmla="*/ 1250369 h 6858000"/>
              <a:gd name="connsiteX594" fmla="*/ 678222 w 7467600"/>
              <a:gd name="connsiteY594" fmla="*/ 1248670 h 6858000"/>
              <a:gd name="connsiteX595" fmla="*/ 775536 w 7467600"/>
              <a:gd name="connsiteY595" fmla="*/ 1388015 h 6858000"/>
              <a:gd name="connsiteX596" fmla="*/ 894529 w 7467600"/>
              <a:gd name="connsiteY596" fmla="*/ 1567739 h 6858000"/>
              <a:gd name="connsiteX597" fmla="*/ 948000 w 7467600"/>
              <a:gd name="connsiteY597" fmla="*/ 1663088 h 6858000"/>
              <a:gd name="connsiteX598" fmla="*/ 1006812 w 7467600"/>
              <a:gd name="connsiteY598" fmla="*/ 1767683 h 6858000"/>
              <a:gd name="connsiteX599" fmla="*/ 1149133 w 7467600"/>
              <a:gd name="connsiteY599" fmla="*/ 1971513 h 6858000"/>
              <a:gd name="connsiteX600" fmla="*/ 1333952 w 7467600"/>
              <a:gd name="connsiteY600" fmla="*/ 2251620 h 6858000"/>
              <a:gd name="connsiteX601" fmla="*/ 1337329 w 7467600"/>
              <a:gd name="connsiteY601" fmla="*/ 2258350 h 6858000"/>
              <a:gd name="connsiteX602" fmla="*/ 1014726 w 7467600"/>
              <a:gd name="connsiteY602" fmla="*/ 1615556 h 6858000"/>
              <a:gd name="connsiteX603" fmla="*/ 678222 w 7467600"/>
              <a:gd name="connsiteY603" fmla="*/ 1248670 h 6858000"/>
              <a:gd name="connsiteX604" fmla="*/ 6691602 w 7467600"/>
              <a:gd name="connsiteY604" fmla="*/ 1140573 h 6858000"/>
              <a:gd name="connsiteX605" fmla="*/ 6571100 w 7467600"/>
              <a:gd name="connsiteY605" fmla="*/ 1183662 h 6858000"/>
              <a:gd name="connsiteX606" fmla="*/ 6241687 w 7467600"/>
              <a:gd name="connsiteY606" fmla="*/ 1257600 h 6858000"/>
              <a:gd name="connsiteX607" fmla="*/ 5693009 w 7467600"/>
              <a:gd name="connsiteY607" fmla="*/ 1478256 h 6858000"/>
              <a:gd name="connsiteX608" fmla="*/ 6548420 w 7467600"/>
              <a:gd name="connsiteY608" fmla="*/ 1214599 h 6858000"/>
              <a:gd name="connsiteX609" fmla="*/ 6605473 w 7467600"/>
              <a:gd name="connsiteY609" fmla="*/ 1184686 h 6858000"/>
              <a:gd name="connsiteX610" fmla="*/ 6691602 w 7467600"/>
              <a:gd name="connsiteY610" fmla="*/ 1140573 h 6858000"/>
              <a:gd name="connsiteX611" fmla="*/ 4002475 w 7467600"/>
              <a:gd name="connsiteY611" fmla="*/ 1037802 h 6858000"/>
              <a:gd name="connsiteX612" fmla="*/ 4000324 w 7467600"/>
              <a:gd name="connsiteY612" fmla="*/ 1039362 h 6858000"/>
              <a:gd name="connsiteX613" fmla="*/ 4002862 w 7467600"/>
              <a:gd name="connsiteY613" fmla="*/ 1042866 h 6858000"/>
              <a:gd name="connsiteX614" fmla="*/ 4002475 w 7467600"/>
              <a:gd name="connsiteY614" fmla="*/ 1037802 h 6858000"/>
              <a:gd name="connsiteX615" fmla="*/ 506322 w 7467600"/>
              <a:gd name="connsiteY615" fmla="*/ 1020997 h 6858000"/>
              <a:gd name="connsiteX616" fmla="*/ 533068 w 7467600"/>
              <a:gd name="connsiteY616" fmla="*/ 1029409 h 6858000"/>
              <a:gd name="connsiteX617" fmla="*/ 1232525 w 7467600"/>
              <a:gd name="connsiteY617" fmla="*/ 1804675 h 6858000"/>
              <a:gd name="connsiteX618" fmla="*/ 1388858 w 7467600"/>
              <a:gd name="connsiteY618" fmla="*/ 2368011 h 6858000"/>
              <a:gd name="connsiteX619" fmla="*/ 1384098 w 7467600"/>
              <a:gd name="connsiteY619" fmla="*/ 2378125 h 6858000"/>
              <a:gd name="connsiteX620" fmla="*/ 1425393 w 7467600"/>
              <a:gd name="connsiteY620" fmla="*/ 2589124 h 6858000"/>
              <a:gd name="connsiteX621" fmla="*/ 1424001 w 7467600"/>
              <a:gd name="connsiteY621" fmla="*/ 2597541 h 6858000"/>
              <a:gd name="connsiteX622" fmla="*/ 2152729 w 7467600"/>
              <a:gd name="connsiteY622" fmla="*/ 2864487 h 6858000"/>
              <a:gd name="connsiteX623" fmla="*/ 2020609 w 7467600"/>
              <a:gd name="connsiteY623" fmla="*/ 2539671 h 6858000"/>
              <a:gd name="connsiteX624" fmla="*/ 2018920 w 7467600"/>
              <a:gd name="connsiteY624" fmla="*/ 2536309 h 6858000"/>
              <a:gd name="connsiteX625" fmla="*/ 1342441 w 7467600"/>
              <a:gd name="connsiteY625" fmla="*/ 1173017 h 6858000"/>
              <a:gd name="connsiteX626" fmla="*/ 1367925 w 7467600"/>
              <a:gd name="connsiteY626" fmla="*/ 1135648 h 6858000"/>
              <a:gd name="connsiteX627" fmla="*/ 1771401 w 7467600"/>
              <a:gd name="connsiteY627" fmla="*/ 1806673 h 6858000"/>
              <a:gd name="connsiteX628" fmla="*/ 1972385 w 7467600"/>
              <a:gd name="connsiteY628" fmla="*/ 2198735 h 6858000"/>
              <a:gd name="connsiteX629" fmla="*/ 2040892 w 7467600"/>
              <a:gd name="connsiteY629" fmla="*/ 2405205 h 6858000"/>
              <a:gd name="connsiteX630" fmla="*/ 2131689 w 7467600"/>
              <a:gd name="connsiteY630" fmla="*/ 1936926 h 6858000"/>
              <a:gd name="connsiteX631" fmla="*/ 2454820 w 7467600"/>
              <a:gd name="connsiteY631" fmla="*/ 1248808 h 6858000"/>
              <a:gd name="connsiteX632" fmla="*/ 2492512 w 7467600"/>
              <a:gd name="connsiteY632" fmla="*/ 1302920 h 6858000"/>
              <a:gd name="connsiteX633" fmla="*/ 2081216 w 7467600"/>
              <a:gd name="connsiteY633" fmla="*/ 2527513 h 6858000"/>
              <a:gd name="connsiteX634" fmla="*/ 2081211 w 7467600"/>
              <a:gd name="connsiteY634" fmla="*/ 2528916 h 6858000"/>
              <a:gd name="connsiteX635" fmla="*/ 2199067 w 7467600"/>
              <a:gd name="connsiteY635" fmla="*/ 2884061 h 6858000"/>
              <a:gd name="connsiteX636" fmla="*/ 3192586 w 7467600"/>
              <a:gd name="connsiteY636" fmla="*/ 3411496 h 6858000"/>
              <a:gd name="connsiteX637" fmla="*/ 3182620 w 7467600"/>
              <a:gd name="connsiteY637" fmla="*/ 3483279 h 6858000"/>
              <a:gd name="connsiteX638" fmla="*/ 2435119 w 7467600"/>
              <a:gd name="connsiteY638" fmla="*/ 3080173 h 6858000"/>
              <a:gd name="connsiteX639" fmla="*/ 2410152 w 7467600"/>
              <a:gd name="connsiteY639" fmla="*/ 3063751 h 6858000"/>
              <a:gd name="connsiteX640" fmla="*/ 2408099 w 7467600"/>
              <a:gd name="connsiteY640" fmla="*/ 3064403 h 6858000"/>
              <a:gd name="connsiteX641" fmla="*/ 2407218 w 7467600"/>
              <a:gd name="connsiteY641" fmla="*/ 3070324 h 6858000"/>
              <a:gd name="connsiteX642" fmla="*/ 2380138 w 7467600"/>
              <a:gd name="connsiteY642" fmla="*/ 3099341 h 6858000"/>
              <a:gd name="connsiteX643" fmla="*/ 1765923 w 7467600"/>
              <a:gd name="connsiteY643" fmla="*/ 3581043 h 6858000"/>
              <a:gd name="connsiteX644" fmla="*/ 1702258 w 7467600"/>
              <a:gd name="connsiteY644" fmla="*/ 3612286 h 6858000"/>
              <a:gd name="connsiteX645" fmla="*/ 1538370 w 7467600"/>
              <a:gd name="connsiteY645" fmla="*/ 3811804 h 6858000"/>
              <a:gd name="connsiteX646" fmla="*/ 542867 w 7467600"/>
              <a:gd name="connsiteY646" fmla="*/ 4944092 h 6858000"/>
              <a:gd name="connsiteX647" fmla="*/ 515800 w 7467600"/>
              <a:gd name="connsiteY647" fmla="*/ 4862180 h 6858000"/>
              <a:gd name="connsiteX648" fmla="*/ 909145 w 7467600"/>
              <a:gd name="connsiteY648" fmla="*/ 4199225 h 6858000"/>
              <a:gd name="connsiteX649" fmla="*/ 1214067 w 7467600"/>
              <a:gd name="connsiteY649" fmla="*/ 3908561 h 6858000"/>
              <a:gd name="connsiteX650" fmla="*/ 640967 w 7467600"/>
              <a:gd name="connsiteY650" fmla="*/ 4105601 h 6858000"/>
              <a:gd name="connsiteX651" fmla="*/ 112563 w 7467600"/>
              <a:gd name="connsiteY651" fmla="*/ 4396952 h 6858000"/>
              <a:gd name="connsiteX652" fmla="*/ 0 w 7467600"/>
              <a:gd name="connsiteY652" fmla="*/ 4466006 h 6858000"/>
              <a:gd name="connsiteX653" fmla="*/ 0 w 7467600"/>
              <a:gd name="connsiteY653" fmla="*/ 4233763 h 6858000"/>
              <a:gd name="connsiteX654" fmla="*/ 36881 w 7467600"/>
              <a:gd name="connsiteY654" fmla="*/ 4200118 h 6858000"/>
              <a:gd name="connsiteX655" fmla="*/ 910534 w 7467600"/>
              <a:gd name="connsiteY655" fmla="*/ 3629753 h 6858000"/>
              <a:gd name="connsiteX656" fmla="*/ 1578717 w 7467600"/>
              <a:gd name="connsiteY656" fmla="*/ 3575982 h 6858000"/>
              <a:gd name="connsiteX657" fmla="*/ 2338780 w 7467600"/>
              <a:gd name="connsiteY657" fmla="*/ 3033725 h 6858000"/>
              <a:gd name="connsiteX658" fmla="*/ 1807991 w 7467600"/>
              <a:gd name="connsiteY658" fmla="*/ 2807184 h 6858000"/>
              <a:gd name="connsiteX659" fmla="*/ 1416358 w 7467600"/>
              <a:gd name="connsiteY659" fmla="*/ 3112571 h 6858000"/>
              <a:gd name="connsiteX660" fmla="*/ 939066 w 7467600"/>
              <a:gd name="connsiteY660" fmla="*/ 3378798 h 6858000"/>
              <a:gd name="connsiteX661" fmla="*/ 115099 w 7467600"/>
              <a:gd name="connsiteY661" fmla="*/ 3607650 h 6858000"/>
              <a:gd name="connsiteX662" fmla="*/ 97284 w 7467600"/>
              <a:gd name="connsiteY662" fmla="*/ 3520393 h 6858000"/>
              <a:gd name="connsiteX663" fmla="*/ 922050 w 7467600"/>
              <a:gd name="connsiteY663" fmla="*/ 3074867 h 6858000"/>
              <a:gd name="connsiteX664" fmla="*/ 1405265 w 7467600"/>
              <a:gd name="connsiteY664" fmla="*/ 3016319 h 6858000"/>
              <a:gd name="connsiteX665" fmla="*/ 1407512 w 7467600"/>
              <a:gd name="connsiteY665" fmla="*/ 3018001 h 6858000"/>
              <a:gd name="connsiteX666" fmla="*/ 1726266 w 7467600"/>
              <a:gd name="connsiteY666" fmla="*/ 2777274 h 6858000"/>
              <a:gd name="connsiteX667" fmla="*/ 625390 w 7467600"/>
              <a:gd name="connsiteY667" fmla="*/ 2514541 h 6858000"/>
              <a:gd name="connsiteX668" fmla="*/ 619799 w 7467600"/>
              <a:gd name="connsiteY668" fmla="*/ 2527180 h 6858000"/>
              <a:gd name="connsiteX669" fmla="*/ 310030 w 7467600"/>
              <a:gd name="connsiteY669" fmla="*/ 2771818 h 6858000"/>
              <a:gd name="connsiteX670" fmla="*/ 173877 w 7467600"/>
              <a:gd name="connsiteY670" fmla="*/ 2937056 h 6858000"/>
              <a:gd name="connsiteX671" fmla="*/ 77889 w 7467600"/>
              <a:gd name="connsiteY671" fmla="*/ 3138440 h 6858000"/>
              <a:gd name="connsiteX672" fmla="*/ 0 w 7467600"/>
              <a:gd name="connsiteY672" fmla="*/ 3271395 h 6858000"/>
              <a:gd name="connsiteX673" fmla="*/ 0 w 7467600"/>
              <a:gd name="connsiteY673" fmla="*/ 3153002 h 6858000"/>
              <a:gd name="connsiteX674" fmla="*/ 2386 w 7467600"/>
              <a:gd name="connsiteY674" fmla="*/ 3149203 h 6858000"/>
              <a:gd name="connsiteX675" fmla="*/ 89753 w 7467600"/>
              <a:gd name="connsiteY675" fmla="*/ 2987702 h 6858000"/>
              <a:gd name="connsiteX676" fmla="*/ 76869 w 7467600"/>
              <a:gd name="connsiteY676" fmla="*/ 3005404 h 6858000"/>
              <a:gd name="connsiteX677" fmla="*/ 32049 w 7467600"/>
              <a:gd name="connsiteY677" fmla="*/ 3065814 h 6858000"/>
              <a:gd name="connsiteX678" fmla="*/ 0 w 7467600"/>
              <a:gd name="connsiteY678" fmla="*/ 3108744 h 6858000"/>
              <a:gd name="connsiteX679" fmla="*/ 0 w 7467600"/>
              <a:gd name="connsiteY679" fmla="*/ 3058059 h 6858000"/>
              <a:gd name="connsiteX680" fmla="*/ 7610 w 7467600"/>
              <a:gd name="connsiteY680" fmla="*/ 3047889 h 6858000"/>
              <a:gd name="connsiteX681" fmla="*/ 52419 w 7467600"/>
              <a:gd name="connsiteY681" fmla="*/ 2987479 h 6858000"/>
              <a:gd name="connsiteX682" fmla="*/ 59142 w 7467600"/>
              <a:gd name="connsiteY682" fmla="*/ 2978488 h 6858000"/>
              <a:gd name="connsiteX683" fmla="*/ 0 w 7467600"/>
              <a:gd name="connsiteY683" fmla="*/ 3015334 h 6858000"/>
              <a:gd name="connsiteX684" fmla="*/ 0 w 7467600"/>
              <a:gd name="connsiteY684" fmla="*/ 2914286 h 6858000"/>
              <a:gd name="connsiteX685" fmla="*/ 36383 w 7467600"/>
              <a:gd name="connsiteY685" fmla="*/ 2901128 h 6858000"/>
              <a:gd name="connsiteX686" fmla="*/ 156329 w 7467600"/>
              <a:gd name="connsiteY686" fmla="*/ 2840533 h 6858000"/>
              <a:gd name="connsiteX687" fmla="*/ 358355 w 7467600"/>
              <a:gd name="connsiteY687" fmla="*/ 2620471 h 6858000"/>
              <a:gd name="connsiteX688" fmla="*/ 510577 w 7467600"/>
              <a:gd name="connsiteY688" fmla="*/ 2501244 h 6858000"/>
              <a:gd name="connsiteX689" fmla="*/ 211967 w 7467600"/>
              <a:gd name="connsiteY689" fmla="*/ 2479171 h 6858000"/>
              <a:gd name="connsiteX690" fmla="*/ 0 w 7467600"/>
              <a:gd name="connsiteY690" fmla="*/ 2476398 h 6858000"/>
              <a:gd name="connsiteX691" fmla="*/ 0 w 7467600"/>
              <a:gd name="connsiteY691" fmla="*/ 2389189 h 6858000"/>
              <a:gd name="connsiteX692" fmla="*/ 103062 w 7467600"/>
              <a:gd name="connsiteY692" fmla="*/ 2389518 h 6858000"/>
              <a:gd name="connsiteX693" fmla="*/ 510734 w 7467600"/>
              <a:gd name="connsiteY693" fmla="*/ 2416201 h 6858000"/>
              <a:gd name="connsiteX694" fmla="*/ 279257 w 7467600"/>
              <a:gd name="connsiteY694" fmla="*/ 2092102 h 6858000"/>
              <a:gd name="connsiteX695" fmla="*/ 65265 w 7467600"/>
              <a:gd name="connsiteY695" fmla="*/ 2006049 h 6858000"/>
              <a:gd name="connsiteX696" fmla="*/ 0 w 7467600"/>
              <a:gd name="connsiteY696" fmla="*/ 1982532 h 6858000"/>
              <a:gd name="connsiteX697" fmla="*/ 0 w 7467600"/>
              <a:gd name="connsiteY697" fmla="*/ 1912789 h 6858000"/>
              <a:gd name="connsiteX698" fmla="*/ 97460 w 7467600"/>
              <a:gd name="connsiteY698" fmla="*/ 1953725 h 6858000"/>
              <a:gd name="connsiteX699" fmla="*/ 221272 w 7467600"/>
              <a:gd name="connsiteY699" fmla="*/ 1980766 h 6858000"/>
              <a:gd name="connsiteX700" fmla="*/ 116765 w 7467600"/>
              <a:gd name="connsiteY700" fmla="*/ 1911033 h 6858000"/>
              <a:gd name="connsiteX701" fmla="*/ 16405 w 7467600"/>
              <a:gd name="connsiteY701" fmla="*/ 1803412 h 6858000"/>
              <a:gd name="connsiteX702" fmla="*/ 0 w 7467600"/>
              <a:gd name="connsiteY702" fmla="*/ 1784777 h 6858000"/>
              <a:gd name="connsiteX703" fmla="*/ 0 w 7467600"/>
              <a:gd name="connsiteY703" fmla="*/ 1740082 h 6858000"/>
              <a:gd name="connsiteX704" fmla="*/ 39394 w 7467600"/>
              <a:gd name="connsiteY704" fmla="*/ 1784856 h 6858000"/>
              <a:gd name="connsiteX705" fmla="*/ 135813 w 7467600"/>
              <a:gd name="connsiteY705" fmla="*/ 1888838 h 6858000"/>
              <a:gd name="connsiteX706" fmla="*/ 242575 w 7467600"/>
              <a:gd name="connsiteY706" fmla="*/ 1958841 h 6858000"/>
              <a:gd name="connsiteX707" fmla="*/ 82197 w 7467600"/>
              <a:gd name="connsiteY707" fmla="*/ 1754826 h 6858000"/>
              <a:gd name="connsiteX708" fmla="*/ 0 w 7467600"/>
              <a:gd name="connsiteY708" fmla="*/ 1679650 h 6858000"/>
              <a:gd name="connsiteX709" fmla="*/ 0 w 7467600"/>
              <a:gd name="connsiteY709" fmla="*/ 1602463 h 6858000"/>
              <a:gd name="connsiteX710" fmla="*/ 84689 w 7467600"/>
              <a:gd name="connsiteY710" fmla="*/ 1677442 h 6858000"/>
              <a:gd name="connsiteX711" fmla="*/ 298437 w 7467600"/>
              <a:gd name="connsiteY711" fmla="*/ 1968019 h 6858000"/>
              <a:gd name="connsiteX712" fmla="*/ 227269 w 7467600"/>
              <a:gd name="connsiteY712" fmla="*/ 1114064 h 6858000"/>
              <a:gd name="connsiteX713" fmla="*/ 248003 w 7467600"/>
              <a:gd name="connsiteY713" fmla="*/ 1089613 h 6858000"/>
              <a:gd name="connsiteX714" fmla="*/ 427020 w 7467600"/>
              <a:gd name="connsiteY714" fmla="*/ 1619803 h 6858000"/>
              <a:gd name="connsiteX715" fmla="*/ 340345 w 7467600"/>
              <a:gd name="connsiteY715" fmla="*/ 2027739 h 6858000"/>
              <a:gd name="connsiteX716" fmla="*/ 360865 w 7467600"/>
              <a:gd name="connsiteY716" fmla="*/ 2044827 h 6858000"/>
              <a:gd name="connsiteX717" fmla="*/ 560414 w 7467600"/>
              <a:gd name="connsiteY717" fmla="*/ 2421457 h 6858000"/>
              <a:gd name="connsiteX718" fmla="*/ 1359703 w 7467600"/>
              <a:gd name="connsiteY718" fmla="*/ 2578554 h 6858000"/>
              <a:gd name="connsiteX719" fmla="*/ 1359422 w 7467600"/>
              <a:gd name="connsiteY719" fmla="*/ 2577994 h 6858000"/>
              <a:gd name="connsiteX720" fmla="*/ 828701 w 7467600"/>
              <a:gd name="connsiteY720" fmla="*/ 1839520 h 6858000"/>
              <a:gd name="connsiteX721" fmla="*/ 494427 w 7467600"/>
              <a:gd name="connsiteY721" fmla="*/ 1092333 h 6858000"/>
              <a:gd name="connsiteX722" fmla="*/ 506322 w 7467600"/>
              <a:gd name="connsiteY722" fmla="*/ 1020997 h 6858000"/>
              <a:gd name="connsiteX723" fmla="*/ 4570198 w 7467600"/>
              <a:gd name="connsiteY723" fmla="*/ 978081 h 6858000"/>
              <a:gd name="connsiteX724" fmla="*/ 4523691 w 7467600"/>
              <a:gd name="connsiteY724" fmla="*/ 1127776 h 6858000"/>
              <a:gd name="connsiteX725" fmla="*/ 4509875 w 7467600"/>
              <a:gd name="connsiteY725" fmla="*/ 1167552 h 6858000"/>
              <a:gd name="connsiteX726" fmla="*/ 4478168 w 7467600"/>
              <a:gd name="connsiteY726" fmla="*/ 1260735 h 6858000"/>
              <a:gd name="connsiteX727" fmla="*/ 4409309 w 7467600"/>
              <a:gd name="connsiteY727" fmla="*/ 1666996 h 6858000"/>
              <a:gd name="connsiteX728" fmla="*/ 4370031 w 7467600"/>
              <a:gd name="connsiteY728" fmla="*/ 1955666 h 6858000"/>
              <a:gd name="connsiteX729" fmla="*/ 4570198 w 7467600"/>
              <a:gd name="connsiteY729" fmla="*/ 978081 h 6858000"/>
              <a:gd name="connsiteX730" fmla="*/ 4557898 w 7467600"/>
              <a:gd name="connsiteY730" fmla="*/ 900011 h 6858000"/>
              <a:gd name="connsiteX731" fmla="*/ 4344840 w 7467600"/>
              <a:gd name="connsiteY731" fmla="*/ 1922038 h 6858000"/>
              <a:gd name="connsiteX732" fmla="*/ 4378710 w 7467600"/>
              <a:gd name="connsiteY732" fmla="*/ 1665516 h 6858000"/>
              <a:gd name="connsiteX733" fmla="*/ 4448798 w 7467600"/>
              <a:gd name="connsiteY733" fmla="*/ 1253024 h 6858000"/>
              <a:gd name="connsiteX734" fmla="*/ 4480315 w 7467600"/>
              <a:gd name="connsiteY734" fmla="*/ 1158454 h 6858000"/>
              <a:gd name="connsiteX735" fmla="*/ 4494133 w 7467600"/>
              <a:gd name="connsiteY735" fmla="*/ 1118676 h 6858000"/>
              <a:gd name="connsiteX736" fmla="*/ 4557898 w 7467600"/>
              <a:gd name="connsiteY736" fmla="*/ 900011 h 6858000"/>
              <a:gd name="connsiteX737" fmla="*/ 5870151 w 7467600"/>
              <a:gd name="connsiteY737" fmla="*/ 898890 h 6858000"/>
              <a:gd name="connsiteX738" fmla="*/ 5861335 w 7467600"/>
              <a:gd name="connsiteY738" fmla="*/ 899177 h 6858000"/>
              <a:gd name="connsiteX739" fmla="*/ 5843702 w 7467600"/>
              <a:gd name="connsiteY739" fmla="*/ 899748 h 6858000"/>
              <a:gd name="connsiteX740" fmla="*/ 5651107 w 7467600"/>
              <a:gd name="connsiteY740" fmla="*/ 920306 h 6858000"/>
              <a:gd name="connsiteX741" fmla="*/ 5459407 w 7467600"/>
              <a:gd name="connsiteY741" fmla="*/ 940975 h 6858000"/>
              <a:gd name="connsiteX742" fmla="*/ 5374846 w 7467600"/>
              <a:gd name="connsiteY742" fmla="*/ 941988 h 6858000"/>
              <a:gd name="connsiteX743" fmla="*/ 5256105 w 7467600"/>
              <a:gd name="connsiteY743" fmla="*/ 945632 h 6858000"/>
              <a:gd name="connsiteX744" fmla="*/ 5107071 w 7467600"/>
              <a:gd name="connsiteY744" fmla="*/ 969720 h 6858000"/>
              <a:gd name="connsiteX745" fmla="*/ 4998681 w 7467600"/>
              <a:gd name="connsiteY745" fmla="*/ 988771 h 6858000"/>
              <a:gd name="connsiteX746" fmla="*/ 5870151 w 7467600"/>
              <a:gd name="connsiteY746" fmla="*/ 898890 h 6858000"/>
              <a:gd name="connsiteX747" fmla="*/ 5504425 w 7467600"/>
              <a:gd name="connsiteY747" fmla="*/ 848067 h 6858000"/>
              <a:gd name="connsiteX748" fmla="*/ 4968849 w 7467600"/>
              <a:gd name="connsiteY748" fmla="*/ 962318 h 6858000"/>
              <a:gd name="connsiteX749" fmla="*/ 5104039 w 7467600"/>
              <a:gd name="connsiteY749" fmla="*/ 940634 h 6858000"/>
              <a:gd name="connsiteX750" fmla="*/ 5256311 w 7467600"/>
              <a:gd name="connsiteY750" fmla="*/ 916490 h 6858000"/>
              <a:gd name="connsiteX751" fmla="*/ 5377381 w 7467600"/>
              <a:gd name="connsiteY751" fmla="*/ 912671 h 6858000"/>
              <a:gd name="connsiteX752" fmla="*/ 5460148 w 7467600"/>
              <a:gd name="connsiteY752" fmla="*/ 911442 h 6858000"/>
              <a:gd name="connsiteX753" fmla="*/ 5648971 w 7467600"/>
              <a:gd name="connsiteY753" fmla="*/ 891331 h 6858000"/>
              <a:gd name="connsiteX754" fmla="*/ 5844807 w 7467600"/>
              <a:gd name="connsiteY754" fmla="*/ 870718 h 6858000"/>
              <a:gd name="connsiteX755" fmla="*/ 5862975 w 7467600"/>
              <a:gd name="connsiteY755" fmla="*/ 869756 h 6858000"/>
              <a:gd name="connsiteX756" fmla="*/ 5920887 w 7467600"/>
              <a:gd name="connsiteY756" fmla="*/ 865929 h 6858000"/>
              <a:gd name="connsiteX757" fmla="*/ 5504425 w 7467600"/>
              <a:gd name="connsiteY757" fmla="*/ 848067 h 6858000"/>
              <a:gd name="connsiteX758" fmla="*/ 3607114 w 7467600"/>
              <a:gd name="connsiteY758" fmla="*/ 467441 h 6858000"/>
              <a:gd name="connsiteX759" fmla="*/ 3296242 w 7467600"/>
              <a:gd name="connsiteY759" fmla="*/ 807991 h 6858000"/>
              <a:gd name="connsiteX760" fmla="*/ 3174674 w 7467600"/>
              <a:gd name="connsiteY760" fmla="*/ 919759 h 6858000"/>
              <a:gd name="connsiteX761" fmla="*/ 3042978 w 7467600"/>
              <a:gd name="connsiteY761" fmla="*/ 1054894 h 6858000"/>
              <a:gd name="connsiteX762" fmla="*/ 2968914 w 7467600"/>
              <a:gd name="connsiteY762" fmla="*/ 1133756 h 6858000"/>
              <a:gd name="connsiteX763" fmla="*/ 3103823 w 7467600"/>
              <a:gd name="connsiteY763" fmla="*/ 1026814 h 6858000"/>
              <a:gd name="connsiteX764" fmla="*/ 3607114 w 7467600"/>
              <a:gd name="connsiteY764" fmla="*/ 467441 h 6858000"/>
              <a:gd name="connsiteX765" fmla="*/ 3744487 w 7467600"/>
              <a:gd name="connsiteY765" fmla="*/ 383136 h 6858000"/>
              <a:gd name="connsiteX766" fmla="*/ 3970213 w 7467600"/>
              <a:gd name="connsiteY766" fmla="*/ 995559 h 6858000"/>
              <a:gd name="connsiteX767" fmla="*/ 3744487 w 7467600"/>
              <a:gd name="connsiteY767" fmla="*/ 383136 h 6858000"/>
              <a:gd name="connsiteX768" fmla="*/ 3624562 w 7467600"/>
              <a:gd name="connsiteY768" fmla="*/ 367041 h 6858000"/>
              <a:gd name="connsiteX769" fmla="*/ 3489712 w 7467600"/>
              <a:gd name="connsiteY769" fmla="*/ 485386 h 6858000"/>
              <a:gd name="connsiteX770" fmla="*/ 3182994 w 7467600"/>
              <a:gd name="connsiteY770" fmla="*/ 828265 h 6858000"/>
              <a:gd name="connsiteX771" fmla="*/ 2892114 w 7467600"/>
              <a:gd name="connsiteY771" fmla="*/ 1172635 h 6858000"/>
              <a:gd name="connsiteX772" fmla="*/ 3021459 w 7467600"/>
              <a:gd name="connsiteY772" fmla="*/ 1035385 h 6858000"/>
              <a:gd name="connsiteX773" fmla="*/ 3153873 w 7467600"/>
              <a:gd name="connsiteY773" fmla="*/ 898971 h 6858000"/>
              <a:gd name="connsiteX774" fmla="*/ 3276511 w 7467600"/>
              <a:gd name="connsiteY774" fmla="*/ 786423 h 6858000"/>
              <a:gd name="connsiteX775" fmla="*/ 3584154 w 7467600"/>
              <a:gd name="connsiteY775" fmla="*/ 448218 h 6858000"/>
              <a:gd name="connsiteX776" fmla="*/ 3624562 w 7467600"/>
              <a:gd name="connsiteY776" fmla="*/ 367041 h 6858000"/>
              <a:gd name="connsiteX777" fmla="*/ 3766672 w 7467600"/>
              <a:gd name="connsiteY777" fmla="*/ 359429 h 6858000"/>
              <a:gd name="connsiteX778" fmla="*/ 3996338 w 7467600"/>
              <a:gd name="connsiteY778" fmla="*/ 968237 h 6858000"/>
              <a:gd name="connsiteX779" fmla="*/ 3766672 w 7467600"/>
              <a:gd name="connsiteY779" fmla="*/ 359429 h 6858000"/>
              <a:gd name="connsiteX780" fmla="*/ 5805386 w 7467600"/>
              <a:gd name="connsiteY780" fmla="*/ 239240 h 6858000"/>
              <a:gd name="connsiteX781" fmla="*/ 5736947 w 7467600"/>
              <a:gd name="connsiteY781" fmla="*/ 261367 h 6858000"/>
              <a:gd name="connsiteX782" fmla="*/ 5427012 w 7467600"/>
              <a:gd name="connsiteY782" fmla="*/ 311272 h 6858000"/>
              <a:gd name="connsiteX783" fmla="*/ 5147818 w 7467600"/>
              <a:gd name="connsiteY783" fmla="*/ 322112 h 6858000"/>
              <a:gd name="connsiteX784" fmla="*/ 5060854 w 7467600"/>
              <a:gd name="connsiteY784" fmla="*/ 311882 h 6858000"/>
              <a:gd name="connsiteX785" fmla="*/ 4945989 w 7467600"/>
              <a:gd name="connsiteY785" fmla="*/ 300516 h 6858000"/>
              <a:gd name="connsiteX786" fmla="*/ 5410479 w 7467600"/>
              <a:gd name="connsiteY786" fmla="*/ 348434 h 6858000"/>
              <a:gd name="connsiteX787" fmla="*/ 5805386 w 7467600"/>
              <a:gd name="connsiteY787" fmla="*/ 239240 h 6858000"/>
              <a:gd name="connsiteX788" fmla="*/ 5905192 w 7467600"/>
              <a:gd name="connsiteY788" fmla="*/ 163079 h 6858000"/>
              <a:gd name="connsiteX789" fmla="*/ 5865655 w 7467600"/>
              <a:gd name="connsiteY789" fmla="*/ 171901 h 6858000"/>
              <a:gd name="connsiteX790" fmla="*/ 5259740 w 7467600"/>
              <a:gd name="connsiteY790" fmla="*/ 257013 h 6858000"/>
              <a:gd name="connsiteX791" fmla="*/ 5208466 w 7467600"/>
              <a:gd name="connsiteY791" fmla="*/ 257550 h 6858000"/>
              <a:gd name="connsiteX792" fmla="*/ 4980204 w 7467600"/>
              <a:gd name="connsiteY792" fmla="*/ 271903 h 6858000"/>
              <a:gd name="connsiteX793" fmla="*/ 5068068 w 7467600"/>
              <a:gd name="connsiteY793" fmla="*/ 282244 h 6858000"/>
              <a:gd name="connsiteX794" fmla="*/ 5153231 w 7467600"/>
              <a:gd name="connsiteY794" fmla="*/ 292240 h 6858000"/>
              <a:gd name="connsiteX795" fmla="*/ 5426491 w 7467600"/>
              <a:gd name="connsiteY795" fmla="*/ 281128 h 6858000"/>
              <a:gd name="connsiteX796" fmla="*/ 5731212 w 7467600"/>
              <a:gd name="connsiteY796" fmla="*/ 231951 h 6858000"/>
              <a:gd name="connsiteX797" fmla="*/ 5905192 w 7467600"/>
              <a:gd name="connsiteY797" fmla="*/ 163079 h 6858000"/>
              <a:gd name="connsiteX798" fmla="*/ 5944437 w 7467600"/>
              <a:gd name="connsiteY798" fmla="*/ 113829 h 6858000"/>
              <a:gd name="connsiteX799" fmla="*/ 5825032 w 7467600"/>
              <a:gd name="connsiteY799" fmla="*/ 146405 h 6858000"/>
              <a:gd name="connsiteX800" fmla="*/ 4955599 w 7467600"/>
              <a:gd name="connsiteY800" fmla="*/ 247008 h 6858000"/>
              <a:gd name="connsiteX801" fmla="*/ 5210104 w 7467600"/>
              <a:gd name="connsiteY801" fmla="*/ 228123 h 6858000"/>
              <a:gd name="connsiteX802" fmla="*/ 5261015 w 7467600"/>
              <a:gd name="connsiteY802" fmla="*/ 227087 h 6858000"/>
              <a:gd name="connsiteX803" fmla="*/ 5861181 w 7467600"/>
              <a:gd name="connsiteY803" fmla="*/ 143093 h 6858000"/>
              <a:gd name="connsiteX804" fmla="*/ 5961252 w 7467600"/>
              <a:gd name="connsiteY804" fmla="*/ 114820 h 6858000"/>
              <a:gd name="connsiteX805" fmla="*/ 5944437 w 7467600"/>
              <a:gd name="connsiteY805" fmla="*/ 113829 h 6858000"/>
              <a:gd name="connsiteX806" fmla="*/ 3882765 w 7467600"/>
              <a:gd name="connsiteY806" fmla="*/ 0 h 6858000"/>
              <a:gd name="connsiteX807" fmla="*/ 3995099 w 7467600"/>
              <a:gd name="connsiteY807" fmla="*/ 0 h 6858000"/>
              <a:gd name="connsiteX808" fmla="*/ 4163818 w 7467600"/>
              <a:gd name="connsiteY808" fmla="*/ 234104 h 6858000"/>
              <a:gd name="connsiteX809" fmla="*/ 4172099 w 7467600"/>
              <a:gd name="connsiteY809" fmla="*/ 234207 h 6858000"/>
              <a:gd name="connsiteX810" fmla="*/ 4784282 w 7467600"/>
              <a:gd name="connsiteY810" fmla="*/ 276561 h 6858000"/>
              <a:gd name="connsiteX811" fmla="*/ 4801687 w 7467600"/>
              <a:gd name="connsiteY811" fmla="*/ 267764 h 6858000"/>
              <a:gd name="connsiteX812" fmla="*/ 6082788 w 7467600"/>
              <a:gd name="connsiteY812" fmla="*/ 64119 h 6858000"/>
              <a:gd name="connsiteX813" fmla="*/ 6099442 w 7467600"/>
              <a:gd name="connsiteY813" fmla="*/ 82568 h 6858000"/>
              <a:gd name="connsiteX814" fmla="*/ 4804137 w 7467600"/>
              <a:gd name="connsiteY814" fmla="*/ 320931 h 6858000"/>
              <a:gd name="connsiteX815" fmla="*/ 4227047 w 7467600"/>
              <a:gd name="connsiteY815" fmla="*/ 313415 h 6858000"/>
              <a:gd name="connsiteX816" fmla="*/ 4346041 w 7467600"/>
              <a:gd name="connsiteY816" fmla="*/ 456086 h 6858000"/>
              <a:gd name="connsiteX817" fmla="*/ 4870967 w 7467600"/>
              <a:gd name="connsiteY817" fmla="*/ 963061 h 6858000"/>
              <a:gd name="connsiteX818" fmla="*/ 4889647 w 7467600"/>
              <a:gd name="connsiteY818" fmla="*/ 957147 h 6858000"/>
              <a:gd name="connsiteX819" fmla="*/ 5422504 w 7467600"/>
              <a:gd name="connsiteY819" fmla="*/ 805191 h 6858000"/>
              <a:gd name="connsiteX820" fmla="*/ 6087656 w 7467600"/>
              <a:gd name="connsiteY820" fmla="*/ 826703 h 6858000"/>
              <a:gd name="connsiteX821" fmla="*/ 6058717 w 7467600"/>
              <a:gd name="connsiteY821" fmla="*/ 865992 h 6858000"/>
              <a:gd name="connsiteX822" fmla="*/ 4974153 w 7467600"/>
              <a:gd name="connsiteY822" fmla="*/ 1045456 h 6858000"/>
              <a:gd name="connsiteX823" fmla="*/ 5627835 w 7467600"/>
              <a:gd name="connsiteY823" fmla="*/ 1472077 h 6858000"/>
              <a:gd name="connsiteX824" fmla="*/ 5629817 w 7467600"/>
              <a:gd name="connsiteY824" fmla="*/ 1471412 h 6858000"/>
              <a:gd name="connsiteX825" fmla="*/ 5634124 w 7467600"/>
              <a:gd name="connsiteY825" fmla="*/ 1470572 h 6858000"/>
              <a:gd name="connsiteX826" fmla="*/ 5755832 w 7467600"/>
              <a:gd name="connsiteY826" fmla="*/ 1383886 h 6858000"/>
              <a:gd name="connsiteX827" fmla="*/ 6014186 w 7467600"/>
              <a:gd name="connsiteY827" fmla="*/ 1279799 h 6858000"/>
              <a:gd name="connsiteX828" fmla="*/ 6901619 w 7467600"/>
              <a:gd name="connsiteY828" fmla="*/ 1047874 h 6858000"/>
              <a:gd name="connsiteX829" fmla="*/ 6931566 w 7467600"/>
              <a:gd name="connsiteY829" fmla="*/ 1062034 h 6858000"/>
              <a:gd name="connsiteX830" fmla="*/ 5790982 w 7467600"/>
              <a:gd name="connsiteY830" fmla="*/ 1561380 h 6858000"/>
              <a:gd name="connsiteX831" fmla="*/ 6188971 w 7467600"/>
              <a:gd name="connsiteY831" fmla="*/ 1755168 h 6858000"/>
              <a:gd name="connsiteX832" fmla="*/ 6202446 w 7467600"/>
              <a:gd name="connsiteY832" fmla="*/ 1752268 h 6858000"/>
              <a:gd name="connsiteX833" fmla="*/ 7179560 w 7467600"/>
              <a:gd name="connsiteY833" fmla="*/ 1467551 h 6858000"/>
              <a:gd name="connsiteX834" fmla="*/ 7158730 w 7467600"/>
              <a:gd name="connsiteY834" fmla="*/ 1507835 h 6858000"/>
              <a:gd name="connsiteX835" fmla="*/ 6326959 w 7467600"/>
              <a:gd name="connsiteY835" fmla="*/ 1817686 h 6858000"/>
              <a:gd name="connsiteX836" fmla="*/ 6537433 w 7467600"/>
              <a:gd name="connsiteY836" fmla="*/ 1907790 h 6858000"/>
              <a:gd name="connsiteX837" fmla="*/ 6550221 w 7467600"/>
              <a:gd name="connsiteY837" fmla="*/ 1910729 h 6858000"/>
              <a:gd name="connsiteX838" fmla="*/ 6964438 w 7467600"/>
              <a:gd name="connsiteY838" fmla="*/ 2209505 h 6858000"/>
              <a:gd name="connsiteX839" fmla="*/ 7367862 w 7467600"/>
              <a:gd name="connsiteY839" fmla="*/ 2806833 h 6858000"/>
              <a:gd name="connsiteX840" fmla="*/ 7364329 w 7467600"/>
              <a:gd name="connsiteY840" fmla="*/ 2826907 h 6858000"/>
              <a:gd name="connsiteX841" fmla="*/ 7290545 w 7467600"/>
              <a:gd name="connsiteY841" fmla="*/ 2850663 h 6858000"/>
              <a:gd name="connsiteX842" fmla="*/ 6472036 w 7467600"/>
              <a:gd name="connsiteY842" fmla="*/ 1959003 h 6858000"/>
              <a:gd name="connsiteX843" fmla="*/ 5792897 w 7467600"/>
              <a:gd name="connsiteY843" fmla="*/ 1647747 h 6858000"/>
              <a:gd name="connsiteX844" fmla="*/ 5842751 w 7467600"/>
              <a:gd name="connsiteY844" fmla="*/ 1816112 h 6858000"/>
              <a:gd name="connsiteX845" fmla="*/ 5847424 w 7467600"/>
              <a:gd name="connsiteY845" fmla="*/ 1815776 h 6858000"/>
              <a:gd name="connsiteX846" fmla="*/ 6399821 w 7467600"/>
              <a:gd name="connsiteY846" fmla="*/ 2344799 h 6858000"/>
              <a:gd name="connsiteX847" fmla="*/ 6323232 w 7467600"/>
              <a:gd name="connsiteY847" fmla="*/ 2389634 h 6858000"/>
              <a:gd name="connsiteX848" fmla="*/ 5942958 w 7467600"/>
              <a:gd name="connsiteY848" fmla="*/ 2077708 h 6858000"/>
              <a:gd name="connsiteX849" fmla="*/ 5921559 w 7467600"/>
              <a:gd name="connsiteY849" fmla="*/ 2378596 h 6858000"/>
              <a:gd name="connsiteX850" fmla="*/ 5817651 w 7467600"/>
              <a:gd name="connsiteY850" fmla="*/ 3023919 h 6858000"/>
              <a:gd name="connsiteX851" fmla="*/ 5729634 w 7467600"/>
              <a:gd name="connsiteY851" fmla="*/ 3051849 h 6858000"/>
              <a:gd name="connsiteX852" fmla="*/ 5611018 w 7467600"/>
              <a:gd name="connsiteY852" fmla="*/ 2316769 h 6858000"/>
              <a:gd name="connsiteX853" fmla="*/ 5687608 w 7467600"/>
              <a:gd name="connsiteY853" fmla="*/ 2039972 h 6858000"/>
              <a:gd name="connsiteX854" fmla="*/ 5657554 w 7467600"/>
              <a:gd name="connsiteY854" fmla="*/ 1576445 h 6858000"/>
              <a:gd name="connsiteX855" fmla="*/ 5150475 w 7467600"/>
              <a:gd name="connsiteY855" fmla="*/ 1274012 h 6858000"/>
              <a:gd name="connsiteX856" fmla="*/ 5349142 w 7467600"/>
              <a:gd name="connsiteY856" fmla="*/ 2204405 h 6858000"/>
              <a:gd name="connsiteX857" fmla="*/ 5262214 w 7467600"/>
              <a:gd name="connsiteY857" fmla="*/ 2233836 h 6858000"/>
              <a:gd name="connsiteX858" fmla="*/ 4981539 w 7467600"/>
              <a:gd name="connsiteY858" fmla="*/ 1542201 h 6858000"/>
              <a:gd name="connsiteX859" fmla="*/ 4958461 w 7467600"/>
              <a:gd name="connsiteY859" fmla="*/ 1136957 h 6858000"/>
              <a:gd name="connsiteX860" fmla="*/ 4655015 w 7467600"/>
              <a:gd name="connsiteY860" fmla="*/ 891426 h 6858000"/>
              <a:gd name="connsiteX861" fmla="*/ 4348002 w 7467600"/>
              <a:gd name="connsiteY861" fmla="*/ 2205895 h 6858000"/>
              <a:gd name="connsiteX862" fmla="*/ 4262250 w 7467600"/>
              <a:gd name="connsiteY862" fmla="*/ 2219972 h 6858000"/>
              <a:gd name="connsiteX863" fmla="*/ 4550611 w 7467600"/>
              <a:gd name="connsiteY863" fmla="*/ 817540 h 6858000"/>
              <a:gd name="connsiteX864" fmla="*/ 4564418 w 7467600"/>
              <a:gd name="connsiteY864" fmla="*/ 808293 h 6858000"/>
              <a:gd name="connsiteX865" fmla="*/ 4266388 w 7467600"/>
              <a:gd name="connsiteY865" fmla="*/ 500083 h 6858000"/>
              <a:gd name="connsiteX866" fmla="*/ 4032842 w 7467600"/>
              <a:gd name="connsiteY866" fmla="*/ 211809 h 6858000"/>
              <a:gd name="connsiteX867" fmla="*/ 3882765 w 7467600"/>
              <a:gd name="connsiteY867" fmla="*/ 0 h 6858000"/>
              <a:gd name="connsiteX868" fmla="*/ 3721337 w 7467600"/>
              <a:gd name="connsiteY868" fmla="*/ 0 h 6858000"/>
              <a:gd name="connsiteX869" fmla="*/ 3797544 w 7467600"/>
              <a:gd name="connsiteY869" fmla="*/ 0 h 6858000"/>
              <a:gd name="connsiteX870" fmla="*/ 3775734 w 7467600"/>
              <a:gd name="connsiteY870" fmla="*/ 95131 h 6858000"/>
              <a:gd name="connsiteX871" fmla="*/ 3724807 w 7467600"/>
              <a:gd name="connsiteY871" fmla="*/ 272257 h 6858000"/>
              <a:gd name="connsiteX872" fmla="*/ 3726844 w 7467600"/>
              <a:gd name="connsiteY872" fmla="*/ 282988 h 6858000"/>
              <a:gd name="connsiteX873" fmla="*/ 3742664 w 7467600"/>
              <a:gd name="connsiteY873" fmla="*/ 279918 h 6858000"/>
              <a:gd name="connsiteX874" fmla="*/ 4103910 w 7467600"/>
              <a:gd name="connsiteY874" fmla="*/ 1161917 h 6858000"/>
              <a:gd name="connsiteX875" fmla="*/ 4020269 w 7467600"/>
              <a:gd name="connsiteY875" fmla="*/ 1200406 h 6858000"/>
              <a:gd name="connsiteX876" fmla="*/ 3674882 w 7467600"/>
              <a:gd name="connsiteY876" fmla="*/ 488524 h 6858000"/>
              <a:gd name="connsiteX877" fmla="*/ 3132682 w 7467600"/>
              <a:gd name="connsiteY877" fmla="*/ 1072284 h 6858000"/>
              <a:gd name="connsiteX878" fmla="*/ 2716346 w 7467600"/>
              <a:gd name="connsiteY878" fmla="*/ 1276376 h 6858000"/>
              <a:gd name="connsiteX879" fmla="*/ 2716772 w 7467600"/>
              <a:gd name="connsiteY879" fmla="*/ 1255462 h 6858000"/>
              <a:gd name="connsiteX880" fmla="*/ 3471096 w 7467600"/>
              <a:gd name="connsiteY880" fmla="*/ 437072 h 6858000"/>
              <a:gd name="connsiteX881" fmla="*/ 3639057 w 7467600"/>
              <a:gd name="connsiteY881" fmla="*/ 286334 h 6858000"/>
              <a:gd name="connsiteX882" fmla="*/ 3640309 w 7467600"/>
              <a:gd name="connsiteY882" fmla="*/ 284664 h 6858000"/>
              <a:gd name="connsiteX883" fmla="*/ 3646022 w 7467600"/>
              <a:gd name="connsiteY883" fmla="*/ 276711 h 6858000"/>
              <a:gd name="connsiteX884" fmla="*/ 3707943 w 7467600"/>
              <a:gd name="connsiteY884" fmla="*/ 65958 h 6858000"/>
              <a:gd name="connsiteX885" fmla="*/ 3721337 w 7467600"/>
              <a:gd name="connsiteY885" fmla="*/ 0 h 6858000"/>
              <a:gd name="connsiteX886" fmla="*/ 2867960 w 7467600"/>
              <a:gd name="connsiteY886" fmla="*/ 0 h 6858000"/>
              <a:gd name="connsiteX887" fmla="*/ 2926351 w 7467600"/>
              <a:gd name="connsiteY887" fmla="*/ 0 h 6858000"/>
              <a:gd name="connsiteX888" fmla="*/ 2902823 w 7467600"/>
              <a:gd name="connsiteY888" fmla="*/ 262929 h 6858000"/>
              <a:gd name="connsiteX889" fmla="*/ 2940663 w 7467600"/>
              <a:gd name="connsiteY889" fmla="*/ 140884 h 6858000"/>
              <a:gd name="connsiteX890" fmla="*/ 2947039 w 7467600"/>
              <a:gd name="connsiteY890" fmla="*/ 122524 h 6858000"/>
              <a:gd name="connsiteX891" fmla="*/ 2984316 w 7467600"/>
              <a:gd name="connsiteY891" fmla="*/ 0 h 6858000"/>
              <a:gd name="connsiteX892" fmla="*/ 3016114 w 7467600"/>
              <a:gd name="connsiteY892" fmla="*/ 0 h 6858000"/>
              <a:gd name="connsiteX893" fmla="*/ 2979949 w 7467600"/>
              <a:gd name="connsiteY893" fmla="*/ 119274 h 6858000"/>
              <a:gd name="connsiteX894" fmla="*/ 3023879 w 7467600"/>
              <a:gd name="connsiteY894" fmla="*/ 0 h 6858000"/>
              <a:gd name="connsiteX895" fmla="*/ 3105400 w 7467600"/>
              <a:gd name="connsiteY895" fmla="*/ 0 h 6858000"/>
              <a:gd name="connsiteX896" fmla="*/ 3094669 w 7467600"/>
              <a:gd name="connsiteY896" fmla="*/ 30308 h 6858000"/>
              <a:gd name="connsiteX897" fmla="*/ 2901945 w 7467600"/>
              <a:gd name="connsiteY897" fmla="*/ 466538 h 6858000"/>
              <a:gd name="connsiteX898" fmla="*/ 2815209 w 7467600"/>
              <a:gd name="connsiteY898" fmla="*/ 497361 h 6858000"/>
              <a:gd name="connsiteX899" fmla="*/ 2844845 w 7467600"/>
              <a:gd name="connsiteY899" fmla="*/ 127638 h 6858000"/>
              <a:gd name="connsiteX900" fmla="*/ 2867960 w 7467600"/>
              <a:gd name="connsiteY900" fmla="*/ 0 h 6858000"/>
              <a:gd name="connsiteX901" fmla="*/ 1057230 w 7467600"/>
              <a:gd name="connsiteY901" fmla="*/ 0 h 6858000"/>
              <a:gd name="connsiteX902" fmla="*/ 1111003 w 7467600"/>
              <a:gd name="connsiteY902" fmla="*/ 0 h 6858000"/>
              <a:gd name="connsiteX903" fmla="*/ 1125553 w 7467600"/>
              <a:gd name="connsiteY903" fmla="*/ 52588 h 6858000"/>
              <a:gd name="connsiteX904" fmla="*/ 1304276 w 7467600"/>
              <a:gd name="connsiteY904" fmla="*/ 476275 h 6858000"/>
              <a:gd name="connsiteX905" fmla="*/ 1492066 w 7467600"/>
              <a:gd name="connsiteY905" fmla="*/ 886333 h 6858000"/>
              <a:gd name="connsiteX906" fmla="*/ 1423698 w 7467600"/>
              <a:gd name="connsiteY906" fmla="*/ 710817 h 6858000"/>
              <a:gd name="connsiteX907" fmla="*/ 1357609 w 7467600"/>
              <a:gd name="connsiteY907" fmla="*/ 532892 h 6858000"/>
              <a:gd name="connsiteX908" fmla="*/ 1309550 w 7467600"/>
              <a:gd name="connsiteY908" fmla="*/ 374031 h 6858000"/>
              <a:gd name="connsiteX909" fmla="*/ 1193673 w 7467600"/>
              <a:gd name="connsiteY909" fmla="*/ 49533 h 6858000"/>
              <a:gd name="connsiteX910" fmla="*/ 1164391 w 7467600"/>
              <a:gd name="connsiteY910" fmla="*/ 0 h 6858000"/>
              <a:gd name="connsiteX911" fmla="*/ 1200666 w 7467600"/>
              <a:gd name="connsiteY911" fmla="*/ 0 h 6858000"/>
              <a:gd name="connsiteX912" fmla="*/ 1223408 w 7467600"/>
              <a:gd name="connsiteY912" fmla="*/ 38996 h 6858000"/>
              <a:gd name="connsiteX913" fmla="*/ 1339635 w 7467600"/>
              <a:gd name="connsiteY913" fmla="*/ 365517 h 6858000"/>
              <a:gd name="connsiteX914" fmla="*/ 1387469 w 7467600"/>
              <a:gd name="connsiteY914" fmla="*/ 523079 h 6858000"/>
              <a:gd name="connsiteX915" fmla="*/ 1452685 w 7467600"/>
              <a:gd name="connsiteY915" fmla="*/ 699806 h 6858000"/>
              <a:gd name="connsiteX916" fmla="*/ 1492092 w 7467600"/>
              <a:gd name="connsiteY916" fmla="*/ 800424 h 6858000"/>
              <a:gd name="connsiteX917" fmla="*/ 1455302 w 7467600"/>
              <a:gd name="connsiteY917" fmla="*/ 632913 h 6858000"/>
              <a:gd name="connsiteX918" fmla="*/ 1222336 w 7467600"/>
              <a:gd name="connsiteY918" fmla="*/ 9480 h 6858000"/>
              <a:gd name="connsiteX919" fmla="*/ 1214634 w 7467600"/>
              <a:gd name="connsiteY919" fmla="*/ 0 h 6858000"/>
              <a:gd name="connsiteX920" fmla="*/ 1289827 w 7467600"/>
              <a:gd name="connsiteY920" fmla="*/ 0 h 6858000"/>
              <a:gd name="connsiteX921" fmla="*/ 1321076 w 7467600"/>
              <a:gd name="connsiteY921" fmla="*/ 59722 h 6858000"/>
              <a:gd name="connsiteX922" fmla="*/ 1512579 w 7467600"/>
              <a:gd name="connsiteY922" fmla="*/ 626441 h 6858000"/>
              <a:gd name="connsiteX923" fmla="*/ 1506076 w 7467600"/>
              <a:gd name="connsiteY923" fmla="*/ 1089289 h 6858000"/>
              <a:gd name="connsiteX924" fmla="*/ 1486346 w 7467600"/>
              <a:gd name="connsiteY924" fmla="*/ 1079919 h 6858000"/>
              <a:gd name="connsiteX925" fmla="*/ 1070511 w 7467600"/>
              <a:gd name="connsiteY925" fmla="*/ 48609 h 6858000"/>
              <a:gd name="connsiteX926" fmla="*/ 1057230 w 7467600"/>
              <a:gd name="connsiteY926" fmla="*/ 0 h 6858000"/>
              <a:gd name="connsiteX927" fmla="*/ 43151 w 7467600"/>
              <a:gd name="connsiteY927" fmla="*/ 0 h 6858000"/>
              <a:gd name="connsiteX928" fmla="*/ 95283 w 7467600"/>
              <a:gd name="connsiteY928" fmla="*/ 0 h 6858000"/>
              <a:gd name="connsiteX929" fmla="*/ 300708 w 7467600"/>
              <a:gd name="connsiteY929" fmla="*/ 154571 h 6858000"/>
              <a:gd name="connsiteX930" fmla="*/ 530414 w 7467600"/>
              <a:gd name="connsiteY930" fmla="*/ 354673 h 6858000"/>
              <a:gd name="connsiteX931" fmla="*/ 333785 w 7467600"/>
              <a:gd name="connsiteY931" fmla="*/ 161564 h 6858000"/>
              <a:gd name="connsiteX932" fmla="*/ 147005 w 7467600"/>
              <a:gd name="connsiteY932" fmla="*/ 0 h 6858000"/>
              <a:gd name="connsiteX933" fmla="*/ 272509 w 7467600"/>
              <a:gd name="connsiteY933" fmla="*/ 0 h 6858000"/>
              <a:gd name="connsiteX934" fmla="*/ 326276 w 7467600"/>
              <a:gd name="connsiteY934" fmla="*/ 45847 h 6858000"/>
              <a:gd name="connsiteX935" fmla="*/ 823759 w 7467600"/>
              <a:gd name="connsiteY935" fmla="*/ 574145 h 6858000"/>
              <a:gd name="connsiteX936" fmla="*/ 811254 w 7467600"/>
              <a:gd name="connsiteY936" fmla="*/ 665546 h 6858000"/>
              <a:gd name="connsiteX937" fmla="*/ 154042 w 7467600"/>
              <a:gd name="connsiteY937" fmla="*/ 261522 h 6858000"/>
              <a:gd name="connsiteX938" fmla="*/ 13550 w 7467600"/>
              <a:gd name="connsiteY938" fmla="*/ 158423 h 6858000"/>
              <a:gd name="connsiteX939" fmla="*/ 0 w 7467600"/>
              <a:gd name="connsiteY939" fmla="*/ 146618 h 6858000"/>
              <a:gd name="connsiteX940" fmla="*/ 0 w 7467600"/>
              <a:gd name="connsiteY940" fmla="*/ 59161 h 6858000"/>
              <a:gd name="connsiteX941" fmla="*/ 45427 w 7467600"/>
              <a:gd name="connsiteY941" fmla="*/ 101078 h 6858000"/>
              <a:gd name="connsiteX942" fmla="*/ 630103 w 7467600"/>
              <a:gd name="connsiteY942" fmla="*/ 485885 h 6858000"/>
              <a:gd name="connsiteX943" fmla="*/ 532040 w 7467600"/>
              <a:gd name="connsiteY943" fmla="*/ 399359 h 6858000"/>
              <a:gd name="connsiteX944" fmla="*/ 517618 w 7467600"/>
              <a:gd name="connsiteY944" fmla="*/ 385726 h 6858000"/>
              <a:gd name="connsiteX945" fmla="*/ 285074 w 7467600"/>
              <a:gd name="connsiteY945" fmla="*/ 182755 h 6858000"/>
              <a:gd name="connsiteX946" fmla="*/ 43151 w 7467600"/>
              <a:gd name="connsiteY946"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434024 w 7467600"/>
              <a:gd name="connsiteY4" fmla="*/ 6722130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7434024 w 7467600"/>
              <a:gd name="connsiteY13" fmla="*/ 6722130 h 6858000"/>
              <a:gd name="connsiteX14" fmla="*/ 1019354 w 7467600"/>
              <a:gd name="connsiteY14" fmla="*/ 6315006 h 6858000"/>
              <a:gd name="connsiteX15" fmla="*/ 441046 w 7467600"/>
              <a:gd name="connsiteY15" fmla="*/ 6691153 h 6858000"/>
              <a:gd name="connsiteX16" fmla="*/ 1019354 w 7467600"/>
              <a:gd name="connsiteY16" fmla="*/ 6315006 h 6858000"/>
              <a:gd name="connsiteX17" fmla="*/ 991680 w 7467600"/>
              <a:gd name="connsiteY17" fmla="*/ 6298413 h 6858000"/>
              <a:gd name="connsiteX18" fmla="*/ 409060 w 7467600"/>
              <a:gd name="connsiteY18" fmla="*/ 6671470 h 6858000"/>
              <a:gd name="connsiteX19" fmla="*/ 991680 w 7467600"/>
              <a:gd name="connsiteY19" fmla="*/ 6298413 h 6858000"/>
              <a:gd name="connsiteX20" fmla="*/ 103333 w 7467600"/>
              <a:gd name="connsiteY20" fmla="*/ 5699602 h 6858000"/>
              <a:gd name="connsiteX21" fmla="*/ 233938 w 7467600"/>
              <a:gd name="connsiteY21" fmla="*/ 5809416 h 6858000"/>
              <a:gd name="connsiteX22" fmla="*/ 883580 w 7467600"/>
              <a:gd name="connsiteY22" fmla="*/ 6180710 h 6858000"/>
              <a:gd name="connsiteX23" fmla="*/ 487337 w 7467600"/>
              <a:gd name="connsiteY23" fmla="*/ 5950182 h 6858000"/>
              <a:gd name="connsiteX24" fmla="*/ 354051 w 7467600"/>
              <a:gd name="connsiteY24" fmla="*/ 5854912 h 6858000"/>
              <a:gd name="connsiteX25" fmla="*/ 195436 w 7467600"/>
              <a:gd name="connsiteY25" fmla="*/ 5755068 h 6858000"/>
              <a:gd name="connsiteX26" fmla="*/ 103333 w 7467600"/>
              <a:gd name="connsiteY26" fmla="*/ 5699602 h 6858000"/>
              <a:gd name="connsiteX27" fmla="*/ 5539432 w 7467600"/>
              <a:gd name="connsiteY27" fmla="*/ 5642928 h 6858000"/>
              <a:gd name="connsiteX28" fmla="*/ 5555462 w 7467600"/>
              <a:gd name="connsiteY28" fmla="*/ 5694454 h 6858000"/>
              <a:gd name="connsiteX29" fmla="*/ 5828270 w 7467600"/>
              <a:gd name="connsiteY29" fmla="*/ 6320663 h 6858000"/>
              <a:gd name="connsiteX30" fmla="*/ 5947416 w 7467600"/>
              <a:gd name="connsiteY30" fmla="*/ 6574846 h 6858000"/>
              <a:gd name="connsiteX31" fmla="*/ 5539432 w 7467600"/>
              <a:gd name="connsiteY31" fmla="*/ 5642928 h 6858000"/>
              <a:gd name="connsiteX32" fmla="*/ 51253 w 7467600"/>
              <a:gd name="connsiteY32" fmla="*/ 5631825 h 6858000"/>
              <a:gd name="connsiteX33" fmla="*/ 211622 w 7467600"/>
              <a:gd name="connsiteY33" fmla="*/ 5728803 h 6858000"/>
              <a:gd name="connsiteX34" fmla="*/ 371652 w 7467600"/>
              <a:gd name="connsiteY34" fmla="*/ 5829062 h 6858000"/>
              <a:gd name="connsiteX35" fmla="*/ 505903 w 7467600"/>
              <a:gd name="connsiteY35" fmla="*/ 5925221 h 6858000"/>
              <a:gd name="connsiteX36" fmla="*/ 899240 w 7467600"/>
              <a:gd name="connsiteY36" fmla="*/ 6153068 h 6858000"/>
              <a:gd name="connsiteX37" fmla="*/ 988114 w 7467600"/>
              <a:gd name="connsiteY37" fmla="*/ 6174204 h 6858000"/>
              <a:gd name="connsiteX38" fmla="*/ 845971 w 7467600"/>
              <a:gd name="connsiteY38" fmla="*/ 6067177 h 6858000"/>
              <a:gd name="connsiteX39" fmla="*/ 448057 w 7467600"/>
              <a:gd name="connsiteY39" fmla="*/ 5841376 h 6858000"/>
              <a:gd name="connsiteX40" fmla="*/ 51253 w 7467600"/>
              <a:gd name="connsiteY40" fmla="*/ 5631825 h 6858000"/>
              <a:gd name="connsiteX41" fmla="*/ 2606687 w 7467600"/>
              <a:gd name="connsiteY41" fmla="*/ 5630718 h 6858000"/>
              <a:gd name="connsiteX42" fmla="*/ 2645658 w 7467600"/>
              <a:gd name="connsiteY42" fmla="*/ 6640259 h 6858000"/>
              <a:gd name="connsiteX43" fmla="*/ 2606687 w 7467600"/>
              <a:gd name="connsiteY43" fmla="*/ 5630718 h 6858000"/>
              <a:gd name="connsiteX44" fmla="*/ 3642057 w 7467600"/>
              <a:gd name="connsiteY44" fmla="*/ 5573487 h 6858000"/>
              <a:gd name="connsiteX45" fmla="*/ 3632981 w 7467600"/>
              <a:gd name="connsiteY45" fmla="*/ 5579437 h 6858000"/>
              <a:gd name="connsiteX46" fmla="*/ 3382436 w 7467600"/>
              <a:gd name="connsiteY46" fmla="*/ 5952726 h 6858000"/>
              <a:gd name="connsiteX47" fmla="*/ 3191929 w 7467600"/>
              <a:gd name="connsiteY47" fmla="*/ 6662669 h 6858000"/>
              <a:gd name="connsiteX48" fmla="*/ 3369898 w 7467600"/>
              <a:gd name="connsiteY48" fmla="*/ 6081771 h 6858000"/>
              <a:gd name="connsiteX49" fmla="*/ 3642057 w 7467600"/>
              <a:gd name="connsiteY49" fmla="*/ 5573487 h 6858000"/>
              <a:gd name="connsiteX50" fmla="*/ 2650666 w 7467600"/>
              <a:gd name="connsiteY50" fmla="*/ 5530686 h 6858000"/>
              <a:gd name="connsiteX51" fmla="*/ 2650249 w 7467600"/>
              <a:gd name="connsiteY51" fmla="*/ 5532101 h 6858000"/>
              <a:gd name="connsiteX52" fmla="*/ 2663808 w 7467600"/>
              <a:gd name="connsiteY52" fmla="*/ 6535215 h 6858000"/>
              <a:gd name="connsiteX53" fmla="*/ 2665418 w 7467600"/>
              <a:gd name="connsiteY53" fmla="*/ 6132756 h 6858000"/>
              <a:gd name="connsiteX54" fmla="*/ 2650666 w 7467600"/>
              <a:gd name="connsiteY54" fmla="*/ 5530686 h 6858000"/>
              <a:gd name="connsiteX55" fmla="*/ 2680277 w 7467600"/>
              <a:gd name="connsiteY55" fmla="*/ 5479204 h 6858000"/>
              <a:gd name="connsiteX56" fmla="*/ 2678972 w 7467600"/>
              <a:gd name="connsiteY56" fmla="*/ 5481582 h 6858000"/>
              <a:gd name="connsiteX57" fmla="*/ 2696666 w 7467600"/>
              <a:gd name="connsiteY57" fmla="*/ 6133836 h 6858000"/>
              <a:gd name="connsiteX58" fmla="*/ 2695769 w 7467600"/>
              <a:gd name="connsiteY58" fmla="*/ 6390955 h 6858000"/>
              <a:gd name="connsiteX59" fmla="*/ 2739893 w 7467600"/>
              <a:gd name="connsiteY59" fmla="*/ 6108357 h 6858000"/>
              <a:gd name="connsiteX60" fmla="*/ 2680277 w 7467600"/>
              <a:gd name="connsiteY60" fmla="*/ 5479204 h 6858000"/>
              <a:gd name="connsiteX61" fmla="*/ 1132195 w 7467600"/>
              <a:gd name="connsiteY61" fmla="*/ 5467980 h 6858000"/>
              <a:gd name="connsiteX62" fmla="*/ 1679056 w 7467600"/>
              <a:gd name="connsiteY62" fmla="*/ 5516907 h 6858000"/>
              <a:gd name="connsiteX63" fmla="*/ 2128648 w 7467600"/>
              <a:gd name="connsiteY63" fmla="*/ 5474249 h 6858000"/>
              <a:gd name="connsiteX64" fmla="*/ 1825619 w 7467600"/>
              <a:gd name="connsiteY64" fmla="*/ 5478447 h 6858000"/>
              <a:gd name="connsiteX65" fmla="*/ 1737798 w 7467600"/>
              <a:gd name="connsiteY65" fmla="*/ 5483353 h 6858000"/>
              <a:gd name="connsiteX66" fmla="*/ 1132195 w 7467600"/>
              <a:gd name="connsiteY66" fmla="*/ 5467980 h 6858000"/>
              <a:gd name="connsiteX67" fmla="*/ 1456157 w 7467600"/>
              <a:gd name="connsiteY67" fmla="*/ 5371404 h 6858000"/>
              <a:gd name="connsiteX68" fmla="*/ 1244432 w 7467600"/>
              <a:gd name="connsiteY68" fmla="*/ 5385601 h 6858000"/>
              <a:gd name="connsiteX69" fmla="*/ 973990 w 7467600"/>
              <a:gd name="connsiteY69" fmla="*/ 5424940 h 6858000"/>
              <a:gd name="connsiteX70" fmla="*/ 1103809 w 7467600"/>
              <a:gd name="connsiteY70" fmla="*/ 5433720 h 6858000"/>
              <a:gd name="connsiteX71" fmla="*/ 1123454 w 7467600"/>
              <a:gd name="connsiteY71" fmla="*/ 5435727 h 6858000"/>
              <a:gd name="connsiteX72" fmla="*/ 1737017 w 7467600"/>
              <a:gd name="connsiteY72" fmla="*/ 5452183 h 6858000"/>
              <a:gd name="connsiteX73" fmla="*/ 1824397 w 7467600"/>
              <a:gd name="connsiteY73" fmla="*/ 5447757 h 6858000"/>
              <a:gd name="connsiteX74" fmla="*/ 2070059 w 7467600"/>
              <a:gd name="connsiteY74" fmla="*/ 5441660 h 6858000"/>
              <a:gd name="connsiteX75" fmla="*/ 1456157 w 7467600"/>
              <a:gd name="connsiteY75" fmla="*/ 5371404 h 6858000"/>
              <a:gd name="connsiteX76" fmla="*/ 4988186 w 7467600"/>
              <a:gd name="connsiteY76" fmla="*/ 5216467 h 6858000"/>
              <a:gd name="connsiteX77" fmla="*/ 4777334 w 7467600"/>
              <a:gd name="connsiteY77" fmla="*/ 5406072 h 6858000"/>
              <a:gd name="connsiteX78" fmla="*/ 4718341 w 7467600"/>
              <a:gd name="connsiteY78" fmla="*/ 5468043 h 6858000"/>
              <a:gd name="connsiteX79" fmla="*/ 4604655 w 7467600"/>
              <a:gd name="connsiteY79" fmla="*/ 5583434 h 6858000"/>
              <a:gd name="connsiteX80" fmla="*/ 4565074 w 7467600"/>
              <a:gd name="connsiteY80" fmla="*/ 5618550 h 6858000"/>
              <a:gd name="connsiteX81" fmla="*/ 4988186 w 7467600"/>
              <a:gd name="connsiteY81" fmla="*/ 5216467 h 6858000"/>
              <a:gd name="connsiteX82" fmla="*/ 4978032 w 7467600"/>
              <a:gd name="connsiteY82" fmla="*/ 5183809 h 6858000"/>
              <a:gd name="connsiteX83" fmla="*/ 4463413 w 7467600"/>
              <a:gd name="connsiteY83" fmla="*/ 5615162 h 6858000"/>
              <a:gd name="connsiteX84" fmla="*/ 4358134 w 7467600"/>
              <a:gd name="connsiteY84" fmla="*/ 5742791 h 6858000"/>
              <a:gd name="connsiteX85" fmla="*/ 4376219 w 7467600"/>
              <a:gd name="connsiteY85" fmla="*/ 5729027 h 6858000"/>
              <a:gd name="connsiteX86" fmla="*/ 4582340 w 7467600"/>
              <a:gd name="connsiteY86" fmla="*/ 5561037 h 6858000"/>
              <a:gd name="connsiteX87" fmla="*/ 4694684 w 7467600"/>
              <a:gd name="connsiteY87" fmla="*/ 5447098 h 6858000"/>
              <a:gd name="connsiteX88" fmla="*/ 4754123 w 7467600"/>
              <a:gd name="connsiteY88" fmla="*/ 5384643 h 6858000"/>
              <a:gd name="connsiteX89" fmla="*/ 4978032 w 7467600"/>
              <a:gd name="connsiteY89" fmla="*/ 5183809 h 6858000"/>
              <a:gd name="connsiteX90" fmla="*/ 1903353 w 7467600"/>
              <a:gd name="connsiteY90" fmla="*/ 5044827 h 6858000"/>
              <a:gd name="connsiteX91" fmla="*/ 1936931 w 7467600"/>
              <a:gd name="connsiteY91" fmla="*/ 5093954 h 6858000"/>
              <a:gd name="connsiteX92" fmla="*/ 2195868 w 7467600"/>
              <a:gd name="connsiteY92" fmla="*/ 5396574 h 6858000"/>
              <a:gd name="connsiteX93" fmla="*/ 2088852 w 7467600"/>
              <a:gd name="connsiteY93" fmla="*/ 5166123 h 6858000"/>
              <a:gd name="connsiteX94" fmla="*/ 1958241 w 7467600"/>
              <a:gd name="connsiteY94" fmla="*/ 5067955 h 6858000"/>
              <a:gd name="connsiteX95" fmla="*/ 1903353 w 7467600"/>
              <a:gd name="connsiteY95" fmla="*/ 5044827 h 6858000"/>
              <a:gd name="connsiteX96" fmla="*/ 1979378 w 7467600"/>
              <a:gd name="connsiteY96" fmla="*/ 4769504 h 6858000"/>
              <a:gd name="connsiteX97" fmla="*/ 2882120 w 7467600"/>
              <a:gd name="connsiteY97" fmla="*/ 5064547 h 6858000"/>
              <a:gd name="connsiteX98" fmla="*/ 2793103 w 7467600"/>
              <a:gd name="connsiteY98" fmla="*/ 5039699 h 6858000"/>
              <a:gd name="connsiteX99" fmla="*/ 2770041 w 7467600"/>
              <a:gd name="connsiteY99" fmla="*/ 5033634 h 6858000"/>
              <a:gd name="connsiteX100" fmla="*/ 1979378 w 7467600"/>
              <a:gd name="connsiteY100" fmla="*/ 4769504 h 6858000"/>
              <a:gd name="connsiteX101" fmla="*/ 1927410 w 7467600"/>
              <a:gd name="connsiteY101" fmla="*/ 4716164 h 6858000"/>
              <a:gd name="connsiteX102" fmla="*/ 1959587 w 7467600"/>
              <a:gd name="connsiteY102" fmla="*/ 4728849 h 6858000"/>
              <a:gd name="connsiteX103" fmla="*/ 2777707 w 7467600"/>
              <a:gd name="connsiteY103" fmla="*/ 5003991 h 6858000"/>
              <a:gd name="connsiteX104" fmla="*/ 2800768 w 7467600"/>
              <a:gd name="connsiteY104" fmla="*/ 5010056 h 6858000"/>
              <a:gd name="connsiteX105" fmla="*/ 2879408 w 7467600"/>
              <a:gd name="connsiteY105" fmla="*/ 5031590 h 6858000"/>
              <a:gd name="connsiteX106" fmla="*/ 2862295 w 7467600"/>
              <a:gd name="connsiteY106" fmla="*/ 5022958 h 6858000"/>
              <a:gd name="connsiteX107" fmla="*/ 2813343 w 7467600"/>
              <a:gd name="connsiteY107" fmla="*/ 4998369 h 6858000"/>
              <a:gd name="connsiteX108" fmla="*/ 2646245 w 7467600"/>
              <a:gd name="connsiteY108" fmla="*/ 4930999 h 6858000"/>
              <a:gd name="connsiteX109" fmla="*/ 1999243 w 7467600"/>
              <a:gd name="connsiteY109" fmla="*/ 4730524 h 6858000"/>
              <a:gd name="connsiteX110" fmla="*/ 1979527 w 7467600"/>
              <a:gd name="connsiteY110" fmla="*/ 4726651 h 6858000"/>
              <a:gd name="connsiteX111" fmla="*/ 1927410 w 7467600"/>
              <a:gd name="connsiteY111" fmla="*/ 4716164 h 6858000"/>
              <a:gd name="connsiteX112" fmla="*/ 1997014 w 7467600"/>
              <a:gd name="connsiteY112" fmla="*/ 4698007 h 6858000"/>
              <a:gd name="connsiteX113" fmla="*/ 2005458 w 7467600"/>
              <a:gd name="connsiteY113" fmla="*/ 4699540 h 6858000"/>
              <a:gd name="connsiteX114" fmla="*/ 2657186 w 7467600"/>
              <a:gd name="connsiteY114" fmla="*/ 4901687 h 6858000"/>
              <a:gd name="connsiteX115" fmla="*/ 2826662 w 7467600"/>
              <a:gd name="connsiteY115" fmla="*/ 4970362 h 6858000"/>
              <a:gd name="connsiteX116" fmla="*/ 2876100 w 7467600"/>
              <a:gd name="connsiteY116" fmla="*/ 4995397 h 6858000"/>
              <a:gd name="connsiteX117" fmla="*/ 3042600 w 7467600"/>
              <a:gd name="connsiteY117" fmla="*/ 5059532 h 6858000"/>
              <a:gd name="connsiteX118" fmla="*/ 1997014 w 7467600"/>
              <a:gd name="connsiteY118" fmla="*/ 4698007 h 6858000"/>
              <a:gd name="connsiteX119" fmla="*/ 2305292 w 7467600"/>
              <a:gd name="connsiteY119" fmla="*/ 4219492 h 6858000"/>
              <a:gd name="connsiteX120" fmla="*/ 3360922 w 7467600"/>
              <a:gd name="connsiteY120" fmla="*/ 4529373 h 6858000"/>
              <a:gd name="connsiteX121" fmla="*/ 3492420 w 7467600"/>
              <a:gd name="connsiteY121" fmla="*/ 4510145 h 6858000"/>
              <a:gd name="connsiteX122" fmla="*/ 3364086 w 7467600"/>
              <a:gd name="connsiteY122" fmla="*/ 4480340 h 6858000"/>
              <a:gd name="connsiteX123" fmla="*/ 3225818 w 7467600"/>
              <a:gd name="connsiteY123" fmla="*/ 4411822 h 6858000"/>
              <a:gd name="connsiteX124" fmla="*/ 3129696 w 7467600"/>
              <a:gd name="connsiteY124" fmla="*/ 4360704 h 6858000"/>
              <a:gd name="connsiteX125" fmla="*/ 2814545 w 7467600"/>
              <a:gd name="connsiteY125" fmla="*/ 4282955 h 6858000"/>
              <a:gd name="connsiteX126" fmla="*/ 2305292 w 7467600"/>
              <a:gd name="connsiteY126" fmla="*/ 4219492 h 6858000"/>
              <a:gd name="connsiteX127" fmla="*/ 2626982 w 7467600"/>
              <a:gd name="connsiteY127" fmla="*/ 4206450 h 6858000"/>
              <a:gd name="connsiteX128" fmla="*/ 2490617 w 7467600"/>
              <a:gd name="connsiteY128" fmla="*/ 4206951 h 6858000"/>
              <a:gd name="connsiteX129" fmla="*/ 2819869 w 7467600"/>
              <a:gd name="connsiteY129" fmla="*/ 4252936 h 6858000"/>
              <a:gd name="connsiteX130" fmla="*/ 3143018 w 7467600"/>
              <a:gd name="connsiteY130" fmla="*/ 4332698 h 6858000"/>
              <a:gd name="connsiteX131" fmla="*/ 3241520 w 7467600"/>
              <a:gd name="connsiteY131" fmla="*/ 4385112 h 6858000"/>
              <a:gd name="connsiteX132" fmla="*/ 3374575 w 7467600"/>
              <a:gd name="connsiteY132" fmla="*/ 4451517 h 6858000"/>
              <a:gd name="connsiteX133" fmla="*/ 3505221 w 7467600"/>
              <a:gd name="connsiteY133" fmla="*/ 4480757 h 6858000"/>
              <a:gd name="connsiteX134" fmla="*/ 2626982 w 7467600"/>
              <a:gd name="connsiteY134" fmla="*/ 4206450 h 6858000"/>
              <a:gd name="connsiteX135" fmla="*/ 1310106 w 7467600"/>
              <a:gd name="connsiteY135" fmla="*/ 3943217 h 6858000"/>
              <a:gd name="connsiteX136" fmla="*/ 854994 w 7467600"/>
              <a:gd name="connsiteY136" fmla="*/ 4399136 h 6858000"/>
              <a:gd name="connsiteX137" fmla="*/ 742462 w 7467600"/>
              <a:gd name="connsiteY137" fmla="*/ 4594648 h 6858000"/>
              <a:gd name="connsiteX138" fmla="*/ 820602 w 7467600"/>
              <a:gd name="connsiteY138" fmla="*/ 4485915 h 6858000"/>
              <a:gd name="connsiteX139" fmla="*/ 878295 w 7467600"/>
              <a:gd name="connsiteY139" fmla="*/ 4403594 h 6858000"/>
              <a:gd name="connsiteX140" fmla="*/ 1240607 w 7467600"/>
              <a:gd name="connsiteY140" fmla="*/ 4010401 h 6858000"/>
              <a:gd name="connsiteX141" fmla="*/ 1310106 w 7467600"/>
              <a:gd name="connsiteY141" fmla="*/ 3943217 h 6858000"/>
              <a:gd name="connsiteX142" fmla="*/ 1423113 w 7467600"/>
              <a:gd name="connsiteY142" fmla="*/ 3874565 h 6858000"/>
              <a:gd name="connsiteX143" fmla="*/ 1260565 w 7467600"/>
              <a:gd name="connsiteY143" fmla="*/ 4031982 h 6858000"/>
              <a:gd name="connsiteX144" fmla="*/ 901900 w 7467600"/>
              <a:gd name="connsiteY144" fmla="*/ 4421236 h 6858000"/>
              <a:gd name="connsiteX145" fmla="*/ 845044 w 7467600"/>
              <a:gd name="connsiteY145" fmla="*/ 4502436 h 6858000"/>
              <a:gd name="connsiteX146" fmla="*/ 685926 w 7467600"/>
              <a:gd name="connsiteY146" fmla="*/ 4703069 h 6858000"/>
              <a:gd name="connsiteX147" fmla="*/ 684248 w 7467600"/>
              <a:gd name="connsiteY147" fmla="*/ 4706721 h 6858000"/>
              <a:gd name="connsiteX148" fmla="*/ 1423113 w 7467600"/>
              <a:gd name="connsiteY148" fmla="*/ 3874565 h 6858000"/>
              <a:gd name="connsiteX149" fmla="*/ 3316479 w 7467600"/>
              <a:gd name="connsiteY149" fmla="*/ 3872136 h 6858000"/>
              <a:gd name="connsiteX150" fmla="*/ 3546806 w 7467600"/>
              <a:gd name="connsiteY150" fmla="*/ 4356139 h 6858000"/>
              <a:gd name="connsiteX151" fmla="*/ 3364433 w 7467600"/>
              <a:gd name="connsiteY151" fmla="*/ 3953121 h 6858000"/>
              <a:gd name="connsiteX152" fmla="*/ 3316479 w 7467600"/>
              <a:gd name="connsiteY152" fmla="*/ 3872136 h 6858000"/>
              <a:gd name="connsiteX153" fmla="*/ 3291335 w 7467600"/>
              <a:gd name="connsiteY153" fmla="*/ 3767420 h 6858000"/>
              <a:gd name="connsiteX154" fmla="*/ 3390805 w 7467600"/>
              <a:gd name="connsiteY154" fmla="*/ 3937163 h 6858000"/>
              <a:gd name="connsiteX155" fmla="*/ 3579062 w 7467600"/>
              <a:gd name="connsiteY155" fmla="*/ 4359040 h 6858000"/>
              <a:gd name="connsiteX156" fmla="*/ 3467355 w 7467600"/>
              <a:gd name="connsiteY156" fmla="*/ 3988130 h 6858000"/>
              <a:gd name="connsiteX157" fmla="*/ 3310753 w 7467600"/>
              <a:gd name="connsiteY157" fmla="*/ 3787140 h 6858000"/>
              <a:gd name="connsiteX158" fmla="*/ 3291335 w 7467600"/>
              <a:gd name="connsiteY158" fmla="*/ 3767420 h 6858000"/>
              <a:gd name="connsiteX159" fmla="*/ 1635889 w 7467600"/>
              <a:gd name="connsiteY159" fmla="*/ 3709494 h 6858000"/>
              <a:gd name="connsiteX160" fmla="*/ 1634800 w 7467600"/>
              <a:gd name="connsiteY160" fmla="*/ 3731111 h 6858000"/>
              <a:gd name="connsiteX161" fmla="*/ 1635889 w 7467600"/>
              <a:gd name="connsiteY161" fmla="*/ 3709494 h 6858000"/>
              <a:gd name="connsiteX162" fmla="*/ 1510397 w 7467600"/>
              <a:gd name="connsiteY162" fmla="*/ 3684705 h 6858000"/>
              <a:gd name="connsiteX163" fmla="*/ 1146550 w 7467600"/>
              <a:gd name="connsiteY163" fmla="*/ 3802012 h 6858000"/>
              <a:gd name="connsiteX164" fmla="*/ 698834 w 7467600"/>
              <a:gd name="connsiteY164" fmla="*/ 3952272 h 6858000"/>
              <a:gd name="connsiteX165" fmla="*/ 34256 w 7467600"/>
              <a:gd name="connsiteY165" fmla="*/ 4347603 h 6858000"/>
              <a:gd name="connsiteX166" fmla="*/ 527241 w 7467600"/>
              <a:gd name="connsiteY166" fmla="*/ 4065078 h 6858000"/>
              <a:gd name="connsiteX167" fmla="*/ 1510397 w 7467600"/>
              <a:gd name="connsiteY167" fmla="*/ 3684705 h 6858000"/>
              <a:gd name="connsiteX168" fmla="*/ 1313114 w 7467600"/>
              <a:gd name="connsiteY168" fmla="*/ 3655216 h 6858000"/>
              <a:gd name="connsiteX169" fmla="*/ 1109304 w 7467600"/>
              <a:gd name="connsiteY169" fmla="*/ 3669030 h 6858000"/>
              <a:gd name="connsiteX170" fmla="*/ 8129 w 7467600"/>
              <a:gd name="connsiteY170" fmla="*/ 4330519 h 6858000"/>
              <a:gd name="connsiteX171" fmla="*/ 687572 w 7467600"/>
              <a:gd name="connsiteY171" fmla="*/ 3925629 h 6858000"/>
              <a:gd name="connsiteX172" fmla="*/ 1138365 w 7467600"/>
              <a:gd name="connsiteY172" fmla="*/ 3774515 h 6858000"/>
              <a:gd name="connsiteX173" fmla="*/ 1505579 w 7467600"/>
              <a:gd name="connsiteY173" fmla="*/ 3655526 h 6858000"/>
              <a:gd name="connsiteX174" fmla="*/ 1313114 w 7467600"/>
              <a:gd name="connsiteY174" fmla="*/ 3655216 h 6858000"/>
              <a:gd name="connsiteX175" fmla="*/ 3655073 w 7467600"/>
              <a:gd name="connsiteY175" fmla="*/ 3650884 h 6858000"/>
              <a:gd name="connsiteX176" fmla="*/ 3989938 w 7467600"/>
              <a:gd name="connsiteY176" fmla="*/ 3991685 h 6858000"/>
              <a:gd name="connsiteX177" fmla="*/ 4393907 w 7467600"/>
              <a:gd name="connsiteY177" fmla="*/ 4261258 h 6858000"/>
              <a:gd name="connsiteX178" fmla="*/ 4648051 w 7467600"/>
              <a:gd name="connsiteY178" fmla="*/ 4374051 h 6858000"/>
              <a:gd name="connsiteX179" fmla="*/ 4383389 w 7467600"/>
              <a:gd name="connsiteY179" fmla="*/ 4184369 h 6858000"/>
              <a:gd name="connsiteX180" fmla="*/ 4165508 w 7467600"/>
              <a:gd name="connsiteY180" fmla="*/ 4035196 h 6858000"/>
              <a:gd name="connsiteX181" fmla="*/ 4068162 w 7467600"/>
              <a:gd name="connsiteY181" fmla="*/ 3953394 h 6858000"/>
              <a:gd name="connsiteX182" fmla="*/ 3981416 w 7467600"/>
              <a:gd name="connsiteY182" fmla="*/ 3880482 h 6858000"/>
              <a:gd name="connsiteX183" fmla="*/ 3800147 w 7467600"/>
              <a:gd name="connsiteY183" fmla="*/ 3749872 h 6858000"/>
              <a:gd name="connsiteX184" fmla="*/ 3655073 w 7467600"/>
              <a:gd name="connsiteY184" fmla="*/ 3650884 h 6858000"/>
              <a:gd name="connsiteX185" fmla="*/ 3670252 w 7467600"/>
              <a:gd name="connsiteY185" fmla="*/ 3622798 h 6858000"/>
              <a:gd name="connsiteX186" fmla="*/ 3817258 w 7467600"/>
              <a:gd name="connsiteY186" fmla="*/ 3723577 h 6858000"/>
              <a:gd name="connsiteX187" fmla="*/ 4000461 w 7467600"/>
              <a:gd name="connsiteY187" fmla="*/ 3855966 h 6858000"/>
              <a:gd name="connsiteX188" fmla="*/ 4088180 w 7467600"/>
              <a:gd name="connsiteY188" fmla="*/ 3929774 h 6858000"/>
              <a:gd name="connsiteX189" fmla="*/ 4184555 w 7467600"/>
              <a:gd name="connsiteY189" fmla="*/ 4010683 h 6858000"/>
              <a:gd name="connsiteX190" fmla="*/ 4399563 w 7467600"/>
              <a:gd name="connsiteY190" fmla="*/ 4158106 h 6858000"/>
              <a:gd name="connsiteX191" fmla="*/ 4684469 w 7467600"/>
              <a:gd name="connsiteY191" fmla="*/ 4364680 h 6858000"/>
              <a:gd name="connsiteX192" fmla="*/ 4690271 w 7467600"/>
              <a:gd name="connsiteY192" fmla="*/ 4370034 h 6858000"/>
              <a:gd name="connsiteX193" fmla="*/ 4136093 w 7467600"/>
              <a:gd name="connsiteY193" fmla="*/ 3858466 h 6858000"/>
              <a:gd name="connsiteX194" fmla="*/ 3670252 w 7467600"/>
              <a:gd name="connsiteY194" fmla="*/ 3622798 h 6858000"/>
              <a:gd name="connsiteX195" fmla="*/ 4440129 w 7467600"/>
              <a:gd name="connsiteY195" fmla="*/ 3448571 h 6858000"/>
              <a:gd name="connsiteX196" fmla="*/ 4856525 w 7467600"/>
              <a:gd name="connsiteY196" fmla="*/ 3915351 h 6858000"/>
              <a:gd name="connsiteX197" fmla="*/ 5059055 w 7467600"/>
              <a:gd name="connsiteY197" fmla="*/ 4108918 h 6858000"/>
              <a:gd name="connsiteX198" fmla="*/ 5290070 w 7467600"/>
              <a:gd name="connsiteY198" fmla="*/ 4263619 h 6858000"/>
              <a:gd name="connsiteX199" fmla="*/ 4834991 w 7467600"/>
              <a:gd name="connsiteY199" fmla="*/ 3830985 h 6858000"/>
              <a:gd name="connsiteX200" fmla="*/ 4440129 w 7467600"/>
              <a:gd name="connsiteY200" fmla="*/ 3448571 h 6858000"/>
              <a:gd name="connsiteX201" fmla="*/ 4441737 w 7467600"/>
              <a:gd name="connsiteY201" fmla="*/ 3399734 h 6858000"/>
              <a:gd name="connsiteX202" fmla="*/ 4431236 w 7467600"/>
              <a:gd name="connsiteY202" fmla="*/ 3400954 h 6858000"/>
              <a:gd name="connsiteX203" fmla="*/ 4557150 w 7467600"/>
              <a:gd name="connsiteY203" fmla="*/ 3510023 h 6858000"/>
              <a:gd name="connsiteX204" fmla="*/ 4856936 w 7467600"/>
              <a:gd name="connsiteY204" fmla="*/ 3809146 h 6858000"/>
              <a:gd name="connsiteX205" fmla="*/ 5111996 w 7467600"/>
              <a:gd name="connsiteY205" fmla="*/ 4065759 h 6858000"/>
              <a:gd name="connsiteX206" fmla="*/ 5388878 w 7467600"/>
              <a:gd name="connsiteY206" fmla="*/ 4300185 h 6858000"/>
              <a:gd name="connsiteX207" fmla="*/ 5425556 w 7467600"/>
              <a:gd name="connsiteY207" fmla="*/ 4308967 h 6858000"/>
              <a:gd name="connsiteX208" fmla="*/ 4943646 w 7467600"/>
              <a:gd name="connsiteY208" fmla="*/ 3822916 h 6858000"/>
              <a:gd name="connsiteX209" fmla="*/ 4594837 w 7467600"/>
              <a:gd name="connsiteY209" fmla="*/ 3532274 h 6858000"/>
              <a:gd name="connsiteX210" fmla="*/ 4441737 w 7467600"/>
              <a:gd name="connsiteY210" fmla="*/ 3399734 h 6858000"/>
              <a:gd name="connsiteX211" fmla="*/ 5425834 w 7467600"/>
              <a:gd name="connsiteY211" fmla="*/ 3162785 h 6858000"/>
              <a:gd name="connsiteX212" fmla="*/ 5401644 w 7467600"/>
              <a:gd name="connsiteY212" fmla="*/ 3617847 h 6858000"/>
              <a:gd name="connsiteX213" fmla="*/ 5467256 w 7467600"/>
              <a:gd name="connsiteY213" fmla="*/ 4175494 h 6858000"/>
              <a:gd name="connsiteX214" fmla="*/ 5448069 w 7467600"/>
              <a:gd name="connsiteY214" fmla="*/ 3567554 h 6858000"/>
              <a:gd name="connsiteX215" fmla="*/ 5425834 w 7467600"/>
              <a:gd name="connsiteY215" fmla="*/ 3162785 h 6858000"/>
              <a:gd name="connsiteX216" fmla="*/ 1318687 w 7467600"/>
              <a:gd name="connsiteY216" fmla="*/ 3113840 h 6858000"/>
              <a:gd name="connsiteX217" fmla="*/ 1066793 w 7467600"/>
              <a:gd name="connsiteY217" fmla="*/ 3212171 h 6858000"/>
              <a:gd name="connsiteX218" fmla="*/ 993319 w 7467600"/>
              <a:gd name="connsiteY218" fmla="*/ 3247648 h 6858000"/>
              <a:gd name="connsiteX219" fmla="*/ 853081 w 7467600"/>
              <a:gd name="connsiteY219" fmla="*/ 3312410 h 6858000"/>
              <a:gd name="connsiteX220" fmla="*/ 805957 w 7467600"/>
              <a:gd name="connsiteY220" fmla="*/ 3330443 h 6858000"/>
              <a:gd name="connsiteX221" fmla="*/ 1318687 w 7467600"/>
              <a:gd name="connsiteY221" fmla="*/ 3113840 h 6858000"/>
              <a:gd name="connsiteX222" fmla="*/ 5453702 w 7467600"/>
              <a:gd name="connsiteY222" fmla="*/ 3090882 h 6858000"/>
              <a:gd name="connsiteX223" fmla="*/ 5480135 w 7467600"/>
              <a:gd name="connsiteY223" fmla="*/ 3565802 h 6858000"/>
              <a:gd name="connsiteX224" fmla="*/ 5499023 w 7467600"/>
              <a:gd name="connsiteY224" fmla="*/ 4166310 h 6858000"/>
              <a:gd name="connsiteX225" fmla="*/ 5547022 w 7467600"/>
              <a:gd name="connsiteY225" fmla="*/ 3607838 h 6858000"/>
              <a:gd name="connsiteX226" fmla="*/ 5515964 w 7467600"/>
              <a:gd name="connsiteY226" fmla="*/ 3378541 h 6858000"/>
              <a:gd name="connsiteX227" fmla="*/ 5453702 w 7467600"/>
              <a:gd name="connsiteY227" fmla="*/ 3090882 h 6858000"/>
              <a:gd name="connsiteX228" fmla="*/ 1238695 w 7467600"/>
              <a:gd name="connsiteY228" fmla="*/ 3076820 h 6858000"/>
              <a:gd name="connsiteX229" fmla="*/ 716371 w 7467600"/>
              <a:gd name="connsiteY229" fmla="*/ 3293249 h 6858000"/>
              <a:gd name="connsiteX230" fmla="*/ 579522 w 7467600"/>
              <a:gd name="connsiteY230" fmla="*/ 3371759 h 6858000"/>
              <a:gd name="connsiteX231" fmla="*/ 600288 w 7467600"/>
              <a:gd name="connsiteY231" fmla="*/ 3365555 h 6858000"/>
              <a:gd name="connsiteX232" fmla="*/ 840692 w 7467600"/>
              <a:gd name="connsiteY232" fmla="*/ 3284921 h 6858000"/>
              <a:gd name="connsiteX233" fmla="*/ 979248 w 7467600"/>
              <a:gd name="connsiteY233" fmla="*/ 3221003 h 6858000"/>
              <a:gd name="connsiteX234" fmla="*/ 1053282 w 7467600"/>
              <a:gd name="connsiteY234" fmla="*/ 3185247 h 6858000"/>
              <a:gd name="connsiteX235" fmla="*/ 1320603 w 7467600"/>
              <a:gd name="connsiteY235" fmla="*/ 3081281 h 6858000"/>
              <a:gd name="connsiteX236" fmla="*/ 1238695 w 7467600"/>
              <a:gd name="connsiteY236" fmla="*/ 3076820 h 6858000"/>
              <a:gd name="connsiteX237" fmla="*/ 5425627 w 7467600"/>
              <a:gd name="connsiteY237" fmla="*/ 2954192 h 6858000"/>
              <a:gd name="connsiteX238" fmla="*/ 5470770 w 7467600"/>
              <a:gd name="connsiteY238" fmla="*/ 3005435 h 6858000"/>
              <a:gd name="connsiteX239" fmla="*/ 5519779 w 7467600"/>
              <a:gd name="connsiteY239" fmla="*/ 4359223 h 6858000"/>
              <a:gd name="connsiteX240" fmla="*/ 5520293 w 7467600"/>
              <a:gd name="connsiteY240" fmla="*/ 4360602 h 6858000"/>
              <a:gd name="connsiteX241" fmla="*/ 5767221 w 7467600"/>
              <a:gd name="connsiteY241" fmla="*/ 4665564 h 6858000"/>
              <a:gd name="connsiteX242" fmla="*/ 6937169 w 7467600"/>
              <a:gd name="connsiteY242" fmla="*/ 4815941 h 6858000"/>
              <a:gd name="connsiteX243" fmla="*/ 6953922 w 7467600"/>
              <a:gd name="connsiteY243" fmla="*/ 4890068 h 6858000"/>
              <a:gd name="connsiteX244" fmla="*/ 6071359 w 7467600"/>
              <a:gd name="connsiteY244" fmla="*/ 4770770 h 6858000"/>
              <a:gd name="connsiteX245" fmla="*/ 6038839 w 7467600"/>
              <a:gd name="connsiteY245" fmla="*/ 4764474 h 6858000"/>
              <a:gd name="connsiteX246" fmla="*/ 6038706 w 7467600"/>
              <a:gd name="connsiteY246" fmla="*/ 4763847 h 6858000"/>
              <a:gd name="connsiteX247" fmla="*/ 6037784 w 7467600"/>
              <a:gd name="connsiteY247" fmla="*/ 4764270 h 6858000"/>
              <a:gd name="connsiteX248" fmla="*/ 6038839 w 7467600"/>
              <a:gd name="connsiteY248" fmla="*/ 4764474 h 6858000"/>
              <a:gd name="connsiteX249" fmla="*/ 6040338 w 7467600"/>
              <a:gd name="connsiteY249" fmla="*/ 4771418 h 6858000"/>
              <a:gd name="connsiteX250" fmla="*/ 6024488 w 7467600"/>
              <a:gd name="connsiteY250" fmla="*/ 4809903 h 6858000"/>
              <a:gd name="connsiteX251" fmla="*/ 5599771 w 7467600"/>
              <a:gd name="connsiteY251" fmla="*/ 5509652 h 6858000"/>
              <a:gd name="connsiteX252" fmla="*/ 5548843 w 7467600"/>
              <a:gd name="connsiteY252" fmla="*/ 5563845 h 6858000"/>
              <a:gd name="connsiteX253" fmla="*/ 5940952 w 7467600"/>
              <a:gd name="connsiteY253" fmla="*/ 6250028 h 6858000"/>
              <a:gd name="connsiteX254" fmla="*/ 6043441 w 7467600"/>
              <a:gd name="connsiteY254" fmla="*/ 6665847 h 6858000"/>
              <a:gd name="connsiteX255" fmla="*/ 6093432 w 7467600"/>
              <a:gd name="connsiteY255" fmla="*/ 6858000 h 6858000"/>
              <a:gd name="connsiteX256" fmla="*/ 6034344 w 7467600"/>
              <a:gd name="connsiteY256" fmla="*/ 6858000 h 6858000"/>
              <a:gd name="connsiteX257" fmla="*/ 6026679 w 7467600"/>
              <a:gd name="connsiteY257" fmla="*/ 6836959 h 6858000"/>
              <a:gd name="connsiteX258" fmla="*/ 5800441 w 7467600"/>
              <a:gd name="connsiteY258" fmla="*/ 6335286 h 6858000"/>
              <a:gd name="connsiteX259" fmla="*/ 5526562 w 7467600"/>
              <a:gd name="connsiteY259" fmla="*/ 5705388 h 6858000"/>
              <a:gd name="connsiteX260" fmla="*/ 5519640 w 7467600"/>
              <a:gd name="connsiteY260" fmla="*/ 5683774 h 6858000"/>
              <a:gd name="connsiteX261" fmla="*/ 5844559 w 7467600"/>
              <a:gd name="connsiteY261" fmla="*/ 6553349 h 6858000"/>
              <a:gd name="connsiteX262" fmla="*/ 5975994 w 7467600"/>
              <a:gd name="connsiteY262" fmla="*/ 6858000 h 6858000"/>
              <a:gd name="connsiteX263" fmla="*/ 5898547 w 7467600"/>
              <a:gd name="connsiteY263" fmla="*/ 6858000 h 6858000"/>
              <a:gd name="connsiteX264" fmla="*/ 5682041 w 7467600"/>
              <a:gd name="connsiteY264" fmla="*/ 6355860 h 6858000"/>
              <a:gd name="connsiteX265" fmla="*/ 5461758 w 7467600"/>
              <a:gd name="connsiteY265" fmla="*/ 5820220 h 6858000"/>
              <a:gd name="connsiteX266" fmla="*/ 5237282 w 7467600"/>
              <a:gd name="connsiteY266" fmla="*/ 6579086 h 6858000"/>
              <a:gd name="connsiteX267" fmla="*/ 5115009 w 7467600"/>
              <a:gd name="connsiteY267" fmla="*/ 6858000 h 6858000"/>
              <a:gd name="connsiteX268" fmla="*/ 5028074 w 7467600"/>
              <a:gd name="connsiteY268" fmla="*/ 6858000 h 6858000"/>
              <a:gd name="connsiteX269" fmla="*/ 5079508 w 7467600"/>
              <a:gd name="connsiteY269" fmla="*/ 6749074 h 6858000"/>
              <a:gd name="connsiteX270" fmla="*/ 5371846 w 7467600"/>
              <a:gd name="connsiteY270" fmla="*/ 5924413 h 6858000"/>
              <a:gd name="connsiteX271" fmla="*/ 5270512 w 7467600"/>
              <a:gd name="connsiteY271" fmla="*/ 6138975 h 6858000"/>
              <a:gd name="connsiteX272" fmla="*/ 5062409 w 7467600"/>
              <a:gd name="connsiteY272" fmla="*/ 6653544 h 6858000"/>
              <a:gd name="connsiteX273" fmla="*/ 5036628 w 7467600"/>
              <a:gd name="connsiteY273" fmla="*/ 6754247 h 6858000"/>
              <a:gd name="connsiteX274" fmla="*/ 5009112 w 7467600"/>
              <a:gd name="connsiteY274" fmla="*/ 6858000 h 6858000"/>
              <a:gd name="connsiteX275" fmla="*/ 4976679 w 7467600"/>
              <a:gd name="connsiteY275" fmla="*/ 6858000 h 6858000"/>
              <a:gd name="connsiteX276" fmla="*/ 5006537 w 7467600"/>
              <a:gd name="connsiteY276" fmla="*/ 6747068 h 6858000"/>
              <a:gd name="connsiteX277" fmla="*/ 5032723 w 7467600"/>
              <a:gd name="connsiteY277" fmla="*/ 6644957 h 6858000"/>
              <a:gd name="connsiteX278" fmla="*/ 5242949 w 7467600"/>
              <a:gd name="connsiteY278" fmla="*/ 6125175 h 6858000"/>
              <a:gd name="connsiteX279" fmla="*/ 5286321 w 7467600"/>
              <a:gd name="connsiteY279" fmla="*/ 6033555 h 6858000"/>
              <a:gd name="connsiteX280" fmla="*/ 5008210 w 7467600"/>
              <a:gd name="connsiteY280" fmla="*/ 6649194 h 6858000"/>
              <a:gd name="connsiteX281" fmla="*/ 4986321 w 7467600"/>
              <a:gd name="connsiteY281" fmla="*/ 6765687 h 6858000"/>
              <a:gd name="connsiteX282" fmla="*/ 4973474 w 7467600"/>
              <a:gd name="connsiteY282" fmla="*/ 6858000 h 6858000"/>
              <a:gd name="connsiteX283" fmla="*/ 4907178 w 7467600"/>
              <a:gd name="connsiteY283" fmla="*/ 6858000 h 6858000"/>
              <a:gd name="connsiteX284" fmla="*/ 4910810 w 7467600"/>
              <a:gd name="connsiteY284" fmla="*/ 6829660 h 6858000"/>
              <a:gd name="connsiteX285" fmla="*/ 4987461 w 7467600"/>
              <a:gd name="connsiteY285" fmla="*/ 6432994 h 6858000"/>
              <a:gd name="connsiteX286" fmla="*/ 5179262 w 7467600"/>
              <a:gd name="connsiteY286" fmla="*/ 6035044 h 6858000"/>
              <a:gd name="connsiteX287" fmla="*/ 4689678 w 7467600"/>
              <a:gd name="connsiteY287" fmla="*/ 6440241 h 6858000"/>
              <a:gd name="connsiteX288" fmla="*/ 4477543 w 7467600"/>
              <a:gd name="connsiteY288" fmla="*/ 6674836 h 6858000"/>
              <a:gd name="connsiteX289" fmla="*/ 4329957 w 7467600"/>
              <a:gd name="connsiteY289" fmla="*/ 6858000 h 6858000"/>
              <a:gd name="connsiteX290" fmla="*/ 4218595 w 7467600"/>
              <a:gd name="connsiteY290" fmla="*/ 6858000 h 6858000"/>
              <a:gd name="connsiteX291" fmla="*/ 4368888 w 7467600"/>
              <a:gd name="connsiteY291" fmla="*/ 6668412 h 6858000"/>
              <a:gd name="connsiteX292" fmla="*/ 4563091 w 7467600"/>
              <a:gd name="connsiteY292" fmla="*/ 6442508 h 6858000"/>
              <a:gd name="connsiteX293" fmla="*/ 5387324 w 7467600"/>
              <a:gd name="connsiteY293" fmla="*/ 5705830 h 6858000"/>
              <a:gd name="connsiteX294" fmla="*/ 5073620 w 7467600"/>
              <a:gd name="connsiteY294" fmla="*/ 5955437 h 6858000"/>
              <a:gd name="connsiteX295" fmla="*/ 4689789 w 7467600"/>
              <a:gd name="connsiteY295" fmla="*/ 6268382 h 6858000"/>
              <a:gd name="connsiteX296" fmla="*/ 4418722 w 7467600"/>
              <a:gd name="connsiteY296" fmla="*/ 6570886 h 6858000"/>
              <a:gd name="connsiteX297" fmla="*/ 4214944 w 7467600"/>
              <a:gd name="connsiteY297" fmla="*/ 6858000 h 6858000"/>
              <a:gd name="connsiteX298" fmla="*/ 4177898 w 7467600"/>
              <a:gd name="connsiteY298" fmla="*/ 6858000 h 6858000"/>
              <a:gd name="connsiteX299" fmla="*/ 4391597 w 7467600"/>
              <a:gd name="connsiteY299" fmla="*/ 6556370 h 6858000"/>
              <a:gd name="connsiteX300" fmla="*/ 4668889 w 7467600"/>
              <a:gd name="connsiteY300" fmla="*/ 6246399 h 6858000"/>
              <a:gd name="connsiteX301" fmla="*/ 5055427 w 7467600"/>
              <a:gd name="connsiteY301" fmla="*/ 5931476 h 6858000"/>
              <a:gd name="connsiteX302" fmla="*/ 5371814 w 7467600"/>
              <a:gd name="connsiteY302" fmla="*/ 5678975 h 6858000"/>
              <a:gd name="connsiteX303" fmla="*/ 4987918 w 7467600"/>
              <a:gd name="connsiteY303" fmla="*/ 5838701 h 6858000"/>
              <a:gd name="connsiteX304" fmla="*/ 4317146 w 7467600"/>
              <a:gd name="connsiteY304" fmla="*/ 6587716 h 6858000"/>
              <a:gd name="connsiteX305" fmla="*/ 4171627 w 7467600"/>
              <a:gd name="connsiteY305" fmla="*/ 6858000 h 6858000"/>
              <a:gd name="connsiteX306" fmla="*/ 4081585 w 7467600"/>
              <a:gd name="connsiteY306" fmla="*/ 6858000 h 6858000"/>
              <a:gd name="connsiteX307" fmla="*/ 4238603 w 7467600"/>
              <a:gd name="connsiteY307" fmla="*/ 6559341 h 6858000"/>
              <a:gd name="connsiteX308" fmla="*/ 4778333 w 7467600"/>
              <a:gd name="connsiteY308" fmla="*/ 5873626 h 6858000"/>
              <a:gd name="connsiteX309" fmla="*/ 5414185 w 7467600"/>
              <a:gd name="connsiteY309" fmla="*/ 5573882 h 6858000"/>
              <a:gd name="connsiteX310" fmla="*/ 5959648 w 7467600"/>
              <a:gd name="connsiteY310" fmla="*/ 4760797 h 6858000"/>
              <a:gd name="connsiteX311" fmla="*/ 5355019 w 7467600"/>
              <a:gd name="connsiteY311" fmla="*/ 4734672 h 6858000"/>
              <a:gd name="connsiteX312" fmla="*/ 5083565 w 7467600"/>
              <a:gd name="connsiteY312" fmla="*/ 5179121 h 6858000"/>
              <a:gd name="connsiteX313" fmla="*/ 4713577 w 7467600"/>
              <a:gd name="connsiteY313" fmla="*/ 5616803 h 6858000"/>
              <a:gd name="connsiteX314" fmla="*/ 3989559 w 7467600"/>
              <a:gd name="connsiteY314" fmla="*/ 6145945 h 6858000"/>
              <a:gd name="connsiteX315" fmla="*/ 3939824 w 7467600"/>
              <a:gd name="connsiteY315" fmla="*/ 6066900 h 6858000"/>
              <a:gd name="connsiteX316" fmla="*/ 4584537 w 7467600"/>
              <a:gd name="connsiteY316" fmla="*/ 5324826 h 6858000"/>
              <a:gd name="connsiteX317" fmla="*/ 5037105 w 7467600"/>
              <a:gd name="connsiteY317" fmla="*/ 5088765 h 6858000"/>
              <a:gd name="connsiteX318" fmla="*/ 5039930 w 7467600"/>
              <a:gd name="connsiteY318" fmla="*/ 5089585 h 6858000"/>
              <a:gd name="connsiteX319" fmla="*/ 5263764 w 7467600"/>
              <a:gd name="connsiteY319" fmla="*/ 4735525 h 6858000"/>
              <a:gd name="connsiteX320" fmla="*/ 4086300 w 7467600"/>
              <a:gd name="connsiteY320" fmla="*/ 4884599 h 6858000"/>
              <a:gd name="connsiteX321" fmla="*/ 4085485 w 7467600"/>
              <a:gd name="connsiteY321" fmla="*/ 4899070 h 6858000"/>
              <a:gd name="connsiteX322" fmla="*/ 3871915 w 7467600"/>
              <a:gd name="connsiteY322" fmla="*/ 5253645 h 6858000"/>
              <a:gd name="connsiteX323" fmla="*/ 3799374 w 7467600"/>
              <a:gd name="connsiteY323" fmla="*/ 5466127 h 6858000"/>
              <a:gd name="connsiteX324" fmla="*/ 3498850 w 7467600"/>
              <a:gd name="connsiteY324" fmla="*/ 6661888 h 6858000"/>
              <a:gd name="connsiteX325" fmla="*/ 3399216 w 7467600"/>
              <a:gd name="connsiteY325" fmla="*/ 6858000 h 6858000"/>
              <a:gd name="connsiteX326" fmla="*/ 3303688 w 7467600"/>
              <a:gd name="connsiteY326" fmla="*/ 6858000 h 6858000"/>
              <a:gd name="connsiteX327" fmla="*/ 3391774 w 7467600"/>
              <a:gd name="connsiteY327" fmla="*/ 6697181 h 6858000"/>
              <a:gd name="connsiteX328" fmla="*/ 3735540 w 7467600"/>
              <a:gd name="connsiteY328" fmla="*/ 5546923 h 6858000"/>
              <a:gd name="connsiteX329" fmla="*/ 3729438 w 7467600"/>
              <a:gd name="connsiteY329" fmla="*/ 5569058 h 6858000"/>
              <a:gd name="connsiteX330" fmla="*/ 3707782 w 7467600"/>
              <a:gd name="connsiteY330" fmla="*/ 5644908 h 6858000"/>
              <a:gd name="connsiteX331" fmla="*/ 3583827 w 7467600"/>
              <a:gd name="connsiteY331" fmla="*/ 6039215 h 6858000"/>
              <a:gd name="connsiteX332" fmla="*/ 3547861 w 7467600"/>
              <a:gd name="connsiteY332" fmla="*/ 6129609 h 6858000"/>
              <a:gd name="connsiteX333" fmla="*/ 3490905 w 7467600"/>
              <a:gd name="connsiteY333" fmla="*/ 6277660 h 6858000"/>
              <a:gd name="connsiteX334" fmla="*/ 3455859 w 7467600"/>
              <a:gd name="connsiteY334" fmla="*/ 6391301 h 6858000"/>
              <a:gd name="connsiteX335" fmla="*/ 3429112 w 7467600"/>
              <a:gd name="connsiteY335" fmla="*/ 6479469 h 6858000"/>
              <a:gd name="connsiteX336" fmla="*/ 3304862 w 7467600"/>
              <a:gd name="connsiteY336" fmla="*/ 6796476 h 6858000"/>
              <a:gd name="connsiteX337" fmla="*/ 3276071 w 7467600"/>
              <a:gd name="connsiteY337" fmla="*/ 6858000 h 6858000"/>
              <a:gd name="connsiteX338" fmla="*/ 3240805 w 7467600"/>
              <a:gd name="connsiteY338" fmla="*/ 6858000 h 6858000"/>
              <a:gd name="connsiteX339" fmla="*/ 3275917 w 7467600"/>
              <a:gd name="connsiteY339" fmla="*/ 6783192 h 6858000"/>
              <a:gd name="connsiteX340" fmla="*/ 3399358 w 7467600"/>
              <a:gd name="connsiteY340" fmla="*/ 6469011 h 6858000"/>
              <a:gd name="connsiteX341" fmla="*/ 3425650 w 7467600"/>
              <a:gd name="connsiteY341" fmla="*/ 6381333 h 6858000"/>
              <a:gd name="connsiteX342" fmla="*/ 3460661 w 7467600"/>
              <a:gd name="connsiteY342" fmla="*/ 6266763 h 6858000"/>
              <a:gd name="connsiteX343" fmla="*/ 3518021 w 7467600"/>
              <a:gd name="connsiteY343" fmla="*/ 6117298 h 6858000"/>
              <a:gd name="connsiteX344" fmla="*/ 3554035 w 7467600"/>
              <a:gd name="connsiteY344" fmla="*/ 6027832 h 6858000"/>
              <a:gd name="connsiteX345" fmla="*/ 3677174 w 7467600"/>
              <a:gd name="connsiteY345" fmla="*/ 5636351 h 6858000"/>
              <a:gd name="connsiteX346" fmla="*/ 3698819 w 7467600"/>
              <a:gd name="connsiteY346" fmla="*/ 5560503 h 6858000"/>
              <a:gd name="connsiteX347" fmla="*/ 3702094 w 7467600"/>
              <a:gd name="connsiteY347" fmla="*/ 5549194 h 6858000"/>
              <a:gd name="connsiteX348" fmla="*/ 3398355 w 7467600"/>
              <a:gd name="connsiteY348" fmla="*/ 6094603 h 6858000"/>
              <a:gd name="connsiteX349" fmla="*/ 3193941 w 7467600"/>
              <a:gd name="connsiteY349" fmla="*/ 6798775 h 6858000"/>
              <a:gd name="connsiteX350" fmla="*/ 3184140 w 7467600"/>
              <a:gd name="connsiteY350" fmla="*/ 6858000 h 6858000"/>
              <a:gd name="connsiteX351" fmla="*/ 3099978 w 7467600"/>
              <a:gd name="connsiteY351" fmla="*/ 6858000 h 6858000"/>
              <a:gd name="connsiteX352" fmla="*/ 3101556 w 7467600"/>
              <a:gd name="connsiteY352" fmla="*/ 6843337 h 6858000"/>
              <a:gd name="connsiteX353" fmla="*/ 3370162 w 7467600"/>
              <a:gd name="connsiteY353" fmla="*/ 5785550 h 6858000"/>
              <a:gd name="connsiteX354" fmla="*/ 3746477 w 7467600"/>
              <a:gd name="connsiteY354" fmla="*/ 5377889 h 6858000"/>
              <a:gd name="connsiteX355" fmla="*/ 3863399 w 7467600"/>
              <a:gd name="connsiteY355" fmla="*/ 5087257 h 6858000"/>
              <a:gd name="connsiteX356" fmla="*/ 3968712 w 7467600"/>
              <a:gd name="connsiteY356" fmla="*/ 4913989 h 6858000"/>
              <a:gd name="connsiteX357" fmla="*/ 2792390 w 7467600"/>
              <a:gd name="connsiteY357" fmla="*/ 5382974 h 6858000"/>
              <a:gd name="connsiteX358" fmla="*/ 2714982 w 7467600"/>
              <a:gd name="connsiteY358" fmla="*/ 5427051 h 6858000"/>
              <a:gd name="connsiteX359" fmla="*/ 2813361 w 7467600"/>
              <a:gd name="connsiteY359" fmla="*/ 6023912 h 6858000"/>
              <a:gd name="connsiteX360" fmla="*/ 2688430 w 7467600"/>
              <a:gd name="connsiteY360" fmla="*/ 6801564 h 6858000"/>
              <a:gd name="connsiteX361" fmla="*/ 2629626 w 7467600"/>
              <a:gd name="connsiteY361" fmla="*/ 6763394 h 6858000"/>
              <a:gd name="connsiteX362" fmla="*/ 2565328 w 7467600"/>
              <a:gd name="connsiteY362" fmla="*/ 5516399 h 6858000"/>
              <a:gd name="connsiteX363" fmla="*/ 1922999 w 7467600"/>
              <a:gd name="connsiteY363" fmla="*/ 5980343 h 6858000"/>
              <a:gd name="connsiteX364" fmla="*/ 1950261 w 7467600"/>
              <a:gd name="connsiteY364" fmla="*/ 6405858 h 6858000"/>
              <a:gd name="connsiteX365" fmla="*/ 2365554 w 7467600"/>
              <a:gd name="connsiteY365" fmla="*/ 6759107 h 6858000"/>
              <a:gd name="connsiteX366" fmla="*/ 2424142 w 7467600"/>
              <a:gd name="connsiteY366" fmla="*/ 6858000 h 6858000"/>
              <a:gd name="connsiteX367" fmla="*/ 2395994 w 7467600"/>
              <a:gd name="connsiteY367" fmla="*/ 6858000 h 6858000"/>
              <a:gd name="connsiteX368" fmla="*/ 2392863 w 7467600"/>
              <a:gd name="connsiteY368" fmla="*/ 6852964 h 6858000"/>
              <a:gd name="connsiteX369" fmla="*/ 2017589 w 7467600"/>
              <a:gd name="connsiteY369" fmla="*/ 6493982 h 6858000"/>
              <a:gd name="connsiteX370" fmla="*/ 2147336 w 7467600"/>
              <a:gd name="connsiteY370" fmla="*/ 6594052 h 6858000"/>
              <a:gd name="connsiteX371" fmla="*/ 2207047 w 7467600"/>
              <a:gd name="connsiteY371" fmla="*/ 6654540 h 6858000"/>
              <a:gd name="connsiteX372" fmla="*/ 2299106 w 7467600"/>
              <a:gd name="connsiteY372" fmla="*/ 6778931 h 6858000"/>
              <a:gd name="connsiteX373" fmla="*/ 2314430 w 7467600"/>
              <a:gd name="connsiteY373" fmla="*/ 6801144 h 6858000"/>
              <a:gd name="connsiteX374" fmla="*/ 2352406 w 7467600"/>
              <a:gd name="connsiteY374" fmla="*/ 6858000 h 6858000"/>
              <a:gd name="connsiteX375" fmla="*/ 2314492 w 7467600"/>
              <a:gd name="connsiteY375" fmla="*/ 6858000 h 6858000"/>
              <a:gd name="connsiteX376" fmla="*/ 2288095 w 7467600"/>
              <a:gd name="connsiteY376" fmla="*/ 6818030 h 6858000"/>
              <a:gd name="connsiteX377" fmla="*/ 2272768 w 7467600"/>
              <a:gd name="connsiteY377" fmla="*/ 6795822 h 6858000"/>
              <a:gd name="connsiteX378" fmla="*/ 2182715 w 7467600"/>
              <a:gd name="connsiteY378" fmla="*/ 6675071 h 6858000"/>
              <a:gd name="connsiteX379" fmla="*/ 2032061 w 7467600"/>
              <a:gd name="connsiteY379" fmla="*/ 6541380 h 6858000"/>
              <a:gd name="connsiteX380" fmla="*/ 2257220 w 7467600"/>
              <a:gd name="connsiteY380" fmla="*/ 6826257 h 6858000"/>
              <a:gd name="connsiteX381" fmla="*/ 2281324 w 7467600"/>
              <a:gd name="connsiteY381" fmla="*/ 6858000 h 6858000"/>
              <a:gd name="connsiteX382" fmla="*/ 2242860 w 7467600"/>
              <a:gd name="connsiteY382" fmla="*/ 6858000 h 6858000"/>
              <a:gd name="connsiteX383" fmla="*/ 2232818 w 7467600"/>
              <a:gd name="connsiteY383" fmla="*/ 6844926 h 6858000"/>
              <a:gd name="connsiteX384" fmla="*/ 1990172 w 7467600"/>
              <a:gd name="connsiteY384" fmla="*/ 6542121 h 6858000"/>
              <a:gd name="connsiteX385" fmla="*/ 2124090 w 7467600"/>
              <a:gd name="connsiteY385" fmla="*/ 6761017 h 6858000"/>
              <a:gd name="connsiteX386" fmla="*/ 2200380 w 7467600"/>
              <a:gd name="connsiteY386" fmla="*/ 6858000 h 6858000"/>
              <a:gd name="connsiteX387" fmla="*/ 2147507 w 7467600"/>
              <a:gd name="connsiteY387" fmla="*/ 6858000 h 6858000"/>
              <a:gd name="connsiteX388" fmla="*/ 2070668 w 7467600"/>
              <a:gd name="connsiteY388" fmla="*/ 6761520 h 6858000"/>
              <a:gd name="connsiteX389" fmla="*/ 1975142 w 7467600"/>
              <a:gd name="connsiteY389" fmla="*/ 6585570 h 6858000"/>
              <a:gd name="connsiteX390" fmla="*/ 2050035 w 7467600"/>
              <a:gd name="connsiteY390" fmla="*/ 6813345 h 6858000"/>
              <a:gd name="connsiteX391" fmla="*/ 2063025 w 7467600"/>
              <a:gd name="connsiteY391" fmla="*/ 6858000 h 6858000"/>
              <a:gd name="connsiteX392" fmla="*/ 2021675 w 7467600"/>
              <a:gd name="connsiteY392" fmla="*/ 6858000 h 6858000"/>
              <a:gd name="connsiteX393" fmla="*/ 2019308 w 7467600"/>
              <a:gd name="connsiteY393" fmla="*/ 6847118 h 6858000"/>
              <a:gd name="connsiteX394" fmla="*/ 1938835 w 7467600"/>
              <a:gd name="connsiteY394" fmla="*/ 6551160 h 6858000"/>
              <a:gd name="connsiteX395" fmla="*/ 1953230 w 7467600"/>
              <a:gd name="connsiteY395" fmla="*/ 6759699 h 6858000"/>
              <a:gd name="connsiteX396" fmla="*/ 1956763 w 7467600"/>
              <a:gd name="connsiteY396" fmla="*/ 6778191 h 6858000"/>
              <a:gd name="connsiteX397" fmla="*/ 1967925 w 7467600"/>
              <a:gd name="connsiteY397" fmla="*/ 6858000 h 6858000"/>
              <a:gd name="connsiteX398" fmla="*/ 1936622 w 7467600"/>
              <a:gd name="connsiteY398" fmla="*/ 6858000 h 6858000"/>
              <a:gd name="connsiteX399" fmla="*/ 1926261 w 7467600"/>
              <a:gd name="connsiteY399" fmla="*/ 6784064 h 6858000"/>
              <a:gd name="connsiteX400" fmla="*/ 1922724 w 7467600"/>
              <a:gd name="connsiteY400" fmla="*/ 6765577 h 6858000"/>
              <a:gd name="connsiteX401" fmla="*/ 1904650 w 7467600"/>
              <a:gd name="connsiteY401" fmla="*/ 6639616 h 6858000"/>
              <a:gd name="connsiteX402" fmla="*/ 1885273 w 7467600"/>
              <a:gd name="connsiteY402" fmla="*/ 6858000 h 6858000"/>
              <a:gd name="connsiteX403" fmla="*/ 1854363 w 7467600"/>
              <a:gd name="connsiteY403" fmla="*/ 6858000 h 6858000"/>
              <a:gd name="connsiteX404" fmla="*/ 1880391 w 7467600"/>
              <a:gd name="connsiteY404" fmla="*/ 6603796 h 6858000"/>
              <a:gd name="connsiteX405" fmla="*/ 1818273 w 7467600"/>
              <a:gd name="connsiteY405" fmla="*/ 6715729 h 6858000"/>
              <a:gd name="connsiteX406" fmla="*/ 1794691 w 7467600"/>
              <a:gd name="connsiteY406" fmla="*/ 6843239 h 6858000"/>
              <a:gd name="connsiteX407" fmla="*/ 1794914 w 7467600"/>
              <a:gd name="connsiteY407" fmla="*/ 6858000 h 6858000"/>
              <a:gd name="connsiteX408" fmla="*/ 1746128 w 7467600"/>
              <a:gd name="connsiteY408" fmla="*/ 6858000 h 6858000"/>
              <a:gd name="connsiteX409" fmla="*/ 1753934 w 7467600"/>
              <a:gd name="connsiteY409" fmla="*/ 6724796 h 6858000"/>
              <a:gd name="connsiteX410" fmla="*/ 1792053 w 7467600"/>
              <a:gd name="connsiteY410" fmla="*/ 6572396 h 6858000"/>
              <a:gd name="connsiteX411" fmla="*/ 1862248 w 7467600"/>
              <a:gd name="connsiteY411" fmla="*/ 6266397 h 6858000"/>
              <a:gd name="connsiteX412" fmla="*/ 1862250 w 7467600"/>
              <a:gd name="connsiteY412" fmla="*/ 6033531 h 6858000"/>
              <a:gd name="connsiteX413" fmla="*/ 1211999 w 7467600"/>
              <a:gd name="connsiteY413" fmla="*/ 6683610 h 6858000"/>
              <a:gd name="connsiteX414" fmla="*/ 1213266 w 7467600"/>
              <a:gd name="connsiteY414" fmla="*/ 6691947 h 6858000"/>
              <a:gd name="connsiteX415" fmla="*/ 1203370 w 7467600"/>
              <a:gd name="connsiteY415" fmla="*/ 6850676 h 6858000"/>
              <a:gd name="connsiteX416" fmla="*/ 1203671 w 7467600"/>
              <a:gd name="connsiteY416" fmla="*/ 6858000 h 6858000"/>
              <a:gd name="connsiteX417" fmla="*/ 1143180 w 7467600"/>
              <a:gd name="connsiteY417" fmla="*/ 6858000 h 6858000"/>
              <a:gd name="connsiteX418" fmla="*/ 1142176 w 7467600"/>
              <a:gd name="connsiteY418" fmla="*/ 6766045 h 6858000"/>
              <a:gd name="connsiteX419" fmla="*/ 1067484 w 7467600"/>
              <a:gd name="connsiteY419" fmla="*/ 6858000 h 6858000"/>
              <a:gd name="connsiteX420" fmla="*/ 953928 w 7467600"/>
              <a:gd name="connsiteY420" fmla="*/ 6858000 h 6858000"/>
              <a:gd name="connsiteX421" fmla="*/ 959715 w 7467600"/>
              <a:gd name="connsiteY421" fmla="*/ 6850185 h 6858000"/>
              <a:gd name="connsiteX422" fmla="*/ 1483788 w 7467600"/>
              <a:gd name="connsiteY422" fmla="*/ 6259174 h 6858000"/>
              <a:gd name="connsiteX423" fmla="*/ 1100671 w 7467600"/>
              <a:gd name="connsiteY423" fmla="*/ 6252137 h 6858000"/>
              <a:gd name="connsiteX424" fmla="*/ 1090144 w 7467600"/>
              <a:gd name="connsiteY424" fmla="*/ 6256748 h 6858000"/>
              <a:gd name="connsiteX425" fmla="*/ 1095872 w 7467600"/>
              <a:gd name="connsiteY425" fmla="*/ 6271892 h 6858000"/>
              <a:gd name="connsiteX426" fmla="*/ 262785 w 7467600"/>
              <a:gd name="connsiteY426" fmla="*/ 6845450 h 6858000"/>
              <a:gd name="connsiteX427" fmla="*/ 209968 w 7467600"/>
              <a:gd name="connsiteY427" fmla="*/ 6770713 h 6858000"/>
              <a:gd name="connsiteX428" fmla="*/ 873460 w 7467600"/>
              <a:gd name="connsiteY428" fmla="*/ 6253768 h 6858000"/>
              <a:gd name="connsiteX429" fmla="*/ 192686 w 7467600"/>
              <a:gd name="connsiteY429" fmla="*/ 5849257 h 6858000"/>
              <a:gd name="connsiteX430" fmla="*/ 4696 w 7467600"/>
              <a:gd name="connsiteY430" fmla="*/ 5697668 h 6858000"/>
              <a:gd name="connsiteX431" fmla="*/ 0 w 7467600"/>
              <a:gd name="connsiteY431" fmla="*/ 5689984 h 6858000"/>
              <a:gd name="connsiteX432" fmla="*/ 0 w 7467600"/>
              <a:gd name="connsiteY432" fmla="*/ 5513472 h 6858000"/>
              <a:gd name="connsiteX433" fmla="*/ 174101 w 7467600"/>
              <a:gd name="connsiteY433" fmla="*/ 5620277 h 6858000"/>
              <a:gd name="connsiteX434" fmla="*/ 891800 w 7467600"/>
              <a:gd name="connsiteY434" fmla="*/ 6036935 h 6858000"/>
              <a:gd name="connsiteX435" fmla="*/ 1072219 w 7467600"/>
              <a:gd name="connsiteY435" fmla="*/ 6169443 h 6858000"/>
              <a:gd name="connsiteX436" fmla="*/ 1074117 w 7467600"/>
              <a:gd name="connsiteY436" fmla="*/ 6170301 h 6858000"/>
              <a:gd name="connsiteX437" fmla="*/ 1083114 w 7467600"/>
              <a:gd name="connsiteY437" fmla="*/ 6174131 h 6858000"/>
              <a:gd name="connsiteX438" fmla="*/ 1543010 w 7467600"/>
              <a:gd name="connsiteY438" fmla="*/ 6191140 h 6858000"/>
              <a:gd name="connsiteX439" fmla="*/ 1551080 w 7467600"/>
              <a:gd name="connsiteY439" fmla="*/ 6195006 h 6858000"/>
              <a:gd name="connsiteX440" fmla="*/ 2345443 w 7467600"/>
              <a:gd name="connsiteY440" fmla="*/ 5549882 h 6858000"/>
              <a:gd name="connsiteX441" fmla="*/ 1721499 w 7467600"/>
              <a:gd name="connsiteY441" fmla="*/ 5599969 h 6858000"/>
              <a:gd name="connsiteX442" fmla="*/ 767716 w 7467600"/>
              <a:gd name="connsiteY442" fmla="*/ 5472768 h 6858000"/>
              <a:gd name="connsiteX443" fmla="*/ 722147 w 7467600"/>
              <a:gd name="connsiteY443" fmla="*/ 5393091 h 6858000"/>
              <a:gd name="connsiteX444" fmla="*/ 1485552 w 7467600"/>
              <a:gd name="connsiteY444" fmla="*/ 5313202 h 6858000"/>
              <a:gd name="connsiteX445" fmla="*/ 2143004 w 7467600"/>
              <a:gd name="connsiteY445" fmla="*/ 5402420 h 6858000"/>
              <a:gd name="connsiteX446" fmla="*/ 1933391 w 7467600"/>
              <a:gd name="connsiteY446" fmla="*/ 5156971 h 6858000"/>
              <a:gd name="connsiteX447" fmla="*/ 1827118 w 7467600"/>
              <a:gd name="connsiteY447" fmla="*/ 4968410 h 6858000"/>
              <a:gd name="connsiteX448" fmla="*/ 1837349 w 7467600"/>
              <a:gd name="connsiteY448" fmla="*/ 4956357 h 6858000"/>
              <a:gd name="connsiteX449" fmla="*/ 2162835 w 7467600"/>
              <a:gd name="connsiteY449" fmla="*/ 5187853 h 6858000"/>
              <a:gd name="connsiteX450" fmla="*/ 2257167 w 7467600"/>
              <a:gd name="connsiteY450" fmla="*/ 5462123 h 6858000"/>
              <a:gd name="connsiteX451" fmla="*/ 2261598 w 7467600"/>
              <a:gd name="connsiteY451" fmla="*/ 5467998 h 6858000"/>
              <a:gd name="connsiteX452" fmla="*/ 2437177 w 7467600"/>
              <a:gd name="connsiteY452" fmla="*/ 5479608 h 6858000"/>
              <a:gd name="connsiteX453" fmla="*/ 2445247 w 7467600"/>
              <a:gd name="connsiteY453" fmla="*/ 5483476 h 6858000"/>
              <a:gd name="connsiteX454" fmla="*/ 2743626 w 7467600"/>
              <a:gd name="connsiteY454" fmla="*/ 5304819 h 6858000"/>
              <a:gd name="connsiteX455" fmla="*/ 3048102 w 7467600"/>
              <a:gd name="connsiteY455" fmla="*/ 5150595 h 6858000"/>
              <a:gd name="connsiteX456" fmla="*/ 1799414 w 7467600"/>
              <a:gd name="connsiteY456" fmla="*/ 4694732 h 6858000"/>
              <a:gd name="connsiteX457" fmla="*/ 1771735 w 7467600"/>
              <a:gd name="connsiteY457" fmla="*/ 4619929 h 6858000"/>
              <a:gd name="connsiteX458" fmla="*/ 3104273 w 7467600"/>
              <a:gd name="connsiteY458" fmla="*/ 5076159 h 6858000"/>
              <a:gd name="connsiteX459" fmla="*/ 3113245 w 7467600"/>
              <a:gd name="connsiteY459" fmla="*/ 5090705 h 6858000"/>
              <a:gd name="connsiteX460" fmla="*/ 3126294 w 7467600"/>
              <a:gd name="connsiteY460" fmla="*/ 5114400 h 6858000"/>
              <a:gd name="connsiteX461" fmla="*/ 3937433 w 7467600"/>
              <a:gd name="connsiteY461" fmla="*/ 4830473 h 6858000"/>
              <a:gd name="connsiteX462" fmla="*/ 3590475 w 7467600"/>
              <a:gd name="connsiteY462" fmla="*/ 4597974 h 6858000"/>
              <a:gd name="connsiteX463" fmla="*/ 3100264 w 7467600"/>
              <a:gd name="connsiteY463" fmla="*/ 4579845 h 6858000"/>
              <a:gd name="connsiteX464" fmla="*/ 2183576 w 7467600"/>
              <a:gd name="connsiteY464" fmla="*/ 4227150 h 6858000"/>
              <a:gd name="connsiteX465" fmla="*/ 2151029 w 7467600"/>
              <a:gd name="connsiteY465" fmla="*/ 4146947 h 6858000"/>
              <a:gd name="connsiteX466" fmla="*/ 3563434 w 7467600"/>
              <a:gd name="connsiteY466" fmla="*/ 4469115 h 6858000"/>
              <a:gd name="connsiteX467" fmla="*/ 3177952 w 7467600"/>
              <a:gd name="connsiteY467" fmla="*/ 3657386 h 6858000"/>
              <a:gd name="connsiteX468" fmla="*/ 3189263 w 7467600"/>
              <a:gd name="connsiteY468" fmla="*/ 3625726 h 6858000"/>
              <a:gd name="connsiteX469" fmla="*/ 3560912 w 7467600"/>
              <a:gd name="connsiteY469" fmla="*/ 4079863 h 6858000"/>
              <a:gd name="connsiteX470" fmla="*/ 3626636 w 7467600"/>
              <a:gd name="connsiteY470" fmla="*/ 4512230 h 6858000"/>
              <a:gd name="connsiteX471" fmla="*/ 3653088 w 7467600"/>
              <a:gd name="connsiteY471" fmla="*/ 4521417 h 6858000"/>
              <a:gd name="connsiteX472" fmla="*/ 3988128 w 7467600"/>
              <a:gd name="connsiteY472" fmla="*/ 4817267 h 6858000"/>
              <a:gd name="connsiteX473" fmla="*/ 4830582 w 7467600"/>
              <a:gd name="connsiteY473" fmla="*/ 4676000 h 6858000"/>
              <a:gd name="connsiteX474" fmla="*/ 4830100 w 7467600"/>
              <a:gd name="connsiteY474" fmla="*/ 4675554 h 6858000"/>
              <a:gd name="connsiteX475" fmla="*/ 4036318 w 7467600"/>
              <a:gd name="connsiteY475" fmla="*/ 4147013 h 6858000"/>
              <a:gd name="connsiteX476" fmla="*/ 3432098 w 7467600"/>
              <a:gd name="connsiteY476" fmla="*/ 3537312 h 6858000"/>
              <a:gd name="connsiteX477" fmla="*/ 3446761 w 7467600"/>
              <a:gd name="connsiteY477" fmla="*/ 3461278 h 6858000"/>
              <a:gd name="connsiteX478" fmla="*/ 4419733 w 7467600"/>
              <a:gd name="connsiteY478" fmla="*/ 3963555 h 6858000"/>
              <a:gd name="connsiteX479" fmla="*/ 4781371 w 7467600"/>
              <a:gd name="connsiteY479" fmla="*/ 4458604 h 6858000"/>
              <a:gd name="connsiteX480" fmla="*/ 4780440 w 7467600"/>
              <a:gd name="connsiteY480" fmla="*/ 4470290 h 6858000"/>
              <a:gd name="connsiteX481" fmla="*/ 4898954 w 7467600"/>
              <a:gd name="connsiteY481" fmla="*/ 4662092 h 6858000"/>
              <a:gd name="connsiteX482" fmla="*/ 4900699 w 7467600"/>
              <a:gd name="connsiteY482" fmla="*/ 4670867 h 6858000"/>
              <a:gd name="connsiteX483" fmla="*/ 5714511 w 7467600"/>
              <a:gd name="connsiteY483" fmla="*/ 4663483 h 6858000"/>
              <a:gd name="connsiteX484" fmla="*/ 5464793 w 7467600"/>
              <a:gd name="connsiteY484" fmla="*/ 4393556 h 6858000"/>
              <a:gd name="connsiteX485" fmla="*/ 5461897 w 7467600"/>
              <a:gd name="connsiteY485" fmla="*/ 4390879 h 6858000"/>
              <a:gd name="connsiteX486" fmla="*/ 4294126 w 7467600"/>
              <a:gd name="connsiteY486" fmla="*/ 3303048 h 6858000"/>
              <a:gd name="connsiteX487" fmla="*/ 4305321 w 7467600"/>
              <a:gd name="connsiteY487" fmla="*/ 3256953 h 6858000"/>
              <a:gd name="connsiteX488" fmla="*/ 4949299 w 7467600"/>
              <a:gd name="connsiteY488" fmla="*/ 3766336 h 6858000"/>
              <a:gd name="connsiteX489" fmla="*/ 5291452 w 7467600"/>
              <a:gd name="connsiteY489" fmla="*/ 4076801 h 6858000"/>
              <a:gd name="connsiteX490" fmla="*/ 5434998 w 7467600"/>
              <a:gd name="connsiteY490" fmla="*/ 4254100 h 6858000"/>
              <a:gd name="connsiteX491" fmla="*/ 5351015 w 7467600"/>
              <a:gd name="connsiteY491" fmla="*/ 3760989 h 6858000"/>
              <a:gd name="connsiteX492" fmla="*/ 5413780 w 7467600"/>
              <a:gd name="connsiteY492" fmla="*/ 2966265 h 6858000"/>
              <a:gd name="connsiteX493" fmla="*/ 5425627 w 7467600"/>
              <a:gd name="connsiteY493" fmla="*/ 2954192 h 6858000"/>
              <a:gd name="connsiteX494" fmla="*/ 6604735 w 7467600"/>
              <a:gd name="connsiteY494" fmla="*/ 2041381 h 6858000"/>
              <a:gd name="connsiteX495" fmla="*/ 7204487 w 7467600"/>
              <a:gd name="connsiteY495" fmla="*/ 2742112 h 6858000"/>
              <a:gd name="connsiteX496" fmla="*/ 7131592 w 7467600"/>
              <a:gd name="connsiteY496" fmla="*/ 2672096 h 6858000"/>
              <a:gd name="connsiteX497" fmla="*/ 6996344 w 7467600"/>
              <a:gd name="connsiteY497" fmla="*/ 2518310 h 6858000"/>
              <a:gd name="connsiteX498" fmla="*/ 6735495 w 7467600"/>
              <a:gd name="connsiteY498" fmla="*/ 2196890 h 6858000"/>
              <a:gd name="connsiteX499" fmla="*/ 6721901 w 7467600"/>
              <a:gd name="connsiteY499" fmla="*/ 2179274 h 6858000"/>
              <a:gd name="connsiteX500" fmla="*/ 6604735 w 7467600"/>
              <a:gd name="connsiteY500" fmla="*/ 2041381 h 6858000"/>
              <a:gd name="connsiteX501" fmla="*/ 6591670 w 7467600"/>
              <a:gd name="connsiteY501" fmla="*/ 1988277 h 6858000"/>
              <a:gd name="connsiteX502" fmla="*/ 6747349 w 7467600"/>
              <a:gd name="connsiteY502" fmla="*/ 2160069 h 6858000"/>
              <a:gd name="connsiteX503" fmla="*/ 6760943 w 7467600"/>
              <a:gd name="connsiteY503" fmla="*/ 2177686 h 6858000"/>
              <a:gd name="connsiteX504" fmla="*/ 7021065 w 7467600"/>
              <a:gd name="connsiteY504" fmla="*/ 2498102 h 6858000"/>
              <a:gd name="connsiteX505" fmla="*/ 7155223 w 7467600"/>
              <a:gd name="connsiteY505" fmla="*/ 2650386 h 6858000"/>
              <a:gd name="connsiteX506" fmla="*/ 7203167 w 7467600"/>
              <a:gd name="connsiteY506" fmla="*/ 2697288 h 6858000"/>
              <a:gd name="connsiteX507" fmla="*/ 6937703 w 7467600"/>
              <a:gd name="connsiteY507" fmla="*/ 2321981 h 6858000"/>
              <a:gd name="connsiteX508" fmla="*/ 6591670 w 7467600"/>
              <a:gd name="connsiteY508" fmla="*/ 1988277 h 6858000"/>
              <a:gd name="connsiteX509" fmla="*/ 5798671 w 7467600"/>
              <a:gd name="connsiteY509" fmla="*/ 1981601 h 6858000"/>
              <a:gd name="connsiteX510" fmla="*/ 5754709 w 7467600"/>
              <a:gd name="connsiteY510" fmla="*/ 2071454 h 6858000"/>
              <a:gd name="connsiteX511" fmla="*/ 5763044 w 7467600"/>
              <a:gd name="connsiteY511" fmla="*/ 2842206 h 6858000"/>
              <a:gd name="connsiteX512" fmla="*/ 5764974 w 7467600"/>
              <a:gd name="connsiteY512" fmla="*/ 2799609 h 6858000"/>
              <a:gd name="connsiteX513" fmla="*/ 5767665 w 7467600"/>
              <a:gd name="connsiteY513" fmla="*/ 2666409 h 6858000"/>
              <a:gd name="connsiteX514" fmla="*/ 5763055 w 7467600"/>
              <a:gd name="connsiteY514" fmla="*/ 2579705 h 6858000"/>
              <a:gd name="connsiteX515" fmla="*/ 5758079 w 7467600"/>
              <a:gd name="connsiteY515" fmla="*/ 2492508 h 6858000"/>
              <a:gd name="connsiteX516" fmla="*/ 5779325 w 7467600"/>
              <a:gd name="connsiteY516" fmla="*/ 2197069 h 6858000"/>
              <a:gd name="connsiteX517" fmla="*/ 5798671 w 7467600"/>
              <a:gd name="connsiteY517" fmla="*/ 1981601 h 6858000"/>
              <a:gd name="connsiteX518" fmla="*/ 5829202 w 7467600"/>
              <a:gd name="connsiteY518" fmla="*/ 1971679 h 6858000"/>
              <a:gd name="connsiteX519" fmla="*/ 5809558 w 7467600"/>
              <a:gd name="connsiteY519" fmla="*/ 2198043 h 6858000"/>
              <a:gd name="connsiteX520" fmla="*/ 5788653 w 7467600"/>
              <a:gd name="connsiteY520" fmla="*/ 2489430 h 6858000"/>
              <a:gd name="connsiteX521" fmla="*/ 5793439 w 7467600"/>
              <a:gd name="connsiteY521" fmla="*/ 2575235 h 6858000"/>
              <a:gd name="connsiteX522" fmla="*/ 5796837 w 7467600"/>
              <a:gd name="connsiteY522" fmla="*/ 2637633 h 6858000"/>
              <a:gd name="connsiteX523" fmla="*/ 5818614 w 7467600"/>
              <a:gd name="connsiteY523" fmla="*/ 2473055 h 6858000"/>
              <a:gd name="connsiteX524" fmla="*/ 5829202 w 7467600"/>
              <a:gd name="connsiteY524" fmla="*/ 1971679 h 6858000"/>
              <a:gd name="connsiteX525" fmla="*/ 5911389 w 7467600"/>
              <a:gd name="connsiteY525" fmla="*/ 1898371 h 6858000"/>
              <a:gd name="connsiteX526" fmla="*/ 6237627 w 7467600"/>
              <a:gd name="connsiteY526" fmla="*/ 2231921 h 6858000"/>
              <a:gd name="connsiteX527" fmla="*/ 5911389 w 7467600"/>
              <a:gd name="connsiteY527" fmla="*/ 1898371 h 6858000"/>
              <a:gd name="connsiteX528" fmla="*/ 6944437 w 7467600"/>
              <a:gd name="connsiteY528" fmla="*/ 1575402 h 6858000"/>
              <a:gd name="connsiteX529" fmla="*/ 6304730 w 7467600"/>
              <a:gd name="connsiteY529" fmla="*/ 1766654 h 6858000"/>
              <a:gd name="connsiteX530" fmla="*/ 6944437 w 7467600"/>
              <a:gd name="connsiteY530" fmla="*/ 1575402 h 6858000"/>
              <a:gd name="connsiteX531" fmla="*/ 7019523 w 7467600"/>
              <a:gd name="connsiteY531" fmla="*/ 1519450 h 6858000"/>
              <a:gd name="connsiteX532" fmla="*/ 6298091 w 7467600"/>
              <a:gd name="connsiteY532" fmla="*/ 1737122 h 6858000"/>
              <a:gd name="connsiteX533" fmla="*/ 7019523 w 7467600"/>
              <a:gd name="connsiteY533" fmla="*/ 1519450 h 6858000"/>
              <a:gd name="connsiteX534" fmla="*/ 2399523 w 7467600"/>
              <a:gd name="connsiteY534" fmla="*/ 1428234 h 6858000"/>
              <a:gd name="connsiteX535" fmla="*/ 2224982 w 7467600"/>
              <a:gd name="connsiteY535" fmla="*/ 1826201 h 6858000"/>
              <a:gd name="connsiteX536" fmla="*/ 2096099 w 7467600"/>
              <a:gd name="connsiteY536" fmla="*/ 2345900 h 6858000"/>
              <a:gd name="connsiteX537" fmla="*/ 2283317 w 7467600"/>
              <a:gd name="connsiteY537" fmla="*/ 1796925 h 6858000"/>
              <a:gd name="connsiteX538" fmla="*/ 2399523 w 7467600"/>
              <a:gd name="connsiteY538" fmla="*/ 1428234 h 6858000"/>
              <a:gd name="connsiteX539" fmla="*/ 2448558 w 7467600"/>
              <a:gd name="connsiteY539" fmla="*/ 1373435 h 6858000"/>
              <a:gd name="connsiteX540" fmla="*/ 2312521 w 7467600"/>
              <a:gd name="connsiteY540" fmla="*/ 1806140 h 6858000"/>
              <a:gd name="connsiteX541" fmla="*/ 2127533 w 7467600"/>
              <a:gd name="connsiteY541" fmla="*/ 2348380 h 6858000"/>
              <a:gd name="connsiteX542" fmla="*/ 2358080 w 7467600"/>
              <a:gd name="connsiteY542" fmla="*/ 1866134 h 6858000"/>
              <a:gd name="connsiteX543" fmla="*/ 2407436 w 7467600"/>
              <a:gd name="connsiteY543" fmla="*/ 1651070 h 6858000"/>
              <a:gd name="connsiteX544" fmla="*/ 2448558 w 7467600"/>
              <a:gd name="connsiteY544" fmla="*/ 1373435 h 6858000"/>
              <a:gd name="connsiteX545" fmla="*/ 278707 w 7467600"/>
              <a:gd name="connsiteY545" fmla="*/ 1352270 h 6858000"/>
              <a:gd name="connsiteX546" fmla="*/ 321570 w 7467600"/>
              <a:gd name="connsiteY546" fmla="*/ 1861610 h 6858000"/>
              <a:gd name="connsiteX547" fmla="*/ 294281 w 7467600"/>
              <a:gd name="connsiteY547" fmla="*/ 1440658 h 6858000"/>
              <a:gd name="connsiteX548" fmla="*/ 278707 w 7467600"/>
              <a:gd name="connsiteY548" fmla="*/ 1352270 h 6858000"/>
              <a:gd name="connsiteX549" fmla="*/ 1423821 w 7467600"/>
              <a:gd name="connsiteY549" fmla="*/ 1351958 h 6858000"/>
              <a:gd name="connsiteX550" fmla="*/ 1638521 w 7467600"/>
              <a:gd name="connsiteY550" fmla="*/ 1908470 h 6858000"/>
              <a:gd name="connsiteX551" fmla="*/ 1754199 w 7467600"/>
              <a:gd name="connsiteY551" fmla="*/ 2149284 h 6858000"/>
              <a:gd name="connsiteX552" fmla="*/ 1908359 w 7467600"/>
              <a:gd name="connsiteY552" fmla="*/ 2364988 h 6858000"/>
              <a:gd name="connsiteX553" fmla="*/ 1647661 w 7467600"/>
              <a:gd name="connsiteY553" fmla="*/ 1825945 h 6858000"/>
              <a:gd name="connsiteX554" fmla="*/ 1423821 w 7467600"/>
              <a:gd name="connsiteY554" fmla="*/ 1351958 h 6858000"/>
              <a:gd name="connsiteX555" fmla="*/ 1431890 w 7467600"/>
              <a:gd name="connsiteY555" fmla="*/ 1306475 h 6858000"/>
              <a:gd name="connsiteX556" fmla="*/ 1507597 w 7467600"/>
              <a:gd name="connsiteY556" fmla="*/ 1446132 h 6858000"/>
              <a:gd name="connsiteX557" fmla="*/ 1674586 w 7467600"/>
              <a:gd name="connsiteY557" fmla="*/ 1813832 h 6858000"/>
              <a:gd name="connsiteX558" fmla="*/ 1815950 w 7467600"/>
              <a:gd name="connsiteY558" fmla="*/ 2128564 h 6858000"/>
              <a:gd name="connsiteX559" fmla="*/ 1984242 w 7467600"/>
              <a:gd name="connsiteY559" fmla="*/ 2430829 h 6858000"/>
              <a:gd name="connsiteX560" fmla="*/ 2014023 w 7467600"/>
              <a:gd name="connsiteY560" fmla="*/ 2450995 h 6858000"/>
              <a:gd name="connsiteX561" fmla="*/ 1747337 w 7467600"/>
              <a:gd name="connsiteY561" fmla="*/ 1855264 h 6858000"/>
              <a:gd name="connsiteX562" fmla="*/ 1533749 w 7467600"/>
              <a:gd name="connsiteY562" fmla="*/ 1478656 h 6858000"/>
              <a:gd name="connsiteX563" fmla="*/ 1431890 w 7467600"/>
              <a:gd name="connsiteY563" fmla="*/ 1306475 h 6858000"/>
              <a:gd name="connsiteX564" fmla="*/ 5052692 w 7467600"/>
              <a:gd name="connsiteY564" fmla="*/ 1292994 h 6858000"/>
              <a:gd name="connsiteX565" fmla="*/ 5200661 w 7467600"/>
              <a:gd name="connsiteY565" fmla="*/ 1635186 h 6858000"/>
              <a:gd name="connsiteX566" fmla="*/ 5297138 w 7467600"/>
              <a:gd name="connsiteY566" fmla="*/ 1906351 h 6858000"/>
              <a:gd name="connsiteX567" fmla="*/ 5052692 w 7467600"/>
              <a:gd name="connsiteY567" fmla="*/ 1292994 h 6858000"/>
              <a:gd name="connsiteX568" fmla="*/ 5009948 w 7467600"/>
              <a:gd name="connsiteY568" fmla="*/ 1273619 h 6858000"/>
              <a:gd name="connsiteX569" fmla="*/ 5121777 w 7467600"/>
              <a:gd name="connsiteY569" fmla="*/ 1654213 h 6858000"/>
              <a:gd name="connsiteX570" fmla="*/ 5293545 w 7467600"/>
              <a:gd name="connsiteY570" fmla="*/ 2072247 h 6858000"/>
              <a:gd name="connsiteX571" fmla="*/ 5294042 w 7467600"/>
              <a:gd name="connsiteY571" fmla="*/ 2065019 h 6858000"/>
              <a:gd name="connsiteX572" fmla="*/ 5171936 w 7467600"/>
              <a:gd name="connsiteY572" fmla="*/ 1647613 h 6858000"/>
              <a:gd name="connsiteX573" fmla="*/ 5009948 w 7467600"/>
              <a:gd name="connsiteY573" fmla="*/ 1273619 h 6858000"/>
              <a:gd name="connsiteX574" fmla="*/ 655236 w 7467600"/>
              <a:gd name="connsiteY574" fmla="*/ 1268632 h 6858000"/>
              <a:gd name="connsiteX575" fmla="*/ 839521 w 7467600"/>
              <a:gd name="connsiteY575" fmla="*/ 1685315 h 6858000"/>
              <a:gd name="connsiteX576" fmla="*/ 1109416 w 7467600"/>
              <a:gd name="connsiteY576" fmla="*/ 2061663 h 6858000"/>
              <a:gd name="connsiteX577" fmla="*/ 1298300 w 7467600"/>
              <a:gd name="connsiteY577" fmla="*/ 2247742 h 6858000"/>
              <a:gd name="connsiteX578" fmla="*/ 1125871 w 7467600"/>
              <a:gd name="connsiteY578" fmla="*/ 1989513 h 6858000"/>
              <a:gd name="connsiteX579" fmla="*/ 981574 w 7467600"/>
              <a:gd name="connsiteY579" fmla="*/ 1783157 h 6858000"/>
              <a:gd name="connsiteX580" fmla="*/ 922198 w 7467600"/>
              <a:gd name="connsiteY580" fmla="*/ 1677437 h 6858000"/>
              <a:gd name="connsiteX581" fmla="*/ 869293 w 7467600"/>
              <a:gd name="connsiteY581" fmla="*/ 1583214 h 6858000"/>
              <a:gd name="connsiteX582" fmla="*/ 751431 w 7467600"/>
              <a:gd name="connsiteY582" fmla="*/ 1405731 h 6858000"/>
              <a:gd name="connsiteX583" fmla="*/ 655236 w 7467600"/>
              <a:gd name="connsiteY583" fmla="*/ 1268632 h 6858000"/>
              <a:gd name="connsiteX584" fmla="*/ 6516292 w 7467600"/>
              <a:gd name="connsiteY584" fmla="*/ 1263064 h 6858000"/>
              <a:gd name="connsiteX585" fmla="*/ 5736320 w 7467600"/>
              <a:gd name="connsiteY585" fmla="*/ 1501803 h 6858000"/>
              <a:gd name="connsiteX586" fmla="*/ 6516292 w 7467600"/>
              <a:gd name="connsiteY586" fmla="*/ 1263064 h 6858000"/>
              <a:gd name="connsiteX587" fmla="*/ 291466 w 7467600"/>
              <a:gd name="connsiteY587" fmla="*/ 1250369 h 6858000"/>
              <a:gd name="connsiteX588" fmla="*/ 323180 w 7467600"/>
              <a:gd name="connsiteY588" fmla="*/ 1435283 h 6858000"/>
              <a:gd name="connsiteX589" fmla="*/ 349381 w 7467600"/>
              <a:gd name="connsiteY589" fmla="*/ 1875041 h 6858000"/>
              <a:gd name="connsiteX590" fmla="*/ 374363 w 7467600"/>
              <a:gd name="connsiteY590" fmla="*/ 1506494 h 6858000"/>
              <a:gd name="connsiteX591" fmla="*/ 302168 w 7467600"/>
              <a:gd name="connsiteY591" fmla="*/ 1274495 h 6858000"/>
              <a:gd name="connsiteX592" fmla="*/ 291466 w 7467600"/>
              <a:gd name="connsiteY592" fmla="*/ 1250369 h 6858000"/>
              <a:gd name="connsiteX593" fmla="*/ 678222 w 7467600"/>
              <a:gd name="connsiteY593" fmla="*/ 1248670 h 6858000"/>
              <a:gd name="connsiteX594" fmla="*/ 775536 w 7467600"/>
              <a:gd name="connsiteY594" fmla="*/ 1388015 h 6858000"/>
              <a:gd name="connsiteX595" fmla="*/ 894529 w 7467600"/>
              <a:gd name="connsiteY595" fmla="*/ 1567739 h 6858000"/>
              <a:gd name="connsiteX596" fmla="*/ 948000 w 7467600"/>
              <a:gd name="connsiteY596" fmla="*/ 1663088 h 6858000"/>
              <a:gd name="connsiteX597" fmla="*/ 1006812 w 7467600"/>
              <a:gd name="connsiteY597" fmla="*/ 1767683 h 6858000"/>
              <a:gd name="connsiteX598" fmla="*/ 1149133 w 7467600"/>
              <a:gd name="connsiteY598" fmla="*/ 1971513 h 6858000"/>
              <a:gd name="connsiteX599" fmla="*/ 1333952 w 7467600"/>
              <a:gd name="connsiteY599" fmla="*/ 2251620 h 6858000"/>
              <a:gd name="connsiteX600" fmla="*/ 1337329 w 7467600"/>
              <a:gd name="connsiteY600" fmla="*/ 2258350 h 6858000"/>
              <a:gd name="connsiteX601" fmla="*/ 1014726 w 7467600"/>
              <a:gd name="connsiteY601" fmla="*/ 1615556 h 6858000"/>
              <a:gd name="connsiteX602" fmla="*/ 678222 w 7467600"/>
              <a:gd name="connsiteY602" fmla="*/ 1248670 h 6858000"/>
              <a:gd name="connsiteX603" fmla="*/ 6691602 w 7467600"/>
              <a:gd name="connsiteY603" fmla="*/ 1140573 h 6858000"/>
              <a:gd name="connsiteX604" fmla="*/ 6571100 w 7467600"/>
              <a:gd name="connsiteY604" fmla="*/ 1183662 h 6858000"/>
              <a:gd name="connsiteX605" fmla="*/ 6241687 w 7467600"/>
              <a:gd name="connsiteY605" fmla="*/ 1257600 h 6858000"/>
              <a:gd name="connsiteX606" fmla="*/ 5693009 w 7467600"/>
              <a:gd name="connsiteY606" fmla="*/ 1478256 h 6858000"/>
              <a:gd name="connsiteX607" fmla="*/ 6548420 w 7467600"/>
              <a:gd name="connsiteY607" fmla="*/ 1214599 h 6858000"/>
              <a:gd name="connsiteX608" fmla="*/ 6605473 w 7467600"/>
              <a:gd name="connsiteY608" fmla="*/ 1184686 h 6858000"/>
              <a:gd name="connsiteX609" fmla="*/ 6691602 w 7467600"/>
              <a:gd name="connsiteY609" fmla="*/ 1140573 h 6858000"/>
              <a:gd name="connsiteX610" fmla="*/ 4002475 w 7467600"/>
              <a:gd name="connsiteY610" fmla="*/ 1037802 h 6858000"/>
              <a:gd name="connsiteX611" fmla="*/ 4000324 w 7467600"/>
              <a:gd name="connsiteY611" fmla="*/ 1039362 h 6858000"/>
              <a:gd name="connsiteX612" fmla="*/ 4002862 w 7467600"/>
              <a:gd name="connsiteY612" fmla="*/ 1042866 h 6858000"/>
              <a:gd name="connsiteX613" fmla="*/ 4002475 w 7467600"/>
              <a:gd name="connsiteY613" fmla="*/ 1037802 h 6858000"/>
              <a:gd name="connsiteX614" fmla="*/ 506322 w 7467600"/>
              <a:gd name="connsiteY614" fmla="*/ 1020997 h 6858000"/>
              <a:gd name="connsiteX615" fmla="*/ 533068 w 7467600"/>
              <a:gd name="connsiteY615" fmla="*/ 1029409 h 6858000"/>
              <a:gd name="connsiteX616" fmla="*/ 1232525 w 7467600"/>
              <a:gd name="connsiteY616" fmla="*/ 1804675 h 6858000"/>
              <a:gd name="connsiteX617" fmla="*/ 1388858 w 7467600"/>
              <a:gd name="connsiteY617" fmla="*/ 2368011 h 6858000"/>
              <a:gd name="connsiteX618" fmla="*/ 1384098 w 7467600"/>
              <a:gd name="connsiteY618" fmla="*/ 2378125 h 6858000"/>
              <a:gd name="connsiteX619" fmla="*/ 1425393 w 7467600"/>
              <a:gd name="connsiteY619" fmla="*/ 2589124 h 6858000"/>
              <a:gd name="connsiteX620" fmla="*/ 1424001 w 7467600"/>
              <a:gd name="connsiteY620" fmla="*/ 2597541 h 6858000"/>
              <a:gd name="connsiteX621" fmla="*/ 2152729 w 7467600"/>
              <a:gd name="connsiteY621" fmla="*/ 2864487 h 6858000"/>
              <a:gd name="connsiteX622" fmla="*/ 2020609 w 7467600"/>
              <a:gd name="connsiteY622" fmla="*/ 2539671 h 6858000"/>
              <a:gd name="connsiteX623" fmla="*/ 2018920 w 7467600"/>
              <a:gd name="connsiteY623" fmla="*/ 2536309 h 6858000"/>
              <a:gd name="connsiteX624" fmla="*/ 1342441 w 7467600"/>
              <a:gd name="connsiteY624" fmla="*/ 1173017 h 6858000"/>
              <a:gd name="connsiteX625" fmla="*/ 1367925 w 7467600"/>
              <a:gd name="connsiteY625" fmla="*/ 1135648 h 6858000"/>
              <a:gd name="connsiteX626" fmla="*/ 1771401 w 7467600"/>
              <a:gd name="connsiteY626" fmla="*/ 1806673 h 6858000"/>
              <a:gd name="connsiteX627" fmla="*/ 1972385 w 7467600"/>
              <a:gd name="connsiteY627" fmla="*/ 2198735 h 6858000"/>
              <a:gd name="connsiteX628" fmla="*/ 2040892 w 7467600"/>
              <a:gd name="connsiteY628" fmla="*/ 2405205 h 6858000"/>
              <a:gd name="connsiteX629" fmla="*/ 2131689 w 7467600"/>
              <a:gd name="connsiteY629" fmla="*/ 1936926 h 6858000"/>
              <a:gd name="connsiteX630" fmla="*/ 2454820 w 7467600"/>
              <a:gd name="connsiteY630" fmla="*/ 1248808 h 6858000"/>
              <a:gd name="connsiteX631" fmla="*/ 2492512 w 7467600"/>
              <a:gd name="connsiteY631" fmla="*/ 1302920 h 6858000"/>
              <a:gd name="connsiteX632" fmla="*/ 2081216 w 7467600"/>
              <a:gd name="connsiteY632" fmla="*/ 2527513 h 6858000"/>
              <a:gd name="connsiteX633" fmla="*/ 2081211 w 7467600"/>
              <a:gd name="connsiteY633" fmla="*/ 2528916 h 6858000"/>
              <a:gd name="connsiteX634" fmla="*/ 2199067 w 7467600"/>
              <a:gd name="connsiteY634" fmla="*/ 2884061 h 6858000"/>
              <a:gd name="connsiteX635" fmla="*/ 3192586 w 7467600"/>
              <a:gd name="connsiteY635" fmla="*/ 3411496 h 6858000"/>
              <a:gd name="connsiteX636" fmla="*/ 3182620 w 7467600"/>
              <a:gd name="connsiteY636" fmla="*/ 3483279 h 6858000"/>
              <a:gd name="connsiteX637" fmla="*/ 2435119 w 7467600"/>
              <a:gd name="connsiteY637" fmla="*/ 3080173 h 6858000"/>
              <a:gd name="connsiteX638" fmla="*/ 2410152 w 7467600"/>
              <a:gd name="connsiteY638" fmla="*/ 3063751 h 6858000"/>
              <a:gd name="connsiteX639" fmla="*/ 2408099 w 7467600"/>
              <a:gd name="connsiteY639" fmla="*/ 3064403 h 6858000"/>
              <a:gd name="connsiteX640" fmla="*/ 2407218 w 7467600"/>
              <a:gd name="connsiteY640" fmla="*/ 3070324 h 6858000"/>
              <a:gd name="connsiteX641" fmla="*/ 2380138 w 7467600"/>
              <a:gd name="connsiteY641" fmla="*/ 3099341 h 6858000"/>
              <a:gd name="connsiteX642" fmla="*/ 1765923 w 7467600"/>
              <a:gd name="connsiteY642" fmla="*/ 3581043 h 6858000"/>
              <a:gd name="connsiteX643" fmla="*/ 1702258 w 7467600"/>
              <a:gd name="connsiteY643" fmla="*/ 3612286 h 6858000"/>
              <a:gd name="connsiteX644" fmla="*/ 1538370 w 7467600"/>
              <a:gd name="connsiteY644" fmla="*/ 3811804 h 6858000"/>
              <a:gd name="connsiteX645" fmla="*/ 542867 w 7467600"/>
              <a:gd name="connsiteY645" fmla="*/ 4944092 h 6858000"/>
              <a:gd name="connsiteX646" fmla="*/ 515800 w 7467600"/>
              <a:gd name="connsiteY646" fmla="*/ 4862180 h 6858000"/>
              <a:gd name="connsiteX647" fmla="*/ 909145 w 7467600"/>
              <a:gd name="connsiteY647" fmla="*/ 4199225 h 6858000"/>
              <a:gd name="connsiteX648" fmla="*/ 1214067 w 7467600"/>
              <a:gd name="connsiteY648" fmla="*/ 3908561 h 6858000"/>
              <a:gd name="connsiteX649" fmla="*/ 640967 w 7467600"/>
              <a:gd name="connsiteY649" fmla="*/ 4105601 h 6858000"/>
              <a:gd name="connsiteX650" fmla="*/ 112563 w 7467600"/>
              <a:gd name="connsiteY650" fmla="*/ 4396952 h 6858000"/>
              <a:gd name="connsiteX651" fmla="*/ 0 w 7467600"/>
              <a:gd name="connsiteY651" fmla="*/ 4466006 h 6858000"/>
              <a:gd name="connsiteX652" fmla="*/ 0 w 7467600"/>
              <a:gd name="connsiteY652" fmla="*/ 4233763 h 6858000"/>
              <a:gd name="connsiteX653" fmla="*/ 36881 w 7467600"/>
              <a:gd name="connsiteY653" fmla="*/ 4200118 h 6858000"/>
              <a:gd name="connsiteX654" fmla="*/ 910534 w 7467600"/>
              <a:gd name="connsiteY654" fmla="*/ 3629753 h 6858000"/>
              <a:gd name="connsiteX655" fmla="*/ 1578717 w 7467600"/>
              <a:gd name="connsiteY655" fmla="*/ 3575982 h 6858000"/>
              <a:gd name="connsiteX656" fmla="*/ 2338780 w 7467600"/>
              <a:gd name="connsiteY656" fmla="*/ 3033725 h 6858000"/>
              <a:gd name="connsiteX657" fmla="*/ 1807991 w 7467600"/>
              <a:gd name="connsiteY657" fmla="*/ 2807184 h 6858000"/>
              <a:gd name="connsiteX658" fmla="*/ 1416358 w 7467600"/>
              <a:gd name="connsiteY658" fmla="*/ 3112571 h 6858000"/>
              <a:gd name="connsiteX659" fmla="*/ 939066 w 7467600"/>
              <a:gd name="connsiteY659" fmla="*/ 3378798 h 6858000"/>
              <a:gd name="connsiteX660" fmla="*/ 115099 w 7467600"/>
              <a:gd name="connsiteY660" fmla="*/ 3607650 h 6858000"/>
              <a:gd name="connsiteX661" fmla="*/ 97284 w 7467600"/>
              <a:gd name="connsiteY661" fmla="*/ 3520393 h 6858000"/>
              <a:gd name="connsiteX662" fmla="*/ 922050 w 7467600"/>
              <a:gd name="connsiteY662" fmla="*/ 3074867 h 6858000"/>
              <a:gd name="connsiteX663" fmla="*/ 1405265 w 7467600"/>
              <a:gd name="connsiteY663" fmla="*/ 3016319 h 6858000"/>
              <a:gd name="connsiteX664" fmla="*/ 1407512 w 7467600"/>
              <a:gd name="connsiteY664" fmla="*/ 3018001 h 6858000"/>
              <a:gd name="connsiteX665" fmla="*/ 1726266 w 7467600"/>
              <a:gd name="connsiteY665" fmla="*/ 2777274 h 6858000"/>
              <a:gd name="connsiteX666" fmla="*/ 625390 w 7467600"/>
              <a:gd name="connsiteY666" fmla="*/ 2514541 h 6858000"/>
              <a:gd name="connsiteX667" fmla="*/ 619799 w 7467600"/>
              <a:gd name="connsiteY667" fmla="*/ 2527180 h 6858000"/>
              <a:gd name="connsiteX668" fmla="*/ 310030 w 7467600"/>
              <a:gd name="connsiteY668" fmla="*/ 2771818 h 6858000"/>
              <a:gd name="connsiteX669" fmla="*/ 173877 w 7467600"/>
              <a:gd name="connsiteY669" fmla="*/ 2937056 h 6858000"/>
              <a:gd name="connsiteX670" fmla="*/ 77889 w 7467600"/>
              <a:gd name="connsiteY670" fmla="*/ 3138440 h 6858000"/>
              <a:gd name="connsiteX671" fmla="*/ 0 w 7467600"/>
              <a:gd name="connsiteY671" fmla="*/ 3271395 h 6858000"/>
              <a:gd name="connsiteX672" fmla="*/ 0 w 7467600"/>
              <a:gd name="connsiteY672" fmla="*/ 3153002 h 6858000"/>
              <a:gd name="connsiteX673" fmla="*/ 2386 w 7467600"/>
              <a:gd name="connsiteY673" fmla="*/ 3149203 h 6858000"/>
              <a:gd name="connsiteX674" fmla="*/ 89753 w 7467600"/>
              <a:gd name="connsiteY674" fmla="*/ 2987702 h 6858000"/>
              <a:gd name="connsiteX675" fmla="*/ 76869 w 7467600"/>
              <a:gd name="connsiteY675" fmla="*/ 3005404 h 6858000"/>
              <a:gd name="connsiteX676" fmla="*/ 32049 w 7467600"/>
              <a:gd name="connsiteY676" fmla="*/ 3065814 h 6858000"/>
              <a:gd name="connsiteX677" fmla="*/ 0 w 7467600"/>
              <a:gd name="connsiteY677" fmla="*/ 3108744 h 6858000"/>
              <a:gd name="connsiteX678" fmla="*/ 0 w 7467600"/>
              <a:gd name="connsiteY678" fmla="*/ 3058059 h 6858000"/>
              <a:gd name="connsiteX679" fmla="*/ 7610 w 7467600"/>
              <a:gd name="connsiteY679" fmla="*/ 3047889 h 6858000"/>
              <a:gd name="connsiteX680" fmla="*/ 52419 w 7467600"/>
              <a:gd name="connsiteY680" fmla="*/ 2987479 h 6858000"/>
              <a:gd name="connsiteX681" fmla="*/ 59142 w 7467600"/>
              <a:gd name="connsiteY681" fmla="*/ 2978488 h 6858000"/>
              <a:gd name="connsiteX682" fmla="*/ 0 w 7467600"/>
              <a:gd name="connsiteY682" fmla="*/ 3015334 h 6858000"/>
              <a:gd name="connsiteX683" fmla="*/ 0 w 7467600"/>
              <a:gd name="connsiteY683" fmla="*/ 2914286 h 6858000"/>
              <a:gd name="connsiteX684" fmla="*/ 36383 w 7467600"/>
              <a:gd name="connsiteY684" fmla="*/ 2901128 h 6858000"/>
              <a:gd name="connsiteX685" fmla="*/ 156329 w 7467600"/>
              <a:gd name="connsiteY685" fmla="*/ 2840533 h 6858000"/>
              <a:gd name="connsiteX686" fmla="*/ 358355 w 7467600"/>
              <a:gd name="connsiteY686" fmla="*/ 2620471 h 6858000"/>
              <a:gd name="connsiteX687" fmla="*/ 510577 w 7467600"/>
              <a:gd name="connsiteY687" fmla="*/ 2501244 h 6858000"/>
              <a:gd name="connsiteX688" fmla="*/ 211967 w 7467600"/>
              <a:gd name="connsiteY688" fmla="*/ 2479171 h 6858000"/>
              <a:gd name="connsiteX689" fmla="*/ 0 w 7467600"/>
              <a:gd name="connsiteY689" fmla="*/ 2476398 h 6858000"/>
              <a:gd name="connsiteX690" fmla="*/ 0 w 7467600"/>
              <a:gd name="connsiteY690" fmla="*/ 2389189 h 6858000"/>
              <a:gd name="connsiteX691" fmla="*/ 103062 w 7467600"/>
              <a:gd name="connsiteY691" fmla="*/ 2389518 h 6858000"/>
              <a:gd name="connsiteX692" fmla="*/ 510734 w 7467600"/>
              <a:gd name="connsiteY692" fmla="*/ 2416201 h 6858000"/>
              <a:gd name="connsiteX693" fmla="*/ 279257 w 7467600"/>
              <a:gd name="connsiteY693" fmla="*/ 2092102 h 6858000"/>
              <a:gd name="connsiteX694" fmla="*/ 65265 w 7467600"/>
              <a:gd name="connsiteY694" fmla="*/ 2006049 h 6858000"/>
              <a:gd name="connsiteX695" fmla="*/ 0 w 7467600"/>
              <a:gd name="connsiteY695" fmla="*/ 1982532 h 6858000"/>
              <a:gd name="connsiteX696" fmla="*/ 0 w 7467600"/>
              <a:gd name="connsiteY696" fmla="*/ 1912789 h 6858000"/>
              <a:gd name="connsiteX697" fmla="*/ 97460 w 7467600"/>
              <a:gd name="connsiteY697" fmla="*/ 1953725 h 6858000"/>
              <a:gd name="connsiteX698" fmla="*/ 221272 w 7467600"/>
              <a:gd name="connsiteY698" fmla="*/ 1980766 h 6858000"/>
              <a:gd name="connsiteX699" fmla="*/ 116765 w 7467600"/>
              <a:gd name="connsiteY699" fmla="*/ 1911033 h 6858000"/>
              <a:gd name="connsiteX700" fmla="*/ 16405 w 7467600"/>
              <a:gd name="connsiteY700" fmla="*/ 1803412 h 6858000"/>
              <a:gd name="connsiteX701" fmla="*/ 0 w 7467600"/>
              <a:gd name="connsiteY701" fmla="*/ 1784777 h 6858000"/>
              <a:gd name="connsiteX702" fmla="*/ 0 w 7467600"/>
              <a:gd name="connsiteY702" fmla="*/ 1740082 h 6858000"/>
              <a:gd name="connsiteX703" fmla="*/ 39394 w 7467600"/>
              <a:gd name="connsiteY703" fmla="*/ 1784856 h 6858000"/>
              <a:gd name="connsiteX704" fmla="*/ 135813 w 7467600"/>
              <a:gd name="connsiteY704" fmla="*/ 1888838 h 6858000"/>
              <a:gd name="connsiteX705" fmla="*/ 242575 w 7467600"/>
              <a:gd name="connsiteY705" fmla="*/ 1958841 h 6858000"/>
              <a:gd name="connsiteX706" fmla="*/ 82197 w 7467600"/>
              <a:gd name="connsiteY706" fmla="*/ 1754826 h 6858000"/>
              <a:gd name="connsiteX707" fmla="*/ 0 w 7467600"/>
              <a:gd name="connsiteY707" fmla="*/ 1679650 h 6858000"/>
              <a:gd name="connsiteX708" fmla="*/ 0 w 7467600"/>
              <a:gd name="connsiteY708" fmla="*/ 1602463 h 6858000"/>
              <a:gd name="connsiteX709" fmla="*/ 84689 w 7467600"/>
              <a:gd name="connsiteY709" fmla="*/ 1677442 h 6858000"/>
              <a:gd name="connsiteX710" fmla="*/ 298437 w 7467600"/>
              <a:gd name="connsiteY710" fmla="*/ 1968019 h 6858000"/>
              <a:gd name="connsiteX711" fmla="*/ 227269 w 7467600"/>
              <a:gd name="connsiteY711" fmla="*/ 1114064 h 6858000"/>
              <a:gd name="connsiteX712" fmla="*/ 248003 w 7467600"/>
              <a:gd name="connsiteY712" fmla="*/ 1089613 h 6858000"/>
              <a:gd name="connsiteX713" fmla="*/ 427020 w 7467600"/>
              <a:gd name="connsiteY713" fmla="*/ 1619803 h 6858000"/>
              <a:gd name="connsiteX714" fmla="*/ 340345 w 7467600"/>
              <a:gd name="connsiteY714" fmla="*/ 2027739 h 6858000"/>
              <a:gd name="connsiteX715" fmla="*/ 360865 w 7467600"/>
              <a:gd name="connsiteY715" fmla="*/ 2044827 h 6858000"/>
              <a:gd name="connsiteX716" fmla="*/ 560414 w 7467600"/>
              <a:gd name="connsiteY716" fmla="*/ 2421457 h 6858000"/>
              <a:gd name="connsiteX717" fmla="*/ 1359703 w 7467600"/>
              <a:gd name="connsiteY717" fmla="*/ 2578554 h 6858000"/>
              <a:gd name="connsiteX718" fmla="*/ 1359422 w 7467600"/>
              <a:gd name="connsiteY718" fmla="*/ 2577994 h 6858000"/>
              <a:gd name="connsiteX719" fmla="*/ 828701 w 7467600"/>
              <a:gd name="connsiteY719" fmla="*/ 1839520 h 6858000"/>
              <a:gd name="connsiteX720" fmla="*/ 494427 w 7467600"/>
              <a:gd name="connsiteY720" fmla="*/ 1092333 h 6858000"/>
              <a:gd name="connsiteX721" fmla="*/ 506322 w 7467600"/>
              <a:gd name="connsiteY721" fmla="*/ 1020997 h 6858000"/>
              <a:gd name="connsiteX722" fmla="*/ 4570198 w 7467600"/>
              <a:gd name="connsiteY722" fmla="*/ 978081 h 6858000"/>
              <a:gd name="connsiteX723" fmla="*/ 4523691 w 7467600"/>
              <a:gd name="connsiteY723" fmla="*/ 1127776 h 6858000"/>
              <a:gd name="connsiteX724" fmla="*/ 4509875 w 7467600"/>
              <a:gd name="connsiteY724" fmla="*/ 1167552 h 6858000"/>
              <a:gd name="connsiteX725" fmla="*/ 4478168 w 7467600"/>
              <a:gd name="connsiteY725" fmla="*/ 1260735 h 6858000"/>
              <a:gd name="connsiteX726" fmla="*/ 4409309 w 7467600"/>
              <a:gd name="connsiteY726" fmla="*/ 1666996 h 6858000"/>
              <a:gd name="connsiteX727" fmla="*/ 4370031 w 7467600"/>
              <a:gd name="connsiteY727" fmla="*/ 1955666 h 6858000"/>
              <a:gd name="connsiteX728" fmla="*/ 4570198 w 7467600"/>
              <a:gd name="connsiteY728" fmla="*/ 978081 h 6858000"/>
              <a:gd name="connsiteX729" fmla="*/ 4557898 w 7467600"/>
              <a:gd name="connsiteY729" fmla="*/ 900011 h 6858000"/>
              <a:gd name="connsiteX730" fmla="*/ 4344840 w 7467600"/>
              <a:gd name="connsiteY730" fmla="*/ 1922038 h 6858000"/>
              <a:gd name="connsiteX731" fmla="*/ 4378710 w 7467600"/>
              <a:gd name="connsiteY731" fmla="*/ 1665516 h 6858000"/>
              <a:gd name="connsiteX732" fmla="*/ 4448798 w 7467600"/>
              <a:gd name="connsiteY732" fmla="*/ 1253024 h 6858000"/>
              <a:gd name="connsiteX733" fmla="*/ 4480315 w 7467600"/>
              <a:gd name="connsiteY733" fmla="*/ 1158454 h 6858000"/>
              <a:gd name="connsiteX734" fmla="*/ 4494133 w 7467600"/>
              <a:gd name="connsiteY734" fmla="*/ 1118676 h 6858000"/>
              <a:gd name="connsiteX735" fmla="*/ 4557898 w 7467600"/>
              <a:gd name="connsiteY735" fmla="*/ 900011 h 6858000"/>
              <a:gd name="connsiteX736" fmla="*/ 5870151 w 7467600"/>
              <a:gd name="connsiteY736" fmla="*/ 898890 h 6858000"/>
              <a:gd name="connsiteX737" fmla="*/ 5861335 w 7467600"/>
              <a:gd name="connsiteY737" fmla="*/ 899177 h 6858000"/>
              <a:gd name="connsiteX738" fmla="*/ 5843702 w 7467600"/>
              <a:gd name="connsiteY738" fmla="*/ 899748 h 6858000"/>
              <a:gd name="connsiteX739" fmla="*/ 5651107 w 7467600"/>
              <a:gd name="connsiteY739" fmla="*/ 920306 h 6858000"/>
              <a:gd name="connsiteX740" fmla="*/ 5459407 w 7467600"/>
              <a:gd name="connsiteY740" fmla="*/ 940975 h 6858000"/>
              <a:gd name="connsiteX741" fmla="*/ 5374846 w 7467600"/>
              <a:gd name="connsiteY741" fmla="*/ 941988 h 6858000"/>
              <a:gd name="connsiteX742" fmla="*/ 5256105 w 7467600"/>
              <a:gd name="connsiteY742" fmla="*/ 945632 h 6858000"/>
              <a:gd name="connsiteX743" fmla="*/ 5107071 w 7467600"/>
              <a:gd name="connsiteY743" fmla="*/ 969720 h 6858000"/>
              <a:gd name="connsiteX744" fmla="*/ 4998681 w 7467600"/>
              <a:gd name="connsiteY744" fmla="*/ 988771 h 6858000"/>
              <a:gd name="connsiteX745" fmla="*/ 5870151 w 7467600"/>
              <a:gd name="connsiteY745" fmla="*/ 898890 h 6858000"/>
              <a:gd name="connsiteX746" fmla="*/ 5504425 w 7467600"/>
              <a:gd name="connsiteY746" fmla="*/ 848067 h 6858000"/>
              <a:gd name="connsiteX747" fmla="*/ 4968849 w 7467600"/>
              <a:gd name="connsiteY747" fmla="*/ 962318 h 6858000"/>
              <a:gd name="connsiteX748" fmla="*/ 5104039 w 7467600"/>
              <a:gd name="connsiteY748" fmla="*/ 940634 h 6858000"/>
              <a:gd name="connsiteX749" fmla="*/ 5256311 w 7467600"/>
              <a:gd name="connsiteY749" fmla="*/ 916490 h 6858000"/>
              <a:gd name="connsiteX750" fmla="*/ 5377381 w 7467600"/>
              <a:gd name="connsiteY750" fmla="*/ 912671 h 6858000"/>
              <a:gd name="connsiteX751" fmla="*/ 5460148 w 7467600"/>
              <a:gd name="connsiteY751" fmla="*/ 911442 h 6858000"/>
              <a:gd name="connsiteX752" fmla="*/ 5648971 w 7467600"/>
              <a:gd name="connsiteY752" fmla="*/ 891331 h 6858000"/>
              <a:gd name="connsiteX753" fmla="*/ 5844807 w 7467600"/>
              <a:gd name="connsiteY753" fmla="*/ 870718 h 6858000"/>
              <a:gd name="connsiteX754" fmla="*/ 5862975 w 7467600"/>
              <a:gd name="connsiteY754" fmla="*/ 869756 h 6858000"/>
              <a:gd name="connsiteX755" fmla="*/ 5920887 w 7467600"/>
              <a:gd name="connsiteY755" fmla="*/ 865929 h 6858000"/>
              <a:gd name="connsiteX756" fmla="*/ 5504425 w 7467600"/>
              <a:gd name="connsiteY756" fmla="*/ 848067 h 6858000"/>
              <a:gd name="connsiteX757" fmla="*/ 3607114 w 7467600"/>
              <a:gd name="connsiteY757" fmla="*/ 467441 h 6858000"/>
              <a:gd name="connsiteX758" fmla="*/ 3296242 w 7467600"/>
              <a:gd name="connsiteY758" fmla="*/ 807991 h 6858000"/>
              <a:gd name="connsiteX759" fmla="*/ 3174674 w 7467600"/>
              <a:gd name="connsiteY759" fmla="*/ 919759 h 6858000"/>
              <a:gd name="connsiteX760" fmla="*/ 3042978 w 7467600"/>
              <a:gd name="connsiteY760" fmla="*/ 1054894 h 6858000"/>
              <a:gd name="connsiteX761" fmla="*/ 2968914 w 7467600"/>
              <a:gd name="connsiteY761" fmla="*/ 1133756 h 6858000"/>
              <a:gd name="connsiteX762" fmla="*/ 3103823 w 7467600"/>
              <a:gd name="connsiteY762" fmla="*/ 1026814 h 6858000"/>
              <a:gd name="connsiteX763" fmla="*/ 3607114 w 7467600"/>
              <a:gd name="connsiteY763" fmla="*/ 467441 h 6858000"/>
              <a:gd name="connsiteX764" fmla="*/ 3744487 w 7467600"/>
              <a:gd name="connsiteY764" fmla="*/ 383136 h 6858000"/>
              <a:gd name="connsiteX765" fmla="*/ 3970213 w 7467600"/>
              <a:gd name="connsiteY765" fmla="*/ 995559 h 6858000"/>
              <a:gd name="connsiteX766" fmla="*/ 3744487 w 7467600"/>
              <a:gd name="connsiteY766" fmla="*/ 383136 h 6858000"/>
              <a:gd name="connsiteX767" fmla="*/ 3624562 w 7467600"/>
              <a:gd name="connsiteY767" fmla="*/ 367041 h 6858000"/>
              <a:gd name="connsiteX768" fmla="*/ 3489712 w 7467600"/>
              <a:gd name="connsiteY768" fmla="*/ 485386 h 6858000"/>
              <a:gd name="connsiteX769" fmla="*/ 3182994 w 7467600"/>
              <a:gd name="connsiteY769" fmla="*/ 828265 h 6858000"/>
              <a:gd name="connsiteX770" fmla="*/ 2892114 w 7467600"/>
              <a:gd name="connsiteY770" fmla="*/ 1172635 h 6858000"/>
              <a:gd name="connsiteX771" fmla="*/ 3021459 w 7467600"/>
              <a:gd name="connsiteY771" fmla="*/ 1035385 h 6858000"/>
              <a:gd name="connsiteX772" fmla="*/ 3153873 w 7467600"/>
              <a:gd name="connsiteY772" fmla="*/ 898971 h 6858000"/>
              <a:gd name="connsiteX773" fmla="*/ 3276511 w 7467600"/>
              <a:gd name="connsiteY773" fmla="*/ 786423 h 6858000"/>
              <a:gd name="connsiteX774" fmla="*/ 3584154 w 7467600"/>
              <a:gd name="connsiteY774" fmla="*/ 448218 h 6858000"/>
              <a:gd name="connsiteX775" fmla="*/ 3624562 w 7467600"/>
              <a:gd name="connsiteY775" fmla="*/ 367041 h 6858000"/>
              <a:gd name="connsiteX776" fmla="*/ 3766672 w 7467600"/>
              <a:gd name="connsiteY776" fmla="*/ 359429 h 6858000"/>
              <a:gd name="connsiteX777" fmla="*/ 3996338 w 7467600"/>
              <a:gd name="connsiteY777" fmla="*/ 968237 h 6858000"/>
              <a:gd name="connsiteX778" fmla="*/ 3766672 w 7467600"/>
              <a:gd name="connsiteY778" fmla="*/ 359429 h 6858000"/>
              <a:gd name="connsiteX779" fmla="*/ 5805386 w 7467600"/>
              <a:gd name="connsiteY779" fmla="*/ 239240 h 6858000"/>
              <a:gd name="connsiteX780" fmla="*/ 5736947 w 7467600"/>
              <a:gd name="connsiteY780" fmla="*/ 261367 h 6858000"/>
              <a:gd name="connsiteX781" fmla="*/ 5427012 w 7467600"/>
              <a:gd name="connsiteY781" fmla="*/ 311272 h 6858000"/>
              <a:gd name="connsiteX782" fmla="*/ 5147818 w 7467600"/>
              <a:gd name="connsiteY782" fmla="*/ 322112 h 6858000"/>
              <a:gd name="connsiteX783" fmla="*/ 5060854 w 7467600"/>
              <a:gd name="connsiteY783" fmla="*/ 311882 h 6858000"/>
              <a:gd name="connsiteX784" fmla="*/ 4945989 w 7467600"/>
              <a:gd name="connsiteY784" fmla="*/ 300516 h 6858000"/>
              <a:gd name="connsiteX785" fmla="*/ 5410479 w 7467600"/>
              <a:gd name="connsiteY785" fmla="*/ 348434 h 6858000"/>
              <a:gd name="connsiteX786" fmla="*/ 5805386 w 7467600"/>
              <a:gd name="connsiteY786" fmla="*/ 239240 h 6858000"/>
              <a:gd name="connsiteX787" fmla="*/ 5905192 w 7467600"/>
              <a:gd name="connsiteY787" fmla="*/ 163079 h 6858000"/>
              <a:gd name="connsiteX788" fmla="*/ 5865655 w 7467600"/>
              <a:gd name="connsiteY788" fmla="*/ 171901 h 6858000"/>
              <a:gd name="connsiteX789" fmla="*/ 5259740 w 7467600"/>
              <a:gd name="connsiteY789" fmla="*/ 257013 h 6858000"/>
              <a:gd name="connsiteX790" fmla="*/ 5208466 w 7467600"/>
              <a:gd name="connsiteY790" fmla="*/ 257550 h 6858000"/>
              <a:gd name="connsiteX791" fmla="*/ 4980204 w 7467600"/>
              <a:gd name="connsiteY791" fmla="*/ 271903 h 6858000"/>
              <a:gd name="connsiteX792" fmla="*/ 5068068 w 7467600"/>
              <a:gd name="connsiteY792" fmla="*/ 282244 h 6858000"/>
              <a:gd name="connsiteX793" fmla="*/ 5153231 w 7467600"/>
              <a:gd name="connsiteY793" fmla="*/ 292240 h 6858000"/>
              <a:gd name="connsiteX794" fmla="*/ 5426491 w 7467600"/>
              <a:gd name="connsiteY794" fmla="*/ 281128 h 6858000"/>
              <a:gd name="connsiteX795" fmla="*/ 5731212 w 7467600"/>
              <a:gd name="connsiteY795" fmla="*/ 231951 h 6858000"/>
              <a:gd name="connsiteX796" fmla="*/ 5905192 w 7467600"/>
              <a:gd name="connsiteY796" fmla="*/ 163079 h 6858000"/>
              <a:gd name="connsiteX797" fmla="*/ 5944437 w 7467600"/>
              <a:gd name="connsiteY797" fmla="*/ 113829 h 6858000"/>
              <a:gd name="connsiteX798" fmla="*/ 5825032 w 7467600"/>
              <a:gd name="connsiteY798" fmla="*/ 146405 h 6858000"/>
              <a:gd name="connsiteX799" fmla="*/ 4955599 w 7467600"/>
              <a:gd name="connsiteY799" fmla="*/ 247008 h 6858000"/>
              <a:gd name="connsiteX800" fmla="*/ 5210104 w 7467600"/>
              <a:gd name="connsiteY800" fmla="*/ 228123 h 6858000"/>
              <a:gd name="connsiteX801" fmla="*/ 5261015 w 7467600"/>
              <a:gd name="connsiteY801" fmla="*/ 227087 h 6858000"/>
              <a:gd name="connsiteX802" fmla="*/ 5861181 w 7467600"/>
              <a:gd name="connsiteY802" fmla="*/ 143093 h 6858000"/>
              <a:gd name="connsiteX803" fmla="*/ 5961252 w 7467600"/>
              <a:gd name="connsiteY803" fmla="*/ 114820 h 6858000"/>
              <a:gd name="connsiteX804" fmla="*/ 5944437 w 7467600"/>
              <a:gd name="connsiteY804" fmla="*/ 113829 h 6858000"/>
              <a:gd name="connsiteX805" fmla="*/ 3882765 w 7467600"/>
              <a:gd name="connsiteY805" fmla="*/ 0 h 6858000"/>
              <a:gd name="connsiteX806" fmla="*/ 3995099 w 7467600"/>
              <a:gd name="connsiteY806" fmla="*/ 0 h 6858000"/>
              <a:gd name="connsiteX807" fmla="*/ 4163818 w 7467600"/>
              <a:gd name="connsiteY807" fmla="*/ 234104 h 6858000"/>
              <a:gd name="connsiteX808" fmla="*/ 4172099 w 7467600"/>
              <a:gd name="connsiteY808" fmla="*/ 234207 h 6858000"/>
              <a:gd name="connsiteX809" fmla="*/ 4784282 w 7467600"/>
              <a:gd name="connsiteY809" fmla="*/ 276561 h 6858000"/>
              <a:gd name="connsiteX810" fmla="*/ 4801687 w 7467600"/>
              <a:gd name="connsiteY810" fmla="*/ 267764 h 6858000"/>
              <a:gd name="connsiteX811" fmla="*/ 6082788 w 7467600"/>
              <a:gd name="connsiteY811" fmla="*/ 64119 h 6858000"/>
              <a:gd name="connsiteX812" fmla="*/ 6099442 w 7467600"/>
              <a:gd name="connsiteY812" fmla="*/ 82568 h 6858000"/>
              <a:gd name="connsiteX813" fmla="*/ 4804137 w 7467600"/>
              <a:gd name="connsiteY813" fmla="*/ 320931 h 6858000"/>
              <a:gd name="connsiteX814" fmla="*/ 4227047 w 7467600"/>
              <a:gd name="connsiteY814" fmla="*/ 313415 h 6858000"/>
              <a:gd name="connsiteX815" fmla="*/ 4346041 w 7467600"/>
              <a:gd name="connsiteY815" fmla="*/ 456086 h 6858000"/>
              <a:gd name="connsiteX816" fmla="*/ 4870967 w 7467600"/>
              <a:gd name="connsiteY816" fmla="*/ 963061 h 6858000"/>
              <a:gd name="connsiteX817" fmla="*/ 4889647 w 7467600"/>
              <a:gd name="connsiteY817" fmla="*/ 957147 h 6858000"/>
              <a:gd name="connsiteX818" fmla="*/ 5422504 w 7467600"/>
              <a:gd name="connsiteY818" fmla="*/ 805191 h 6858000"/>
              <a:gd name="connsiteX819" fmla="*/ 6087656 w 7467600"/>
              <a:gd name="connsiteY819" fmla="*/ 826703 h 6858000"/>
              <a:gd name="connsiteX820" fmla="*/ 6058717 w 7467600"/>
              <a:gd name="connsiteY820" fmla="*/ 865992 h 6858000"/>
              <a:gd name="connsiteX821" fmla="*/ 4974153 w 7467600"/>
              <a:gd name="connsiteY821" fmla="*/ 1045456 h 6858000"/>
              <a:gd name="connsiteX822" fmla="*/ 5627835 w 7467600"/>
              <a:gd name="connsiteY822" fmla="*/ 1472077 h 6858000"/>
              <a:gd name="connsiteX823" fmla="*/ 5629817 w 7467600"/>
              <a:gd name="connsiteY823" fmla="*/ 1471412 h 6858000"/>
              <a:gd name="connsiteX824" fmla="*/ 5634124 w 7467600"/>
              <a:gd name="connsiteY824" fmla="*/ 1470572 h 6858000"/>
              <a:gd name="connsiteX825" fmla="*/ 5755832 w 7467600"/>
              <a:gd name="connsiteY825" fmla="*/ 1383886 h 6858000"/>
              <a:gd name="connsiteX826" fmla="*/ 6014186 w 7467600"/>
              <a:gd name="connsiteY826" fmla="*/ 1279799 h 6858000"/>
              <a:gd name="connsiteX827" fmla="*/ 6901619 w 7467600"/>
              <a:gd name="connsiteY827" fmla="*/ 1047874 h 6858000"/>
              <a:gd name="connsiteX828" fmla="*/ 6931566 w 7467600"/>
              <a:gd name="connsiteY828" fmla="*/ 1062034 h 6858000"/>
              <a:gd name="connsiteX829" fmla="*/ 5790982 w 7467600"/>
              <a:gd name="connsiteY829" fmla="*/ 1561380 h 6858000"/>
              <a:gd name="connsiteX830" fmla="*/ 6188971 w 7467600"/>
              <a:gd name="connsiteY830" fmla="*/ 1755168 h 6858000"/>
              <a:gd name="connsiteX831" fmla="*/ 6202446 w 7467600"/>
              <a:gd name="connsiteY831" fmla="*/ 1752268 h 6858000"/>
              <a:gd name="connsiteX832" fmla="*/ 7179560 w 7467600"/>
              <a:gd name="connsiteY832" fmla="*/ 1467551 h 6858000"/>
              <a:gd name="connsiteX833" fmla="*/ 7158730 w 7467600"/>
              <a:gd name="connsiteY833" fmla="*/ 1507835 h 6858000"/>
              <a:gd name="connsiteX834" fmla="*/ 6326959 w 7467600"/>
              <a:gd name="connsiteY834" fmla="*/ 1817686 h 6858000"/>
              <a:gd name="connsiteX835" fmla="*/ 6537433 w 7467600"/>
              <a:gd name="connsiteY835" fmla="*/ 1907790 h 6858000"/>
              <a:gd name="connsiteX836" fmla="*/ 6550221 w 7467600"/>
              <a:gd name="connsiteY836" fmla="*/ 1910729 h 6858000"/>
              <a:gd name="connsiteX837" fmla="*/ 6964438 w 7467600"/>
              <a:gd name="connsiteY837" fmla="*/ 2209505 h 6858000"/>
              <a:gd name="connsiteX838" fmla="*/ 7367862 w 7467600"/>
              <a:gd name="connsiteY838" fmla="*/ 2806833 h 6858000"/>
              <a:gd name="connsiteX839" fmla="*/ 7364329 w 7467600"/>
              <a:gd name="connsiteY839" fmla="*/ 2826907 h 6858000"/>
              <a:gd name="connsiteX840" fmla="*/ 7290545 w 7467600"/>
              <a:gd name="connsiteY840" fmla="*/ 2850663 h 6858000"/>
              <a:gd name="connsiteX841" fmla="*/ 6472036 w 7467600"/>
              <a:gd name="connsiteY841" fmla="*/ 1959003 h 6858000"/>
              <a:gd name="connsiteX842" fmla="*/ 5792897 w 7467600"/>
              <a:gd name="connsiteY842" fmla="*/ 1647747 h 6858000"/>
              <a:gd name="connsiteX843" fmla="*/ 5842751 w 7467600"/>
              <a:gd name="connsiteY843" fmla="*/ 1816112 h 6858000"/>
              <a:gd name="connsiteX844" fmla="*/ 5847424 w 7467600"/>
              <a:gd name="connsiteY844" fmla="*/ 1815776 h 6858000"/>
              <a:gd name="connsiteX845" fmla="*/ 6399821 w 7467600"/>
              <a:gd name="connsiteY845" fmla="*/ 2344799 h 6858000"/>
              <a:gd name="connsiteX846" fmla="*/ 6323232 w 7467600"/>
              <a:gd name="connsiteY846" fmla="*/ 2389634 h 6858000"/>
              <a:gd name="connsiteX847" fmla="*/ 5942958 w 7467600"/>
              <a:gd name="connsiteY847" fmla="*/ 2077708 h 6858000"/>
              <a:gd name="connsiteX848" fmla="*/ 5921559 w 7467600"/>
              <a:gd name="connsiteY848" fmla="*/ 2378596 h 6858000"/>
              <a:gd name="connsiteX849" fmla="*/ 5817651 w 7467600"/>
              <a:gd name="connsiteY849" fmla="*/ 3023919 h 6858000"/>
              <a:gd name="connsiteX850" fmla="*/ 5729634 w 7467600"/>
              <a:gd name="connsiteY850" fmla="*/ 3051849 h 6858000"/>
              <a:gd name="connsiteX851" fmla="*/ 5611018 w 7467600"/>
              <a:gd name="connsiteY851" fmla="*/ 2316769 h 6858000"/>
              <a:gd name="connsiteX852" fmla="*/ 5687608 w 7467600"/>
              <a:gd name="connsiteY852" fmla="*/ 2039972 h 6858000"/>
              <a:gd name="connsiteX853" fmla="*/ 5657554 w 7467600"/>
              <a:gd name="connsiteY853" fmla="*/ 1576445 h 6858000"/>
              <a:gd name="connsiteX854" fmla="*/ 5150475 w 7467600"/>
              <a:gd name="connsiteY854" fmla="*/ 1274012 h 6858000"/>
              <a:gd name="connsiteX855" fmla="*/ 5349142 w 7467600"/>
              <a:gd name="connsiteY855" fmla="*/ 2204405 h 6858000"/>
              <a:gd name="connsiteX856" fmla="*/ 5262214 w 7467600"/>
              <a:gd name="connsiteY856" fmla="*/ 2233836 h 6858000"/>
              <a:gd name="connsiteX857" fmla="*/ 4981539 w 7467600"/>
              <a:gd name="connsiteY857" fmla="*/ 1542201 h 6858000"/>
              <a:gd name="connsiteX858" fmla="*/ 4958461 w 7467600"/>
              <a:gd name="connsiteY858" fmla="*/ 1136957 h 6858000"/>
              <a:gd name="connsiteX859" fmla="*/ 4655015 w 7467600"/>
              <a:gd name="connsiteY859" fmla="*/ 891426 h 6858000"/>
              <a:gd name="connsiteX860" fmla="*/ 4348002 w 7467600"/>
              <a:gd name="connsiteY860" fmla="*/ 2205895 h 6858000"/>
              <a:gd name="connsiteX861" fmla="*/ 4262250 w 7467600"/>
              <a:gd name="connsiteY861" fmla="*/ 2219972 h 6858000"/>
              <a:gd name="connsiteX862" fmla="*/ 4550611 w 7467600"/>
              <a:gd name="connsiteY862" fmla="*/ 817540 h 6858000"/>
              <a:gd name="connsiteX863" fmla="*/ 4564418 w 7467600"/>
              <a:gd name="connsiteY863" fmla="*/ 808293 h 6858000"/>
              <a:gd name="connsiteX864" fmla="*/ 4266388 w 7467600"/>
              <a:gd name="connsiteY864" fmla="*/ 500083 h 6858000"/>
              <a:gd name="connsiteX865" fmla="*/ 4032842 w 7467600"/>
              <a:gd name="connsiteY865" fmla="*/ 211809 h 6858000"/>
              <a:gd name="connsiteX866" fmla="*/ 3882765 w 7467600"/>
              <a:gd name="connsiteY866" fmla="*/ 0 h 6858000"/>
              <a:gd name="connsiteX867" fmla="*/ 3721337 w 7467600"/>
              <a:gd name="connsiteY867" fmla="*/ 0 h 6858000"/>
              <a:gd name="connsiteX868" fmla="*/ 3797544 w 7467600"/>
              <a:gd name="connsiteY868" fmla="*/ 0 h 6858000"/>
              <a:gd name="connsiteX869" fmla="*/ 3775734 w 7467600"/>
              <a:gd name="connsiteY869" fmla="*/ 95131 h 6858000"/>
              <a:gd name="connsiteX870" fmla="*/ 3724807 w 7467600"/>
              <a:gd name="connsiteY870" fmla="*/ 272257 h 6858000"/>
              <a:gd name="connsiteX871" fmla="*/ 3726844 w 7467600"/>
              <a:gd name="connsiteY871" fmla="*/ 282988 h 6858000"/>
              <a:gd name="connsiteX872" fmla="*/ 3742664 w 7467600"/>
              <a:gd name="connsiteY872" fmla="*/ 279918 h 6858000"/>
              <a:gd name="connsiteX873" fmla="*/ 4103910 w 7467600"/>
              <a:gd name="connsiteY873" fmla="*/ 1161917 h 6858000"/>
              <a:gd name="connsiteX874" fmla="*/ 4020269 w 7467600"/>
              <a:gd name="connsiteY874" fmla="*/ 1200406 h 6858000"/>
              <a:gd name="connsiteX875" fmla="*/ 3674882 w 7467600"/>
              <a:gd name="connsiteY875" fmla="*/ 488524 h 6858000"/>
              <a:gd name="connsiteX876" fmla="*/ 3132682 w 7467600"/>
              <a:gd name="connsiteY876" fmla="*/ 1072284 h 6858000"/>
              <a:gd name="connsiteX877" fmla="*/ 2716346 w 7467600"/>
              <a:gd name="connsiteY877" fmla="*/ 1276376 h 6858000"/>
              <a:gd name="connsiteX878" fmla="*/ 2716772 w 7467600"/>
              <a:gd name="connsiteY878" fmla="*/ 1255462 h 6858000"/>
              <a:gd name="connsiteX879" fmla="*/ 3471096 w 7467600"/>
              <a:gd name="connsiteY879" fmla="*/ 437072 h 6858000"/>
              <a:gd name="connsiteX880" fmla="*/ 3639057 w 7467600"/>
              <a:gd name="connsiteY880" fmla="*/ 286334 h 6858000"/>
              <a:gd name="connsiteX881" fmla="*/ 3640309 w 7467600"/>
              <a:gd name="connsiteY881" fmla="*/ 284664 h 6858000"/>
              <a:gd name="connsiteX882" fmla="*/ 3646022 w 7467600"/>
              <a:gd name="connsiteY882" fmla="*/ 276711 h 6858000"/>
              <a:gd name="connsiteX883" fmla="*/ 3707943 w 7467600"/>
              <a:gd name="connsiteY883" fmla="*/ 65958 h 6858000"/>
              <a:gd name="connsiteX884" fmla="*/ 3721337 w 7467600"/>
              <a:gd name="connsiteY884" fmla="*/ 0 h 6858000"/>
              <a:gd name="connsiteX885" fmla="*/ 2867960 w 7467600"/>
              <a:gd name="connsiteY885" fmla="*/ 0 h 6858000"/>
              <a:gd name="connsiteX886" fmla="*/ 2926351 w 7467600"/>
              <a:gd name="connsiteY886" fmla="*/ 0 h 6858000"/>
              <a:gd name="connsiteX887" fmla="*/ 2902823 w 7467600"/>
              <a:gd name="connsiteY887" fmla="*/ 262929 h 6858000"/>
              <a:gd name="connsiteX888" fmla="*/ 2940663 w 7467600"/>
              <a:gd name="connsiteY888" fmla="*/ 140884 h 6858000"/>
              <a:gd name="connsiteX889" fmla="*/ 2947039 w 7467600"/>
              <a:gd name="connsiteY889" fmla="*/ 122524 h 6858000"/>
              <a:gd name="connsiteX890" fmla="*/ 2984316 w 7467600"/>
              <a:gd name="connsiteY890" fmla="*/ 0 h 6858000"/>
              <a:gd name="connsiteX891" fmla="*/ 3016114 w 7467600"/>
              <a:gd name="connsiteY891" fmla="*/ 0 h 6858000"/>
              <a:gd name="connsiteX892" fmla="*/ 2979949 w 7467600"/>
              <a:gd name="connsiteY892" fmla="*/ 119274 h 6858000"/>
              <a:gd name="connsiteX893" fmla="*/ 3023879 w 7467600"/>
              <a:gd name="connsiteY893" fmla="*/ 0 h 6858000"/>
              <a:gd name="connsiteX894" fmla="*/ 3105400 w 7467600"/>
              <a:gd name="connsiteY894" fmla="*/ 0 h 6858000"/>
              <a:gd name="connsiteX895" fmla="*/ 3094669 w 7467600"/>
              <a:gd name="connsiteY895" fmla="*/ 30308 h 6858000"/>
              <a:gd name="connsiteX896" fmla="*/ 2901945 w 7467600"/>
              <a:gd name="connsiteY896" fmla="*/ 466538 h 6858000"/>
              <a:gd name="connsiteX897" fmla="*/ 2815209 w 7467600"/>
              <a:gd name="connsiteY897" fmla="*/ 497361 h 6858000"/>
              <a:gd name="connsiteX898" fmla="*/ 2844845 w 7467600"/>
              <a:gd name="connsiteY898" fmla="*/ 127638 h 6858000"/>
              <a:gd name="connsiteX899" fmla="*/ 2867960 w 7467600"/>
              <a:gd name="connsiteY899" fmla="*/ 0 h 6858000"/>
              <a:gd name="connsiteX900" fmla="*/ 1057230 w 7467600"/>
              <a:gd name="connsiteY900" fmla="*/ 0 h 6858000"/>
              <a:gd name="connsiteX901" fmla="*/ 1111003 w 7467600"/>
              <a:gd name="connsiteY901" fmla="*/ 0 h 6858000"/>
              <a:gd name="connsiteX902" fmla="*/ 1125553 w 7467600"/>
              <a:gd name="connsiteY902" fmla="*/ 52588 h 6858000"/>
              <a:gd name="connsiteX903" fmla="*/ 1304276 w 7467600"/>
              <a:gd name="connsiteY903" fmla="*/ 476275 h 6858000"/>
              <a:gd name="connsiteX904" fmla="*/ 1492066 w 7467600"/>
              <a:gd name="connsiteY904" fmla="*/ 886333 h 6858000"/>
              <a:gd name="connsiteX905" fmla="*/ 1423698 w 7467600"/>
              <a:gd name="connsiteY905" fmla="*/ 710817 h 6858000"/>
              <a:gd name="connsiteX906" fmla="*/ 1357609 w 7467600"/>
              <a:gd name="connsiteY906" fmla="*/ 532892 h 6858000"/>
              <a:gd name="connsiteX907" fmla="*/ 1309550 w 7467600"/>
              <a:gd name="connsiteY907" fmla="*/ 374031 h 6858000"/>
              <a:gd name="connsiteX908" fmla="*/ 1193673 w 7467600"/>
              <a:gd name="connsiteY908" fmla="*/ 49533 h 6858000"/>
              <a:gd name="connsiteX909" fmla="*/ 1164391 w 7467600"/>
              <a:gd name="connsiteY909" fmla="*/ 0 h 6858000"/>
              <a:gd name="connsiteX910" fmla="*/ 1200666 w 7467600"/>
              <a:gd name="connsiteY910" fmla="*/ 0 h 6858000"/>
              <a:gd name="connsiteX911" fmla="*/ 1223408 w 7467600"/>
              <a:gd name="connsiteY911" fmla="*/ 38996 h 6858000"/>
              <a:gd name="connsiteX912" fmla="*/ 1339635 w 7467600"/>
              <a:gd name="connsiteY912" fmla="*/ 365517 h 6858000"/>
              <a:gd name="connsiteX913" fmla="*/ 1387469 w 7467600"/>
              <a:gd name="connsiteY913" fmla="*/ 523079 h 6858000"/>
              <a:gd name="connsiteX914" fmla="*/ 1452685 w 7467600"/>
              <a:gd name="connsiteY914" fmla="*/ 699806 h 6858000"/>
              <a:gd name="connsiteX915" fmla="*/ 1492092 w 7467600"/>
              <a:gd name="connsiteY915" fmla="*/ 800424 h 6858000"/>
              <a:gd name="connsiteX916" fmla="*/ 1455302 w 7467600"/>
              <a:gd name="connsiteY916" fmla="*/ 632913 h 6858000"/>
              <a:gd name="connsiteX917" fmla="*/ 1222336 w 7467600"/>
              <a:gd name="connsiteY917" fmla="*/ 9480 h 6858000"/>
              <a:gd name="connsiteX918" fmla="*/ 1214634 w 7467600"/>
              <a:gd name="connsiteY918" fmla="*/ 0 h 6858000"/>
              <a:gd name="connsiteX919" fmla="*/ 1289827 w 7467600"/>
              <a:gd name="connsiteY919" fmla="*/ 0 h 6858000"/>
              <a:gd name="connsiteX920" fmla="*/ 1321076 w 7467600"/>
              <a:gd name="connsiteY920" fmla="*/ 59722 h 6858000"/>
              <a:gd name="connsiteX921" fmla="*/ 1512579 w 7467600"/>
              <a:gd name="connsiteY921" fmla="*/ 626441 h 6858000"/>
              <a:gd name="connsiteX922" fmla="*/ 1506076 w 7467600"/>
              <a:gd name="connsiteY922" fmla="*/ 1089289 h 6858000"/>
              <a:gd name="connsiteX923" fmla="*/ 1486346 w 7467600"/>
              <a:gd name="connsiteY923" fmla="*/ 1079919 h 6858000"/>
              <a:gd name="connsiteX924" fmla="*/ 1070511 w 7467600"/>
              <a:gd name="connsiteY924" fmla="*/ 48609 h 6858000"/>
              <a:gd name="connsiteX925" fmla="*/ 1057230 w 7467600"/>
              <a:gd name="connsiteY925" fmla="*/ 0 h 6858000"/>
              <a:gd name="connsiteX926" fmla="*/ 43151 w 7467600"/>
              <a:gd name="connsiteY926" fmla="*/ 0 h 6858000"/>
              <a:gd name="connsiteX927" fmla="*/ 95283 w 7467600"/>
              <a:gd name="connsiteY927" fmla="*/ 0 h 6858000"/>
              <a:gd name="connsiteX928" fmla="*/ 300708 w 7467600"/>
              <a:gd name="connsiteY928" fmla="*/ 154571 h 6858000"/>
              <a:gd name="connsiteX929" fmla="*/ 530414 w 7467600"/>
              <a:gd name="connsiteY929" fmla="*/ 354673 h 6858000"/>
              <a:gd name="connsiteX930" fmla="*/ 333785 w 7467600"/>
              <a:gd name="connsiteY930" fmla="*/ 161564 h 6858000"/>
              <a:gd name="connsiteX931" fmla="*/ 147005 w 7467600"/>
              <a:gd name="connsiteY931" fmla="*/ 0 h 6858000"/>
              <a:gd name="connsiteX932" fmla="*/ 272509 w 7467600"/>
              <a:gd name="connsiteY932" fmla="*/ 0 h 6858000"/>
              <a:gd name="connsiteX933" fmla="*/ 326276 w 7467600"/>
              <a:gd name="connsiteY933" fmla="*/ 45847 h 6858000"/>
              <a:gd name="connsiteX934" fmla="*/ 823759 w 7467600"/>
              <a:gd name="connsiteY934" fmla="*/ 574145 h 6858000"/>
              <a:gd name="connsiteX935" fmla="*/ 811254 w 7467600"/>
              <a:gd name="connsiteY935" fmla="*/ 665546 h 6858000"/>
              <a:gd name="connsiteX936" fmla="*/ 154042 w 7467600"/>
              <a:gd name="connsiteY936" fmla="*/ 261522 h 6858000"/>
              <a:gd name="connsiteX937" fmla="*/ 13550 w 7467600"/>
              <a:gd name="connsiteY937" fmla="*/ 158423 h 6858000"/>
              <a:gd name="connsiteX938" fmla="*/ 0 w 7467600"/>
              <a:gd name="connsiteY938" fmla="*/ 146618 h 6858000"/>
              <a:gd name="connsiteX939" fmla="*/ 0 w 7467600"/>
              <a:gd name="connsiteY939" fmla="*/ 59161 h 6858000"/>
              <a:gd name="connsiteX940" fmla="*/ 45427 w 7467600"/>
              <a:gd name="connsiteY940" fmla="*/ 101078 h 6858000"/>
              <a:gd name="connsiteX941" fmla="*/ 630103 w 7467600"/>
              <a:gd name="connsiteY941" fmla="*/ 485885 h 6858000"/>
              <a:gd name="connsiteX942" fmla="*/ 532040 w 7467600"/>
              <a:gd name="connsiteY942" fmla="*/ 399359 h 6858000"/>
              <a:gd name="connsiteX943" fmla="*/ 517618 w 7467600"/>
              <a:gd name="connsiteY943" fmla="*/ 385726 h 6858000"/>
              <a:gd name="connsiteX944" fmla="*/ 285074 w 7467600"/>
              <a:gd name="connsiteY944" fmla="*/ 182755 h 6858000"/>
              <a:gd name="connsiteX945" fmla="*/ 43151 w 7467600"/>
              <a:gd name="connsiteY945"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289862 w 7467600"/>
              <a:gd name="connsiteY4" fmla="*/ 6659827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447383 w 7467600"/>
              <a:gd name="connsiteY11" fmla="*/ 6707202 h 6858000"/>
              <a:gd name="connsiteX12" fmla="*/ 7289862 w 7467600"/>
              <a:gd name="connsiteY12" fmla="*/ 6659827 h 6858000"/>
              <a:gd name="connsiteX13" fmla="*/ 1019354 w 7467600"/>
              <a:gd name="connsiteY13" fmla="*/ 6315006 h 6858000"/>
              <a:gd name="connsiteX14" fmla="*/ 441046 w 7467600"/>
              <a:gd name="connsiteY14" fmla="*/ 6691153 h 6858000"/>
              <a:gd name="connsiteX15" fmla="*/ 1019354 w 7467600"/>
              <a:gd name="connsiteY15" fmla="*/ 6315006 h 6858000"/>
              <a:gd name="connsiteX16" fmla="*/ 991680 w 7467600"/>
              <a:gd name="connsiteY16" fmla="*/ 6298413 h 6858000"/>
              <a:gd name="connsiteX17" fmla="*/ 409060 w 7467600"/>
              <a:gd name="connsiteY17" fmla="*/ 6671470 h 6858000"/>
              <a:gd name="connsiteX18" fmla="*/ 991680 w 7467600"/>
              <a:gd name="connsiteY18" fmla="*/ 6298413 h 6858000"/>
              <a:gd name="connsiteX19" fmla="*/ 103333 w 7467600"/>
              <a:gd name="connsiteY19" fmla="*/ 5699602 h 6858000"/>
              <a:gd name="connsiteX20" fmla="*/ 233938 w 7467600"/>
              <a:gd name="connsiteY20" fmla="*/ 5809416 h 6858000"/>
              <a:gd name="connsiteX21" fmla="*/ 883580 w 7467600"/>
              <a:gd name="connsiteY21" fmla="*/ 6180710 h 6858000"/>
              <a:gd name="connsiteX22" fmla="*/ 487337 w 7467600"/>
              <a:gd name="connsiteY22" fmla="*/ 5950182 h 6858000"/>
              <a:gd name="connsiteX23" fmla="*/ 354051 w 7467600"/>
              <a:gd name="connsiteY23" fmla="*/ 5854912 h 6858000"/>
              <a:gd name="connsiteX24" fmla="*/ 195436 w 7467600"/>
              <a:gd name="connsiteY24" fmla="*/ 5755068 h 6858000"/>
              <a:gd name="connsiteX25" fmla="*/ 103333 w 7467600"/>
              <a:gd name="connsiteY25" fmla="*/ 5699602 h 6858000"/>
              <a:gd name="connsiteX26" fmla="*/ 5539432 w 7467600"/>
              <a:gd name="connsiteY26" fmla="*/ 5642928 h 6858000"/>
              <a:gd name="connsiteX27" fmla="*/ 5555462 w 7467600"/>
              <a:gd name="connsiteY27" fmla="*/ 5694454 h 6858000"/>
              <a:gd name="connsiteX28" fmla="*/ 5828270 w 7467600"/>
              <a:gd name="connsiteY28" fmla="*/ 6320663 h 6858000"/>
              <a:gd name="connsiteX29" fmla="*/ 5947416 w 7467600"/>
              <a:gd name="connsiteY29" fmla="*/ 6574846 h 6858000"/>
              <a:gd name="connsiteX30" fmla="*/ 5539432 w 7467600"/>
              <a:gd name="connsiteY30" fmla="*/ 5642928 h 6858000"/>
              <a:gd name="connsiteX31" fmla="*/ 51253 w 7467600"/>
              <a:gd name="connsiteY31" fmla="*/ 5631825 h 6858000"/>
              <a:gd name="connsiteX32" fmla="*/ 211622 w 7467600"/>
              <a:gd name="connsiteY32" fmla="*/ 5728803 h 6858000"/>
              <a:gd name="connsiteX33" fmla="*/ 371652 w 7467600"/>
              <a:gd name="connsiteY33" fmla="*/ 5829062 h 6858000"/>
              <a:gd name="connsiteX34" fmla="*/ 505903 w 7467600"/>
              <a:gd name="connsiteY34" fmla="*/ 5925221 h 6858000"/>
              <a:gd name="connsiteX35" fmla="*/ 899240 w 7467600"/>
              <a:gd name="connsiteY35" fmla="*/ 6153068 h 6858000"/>
              <a:gd name="connsiteX36" fmla="*/ 988114 w 7467600"/>
              <a:gd name="connsiteY36" fmla="*/ 6174204 h 6858000"/>
              <a:gd name="connsiteX37" fmla="*/ 845971 w 7467600"/>
              <a:gd name="connsiteY37" fmla="*/ 6067177 h 6858000"/>
              <a:gd name="connsiteX38" fmla="*/ 448057 w 7467600"/>
              <a:gd name="connsiteY38" fmla="*/ 5841376 h 6858000"/>
              <a:gd name="connsiteX39" fmla="*/ 51253 w 7467600"/>
              <a:gd name="connsiteY39" fmla="*/ 5631825 h 6858000"/>
              <a:gd name="connsiteX40" fmla="*/ 2606687 w 7467600"/>
              <a:gd name="connsiteY40" fmla="*/ 5630718 h 6858000"/>
              <a:gd name="connsiteX41" fmla="*/ 2645658 w 7467600"/>
              <a:gd name="connsiteY41" fmla="*/ 6640259 h 6858000"/>
              <a:gd name="connsiteX42" fmla="*/ 2606687 w 7467600"/>
              <a:gd name="connsiteY42" fmla="*/ 5630718 h 6858000"/>
              <a:gd name="connsiteX43" fmla="*/ 3642057 w 7467600"/>
              <a:gd name="connsiteY43" fmla="*/ 5573487 h 6858000"/>
              <a:gd name="connsiteX44" fmla="*/ 3632981 w 7467600"/>
              <a:gd name="connsiteY44" fmla="*/ 5579437 h 6858000"/>
              <a:gd name="connsiteX45" fmla="*/ 3382436 w 7467600"/>
              <a:gd name="connsiteY45" fmla="*/ 5952726 h 6858000"/>
              <a:gd name="connsiteX46" fmla="*/ 3191929 w 7467600"/>
              <a:gd name="connsiteY46" fmla="*/ 6662669 h 6858000"/>
              <a:gd name="connsiteX47" fmla="*/ 3369898 w 7467600"/>
              <a:gd name="connsiteY47" fmla="*/ 6081771 h 6858000"/>
              <a:gd name="connsiteX48" fmla="*/ 3642057 w 7467600"/>
              <a:gd name="connsiteY48" fmla="*/ 5573487 h 6858000"/>
              <a:gd name="connsiteX49" fmla="*/ 2650666 w 7467600"/>
              <a:gd name="connsiteY49" fmla="*/ 5530686 h 6858000"/>
              <a:gd name="connsiteX50" fmla="*/ 2650249 w 7467600"/>
              <a:gd name="connsiteY50" fmla="*/ 5532101 h 6858000"/>
              <a:gd name="connsiteX51" fmla="*/ 2663808 w 7467600"/>
              <a:gd name="connsiteY51" fmla="*/ 6535215 h 6858000"/>
              <a:gd name="connsiteX52" fmla="*/ 2665418 w 7467600"/>
              <a:gd name="connsiteY52" fmla="*/ 6132756 h 6858000"/>
              <a:gd name="connsiteX53" fmla="*/ 2650666 w 7467600"/>
              <a:gd name="connsiteY53" fmla="*/ 5530686 h 6858000"/>
              <a:gd name="connsiteX54" fmla="*/ 2680277 w 7467600"/>
              <a:gd name="connsiteY54" fmla="*/ 5479204 h 6858000"/>
              <a:gd name="connsiteX55" fmla="*/ 2678972 w 7467600"/>
              <a:gd name="connsiteY55" fmla="*/ 5481582 h 6858000"/>
              <a:gd name="connsiteX56" fmla="*/ 2696666 w 7467600"/>
              <a:gd name="connsiteY56" fmla="*/ 6133836 h 6858000"/>
              <a:gd name="connsiteX57" fmla="*/ 2695769 w 7467600"/>
              <a:gd name="connsiteY57" fmla="*/ 6390955 h 6858000"/>
              <a:gd name="connsiteX58" fmla="*/ 2739893 w 7467600"/>
              <a:gd name="connsiteY58" fmla="*/ 6108357 h 6858000"/>
              <a:gd name="connsiteX59" fmla="*/ 2680277 w 7467600"/>
              <a:gd name="connsiteY59" fmla="*/ 5479204 h 6858000"/>
              <a:gd name="connsiteX60" fmla="*/ 1132195 w 7467600"/>
              <a:gd name="connsiteY60" fmla="*/ 5467980 h 6858000"/>
              <a:gd name="connsiteX61" fmla="*/ 1679056 w 7467600"/>
              <a:gd name="connsiteY61" fmla="*/ 5516907 h 6858000"/>
              <a:gd name="connsiteX62" fmla="*/ 2128648 w 7467600"/>
              <a:gd name="connsiteY62" fmla="*/ 5474249 h 6858000"/>
              <a:gd name="connsiteX63" fmla="*/ 1825619 w 7467600"/>
              <a:gd name="connsiteY63" fmla="*/ 5478447 h 6858000"/>
              <a:gd name="connsiteX64" fmla="*/ 1737798 w 7467600"/>
              <a:gd name="connsiteY64" fmla="*/ 5483353 h 6858000"/>
              <a:gd name="connsiteX65" fmla="*/ 1132195 w 7467600"/>
              <a:gd name="connsiteY65" fmla="*/ 5467980 h 6858000"/>
              <a:gd name="connsiteX66" fmla="*/ 1456157 w 7467600"/>
              <a:gd name="connsiteY66" fmla="*/ 5371404 h 6858000"/>
              <a:gd name="connsiteX67" fmla="*/ 1244432 w 7467600"/>
              <a:gd name="connsiteY67" fmla="*/ 5385601 h 6858000"/>
              <a:gd name="connsiteX68" fmla="*/ 973990 w 7467600"/>
              <a:gd name="connsiteY68" fmla="*/ 5424940 h 6858000"/>
              <a:gd name="connsiteX69" fmla="*/ 1103809 w 7467600"/>
              <a:gd name="connsiteY69" fmla="*/ 5433720 h 6858000"/>
              <a:gd name="connsiteX70" fmla="*/ 1123454 w 7467600"/>
              <a:gd name="connsiteY70" fmla="*/ 5435727 h 6858000"/>
              <a:gd name="connsiteX71" fmla="*/ 1737017 w 7467600"/>
              <a:gd name="connsiteY71" fmla="*/ 5452183 h 6858000"/>
              <a:gd name="connsiteX72" fmla="*/ 1824397 w 7467600"/>
              <a:gd name="connsiteY72" fmla="*/ 5447757 h 6858000"/>
              <a:gd name="connsiteX73" fmla="*/ 2070059 w 7467600"/>
              <a:gd name="connsiteY73" fmla="*/ 5441660 h 6858000"/>
              <a:gd name="connsiteX74" fmla="*/ 1456157 w 7467600"/>
              <a:gd name="connsiteY74" fmla="*/ 5371404 h 6858000"/>
              <a:gd name="connsiteX75" fmla="*/ 4988186 w 7467600"/>
              <a:gd name="connsiteY75" fmla="*/ 5216467 h 6858000"/>
              <a:gd name="connsiteX76" fmla="*/ 4777334 w 7467600"/>
              <a:gd name="connsiteY76" fmla="*/ 5406072 h 6858000"/>
              <a:gd name="connsiteX77" fmla="*/ 4718341 w 7467600"/>
              <a:gd name="connsiteY77" fmla="*/ 5468043 h 6858000"/>
              <a:gd name="connsiteX78" fmla="*/ 4604655 w 7467600"/>
              <a:gd name="connsiteY78" fmla="*/ 5583434 h 6858000"/>
              <a:gd name="connsiteX79" fmla="*/ 4565074 w 7467600"/>
              <a:gd name="connsiteY79" fmla="*/ 5618550 h 6858000"/>
              <a:gd name="connsiteX80" fmla="*/ 4988186 w 7467600"/>
              <a:gd name="connsiteY80" fmla="*/ 5216467 h 6858000"/>
              <a:gd name="connsiteX81" fmla="*/ 4978032 w 7467600"/>
              <a:gd name="connsiteY81" fmla="*/ 5183809 h 6858000"/>
              <a:gd name="connsiteX82" fmla="*/ 4463413 w 7467600"/>
              <a:gd name="connsiteY82" fmla="*/ 5615162 h 6858000"/>
              <a:gd name="connsiteX83" fmla="*/ 4358134 w 7467600"/>
              <a:gd name="connsiteY83" fmla="*/ 5742791 h 6858000"/>
              <a:gd name="connsiteX84" fmla="*/ 4376219 w 7467600"/>
              <a:gd name="connsiteY84" fmla="*/ 5729027 h 6858000"/>
              <a:gd name="connsiteX85" fmla="*/ 4582340 w 7467600"/>
              <a:gd name="connsiteY85" fmla="*/ 5561037 h 6858000"/>
              <a:gd name="connsiteX86" fmla="*/ 4694684 w 7467600"/>
              <a:gd name="connsiteY86" fmla="*/ 5447098 h 6858000"/>
              <a:gd name="connsiteX87" fmla="*/ 4754123 w 7467600"/>
              <a:gd name="connsiteY87" fmla="*/ 5384643 h 6858000"/>
              <a:gd name="connsiteX88" fmla="*/ 4978032 w 7467600"/>
              <a:gd name="connsiteY88" fmla="*/ 5183809 h 6858000"/>
              <a:gd name="connsiteX89" fmla="*/ 1903353 w 7467600"/>
              <a:gd name="connsiteY89" fmla="*/ 5044827 h 6858000"/>
              <a:gd name="connsiteX90" fmla="*/ 1936931 w 7467600"/>
              <a:gd name="connsiteY90" fmla="*/ 5093954 h 6858000"/>
              <a:gd name="connsiteX91" fmla="*/ 2195868 w 7467600"/>
              <a:gd name="connsiteY91" fmla="*/ 5396574 h 6858000"/>
              <a:gd name="connsiteX92" fmla="*/ 2088852 w 7467600"/>
              <a:gd name="connsiteY92" fmla="*/ 5166123 h 6858000"/>
              <a:gd name="connsiteX93" fmla="*/ 1958241 w 7467600"/>
              <a:gd name="connsiteY93" fmla="*/ 5067955 h 6858000"/>
              <a:gd name="connsiteX94" fmla="*/ 1903353 w 7467600"/>
              <a:gd name="connsiteY94" fmla="*/ 5044827 h 6858000"/>
              <a:gd name="connsiteX95" fmla="*/ 1979378 w 7467600"/>
              <a:gd name="connsiteY95" fmla="*/ 4769504 h 6858000"/>
              <a:gd name="connsiteX96" fmla="*/ 2882120 w 7467600"/>
              <a:gd name="connsiteY96" fmla="*/ 5064547 h 6858000"/>
              <a:gd name="connsiteX97" fmla="*/ 2793103 w 7467600"/>
              <a:gd name="connsiteY97" fmla="*/ 5039699 h 6858000"/>
              <a:gd name="connsiteX98" fmla="*/ 2770041 w 7467600"/>
              <a:gd name="connsiteY98" fmla="*/ 5033634 h 6858000"/>
              <a:gd name="connsiteX99" fmla="*/ 1979378 w 7467600"/>
              <a:gd name="connsiteY99" fmla="*/ 4769504 h 6858000"/>
              <a:gd name="connsiteX100" fmla="*/ 1927410 w 7467600"/>
              <a:gd name="connsiteY100" fmla="*/ 4716164 h 6858000"/>
              <a:gd name="connsiteX101" fmla="*/ 1959587 w 7467600"/>
              <a:gd name="connsiteY101" fmla="*/ 4728849 h 6858000"/>
              <a:gd name="connsiteX102" fmla="*/ 2777707 w 7467600"/>
              <a:gd name="connsiteY102" fmla="*/ 5003991 h 6858000"/>
              <a:gd name="connsiteX103" fmla="*/ 2800768 w 7467600"/>
              <a:gd name="connsiteY103" fmla="*/ 5010056 h 6858000"/>
              <a:gd name="connsiteX104" fmla="*/ 2879408 w 7467600"/>
              <a:gd name="connsiteY104" fmla="*/ 5031590 h 6858000"/>
              <a:gd name="connsiteX105" fmla="*/ 2862295 w 7467600"/>
              <a:gd name="connsiteY105" fmla="*/ 5022958 h 6858000"/>
              <a:gd name="connsiteX106" fmla="*/ 2813343 w 7467600"/>
              <a:gd name="connsiteY106" fmla="*/ 4998369 h 6858000"/>
              <a:gd name="connsiteX107" fmla="*/ 2646245 w 7467600"/>
              <a:gd name="connsiteY107" fmla="*/ 4930999 h 6858000"/>
              <a:gd name="connsiteX108" fmla="*/ 1999243 w 7467600"/>
              <a:gd name="connsiteY108" fmla="*/ 4730524 h 6858000"/>
              <a:gd name="connsiteX109" fmla="*/ 1979527 w 7467600"/>
              <a:gd name="connsiteY109" fmla="*/ 4726651 h 6858000"/>
              <a:gd name="connsiteX110" fmla="*/ 1927410 w 7467600"/>
              <a:gd name="connsiteY110" fmla="*/ 4716164 h 6858000"/>
              <a:gd name="connsiteX111" fmla="*/ 1997014 w 7467600"/>
              <a:gd name="connsiteY111" fmla="*/ 4698007 h 6858000"/>
              <a:gd name="connsiteX112" fmla="*/ 2005458 w 7467600"/>
              <a:gd name="connsiteY112" fmla="*/ 4699540 h 6858000"/>
              <a:gd name="connsiteX113" fmla="*/ 2657186 w 7467600"/>
              <a:gd name="connsiteY113" fmla="*/ 4901687 h 6858000"/>
              <a:gd name="connsiteX114" fmla="*/ 2826662 w 7467600"/>
              <a:gd name="connsiteY114" fmla="*/ 4970362 h 6858000"/>
              <a:gd name="connsiteX115" fmla="*/ 2876100 w 7467600"/>
              <a:gd name="connsiteY115" fmla="*/ 4995397 h 6858000"/>
              <a:gd name="connsiteX116" fmla="*/ 3042600 w 7467600"/>
              <a:gd name="connsiteY116" fmla="*/ 5059532 h 6858000"/>
              <a:gd name="connsiteX117" fmla="*/ 1997014 w 7467600"/>
              <a:gd name="connsiteY117" fmla="*/ 4698007 h 6858000"/>
              <a:gd name="connsiteX118" fmla="*/ 2305292 w 7467600"/>
              <a:gd name="connsiteY118" fmla="*/ 4219492 h 6858000"/>
              <a:gd name="connsiteX119" fmla="*/ 3360922 w 7467600"/>
              <a:gd name="connsiteY119" fmla="*/ 4529373 h 6858000"/>
              <a:gd name="connsiteX120" fmla="*/ 3492420 w 7467600"/>
              <a:gd name="connsiteY120" fmla="*/ 4510145 h 6858000"/>
              <a:gd name="connsiteX121" fmla="*/ 3364086 w 7467600"/>
              <a:gd name="connsiteY121" fmla="*/ 4480340 h 6858000"/>
              <a:gd name="connsiteX122" fmla="*/ 3225818 w 7467600"/>
              <a:gd name="connsiteY122" fmla="*/ 4411822 h 6858000"/>
              <a:gd name="connsiteX123" fmla="*/ 3129696 w 7467600"/>
              <a:gd name="connsiteY123" fmla="*/ 4360704 h 6858000"/>
              <a:gd name="connsiteX124" fmla="*/ 2814545 w 7467600"/>
              <a:gd name="connsiteY124" fmla="*/ 4282955 h 6858000"/>
              <a:gd name="connsiteX125" fmla="*/ 2305292 w 7467600"/>
              <a:gd name="connsiteY125" fmla="*/ 4219492 h 6858000"/>
              <a:gd name="connsiteX126" fmla="*/ 2626982 w 7467600"/>
              <a:gd name="connsiteY126" fmla="*/ 4206450 h 6858000"/>
              <a:gd name="connsiteX127" fmla="*/ 2490617 w 7467600"/>
              <a:gd name="connsiteY127" fmla="*/ 4206951 h 6858000"/>
              <a:gd name="connsiteX128" fmla="*/ 2819869 w 7467600"/>
              <a:gd name="connsiteY128" fmla="*/ 4252936 h 6858000"/>
              <a:gd name="connsiteX129" fmla="*/ 3143018 w 7467600"/>
              <a:gd name="connsiteY129" fmla="*/ 4332698 h 6858000"/>
              <a:gd name="connsiteX130" fmla="*/ 3241520 w 7467600"/>
              <a:gd name="connsiteY130" fmla="*/ 4385112 h 6858000"/>
              <a:gd name="connsiteX131" fmla="*/ 3374575 w 7467600"/>
              <a:gd name="connsiteY131" fmla="*/ 4451517 h 6858000"/>
              <a:gd name="connsiteX132" fmla="*/ 3505221 w 7467600"/>
              <a:gd name="connsiteY132" fmla="*/ 4480757 h 6858000"/>
              <a:gd name="connsiteX133" fmla="*/ 2626982 w 7467600"/>
              <a:gd name="connsiteY133" fmla="*/ 4206450 h 6858000"/>
              <a:gd name="connsiteX134" fmla="*/ 1310106 w 7467600"/>
              <a:gd name="connsiteY134" fmla="*/ 3943217 h 6858000"/>
              <a:gd name="connsiteX135" fmla="*/ 854994 w 7467600"/>
              <a:gd name="connsiteY135" fmla="*/ 4399136 h 6858000"/>
              <a:gd name="connsiteX136" fmla="*/ 742462 w 7467600"/>
              <a:gd name="connsiteY136" fmla="*/ 4594648 h 6858000"/>
              <a:gd name="connsiteX137" fmla="*/ 820602 w 7467600"/>
              <a:gd name="connsiteY137" fmla="*/ 4485915 h 6858000"/>
              <a:gd name="connsiteX138" fmla="*/ 878295 w 7467600"/>
              <a:gd name="connsiteY138" fmla="*/ 4403594 h 6858000"/>
              <a:gd name="connsiteX139" fmla="*/ 1240607 w 7467600"/>
              <a:gd name="connsiteY139" fmla="*/ 4010401 h 6858000"/>
              <a:gd name="connsiteX140" fmla="*/ 1310106 w 7467600"/>
              <a:gd name="connsiteY140" fmla="*/ 3943217 h 6858000"/>
              <a:gd name="connsiteX141" fmla="*/ 1423113 w 7467600"/>
              <a:gd name="connsiteY141" fmla="*/ 3874565 h 6858000"/>
              <a:gd name="connsiteX142" fmla="*/ 1260565 w 7467600"/>
              <a:gd name="connsiteY142" fmla="*/ 4031982 h 6858000"/>
              <a:gd name="connsiteX143" fmla="*/ 901900 w 7467600"/>
              <a:gd name="connsiteY143" fmla="*/ 4421236 h 6858000"/>
              <a:gd name="connsiteX144" fmla="*/ 845044 w 7467600"/>
              <a:gd name="connsiteY144" fmla="*/ 4502436 h 6858000"/>
              <a:gd name="connsiteX145" fmla="*/ 685926 w 7467600"/>
              <a:gd name="connsiteY145" fmla="*/ 4703069 h 6858000"/>
              <a:gd name="connsiteX146" fmla="*/ 684248 w 7467600"/>
              <a:gd name="connsiteY146" fmla="*/ 4706721 h 6858000"/>
              <a:gd name="connsiteX147" fmla="*/ 1423113 w 7467600"/>
              <a:gd name="connsiteY147" fmla="*/ 3874565 h 6858000"/>
              <a:gd name="connsiteX148" fmla="*/ 3316479 w 7467600"/>
              <a:gd name="connsiteY148" fmla="*/ 3872136 h 6858000"/>
              <a:gd name="connsiteX149" fmla="*/ 3546806 w 7467600"/>
              <a:gd name="connsiteY149" fmla="*/ 4356139 h 6858000"/>
              <a:gd name="connsiteX150" fmla="*/ 3364433 w 7467600"/>
              <a:gd name="connsiteY150" fmla="*/ 3953121 h 6858000"/>
              <a:gd name="connsiteX151" fmla="*/ 3316479 w 7467600"/>
              <a:gd name="connsiteY151" fmla="*/ 3872136 h 6858000"/>
              <a:gd name="connsiteX152" fmla="*/ 3291335 w 7467600"/>
              <a:gd name="connsiteY152" fmla="*/ 3767420 h 6858000"/>
              <a:gd name="connsiteX153" fmla="*/ 3390805 w 7467600"/>
              <a:gd name="connsiteY153" fmla="*/ 3937163 h 6858000"/>
              <a:gd name="connsiteX154" fmla="*/ 3579062 w 7467600"/>
              <a:gd name="connsiteY154" fmla="*/ 4359040 h 6858000"/>
              <a:gd name="connsiteX155" fmla="*/ 3467355 w 7467600"/>
              <a:gd name="connsiteY155" fmla="*/ 3988130 h 6858000"/>
              <a:gd name="connsiteX156" fmla="*/ 3310753 w 7467600"/>
              <a:gd name="connsiteY156" fmla="*/ 3787140 h 6858000"/>
              <a:gd name="connsiteX157" fmla="*/ 3291335 w 7467600"/>
              <a:gd name="connsiteY157" fmla="*/ 3767420 h 6858000"/>
              <a:gd name="connsiteX158" fmla="*/ 1635889 w 7467600"/>
              <a:gd name="connsiteY158" fmla="*/ 3709494 h 6858000"/>
              <a:gd name="connsiteX159" fmla="*/ 1634800 w 7467600"/>
              <a:gd name="connsiteY159" fmla="*/ 3731111 h 6858000"/>
              <a:gd name="connsiteX160" fmla="*/ 1635889 w 7467600"/>
              <a:gd name="connsiteY160" fmla="*/ 3709494 h 6858000"/>
              <a:gd name="connsiteX161" fmla="*/ 1510397 w 7467600"/>
              <a:gd name="connsiteY161" fmla="*/ 3684705 h 6858000"/>
              <a:gd name="connsiteX162" fmla="*/ 1146550 w 7467600"/>
              <a:gd name="connsiteY162" fmla="*/ 3802012 h 6858000"/>
              <a:gd name="connsiteX163" fmla="*/ 698834 w 7467600"/>
              <a:gd name="connsiteY163" fmla="*/ 3952272 h 6858000"/>
              <a:gd name="connsiteX164" fmla="*/ 34256 w 7467600"/>
              <a:gd name="connsiteY164" fmla="*/ 4347603 h 6858000"/>
              <a:gd name="connsiteX165" fmla="*/ 527241 w 7467600"/>
              <a:gd name="connsiteY165" fmla="*/ 4065078 h 6858000"/>
              <a:gd name="connsiteX166" fmla="*/ 1510397 w 7467600"/>
              <a:gd name="connsiteY166" fmla="*/ 3684705 h 6858000"/>
              <a:gd name="connsiteX167" fmla="*/ 1313114 w 7467600"/>
              <a:gd name="connsiteY167" fmla="*/ 3655216 h 6858000"/>
              <a:gd name="connsiteX168" fmla="*/ 1109304 w 7467600"/>
              <a:gd name="connsiteY168" fmla="*/ 3669030 h 6858000"/>
              <a:gd name="connsiteX169" fmla="*/ 8129 w 7467600"/>
              <a:gd name="connsiteY169" fmla="*/ 4330519 h 6858000"/>
              <a:gd name="connsiteX170" fmla="*/ 687572 w 7467600"/>
              <a:gd name="connsiteY170" fmla="*/ 3925629 h 6858000"/>
              <a:gd name="connsiteX171" fmla="*/ 1138365 w 7467600"/>
              <a:gd name="connsiteY171" fmla="*/ 3774515 h 6858000"/>
              <a:gd name="connsiteX172" fmla="*/ 1505579 w 7467600"/>
              <a:gd name="connsiteY172" fmla="*/ 3655526 h 6858000"/>
              <a:gd name="connsiteX173" fmla="*/ 1313114 w 7467600"/>
              <a:gd name="connsiteY173" fmla="*/ 3655216 h 6858000"/>
              <a:gd name="connsiteX174" fmla="*/ 3655073 w 7467600"/>
              <a:gd name="connsiteY174" fmla="*/ 3650884 h 6858000"/>
              <a:gd name="connsiteX175" fmla="*/ 3989938 w 7467600"/>
              <a:gd name="connsiteY175" fmla="*/ 3991685 h 6858000"/>
              <a:gd name="connsiteX176" fmla="*/ 4393907 w 7467600"/>
              <a:gd name="connsiteY176" fmla="*/ 4261258 h 6858000"/>
              <a:gd name="connsiteX177" fmla="*/ 4648051 w 7467600"/>
              <a:gd name="connsiteY177" fmla="*/ 4374051 h 6858000"/>
              <a:gd name="connsiteX178" fmla="*/ 4383389 w 7467600"/>
              <a:gd name="connsiteY178" fmla="*/ 4184369 h 6858000"/>
              <a:gd name="connsiteX179" fmla="*/ 4165508 w 7467600"/>
              <a:gd name="connsiteY179" fmla="*/ 4035196 h 6858000"/>
              <a:gd name="connsiteX180" fmla="*/ 4068162 w 7467600"/>
              <a:gd name="connsiteY180" fmla="*/ 3953394 h 6858000"/>
              <a:gd name="connsiteX181" fmla="*/ 3981416 w 7467600"/>
              <a:gd name="connsiteY181" fmla="*/ 3880482 h 6858000"/>
              <a:gd name="connsiteX182" fmla="*/ 3800147 w 7467600"/>
              <a:gd name="connsiteY182" fmla="*/ 3749872 h 6858000"/>
              <a:gd name="connsiteX183" fmla="*/ 3655073 w 7467600"/>
              <a:gd name="connsiteY183" fmla="*/ 3650884 h 6858000"/>
              <a:gd name="connsiteX184" fmla="*/ 3670252 w 7467600"/>
              <a:gd name="connsiteY184" fmla="*/ 3622798 h 6858000"/>
              <a:gd name="connsiteX185" fmla="*/ 3817258 w 7467600"/>
              <a:gd name="connsiteY185" fmla="*/ 3723577 h 6858000"/>
              <a:gd name="connsiteX186" fmla="*/ 4000461 w 7467600"/>
              <a:gd name="connsiteY186" fmla="*/ 3855966 h 6858000"/>
              <a:gd name="connsiteX187" fmla="*/ 4088180 w 7467600"/>
              <a:gd name="connsiteY187" fmla="*/ 3929774 h 6858000"/>
              <a:gd name="connsiteX188" fmla="*/ 4184555 w 7467600"/>
              <a:gd name="connsiteY188" fmla="*/ 4010683 h 6858000"/>
              <a:gd name="connsiteX189" fmla="*/ 4399563 w 7467600"/>
              <a:gd name="connsiteY189" fmla="*/ 4158106 h 6858000"/>
              <a:gd name="connsiteX190" fmla="*/ 4684469 w 7467600"/>
              <a:gd name="connsiteY190" fmla="*/ 4364680 h 6858000"/>
              <a:gd name="connsiteX191" fmla="*/ 4690271 w 7467600"/>
              <a:gd name="connsiteY191" fmla="*/ 4370034 h 6858000"/>
              <a:gd name="connsiteX192" fmla="*/ 4136093 w 7467600"/>
              <a:gd name="connsiteY192" fmla="*/ 3858466 h 6858000"/>
              <a:gd name="connsiteX193" fmla="*/ 3670252 w 7467600"/>
              <a:gd name="connsiteY193" fmla="*/ 3622798 h 6858000"/>
              <a:gd name="connsiteX194" fmla="*/ 4440129 w 7467600"/>
              <a:gd name="connsiteY194" fmla="*/ 3448571 h 6858000"/>
              <a:gd name="connsiteX195" fmla="*/ 4856525 w 7467600"/>
              <a:gd name="connsiteY195" fmla="*/ 3915351 h 6858000"/>
              <a:gd name="connsiteX196" fmla="*/ 5059055 w 7467600"/>
              <a:gd name="connsiteY196" fmla="*/ 4108918 h 6858000"/>
              <a:gd name="connsiteX197" fmla="*/ 5290070 w 7467600"/>
              <a:gd name="connsiteY197" fmla="*/ 4263619 h 6858000"/>
              <a:gd name="connsiteX198" fmla="*/ 4834991 w 7467600"/>
              <a:gd name="connsiteY198" fmla="*/ 3830985 h 6858000"/>
              <a:gd name="connsiteX199" fmla="*/ 4440129 w 7467600"/>
              <a:gd name="connsiteY199" fmla="*/ 3448571 h 6858000"/>
              <a:gd name="connsiteX200" fmla="*/ 4441737 w 7467600"/>
              <a:gd name="connsiteY200" fmla="*/ 3399734 h 6858000"/>
              <a:gd name="connsiteX201" fmla="*/ 4431236 w 7467600"/>
              <a:gd name="connsiteY201" fmla="*/ 3400954 h 6858000"/>
              <a:gd name="connsiteX202" fmla="*/ 4557150 w 7467600"/>
              <a:gd name="connsiteY202" fmla="*/ 3510023 h 6858000"/>
              <a:gd name="connsiteX203" fmla="*/ 4856936 w 7467600"/>
              <a:gd name="connsiteY203" fmla="*/ 3809146 h 6858000"/>
              <a:gd name="connsiteX204" fmla="*/ 5111996 w 7467600"/>
              <a:gd name="connsiteY204" fmla="*/ 4065759 h 6858000"/>
              <a:gd name="connsiteX205" fmla="*/ 5388878 w 7467600"/>
              <a:gd name="connsiteY205" fmla="*/ 4300185 h 6858000"/>
              <a:gd name="connsiteX206" fmla="*/ 5425556 w 7467600"/>
              <a:gd name="connsiteY206" fmla="*/ 4308967 h 6858000"/>
              <a:gd name="connsiteX207" fmla="*/ 4943646 w 7467600"/>
              <a:gd name="connsiteY207" fmla="*/ 3822916 h 6858000"/>
              <a:gd name="connsiteX208" fmla="*/ 4594837 w 7467600"/>
              <a:gd name="connsiteY208" fmla="*/ 3532274 h 6858000"/>
              <a:gd name="connsiteX209" fmla="*/ 4441737 w 7467600"/>
              <a:gd name="connsiteY209" fmla="*/ 3399734 h 6858000"/>
              <a:gd name="connsiteX210" fmla="*/ 5425834 w 7467600"/>
              <a:gd name="connsiteY210" fmla="*/ 3162785 h 6858000"/>
              <a:gd name="connsiteX211" fmla="*/ 5401644 w 7467600"/>
              <a:gd name="connsiteY211" fmla="*/ 3617847 h 6858000"/>
              <a:gd name="connsiteX212" fmla="*/ 5467256 w 7467600"/>
              <a:gd name="connsiteY212" fmla="*/ 4175494 h 6858000"/>
              <a:gd name="connsiteX213" fmla="*/ 5448069 w 7467600"/>
              <a:gd name="connsiteY213" fmla="*/ 3567554 h 6858000"/>
              <a:gd name="connsiteX214" fmla="*/ 5425834 w 7467600"/>
              <a:gd name="connsiteY214" fmla="*/ 3162785 h 6858000"/>
              <a:gd name="connsiteX215" fmla="*/ 1318687 w 7467600"/>
              <a:gd name="connsiteY215" fmla="*/ 3113840 h 6858000"/>
              <a:gd name="connsiteX216" fmla="*/ 1066793 w 7467600"/>
              <a:gd name="connsiteY216" fmla="*/ 3212171 h 6858000"/>
              <a:gd name="connsiteX217" fmla="*/ 993319 w 7467600"/>
              <a:gd name="connsiteY217" fmla="*/ 3247648 h 6858000"/>
              <a:gd name="connsiteX218" fmla="*/ 853081 w 7467600"/>
              <a:gd name="connsiteY218" fmla="*/ 3312410 h 6858000"/>
              <a:gd name="connsiteX219" fmla="*/ 805957 w 7467600"/>
              <a:gd name="connsiteY219" fmla="*/ 3330443 h 6858000"/>
              <a:gd name="connsiteX220" fmla="*/ 1318687 w 7467600"/>
              <a:gd name="connsiteY220" fmla="*/ 3113840 h 6858000"/>
              <a:gd name="connsiteX221" fmla="*/ 5453702 w 7467600"/>
              <a:gd name="connsiteY221" fmla="*/ 3090882 h 6858000"/>
              <a:gd name="connsiteX222" fmla="*/ 5480135 w 7467600"/>
              <a:gd name="connsiteY222" fmla="*/ 3565802 h 6858000"/>
              <a:gd name="connsiteX223" fmla="*/ 5499023 w 7467600"/>
              <a:gd name="connsiteY223" fmla="*/ 4166310 h 6858000"/>
              <a:gd name="connsiteX224" fmla="*/ 5547022 w 7467600"/>
              <a:gd name="connsiteY224" fmla="*/ 3607838 h 6858000"/>
              <a:gd name="connsiteX225" fmla="*/ 5515964 w 7467600"/>
              <a:gd name="connsiteY225" fmla="*/ 3378541 h 6858000"/>
              <a:gd name="connsiteX226" fmla="*/ 5453702 w 7467600"/>
              <a:gd name="connsiteY226" fmla="*/ 3090882 h 6858000"/>
              <a:gd name="connsiteX227" fmla="*/ 1238695 w 7467600"/>
              <a:gd name="connsiteY227" fmla="*/ 3076820 h 6858000"/>
              <a:gd name="connsiteX228" fmla="*/ 716371 w 7467600"/>
              <a:gd name="connsiteY228" fmla="*/ 3293249 h 6858000"/>
              <a:gd name="connsiteX229" fmla="*/ 579522 w 7467600"/>
              <a:gd name="connsiteY229" fmla="*/ 3371759 h 6858000"/>
              <a:gd name="connsiteX230" fmla="*/ 600288 w 7467600"/>
              <a:gd name="connsiteY230" fmla="*/ 3365555 h 6858000"/>
              <a:gd name="connsiteX231" fmla="*/ 840692 w 7467600"/>
              <a:gd name="connsiteY231" fmla="*/ 3284921 h 6858000"/>
              <a:gd name="connsiteX232" fmla="*/ 979248 w 7467600"/>
              <a:gd name="connsiteY232" fmla="*/ 3221003 h 6858000"/>
              <a:gd name="connsiteX233" fmla="*/ 1053282 w 7467600"/>
              <a:gd name="connsiteY233" fmla="*/ 3185247 h 6858000"/>
              <a:gd name="connsiteX234" fmla="*/ 1320603 w 7467600"/>
              <a:gd name="connsiteY234" fmla="*/ 3081281 h 6858000"/>
              <a:gd name="connsiteX235" fmla="*/ 1238695 w 7467600"/>
              <a:gd name="connsiteY235" fmla="*/ 3076820 h 6858000"/>
              <a:gd name="connsiteX236" fmla="*/ 5425627 w 7467600"/>
              <a:gd name="connsiteY236" fmla="*/ 2954192 h 6858000"/>
              <a:gd name="connsiteX237" fmla="*/ 5470770 w 7467600"/>
              <a:gd name="connsiteY237" fmla="*/ 3005435 h 6858000"/>
              <a:gd name="connsiteX238" fmla="*/ 5519779 w 7467600"/>
              <a:gd name="connsiteY238" fmla="*/ 4359223 h 6858000"/>
              <a:gd name="connsiteX239" fmla="*/ 5520293 w 7467600"/>
              <a:gd name="connsiteY239" fmla="*/ 4360602 h 6858000"/>
              <a:gd name="connsiteX240" fmla="*/ 5767221 w 7467600"/>
              <a:gd name="connsiteY240" fmla="*/ 4665564 h 6858000"/>
              <a:gd name="connsiteX241" fmla="*/ 6937169 w 7467600"/>
              <a:gd name="connsiteY241" fmla="*/ 4815941 h 6858000"/>
              <a:gd name="connsiteX242" fmla="*/ 6953922 w 7467600"/>
              <a:gd name="connsiteY242" fmla="*/ 4890068 h 6858000"/>
              <a:gd name="connsiteX243" fmla="*/ 6071359 w 7467600"/>
              <a:gd name="connsiteY243" fmla="*/ 4770770 h 6858000"/>
              <a:gd name="connsiteX244" fmla="*/ 6038839 w 7467600"/>
              <a:gd name="connsiteY244" fmla="*/ 4764474 h 6858000"/>
              <a:gd name="connsiteX245" fmla="*/ 6038706 w 7467600"/>
              <a:gd name="connsiteY245" fmla="*/ 4763847 h 6858000"/>
              <a:gd name="connsiteX246" fmla="*/ 6037784 w 7467600"/>
              <a:gd name="connsiteY246" fmla="*/ 4764270 h 6858000"/>
              <a:gd name="connsiteX247" fmla="*/ 6038839 w 7467600"/>
              <a:gd name="connsiteY247" fmla="*/ 4764474 h 6858000"/>
              <a:gd name="connsiteX248" fmla="*/ 6040338 w 7467600"/>
              <a:gd name="connsiteY248" fmla="*/ 4771418 h 6858000"/>
              <a:gd name="connsiteX249" fmla="*/ 6024488 w 7467600"/>
              <a:gd name="connsiteY249" fmla="*/ 4809903 h 6858000"/>
              <a:gd name="connsiteX250" fmla="*/ 5599771 w 7467600"/>
              <a:gd name="connsiteY250" fmla="*/ 5509652 h 6858000"/>
              <a:gd name="connsiteX251" fmla="*/ 5548843 w 7467600"/>
              <a:gd name="connsiteY251" fmla="*/ 5563845 h 6858000"/>
              <a:gd name="connsiteX252" fmla="*/ 5940952 w 7467600"/>
              <a:gd name="connsiteY252" fmla="*/ 6250028 h 6858000"/>
              <a:gd name="connsiteX253" fmla="*/ 6043441 w 7467600"/>
              <a:gd name="connsiteY253" fmla="*/ 6665847 h 6858000"/>
              <a:gd name="connsiteX254" fmla="*/ 6093432 w 7467600"/>
              <a:gd name="connsiteY254" fmla="*/ 6858000 h 6858000"/>
              <a:gd name="connsiteX255" fmla="*/ 6034344 w 7467600"/>
              <a:gd name="connsiteY255" fmla="*/ 6858000 h 6858000"/>
              <a:gd name="connsiteX256" fmla="*/ 6026679 w 7467600"/>
              <a:gd name="connsiteY256" fmla="*/ 6836959 h 6858000"/>
              <a:gd name="connsiteX257" fmla="*/ 5800441 w 7467600"/>
              <a:gd name="connsiteY257" fmla="*/ 6335286 h 6858000"/>
              <a:gd name="connsiteX258" fmla="*/ 5526562 w 7467600"/>
              <a:gd name="connsiteY258" fmla="*/ 5705388 h 6858000"/>
              <a:gd name="connsiteX259" fmla="*/ 5519640 w 7467600"/>
              <a:gd name="connsiteY259" fmla="*/ 5683774 h 6858000"/>
              <a:gd name="connsiteX260" fmla="*/ 5844559 w 7467600"/>
              <a:gd name="connsiteY260" fmla="*/ 6553349 h 6858000"/>
              <a:gd name="connsiteX261" fmla="*/ 5975994 w 7467600"/>
              <a:gd name="connsiteY261" fmla="*/ 6858000 h 6858000"/>
              <a:gd name="connsiteX262" fmla="*/ 5898547 w 7467600"/>
              <a:gd name="connsiteY262" fmla="*/ 6858000 h 6858000"/>
              <a:gd name="connsiteX263" fmla="*/ 5682041 w 7467600"/>
              <a:gd name="connsiteY263" fmla="*/ 6355860 h 6858000"/>
              <a:gd name="connsiteX264" fmla="*/ 5461758 w 7467600"/>
              <a:gd name="connsiteY264" fmla="*/ 5820220 h 6858000"/>
              <a:gd name="connsiteX265" fmla="*/ 5237282 w 7467600"/>
              <a:gd name="connsiteY265" fmla="*/ 6579086 h 6858000"/>
              <a:gd name="connsiteX266" fmla="*/ 5115009 w 7467600"/>
              <a:gd name="connsiteY266" fmla="*/ 6858000 h 6858000"/>
              <a:gd name="connsiteX267" fmla="*/ 5028074 w 7467600"/>
              <a:gd name="connsiteY267" fmla="*/ 6858000 h 6858000"/>
              <a:gd name="connsiteX268" fmla="*/ 5079508 w 7467600"/>
              <a:gd name="connsiteY268" fmla="*/ 6749074 h 6858000"/>
              <a:gd name="connsiteX269" fmla="*/ 5371846 w 7467600"/>
              <a:gd name="connsiteY269" fmla="*/ 5924413 h 6858000"/>
              <a:gd name="connsiteX270" fmla="*/ 5270512 w 7467600"/>
              <a:gd name="connsiteY270" fmla="*/ 6138975 h 6858000"/>
              <a:gd name="connsiteX271" fmla="*/ 5062409 w 7467600"/>
              <a:gd name="connsiteY271" fmla="*/ 6653544 h 6858000"/>
              <a:gd name="connsiteX272" fmla="*/ 5036628 w 7467600"/>
              <a:gd name="connsiteY272" fmla="*/ 6754247 h 6858000"/>
              <a:gd name="connsiteX273" fmla="*/ 5009112 w 7467600"/>
              <a:gd name="connsiteY273" fmla="*/ 6858000 h 6858000"/>
              <a:gd name="connsiteX274" fmla="*/ 4976679 w 7467600"/>
              <a:gd name="connsiteY274" fmla="*/ 6858000 h 6858000"/>
              <a:gd name="connsiteX275" fmla="*/ 5006537 w 7467600"/>
              <a:gd name="connsiteY275" fmla="*/ 6747068 h 6858000"/>
              <a:gd name="connsiteX276" fmla="*/ 5032723 w 7467600"/>
              <a:gd name="connsiteY276" fmla="*/ 6644957 h 6858000"/>
              <a:gd name="connsiteX277" fmla="*/ 5242949 w 7467600"/>
              <a:gd name="connsiteY277" fmla="*/ 6125175 h 6858000"/>
              <a:gd name="connsiteX278" fmla="*/ 5286321 w 7467600"/>
              <a:gd name="connsiteY278" fmla="*/ 6033555 h 6858000"/>
              <a:gd name="connsiteX279" fmla="*/ 5008210 w 7467600"/>
              <a:gd name="connsiteY279" fmla="*/ 6649194 h 6858000"/>
              <a:gd name="connsiteX280" fmla="*/ 4986321 w 7467600"/>
              <a:gd name="connsiteY280" fmla="*/ 6765687 h 6858000"/>
              <a:gd name="connsiteX281" fmla="*/ 4973474 w 7467600"/>
              <a:gd name="connsiteY281" fmla="*/ 6858000 h 6858000"/>
              <a:gd name="connsiteX282" fmla="*/ 4907178 w 7467600"/>
              <a:gd name="connsiteY282" fmla="*/ 6858000 h 6858000"/>
              <a:gd name="connsiteX283" fmla="*/ 4910810 w 7467600"/>
              <a:gd name="connsiteY283" fmla="*/ 6829660 h 6858000"/>
              <a:gd name="connsiteX284" fmla="*/ 4987461 w 7467600"/>
              <a:gd name="connsiteY284" fmla="*/ 6432994 h 6858000"/>
              <a:gd name="connsiteX285" fmla="*/ 5179262 w 7467600"/>
              <a:gd name="connsiteY285" fmla="*/ 6035044 h 6858000"/>
              <a:gd name="connsiteX286" fmla="*/ 4689678 w 7467600"/>
              <a:gd name="connsiteY286" fmla="*/ 6440241 h 6858000"/>
              <a:gd name="connsiteX287" fmla="*/ 4477543 w 7467600"/>
              <a:gd name="connsiteY287" fmla="*/ 6674836 h 6858000"/>
              <a:gd name="connsiteX288" fmla="*/ 4329957 w 7467600"/>
              <a:gd name="connsiteY288" fmla="*/ 6858000 h 6858000"/>
              <a:gd name="connsiteX289" fmla="*/ 4218595 w 7467600"/>
              <a:gd name="connsiteY289" fmla="*/ 6858000 h 6858000"/>
              <a:gd name="connsiteX290" fmla="*/ 4368888 w 7467600"/>
              <a:gd name="connsiteY290" fmla="*/ 6668412 h 6858000"/>
              <a:gd name="connsiteX291" fmla="*/ 4563091 w 7467600"/>
              <a:gd name="connsiteY291" fmla="*/ 6442508 h 6858000"/>
              <a:gd name="connsiteX292" fmla="*/ 5387324 w 7467600"/>
              <a:gd name="connsiteY292" fmla="*/ 5705830 h 6858000"/>
              <a:gd name="connsiteX293" fmla="*/ 5073620 w 7467600"/>
              <a:gd name="connsiteY293" fmla="*/ 5955437 h 6858000"/>
              <a:gd name="connsiteX294" fmla="*/ 4689789 w 7467600"/>
              <a:gd name="connsiteY294" fmla="*/ 6268382 h 6858000"/>
              <a:gd name="connsiteX295" fmla="*/ 4418722 w 7467600"/>
              <a:gd name="connsiteY295" fmla="*/ 6570886 h 6858000"/>
              <a:gd name="connsiteX296" fmla="*/ 4214944 w 7467600"/>
              <a:gd name="connsiteY296" fmla="*/ 6858000 h 6858000"/>
              <a:gd name="connsiteX297" fmla="*/ 4177898 w 7467600"/>
              <a:gd name="connsiteY297" fmla="*/ 6858000 h 6858000"/>
              <a:gd name="connsiteX298" fmla="*/ 4391597 w 7467600"/>
              <a:gd name="connsiteY298" fmla="*/ 6556370 h 6858000"/>
              <a:gd name="connsiteX299" fmla="*/ 4668889 w 7467600"/>
              <a:gd name="connsiteY299" fmla="*/ 6246399 h 6858000"/>
              <a:gd name="connsiteX300" fmla="*/ 5055427 w 7467600"/>
              <a:gd name="connsiteY300" fmla="*/ 5931476 h 6858000"/>
              <a:gd name="connsiteX301" fmla="*/ 5371814 w 7467600"/>
              <a:gd name="connsiteY301" fmla="*/ 5678975 h 6858000"/>
              <a:gd name="connsiteX302" fmla="*/ 4987918 w 7467600"/>
              <a:gd name="connsiteY302" fmla="*/ 5838701 h 6858000"/>
              <a:gd name="connsiteX303" fmla="*/ 4317146 w 7467600"/>
              <a:gd name="connsiteY303" fmla="*/ 6587716 h 6858000"/>
              <a:gd name="connsiteX304" fmla="*/ 4171627 w 7467600"/>
              <a:gd name="connsiteY304" fmla="*/ 6858000 h 6858000"/>
              <a:gd name="connsiteX305" fmla="*/ 4081585 w 7467600"/>
              <a:gd name="connsiteY305" fmla="*/ 6858000 h 6858000"/>
              <a:gd name="connsiteX306" fmla="*/ 4238603 w 7467600"/>
              <a:gd name="connsiteY306" fmla="*/ 6559341 h 6858000"/>
              <a:gd name="connsiteX307" fmla="*/ 4778333 w 7467600"/>
              <a:gd name="connsiteY307" fmla="*/ 5873626 h 6858000"/>
              <a:gd name="connsiteX308" fmla="*/ 5414185 w 7467600"/>
              <a:gd name="connsiteY308" fmla="*/ 5573882 h 6858000"/>
              <a:gd name="connsiteX309" fmla="*/ 5959648 w 7467600"/>
              <a:gd name="connsiteY309" fmla="*/ 4760797 h 6858000"/>
              <a:gd name="connsiteX310" fmla="*/ 5355019 w 7467600"/>
              <a:gd name="connsiteY310" fmla="*/ 4734672 h 6858000"/>
              <a:gd name="connsiteX311" fmla="*/ 5083565 w 7467600"/>
              <a:gd name="connsiteY311" fmla="*/ 5179121 h 6858000"/>
              <a:gd name="connsiteX312" fmla="*/ 4713577 w 7467600"/>
              <a:gd name="connsiteY312" fmla="*/ 5616803 h 6858000"/>
              <a:gd name="connsiteX313" fmla="*/ 3989559 w 7467600"/>
              <a:gd name="connsiteY313" fmla="*/ 6145945 h 6858000"/>
              <a:gd name="connsiteX314" fmla="*/ 3939824 w 7467600"/>
              <a:gd name="connsiteY314" fmla="*/ 6066900 h 6858000"/>
              <a:gd name="connsiteX315" fmla="*/ 4584537 w 7467600"/>
              <a:gd name="connsiteY315" fmla="*/ 5324826 h 6858000"/>
              <a:gd name="connsiteX316" fmla="*/ 5037105 w 7467600"/>
              <a:gd name="connsiteY316" fmla="*/ 5088765 h 6858000"/>
              <a:gd name="connsiteX317" fmla="*/ 5039930 w 7467600"/>
              <a:gd name="connsiteY317" fmla="*/ 5089585 h 6858000"/>
              <a:gd name="connsiteX318" fmla="*/ 5263764 w 7467600"/>
              <a:gd name="connsiteY318" fmla="*/ 4735525 h 6858000"/>
              <a:gd name="connsiteX319" fmla="*/ 4086300 w 7467600"/>
              <a:gd name="connsiteY319" fmla="*/ 4884599 h 6858000"/>
              <a:gd name="connsiteX320" fmla="*/ 4085485 w 7467600"/>
              <a:gd name="connsiteY320" fmla="*/ 4899070 h 6858000"/>
              <a:gd name="connsiteX321" fmla="*/ 3871915 w 7467600"/>
              <a:gd name="connsiteY321" fmla="*/ 5253645 h 6858000"/>
              <a:gd name="connsiteX322" fmla="*/ 3799374 w 7467600"/>
              <a:gd name="connsiteY322" fmla="*/ 5466127 h 6858000"/>
              <a:gd name="connsiteX323" fmla="*/ 3498850 w 7467600"/>
              <a:gd name="connsiteY323" fmla="*/ 6661888 h 6858000"/>
              <a:gd name="connsiteX324" fmla="*/ 3399216 w 7467600"/>
              <a:gd name="connsiteY324" fmla="*/ 6858000 h 6858000"/>
              <a:gd name="connsiteX325" fmla="*/ 3303688 w 7467600"/>
              <a:gd name="connsiteY325" fmla="*/ 6858000 h 6858000"/>
              <a:gd name="connsiteX326" fmla="*/ 3391774 w 7467600"/>
              <a:gd name="connsiteY326" fmla="*/ 6697181 h 6858000"/>
              <a:gd name="connsiteX327" fmla="*/ 3735540 w 7467600"/>
              <a:gd name="connsiteY327" fmla="*/ 5546923 h 6858000"/>
              <a:gd name="connsiteX328" fmla="*/ 3729438 w 7467600"/>
              <a:gd name="connsiteY328" fmla="*/ 5569058 h 6858000"/>
              <a:gd name="connsiteX329" fmla="*/ 3707782 w 7467600"/>
              <a:gd name="connsiteY329" fmla="*/ 5644908 h 6858000"/>
              <a:gd name="connsiteX330" fmla="*/ 3583827 w 7467600"/>
              <a:gd name="connsiteY330" fmla="*/ 6039215 h 6858000"/>
              <a:gd name="connsiteX331" fmla="*/ 3547861 w 7467600"/>
              <a:gd name="connsiteY331" fmla="*/ 6129609 h 6858000"/>
              <a:gd name="connsiteX332" fmla="*/ 3490905 w 7467600"/>
              <a:gd name="connsiteY332" fmla="*/ 6277660 h 6858000"/>
              <a:gd name="connsiteX333" fmla="*/ 3455859 w 7467600"/>
              <a:gd name="connsiteY333" fmla="*/ 6391301 h 6858000"/>
              <a:gd name="connsiteX334" fmla="*/ 3429112 w 7467600"/>
              <a:gd name="connsiteY334" fmla="*/ 6479469 h 6858000"/>
              <a:gd name="connsiteX335" fmla="*/ 3304862 w 7467600"/>
              <a:gd name="connsiteY335" fmla="*/ 6796476 h 6858000"/>
              <a:gd name="connsiteX336" fmla="*/ 3276071 w 7467600"/>
              <a:gd name="connsiteY336" fmla="*/ 6858000 h 6858000"/>
              <a:gd name="connsiteX337" fmla="*/ 3240805 w 7467600"/>
              <a:gd name="connsiteY337" fmla="*/ 6858000 h 6858000"/>
              <a:gd name="connsiteX338" fmla="*/ 3275917 w 7467600"/>
              <a:gd name="connsiteY338" fmla="*/ 6783192 h 6858000"/>
              <a:gd name="connsiteX339" fmla="*/ 3399358 w 7467600"/>
              <a:gd name="connsiteY339" fmla="*/ 6469011 h 6858000"/>
              <a:gd name="connsiteX340" fmla="*/ 3425650 w 7467600"/>
              <a:gd name="connsiteY340" fmla="*/ 6381333 h 6858000"/>
              <a:gd name="connsiteX341" fmla="*/ 3460661 w 7467600"/>
              <a:gd name="connsiteY341" fmla="*/ 6266763 h 6858000"/>
              <a:gd name="connsiteX342" fmla="*/ 3518021 w 7467600"/>
              <a:gd name="connsiteY342" fmla="*/ 6117298 h 6858000"/>
              <a:gd name="connsiteX343" fmla="*/ 3554035 w 7467600"/>
              <a:gd name="connsiteY343" fmla="*/ 6027832 h 6858000"/>
              <a:gd name="connsiteX344" fmla="*/ 3677174 w 7467600"/>
              <a:gd name="connsiteY344" fmla="*/ 5636351 h 6858000"/>
              <a:gd name="connsiteX345" fmla="*/ 3698819 w 7467600"/>
              <a:gd name="connsiteY345" fmla="*/ 5560503 h 6858000"/>
              <a:gd name="connsiteX346" fmla="*/ 3702094 w 7467600"/>
              <a:gd name="connsiteY346" fmla="*/ 5549194 h 6858000"/>
              <a:gd name="connsiteX347" fmla="*/ 3398355 w 7467600"/>
              <a:gd name="connsiteY347" fmla="*/ 6094603 h 6858000"/>
              <a:gd name="connsiteX348" fmla="*/ 3193941 w 7467600"/>
              <a:gd name="connsiteY348" fmla="*/ 6798775 h 6858000"/>
              <a:gd name="connsiteX349" fmla="*/ 3184140 w 7467600"/>
              <a:gd name="connsiteY349" fmla="*/ 6858000 h 6858000"/>
              <a:gd name="connsiteX350" fmla="*/ 3099978 w 7467600"/>
              <a:gd name="connsiteY350" fmla="*/ 6858000 h 6858000"/>
              <a:gd name="connsiteX351" fmla="*/ 3101556 w 7467600"/>
              <a:gd name="connsiteY351" fmla="*/ 6843337 h 6858000"/>
              <a:gd name="connsiteX352" fmla="*/ 3370162 w 7467600"/>
              <a:gd name="connsiteY352" fmla="*/ 5785550 h 6858000"/>
              <a:gd name="connsiteX353" fmla="*/ 3746477 w 7467600"/>
              <a:gd name="connsiteY353" fmla="*/ 5377889 h 6858000"/>
              <a:gd name="connsiteX354" fmla="*/ 3863399 w 7467600"/>
              <a:gd name="connsiteY354" fmla="*/ 5087257 h 6858000"/>
              <a:gd name="connsiteX355" fmla="*/ 3968712 w 7467600"/>
              <a:gd name="connsiteY355" fmla="*/ 4913989 h 6858000"/>
              <a:gd name="connsiteX356" fmla="*/ 2792390 w 7467600"/>
              <a:gd name="connsiteY356" fmla="*/ 5382974 h 6858000"/>
              <a:gd name="connsiteX357" fmla="*/ 2714982 w 7467600"/>
              <a:gd name="connsiteY357" fmla="*/ 5427051 h 6858000"/>
              <a:gd name="connsiteX358" fmla="*/ 2813361 w 7467600"/>
              <a:gd name="connsiteY358" fmla="*/ 6023912 h 6858000"/>
              <a:gd name="connsiteX359" fmla="*/ 2688430 w 7467600"/>
              <a:gd name="connsiteY359" fmla="*/ 6801564 h 6858000"/>
              <a:gd name="connsiteX360" fmla="*/ 2629626 w 7467600"/>
              <a:gd name="connsiteY360" fmla="*/ 6763394 h 6858000"/>
              <a:gd name="connsiteX361" fmla="*/ 2565328 w 7467600"/>
              <a:gd name="connsiteY361" fmla="*/ 5516399 h 6858000"/>
              <a:gd name="connsiteX362" fmla="*/ 1922999 w 7467600"/>
              <a:gd name="connsiteY362" fmla="*/ 5980343 h 6858000"/>
              <a:gd name="connsiteX363" fmla="*/ 1950261 w 7467600"/>
              <a:gd name="connsiteY363" fmla="*/ 6405858 h 6858000"/>
              <a:gd name="connsiteX364" fmla="*/ 2365554 w 7467600"/>
              <a:gd name="connsiteY364" fmla="*/ 6759107 h 6858000"/>
              <a:gd name="connsiteX365" fmla="*/ 2424142 w 7467600"/>
              <a:gd name="connsiteY365" fmla="*/ 6858000 h 6858000"/>
              <a:gd name="connsiteX366" fmla="*/ 2395994 w 7467600"/>
              <a:gd name="connsiteY366" fmla="*/ 6858000 h 6858000"/>
              <a:gd name="connsiteX367" fmla="*/ 2392863 w 7467600"/>
              <a:gd name="connsiteY367" fmla="*/ 6852964 h 6858000"/>
              <a:gd name="connsiteX368" fmla="*/ 2017589 w 7467600"/>
              <a:gd name="connsiteY368" fmla="*/ 6493982 h 6858000"/>
              <a:gd name="connsiteX369" fmla="*/ 2147336 w 7467600"/>
              <a:gd name="connsiteY369" fmla="*/ 6594052 h 6858000"/>
              <a:gd name="connsiteX370" fmla="*/ 2207047 w 7467600"/>
              <a:gd name="connsiteY370" fmla="*/ 6654540 h 6858000"/>
              <a:gd name="connsiteX371" fmla="*/ 2299106 w 7467600"/>
              <a:gd name="connsiteY371" fmla="*/ 6778931 h 6858000"/>
              <a:gd name="connsiteX372" fmla="*/ 2314430 w 7467600"/>
              <a:gd name="connsiteY372" fmla="*/ 6801144 h 6858000"/>
              <a:gd name="connsiteX373" fmla="*/ 2352406 w 7467600"/>
              <a:gd name="connsiteY373" fmla="*/ 6858000 h 6858000"/>
              <a:gd name="connsiteX374" fmla="*/ 2314492 w 7467600"/>
              <a:gd name="connsiteY374" fmla="*/ 6858000 h 6858000"/>
              <a:gd name="connsiteX375" fmla="*/ 2288095 w 7467600"/>
              <a:gd name="connsiteY375" fmla="*/ 6818030 h 6858000"/>
              <a:gd name="connsiteX376" fmla="*/ 2272768 w 7467600"/>
              <a:gd name="connsiteY376" fmla="*/ 6795822 h 6858000"/>
              <a:gd name="connsiteX377" fmla="*/ 2182715 w 7467600"/>
              <a:gd name="connsiteY377" fmla="*/ 6675071 h 6858000"/>
              <a:gd name="connsiteX378" fmla="*/ 2032061 w 7467600"/>
              <a:gd name="connsiteY378" fmla="*/ 6541380 h 6858000"/>
              <a:gd name="connsiteX379" fmla="*/ 2257220 w 7467600"/>
              <a:gd name="connsiteY379" fmla="*/ 6826257 h 6858000"/>
              <a:gd name="connsiteX380" fmla="*/ 2281324 w 7467600"/>
              <a:gd name="connsiteY380" fmla="*/ 6858000 h 6858000"/>
              <a:gd name="connsiteX381" fmla="*/ 2242860 w 7467600"/>
              <a:gd name="connsiteY381" fmla="*/ 6858000 h 6858000"/>
              <a:gd name="connsiteX382" fmla="*/ 2232818 w 7467600"/>
              <a:gd name="connsiteY382" fmla="*/ 6844926 h 6858000"/>
              <a:gd name="connsiteX383" fmla="*/ 1990172 w 7467600"/>
              <a:gd name="connsiteY383" fmla="*/ 6542121 h 6858000"/>
              <a:gd name="connsiteX384" fmla="*/ 2124090 w 7467600"/>
              <a:gd name="connsiteY384" fmla="*/ 6761017 h 6858000"/>
              <a:gd name="connsiteX385" fmla="*/ 2200380 w 7467600"/>
              <a:gd name="connsiteY385" fmla="*/ 6858000 h 6858000"/>
              <a:gd name="connsiteX386" fmla="*/ 2147507 w 7467600"/>
              <a:gd name="connsiteY386" fmla="*/ 6858000 h 6858000"/>
              <a:gd name="connsiteX387" fmla="*/ 2070668 w 7467600"/>
              <a:gd name="connsiteY387" fmla="*/ 6761520 h 6858000"/>
              <a:gd name="connsiteX388" fmla="*/ 1975142 w 7467600"/>
              <a:gd name="connsiteY388" fmla="*/ 6585570 h 6858000"/>
              <a:gd name="connsiteX389" fmla="*/ 2050035 w 7467600"/>
              <a:gd name="connsiteY389" fmla="*/ 6813345 h 6858000"/>
              <a:gd name="connsiteX390" fmla="*/ 2063025 w 7467600"/>
              <a:gd name="connsiteY390" fmla="*/ 6858000 h 6858000"/>
              <a:gd name="connsiteX391" fmla="*/ 2021675 w 7467600"/>
              <a:gd name="connsiteY391" fmla="*/ 6858000 h 6858000"/>
              <a:gd name="connsiteX392" fmla="*/ 2019308 w 7467600"/>
              <a:gd name="connsiteY392" fmla="*/ 6847118 h 6858000"/>
              <a:gd name="connsiteX393" fmla="*/ 1938835 w 7467600"/>
              <a:gd name="connsiteY393" fmla="*/ 6551160 h 6858000"/>
              <a:gd name="connsiteX394" fmla="*/ 1953230 w 7467600"/>
              <a:gd name="connsiteY394" fmla="*/ 6759699 h 6858000"/>
              <a:gd name="connsiteX395" fmla="*/ 1956763 w 7467600"/>
              <a:gd name="connsiteY395" fmla="*/ 6778191 h 6858000"/>
              <a:gd name="connsiteX396" fmla="*/ 1967925 w 7467600"/>
              <a:gd name="connsiteY396" fmla="*/ 6858000 h 6858000"/>
              <a:gd name="connsiteX397" fmla="*/ 1936622 w 7467600"/>
              <a:gd name="connsiteY397" fmla="*/ 6858000 h 6858000"/>
              <a:gd name="connsiteX398" fmla="*/ 1926261 w 7467600"/>
              <a:gd name="connsiteY398" fmla="*/ 6784064 h 6858000"/>
              <a:gd name="connsiteX399" fmla="*/ 1922724 w 7467600"/>
              <a:gd name="connsiteY399" fmla="*/ 6765577 h 6858000"/>
              <a:gd name="connsiteX400" fmla="*/ 1904650 w 7467600"/>
              <a:gd name="connsiteY400" fmla="*/ 6639616 h 6858000"/>
              <a:gd name="connsiteX401" fmla="*/ 1885273 w 7467600"/>
              <a:gd name="connsiteY401" fmla="*/ 6858000 h 6858000"/>
              <a:gd name="connsiteX402" fmla="*/ 1854363 w 7467600"/>
              <a:gd name="connsiteY402" fmla="*/ 6858000 h 6858000"/>
              <a:gd name="connsiteX403" fmla="*/ 1880391 w 7467600"/>
              <a:gd name="connsiteY403" fmla="*/ 6603796 h 6858000"/>
              <a:gd name="connsiteX404" fmla="*/ 1818273 w 7467600"/>
              <a:gd name="connsiteY404" fmla="*/ 6715729 h 6858000"/>
              <a:gd name="connsiteX405" fmla="*/ 1794691 w 7467600"/>
              <a:gd name="connsiteY405" fmla="*/ 6843239 h 6858000"/>
              <a:gd name="connsiteX406" fmla="*/ 1794914 w 7467600"/>
              <a:gd name="connsiteY406" fmla="*/ 6858000 h 6858000"/>
              <a:gd name="connsiteX407" fmla="*/ 1746128 w 7467600"/>
              <a:gd name="connsiteY407" fmla="*/ 6858000 h 6858000"/>
              <a:gd name="connsiteX408" fmla="*/ 1753934 w 7467600"/>
              <a:gd name="connsiteY408" fmla="*/ 6724796 h 6858000"/>
              <a:gd name="connsiteX409" fmla="*/ 1792053 w 7467600"/>
              <a:gd name="connsiteY409" fmla="*/ 6572396 h 6858000"/>
              <a:gd name="connsiteX410" fmla="*/ 1862248 w 7467600"/>
              <a:gd name="connsiteY410" fmla="*/ 6266397 h 6858000"/>
              <a:gd name="connsiteX411" fmla="*/ 1862250 w 7467600"/>
              <a:gd name="connsiteY411" fmla="*/ 6033531 h 6858000"/>
              <a:gd name="connsiteX412" fmla="*/ 1211999 w 7467600"/>
              <a:gd name="connsiteY412" fmla="*/ 6683610 h 6858000"/>
              <a:gd name="connsiteX413" fmla="*/ 1213266 w 7467600"/>
              <a:gd name="connsiteY413" fmla="*/ 6691947 h 6858000"/>
              <a:gd name="connsiteX414" fmla="*/ 1203370 w 7467600"/>
              <a:gd name="connsiteY414" fmla="*/ 6850676 h 6858000"/>
              <a:gd name="connsiteX415" fmla="*/ 1203671 w 7467600"/>
              <a:gd name="connsiteY415" fmla="*/ 6858000 h 6858000"/>
              <a:gd name="connsiteX416" fmla="*/ 1143180 w 7467600"/>
              <a:gd name="connsiteY416" fmla="*/ 6858000 h 6858000"/>
              <a:gd name="connsiteX417" fmla="*/ 1142176 w 7467600"/>
              <a:gd name="connsiteY417" fmla="*/ 6766045 h 6858000"/>
              <a:gd name="connsiteX418" fmla="*/ 1067484 w 7467600"/>
              <a:gd name="connsiteY418" fmla="*/ 6858000 h 6858000"/>
              <a:gd name="connsiteX419" fmla="*/ 953928 w 7467600"/>
              <a:gd name="connsiteY419" fmla="*/ 6858000 h 6858000"/>
              <a:gd name="connsiteX420" fmla="*/ 959715 w 7467600"/>
              <a:gd name="connsiteY420" fmla="*/ 6850185 h 6858000"/>
              <a:gd name="connsiteX421" fmla="*/ 1483788 w 7467600"/>
              <a:gd name="connsiteY421" fmla="*/ 6259174 h 6858000"/>
              <a:gd name="connsiteX422" fmla="*/ 1100671 w 7467600"/>
              <a:gd name="connsiteY422" fmla="*/ 6252137 h 6858000"/>
              <a:gd name="connsiteX423" fmla="*/ 1090144 w 7467600"/>
              <a:gd name="connsiteY423" fmla="*/ 6256748 h 6858000"/>
              <a:gd name="connsiteX424" fmla="*/ 1095872 w 7467600"/>
              <a:gd name="connsiteY424" fmla="*/ 6271892 h 6858000"/>
              <a:gd name="connsiteX425" fmla="*/ 262785 w 7467600"/>
              <a:gd name="connsiteY425" fmla="*/ 6845450 h 6858000"/>
              <a:gd name="connsiteX426" fmla="*/ 209968 w 7467600"/>
              <a:gd name="connsiteY426" fmla="*/ 6770713 h 6858000"/>
              <a:gd name="connsiteX427" fmla="*/ 873460 w 7467600"/>
              <a:gd name="connsiteY427" fmla="*/ 6253768 h 6858000"/>
              <a:gd name="connsiteX428" fmla="*/ 192686 w 7467600"/>
              <a:gd name="connsiteY428" fmla="*/ 5849257 h 6858000"/>
              <a:gd name="connsiteX429" fmla="*/ 4696 w 7467600"/>
              <a:gd name="connsiteY429" fmla="*/ 5697668 h 6858000"/>
              <a:gd name="connsiteX430" fmla="*/ 0 w 7467600"/>
              <a:gd name="connsiteY430" fmla="*/ 5689984 h 6858000"/>
              <a:gd name="connsiteX431" fmla="*/ 0 w 7467600"/>
              <a:gd name="connsiteY431" fmla="*/ 5513472 h 6858000"/>
              <a:gd name="connsiteX432" fmla="*/ 174101 w 7467600"/>
              <a:gd name="connsiteY432" fmla="*/ 5620277 h 6858000"/>
              <a:gd name="connsiteX433" fmla="*/ 891800 w 7467600"/>
              <a:gd name="connsiteY433" fmla="*/ 6036935 h 6858000"/>
              <a:gd name="connsiteX434" fmla="*/ 1072219 w 7467600"/>
              <a:gd name="connsiteY434" fmla="*/ 6169443 h 6858000"/>
              <a:gd name="connsiteX435" fmla="*/ 1074117 w 7467600"/>
              <a:gd name="connsiteY435" fmla="*/ 6170301 h 6858000"/>
              <a:gd name="connsiteX436" fmla="*/ 1083114 w 7467600"/>
              <a:gd name="connsiteY436" fmla="*/ 6174131 h 6858000"/>
              <a:gd name="connsiteX437" fmla="*/ 1543010 w 7467600"/>
              <a:gd name="connsiteY437" fmla="*/ 6191140 h 6858000"/>
              <a:gd name="connsiteX438" fmla="*/ 1551080 w 7467600"/>
              <a:gd name="connsiteY438" fmla="*/ 6195006 h 6858000"/>
              <a:gd name="connsiteX439" fmla="*/ 2345443 w 7467600"/>
              <a:gd name="connsiteY439" fmla="*/ 5549882 h 6858000"/>
              <a:gd name="connsiteX440" fmla="*/ 1721499 w 7467600"/>
              <a:gd name="connsiteY440" fmla="*/ 5599969 h 6858000"/>
              <a:gd name="connsiteX441" fmla="*/ 767716 w 7467600"/>
              <a:gd name="connsiteY441" fmla="*/ 5472768 h 6858000"/>
              <a:gd name="connsiteX442" fmla="*/ 722147 w 7467600"/>
              <a:gd name="connsiteY442" fmla="*/ 5393091 h 6858000"/>
              <a:gd name="connsiteX443" fmla="*/ 1485552 w 7467600"/>
              <a:gd name="connsiteY443" fmla="*/ 5313202 h 6858000"/>
              <a:gd name="connsiteX444" fmla="*/ 2143004 w 7467600"/>
              <a:gd name="connsiteY444" fmla="*/ 5402420 h 6858000"/>
              <a:gd name="connsiteX445" fmla="*/ 1933391 w 7467600"/>
              <a:gd name="connsiteY445" fmla="*/ 5156971 h 6858000"/>
              <a:gd name="connsiteX446" fmla="*/ 1827118 w 7467600"/>
              <a:gd name="connsiteY446" fmla="*/ 4968410 h 6858000"/>
              <a:gd name="connsiteX447" fmla="*/ 1837349 w 7467600"/>
              <a:gd name="connsiteY447" fmla="*/ 4956357 h 6858000"/>
              <a:gd name="connsiteX448" fmla="*/ 2162835 w 7467600"/>
              <a:gd name="connsiteY448" fmla="*/ 5187853 h 6858000"/>
              <a:gd name="connsiteX449" fmla="*/ 2257167 w 7467600"/>
              <a:gd name="connsiteY449" fmla="*/ 5462123 h 6858000"/>
              <a:gd name="connsiteX450" fmla="*/ 2261598 w 7467600"/>
              <a:gd name="connsiteY450" fmla="*/ 5467998 h 6858000"/>
              <a:gd name="connsiteX451" fmla="*/ 2437177 w 7467600"/>
              <a:gd name="connsiteY451" fmla="*/ 5479608 h 6858000"/>
              <a:gd name="connsiteX452" fmla="*/ 2445247 w 7467600"/>
              <a:gd name="connsiteY452" fmla="*/ 5483476 h 6858000"/>
              <a:gd name="connsiteX453" fmla="*/ 2743626 w 7467600"/>
              <a:gd name="connsiteY453" fmla="*/ 5304819 h 6858000"/>
              <a:gd name="connsiteX454" fmla="*/ 3048102 w 7467600"/>
              <a:gd name="connsiteY454" fmla="*/ 5150595 h 6858000"/>
              <a:gd name="connsiteX455" fmla="*/ 1799414 w 7467600"/>
              <a:gd name="connsiteY455" fmla="*/ 4694732 h 6858000"/>
              <a:gd name="connsiteX456" fmla="*/ 1771735 w 7467600"/>
              <a:gd name="connsiteY456" fmla="*/ 4619929 h 6858000"/>
              <a:gd name="connsiteX457" fmla="*/ 3104273 w 7467600"/>
              <a:gd name="connsiteY457" fmla="*/ 5076159 h 6858000"/>
              <a:gd name="connsiteX458" fmla="*/ 3113245 w 7467600"/>
              <a:gd name="connsiteY458" fmla="*/ 5090705 h 6858000"/>
              <a:gd name="connsiteX459" fmla="*/ 3126294 w 7467600"/>
              <a:gd name="connsiteY459" fmla="*/ 5114400 h 6858000"/>
              <a:gd name="connsiteX460" fmla="*/ 3937433 w 7467600"/>
              <a:gd name="connsiteY460" fmla="*/ 4830473 h 6858000"/>
              <a:gd name="connsiteX461" fmla="*/ 3590475 w 7467600"/>
              <a:gd name="connsiteY461" fmla="*/ 4597974 h 6858000"/>
              <a:gd name="connsiteX462" fmla="*/ 3100264 w 7467600"/>
              <a:gd name="connsiteY462" fmla="*/ 4579845 h 6858000"/>
              <a:gd name="connsiteX463" fmla="*/ 2183576 w 7467600"/>
              <a:gd name="connsiteY463" fmla="*/ 4227150 h 6858000"/>
              <a:gd name="connsiteX464" fmla="*/ 2151029 w 7467600"/>
              <a:gd name="connsiteY464" fmla="*/ 4146947 h 6858000"/>
              <a:gd name="connsiteX465" fmla="*/ 3563434 w 7467600"/>
              <a:gd name="connsiteY465" fmla="*/ 4469115 h 6858000"/>
              <a:gd name="connsiteX466" fmla="*/ 3177952 w 7467600"/>
              <a:gd name="connsiteY466" fmla="*/ 3657386 h 6858000"/>
              <a:gd name="connsiteX467" fmla="*/ 3189263 w 7467600"/>
              <a:gd name="connsiteY467" fmla="*/ 3625726 h 6858000"/>
              <a:gd name="connsiteX468" fmla="*/ 3560912 w 7467600"/>
              <a:gd name="connsiteY468" fmla="*/ 4079863 h 6858000"/>
              <a:gd name="connsiteX469" fmla="*/ 3626636 w 7467600"/>
              <a:gd name="connsiteY469" fmla="*/ 4512230 h 6858000"/>
              <a:gd name="connsiteX470" fmla="*/ 3653088 w 7467600"/>
              <a:gd name="connsiteY470" fmla="*/ 4521417 h 6858000"/>
              <a:gd name="connsiteX471" fmla="*/ 3988128 w 7467600"/>
              <a:gd name="connsiteY471" fmla="*/ 4817267 h 6858000"/>
              <a:gd name="connsiteX472" fmla="*/ 4830582 w 7467600"/>
              <a:gd name="connsiteY472" fmla="*/ 4676000 h 6858000"/>
              <a:gd name="connsiteX473" fmla="*/ 4830100 w 7467600"/>
              <a:gd name="connsiteY473" fmla="*/ 4675554 h 6858000"/>
              <a:gd name="connsiteX474" fmla="*/ 4036318 w 7467600"/>
              <a:gd name="connsiteY474" fmla="*/ 4147013 h 6858000"/>
              <a:gd name="connsiteX475" fmla="*/ 3432098 w 7467600"/>
              <a:gd name="connsiteY475" fmla="*/ 3537312 h 6858000"/>
              <a:gd name="connsiteX476" fmla="*/ 3446761 w 7467600"/>
              <a:gd name="connsiteY476" fmla="*/ 3461278 h 6858000"/>
              <a:gd name="connsiteX477" fmla="*/ 4419733 w 7467600"/>
              <a:gd name="connsiteY477" fmla="*/ 3963555 h 6858000"/>
              <a:gd name="connsiteX478" fmla="*/ 4781371 w 7467600"/>
              <a:gd name="connsiteY478" fmla="*/ 4458604 h 6858000"/>
              <a:gd name="connsiteX479" fmla="*/ 4780440 w 7467600"/>
              <a:gd name="connsiteY479" fmla="*/ 4470290 h 6858000"/>
              <a:gd name="connsiteX480" fmla="*/ 4898954 w 7467600"/>
              <a:gd name="connsiteY480" fmla="*/ 4662092 h 6858000"/>
              <a:gd name="connsiteX481" fmla="*/ 4900699 w 7467600"/>
              <a:gd name="connsiteY481" fmla="*/ 4670867 h 6858000"/>
              <a:gd name="connsiteX482" fmla="*/ 5714511 w 7467600"/>
              <a:gd name="connsiteY482" fmla="*/ 4663483 h 6858000"/>
              <a:gd name="connsiteX483" fmla="*/ 5464793 w 7467600"/>
              <a:gd name="connsiteY483" fmla="*/ 4393556 h 6858000"/>
              <a:gd name="connsiteX484" fmla="*/ 5461897 w 7467600"/>
              <a:gd name="connsiteY484" fmla="*/ 4390879 h 6858000"/>
              <a:gd name="connsiteX485" fmla="*/ 4294126 w 7467600"/>
              <a:gd name="connsiteY485" fmla="*/ 3303048 h 6858000"/>
              <a:gd name="connsiteX486" fmla="*/ 4305321 w 7467600"/>
              <a:gd name="connsiteY486" fmla="*/ 3256953 h 6858000"/>
              <a:gd name="connsiteX487" fmla="*/ 4949299 w 7467600"/>
              <a:gd name="connsiteY487" fmla="*/ 3766336 h 6858000"/>
              <a:gd name="connsiteX488" fmla="*/ 5291452 w 7467600"/>
              <a:gd name="connsiteY488" fmla="*/ 4076801 h 6858000"/>
              <a:gd name="connsiteX489" fmla="*/ 5434998 w 7467600"/>
              <a:gd name="connsiteY489" fmla="*/ 4254100 h 6858000"/>
              <a:gd name="connsiteX490" fmla="*/ 5351015 w 7467600"/>
              <a:gd name="connsiteY490" fmla="*/ 3760989 h 6858000"/>
              <a:gd name="connsiteX491" fmla="*/ 5413780 w 7467600"/>
              <a:gd name="connsiteY491" fmla="*/ 2966265 h 6858000"/>
              <a:gd name="connsiteX492" fmla="*/ 5425627 w 7467600"/>
              <a:gd name="connsiteY492" fmla="*/ 2954192 h 6858000"/>
              <a:gd name="connsiteX493" fmla="*/ 6604735 w 7467600"/>
              <a:gd name="connsiteY493" fmla="*/ 2041381 h 6858000"/>
              <a:gd name="connsiteX494" fmla="*/ 7204487 w 7467600"/>
              <a:gd name="connsiteY494" fmla="*/ 2742112 h 6858000"/>
              <a:gd name="connsiteX495" fmla="*/ 7131592 w 7467600"/>
              <a:gd name="connsiteY495" fmla="*/ 2672096 h 6858000"/>
              <a:gd name="connsiteX496" fmla="*/ 6996344 w 7467600"/>
              <a:gd name="connsiteY496" fmla="*/ 2518310 h 6858000"/>
              <a:gd name="connsiteX497" fmla="*/ 6735495 w 7467600"/>
              <a:gd name="connsiteY497" fmla="*/ 2196890 h 6858000"/>
              <a:gd name="connsiteX498" fmla="*/ 6721901 w 7467600"/>
              <a:gd name="connsiteY498" fmla="*/ 2179274 h 6858000"/>
              <a:gd name="connsiteX499" fmla="*/ 6604735 w 7467600"/>
              <a:gd name="connsiteY499" fmla="*/ 2041381 h 6858000"/>
              <a:gd name="connsiteX500" fmla="*/ 6591670 w 7467600"/>
              <a:gd name="connsiteY500" fmla="*/ 1988277 h 6858000"/>
              <a:gd name="connsiteX501" fmla="*/ 6747349 w 7467600"/>
              <a:gd name="connsiteY501" fmla="*/ 2160069 h 6858000"/>
              <a:gd name="connsiteX502" fmla="*/ 6760943 w 7467600"/>
              <a:gd name="connsiteY502" fmla="*/ 2177686 h 6858000"/>
              <a:gd name="connsiteX503" fmla="*/ 7021065 w 7467600"/>
              <a:gd name="connsiteY503" fmla="*/ 2498102 h 6858000"/>
              <a:gd name="connsiteX504" fmla="*/ 7155223 w 7467600"/>
              <a:gd name="connsiteY504" fmla="*/ 2650386 h 6858000"/>
              <a:gd name="connsiteX505" fmla="*/ 7203167 w 7467600"/>
              <a:gd name="connsiteY505" fmla="*/ 2697288 h 6858000"/>
              <a:gd name="connsiteX506" fmla="*/ 6937703 w 7467600"/>
              <a:gd name="connsiteY506" fmla="*/ 2321981 h 6858000"/>
              <a:gd name="connsiteX507" fmla="*/ 6591670 w 7467600"/>
              <a:gd name="connsiteY507" fmla="*/ 1988277 h 6858000"/>
              <a:gd name="connsiteX508" fmla="*/ 5798671 w 7467600"/>
              <a:gd name="connsiteY508" fmla="*/ 1981601 h 6858000"/>
              <a:gd name="connsiteX509" fmla="*/ 5754709 w 7467600"/>
              <a:gd name="connsiteY509" fmla="*/ 2071454 h 6858000"/>
              <a:gd name="connsiteX510" fmla="*/ 5763044 w 7467600"/>
              <a:gd name="connsiteY510" fmla="*/ 2842206 h 6858000"/>
              <a:gd name="connsiteX511" fmla="*/ 5764974 w 7467600"/>
              <a:gd name="connsiteY511" fmla="*/ 2799609 h 6858000"/>
              <a:gd name="connsiteX512" fmla="*/ 5767665 w 7467600"/>
              <a:gd name="connsiteY512" fmla="*/ 2666409 h 6858000"/>
              <a:gd name="connsiteX513" fmla="*/ 5763055 w 7467600"/>
              <a:gd name="connsiteY513" fmla="*/ 2579705 h 6858000"/>
              <a:gd name="connsiteX514" fmla="*/ 5758079 w 7467600"/>
              <a:gd name="connsiteY514" fmla="*/ 2492508 h 6858000"/>
              <a:gd name="connsiteX515" fmla="*/ 5779325 w 7467600"/>
              <a:gd name="connsiteY515" fmla="*/ 2197069 h 6858000"/>
              <a:gd name="connsiteX516" fmla="*/ 5798671 w 7467600"/>
              <a:gd name="connsiteY516" fmla="*/ 1981601 h 6858000"/>
              <a:gd name="connsiteX517" fmla="*/ 5829202 w 7467600"/>
              <a:gd name="connsiteY517" fmla="*/ 1971679 h 6858000"/>
              <a:gd name="connsiteX518" fmla="*/ 5809558 w 7467600"/>
              <a:gd name="connsiteY518" fmla="*/ 2198043 h 6858000"/>
              <a:gd name="connsiteX519" fmla="*/ 5788653 w 7467600"/>
              <a:gd name="connsiteY519" fmla="*/ 2489430 h 6858000"/>
              <a:gd name="connsiteX520" fmla="*/ 5793439 w 7467600"/>
              <a:gd name="connsiteY520" fmla="*/ 2575235 h 6858000"/>
              <a:gd name="connsiteX521" fmla="*/ 5796837 w 7467600"/>
              <a:gd name="connsiteY521" fmla="*/ 2637633 h 6858000"/>
              <a:gd name="connsiteX522" fmla="*/ 5818614 w 7467600"/>
              <a:gd name="connsiteY522" fmla="*/ 2473055 h 6858000"/>
              <a:gd name="connsiteX523" fmla="*/ 5829202 w 7467600"/>
              <a:gd name="connsiteY523" fmla="*/ 1971679 h 6858000"/>
              <a:gd name="connsiteX524" fmla="*/ 5911389 w 7467600"/>
              <a:gd name="connsiteY524" fmla="*/ 1898371 h 6858000"/>
              <a:gd name="connsiteX525" fmla="*/ 6237627 w 7467600"/>
              <a:gd name="connsiteY525" fmla="*/ 2231921 h 6858000"/>
              <a:gd name="connsiteX526" fmla="*/ 5911389 w 7467600"/>
              <a:gd name="connsiteY526" fmla="*/ 1898371 h 6858000"/>
              <a:gd name="connsiteX527" fmla="*/ 6944437 w 7467600"/>
              <a:gd name="connsiteY527" fmla="*/ 1575402 h 6858000"/>
              <a:gd name="connsiteX528" fmla="*/ 6304730 w 7467600"/>
              <a:gd name="connsiteY528" fmla="*/ 1766654 h 6858000"/>
              <a:gd name="connsiteX529" fmla="*/ 6944437 w 7467600"/>
              <a:gd name="connsiteY529" fmla="*/ 1575402 h 6858000"/>
              <a:gd name="connsiteX530" fmla="*/ 7019523 w 7467600"/>
              <a:gd name="connsiteY530" fmla="*/ 1519450 h 6858000"/>
              <a:gd name="connsiteX531" fmla="*/ 6298091 w 7467600"/>
              <a:gd name="connsiteY531" fmla="*/ 1737122 h 6858000"/>
              <a:gd name="connsiteX532" fmla="*/ 7019523 w 7467600"/>
              <a:gd name="connsiteY532" fmla="*/ 1519450 h 6858000"/>
              <a:gd name="connsiteX533" fmla="*/ 2399523 w 7467600"/>
              <a:gd name="connsiteY533" fmla="*/ 1428234 h 6858000"/>
              <a:gd name="connsiteX534" fmla="*/ 2224982 w 7467600"/>
              <a:gd name="connsiteY534" fmla="*/ 1826201 h 6858000"/>
              <a:gd name="connsiteX535" fmla="*/ 2096099 w 7467600"/>
              <a:gd name="connsiteY535" fmla="*/ 2345900 h 6858000"/>
              <a:gd name="connsiteX536" fmla="*/ 2283317 w 7467600"/>
              <a:gd name="connsiteY536" fmla="*/ 1796925 h 6858000"/>
              <a:gd name="connsiteX537" fmla="*/ 2399523 w 7467600"/>
              <a:gd name="connsiteY537" fmla="*/ 1428234 h 6858000"/>
              <a:gd name="connsiteX538" fmla="*/ 2448558 w 7467600"/>
              <a:gd name="connsiteY538" fmla="*/ 1373435 h 6858000"/>
              <a:gd name="connsiteX539" fmla="*/ 2312521 w 7467600"/>
              <a:gd name="connsiteY539" fmla="*/ 1806140 h 6858000"/>
              <a:gd name="connsiteX540" fmla="*/ 2127533 w 7467600"/>
              <a:gd name="connsiteY540" fmla="*/ 2348380 h 6858000"/>
              <a:gd name="connsiteX541" fmla="*/ 2358080 w 7467600"/>
              <a:gd name="connsiteY541" fmla="*/ 1866134 h 6858000"/>
              <a:gd name="connsiteX542" fmla="*/ 2407436 w 7467600"/>
              <a:gd name="connsiteY542" fmla="*/ 1651070 h 6858000"/>
              <a:gd name="connsiteX543" fmla="*/ 2448558 w 7467600"/>
              <a:gd name="connsiteY543" fmla="*/ 1373435 h 6858000"/>
              <a:gd name="connsiteX544" fmla="*/ 278707 w 7467600"/>
              <a:gd name="connsiteY544" fmla="*/ 1352270 h 6858000"/>
              <a:gd name="connsiteX545" fmla="*/ 321570 w 7467600"/>
              <a:gd name="connsiteY545" fmla="*/ 1861610 h 6858000"/>
              <a:gd name="connsiteX546" fmla="*/ 294281 w 7467600"/>
              <a:gd name="connsiteY546" fmla="*/ 1440658 h 6858000"/>
              <a:gd name="connsiteX547" fmla="*/ 278707 w 7467600"/>
              <a:gd name="connsiteY547" fmla="*/ 1352270 h 6858000"/>
              <a:gd name="connsiteX548" fmla="*/ 1423821 w 7467600"/>
              <a:gd name="connsiteY548" fmla="*/ 1351958 h 6858000"/>
              <a:gd name="connsiteX549" fmla="*/ 1638521 w 7467600"/>
              <a:gd name="connsiteY549" fmla="*/ 1908470 h 6858000"/>
              <a:gd name="connsiteX550" fmla="*/ 1754199 w 7467600"/>
              <a:gd name="connsiteY550" fmla="*/ 2149284 h 6858000"/>
              <a:gd name="connsiteX551" fmla="*/ 1908359 w 7467600"/>
              <a:gd name="connsiteY551" fmla="*/ 2364988 h 6858000"/>
              <a:gd name="connsiteX552" fmla="*/ 1647661 w 7467600"/>
              <a:gd name="connsiteY552" fmla="*/ 1825945 h 6858000"/>
              <a:gd name="connsiteX553" fmla="*/ 1423821 w 7467600"/>
              <a:gd name="connsiteY553" fmla="*/ 1351958 h 6858000"/>
              <a:gd name="connsiteX554" fmla="*/ 1431890 w 7467600"/>
              <a:gd name="connsiteY554" fmla="*/ 1306475 h 6858000"/>
              <a:gd name="connsiteX555" fmla="*/ 1507597 w 7467600"/>
              <a:gd name="connsiteY555" fmla="*/ 1446132 h 6858000"/>
              <a:gd name="connsiteX556" fmla="*/ 1674586 w 7467600"/>
              <a:gd name="connsiteY556" fmla="*/ 1813832 h 6858000"/>
              <a:gd name="connsiteX557" fmla="*/ 1815950 w 7467600"/>
              <a:gd name="connsiteY557" fmla="*/ 2128564 h 6858000"/>
              <a:gd name="connsiteX558" fmla="*/ 1984242 w 7467600"/>
              <a:gd name="connsiteY558" fmla="*/ 2430829 h 6858000"/>
              <a:gd name="connsiteX559" fmla="*/ 2014023 w 7467600"/>
              <a:gd name="connsiteY559" fmla="*/ 2450995 h 6858000"/>
              <a:gd name="connsiteX560" fmla="*/ 1747337 w 7467600"/>
              <a:gd name="connsiteY560" fmla="*/ 1855264 h 6858000"/>
              <a:gd name="connsiteX561" fmla="*/ 1533749 w 7467600"/>
              <a:gd name="connsiteY561" fmla="*/ 1478656 h 6858000"/>
              <a:gd name="connsiteX562" fmla="*/ 1431890 w 7467600"/>
              <a:gd name="connsiteY562" fmla="*/ 1306475 h 6858000"/>
              <a:gd name="connsiteX563" fmla="*/ 5052692 w 7467600"/>
              <a:gd name="connsiteY563" fmla="*/ 1292994 h 6858000"/>
              <a:gd name="connsiteX564" fmla="*/ 5200661 w 7467600"/>
              <a:gd name="connsiteY564" fmla="*/ 1635186 h 6858000"/>
              <a:gd name="connsiteX565" fmla="*/ 5297138 w 7467600"/>
              <a:gd name="connsiteY565" fmla="*/ 1906351 h 6858000"/>
              <a:gd name="connsiteX566" fmla="*/ 5052692 w 7467600"/>
              <a:gd name="connsiteY566" fmla="*/ 1292994 h 6858000"/>
              <a:gd name="connsiteX567" fmla="*/ 5009948 w 7467600"/>
              <a:gd name="connsiteY567" fmla="*/ 1273619 h 6858000"/>
              <a:gd name="connsiteX568" fmla="*/ 5121777 w 7467600"/>
              <a:gd name="connsiteY568" fmla="*/ 1654213 h 6858000"/>
              <a:gd name="connsiteX569" fmla="*/ 5293545 w 7467600"/>
              <a:gd name="connsiteY569" fmla="*/ 2072247 h 6858000"/>
              <a:gd name="connsiteX570" fmla="*/ 5294042 w 7467600"/>
              <a:gd name="connsiteY570" fmla="*/ 2065019 h 6858000"/>
              <a:gd name="connsiteX571" fmla="*/ 5171936 w 7467600"/>
              <a:gd name="connsiteY571" fmla="*/ 1647613 h 6858000"/>
              <a:gd name="connsiteX572" fmla="*/ 5009948 w 7467600"/>
              <a:gd name="connsiteY572" fmla="*/ 1273619 h 6858000"/>
              <a:gd name="connsiteX573" fmla="*/ 655236 w 7467600"/>
              <a:gd name="connsiteY573" fmla="*/ 1268632 h 6858000"/>
              <a:gd name="connsiteX574" fmla="*/ 839521 w 7467600"/>
              <a:gd name="connsiteY574" fmla="*/ 1685315 h 6858000"/>
              <a:gd name="connsiteX575" fmla="*/ 1109416 w 7467600"/>
              <a:gd name="connsiteY575" fmla="*/ 2061663 h 6858000"/>
              <a:gd name="connsiteX576" fmla="*/ 1298300 w 7467600"/>
              <a:gd name="connsiteY576" fmla="*/ 2247742 h 6858000"/>
              <a:gd name="connsiteX577" fmla="*/ 1125871 w 7467600"/>
              <a:gd name="connsiteY577" fmla="*/ 1989513 h 6858000"/>
              <a:gd name="connsiteX578" fmla="*/ 981574 w 7467600"/>
              <a:gd name="connsiteY578" fmla="*/ 1783157 h 6858000"/>
              <a:gd name="connsiteX579" fmla="*/ 922198 w 7467600"/>
              <a:gd name="connsiteY579" fmla="*/ 1677437 h 6858000"/>
              <a:gd name="connsiteX580" fmla="*/ 869293 w 7467600"/>
              <a:gd name="connsiteY580" fmla="*/ 1583214 h 6858000"/>
              <a:gd name="connsiteX581" fmla="*/ 751431 w 7467600"/>
              <a:gd name="connsiteY581" fmla="*/ 1405731 h 6858000"/>
              <a:gd name="connsiteX582" fmla="*/ 655236 w 7467600"/>
              <a:gd name="connsiteY582" fmla="*/ 1268632 h 6858000"/>
              <a:gd name="connsiteX583" fmla="*/ 6516292 w 7467600"/>
              <a:gd name="connsiteY583" fmla="*/ 1263064 h 6858000"/>
              <a:gd name="connsiteX584" fmla="*/ 5736320 w 7467600"/>
              <a:gd name="connsiteY584" fmla="*/ 1501803 h 6858000"/>
              <a:gd name="connsiteX585" fmla="*/ 6516292 w 7467600"/>
              <a:gd name="connsiteY585" fmla="*/ 1263064 h 6858000"/>
              <a:gd name="connsiteX586" fmla="*/ 291466 w 7467600"/>
              <a:gd name="connsiteY586" fmla="*/ 1250369 h 6858000"/>
              <a:gd name="connsiteX587" fmla="*/ 323180 w 7467600"/>
              <a:gd name="connsiteY587" fmla="*/ 1435283 h 6858000"/>
              <a:gd name="connsiteX588" fmla="*/ 349381 w 7467600"/>
              <a:gd name="connsiteY588" fmla="*/ 1875041 h 6858000"/>
              <a:gd name="connsiteX589" fmla="*/ 374363 w 7467600"/>
              <a:gd name="connsiteY589" fmla="*/ 1506494 h 6858000"/>
              <a:gd name="connsiteX590" fmla="*/ 302168 w 7467600"/>
              <a:gd name="connsiteY590" fmla="*/ 1274495 h 6858000"/>
              <a:gd name="connsiteX591" fmla="*/ 291466 w 7467600"/>
              <a:gd name="connsiteY591" fmla="*/ 1250369 h 6858000"/>
              <a:gd name="connsiteX592" fmla="*/ 678222 w 7467600"/>
              <a:gd name="connsiteY592" fmla="*/ 1248670 h 6858000"/>
              <a:gd name="connsiteX593" fmla="*/ 775536 w 7467600"/>
              <a:gd name="connsiteY593" fmla="*/ 1388015 h 6858000"/>
              <a:gd name="connsiteX594" fmla="*/ 894529 w 7467600"/>
              <a:gd name="connsiteY594" fmla="*/ 1567739 h 6858000"/>
              <a:gd name="connsiteX595" fmla="*/ 948000 w 7467600"/>
              <a:gd name="connsiteY595" fmla="*/ 1663088 h 6858000"/>
              <a:gd name="connsiteX596" fmla="*/ 1006812 w 7467600"/>
              <a:gd name="connsiteY596" fmla="*/ 1767683 h 6858000"/>
              <a:gd name="connsiteX597" fmla="*/ 1149133 w 7467600"/>
              <a:gd name="connsiteY597" fmla="*/ 1971513 h 6858000"/>
              <a:gd name="connsiteX598" fmla="*/ 1333952 w 7467600"/>
              <a:gd name="connsiteY598" fmla="*/ 2251620 h 6858000"/>
              <a:gd name="connsiteX599" fmla="*/ 1337329 w 7467600"/>
              <a:gd name="connsiteY599" fmla="*/ 2258350 h 6858000"/>
              <a:gd name="connsiteX600" fmla="*/ 1014726 w 7467600"/>
              <a:gd name="connsiteY600" fmla="*/ 1615556 h 6858000"/>
              <a:gd name="connsiteX601" fmla="*/ 678222 w 7467600"/>
              <a:gd name="connsiteY601" fmla="*/ 1248670 h 6858000"/>
              <a:gd name="connsiteX602" fmla="*/ 6691602 w 7467600"/>
              <a:gd name="connsiteY602" fmla="*/ 1140573 h 6858000"/>
              <a:gd name="connsiteX603" fmla="*/ 6571100 w 7467600"/>
              <a:gd name="connsiteY603" fmla="*/ 1183662 h 6858000"/>
              <a:gd name="connsiteX604" fmla="*/ 6241687 w 7467600"/>
              <a:gd name="connsiteY604" fmla="*/ 1257600 h 6858000"/>
              <a:gd name="connsiteX605" fmla="*/ 5693009 w 7467600"/>
              <a:gd name="connsiteY605" fmla="*/ 1478256 h 6858000"/>
              <a:gd name="connsiteX606" fmla="*/ 6548420 w 7467600"/>
              <a:gd name="connsiteY606" fmla="*/ 1214599 h 6858000"/>
              <a:gd name="connsiteX607" fmla="*/ 6605473 w 7467600"/>
              <a:gd name="connsiteY607" fmla="*/ 1184686 h 6858000"/>
              <a:gd name="connsiteX608" fmla="*/ 6691602 w 7467600"/>
              <a:gd name="connsiteY608" fmla="*/ 1140573 h 6858000"/>
              <a:gd name="connsiteX609" fmla="*/ 4002475 w 7467600"/>
              <a:gd name="connsiteY609" fmla="*/ 1037802 h 6858000"/>
              <a:gd name="connsiteX610" fmla="*/ 4000324 w 7467600"/>
              <a:gd name="connsiteY610" fmla="*/ 1039362 h 6858000"/>
              <a:gd name="connsiteX611" fmla="*/ 4002862 w 7467600"/>
              <a:gd name="connsiteY611" fmla="*/ 1042866 h 6858000"/>
              <a:gd name="connsiteX612" fmla="*/ 4002475 w 7467600"/>
              <a:gd name="connsiteY612" fmla="*/ 1037802 h 6858000"/>
              <a:gd name="connsiteX613" fmla="*/ 506322 w 7467600"/>
              <a:gd name="connsiteY613" fmla="*/ 1020997 h 6858000"/>
              <a:gd name="connsiteX614" fmla="*/ 533068 w 7467600"/>
              <a:gd name="connsiteY614" fmla="*/ 1029409 h 6858000"/>
              <a:gd name="connsiteX615" fmla="*/ 1232525 w 7467600"/>
              <a:gd name="connsiteY615" fmla="*/ 1804675 h 6858000"/>
              <a:gd name="connsiteX616" fmla="*/ 1388858 w 7467600"/>
              <a:gd name="connsiteY616" fmla="*/ 2368011 h 6858000"/>
              <a:gd name="connsiteX617" fmla="*/ 1384098 w 7467600"/>
              <a:gd name="connsiteY617" fmla="*/ 2378125 h 6858000"/>
              <a:gd name="connsiteX618" fmla="*/ 1425393 w 7467600"/>
              <a:gd name="connsiteY618" fmla="*/ 2589124 h 6858000"/>
              <a:gd name="connsiteX619" fmla="*/ 1424001 w 7467600"/>
              <a:gd name="connsiteY619" fmla="*/ 2597541 h 6858000"/>
              <a:gd name="connsiteX620" fmla="*/ 2152729 w 7467600"/>
              <a:gd name="connsiteY620" fmla="*/ 2864487 h 6858000"/>
              <a:gd name="connsiteX621" fmla="*/ 2020609 w 7467600"/>
              <a:gd name="connsiteY621" fmla="*/ 2539671 h 6858000"/>
              <a:gd name="connsiteX622" fmla="*/ 2018920 w 7467600"/>
              <a:gd name="connsiteY622" fmla="*/ 2536309 h 6858000"/>
              <a:gd name="connsiteX623" fmla="*/ 1342441 w 7467600"/>
              <a:gd name="connsiteY623" fmla="*/ 1173017 h 6858000"/>
              <a:gd name="connsiteX624" fmla="*/ 1367925 w 7467600"/>
              <a:gd name="connsiteY624" fmla="*/ 1135648 h 6858000"/>
              <a:gd name="connsiteX625" fmla="*/ 1771401 w 7467600"/>
              <a:gd name="connsiteY625" fmla="*/ 1806673 h 6858000"/>
              <a:gd name="connsiteX626" fmla="*/ 1972385 w 7467600"/>
              <a:gd name="connsiteY626" fmla="*/ 2198735 h 6858000"/>
              <a:gd name="connsiteX627" fmla="*/ 2040892 w 7467600"/>
              <a:gd name="connsiteY627" fmla="*/ 2405205 h 6858000"/>
              <a:gd name="connsiteX628" fmla="*/ 2131689 w 7467600"/>
              <a:gd name="connsiteY628" fmla="*/ 1936926 h 6858000"/>
              <a:gd name="connsiteX629" fmla="*/ 2454820 w 7467600"/>
              <a:gd name="connsiteY629" fmla="*/ 1248808 h 6858000"/>
              <a:gd name="connsiteX630" fmla="*/ 2492512 w 7467600"/>
              <a:gd name="connsiteY630" fmla="*/ 1302920 h 6858000"/>
              <a:gd name="connsiteX631" fmla="*/ 2081216 w 7467600"/>
              <a:gd name="connsiteY631" fmla="*/ 2527513 h 6858000"/>
              <a:gd name="connsiteX632" fmla="*/ 2081211 w 7467600"/>
              <a:gd name="connsiteY632" fmla="*/ 2528916 h 6858000"/>
              <a:gd name="connsiteX633" fmla="*/ 2199067 w 7467600"/>
              <a:gd name="connsiteY633" fmla="*/ 2884061 h 6858000"/>
              <a:gd name="connsiteX634" fmla="*/ 3192586 w 7467600"/>
              <a:gd name="connsiteY634" fmla="*/ 3411496 h 6858000"/>
              <a:gd name="connsiteX635" fmla="*/ 3182620 w 7467600"/>
              <a:gd name="connsiteY635" fmla="*/ 3483279 h 6858000"/>
              <a:gd name="connsiteX636" fmla="*/ 2435119 w 7467600"/>
              <a:gd name="connsiteY636" fmla="*/ 3080173 h 6858000"/>
              <a:gd name="connsiteX637" fmla="*/ 2410152 w 7467600"/>
              <a:gd name="connsiteY637" fmla="*/ 3063751 h 6858000"/>
              <a:gd name="connsiteX638" fmla="*/ 2408099 w 7467600"/>
              <a:gd name="connsiteY638" fmla="*/ 3064403 h 6858000"/>
              <a:gd name="connsiteX639" fmla="*/ 2407218 w 7467600"/>
              <a:gd name="connsiteY639" fmla="*/ 3070324 h 6858000"/>
              <a:gd name="connsiteX640" fmla="*/ 2380138 w 7467600"/>
              <a:gd name="connsiteY640" fmla="*/ 3099341 h 6858000"/>
              <a:gd name="connsiteX641" fmla="*/ 1765923 w 7467600"/>
              <a:gd name="connsiteY641" fmla="*/ 3581043 h 6858000"/>
              <a:gd name="connsiteX642" fmla="*/ 1702258 w 7467600"/>
              <a:gd name="connsiteY642" fmla="*/ 3612286 h 6858000"/>
              <a:gd name="connsiteX643" fmla="*/ 1538370 w 7467600"/>
              <a:gd name="connsiteY643" fmla="*/ 3811804 h 6858000"/>
              <a:gd name="connsiteX644" fmla="*/ 542867 w 7467600"/>
              <a:gd name="connsiteY644" fmla="*/ 4944092 h 6858000"/>
              <a:gd name="connsiteX645" fmla="*/ 515800 w 7467600"/>
              <a:gd name="connsiteY645" fmla="*/ 4862180 h 6858000"/>
              <a:gd name="connsiteX646" fmla="*/ 909145 w 7467600"/>
              <a:gd name="connsiteY646" fmla="*/ 4199225 h 6858000"/>
              <a:gd name="connsiteX647" fmla="*/ 1214067 w 7467600"/>
              <a:gd name="connsiteY647" fmla="*/ 3908561 h 6858000"/>
              <a:gd name="connsiteX648" fmla="*/ 640967 w 7467600"/>
              <a:gd name="connsiteY648" fmla="*/ 4105601 h 6858000"/>
              <a:gd name="connsiteX649" fmla="*/ 112563 w 7467600"/>
              <a:gd name="connsiteY649" fmla="*/ 4396952 h 6858000"/>
              <a:gd name="connsiteX650" fmla="*/ 0 w 7467600"/>
              <a:gd name="connsiteY650" fmla="*/ 4466006 h 6858000"/>
              <a:gd name="connsiteX651" fmla="*/ 0 w 7467600"/>
              <a:gd name="connsiteY651" fmla="*/ 4233763 h 6858000"/>
              <a:gd name="connsiteX652" fmla="*/ 36881 w 7467600"/>
              <a:gd name="connsiteY652" fmla="*/ 4200118 h 6858000"/>
              <a:gd name="connsiteX653" fmla="*/ 910534 w 7467600"/>
              <a:gd name="connsiteY653" fmla="*/ 3629753 h 6858000"/>
              <a:gd name="connsiteX654" fmla="*/ 1578717 w 7467600"/>
              <a:gd name="connsiteY654" fmla="*/ 3575982 h 6858000"/>
              <a:gd name="connsiteX655" fmla="*/ 2338780 w 7467600"/>
              <a:gd name="connsiteY655" fmla="*/ 3033725 h 6858000"/>
              <a:gd name="connsiteX656" fmla="*/ 1807991 w 7467600"/>
              <a:gd name="connsiteY656" fmla="*/ 2807184 h 6858000"/>
              <a:gd name="connsiteX657" fmla="*/ 1416358 w 7467600"/>
              <a:gd name="connsiteY657" fmla="*/ 3112571 h 6858000"/>
              <a:gd name="connsiteX658" fmla="*/ 939066 w 7467600"/>
              <a:gd name="connsiteY658" fmla="*/ 3378798 h 6858000"/>
              <a:gd name="connsiteX659" fmla="*/ 115099 w 7467600"/>
              <a:gd name="connsiteY659" fmla="*/ 3607650 h 6858000"/>
              <a:gd name="connsiteX660" fmla="*/ 97284 w 7467600"/>
              <a:gd name="connsiteY660" fmla="*/ 3520393 h 6858000"/>
              <a:gd name="connsiteX661" fmla="*/ 922050 w 7467600"/>
              <a:gd name="connsiteY661" fmla="*/ 3074867 h 6858000"/>
              <a:gd name="connsiteX662" fmla="*/ 1405265 w 7467600"/>
              <a:gd name="connsiteY662" fmla="*/ 3016319 h 6858000"/>
              <a:gd name="connsiteX663" fmla="*/ 1407512 w 7467600"/>
              <a:gd name="connsiteY663" fmla="*/ 3018001 h 6858000"/>
              <a:gd name="connsiteX664" fmla="*/ 1726266 w 7467600"/>
              <a:gd name="connsiteY664" fmla="*/ 2777274 h 6858000"/>
              <a:gd name="connsiteX665" fmla="*/ 625390 w 7467600"/>
              <a:gd name="connsiteY665" fmla="*/ 2514541 h 6858000"/>
              <a:gd name="connsiteX666" fmla="*/ 619799 w 7467600"/>
              <a:gd name="connsiteY666" fmla="*/ 2527180 h 6858000"/>
              <a:gd name="connsiteX667" fmla="*/ 310030 w 7467600"/>
              <a:gd name="connsiteY667" fmla="*/ 2771818 h 6858000"/>
              <a:gd name="connsiteX668" fmla="*/ 173877 w 7467600"/>
              <a:gd name="connsiteY668" fmla="*/ 2937056 h 6858000"/>
              <a:gd name="connsiteX669" fmla="*/ 77889 w 7467600"/>
              <a:gd name="connsiteY669" fmla="*/ 3138440 h 6858000"/>
              <a:gd name="connsiteX670" fmla="*/ 0 w 7467600"/>
              <a:gd name="connsiteY670" fmla="*/ 3271395 h 6858000"/>
              <a:gd name="connsiteX671" fmla="*/ 0 w 7467600"/>
              <a:gd name="connsiteY671" fmla="*/ 3153002 h 6858000"/>
              <a:gd name="connsiteX672" fmla="*/ 2386 w 7467600"/>
              <a:gd name="connsiteY672" fmla="*/ 3149203 h 6858000"/>
              <a:gd name="connsiteX673" fmla="*/ 89753 w 7467600"/>
              <a:gd name="connsiteY673" fmla="*/ 2987702 h 6858000"/>
              <a:gd name="connsiteX674" fmla="*/ 76869 w 7467600"/>
              <a:gd name="connsiteY674" fmla="*/ 3005404 h 6858000"/>
              <a:gd name="connsiteX675" fmla="*/ 32049 w 7467600"/>
              <a:gd name="connsiteY675" fmla="*/ 3065814 h 6858000"/>
              <a:gd name="connsiteX676" fmla="*/ 0 w 7467600"/>
              <a:gd name="connsiteY676" fmla="*/ 3108744 h 6858000"/>
              <a:gd name="connsiteX677" fmla="*/ 0 w 7467600"/>
              <a:gd name="connsiteY677" fmla="*/ 3058059 h 6858000"/>
              <a:gd name="connsiteX678" fmla="*/ 7610 w 7467600"/>
              <a:gd name="connsiteY678" fmla="*/ 3047889 h 6858000"/>
              <a:gd name="connsiteX679" fmla="*/ 52419 w 7467600"/>
              <a:gd name="connsiteY679" fmla="*/ 2987479 h 6858000"/>
              <a:gd name="connsiteX680" fmla="*/ 59142 w 7467600"/>
              <a:gd name="connsiteY680" fmla="*/ 2978488 h 6858000"/>
              <a:gd name="connsiteX681" fmla="*/ 0 w 7467600"/>
              <a:gd name="connsiteY681" fmla="*/ 3015334 h 6858000"/>
              <a:gd name="connsiteX682" fmla="*/ 0 w 7467600"/>
              <a:gd name="connsiteY682" fmla="*/ 2914286 h 6858000"/>
              <a:gd name="connsiteX683" fmla="*/ 36383 w 7467600"/>
              <a:gd name="connsiteY683" fmla="*/ 2901128 h 6858000"/>
              <a:gd name="connsiteX684" fmla="*/ 156329 w 7467600"/>
              <a:gd name="connsiteY684" fmla="*/ 2840533 h 6858000"/>
              <a:gd name="connsiteX685" fmla="*/ 358355 w 7467600"/>
              <a:gd name="connsiteY685" fmla="*/ 2620471 h 6858000"/>
              <a:gd name="connsiteX686" fmla="*/ 510577 w 7467600"/>
              <a:gd name="connsiteY686" fmla="*/ 2501244 h 6858000"/>
              <a:gd name="connsiteX687" fmla="*/ 211967 w 7467600"/>
              <a:gd name="connsiteY687" fmla="*/ 2479171 h 6858000"/>
              <a:gd name="connsiteX688" fmla="*/ 0 w 7467600"/>
              <a:gd name="connsiteY688" fmla="*/ 2476398 h 6858000"/>
              <a:gd name="connsiteX689" fmla="*/ 0 w 7467600"/>
              <a:gd name="connsiteY689" fmla="*/ 2389189 h 6858000"/>
              <a:gd name="connsiteX690" fmla="*/ 103062 w 7467600"/>
              <a:gd name="connsiteY690" fmla="*/ 2389518 h 6858000"/>
              <a:gd name="connsiteX691" fmla="*/ 510734 w 7467600"/>
              <a:gd name="connsiteY691" fmla="*/ 2416201 h 6858000"/>
              <a:gd name="connsiteX692" fmla="*/ 279257 w 7467600"/>
              <a:gd name="connsiteY692" fmla="*/ 2092102 h 6858000"/>
              <a:gd name="connsiteX693" fmla="*/ 65265 w 7467600"/>
              <a:gd name="connsiteY693" fmla="*/ 2006049 h 6858000"/>
              <a:gd name="connsiteX694" fmla="*/ 0 w 7467600"/>
              <a:gd name="connsiteY694" fmla="*/ 1982532 h 6858000"/>
              <a:gd name="connsiteX695" fmla="*/ 0 w 7467600"/>
              <a:gd name="connsiteY695" fmla="*/ 1912789 h 6858000"/>
              <a:gd name="connsiteX696" fmla="*/ 97460 w 7467600"/>
              <a:gd name="connsiteY696" fmla="*/ 1953725 h 6858000"/>
              <a:gd name="connsiteX697" fmla="*/ 221272 w 7467600"/>
              <a:gd name="connsiteY697" fmla="*/ 1980766 h 6858000"/>
              <a:gd name="connsiteX698" fmla="*/ 116765 w 7467600"/>
              <a:gd name="connsiteY698" fmla="*/ 1911033 h 6858000"/>
              <a:gd name="connsiteX699" fmla="*/ 16405 w 7467600"/>
              <a:gd name="connsiteY699" fmla="*/ 1803412 h 6858000"/>
              <a:gd name="connsiteX700" fmla="*/ 0 w 7467600"/>
              <a:gd name="connsiteY700" fmla="*/ 1784777 h 6858000"/>
              <a:gd name="connsiteX701" fmla="*/ 0 w 7467600"/>
              <a:gd name="connsiteY701" fmla="*/ 1740082 h 6858000"/>
              <a:gd name="connsiteX702" fmla="*/ 39394 w 7467600"/>
              <a:gd name="connsiteY702" fmla="*/ 1784856 h 6858000"/>
              <a:gd name="connsiteX703" fmla="*/ 135813 w 7467600"/>
              <a:gd name="connsiteY703" fmla="*/ 1888838 h 6858000"/>
              <a:gd name="connsiteX704" fmla="*/ 242575 w 7467600"/>
              <a:gd name="connsiteY704" fmla="*/ 1958841 h 6858000"/>
              <a:gd name="connsiteX705" fmla="*/ 82197 w 7467600"/>
              <a:gd name="connsiteY705" fmla="*/ 1754826 h 6858000"/>
              <a:gd name="connsiteX706" fmla="*/ 0 w 7467600"/>
              <a:gd name="connsiteY706" fmla="*/ 1679650 h 6858000"/>
              <a:gd name="connsiteX707" fmla="*/ 0 w 7467600"/>
              <a:gd name="connsiteY707" fmla="*/ 1602463 h 6858000"/>
              <a:gd name="connsiteX708" fmla="*/ 84689 w 7467600"/>
              <a:gd name="connsiteY708" fmla="*/ 1677442 h 6858000"/>
              <a:gd name="connsiteX709" fmla="*/ 298437 w 7467600"/>
              <a:gd name="connsiteY709" fmla="*/ 1968019 h 6858000"/>
              <a:gd name="connsiteX710" fmla="*/ 227269 w 7467600"/>
              <a:gd name="connsiteY710" fmla="*/ 1114064 h 6858000"/>
              <a:gd name="connsiteX711" fmla="*/ 248003 w 7467600"/>
              <a:gd name="connsiteY711" fmla="*/ 1089613 h 6858000"/>
              <a:gd name="connsiteX712" fmla="*/ 427020 w 7467600"/>
              <a:gd name="connsiteY712" fmla="*/ 1619803 h 6858000"/>
              <a:gd name="connsiteX713" fmla="*/ 340345 w 7467600"/>
              <a:gd name="connsiteY713" fmla="*/ 2027739 h 6858000"/>
              <a:gd name="connsiteX714" fmla="*/ 360865 w 7467600"/>
              <a:gd name="connsiteY714" fmla="*/ 2044827 h 6858000"/>
              <a:gd name="connsiteX715" fmla="*/ 560414 w 7467600"/>
              <a:gd name="connsiteY715" fmla="*/ 2421457 h 6858000"/>
              <a:gd name="connsiteX716" fmla="*/ 1359703 w 7467600"/>
              <a:gd name="connsiteY716" fmla="*/ 2578554 h 6858000"/>
              <a:gd name="connsiteX717" fmla="*/ 1359422 w 7467600"/>
              <a:gd name="connsiteY717" fmla="*/ 2577994 h 6858000"/>
              <a:gd name="connsiteX718" fmla="*/ 828701 w 7467600"/>
              <a:gd name="connsiteY718" fmla="*/ 1839520 h 6858000"/>
              <a:gd name="connsiteX719" fmla="*/ 494427 w 7467600"/>
              <a:gd name="connsiteY719" fmla="*/ 1092333 h 6858000"/>
              <a:gd name="connsiteX720" fmla="*/ 506322 w 7467600"/>
              <a:gd name="connsiteY720" fmla="*/ 1020997 h 6858000"/>
              <a:gd name="connsiteX721" fmla="*/ 4570198 w 7467600"/>
              <a:gd name="connsiteY721" fmla="*/ 978081 h 6858000"/>
              <a:gd name="connsiteX722" fmla="*/ 4523691 w 7467600"/>
              <a:gd name="connsiteY722" fmla="*/ 1127776 h 6858000"/>
              <a:gd name="connsiteX723" fmla="*/ 4509875 w 7467600"/>
              <a:gd name="connsiteY723" fmla="*/ 1167552 h 6858000"/>
              <a:gd name="connsiteX724" fmla="*/ 4478168 w 7467600"/>
              <a:gd name="connsiteY724" fmla="*/ 1260735 h 6858000"/>
              <a:gd name="connsiteX725" fmla="*/ 4409309 w 7467600"/>
              <a:gd name="connsiteY725" fmla="*/ 1666996 h 6858000"/>
              <a:gd name="connsiteX726" fmla="*/ 4370031 w 7467600"/>
              <a:gd name="connsiteY726" fmla="*/ 1955666 h 6858000"/>
              <a:gd name="connsiteX727" fmla="*/ 4570198 w 7467600"/>
              <a:gd name="connsiteY727" fmla="*/ 978081 h 6858000"/>
              <a:gd name="connsiteX728" fmla="*/ 4557898 w 7467600"/>
              <a:gd name="connsiteY728" fmla="*/ 900011 h 6858000"/>
              <a:gd name="connsiteX729" fmla="*/ 4344840 w 7467600"/>
              <a:gd name="connsiteY729" fmla="*/ 1922038 h 6858000"/>
              <a:gd name="connsiteX730" fmla="*/ 4378710 w 7467600"/>
              <a:gd name="connsiteY730" fmla="*/ 1665516 h 6858000"/>
              <a:gd name="connsiteX731" fmla="*/ 4448798 w 7467600"/>
              <a:gd name="connsiteY731" fmla="*/ 1253024 h 6858000"/>
              <a:gd name="connsiteX732" fmla="*/ 4480315 w 7467600"/>
              <a:gd name="connsiteY732" fmla="*/ 1158454 h 6858000"/>
              <a:gd name="connsiteX733" fmla="*/ 4494133 w 7467600"/>
              <a:gd name="connsiteY733" fmla="*/ 1118676 h 6858000"/>
              <a:gd name="connsiteX734" fmla="*/ 4557898 w 7467600"/>
              <a:gd name="connsiteY734" fmla="*/ 900011 h 6858000"/>
              <a:gd name="connsiteX735" fmla="*/ 5870151 w 7467600"/>
              <a:gd name="connsiteY735" fmla="*/ 898890 h 6858000"/>
              <a:gd name="connsiteX736" fmla="*/ 5861335 w 7467600"/>
              <a:gd name="connsiteY736" fmla="*/ 899177 h 6858000"/>
              <a:gd name="connsiteX737" fmla="*/ 5843702 w 7467600"/>
              <a:gd name="connsiteY737" fmla="*/ 899748 h 6858000"/>
              <a:gd name="connsiteX738" fmla="*/ 5651107 w 7467600"/>
              <a:gd name="connsiteY738" fmla="*/ 920306 h 6858000"/>
              <a:gd name="connsiteX739" fmla="*/ 5459407 w 7467600"/>
              <a:gd name="connsiteY739" fmla="*/ 940975 h 6858000"/>
              <a:gd name="connsiteX740" fmla="*/ 5374846 w 7467600"/>
              <a:gd name="connsiteY740" fmla="*/ 941988 h 6858000"/>
              <a:gd name="connsiteX741" fmla="*/ 5256105 w 7467600"/>
              <a:gd name="connsiteY741" fmla="*/ 945632 h 6858000"/>
              <a:gd name="connsiteX742" fmla="*/ 5107071 w 7467600"/>
              <a:gd name="connsiteY742" fmla="*/ 969720 h 6858000"/>
              <a:gd name="connsiteX743" fmla="*/ 4998681 w 7467600"/>
              <a:gd name="connsiteY743" fmla="*/ 988771 h 6858000"/>
              <a:gd name="connsiteX744" fmla="*/ 5870151 w 7467600"/>
              <a:gd name="connsiteY744" fmla="*/ 898890 h 6858000"/>
              <a:gd name="connsiteX745" fmla="*/ 5504425 w 7467600"/>
              <a:gd name="connsiteY745" fmla="*/ 848067 h 6858000"/>
              <a:gd name="connsiteX746" fmla="*/ 4968849 w 7467600"/>
              <a:gd name="connsiteY746" fmla="*/ 962318 h 6858000"/>
              <a:gd name="connsiteX747" fmla="*/ 5104039 w 7467600"/>
              <a:gd name="connsiteY747" fmla="*/ 940634 h 6858000"/>
              <a:gd name="connsiteX748" fmla="*/ 5256311 w 7467600"/>
              <a:gd name="connsiteY748" fmla="*/ 916490 h 6858000"/>
              <a:gd name="connsiteX749" fmla="*/ 5377381 w 7467600"/>
              <a:gd name="connsiteY749" fmla="*/ 912671 h 6858000"/>
              <a:gd name="connsiteX750" fmla="*/ 5460148 w 7467600"/>
              <a:gd name="connsiteY750" fmla="*/ 911442 h 6858000"/>
              <a:gd name="connsiteX751" fmla="*/ 5648971 w 7467600"/>
              <a:gd name="connsiteY751" fmla="*/ 891331 h 6858000"/>
              <a:gd name="connsiteX752" fmla="*/ 5844807 w 7467600"/>
              <a:gd name="connsiteY752" fmla="*/ 870718 h 6858000"/>
              <a:gd name="connsiteX753" fmla="*/ 5862975 w 7467600"/>
              <a:gd name="connsiteY753" fmla="*/ 869756 h 6858000"/>
              <a:gd name="connsiteX754" fmla="*/ 5920887 w 7467600"/>
              <a:gd name="connsiteY754" fmla="*/ 865929 h 6858000"/>
              <a:gd name="connsiteX755" fmla="*/ 5504425 w 7467600"/>
              <a:gd name="connsiteY755" fmla="*/ 848067 h 6858000"/>
              <a:gd name="connsiteX756" fmla="*/ 3607114 w 7467600"/>
              <a:gd name="connsiteY756" fmla="*/ 467441 h 6858000"/>
              <a:gd name="connsiteX757" fmla="*/ 3296242 w 7467600"/>
              <a:gd name="connsiteY757" fmla="*/ 807991 h 6858000"/>
              <a:gd name="connsiteX758" fmla="*/ 3174674 w 7467600"/>
              <a:gd name="connsiteY758" fmla="*/ 919759 h 6858000"/>
              <a:gd name="connsiteX759" fmla="*/ 3042978 w 7467600"/>
              <a:gd name="connsiteY759" fmla="*/ 1054894 h 6858000"/>
              <a:gd name="connsiteX760" fmla="*/ 2968914 w 7467600"/>
              <a:gd name="connsiteY760" fmla="*/ 1133756 h 6858000"/>
              <a:gd name="connsiteX761" fmla="*/ 3103823 w 7467600"/>
              <a:gd name="connsiteY761" fmla="*/ 1026814 h 6858000"/>
              <a:gd name="connsiteX762" fmla="*/ 3607114 w 7467600"/>
              <a:gd name="connsiteY762" fmla="*/ 467441 h 6858000"/>
              <a:gd name="connsiteX763" fmla="*/ 3744487 w 7467600"/>
              <a:gd name="connsiteY763" fmla="*/ 383136 h 6858000"/>
              <a:gd name="connsiteX764" fmla="*/ 3970213 w 7467600"/>
              <a:gd name="connsiteY764" fmla="*/ 995559 h 6858000"/>
              <a:gd name="connsiteX765" fmla="*/ 3744487 w 7467600"/>
              <a:gd name="connsiteY765" fmla="*/ 383136 h 6858000"/>
              <a:gd name="connsiteX766" fmla="*/ 3624562 w 7467600"/>
              <a:gd name="connsiteY766" fmla="*/ 367041 h 6858000"/>
              <a:gd name="connsiteX767" fmla="*/ 3489712 w 7467600"/>
              <a:gd name="connsiteY767" fmla="*/ 485386 h 6858000"/>
              <a:gd name="connsiteX768" fmla="*/ 3182994 w 7467600"/>
              <a:gd name="connsiteY768" fmla="*/ 828265 h 6858000"/>
              <a:gd name="connsiteX769" fmla="*/ 2892114 w 7467600"/>
              <a:gd name="connsiteY769" fmla="*/ 1172635 h 6858000"/>
              <a:gd name="connsiteX770" fmla="*/ 3021459 w 7467600"/>
              <a:gd name="connsiteY770" fmla="*/ 1035385 h 6858000"/>
              <a:gd name="connsiteX771" fmla="*/ 3153873 w 7467600"/>
              <a:gd name="connsiteY771" fmla="*/ 898971 h 6858000"/>
              <a:gd name="connsiteX772" fmla="*/ 3276511 w 7467600"/>
              <a:gd name="connsiteY772" fmla="*/ 786423 h 6858000"/>
              <a:gd name="connsiteX773" fmla="*/ 3584154 w 7467600"/>
              <a:gd name="connsiteY773" fmla="*/ 448218 h 6858000"/>
              <a:gd name="connsiteX774" fmla="*/ 3624562 w 7467600"/>
              <a:gd name="connsiteY774" fmla="*/ 367041 h 6858000"/>
              <a:gd name="connsiteX775" fmla="*/ 3766672 w 7467600"/>
              <a:gd name="connsiteY775" fmla="*/ 359429 h 6858000"/>
              <a:gd name="connsiteX776" fmla="*/ 3996338 w 7467600"/>
              <a:gd name="connsiteY776" fmla="*/ 968237 h 6858000"/>
              <a:gd name="connsiteX777" fmla="*/ 3766672 w 7467600"/>
              <a:gd name="connsiteY777" fmla="*/ 359429 h 6858000"/>
              <a:gd name="connsiteX778" fmla="*/ 5805386 w 7467600"/>
              <a:gd name="connsiteY778" fmla="*/ 239240 h 6858000"/>
              <a:gd name="connsiteX779" fmla="*/ 5736947 w 7467600"/>
              <a:gd name="connsiteY779" fmla="*/ 261367 h 6858000"/>
              <a:gd name="connsiteX780" fmla="*/ 5427012 w 7467600"/>
              <a:gd name="connsiteY780" fmla="*/ 311272 h 6858000"/>
              <a:gd name="connsiteX781" fmla="*/ 5147818 w 7467600"/>
              <a:gd name="connsiteY781" fmla="*/ 322112 h 6858000"/>
              <a:gd name="connsiteX782" fmla="*/ 5060854 w 7467600"/>
              <a:gd name="connsiteY782" fmla="*/ 311882 h 6858000"/>
              <a:gd name="connsiteX783" fmla="*/ 4945989 w 7467600"/>
              <a:gd name="connsiteY783" fmla="*/ 300516 h 6858000"/>
              <a:gd name="connsiteX784" fmla="*/ 5410479 w 7467600"/>
              <a:gd name="connsiteY784" fmla="*/ 348434 h 6858000"/>
              <a:gd name="connsiteX785" fmla="*/ 5805386 w 7467600"/>
              <a:gd name="connsiteY785" fmla="*/ 239240 h 6858000"/>
              <a:gd name="connsiteX786" fmla="*/ 5905192 w 7467600"/>
              <a:gd name="connsiteY786" fmla="*/ 163079 h 6858000"/>
              <a:gd name="connsiteX787" fmla="*/ 5865655 w 7467600"/>
              <a:gd name="connsiteY787" fmla="*/ 171901 h 6858000"/>
              <a:gd name="connsiteX788" fmla="*/ 5259740 w 7467600"/>
              <a:gd name="connsiteY788" fmla="*/ 257013 h 6858000"/>
              <a:gd name="connsiteX789" fmla="*/ 5208466 w 7467600"/>
              <a:gd name="connsiteY789" fmla="*/ 257550 h 6858000"/>
              <a:gd name="connsiteX790" fmla="*/ 4980204 w 7467600"/>
              <a:gd name="connsiteY790" fmla="*/ 271903 h 6858000"/>
              <a:gd name="connsiteX791" fmla="*/ 5068068 w 7467600"/>
              <a:gd name="connsiteY791" fmla="*/ 282244 h 6858000"/>
              <a:gd name="connsiteX792" fmla="*/ 5153231 w 7467600"/>
              <a:gd name="connsiteY792" fmla="*/ 292240 h 6858000"/>
              <a:gd name="connsiteX793" fmla="*/ 5426491 w 7467600"/>
              <a:gd name="connsiteY793" fmla="*/ 281128 h 6858000"/>
              <a:gd name="connsiteX794" fmla="*/ 5731212 w 7467600"/>
              <a:gd name="connsiteY794" fmla="*/ 231951 h 6858000"/>
              <a:gd name="connsiteX795" fmla="*/ 5905192 w 7467600"/>
              <a:gd name="connsiteY795" fmla="*/ 163079 h 6858000"/>
              <a:gd name="connsiteX796" fmla="*/ 5944437 w 7467600"/>
              <a:gd name="connsiteY796" fmla="*/ 113829 h 6858000"/>
              <a:gd name="connsiteX797" fmla="*/ 5825032 w 7467600"/>
              <a:gd name="connsiteY797" fmla="*/ 146405 h 6858000"/>
              <a:gd name="connsiteX798" fmla="*/ 4955599 w 7467600"/>
              <a:gd name="connsiteY798" fmla="*/ 247008 h 6858000"/>
              <a:gd name="connsiteX799" fmla="*/ 5210104 w 7467600"/>
              <a:gd name="connsiteY799" fmla="*/ 228123 h 6858000"/>
              <a:gd name="connsiteX800" fmla="*/ 5261015 w 7467600"/>
              <a:gd name="connsiteY800" fmla="*/ 227087 h 6858000"/>
              <a:gd name="connsiteX801" fmla="*/ 5861181 w 7467600"/>
              <a:gd name="connsiteY801" fmla="*/ 143093 h 6858000"/>
              <a:gd name="connsiteX802" fmla="*/ 5961252 w 7467600"/>
              <a:gd name="connsiteY802" fmla="*/ 114820 h 6858000"/>
              <a:gd name="connsiteX803" fmla="*/ 5944437 w 7467600"/>
              <a:gd name="connsiteY803" fmla="*/ 113829 h 6858000"/>
              <a:gd name="connsiteX804" fmla="*/ 3882765 w 7467600"/>
              <a:gd name="connsiteY804" fmla="*/ 0 h 6858000"/>
              <a:gd name="connsiteX805" fmla="*/ 3995099 w 7467600"/>
              <a:gd name="connsiteY805" fmla="*/ 0 h 6858000"/>
              <a:gd name="connsiteX806" fmla="*/ 4163818 w 7467600"/>
              <a:gd name="connsiteY806" fmla="*/ 234104 h 6858000"/>
              <a:gd name="connsiteX807" fmla="*/ 4172099 w 7467600"/>
              <a:gd name="connsiteY807" fmla="*/ 234207 h 6858000"/>
              <a:gd name="connsiteX808" fmla="*/ 4784282 w 7467600"/>
              <a:gd name="connsiteY808" fmla="*/ 276561 h 6858000"/>
              <a:gd name="connsiteX809" fmla="*/ 4801687 w 7467600"/>
              <a:gd name="connsiteY809" fmla="*/ 267764 h 6858000"/>
              <a:gd name="connsiteX810" fmla="*/ 6082788 w 7467600"/>
              <a:gd name="connsiteY810" fmla="*/ 64119 h 6858000"/>
              <a:gd name="connsiteX811" fmla="*/ 6099442 w 7467600"/>
              <a:gd name="connsiteY811" fmla="*/ 82568 h 6858000"/>
              <a:gd name="connsiteX812" fmla="*/ 4804137 w 7467600"/>
              <a:gd name="connsiteY812" fmla="*/ 320931 h 6858000"/>
              <a:gd name="connsiteX813" fmla="*/ 4227047 w 7467600"/>
              <a:gd name="connsiteY813" fmla="*/ 313415 h 6858000"/>
              <a:gd name="connsiteX814" fmla="*/ 4346041 w 7467600"/>
              <a:gd name="connsiteY814" fmla="*/ 456086 h 6858000"/>
              <a:gd name="connsiteX815" fmla="*/ 4870967 w 7467600"/>
              <a:gd name="connsiteY815" fmla="*/ 963061 h 6858000"/>
              <a:gd name="connsiteX816" fmla="*/ 4889647 w 7467600"/>
              <a:gd name="connsiteY816" fmla="*/ 957147 h 6858000"/>
              <a:gd name="connsiteX817" fmla="*/ 5422504 w 7467600"/>
              <a:gd name="connsiteY817" fmla="*/ 805191 h 6858000"/>
              <a:gd name="connsiteX818" fmla="*/ 6087656 w 7467600"/>
              <a:gd name="connsiteY818" fmla="*/ 826703 h 6858000"/>
              <a:gd name="connsiteX819" fmla="*/ 6058717 w 7467600"/>
              <a:gd name="connsiteY819" fmla="*/ 865992 h 6858000"/>
              <a:gd name="connsiteX820" fmla="*/ 4974153 w 7467600"/>
              <a:gd name="connsiteY820" fmla="*/ 1045456 h 6858000"/>
              <a:gd name="connsiteX821" fmla="*/ 5627835 w 7467600"/>
              <a:gd name="connsiteY821" fmla="*/ 1472077 h 6858000"/>
              <a:gd name="connsiteX822" fmla="*/ 5629817 w 7467600"/>
              <a:gd name="connsiteY822" fmla="*/ 1471412 h 6858000"/>
              <a:gd name="connsiteX823" fmla="*/ 5634124 w 7467600"/>
              <a:gd name="connsiteY823" fmla="*/ 1470572 h 6858000"/>
              <a:gd name="connsiteX824" fmla="*/ 5755832 w 7467600"/>
              <a:gd name="connsiteY824" fmla="*/ 1383886 h 6858000"/>
              <a:gd name="connsiteX825" fmla="*/ 6014186 w 7467600"/>
              <a:gd name="connsiteY825" fmla="*/ 1279799 h 6858000"/>
              <a:gd name="connsiteX826" fmla="*/ 6901619 w 7467600"/>
              <a:gd name="connsiteY826" fmla="*/ 1047874 h 6858000"/>
              <a:gd name="connsiteX827" fmla="*/ 6931566 w 7467600"/>
              <a:gd name="connsiteY827" fmla="*/ 1062034 h 6858000"/>
              <a:gd name="connsiteX828" fmla="*/ 5790982 w 7467600"/>
              <a:gd name="connsiteY828" fmla="*/ 1561380 h 6858000"/>
              <a:gd name="connsiteX829" fmla="*/ 6188971 w 7467600"/>
              <a:gd name="connsiteY829" fmla="*/ 1755168 h 6858000"/>
              <a:gd name="connsiteX830" fmla="*/ 6202446 w 7467600"/>
              <a:gd name="connsiteY830" fmla="*/ 1752268 h 6858000"/>
              <a:gd name="connsiteX831" fmla="*/ 7179560 w 7467600"/>
              <a:gd name="connsiteY831" fmla="*/ 1467551 h 6858000"/>
              <a:gd name="connsiteX832" fmla="*/ 7158730 w 7467600"/>
              <a:gd name="connsiteY832" fmla="*/ 1507835 h 6858000"/>
              <a:gd name="connsiteX833" fmla="*/ 6326959 w 7467600"/>
              <a:gd name="connsiteY833" fmla="*/ 1817686 h 6858000"/>
              <a:gd name="connsiteX834" fmla="*/ 6537433 w 7467600"/>
              <a:gd name="connsiteY834" fmla="*/ 1907790 h 6858000"/>
              <a:gd name="connsiteX835" fmla="*/ 6550221 w 7467600"/>
              <a:gd name="connsiteY835" fmla="*/ 1910729 h 6858000"/>
              <a:gd name="connsiteX836" fmla="*/ 6964438 w 7467600"/>
              <a:gd name="connsiteY836" fmla="*/ 2209505 h 6858000"/>
              <a:gd name="connsiteX837" fmla="*/ 7367862 w 7467600"/>
              <a:gd name="connsiteY837" fmla="*/ 2806833 h 6858000"/>
              <a:gd name="connsiteX838" fmla="*/ 7364329 w 7467600"/>
              <a:gd name="connsiteY838" fmla="*/ 2826907 h 6858000"/>
              <a:gd name="connsiteX839" fmla="*/ 7290545 w 7467600"/>
              <a:gd name="connsiteY839" fmla="*/ 2850663 h 6858000"/>
              <a:gd name="connsiteX840" fmla="*/ 6472036 w 7467600"/>
              <a:gd name="connsiteY840" fmla="*/ 1959003 h 6858000"/>
              <a:gd name="connsiteX841" fmla="*/ 5792897 w 7467600"/>
              <a:gd name="connsiteY841" fmla="*/ 1647747 h 6858000"/>
              <a:gd name="connsiteX842" fmla="*/ 5842751 w 7467600"/>
              <a:gd name="connsiteY842" fmla="*/ 1816112 h 6858000"/>
              <a:gd name="connsiteX843" fmla="*/ 5847424 w 7467600"/>
              <a:gd name="connsiteY843" fmla="*/ 1815776 h 6858000"/>
              <a:gd name="connsiteX844" fmla="*/ 6399821 w 7467600"/>
              <a:gd name="connsiteY844" fmla="*/ 2344799 h 6858000"/>
              <a:gd name="connsiteX845" fmla="*/ 6323232 w 7467600"/>
              <a:gd name="connsiteY845" fmla="*/ 2389634 h 6858000"/>
              <a:gd name="connsiteX846" fmla="*/ 5942958 w 7467600"/>
              <a:gd name="connsiteY846" fmla="*/ 2077708 h 6858000"/>
              <a:gd name="connsiteX847" fmla="*/ 5921559 w 7467600"/>
              <a:gd name="connsiteY847" fmla="*/ 2378596 h 6858000"/>
              <a:gd name="connsiteX848" fmla="*/ 5817651 w 7467600"/>
              <a:gd name="connsiteY848" fmla="*/ 3023919 h 6858000"/>
              <a:gd name="connsiteX849" fmla="*/ 5729634 w 7467600"/>
              <a:gd name="connsiteY849" fmla="*/ 3051849 h 6858000"/>
              <a:gd name="connsiteX850" fmla="*/ 5611018 w 7467600"/>
              <a:gd name="connsiteY850" fmla="*/ 2316769 h 6858000"/>
              <a:gd name="connsiteX851" fmla="*/ 5687608 w 7467600"/>
              <a:gd name="connsiteY851" fmla="*/ 2039972 h 6858000"/>
              <a:gd name="connsiteX852" fmla="*/ 5657554 w 7467600"/>
              <a:gd name="connsiteY852" fmla="*/ 1576445 h 6858000"/>
              <a:gd name="connsiteX853" fmla="*/ 5150475 w 7467600"/>
              <a:gd name="connsiteY853" fmla="*/ 1274012 h 6858000"/>
              <a:gd name="connsiteX854" fmla="*/ 5349142 w 7467600"/>
              <a:gd name="connsiteY854" fmla="*/ 2204405 h 6858000"/>
              <a:gd name="connsiteX855" fmla="*/ 5262214 w 7467600"/>
              <a:gd name="connsiteY855" fmla="*/ 2233836 h 6858000"/>
              <a:gd name="connsiteX856" fmla="*/ 4981539 w 7467600"/>
              <a:gd name="connsiteY856" fmla="*/ 1542201 h 6858000"/>
              <a:gd name="connsiteX857" fmla="*/ 4958461 w 7467600"/>
              <a:gd name="connsiteY857" fmla="*/ 1136957 h 6858000"/>
              <a:gd name="connsiteX858" fmla="*/ 4655015 w 7467600"/>
              <a:gd name="connsiteY858" fmla="*/ 891426 h 6858000"/>
              <a:gd name="connsiteX859" fmla="*/ 4348002 w 7467600"/>
              <a:gd name="connsiteY859" fmla="*/ 2205895 h 6858000"/>
              <a:gd name="connsiteX860" fmla="*/ 4262250 w 7467600"/>
              <a:gd name="connsiteY860" fmla="*/ 2219972 h 6858000"/>
              <a:gd name="connsiteX861" fmla="*/ 4550611 w 7467600"/>
              <a:gd name="connsiteY861" fmla="*/ 817540 h 6858000"/>
              <a:gd name="connsiteX862" fmla="*/ 4564418 w 7467600"/>
              <a:gd name="connsiteY862" fmla="*/ 808293 h 6858000"/>
              <a:gd name="connsiteX863" fmla="*/ 4266388 w 7467600"/>
              <a:gd name="connsiteY863" fmla="*/ 500083 h 6858000"/>
              <a:gd name="connsiteX864" fmla="*/ 4032842 w 7467600"/>
              <a:gd name="connsiteY864" fmla="*/ 211809 h 6858000"/>
              <a:gd name="connsiteX865" fmla="*/ 3882765 w 7467600"/>
              <a:gd name="connsiteY865" fmla="*/ 0 h 6858000"/>
              <a:gd name="connsiteX866" fmla="*/ 3721337 w 7467600"/>
              <a:gd name="connsiteY866" fmla="*/ 0 h 6858000"/>
              <a:gd name="connsiteX867" fmla="*/ 3797544 w 7467600"/>
              <a:gd name="connsiteY867" fmla="*/ 0 h 6858000"/>
              <a:gd name="connsiteX868" fmla="*/ 3775734 w 7467600"/>
              <a:gd name="connsiteY868" fmla="*/ 95131 h 6858000"/>
              <a:gd name="connsiteX869" fmla="*/ 3724807 w 7467600"/>
              <a:gd name="connsiteY869" fmla="*/ 272257 h 6858000"/>
              <a:gd name="connsiteX870" fmla="*/ 3726844 w 7467600"/>
              <a:gd name="connsiteY870" fmla="*/ 282988 h 6858000"/>
              <a:gd name="connsiteX871" fmla="*/ 3742664 w 7467600"/>
              <a:gd name="connsiteY871" fmla="*/ 279918 h 6858000"/>
              <a:gd name="connsiteX872" fmla="*/ 4103910 w 7467600"/>
              <a:gd name="connsiteY872" fmla="*/ 1161917 h 6858000"/>
              <a:gd name="connsiteX873" fmla="*/ 4020269 w 7467600"/>
              <a:gd name="connsiteY873" fmla="*/ 1200406 h 6858000"/>
              <a:gd name="connsiteX874" fmla="*/ 3674882 w 7467600"/>
              <a:gd name="connsiteY874" fmla="*/ 488524 h 6858000"/>
              <a:gd name="connsiteX875" fmla="*/ 3132682 w 7467600"/>
              <a:gd name="connsiteY875" fmla="*/ 1072284 h 6858000"/>
              <a:gd name="connsiteX876" fmla="*/ 2716346 w 7467600"/>
              <a:gd name="connsiteY876" fmla="*/ 1276376 h 6858000"/>
              <a:gd name="connsiteX877" fmla="*/ 2716772 w 7467600"/>
              <a:gd name="connsiteY877" fmla="*/ 1255462 h 6858000"/>
              <a:gd name="connsiteX878" fmla="*/ 3471096 w 7467600"/>
              <a:gd name="connsiteY878" fmla="*/ 437072 h 6858000"/>
              <a:gd name="connsiteX879" fmla="*/ 3639057 w 7467600"/>
              <a:gd name="connsiteY879" fmla="*/ 286334 h 6858000"/>
              <a:gd name="connsiteX880" fmla="*/ 3640309 w 7467600"/>
              <a:gd name="connsiteY880" fmla="*/ 284664 h 6858000"/>
              <a:gd name="connsiteX881" fmla="*/ 3646022 w 7467600"/>
              <a:gd name="connsiteY881" fmla="*/ 276711 h 6858000"/>
              <a:gd name="connsiteX882" fmla="*/ 3707943 w 7467600"/>
              <a:gd name="connsiteY882" fmla="*/ 65958 h 6858000"/>
              <a:gd name="connsiteX883" fmla="*/ 3721337 w 7467600"/>
              <a:gd name="connsiteY883" fmla="*/ 0 h 6858000"/>
              <a:gd name="connsiteX884" fmla="*/ 2867960 w 7467600"/>
              <a:gd name="connsiteY884" fmla="*/ 0 h 6858000"/>
              <a:gd name="connsiteX885" fmla="*/ 2926351 w 7467600"/>
              <a:gd name="connsiteY885" fmla="*/ 0 h 6858000"/>
              <a:gd name="connsiteX886" fmla="*/ 2902823 w 7467600"/>
              <a:gd name="connsiteY886" fmla="*/ 262929 h 6858000"/>
              <a:gd name="connsiteX887" fmla="*/ 2940663 w 7467600"/>
              <a:gd name="connsiteY887" fmla="*/ 140884 h 6858000"/>
              <a:gd name="connsiteX888" fmla="*/ 2947039 w 7467600"/>
              <a:gd name="connsiteY888" fmla="*/ 122524 h 6858000"/>
              <a:gd name="connsiteX889" fmla="*/ 2984316 w 7467600"/>
              <a:gd name="connsiteY889" fmla="*/ 0 h 6858000"/>
              <a:gd name="connsiteX890" fmla="*/ 3016114 w 7467600"/>
              <a:gd name="connsiteY890" fmla="*/ 0 h 6858000"/>
              <a:gd name="connsiteX891" fmla="*/ 2979949 w 7467600"/>
              <a:gd name="connsiteY891" fmla="*/ 119274 h 6858000"/>
              <a:gd name="connsiteX892" fmla="*/ 3023879 w 7467600"/>
              <a:gd name="connsiteY892" fmla="*/ 0 h 6858000"/>
              <a:gd name="connsiteX893" fmla="*/ 3105400 w 7467600"/>
              <a:gd name="connsiteY893" fmla="*/ 0 h 6858000"/>
              <a:gd name="connsiteX894" fmla="*/ 3094669 w 7467600"/>
              <a:gd name="connsiteY894" fmla="*/ 30308 h 6858000"/>
              <a:gd name="connsiteX895" fmla="*/ 2901945 w 7467600"/>
              <a:gd name="connsiteY895" fmla="*/ 466538 h 6858000"/>
              <a:gd name="connsiteX896" fmla="*/ 2815209 w 7467600"/>
              <a:gd name="connsiteY896" fmla="*/ 497361 h 6858000"/>
              <a:gd name="connsiteX897" fmla="*/ 2844845 w 7467600"/>
              <a:gd name="connsiteY897" fmla="*/ 127638 h 6858000"/>
              <a:gd name="connsiteX898" fmla="*/ 2867960 w 7467600"/>
              <a:gd name="connsiteY898" fmla="*/ 0 h 6858000"/>
              <a:gd name="connsiteX899" fmla="*/ 1057230 w 7467600"/>
              <a:gd name="connsiteY899" fmla="*/ 0 h 6858000"/>
              <a:gd name="connsiteX900" fmla="*/ 1111003 w 7467600"/>
              <a:gd name="connsiteY900" fmla="*/ 0 h 6858000"/>
              <a:gd name="connsiteX901" fmla="*/ 1125553 w 7467600"/>
              <a:gd name="connsiteY901" fmla="*/ 52588 h 6858000"/>
              <a:gd name="connsiteX902" fmla="*/ 1304276 w 7467600"/>
              <a:gd name="connsiteY902" fmla="*/ 476275 h 6858000"/>
              <a:gd name="connsiteX903" fmla="*/ 1492066 w 7467600"/>
              <a:gd name="connsiteY903" fmla="*/ 886333 h 6858000"/>
              <a:gd name="connsiteX904" fmla="*/ 1423698 w 7467600"/>
              <a:gd name="connsiteY904" fmla="*/ 710817 h 6858000"/>
              <a:gd name="connsiteX905" fmla="*/ 1357609 w 7467600"/>
              <a:gd name="connsiteY905" fmla="*/ 532892 h 6858000"/>
              <a:gd name="connsiteX906" fmla="*/ 1309550 w 7467600"/>
              <a:gd name="connsiteY906" fmla="*/ 374031 h 6858000"/>
              <a:gd name="connsiteX907" fmla="*/ 1193673 w 7467600"/>
              <a:gd name="connsiteY907" fmla="*/ 49533 h 6858000"/>
              <a:gd name="connsiteX908" fmla="*/ 1164391 w 7467600"/>
              <a:gd name="connsiteY908" fmla="*/ 0 h 6858000"/>
              <a:gd name="connsiteX909" fmla="*/ 1200666 w 7467600"/>
              <a:gd name="connsiteY909" fmla="*/ 0 h 6858000"/>
              <a:gd name="connsiteX910" fmla="*/ 1223408 w 7467600"/>
              <a:gd name="connsiteY910" fmla="*/ 38996 h 6858000"/>
              <a:gd name="connsiteX911" fmla="*/ 1339635 w 7467600"/>
              <a:gd name="connsiteY911" fmla="*/ 365517 h 6858000"/>
              <a:gd name="connsiteX912" fmla="*/ 1387469 w 7467600"/>
              <a:gd name="connsiteY912" fmla="*/ 523079 h 6858000"/>
              <a:gd name="connsiteX913" fmla="*/ 1452685 w 7467600"/>
              <a:gd name="connsiteY913" fmla="*/ 699806 h 6858000"/>
              <a:gd name="connsiteX914" fmla="*/ 1492092 w 7467600"/>
              <a:gd name="connsiteY914" fmla="*/ 800424 h 6858000"/>
              <a:gd name="connsiteX915" fmla="*/ 1455302 w 7467600"/>
              <a:gd name="connsiteY915" fmla="*/ 632913 h 6858000"/>
              <a:gd name="connsiteX916" fmla="*/ 1222336 w 7467600"/>
              <a:gd name="connsiteY916" fmla="*/ 9480 h 6858000"/>
              <a:gd name="connsiteX917" fmla="*/ 1214634 w 7467600"/>
              <a:gd name="connsiteY917" fmla="*/ 0 h 6858000"/>
              <a:gd name="connsiteX918" fmla="*/ 1289827 w 7467600"/>
              <a:gd name="connsiteY918" fmla="*/ 0 h 6858000"/>
              <a:gd name="connsiteX919" fmla="*/ 1321076 w 7467600"/>
              <a:gd name="connsiteY919" fmla="*/ 59722 h 6858000"/>
              <a:gd name="connsiteX920" fmla="*/ 1512579 w 7467600"/>
              <a:gd name="connsiteY920" fmla="*/ 626441 h 6858000"/>
              <a:gd name="connsiteX921" fmla="*/ 1506076 w 7467600"/>
              <a:gd name="connsiteY921" fmla="*/ 1089289 h 6858000"/>
              <a:gd name="connsiteX922" fmla="*/ 1486346 w 7467600"/>
              <a:gd name="connsiteY922" fmla="*/ 1079919 h 6858000"/>
              <a:gd name="connsiteX923" fmla="*/ 1070511 w 7467600"/>
              <a:gd name="connsiteY923" fmla="*/ 48609 h 6858000"/>
              <a:gd name="connsiteX924" fmla="*/ 1057230 w 7467600"/>
              <a:gd name="connsiteY924" fmla="*/ 0 h 6858000"/>
              <a:gd name="connsiteX925" fmla="*/ 43151 w 7467600"/>
              <a:gd name="connsiteY925" fmla="*/ 0 h 6858000"/>
              <a:gd name="connsiteX926" fmla="*/ 95283 w 7467600"/>
              <a:gd name="connsiteY926" fmla="*/ 0 h 6858000"/>
              <a:gd name="connsiteX927" fmla="*/ 300708 w 7467600"/>
              <a:gd name="connsiteY927" fmla="*/ 154571 h 6858000"/>
              <a:gd name="connsiteX928" fmla="*/ 530414 w 7467600"/>
              <a:gd name="connsiteY928" fmla="*/ 354673 h 6858000"/>
              <a:gd name="connsiteX929" fmla="*/ 333785 w 7467600"/>
              <a:gd name="connsiteY929" fmla="*/ 161564 h 6858000"/>
              <a:gd name="connsiteX930" fmla="*/ 147005 w 7467600"/>
              <a:gd name="connsiteY930" fmla="*/ 0 h 6858000"/>
              <a:gd name="connsiteX931" fmla="*/ 272509 w 7467600"/>
              <a:gd name="connsiteY931" fmla="*/ 0 h 6858000"/>
              <a:gd name="connsiteX932" fmla="*/ 326276 w 7467600"/>
              <a:gd name="connsiteY932" fmla="*/ 45847 h 6858000"/>
              <a:gd name="connsiteX933" fmla="*/ 823759 w 7467600"/>
              <a:gd name="connsiteY933" fmla="*/ 574145 h 6858000"/>
              <a:gd name="connsiteX934" fmla="*/ 811254 w 7467600"/>
              <a:gd name="connsiteY934" fmla="*/ 665546 h 6858000"/>
              <a:gd name="connsiteX935" fmla="*/ 154042 w 7467600"/>
              <a:gd name="connsiteY935" fmla="*/ 261522 h 6858000"/>
              <a:gd name="connsiteX936" fmla="*/ 13550 w 7467600"/>
              <a:gd name="connsiteY936" fmla="*/ 158423 h 6858000"/>
              <a:gd name="connsiteX937" fmla="*/ 0 w 7467600"/>
              <a:gd name="connsiteY937" fmla="*/ 146618 h 6858000"/>
              <a:gd name="connsiteX938" fmla="*/ 0 w 7467600"/>
              <a:gd name="connsiteY938" fmla="*/ 59161 h 6858000"/>
              <a:gd name="connsiteX939" fmla="*/ 45427 w 7467600"/>
              <a:gd name="connsiteY939" fmla="*/ 101078 h 6858000"/>
              <a:gd name="connsiteX940" fmla="*/ 630103 w 7467600"/>
              <a:gd name="connsiteY940" fmla="*/ 485885 h 6858000"/>
              <a:gd name="connsiteX941" fmla="*/ 532040 w 7467600"/>
              <a:gd name="connsiteY941" fmla="*/ 399359 h 6858000"/>
              <a:gd name="connsiteX942" fmla="*/ 517618 w 7467600"/>
              <a:gd name="connsiteY942" fmla="*/ 385726 h 6858000"/>
              <a:gd name="connsiteX943" fmla="*/ 285074 w 7467600"/>
              <a:gd name="connsiteY943" fmla="*/ 182755 h 6858000"/>
              <a:gd name="connsiteX944" fmla="*/ 43151 w 7467600"/>
              <a:gd name="connsiteY944"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289862 w 7467600"/>
              <a:gd name="connsiteY4" fmla="*/ 6659827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467600 w 7467600"/>
              <a:gd name="connsiteY10" fmla="*/ 6714215 h 6858000"/>
              <a:gd name="connsiteX11" fmla="*/ 7289862 w 7467600"/>
              <a:gd name="connsiteY11" fmla="*/ 6659827 h 6858000"/>
              <a:gd name="connsiteX12" fmla="*/ 1019354 w 7467600"/>
              <a:gd name="connsiteY12" fmla="*/ 6315006 h 6858000"/>
              <a:gd name="connsiteX13" fmla="*/ 441046 w 7467600"/>
              <a:gd name="connsiteY13" fmla="*/ 6691153 h 6858000"/>
              <a:gd name="connsiteX14" fmla="*/ 1019354 w 7467600"/>
              <a:gd name="connsiteY14" fmla="*/ 6315006 h 6858000"/>
              <a:gd name="connsiteX15" fmla="*/ 991680 w 7467600"/>
              <a:gd name="connsiteY15" fmla="*/ 6298413 h 6858000"/>
              <a:gd name="connsiteX16" fmla="*/ 409060 w 7467600"/>
              <a:gd name="connsiteY16" fmla="*/ 6671470 h 6858000"/>
              <a:gd name="connsiteX17" fmla="*/ 991680 w 7467600"/>
              <a:gd name="connsiteY17" fmla="*/ 6298413 h 6858000"/>
              <a:gd name="connsiteX18" fmla="*/ 103333 w 7467600"/>
              <a:gd name="connsiteY18" fmla="*/ 5699602 h 6858000"/>
              <a:gd name="connsiteX19" fmla="*/ 233938 w 7467600"/>
              <a:gd name="connsiteY19" fmla="*/ 5809416 h 6858000"/>
              <a:gd name="connsiteX20" fmla="*/ 883580 w 7467600"/>
              <a:gd name="connsiteY20" fmla="*/ 6180710 h 6858000"/>
              <a:gd name="connsiteX21" fmla="*/ 487337 w 7467600"/>
              <a:gd name="connsiteY21" fmla="*/ 5950182 h 6858000"/>
              <a:gd name="connsiteX22" fmla="*/ 354051 w 7467600"/>
              <a:gd name="connsiteY22" fmla="*/ 5854912 h 6858000"/>
              <a:gd name="connsiteX23" fmla="*/ 195436 w 7467600"/>
              <a:gd name="connsiteY23" fmla="*/ 5755068 h 6858000"/>
              <a:gd name="connsiteX24" fmla="*/ 103333 w 7467600"/>
              <a:gd name="connsiteY24" fmla="*/ 5699602 h 6858000"/>
              <a:gd name="connsiteX25" fmla="*/ 5539432 w 7467600"/>
              <a:gd name="connsiteY25" fmla="*/ 5642928 h 6858000"/>
              <a:gd name="connsiteX26" fmla="*/ 5555462 w 7467600"/>
              <a:gd name="connsiteY26" fmla="*/ 5694454 h 6858000"/>
              <a:gd name="connsiteX27" fmla="*/ 5828270 w 7467600"/>
              <a:gd name="connsiteY27" fmla="*/ 6320663 h 6858000"/>
              <a:gd name="connsiteX28" fmla="*/ 5947416 w 7467600"/>
              <a:gd name="connsiteY28" fmla="*/ 6574846 h 6858000"/>
              <a:gd name="connsiteX29" fmla="*/ 5539432 w 7467600"/>
              <a:gd name="connsiteY29" fmla="*/ 5642928 h 6858000"/>
              <a:gd name="connsiteX30" fmla="*/ 51253 w 7467600"/>
              <a:gd name="connsiteY30" fmla="*/ 5631825 h 6858000"/>
              <a:gd name="connsiteX31" fmla="*/ 211622 w 7467600"/>
              <a:gd name="connsiteY31" fmla="*/ 5728803 h 6858000"/>
              <a:gd name="connsiteX32" fmla="*/ 371652 w 7467600"/>
              <a:gd name="connsiteY32" fmla="*/ 5829062 h 6858000"/>
              <a:gd name="connsiteX33" fmla="*/ 505903 w 7467600"/>
              <a:gd name="connsiteY33" fmla="*/ 5925221 h 6858000"/>
              <a:gd name="connsiteX34" fmla="*/ 899240 w 7467600"/>
              <a:gd name="connsiteY34" fmla="*/ 6153068 h 6858000"/>
              <a:gd name="connsiteX35" fmla="*/ 988114 w 7467600"/>
              <a:gd name="connsiteY35" fmla="*/ 6174204 h 6858000"/>
              <a:gd name="connsiteX36" fmla="*/ 845971 w 7467600"/>
              <a:gd name="connsiteY36" fmla="*/ 6067177 h 6858000"/>
              <a:gd name="connsiteX37" fmla="*/ 448057 w 7467600"/>
              <a:gd name="connsiteY37" fmla="*/ 5841376 h 6858000"/>
              <a:gd name="connsiteX38" fmla="*/ 51253 w 7467600"/>
              <a:gd name="connsiteY38" fmla="*/ 5631825 h 6858000"/>
              <a:gd name="connsiteX39" fmla="*/ 2606687 w 7467600"/>
              <a:gd name="connsiteY39" fmla="*/ 5630718 h 6858000"/>
              <a:gd name="connsiteX40" fmla="*/ 2645658 w 7467600"/>
              <a:gd name="connsiteY40" fmla="*/ 6640259 h 6858000"/>
              <a:gd name="connsiteX41" fmla="*/ 2606687 w 7467600"/>
              <a:gd name="connsiteY41" fmla="*/ 5630718 h 6858000"/>
              <a:gd name="connsiteX42" fmla="*/ 3642057 w 7467600"/>
              <a:gd name="connsiteY42" fmla="*/ 5573487 h 6858000"/>
              <a:gd name="connsiteX43" fmla="*/ 3632981 w 7467600"/>
              <a:gd name="connsiteY43" fmla="*/ 5579437 h 6858000"/>
              <a:gd name="connsiteX44" fmla="*/ 3382436 w 7467600"/>
              <a:gd name="connsiteY44" fmla="*/ 5952726 h 6858000"/>
              <a:gd name="connsiteX45" fmla="*/ 3191929 w 7467600"/>
              <a:gd name="connsiteY45" fmla="*/ 6662669 h 6858000"/>
              <a:gd name="connsiteX46" fmla="*/ 3369898 w 7467600"/>
              <a:gd name="connsiteY46" fmla="*/ 6081771 h 6858000"/>
              <a:gd name="connsiteX47" fmla="*/ 3642057 w 7467600"/>
              <a:gd name="connsiteY47" fmla="*/ 5573487 h 6858000"/>
              <a:gd name="connsiteX48" fmla="*/ 2650666 w 7467600"/>
              <a:gd name="connsiteY48" fmla="*/ 5530686 h 6858000"/>
              <a:gd name="connsiteX49" fmla="*/ 2650249 w 7467600"/>
              <a:gd name="connsiteY49" fmla="*/ 5532101 h 6858000"/>
              <a:gd name="connsiteX50" fmla="*/ 2663808 w 7467600"/>
              <a:gd name="connsiteY50" fmla="*/ 6535215 h 6858000"/>
              <a:gd name="connsiteX51" fmla="*/ 2665418 w 7467600"/>
              <a:gd name="connsiteY51" fmla="*/ 6132756 h 6858000"/>
              <a:gd name="connsiteX52" fmla="*/ 2650666 w 7467600"/>
              <a:gd name="connsiteY52" fmla="*/ 5530686 h 6858000"/>
              <a:gd name="connsiteX53" fmla="*/ 2680277 w 7467600"/>
              <a:gd name="connsiteY53" fmla="*/ 5479204 h 6858000"/>
              <a:gd name="connsiteX54" fmla="*/ 2678972 w 7467600"/>
              <a:gd name="connsiteY54" fmla="*/ 5481582 h 6858000"/>
              <a:gd name="connsiteX55" fmla="*/ 2696666 w 7467600"/>
              <a:gd name="connsiteY55" fmla="*/ 6133836 h 6858000"/>
              <a:gd name="connsiteX56" fmla="*/ 2695769 w 7467600"/>
              <a:gd name="connsiteY56" fmla="*/ 6390955 h 6858000"/>
              <a:gd name="connsiteX57" fmla="*/ 2739893 w 7467600"/>
              <a:gd name="connsiteY57" fmla="*/ 6108357 h 6858000"/>
              <a:gd name="connsiteX58" fmla="*/ 2680277 w 7467600"/>
              <a:gd name="connsiteY58" fmla="*/ 5479204 h 6858000"/>
              <a:gd name="connsiteX59" fmla="*/ 1132195 w 7467600"/>
              <a:gd name="connsiteY59" fmla="*/ 5467980 h 6858000"/>
              <a:gd name="connsiteX60" fmla="*/ 1679056 w 7467600"/>
              <a:gd name="connsiteY60" fmla="*/ 5516907 h 6858000"/>
              <a:gd name="connsiteX61" fmla="*/ 2128648 w 7467600"/>
              <a:gd name="connsiteY61" fmla="*/ 5474249 h 6858000"/>
              <a:gd name="connsiteX62" fmla="*/ 1825619 w 7467600"/>
              <a:gd name="connsiteY62" fmla="*/ 5478447 h 6858000"/>
              <a:gd name="connsiteX63" fmla="*/ 1737798 w 7467600"/>
              <a:gd name="connsiteY63" fmla="*/ 5483353 h 6858000"/>
              <a:gd name="connsiteX64" fmla="*/ 1132195 w 7467600"/>
              <a:gd name="connsiteY64" fmla="*/ 5467980 h 6858000"/>
              <a:gd name="connsiteX65" fmla="*/ 1456157 w 7467600"/>
              <a:gd name="connsiteY65" fmla="*/ 5371404 h 6858000"/>
              <a:gd name="connsiteX66" fmla="*/ 1244432 w 7467600"/>
              <a:gd name="connsiteY66" fmla="*/ 5385601 h 6858000"/>
              <a:gd name="connsiteX67" fmla="*/ 973990 w 7467600"/>
              <a:gd name="connsiteY67" fmla="*/ 5424940 h 6858000"/>
              <a:gd name="connsiteX68" fmla="*/ 1103809 w 7467600"/>
              <a:gd name="connsiteY68" fmla="*/ 5433720 h 6858000"/>
              <a:gd name="connsiteX69" fmla="*/ 1123454 w 7467600"/>
              <a:gd name="connsiteY69" fmla="*/ 5435727 h 6858000"/>
              <a:gd name="connsiteX70" fmla="*/ 1737017 w 7467600"/>
              <a:gd name="connsiteY70" fmla="*/ 5452183 h 6858000"/>
              <a:gd name="connsiteX71" fmla="*/ 1824397 w 7467600"/>
              <a:gd name="connsiteY71" fmla="*/ 5447757 h 6858000"/>
              <a:gd name="connsiteX72" fmla="*/ 2070059 w 7467600"/>
              <a:gd name="connsiteY72" fmla="*/ 5441660 h 6858000"/>
              <a:gd name="connsiteX73" fmla="*/ 1456157 w 7467600"/>
              <a:gd name="connsiteY73" fmla="*/ 5371404 h 6858000"/>
              <a:gd name="connsiteX74" fmla="*/ 4988186 w 7467600"/>
              <a:gd name="connsiteY74" fmla="*/ 5216467 h 6858000"/>
              <a:gd name="connsiteX75" fmla="*/ 4777334 w 7467600"/>
              <a:gd name="connsiteY75" fmla="*/ 5406072 h 6858000"/>
              <a:gd name="connsiteX76" fmla="*/ 4718341 w 7467600"/>
              <a:gd name="connsiteY76" fmla="*/ 5468043 h 6858000"/>
              <a:gd name="connsiteX77" fmla="*/ 4604655 w 7467600"/>
              <a:gd name="connsiteY77" fmla="*/ 5583434 h 6858000"/>
              <a:gd name="connsiteX78" fmla="*/ 4565074 w 7467600"/>
              <a:gd name="connsiteY78" fmla="*/ 5618550 h 6858000"/>
              <a:gd name="connsiteX79" fmla="*/ 4988186 w 7467600"/>
              <a:gd name="connsiteY79" fmla="*/ 5216467 h 6858000"/>
              <a:gd name="connsiteX80" fmla="*/ 4978032 w 7467600"/>
              <a:gd name="connsiteY80" fmla="*/ 5183809 h 6858000"/>
              <a:gd name="connsiteX81" fmla="*/ 4463413 w 7467600"/>
              <a:gd name="connsiteY81" fmla="*/ 5615162 h 6858000"/>
              <a:gd name="connsiteX82" fmla="*/ 4358134 w 7467600"/>
              <a:gd name="connsiteY82" fmla="*/ 5742791 h 6858000"/>
              <a:gd name="connsiteX83" fmla="*/ 4376219 w 7467600"/>
              <a:gd name="connsiteY83" fmla="*/ 5729027 h 6858000"/>
              <a:gd name="connsiteX84" fmla="*/ 4582340 w 7467600"/>
              <a:gd name="connsiteY84" fmla="*/ 5561037 h 6858000"/>
              <a:gd name="connsiteX85" fmla="*/ 4694684 w 7467600"/>
              <a:gd name="connsiteY85" fmla="*/ 5447098 h 6858000"/>
              <a:gd name="connsiteX86" fmla="*/ 4754123 w 7467600"/>
              <a:gd name="connsiteY86" fmla="*/ 5384643 h 6858000"/>
              <a:gd name="connsiteX87" fmla="*/ 4978032 w 7467600"/>
              <a:gd name="connsiteY87" fmla="*/ 5183809 h 6858000"/>
              <a:gd name="connsiteX88" fmla="*/ 1903353 w 7467600"/>
              <a:gd name="connsiteY88" fmla="*/ 5044827 h 6858000"/>
              <a:gd name="connsiteX89" fmla="*/ 1936931 w 7467600"/>
              <a:gd name="connsiteY89" fmla="*/ 5093954 h 6858000"/>
              <a:gd name="connsiteX90" fmla="*/ 2195868 w 7467600"/>
              <a:gd name="connsiteY90" fmla="*/ 5396574 h 6858000"/>
              <a:gd name="connsiteX91" fmla="*/ 2088852 w 7467600"/>
              <a:gd name="connsiteY91" fmla="*/ 5166123 h 6858000"/>
              <a:gd name="connsiteX92" fmla="*/ 1958241 w 7467600"/>
              <a:gd name="connsiteY92" fmla="*/ 5067955 h 6858000"/>
              <a:gd name="connsiteX93" fmla="*/ 1903353 w 7467600"/>
              <a:gd name="connsiteY93" fmla="*/ 5044827 h 6858000"/>
              <a:gd name="connsiteX94" fmla="*/ 1979378 w 7467600"/>
              <a:gd name="connsiteY94" fmla="*/ 4769504 h 6858000"/>
              <a:gd name="connsiteX95" fmla="*/ 2882120 w 7467600"/>
              <a:gd name="connsiteY95" fmla="*/ 5064547 h 6858000"/>
              <a:gd name="connsiteX96" fmla="*/ 2793103 w 7467600"/>
              <a:gd name="connsiteY96" fmla="*/ 5039699 h 6858000"/>
              <a:gd name="connsiteX97" fmla="*/ 2770041 w 7467600"/>
              <a:gd name="connsiteY97" fmla="*/ 5033634 h 6858000"/>
              <a:gd name="connsiteX98" fmla="*/ 1979378 w 7467600"/>
              <a:gd name="connsiteY98" fmla="*/ 4769504 h 6858000"/>
              <a:gd name="connsiteX99" fmla="*/ 1927410 w 7467600"/>
              <a:gd name="connsiteY99" fmla="*/ 4716164 h 6858000"/>
              <a:gd name="connsiteX100" fmla="*/ 1959587 w 7467600"/>
              <a:gd name="connsiteY100" fmla="*/ 4728849 h 6858000"/>
              <a:gd name="connsiteX101" fmla="*/ 2777707 w 7467600"/>
              <a:gd name="connsiteY101" fmla="*/ 5003991 h 6858000"/>
              <a:gd name="connsiteX102" fmla="*/ 2800768 w 7467600"/>
              <a:gd name="connsiteY102" fmla="*/ 5010056 h 6858000"/>
              <a:gd name="connsiteX103" fmla="*/ 2879408 w 7467600"/>
              <a:gd name="connsiteY103" fmla="*/ 5031590 h 6858000"/>
              <a:gd name="connsiteX104" fmla="*/ 2862295 w 7467600"/>
              <a:gd name="connsiteY104" fmla="*/ 5022958 h 6858000"/>
              <a:gd name="connsiteX105" fmla="*/ 2813343 w 7467600"/>
              <a:gd name="connsiteY105" fmla="*/ 4998369 h 6858000"/>
              <a:gd name="connsiteX106" fmla="*/ 2646245 w 7467600"/>
              <a:gd name="connsiteY106" fmla="*/ 4930999 h 6858000"/>
              <a:gd name="connsiteX107" fmla="*/ 1999243 w 7467600"/>
              <a:gd name="connsiteY107" fmla="*/ 4730524 h 6858000"/>
              <a:gd name="connsiteX108" fmla="*/ 1979527 w 7467600"/>
              <a:gd name="connsiteY108" fmla="*/ 4726651 h 6858000"/>
              <a:gd name="connsiteX109" fmla="*/ 1927410 w 7467600"/>
              <a:gd name="connsiteY109" fmla="*/ 4716164 h 6858000"/>
              <a:gd name="connsiteX110" fmla="*/ 1997014 w 7467600"/>
              <a:gd name="connsiteY110" fmla="*/ 4698007 h 6858000"/>
              <a:gd name="connsiteX111" fmla="*/ 2005458 w 7467600"/>
              <a:gd name="connsiteY111" fmla="*/ 4699540 h 6858000"/>
              <a:gd name="connsiteX112" fmla="*/ 2657186 w 7467600"/>
              <a:gd name="connsiteY112" fmla="*/ 4901687 h 6858000"/>
              <a:gd name="connsiteX113" fmla="*/ 2826662 w 7467600"/>
              <a:gd name="connsiteY113" fmla="*/ 4970362 h 6858000"/>
              <a:gd name="connsiteX114" fmla="*/ 2876100 w 7467600"/>
              <a:gd name="connsiteY114" fmla="*/ 4995397 h 6858000"/>
              <a:gd name="connsiteX115" fmla="*/ 3042600 w 7467600"/>
              <a:gd name="connsiteY115" fmla="*/ 5059532 h 6858000"/>
              <a:gd name="connsiteX116" fmla="*/ 1997014 w 7467600"/>
              <a:gd name="connsiteY116" fmla="*/ 4698007 h 6858000"/>
              <a:gd name="connsiteX117" fmla="*/ 2305292 w 7467600"/>
              <a:gd name="connsiteY117" fmla="*/ 4219492 h 6858000"/>
              <a:gd name="connsiteX118" fmla="*/ 3360922 w 7467600"/>
              <a:gd name="connsiteY118" fmla="*/ 4529373 h 6858000"/>
              <a:gd name="connsiteX119" fmla="*/ 3492420 w 7467600"/>
              <a:gd name="connsiteY119" fmla="*/ 4510145 h 6858000"/>
              <a:gd name="connsiteX120" fmla="*/ 3364086 w 7467600"/>
              <a:gd name="connsiteY120" fmla="*/ 4480340 h 6858000"/>
              <a:gd name="connsiteX121" fmla="*/ 3225818 w 7467600"/>
              <a:gd name="connsiteY121" fmla="*/ 4411822 h 6858000"/>
              <a:gd name="connsiteX122" fmla="*/ 3129696 w 7467600"/>
              <a:gd name="connsiteY122" fmla="*/ 4360704 h 6858000"/>
              <a:gd name="connsiteX123" fmla="*/ 2814545 w 7467600"/>
              <a:gd name="connsiteY123" fmla="*/ 4282955 h 6858000"/>
              <a:gd name="connsiteX124" fmla="*/ 2305292 w 7467600"/>
              <a:gd name="connsiteY124" fmla="*/ 4219492 h 6858000"/>
              <a:gd name="connsiteX125" fmla="*/ 2626982 w 7467600"/>
              <a:gd name="connsiteY125" fmla="*/ 4206450 h 6858000"/>
              <a:gd name="connsiteX126" fmla="*/ 2490617 w 7467600"/>
              <a:gd name="connsiteY126" fmla="*/ 4206951 h 6858000"/>
              <a:gd name="connsiteX127" fmla="*/ 2819869 w 7467600"/>
              <a:gd name="connsiteY127" fmla="*/ 4252936 h 6858000"/>
              <a:gd name="connsiteX128" fmla="*/ 3143018 w 7467600"/>
              <a:gd name="connsiteY128" fmla="*/ 4332698 h 6858000"/>
              <a:gd name="connsiteX129" fmla="*/ 3241520 w 7467600"/>
              <a:gd name="connsiteY129" fmla="*/ 4385112 h 6858000"/>
              <a:gd name="connsiteX130" fmla="*/ 3374575 w 7467600"/>
              <a:gd name="connsiteY130" fmla="*/ 4451517 h 6858000"/>
              <a:gd name="connsiteX131" fmla="*/ 3505221 w 7467600"/>
              <a:gd name="connsiteY131" fmla="*/ 4480757 h 6858000"/>
              <a:gd name="connsiteX132" fmla="*/ 2626982 w 7467600"/>
              <a:gd name="connsiteY132" fmla="*/ 4206450 h 6858000"/>
              <a:gd name="connsiteX133" fmla="*/ 1310106 w 7467600"/>
              <a:gd name="connsiteY133" fmla="*/ 3943217 h 6858000"/>
              <a:gd name="connsiteX134" fmla="*/ 854994 w 7467600"/>
              <a:gd name="connsiteY134" fmla="*/ 4399136 h 6858000"/>
              <a:gd name="connsiteX135" fmla="*/ 742462 w 7467600"/>
              <a:gd name="connsiteY135" fmla="*/ 4594648 h 6858000"/>
              <a:gd name="connsiteX136" fmla="*/ 820602 w 7467600"/>
              <a:gd name="connsiteY136" fmla="*/ 4485915 h 6858000"/>
              <a:gd name="connsiteX137" fmla="*/ 878295 w 7467600"/>
              <a:gd name="connsiteY137" fmla="*/ 4403594 h 6858000"/>
              <a:gd name="connsiteX138" fmla="*/ 1240607 w 7467600"/>
              <a:gd name="connsiteY138" fmla="*/ 4010401 h 6858000"/>
              <a:gd name="connsiteX139" fmla="*/ 1310106 w 7467600"/>
              <a:gd name="connsiteY139" fmla="*/ 3943217 h 6858000"/>
              <a:gd name="connsiteX140" fmla="*/ 1423113 w 7467600"/>
              <a:gd name="connsiteY140" fmla="*/ 3874565 h 6858000"/>
              <a:gd name="connsiteX141" fmla="*/ 1260565 w 7467600"/>
              <a:gd name="connsiteY141" fmla="*/ 4031982 h 6858000"/>
              <a:gd name="connsiteX142" fmla="*/ 901900 w 7467600"/>
              <a:gd name="connsiteY142" fmla="*/ 4421236 h 6858000"/>
              <a:gd name="connsiteX143" fmla="*/ 845044 w 7467600"/>
              <a:gd name="connsiteY143" fmla="*/ 4502436 h 6858000"/>
              <a:gd name="connsiteX144" fmla="*/ 685926 w 7467600"/>
              <a:gd name="connsiteY144" fmla="*/ 4703069 h 6858000"/>
              <a:gd name="connsiteX145" fmla="*/ 684248 w 7467600"/>
              <a:gd name="connsiteY145" fmla="*/ 4706721 h 6858000"/>
              <a:gd name="connsiteX146" fmla="*/ 1423113 w 7467600"/>
              <a:gd name="connsiteY146" fmla="*/ 3874565 h 6858000"/>
              <a:gd name="connsiteX147" fmla="*/ 3316479 w 7467600"/>
              <a:gd name="connsiteY147" fmla="*/ 3872136 h 6858000"/>
              <a:gd name="connsiteX148" fmla="*/ 3546806 w 7467600"/>
              <a:gd name="connsiteY148" fmla="*/ 4356139 h 6858000"/>
              <a:gd name="connsiteX149" fmla="*/ 3364433 w 7467600"/>
              <a:gd name="connsiteY149" fmla="*/ 3953121 h 6858000"/>
              <a:gd name="connsiteX150" fmla="*/ 3316479 w 7467600"/>
              <a:gd name="connsiteY150" fmla="*/ 3872136 h 6858000"/>
              <a:gd name="connsiteX151" fmla="*/ 3291335 w 7467600"/>
              <a:gd name="connsiteY151" fmla="*/ 3767420 h 6858000"/>
              <a:gd name="connsiteX152" fmla="*/ 3390805 w 7467600"/>
              <a:gd name="connsiteY152" fmla="*/ 3937163 h 6858000"/>
              <a:gd name="connsiteX153" fmla="*/ 3579062 w 7467600"/>
              <a:gd name="connsiteY153" fmla="*/ 4359040 h 6858000"/>
              <a:gd name="connsiteX154" fmla="*/ 3467355 w 7467600"/>
              <a:gd name="connsiteY154" fmla="*/ 3988130 h 6858000"/>
              <a:gd name="connsiteX155" fmla="*/ 3310753 w 7467600"/>
              <a:gd name="connsiteY155" fmla="*/ 3787140 h 6858000"/>
              <a:gd name="connsiteX156" fmla="*/ 3291335 w 7467600"/>
              <a:gd name="connsiteY156" fmla="*/ 3767420 h 6858000"/>
              <a:gd name="connsiteX157" fmla="*/ 1635889 w 7467600"/>
              <a:gd name="connsiteY157" fmla="*/ 3709494 h 6858000"/>
              <a:gd name="connsiteX158" fmla="*/ 1634800 w 7467600"/>
              <a:gd name="connsiteY158" fmla="*/ 3731111 h 6858000"/>
              <a:gd name="connsiteX159" fmla="*/ 1635889 w 7467600"/>
              <a:gd name="connsiteY159" fmla="*/ 3709494 h 6858000"/>
              <a:gd name="connsiteX160" fmla="*/ 1510397 w 7467600"/>
              <a:gd name="connsiteY160" fmla="*/ 3684705 h 6858000"/>
              <a:gd name="connsiteX161" fmla="*/ 1146550 w 7467600"/>
              <a:gd name="connsiteY161" fmla="*/ 3802012 h 6858000"/>
              <a:gd name="connsiteX162" fmla="*/ 698834 w 7467600"/>
              <a:gd name="connsiteY162" fmla="*/ 3952272 h 6858000"/>
              <a:gd name="connsiteX163" fmla="*/ 34256 w 7467600"/>
              <a:gd name="connsiteY163" fmla="*/ 4347603 h 6858000"/>
              <a:gd name="connsiteX164" fmla="*/ 527241 w 7467600"/>
              <a:gd name="connsiteY164" fmla="*/ 4065078 h 6858000"/>
              <a:gd name="connsiteX165" fmla="*/ 1510397 w 7467600"/>
              <a:gd name="connsiteY165" fmla="*/ 3684705 h 6858000"/>
              <a:gd name="connsiteX166" fmla="*/ 1313114 w 7467600"/>
              <a:gd name="connsiteY166" fmla="*/ 3655216 h 6858000"/>
              <a:gd name="connsiteX167" fmla="*/ 1109304 w 7467600"/>
              <a:gd name="connsiteY167" fmla="*/ 3669030 h 6858000"/>
              <a:gd name="connsiteX168" fmla="*/ 8129 w 7467600"/>
              <a:gd name="connsiteY168" fmla="*/ 4330519 h 6858000"/>
              <a:gd name="connsiteX169" fmla="*/ 687572 w 7467600"/>
              <a:gd name="connsiteY169" fmla="*/ 3925629 h 6858000"/>
              <a:gd name="connsiteX170" fmla="*/ 1138365 w 7467600"/>
              <a:gd name="connsiteY170" fmla="*/ 3774515 h 6858000"/>
              <a:gd name="connsiteX171" fmla="*/ 1505579 w 7467600"/>
              <a:gd name="connsiteY171" fmla="*/ 3655526 h 6858000"/>
              <a:gd name="connsiteX172" fmla="*/ 1313114 w 7467600"/>
              <a:gd name="connsiteY172" fmla="*/ 3655216 h 6858000"/>
              <a:gd name="connsiteX173" fmla="*/ 3655073 w 7467600"/>
              <a:gd name="connsiteY173" fmla="*/ 3650884 h 6858000"/>
              <a:gd name="connsiteX174" fmla="*/ 3989938 w 7467600"/>
              <a:gd name="connsiteY174" fmla="*/ 3991685 h 6858000"/>
              <a:gd name="connsiteX175" fmla="*/ 4393907 w 7467600"/>
              <a:gd name="connsiteY175" fmla="*/ 4261258 h 6858000"/>
              <a:gd name="connsiteX176" fmla="*/ 4648051 w 7467600"/>
              <a:gd name="connsiteY176" fmla="*/ 4374051 h 6858000"/>
              <a:gd name="connsiteX177" fmla="*/ 4383389 w 7467600"/>
              <a:gd name="connsiteY177" fmla="*/ 4184369 h 6858000"/>
              <a:gd name="connsiteX178" fmla="*/ 4165508 w 7467600"/>
              <a:gd name="connsiteY178" fmla="*/ 4035196 h 6858000"/>
              <a:gd name="connsiteX179" fmla="*/ 4068162 w 7467600"/>
              <a:gd name="connsiteY179" fmla="*/ 3953394 h 6858000"/>
              <a:gd name="connsiteX180" fmla="*/ 3981416 w 7467600"/>
              <a:gd name="connsiteY180" fmla="*/ 3880482 h 6858000"/>
              <a:gd name="connsiteX181" fmla="*/ 3800147 w 7467600"/>
              <a:gd name="connsiteY181" fmla="*/ 3749872 h 6858000"/>
              <a:gd name="connsiteX182" fmla="*/ 3655073 w 7467600"/>
              <a:gd name="connsiteY182" fmla="*/ 3650884 h 6858000"/>
              <a:gd name="connsiteX183" fmla="*/ 3670252 w 7467600"/>
              <a:gd name="connsiteY183" fmla="*/ 3622798 h 6858000"/>
              <a:gd name="connsiteX184" fmla="*/ 3817258 w 7467600"/>
              <a:gd name="connsiteY184" fmla="*/ 3723577 h 6858000"/>
              <a:gd name="connsiteX185" fmla="*/ 4000461 w 7467600"/>
              <a:gd name="connsiteY185" fmla="*/ 3855966 h 6858000"/>
              <a:gd name="connsiteX186" fmla="*/ 4088180 w 7467600"/>
              <a:gd name="connsiteY186" fmla="*/ 3929774 h 6858000"/>
              <a:gd name="connsiteX187" fmla="*/ 4184555 w 7467600"/>
              <a:gd name="connsiteY187" fmla="*/ 4010683 h 6858000"/>
              <a:gd name="connsiteX188" fmla="*/ 4399563 w 7467600"/>
              <a:gd name="connsiteY188" fmla="*/ 4158106 h 6858000"/>
              <a:gd name="connsiteX189" fmla="*/ 4684469 w 7467600"/>
              <a:gd name="connsiteY189" fmla="*/ 4364680 h 6858000"/>
              <a:gd name="connsiteX190" fmla="*/ 4690271 w 7467600"/>
              <a:gd name="connsiteY190" fmla="*/ 4370034 h 6858000"/>
              <a:gd name="connsiteX191" fmla="*/ 4136093 w 7467600"/>
              <a:gd name="connsiteY191" fmla="*/ 3858466 h 6858000"/>
              <a:gd name="connsiteX192" fmla="*/ 3670252 w 7467600"/>
              <a:gd name="connsiteY192" fmla="*/ 3622798 h 6858000"/>
              <a:gd name="connsiteX193" fmla="*/ 4440129 w 7467600"/>
              <a:gd name="connsiteY193" fmla="*/ 3448571 h 6858000"/>
              <a:gd name="connsiteX194" fmla="*/ 4856525 w 7467600"/>
              <a:gd name="connsiteY194" fmla="*/ 3915351 h 6858000"/>
              <a:gd name="connsiteX195" fmla="*/ 5059055 w 7467600"/>
              <a:gd name="connsiteY195" fmla="*/ 4108918 h 6858000"/>
              <a:gd name="connsiteX196" fmla="*/ 5290070 w 7467600"/>
              <a:gd name="connsiteY196" fmla="*/ 4263619 h 6858000"/>
              <a:gd name="connsiteX197" fmla="*/ 4834991 w 7467600"/>
              <a:gd name="connsiteY197" fmla="*/ 3830985 h 6858000"/>
              <a:gd name="connsiteX198" fmla="*/ 4440129 w 7467600"/>
              <a:gd name="connsiteY198" fmla="*/ 3448571 h 6858000"/>
              <a:gd name="connsiteX199" fmla="*/ 4441737 w 7467600"/>
              <a:gd name="connsiteY199" fmla="*/ 3399734 h 6858000"/>
              <a:gd name="connsiteX200" fmla="*/ 4431236 w 7467600"/>
              <a:gd name="connsiteY200" fmla="*/ 3400954 h 6858000"/>
              <a:gd name="connsiteX201" fmla="*/ 4557150 w 7467600"/>
              <a:gd name="connsiteY201" fmla="*/ 3510023 h 6858000"/>
              <a:gd name="connsiteX202" fmla="*/ 4856936 w 7467600"/>
              <a:gd name="connsiteY202" fmla="*/ 3809146 h 6858000"/>
              <a:gd name="connsiteX203" fmla="*/ 5111996 w 7467600"/>
              <a:gd name="connsiteY203" fmla="*/ 4065759 h 6858000"/>
              <a:gd name="connsiteX204" fmla="*/ 5388878 w 7467600"/>
              <a:gd name="connsiteY204" fmla="*/ 4300185 h 6858000"/>
              <a:gd name="connsiteX205" fmla="*/ 5425556 w 7467600"/>
              <a:gd name="connsiteY205" fmla="*/ 4308967 h 6858000"/>
              <a:gd name="connsiteX206" fmla="*/ 4943646 w 7467600"/>
              <a:gd name="connsiteY206" fmla="*/ 3822916 h 6858000"/>
              <a:gd name="connsiteX207" fmla="*/ 4594837 w 7467600"/>
              <a:gd name="connsiteY207" fmla="*/ 3532274 h 6858000"/>
              <a:gd name="connsiteX208" fmla="*/ 4441737 w 7467600"/>
              <a:gd name="connsiteY208" fmla="*/ 3399734 h 6858000"/>
              <a:gd name="connsiteX209" fmla="*/ 5425834 w 7467600"/>
              <a:gd name="connsiteY209" fmla="*/ 3162785 h 6858000"/>
              <a:gd name="connsiteX210" fmla="*/ 5401644 w 7467600"/>
              <a:gd name="connsiteY210" fmla="*/ 3617847 h 6858000"/>
              <a:gd name="connsiteX211" fmla="*/ 5467256 w 7467600"/>
              <a:gd name="connsiteY211" fmla="*/ 4175494 h 6858000"/>
              <a:gd name="connsiteX212" fmla="*/ 5448069 w 7467600"/>
              <a:gd name="connsiteY212" fmla="*/ 3567554 h 6858000"/>
              <a:gd name="connsiteX213" fmla="*/ 5425834 w 7467600"/>
              <a:gd name="connsiteY213" fmla="*/ 3162785 h 6858000"/>
              <a:gd name="connsiteX214" fmla="*/ 1318687 w 7467600"/>
              <a:gd name="connsiteY214" fmla="*/ 3113840 h 6858000"/>
              <a:gd name="connsiteX215" fmla="*/ 1066793 w 7467600"/>
              <a:gd name="connsiteY215" fmla="*/ 3212171 h 6858000"/>
              <a:gd name="connsiteX216" fmla="*/ 993319 w 7467600"/>
              <a:gd name="connsiteY216" fmla="*/ 3247648 h 6858000"/>
              <a:gd name="connsiteX217" fmla="*/ 853081 w 7467600"/>
              <a:gd name="connsiteY217" fmla="*/ 3312410 h 6858000"/>
              <a:gd name="connsiteX218" fmla="*/ 805957 w 7467600"/>
              <a:gd name="connsiteY218" fmla="*/ 3330443 h 6858000"/>
              <a:gd name="connsiteX219" fmla="*/ 1318687 w 7467600"/>
              <a:gd name="connsiteY219" fmla="*/ 3113840 h 6858000"/>
              <a:gd name="connsiteX220" fmla="*/ 5453702 w 7467600"/>
              <a:gd name="connsiteY220" fmla="*/ 3090882 h 6858000"/>
              <a:gd name="connsiteX221" fmla="*/ 5480135 w 7467600"/>
              <a:gd name="connsiteY221" fmla="*/ 3565802 h 6858000"/>
              <a:gd name="connsiteX222" fmla="*/ 5499023 w 7467600"/>
              <a:gd name="connsiteY222" fmla="*/ 4166310 h 6858000"/>
              <a:gd name="connsiteX223" fmla="*/ 5547022 w 7467600"/>
              <a:gd name="connsiteY223" fmla="*/ 3607838 h 6858000"/>
              <a:gd name="connsiteX224" fmla="*/ 5515964 w 7467600"/>
              <a:gd name="connsiteY224" fmla="*/ 3378541 h 6858000"/>
              <a:gd name="connsiteX225" fmla="*/ 5453702 w 7467600"/>
              <a:gd name="connsiteY225" fmla="*/ 3090882 h 6858000"/>
              <a:gd name="connsiteX226" fmla="*/ 1238695 w 7467600"/>
              <a:gd name="connsiteY226" fmla="*/ 3076820 h 6858000"/>
              <a:gd name="connsiteX227" fmla="*/ 716371 w 7467600"/>
              <a:gd name="connsiteY227" fmla="*/ 3293249 h 6858000"/>
              <a:gd name="connsiteX228" fmla="*/ 579522 w 7467600"/>
              <a:gd name="connsiteY228" fmla="*/ 3371759 h 6858000"/>
              <a:gd name="connsiteX229" fmla="*/ 600288 w 7467600"/>
              <a:gd name="connsiteY229" fmla="*/ 3365555 h 6858000"/>
              <a:gd name="connsiteX230" fmla="*/ 840692 w 7467600"/>
              <a:gd name="connsiteY230" fmla="*/ 3284921 h 6858000"/>
              <a:gd name="connsiteX231" fmla="*/ 979248 w 7467600"/>
              <a:gd name="connsiteY231" fmla="*/ 3221003 h 6858000"/>
              <a:gd name="connsiteX232" fmla="*/ 1053282 w 7467600"/>
              <a:gd name="connsiteY232" fmla="*/ 3185247 h 6858000"/>
              <a:gd name="connsiteX233" fmla="*/ 1320603 w 7467600"/>
              <a:gd name="connsiteY233" fmla="*/ 3081281 h 6858000"/>
              <a:gd name="connsiteX234" fmla="*/ 1238695 w 7467600"/>
              <a:gd name="connsiteY234" fmla="*/ 3076820 h 6858000"/>
              <a:gd name="connsiteX235" fmla="*/ 5425627 w 7467600"/>
              <a:gd name="connsiteY235" fmla="*/ 2954192 h 6858000"/>
              <a:gd name="connsiteX236" fmla="*/ 5470770 w 7467600"/>
              <a:gd name="connsiteY236" fmla="*/ 3005435 h 6858000"/>
              <a:gd name="connsiteX237" fmla="*/ 5519779 w 7467600"/>
              <a:gd name="connsiteY237" fmla="*/ 4359223 h 6858000"/>
              <a:gd name="connsiteX238" fmla="*/ 5520293 w 7467600"/>
              <a:gd name="connsiteY238" fmla="*/ 4360602 h 6858000"/>
              <a:gd name="connsiteX239" fmla="*/ 5767221 w 7467600"/>
              <a:gd name="connsiteY239" fmla="*/ 4665564 h 6858000"/>
              <a:gd name="connsiteX240" fmla="*/ 6937169 w 7467600"/>
              <a:gd name="connsiteY240" fmla="*/ 4815941 h 6858000"/>
              <a:gd name="connsiteX241" fmla="*/ 6953922 w 7467600"/>
              <a:gd name="connsiteY241" fmla="*/ 4890068 h 6858000"/>
              <a:gd name="connsiteX242" fmla="*/ 6071359 w 7467600"/>
              <a:gd name="connsiteY242" fmla="*/ 4770770 h 6858000"/>
              <a:gd name="connsiteX243" fmla="*/ 6038839 w 7467600"/>
              <a:gd name="connsiteY243" fmla="*/ 4764474 h 6858000"/>
              <a:gd name="connsiteX244" fmla="*/ 6038706 w 7467600"/>
              <a:gd name="connsiteY244" fmla="*/ 4763847 h 6858000"/>
              <a:gd name="connsiteX245" fmla="*/ 6037784 w 7467600"/>
              <a:gd name="connsiteY245" fmla="*/ 4764270 h 6858000"/>
              <a:gd name="connsiteX246" fmla="*/ 6038839 w 7467600"/>
              <a:gd name="connsiteY246" fmla="*/ 4764474 h 6858000"/>
              <a:gd name="connsiteX247" fmla="*/ 6040338 w 7467600"/>
              <a:gd name="connsiteY247" fmla="*/ 4771418 h 6858000"/>
              <a:gd name="connsiteX248" fmla="*/ 6024488 w 7467600"/>
              <a:gd name="connsiteY248" fmla="*/ 4809903 h 6858000"/>
              <a:gd name="connsiteX249" fmla="*/ 5599771 w 7467600"/>
              <a:gd name="connsiteY249" fmla="*/ 5509652 h 6858000"/>
              <a:gd name="connsiteX250" fmla="*/ 5548843 w 7467600"/>
              <a:gd name="connsiteY250" fmla="*/ 5563845 h 6858000"/>
              <a:gd name="connsiteX251" fmla="*/ 5940952 w 7467600"/>
              <a:gd name="connsiteY251" fmla="*/ 6250028 h 6858000"/>
              <a:gd name="connsiteX252" fmla="*/ 6043441 w 7467600"/>
              <a:gd name="connsiteY252" fmla="*/ 6665847 h 6858000"/>
              <a:gd name="connsiteX253" fmla="*/ 6093432 w 7467600"/>
              <a:gd name="connsiteY253" fmla="*/ 6858000 h 6858000"/>
              <a:gd name="connsiteX254" fmla="*/ 6034344 w 7467600"/>
              <a:gd name="connsiteY254" fmla="*/ 6858000 h 6858000"/>
              <a:gd name="connsiteX255" fmla="*/ 6026679 w 7467600"/>
              <a:gd name="connsiteY255" fmla="*/ 6836959 h 6858000"/>
              <a:gd name="connsiteX256" fmla="*/ 5800441 w 7467600"/>
              <a:gd name="connsiteY256" fmla="*/ 6335286 h 6858000"/>
              <a:gd name="connsiteX257" fmla="*/ 5526562 w 7467600"/>
              <a:gd name="connsiteY257" fmla="*/ 5705388 h 6858000"/>
              <a:gd name="connsiteX258" fmla="*/ 5519640 w 7467600"/>
              <a:gd name="connsiteY258" fmla="*/ 5683774 h 6858000"/>
              <a:gd name="connsiteX259" fmla="*/ 5844559 w 7467600"/>
              <a:gd name="connsiteY259" fmla="*/ 6553349 h 6858000"/>
              <a:gd name="connsiteX260" fmla="*/ 5975994 w 7467600"/>
              <a:gd name="connsiteY260" fmla="*/ 6858000 h 6858000"/>
              <a:gd name="connsiteX261" fmla="*/ 5898547 w 7467600"/>
              <a:gd name="connsiteY261" fmla="*/ 6858000 h 6858000"/>
              <a:gd name="connsiteX262" fmla="*/ 5682041 w 7467600"/>
              <a:gd name="connsiteY262" fmla="*/ 6355860 h 6858000"/>
              <a:gd name="connsiteX263" fmla="*/ 5461758 w 7467600"/>
              <a:gd name="connsiteY263" fmla="*/ 5820220 h 6858000"/>
              <a:gd name="connsiteX264" fmla="*/ 5237282 w 7467600"/>
              <a:gd name="connsiteY264" fmla="*/ 6579086 h 6858000"/>
              <a:gd name="connsiteX265" fmla="*/ 5115009 w 7467600"/>
              <a:gd name="connsiteY265" fmla="*/ 6858000 h 6858000"/>
              <a:gd name="connsiteX266" fmla="*/ 5028074 w 7467600"/>
              <a:gd name="connsiteY266" fmla="*/ 6858000 h 6858000"/>
              <a:gd name="connsiteX267" fmla="*/ 5079508 w 7467600"/>
              <a:gd name="connsiteY267" fmla="*/ 6749074 h 6858000"/>
              <a:gd name="connsiteX268" fmla="*/ 5371846 w 7467600"/>
              <a:gd name="connsiteY268" fmla="*/ 5924413 h 6858000"/>
              <a:gd name="connsiteX269" fmla="*/ 5270512 w 7467600"/>
              <a:gd name="connsiteY269" fmla="*/ 6138975 h 6858000"/>
              <a:gd name="connsiteX270" fmla="*/ 5062409 w 7467600"/>
              <a:gd name="connsiteY270" fmla="*/ 6653544 h 6858000"/>
              <a:gd name="connsiteX271" fmla="*/ 5036628 w 7467600"/>
              <a:gd name="connsiteY271" fmla="*/ 6754247 h 6858000"/>
              <a:gd name="connsiteX272" fmla="*/ 5009112 w 7467600"/>
              <a:gd name="connsiteY272" fmla="*/ 6858000 h 6858000"/>
              <a:gd name="connsiteX273" fmla="*/ 4976679 w 7467600"/>
              <a:gd name="connsiteY273" fmla="*/ 6858000 h 6858000"/>
              <a:gd name="connsiteX274" fmla="*/ 5006537 w 7467600"/>
              <a:gd name="connsiteY274" fmla="*/ 6747068 h 6858000"/>
              <a:gd name="connsiteX275" fmla="*/ 5032723 w 7467600"/>
              <a:gd name="connsiteY275" fmla="*/ 6644957 h 6858000"/>
              <a:gd name="connsiteX276" fmla="*/ 5242949 w 7467600"/>
              <a:gd name="connsiteY276" fmla="*/ 6125175 h 6858000"/>
              <a:gd name="connsiteX277" fmla="*/ 5286321 w 7467600"/>
              <a:gd name="connsiteY277" fmla="*/ 6033555 h 6858000"/>
              <a:gd name="connsiteX278" fmla="*/ 5008210 w 7467600"/>
              <a:gd name="connsiteY278" fmla="*/ 6649194 h 6858000"/>
              <a:gd name="connsiteX279" fmla="*/ 4986321 w 7467600"/>
              <a:gd name="connsiteY279" fmla="*/ 6765687 h 6858000"/>
              <a:gd name="connsiteX280" fmla="*/ 4973474 w 7467600"/>
              <a:gd name="connsiteY280" fmla="*/ 6858000 h 6858000"/>
              <a:gd name="connsiteX281" fmla="*/ 4907178 w 7467600"/>
              <a:gd name="connsiteY281" fmla="*/ 6858000 h 6858000"/>
              <a:gd name="connsiteX282" fmla="*/ 4910810 w 7467600"/>
              <a:gd name="connsiteY282" fmla="*/ 6829660 h 6858000"/>
              <a:gd name="connsiteX283" fmla="*/ 4987461 w 7467600"/>
              <a:gd name="connsiteY283" fmla="*/ 6432994 h 6858000"/>
              <a:gd name="connsiteX284" fmla="*/ 5179262 w 7467600"/>
              <a:gd name="connsiteY284" fmla="*/ 6035044 h 6858000"/>
              <a:gd name="connsiteX285" fmla="*/ 4689678 w 7467600"/>
              <a:gd name="connsiteY285" fmla="*/ 6440241 h 6858000"/>
              <a:gd name="connsiteX286" fmla="*/ 4477543 w 7467600"/>
              <a:gd name="connsiteY286" fmla="*/ 6674836 h 6858000"/>
              <a:gd name="connsiteX287" fmla="*/ 4329957 w 7467600"/>
              <a:gd name="connsiteY287" fmla="*/ 6858000 h 6858000"/>
              <a:gd name="connsiteX288" fmla="*/ 4218595 w 7467600"/>
              <a:gd name="connsiteY288" fmla="*/ 6858000 h 6858000"/>
              <a:gd name="connsiteX289" fmla="*/ 4368888 w 7467600"/>
              <a:gd name="connsiteY289" fmla="*/ 6668412 h 6858000"/>
              <a:gd name="connsiteX290" fmla="*/ 4563091 w 7467600"/>
              <a:gd name="connsiteY290" fmla="*/ 6442508 h 6858000"/>
              <a:gd name="connsiteX291" fmla="*/ 5387324 w 7467600"/>
              <a:gd name="connsiteY291" fmla="*/ 5705830 h 6858000"/>
              <a:gd name="connsiteX292" fmla="*/ 5073620 w 7467600"/>
              <a:gd name="connsiteY292" fmla="*/ 5955437 h 6858000"/>
              <a:gd name="connsiteX293" fmla="*/ 4689789 w 7467600"/>
              <a:gd name="connsiteY293" fmla="*/ 6268382 h 6858000"/>
              <a:gd name="connsiteX294" fmla="*/ 4418722 w 7467600"/>
              <a:gd name="connsiteY294" fmla="*/ 6570886 h 6858000"/>
              <a:gd name="connsiteX295" fmla="*/ 4214944 w 7467600"/>
              <a:gd name="connsiteY295" fmla="*/ 6858000 h 6858000"/>
              <a:gd name="connsiteX296" fmla="*/ 4177898 w 7467600"/>
              <a:gd name="connsiteY296" fmla="*/ 6858000 h 6858000"/>
              <a:gd name="connsiteX297" fmla="*/ 4391597 w 7467600"/>
              <a:gd name="connsiteY297" fmla="*/ 6556370 h 6858000"/>
              <a:gd name="connsiteX298" fmla="*/ 4668889 w 7467600"/>
              <a:gd name="connsiteY298" fmla="*/ 6246399 h 6858000"/>
              <a:gd name="connsiteX299" fmla="*/ 5055427 w 7467600"/>
              <a:gd name="connsiteY299" fmla="*/ 5931476 h 6858000"/>
              <a:gd name="connsiteX300" fmla="*/ 5371814 w 7467600"/>
              <a:gd name="connsiteY300" fmla="*/ 5678975 h 6858000"/>
              <a:gd name="connsiteX301" fmla="*/ 4987918 w 7467600"/>
              <a:gd name="connsiteY301" fmla="*/ 5838701 h 6858000"/>
              <a:gd name="connsiteX302" fmla="*/ 4317146 w 7467600"/>
              <a:gd name="connsiteY302" fmla="*/ 6587716 h 6858000"/>
              <a:gd name="connsiteX303" fmla="*/ 4171627 w 7467600"/>
              <a:gd name="connsiteY303" fmla="*/ 6858000 h 6858000"/>
              <a:gd name="connsiteX304" fmla="*/ 4081585 w 7467600"/>
              <a:gd name="connsiteY304" fmla="*/ 6858000 h 6858000"/>
              <a:gd name="connsiteX305" fmla="*/ 4238603 w 7467600"/>
              <a:gd name="connsiteY305" fmla="*/ 6559341 h 6858000"/>
              <a:gd name="connsiteX306" fmla="*/ 4778333 w 7467600"/>
              <a:gd name="connsiteY306" fmla="*/ 5873626 h 6858000"/>
              <a:gd name="connsiteX307" fmla="*/ 5414185 w 7467600"/>
              <a:gd name="connsiteY307" fmla="*/ 5573882 h 6858000"/>
              <a:gd name="connsiteX308" fmla="*/ 5959648 w 7467600"/>
              <a:gd name="connsiteY308" fmla="*/ 4760797 h 6858000"/>
              <a:gd name="connsiteX309" fmla="*/ 5355019 w 7467600"/>
              <a:gd name="connsiteY309" fmla="*/ 4734672 h 6858000"/>
              <a:gd name="connsiteX310" fmla="*/ 5083565 w 7467600"/>
              <a:gd name="connsiteY310" fmla="*/ 5179121 h 6858000"/>
              <a:gd name="connsiteX311" fmla="*/ 4713577 w 7467600"/>
              <a:gd name="connsiteY311" fmla="*/ 5616803 h 6858000"/>
              <a:gd name="connsiteX312" fmla="*/ 3989559 w 7467600"/>
              <a:gd name="connsiteY312" fmla="*/ 6145945 h 6858000"/>
              <a:gd name="connsiteX313" fmla="*/ 3939824 w 7467600"/>
              <a:gd name="connsiteY313" fmla="*/ 6066900 h 6858000"/>
              <a:gd name="connsiteX314" fmla="*/ 4584537 w 7467600"/>
              <a:gd name="connsiteY314" fmla="*/ 5324826 h 6858000"/>
              <a:gd name="connsiteX315" fmla="*/ 5037105 w 7467600"/>
              <a:gd name="connsiteY315" fmla="*/ 5088765 h 6858000"/>
              <a:gd name="connsiteX316" fmla="*/ 5039930 w 7467600"/>
              <a:gd name="connsiteY316" fmla="*/ 5089585 h 6858000"/>
              <a:gd name="connsiteX317" fmla="*/ 5263764 w 7467600"/>
              <a:gd name="connsiteY317" fmla="*/ 4735525 h 6858000"/>
              <a:gd name="connsiteX318" fmla="*/ 4086300 w 7467600"/>
              <a:gd name="connsiteY318" fmla="*/ 4884599 h 6858000"/>
              <a:gd name="connsiteX319" fmla="*/ 4085485 w 7467600"/>
              <a:gd name="connsiteY319" fmla="*/ 4899070 h 6858000"/>
              <a:gd name="connsiteX320" fmla="*/ 3871915 w 7467600"/>
              <a:gd name="connsiteY320" fmla="*/ 5253645 h 6858000"/>
              <a:gd name="connsiteX321" fmla="*/ 3799374 w 7467600"/>
              <a:gd name="connsiteY321" fmla="*/ 5466127 h 6858000"/>
              <a:gd name="connsiteX322" fmla="*/ 3498850 w 7467600"/>
              <a:gd name="connsiteY322" fmla="*/ 6661888 h 6858000"/>
              <a:gd name="connsiteX323" fmla="*/ 3399216 w 7467600"/>
              <a:gd name="connsiteY323" fmla="*/ 6858000 h 6858000"/>
              <a:gd name="connsiteX324" fmla="*/ 3303688 w 7467600"/>
              <a:gd name="connsiteY324" fmla="*/ 6858000 h 6858000"/>
              <a:gd name="connsiteX325" fmla="*/ 3391774 w 7467600"/>
              <a:gd name="connsiteY325" fmla="*/ 6697181 h 6858000"/>
              <a:gd name="connsiteX326" fmla="*/ 3735540 w 7467600"/>
              <a:gd name="connsiteY326" fmla="*/ 5546923 h 6858000"/>
              <a:gd name="connsiteX327" fmla="*/ 3729438 w 7467600"/>
              <a:gd name="connsiteY327" fmla="*/ 5569058 h 6858000"/>
              <a:gd name="connsiteX328" fmla="*/ 3707782 w 7467600"/>
              <a:gd name="connsiteY328" fmla="*/ 5644908 h 6858000"/>
              <a:gd name="connsiteX329" fmla="*/ 3583827 w 7467600"/>
              <a:gd name="connsiteY329" fmla="*/ 6039215 h 6858000"/>
              <a:gd name="connsiteX330" fmla="*/ 3547861 w 7467600"/>
              <a:gd name="connsiteY330" fmla="*/ 6129609 h 6858000"/>
              <a:gd name="connsiteX331" fmla="*/ 3490905 w 7467600"/>
              <a:gd name="connsiteY331" fmla="*/ 6277660 h 6858000"/>
              <a:gd name="connsiteX332" fmla="*/ 3455859 w 7467600"/>
              <a:gd name="connsiteY332" fmla="*/ 6391301 h 6858000"/>
              <a:gd name="connsiteX333" fmla="*/ 3429112 w 7467600"/>
              <a:gd name="connsiteY333" fmla="*/ 6479469 h 6858000"/>
              <a:gd name="connsiteX334" fmla="*/ 3304862 w 7467600"/>
              <a:gd name="connsiteY334" fmla="*/ 6796476 h 6858000"/>
              <a:gd name="connsiteX335" fmla="*/ 3276071 w 7467600"/>
              <a:gd name="connsiteY335" fmla="*/ 6858000 h 6858000"/>
              <a:gd name="connsiteX336" fmla="*/ 3240805 w 7467600"/>
              <a:gd name="connsiteY336" fmla="*/ 6858000 h 6858000"/>
              <a:gd name="connsiteX337" fmla="*/ 3275917 w 7467600"/>
              <a:gd name="connsiteY337" fmla="*/ 6783192 h 6858000"/>
              <a:gd name="connsiteX338" fmla="*/ 3399358 w 7467600"/>
              <a:gd name="connsiteY338" fmla="*/ 6469011 h 6858000"/>
              <a:gd name="connsiteX339" fmla="*/ 3425650 w 7467600"/>
              <a:gd name="connsiteY339" fmla="*/ 6381333 h 6858000"/>
              <a:gd name="connsiteX340" fmla="*/ 3460661 w 7467600"/>
              <a:gd name="connsiteY340" fmla="*/ 6266763 h 6858000"/>
              <a:gd name="connsiteX341" fmla="*/ 3518021 w 7467600"/>
              <a:gd name="connsiteY341" fmla="*/ 6117298 h 6858000"/>
              <a:gd name="connsiteX342" fmla="*/ 3554035 w 7467600"/>
              <a:gd name="connsiteY342" fmla="*/ 6027832 h 6858000"/>
              <a:gd name="connsiteX343" fmla="*/ 3677174 w 7467600"/>
              <a:gd name="connsiteY343" fmla="*/ 5636351 h 6858000"/>
              <a:gd name="connsiteX344" fmla="*/ 3698819 w 7467600"/>
              <a:gd name="connsiteY344" fmla="*/ 5560503 h 6858000"/>
              <a:gd name="connsiteX345" fmla="*/ 3702094 w 7467600"/>
              <a:gd name="connsiteY345" fmla="*/ 5549194 h 6858000"/>
              <a:gd name="connsiteX346" fmla="*/ 3398355 w 7467600"/>
              <a:gd name="connsiteY346" fmla="*/ 6094603 h 6858000"/>
              <a:gd name="connsiteX347" fmla="*/ 3193941 w 7467600"/>
              <a:gd name="connsiteY347" fmla="*/ 6798775 h 6858000"/>
              <a:gd name="connsiteX348" fmla="*/ 3184140 w 7467600"/>
              <a:gd name="connsiteY348" fmla="*/ 6858000 h 6858000"/>
              <a:gd name="connsiteX349" fmla="*/ 3099978 w 7467600"/>
              <a:gd name="connsiteY349" fmla="*/ 6858000 h 6858000"/>
              <a:gd name="connsiteX350" fmla="*/ 3101556 w 7467600"/>
              <a:gd name="connsiteY350" fmla="*/ 6843337 h 6858000"/>
              <a:gd name="connsiteX351" fmla="*/ 3370162 w 7467600"/>
              <a:gd name="connsiteY351" fmla="*/ 5785550 h 6858000"/>
              <a:gd name="connsiteX352" fmla="*/ 3746477 w 7467600"/>
              <a:gd name="connsiteY352" fmla="*/ 5377889 h 6858000"/>
              <a:gd name="connsiteX353" fmla="*/ 3863399 w 7467600"/>
              <a:gd name="connsiteY353" fmla="*/ 5087257 h 6858000"/>
              <a:gd name="connsiteX354" fmla="*/ 3968712 w 7467600"/>
              <a:gd name="connsiteY354" fmla="*/ 4913989 h 6858000"/>
              <a:gd name="connsiteX355" fmla="*/ 2792390 w 7467600"/>
              <a:gd name="connsiteY355" fmla="*/ 5382974 h 6858000"/>
              <a:gd name="connsiteX356" fmla="*/ 2714982 w 7467600"/>
              <a:gd name="connsiteY356" fmla="*/ 5427051 h 6858000"/>
              <a:gd name="connsiteX357" fmla="*/ 2813361 w 7467600"/>
              <a:gd name="connsiteY357" fmla="*/ 6023912 h 6858000"/>
              <a:gd name="connsiteX358" fmla="*/ 2688430 w 7467600"/>
              <a:gd name="connsiteY358" fmla="*/ 6801564 h 6858000"/>
              <a:gd name="connsiteX359" fmla="*/ 2629626 w 7467600"/>
              <a:gd name="connsiteY359" fmla="*/ 6763394 h 6858000"/>
              <a:gd name="connsiteX360" fmla="*/ 2565328 w 7467600"/>
              <a:gd name="connsiteY360" fmla="*/ 5516399 h 6858000"/>
              <a:gd name="connsiteX361" fmla="*/ 1922999 w 7467600"/>
              <a:gd name="connsiteY361" fmla="*/ 5980343 h 6858000"/>
              <a:gd name="connsiteX362" fmla="*/ 1950261 w 7467600"/>
              <a:gd name="connsiteY362" fmla="*/ 6405858 h 6858000"/>
              <a:gd name="connsiteX363" fmla="*/ 2365554 w 7467600"/>
              <a:gd name="connsiteY363" fmla="*/ 6759107 h 6858000"/>
              <a:gd name="connsiteX364" fmla="*/ 2424142 w 7467600"/>
              <a:gd name="connsiteY364" fmla="*/ 6858000 h 6858000"/>
              <a:gd name="connsiteX365" fmla="*/ 2395994 w 7467600"/>
              <a:gd name="connsiteY365" fmla="*/ 6858000 h 6858000"/>
              <a:gd name="connsiteX366" fmla="*/ 2392863 w 7467600"/>
              <a:gd name="connsiteY366" fmla="*/ 6852964 h 6858000"/>
              <a:gd name="connsiteX367" fmla="*/ 2017589 w 7467600"/>
              <a:gd name="connsiteY367" fmla="*/ 6493982 h 6858000"/>
              <a:gd name="connsiteX368" fmla="*/ 2147336 w 7467600"/>
              <a:gd name="connsiteY368" fmla="*/ 6594052 h 6858000"/>
              <a:gd name="connsiteX369" fmla="*/ 2207047 w 7467600"/>
              <a:gd name="connsiteY369" fmla="*/ 6654540 h 6858000"/>
              <a:gd name="connsiteX370" fmla="*/ 2299106 w 7467600"/>
              <a:gd name="connsiteY370" fmla="*/ 6778931 h 6858000"/>
              <a:gd name="connsiteX371" fmla="*/ 2314430 w 7467600"/>
              <a:gd name="connsiteY371" fmla="*/ 6801144 h 6858000"/>
              <a:gd name="connsiteX372" fmla="*/ 2352406 w 7467600"/>
              <a:gd name="connsiteY372" fmla="*/ 6858000 h 6858000"/>
              <a:gd name="connsiteX373" fmla="*/ 2314492 w 7467600"/>
              <a:gd name="connsiteY373" fmla="*/ 6858000 h 6858000"/>
              <a:gd name="connsiteX374" fmla="*/ 2288095 w 7467600"/>
              <a:gd name="connsiteY374" fmla="*/ 6818030 h 6858000"/>
              <a:gd name="connsiteX375" fmla="*/ 2272768 w 7467600"/>
              <a:gd name="connsiteY375" fmla="*/ 6795822 h 6858000"/>
              <a:gd name="connsiteX376" fmla="*/ 2182715 w 7467600"/>
              <a:gd name="connsiteY376" fmla="*/ 6675071 h 6858000"/>
              <a:gd name="connsiteX377" fmla="*/ 2032061 w 7467600"/>
              <a:gd name="connsiteY377" fmla="*/ 6541380 h 6858000"/>
              <a:gd name="connsiteX378" fmla="*/ 2257220 w 7467600"/>
              <a:gd name="connsiteY378" fmla="*/ 6826257 h 6858000"/>
              <a:gd name="connsiteX379" fmla="*/ 2281324 w 7467600"/>
              <a:gd name="connsiteY379" fmla="*/ 6858000 h 6858000"/>
              <a:gd name="connsiteX380" fmla="*/ 2242860 w 7467600"/>
              <a:gd name="connsiteY380" fmla="*/ 6858000 h 6858000"/>
              <a:gd name="connsiteX381" fmla="*/ 2232818 w 7467600"/>
              <a:gd name="connsiteY381" fmla="*/ 6844926 h 6858000"/>
              <a:gd name="connsiteX382" fmla="*/ 1990172 w 7467600"/>
              <a:gd name="connsiteY382" fmla="*/ 6542121 h 6858000"/>
              <a:gd name="connsiteX383" fmla="*/ 2124090 w 7467600"/>
              <a:gd name="connsiteY383" fmla="*/ 6761017 h 6858000"/>
              <a:gd name="connsiteX384" fmla="*/ 2200380 w 7467600"/>
              <a:gd name="connsiteY384" fmla="*/ 6858000 h 6858000"/>
              <a:gd name="connsiteX385" fmla="*/ 2147507 w 7467600"/>
              <a:gd name="connsiteY385" fmla="*/ 6858000 h 6858000"/>
              <a:gd name="connsiteX386" fmla="*/ 2070668 w 7467600"/>
              <a:gd name="connsiteY386" fmla="*/ 6761520 h 6858000"/>
              <a:gd name="connsiteX387" fmla="*/ 1975142 w 7467600"/>
              <a:gd name="connsiteY387" fmla="*/ 6585570 h 6858000"/>
              <a:gd name="connsiteX388" fmla="*/ 2050035 w 7467600"/>
              <a:gd name="connsiteY388" fmla="*/ 6813345 h 6858000"/>
              <a:gd name="connsiteX389" fmla="*/ 2063025 w 7467600"/>
              <a:gd name="connsiteY389" fmla="*/ 6858000 h 6858000"/>
              <a:gd name="connsiteX390" fmla="*/ 2021675 w 7467600"/>
              <a:gd name="connsiteY390" fmla="*/ 6858000 h 6858000"/>
              <a:gd name="connsiteX391" fmla="*/ 2019308 w 7467600"/>
              <a:gd name="connsiteY391" fmla="*/ 6847118 h 6858000"/>
              <a:gd name="connsiteX392" fmla="*/ 1938835 w 7467600"/>
              <a:gd name="connsiteY392" fmla="*/ 6551160 h 6858000"/>
              <a:gd name="connsiteX393" fmla="*/ 1953230 w 7467600"/>
              <a:gd name="connsiteY393" fmla="*/ 6759699 h 6858000"/>
              <a:gd name="connsiteX394" fmla="*/ 1956763 w 7467600"/>
              <a:gd name="connsiteY394" fmla="*/ 6778191 h 6858000"/>
              <a:gd name="connsiteX395" fmla="*/ 1967925 w 7467600"/>
              <a:gd name="connsiteY395" fmla="*/ 6858000 h 6858000"/>
              <a:gd name="connsiteX396" fmla="*/ 1936622 w 7467600"/>
              <a:gd name="connsiteY396" fmla="*/ 6858000 h 6858000"/>
              <a:gd name="connsiteX397" fmla="*/ 1926261 w 7467600"/>
              <a:gd name="connsiteY397" fmla="*/ 6784064 h 6858000"/>
              <a:gd name="connsiteX398" fmla="*/ 1922724 w 7467600"/>
              <a:gd name="connsiteY398" fmla="*/ 6765577 h 6858000"/>
              <a:gd name="connsiteX399" fmla="*/ 1904650 w 7467600"/>
              <a:gd name="connsiteY399" fmla="*/ 6639616 h 6858000"/>
              <a:gd name="connsiteX400" fmla="*/ 1885273 w 7467600"/>
              <a:gd name="connsiteY400" fmla="*/ 6858000 h 6858000"/>
              <a:gd name="connsiteX401" fmla="*/ 1854363 w 7467600"/>
              <a:gd name="connsiteY401" fmla="*/ 6858000 h 6858000"/>
              <a:gd name="connsiteX402" fmla="*/ 1880391 w 7467600"/>
              <a:gd name="connsiteY402" fmla="*/ 6603796 h 6858000"/>
              <a:gd name="connsiteX403" fmla="*/ 1818273 w 7467600"/>
              <a:gd name="connsiteY403" fmla="*/ 6715729 h 6858000"/>
              <a:gd name="connsiteX404" fmla="*/ 1794691 w 7467600"/>
              <a:gd name="connsiteY404" fmla="*/ 6843239 h 6858000"/>
              <a:gd name="connsiteX405" fmla="*/ 1794914 w 7467600"/>
              <a:gd name="connsiteY405" fmla="*/ 6858000 h 6858000"/>
              <a:gd name="connsiteX406" fmla="*/ 1746128 w 7467600"/>
              <a:gd name="connsiteY406" fmla="*/ 6858000 h 6858000"/>
              <a:gd name="connsiteX407" fmla="*/ 1753934 w 7467600"/>
              <a:gd name="connsiteY407" fmla="*/ 6724796 h 6858000"/>
              <a:gd name="connsiteX408" fmla="*/ 1792053 w 7467600"/>
              <a:gd name="connsiteY408" fmla="*/ 6572396 h 6858000"/>
              <a:gd name="connsiteX409" fmla="*/ 1862248 w 7467600"/>
              <a:gd name="connsiteY409" fmla="*/ 6266397 h 6858000"/>
              <a:gd name="connsiteX410" fmla="*/ 1862250 w 7467600"/>
              <a:gd name="connsiteY410" fmla="*/ 6033531 h 6858000"/>
              <a:gd name="connsiteX411" fmla="*/ 1211999 w 7467600"/>
              <a:gd name="connsiteY411" fmla="*/ 6683610 h 6858000"/>
              <a:gd name="connsiteX412" fmla="*/ 1213266 w 7467600"/>
              <a:gd name="connsiteY412" fmla="*/ 6691947 h 6858000"/>
              <a:gd name="connsiteX413" fmla="*/ 1203370 w 7467600"/>
              <a:gd name="connsiteY413" fmla="*/ 6850676 h 6858000"/>
              <a:gd name="connsiteX414" fmla="*/ 1203671 w 7467600"/>
              <a:gd name="connsiteY414" fmla="*/ 6858000 h 6858000"/>
              <a:gd name="connsiteX415" fmla="*/ 1143180 w 7467600"/>
              <a:gd name="connsiteY415" fmla="*/ 6858000 h 6858000"/>
              <a:gd name="connsiteX416" fmla="*/ 1142176 w 7467600"/>
              <a:gd name="connsiteY416" fmla="*/ 6766045 h 6858000"/>
              <a:gd name="connsiteX417" fmla="*/ 1067484 w 7467600"/>
              <a:gd name="connsiteY417" fmla="*/ 6858000 h 6858000"/>
              <a:gd name="connsiteX418" fmla="*/ 953928 w 7467600"/>
              <a:gd name="connsiteY418" fmla="*/ 6858000 h 6858000"/>
              <a:gd name="connsiteX419" fmla="*/ 959715 w 7467600"/>
              <a:gd name="connsiteY419" fmla="*/ 6850185 h 6858000"/>
              <a:gd name="connsiteX420" fmla="*/ 1483788 w 7467600"/>
              <a:gd name="connsiteY420" fmla="*/ 6259174 h 6858000"/>
              <a:gd name="connsiteX421" fmla="*/ 1100671 w 7467600"/>
              <a:gd name="connsiteY421" fmla="*/ 6252137 h 6858000"/>
              <a:gd name="connsiteX422" fmla="*/ 1090144 w 7467600"/>
              <a:gd name="connsiteY422" fmla="*/ 6256748 h 6858000"/>
              <a:gd name="connsiteX423" fmla="*/ 1095872 w 7467600"/>
              <a:gd name="connsiteY423" fmla="*/ 6271892 h 6858000"/>
              <a:gd name="connsiteX424" fmla="*/ 262785 w 7467600"/>
              <a:gd name="connsiteY424" fmla="*/ 6845450 h 6858000"/>
              <a:gd name="connsiteX425" fmla="*/ 209968 w 7467600"/>
              <a:gd name="connsiteY425" fmla="*/ 6770713 h 6858000"/>
              <a:gd name="connsiteX426" fmla="*/ 873460 w 7467600"/>
              <a:gd name="connsiteY426" fmla="*/ 6253768 h 6858000"/>
              <a:gd name="connsiteX427" fmla="*/ 192686 w 7467600"/>
              <a:gd name="connsiteY427" fmla="*/ 5849257 h 6858000"/>
              <a:gd name="connsiteX428" fmla="*/ 4696 w 7467600"/>
              <a:gd name="connsiteY428" fmla="*/ 5697668 h 6858000"/>
              <a:gd name="connsiteX429" fmla="*/ 0 w 7467600"/>
              <a:gd name="connsiteY429" fmla="*/ 5689984 h 6858000"/>
              <a:gd name="connsiteX430" fmla="*/ 0 w 7467600"/>
              <a:gd name="connsiteY430" fmla="*/ 5513472 h 6858000"/>
              <a:gd name="connsiteX431" fmla="*/ 174101 w 7467600"/>
              <a:gd name="connsiteY431" fmla="*/ 5620277 h 6858000"/>
              <a:gd name="connsiteX432" fmla="*/ 891800 w 7467600"/>
              <a:gd name="connsiteY432" fmla="*/ 6036935 h 6858000"/>
              <a:gd name="connsiteX433" fmla="*/ 1072219 w 7467600"/>
              <a:gd name="connsiteY433" fmla="*/ 6169443 h 6858000"/>
              <a:gd name="connsiteX434" fmla="*/ 1074117 w 7467600"/>
              <a:gd name="connsiteY434" fmla="*/ 6170301 h 6858000"/>
              <a:gd name="connsiteX435" fmla="*/ 1083114 w 7467600"/>
              <a:gd name="connsiteY435" fmla="*/ 6174131 h 6858000"/>
              <a:gd name="connsiteX436" fmla="*/ 1543010 w 7467600"/>
              <a:gd name="connsiteY436" fmla="*/ 6191140 h 6858000"/>
              <a:gd name="connsiteX437" fmla="*/ 1551080 w 7467600"/>
              <a:gd name="connsiteY437" fmla="*/ 6195006 h 6858000"/>
              <a:gd name="connsiteX438" fmla="*/ 2345443 w 7467600"/>
              <a:gd name="connsiteY438" fmla="*/ 5549882 h 6858000"/>
              <a:gd name="connsiteX439" fmla="*/ 1721499 w 7467600"/>
              <a:gd name="connsiteY439" fmla="*/ 5599969 h 6858000"/>
              <a:gd name="connsiteX440" fmla="*/ 767716 w 7467600"/>
              <a:gd name="connsiteY440" fmla="*/ 5472768 h 6858000"/>
              <a:gd name="connsiteX441" fmla="*/ 722147 w 7467600"/>
              <a:gd name="connsiteY441" fmla="*/ 5393091 h 6858000"/>
              <a:gd name="connsiteX442" fmla="*/ 1485552 w 7467600"/>
              <a:gd name="connsiteY442" fmla="*/ 5313202 h 6858000"/>
              <a:gd name="connsiteX443" fmla="*/ 2143004 w 7467600"/>
              <a:gd name="connsiteY443" fmla="*/ 5402420 h 6858000"/>
              <a:gd name="connsiteX444" fmla="*/ 1933391 w 7467600"/>
              <a:gd name="connsiteY444" fmla="*/ 5156971 h 6858000"/>
              <a:gd name="connsiteX445" fmla="*/ 1827118 w 7467600"/>
              <a:gd name="connsiteY445" fmla="*/ 4968410 h 6858000"/>
              <a:gd name="connsiteX446" fmla="*/ 1837349 w 7467600"/>
              <a:gd name="connsiteY446" fmla="*/ 4956357 h 6858000"/>
              <a:gd name="connsiteX447" fmla="*/ 2162835 w 7467600"/>
              <a:gd name="connsiteY447" fmla="*/ 5187853 h 6858000"/>
              <a:gd name="connsiteX448" fmla="*/ 2257167 w 7467600"/>
              <a:gd name="connsiteY448" fmla="*/ 5462123 h 6858000"/>
              <a:gd name="connsiteX449" fmla="*/ 2261598 w 7467600"/>
              <a:gd name="connsiteY449" fmla="*/ 5467998 h 6858000"/>
              <a:gd name="connsiteX450" fmla="*/ 2437177 w 7467600"/>
              <a:gd name="connsiteY450" fmla="*/ 5479608 h 6858000"/>
              <a:gd name="connsiteX451" fmla="*/ 2445247 w 7467600"/>
              <a:gd name="connsiteY451" fmla="*/ 5483476 h 6858000"/>
              <a:gd name="connsiteX452" fmla="*/ 2743626 w 7467600"/>
              <a:gd name="connsiteY452" fmla="*/ 5304819 h 6858000"/>
              <a:gd name="connsiteX453" fmla="*/ 3048102 w 7467600"/>
              <a:gd name="connsiteY453" fmla="*/ 5150595 h 6858000"/>
              <a:gd name="connsiteX454" fmla="*/ 1799414 w 7467600"/>
              <a:gd name="connsiteY454" fmla="*/ 4694732 h 6858000"/>
              <a:gd name="connsiteX455" fmla="*/ 1771735 w 7467600"/>
              <a:gd name="connsiteY455" fmla="*/ 4619929 h 6858000"/>
              <a:gd name="connsiteX456" fmla="*/ 3104273 w 7467600"/>
              <a:gd name="connsiteY456" fmla="*/ 5076159 h 6858000"/>
              <a:gd name="connsiteX457" fmla="*/ 3113245 w 7467600"/>
              <a:gd name="connsiteY457" fmla="*/ 5090705 h 6858000"/>
              <a:gd name="connsiteX458" fmla="*/ 3126294 w 7467600"/>
              <a:gd name="connsiteY458" fmla="*/ 5114400 h 6858000"/>
              <a:gd name="connsiteX459" fmla="*/ 3937433 w 7467600"/>
              <a:gd name="connsiteY459" fmla="*/ 4830473 h 6858000"/>
              <a:gd name="connsiteX460" fmla="*/ 3590475 w 7467600"/>
              <a:gd name="connsiteY460" fmla="*/ 4597974 h 6858000"/>
              <a:gd name="connsiteX461" fmla="*/ 3100264 w 7467600"/>
              <a:gd name="connsiteY461" fmla="*/ 4579845 h 6858000"/>
              <a:gd name="connsiteX462" fmla="*/ 2183576 w 7467600"/>
              <a:gd name="connsiteY462" fmla="*/ 4227150 h 6858000"/>
              <a:gd name="connsiteX463" fmla="*/ 2151029 w 7467600"/>
              <a:gd name="connsiteY463" fmla="*/ 4146947 h 6858000"/>
              <a:gd name="connsiteX464" fmla="*/ 3563434 w 7467600"/>
              <a:gd name="connsiteY464" fmla="*/ 4469115 h 6858000"/>
              <a:gd name="connsiteX465" fmla="*/ 3177952 w 7467600"/>
              <a:gd name="connsiteY465" fmla="*/ 3657386 h 6858000"/>
              <a:gd name="connsiteX466" fmla="*/ 3189263 w 7467600"/>
              <a:gd name="connsiteY466" fmla="*/ 3625726 h 6858000"/>
              <a:gd name="connsiteX467" fmla="*/ 3560912 w 7467600"/>
              <a:gd name="connsiteY467" fmla="*/ 4079863 h 6858000"/>
              <a:gd name="connsiteX468" fmla="*/ 3626636 w 7467600"/>
              <a:gd name="connsiteY468" fmla="*/ 4512230 h 6858000"/>
              <a:gd name="connsiteX469" fmla="*/ 3653088 w 7467600"/>
              <a:gd name="connsiteY469" fmla="*/ 4521417 h 6858000"/>
              <a:gd name="connsiteX470" fmla="*/ 3988128 w 7467600"/>
              <a:gd name="connsiteY470" fmla="*/ 4817267 h 6858000"/>
              <a:gd name="connsiteX471" fmla="*/ 4830582 w 7467600"/>
              <a:gd name="connsiteY471" fmla="*/ 4676000 h 6858000"/>
              <a:gd name="connsiteX472" fmla="*/ 4830100 w 7467600"/>
              <a:gd name="connsiteY472" fmla="*/ 4675554 h 6858000"/>
              <a:gd name="connsiteX473" fmla="*/ 4036318 w 7467600"/>
              <a:gd name="connsiteY473" fmla="*/ 4147013 h 6858000"/>
              <a:gd name="connsiteX474" fmla="*/ 3432098 w 7467600"/>
              <a:gd name="connsiteY474" fmla="*/ 3537312 h 6858000"/>
              <a:gd name="connsiteX475" fmla="*/ 3446761 w 7467600"/>
              <a:gd name="connsiteY475" fmla="*/ 3461278 h 6858000"/>
              <a:gd name="connsiteX476" fmla="*/ 4419733 w 7467600"/>
              <a:gd name="connsiteY476" fmla="*/ 3963555 h 6858000"/>
              <a:gd name="connsiteX477" fmla="*/ 4781371 w 7467600"/>
              <a:gd name="connsiteY477" fmla="*/ 4458604 h 6858000"/>
              <a:gd name="connsiteX478" fmla="*/ 4780440 w 7467600"/>
              <a:gd name="connsiteY478" fmla="*/ 4470290 h 6858000"/>
              <a:gd name="connsiteX479" fmla="*/ 4898954 w 7467600"/>
              <a:gd name="connsiteY479" fmla="*/ 4662092 h 6858000"/>
              <a:gd name="connsiteX480" fmla="*/ 4900699 w 7467600"/>
              <a:gd name="connsiteY480" fmla="*/ 4670867 h 6858000"/>
              <a:gd name="connsiteX481" fmla="*/ 5714511 w 7467600"/>
              <a:gd name="connsiteY481" fmla="*/ 4663483 h 6858000"/>
              <a:gd name="connsiteX482" fmla="*/ 5464793 w 7467600"/>
              <a:gd name="connsiteY482" fmla="*/ 4393556 h 6858000"/>
              <a:gd name="connsiteX483" fmla="*/ 5461897 w 7467600"/>
              <a:gd name="connsiteY483" fmla="*/ 4390879 h 6858000"/>
              <a:gd name="connsiteX484" fmla="*/ 4294126 w 7467600"/>
              <a:gd name="connsiteY484" fmla="*/ 3303048 h 6858000"/>
              <a:gd name="connsiteX485" fmla="*/ 4305321 w 7467600"/>
              <a:gd name="connsiteY485" fmla="*/ 3256953 h 6858000"/>
              <a:gd name="connsiteX486" fmla="*/ 4949299 w 7467600"/>
              <a:gd name="connsiteY486" fmla="*/ 3766336 h 6858000"/>
              <a:gd name="connsiteX487" fmla="*/ 5291452 w 7467600"/>
              <a:gd name="connsiteY487" fmla="*/ 4076801 h 6858000"/>
              <a:gd name="connsiteX488" fmla="*/ 5434998 w 7467600"/>
              <a:gd name="connsiteY488" fmla="*/ 4254100 h 6858000"/>
              <a:gd name="connsiteX489" fmla="*/ 5351015 w 7467600"/>
              <a:gd name="connsiteY489" fmla="*/ 3760989 h 6858000"/>
              <a:gd name="connsiteX490" fmla="*/ 5413780 w 7467600"/>
              <a:gd name="connsiteY490" fmla="*/ 2966265 h 6858000"/>
              <a:gd name="connsiteX491" fmla="*/ 5425627 w 7467600"/>
              <a:gd name="connsiteY491" fmla="*/ 2954192 h 6858000"/>
              <a:gd name="connsiteX492" fmla="*/ 6604735 w 7467600"/>
              <a:gd name="connsiteY492" fmla="*/ 2041381 h 6858000"/>
              <a:gd name="connsiteX493" fmla="*/ 7204487 w 7467600"/>
              <a:gd name="connsiteY493" fmla="*/ 2742112 h 6858000"/>
              <a:gd name="connsiteX494" fmla="*/ 7131592 w 7467600"/>
              <a:gd name="connsiteY494" fmla="*/ 2672096 h 6858000"/>
              <a:gd name="connsiteX495" fmla="*/ 6996344 w 7467600"/>
              <a:gd name="connsiteY495" fmla="*/ 2518310 h 6858000"/>
              <a:gd name="connsiteX496" fmla="*/ 6735495 w 7467600"/>
              <a:gd name="connsiteY496" fmla="*/ 2196890 h 6858000"/>
              <a:gd name="connsiteX497" fmla="*/ 6721901 w 7467600"/>
              <a:gd name="connsiteY497" fmla="*/ 2179274 h 6858000"/>
              <a:gd name="connsiteX498" fmla="*/ 6604735 w 7467600"/>
              <a:gd name="connsiteY498" fmla="*/ 2041381 h 6858000"/>
              <a:gd name="connsiteX499" fmla="*/ 6591670 w 7467600"/>
              <a:gd name="connsiteY499" fmla="*/ 1988277 h 6858000"/>
              <a:gd name="connsiteX500" fmla="*/ 6747349 w 7467600"/>
              <a:gd name="connsiteY500" fmla="*/ 2160069 h 6858000"/>
              <a:gd name="connsiteX501" fmla="*/ 6760943 w 7467600"/>
              <a:gd name="connsiteY501" fmla="*/ 2177686 h 6858000"/>
              <a:gd name="connsiteX502" fmla="*/ 7021065 w 7467600"/>
              <a:gd name="connsiteY502" fmla="*/ 2498102 h 6858000"/>
              <a:gd name="connsiteX503" fmla="*/ 7155223 w 7467600"/>
              <a:gd name="connsiteY503" fmla="*/ 2650386 h 6858000"/>
              <a:gd name="connsiteX504" fmla="*/ 7203167 w 7467600"/>
              <a:gd name="connsiteY504" fmla="*/ 2697288 h 6858000"/>
              <a:gd name="connsiteX505" fmla="*/ 6937703 w 7467600"/>
              <a:gd name="connsiteY505" fmla="*/ 2321981 h 6858000"/>
              <a:gd name="connsiteX506" fmla="*/ 6591670 w 7467600"/>
              <a:gd name="connsiteY506" fmla="*/ 1988277 h 6858000"/>
              <a:gd name="connsiteX507" fmla="*/ 5798671 w 7467600"/>
              <a:gd name="connsiteY507" fmla="*/ 1981601 h 6858000"/>
              <a:gd name="connsiteX508" fmla="*/ 5754709 w 7467600"/>
              <a:gd name="connsiteY508" fmla="*/ 2071454 h 6858000"/>
              <a:gd name="connsiteX509" fmla="*/ 5763044 w 7467600"/>
              <a:gd name="connsiteY509" fmla="*/ 2842206 h 6858000"/>
              <a:gd name="connsiteX510" fmla="*/ 5764974 w 7467600"/>
              <a:gd name="connsiteY510" fmla="*/ 2799609 h 6858000"/>
              <a:gd name="connsiteX511" fmla="*/ 5767665 w 7467600"/>
              <a:gd name="connsiteY511" fmla="*/ 2666409 h 6858000"/>
              <a:gd name="connsiteX512" fmla="*/ 5763055 w 7467600"/>
              <a:gd name="connsiteY512" fmla="*/ 2579705 h 6858000"/>
              <a:gd name="connsiteX513" fmla="*/ 5758079 w 7467600"/>
              <a:gd name="connsiteY513" fmla="*/ 2492508 h 6858000"/>
              <a:gd name="connsiteX514" fmla="*/ 5779325 w 7467600"/>
              <a:gd name="connsiteY514" fmla="*/ 2197069 h 6858000"/>
              <a:gd name="connsiteX515" fmla="*/ 5798671 w 7467600"/>
              <a:gd name="connsiteY515" fmla="*/ 1981601 h 6858000"/>
              <a:gd name="connsiteX516" fmla="*/ 5829202 w 7467600"/>
              <a:gd name="connsiteY516" fmla="*/ 1971679 h 6858000"/>
              <a:gd name="connsiteX517" fmla="*/ 5809558 w 7467600"/>
              <a:gd name="connsiteY517" fmla="*/ 2198043 h 6858000"/>
              <a:gd name="connsiteX518" fmla="*/ 5788653 w 7467600"/>
              <a:gd name="connsiteY518" fmla="*/ 2489430 h 6858000"/>
              <a:gd name="connsiteX519" fmla="*/ 5793439 w 7467600"/>
              <a:gd name="connsiteY519" fmla="*/ 2575235 h 6858000"/>
              <a:gd name="connsiteX520" fmla="*/ 5796837 w 7467600"/>
              <a:gd name="connsiteY520" fmla="*/ 2637633 h 6858000"/>
              <a:gd name="connsiteX521" fmla="*/ 5818614 w 7467600"/>
              <a:gd name="connsiteY521" fmla="*/ 2473055 h 6858000"/>
              <a:gd name="connsiteX522" fmla="*/ 5829202 w 7467600"/>
              <a:gd name="connsiteY522" fmla="*/ 1971679 h 6858000"/>
              <a:gd name="connsiteX523" fmla="*/ 5911389 w 7467600"/>
              <a:gd name="connsiteY523" fmla="*/ 1898371 h 6858000"/>
              <a:gd name="connsiteX524" fmla="*/ 6237627 w 7467600"/>
              <a:gd name="connsiteY524" fmla="*/ 2231921 h 6858000"/>
              <a:gd name="connsiteX525" fmla="*/ 5911389 w 7467600"/>
              <a:gd name="connsiteY525" fmla="*/ 1898371 h 6858000"/>
              <a:gd name="connsiteX526" fmla="*/ 6944437 w 7467600"/>
              <a:gd name="connsiteY526" fmla="*/ 1575402 h 6858000"/>
              <a:gd name="connsiteX527" fmla="*/ 6304730 w 7467600"/>
              <a:gd name="connsiteY527" fmla="*/ 1766654 h 6858000"/>
              <a:gd name="connsiteX528" fmla="*/ 6944437 w 7467600"/>
              <a:gd name="connsiteY528" fmla="*/ 1575402 h 6858000"/>
              <a:gd name="connsiteX529" fmla="*/ 7019523 w 7467600"/>
              <a:gd name="connsiteY529" fmla="*/ 1519450 h 6858000"/>
              <a:gd name="connsiteX530" fmla="*/ 6298091 w 7467600"/>
              <a:gd name="connsiteY530" fmla="*/ 1737122 h 6858000"/>
              <a:gd name="connsiteX531" fmla="*/ 7019523 w 7467600"/>
              <a:gd name="connsiteY531" fmla="*/ 1519450 h 6858000"/>
              <a:gd name="connsiteX532" fmla="*/ 2399523 w 7467600"/>
              <a:gd name="connsiteY532" fmla="*/ 1428234 h 6858000"/>
              <a:gd name="connsiteX533" fmla="*/ 2224982 w 7467600"/>
              <a:gd name="connsiteY533" fmla="*/ 1826201 h 6858000"/>
              <a:gd name="connsiteX534" fmla="*/ 2096099 w 7467600"/>
              <a:gd name="connsiteY534" fmla="*/ 2345900 h 6858000"/>
              <a:gd name="connsiteX535" fmla="*/ 2283317 w 7467600"/>
              <a:gd name="connsiteY535" fmla="*/ 1796925 h 6858000"/>
              <a:gd name="connsiteX536" fmla="*/ 2399523 w 7467600"/>
              <a:gd name="connsiteY536" fmla="*/ 1428234 h 6858000"/>
              <a:gd name="connsiteX537" fmla="*/ 2448558 w 7467600"/>
              <a:gd name="connsiteY537" fmla="*/ 1373435 h 6858000"/>
              <a:gd name="connsiteX538" fmla="*/ 2312521 w 7467600"/>
              <a:gd name="connsiteY538" fmla="*/ 1806140 h 6858000"/>
              <a:gd name="connsiteX539" fmla="*/ 2127533 w 7467600"/>
              <a:gd name="connsiteY539" fmla="*/ 2348380 h 6858000"/>
              <a:gd name="connsiteX540" fmla="*/ 2358080 w 7467600"/>
              <a:gd name="connsiteY540" fmla="*/ 1866134 h 6858000"/>
              <a:gd name="connsiteX541" fmla="*/ 2407436 w 7467600"/>
              <a:gd name="connsiteY541" fmla="*/ 1651070 h 6858000"/>
              <a:gd name="connsiteX542" fmla="*/ 2448558 w 7467600"/>
              <a:gd name="connsiteY542" fmla="*/ 1373435 h 6858000"/>
              <a:gd name="connsiteX543" fmla="*/ 278707 w 7467600"/>
              <a:gd name="connsiteY543" fmla="*/ 1352270 h 6858000"/>
              <a:gd name="connsiteX544" fmla="*/ 321570 w 7467600"/>
              <a:gd name="connsiteY544" fmla="*/ 1861610 h 6858000"/>
              <a:gd name="connsiteX545" fmla="*/ 294281 w 7467600"/>
              <a:gd name="connsiteY545" fmla="*/ 1440658 h 6858000"/>
              <a:gd name="connsiteX546" fmla="*/ 278707 w 7467600"/>
              <a:gd name="connsiteY546" fmla="*/ 1352270 h 6858000"/>
              <a:gd name="connsiteX547" fmla="*/ 1423821 w 7467600"/>
              <a:gd name="connsiteY547" fmla="*/ 1351958 h 6858000"/>
              <a:gd name="connsiteX548" fmla="*/ 1638521 w 7467600"/>
              <a:gd name="connsiteY548" fmla="*/ 1908470 h 6858000"/>
              <a:gd name="connsiteX549" fmla="*/ 1754199 w 7467600"/>
              <a:gd name="connsiteY549" fmla="*/ 2149284 h 6858000"/>
              <a:gd name="connsiteX550" fmla="*/ 1908359 w 7467600"/>
              <a:gd name="connsiteY550" fmla="*/ 2364988 h 6858000"/>
              <a:gd name="connsiteX551" fmla="*/ 1647661 w 7467600"/>
              <a:gd name="connsiteY551" fmla="*/ 1825945 h 6858000"/>
              <a:gd name="connsiteX552" fmla="*/ 1423821 w 7467600"/>
              <a:gd name="connsiteY552" fmla="*/ 1351958 h 6858000"/>
              <a:gd name="connsiteX553" fmla="*/ 1431890 w 7467600"/>
              <a:gd name="connsiteY553" fmla="*/ 1306475 h 6858000"/>
              <a:gd name="connsiteX554" fmla="*/ 1507597 w 7467600"/>
              <a:gd name="connsiteY554" fmla="*/ 1446132 h 6858000"/>
              <a:gd name="connsiteX555" fmla="*/ 1674586 w 7467600"/>
              <a:gd name="connsiteY555" fmla="*/ 1813832 h 6858000"/>
              <a:gd name="connsiteX556" fmla="*/ 1815950 w 7467600"/>
              <a:gd name="connsiteY556" fmla="*/ 2128564 h 6858000"/>
              <a:gd name="connsiteX557" fmla="*/ 1984242 w 7467600"/>
              <a:gd name="connsiteY557" fmla="*/ 2430829 h 6858000"/>
              <a:gd name="connsiteX558" fmla="*/ 2014023 w 7467600"/>
              <a:gd name="connsiteY558" fmla="*/ 2450995 h 6858000"/>
              <a:gd name="connsiteX559" fmla="*/ 1747337 w 7467600"/>
              <a:gd name="connsiteY559" fmla="*/ 1855264 h 6858000"/>
              <a:gd name="connsiteX560" fmla="*/ 1533749 w 7467600"/>
              <a:gd name="connsiteY560" fmla="*/ 1478656 h 6858000"/>
              <a:gd name="connsiteX561" fmla="*/ 1431890 w 7467600"/>
              <a:gd name="connsiteY561" fmla="*/ 1306475 h 6858000"/>
              <a:gd name="connsiteX562" fmla="*/ 5052692 w 7467600"/>
              <a:gd name="connsiteY562" fmla="*/ 1292994 h 6858000"/>
              <a:gd name="connsiteX563" fmla="*/ 5200661 w 7467600"/>
              <a:gd name="connsiteY563" fmla="*/ 1635186 h 6858000"/>
              <a:gd name="connsiteX564" fmla="*/ 5297138 w 7467600"/>
              <a:gd name="connsiteY564" fmla="*/ 1906351 h 6858000"/>
              <a:gd name="connsiteX565" fmla="*/ 5052692 w 7467600"/>
              <a:gd name="connsiteY565" fmla="*/ 1292994 h 6858000"/>
              <a:gd name="connsiteX566" fmla="*/ 5009948 w 7467600"/>
              <a:gd name="connsiteY566" fmla="*/ 1273619 h 6858000"/>
              <a:gd name="connsiteX567" fmla="*/ 5121777 w 7467600"/>
              <a:gd name="connsiteY567" fmla="*/ 1654213 h 6858000"/>
              <a:gd name="connsiteX568" fmla="*/ 5293545 w 7467600"/>
              <a:gd name="connsiteY568" fmla="*/ 2072247 h 6858000"/>
              <a:gd name="connsiteX569" fmla="*/ 5294042 w 7467600"/>
              <a:gd name="connsiteY569" fmla="*/ 2065019 h 6858000"/>
              <a:gd name="connsiteX570" fmla="*/ 5171936 w 7467600"/>
              <a:gd name="connsiteY570" fmla="*/ 1647613 h 6858000"/>
              <a:gd name="connsiteX571" fmla="*/ 5009948 w 7467600"/>
              <a:gd name="connsiteY571" fmla="*/ 1273619 h 6858000"/>
              <a:gd name="connsiteX572" fmla="*/ 655236 w 7467600"/>
              <a:gd name="connsiteY572" fmla="*/ 1268632 h 6858000"/>
              <a:gd name="connsiteX573" fmla="*/ 839521 w 7467600"/>
              <a:gd name="connsiteY573" fmla="*/ 1685315 h 6858000"/>
              <a:gd name="connsiteX574" fmla="*/ 1109416 w 7467600"/>
              <a:gd name="connsiteY574" fmla="*/ 2061663 h 6858000"/>
              <a:gd name="connsiteX575" fmla="*/ 1298300 w 7467600"/>
              <a:gd name="connsiteY575" fmla="*/ 2247742 h 6858000"/>
              <a:gd name="connsiteX576" fmla="*/ 1125871 w 7467600"/>
              <a:gd name="connsiteY576" fmla="*/ 1989513 h 6858000"/>
              <a:gd name="connsiteX577" fmla="*/ 981574 w 7467600"/>
              <a:gd name="connsiteY577" fmla="*/ 1783157 h 6858000"/>
              <a:gd name="connsiteX578" fmla="*/ 922198 w 7467600"/>
              <a:gd name="connsiteY578" fmla="*/ 1677437 h 6858000"/>
              <a:gd name="connsiteX579" fmla="*/ 869293 w 7467600"/>
              <a:gd name="connsiteY579" fmla="*/ 1583214 h 6858000"/>
              <a:gd name="connsiteX580" fmla="*/ 751431 w 7467600"/>
              <a:gd name="connsiteY580" fmla="*/ 1405731 h 6858000"/>
              <a:gd name="connsiteX581" fmla="*/ 655236 w 7467600"/>
              <a:gd name="connsiteY581" fmla="*/ 1268632 h 6858000"/>
              <a:gd name="connsiteX582" fmla="*/ 6516292 w 7467600"/>
              <a:gd name="connsiteY582" fmla="*/ 1263064 h 6858000"/>
              <a:gd name="connsiteX583" fmla="*/ 5736320 w 7467600"/>
              <a:gd name="connsiteY583" fmla="*/ 1501803 h 6858000"/>
              <a:gd name="connsiteX584" fmla="*/ 6516292 w 7467600"/>
              <a:gd name="connsiteY584" fmla="*/ 1263064 h 6858000"/>
              <a:gd name="connsiteX585" fmla="*/ 291466 w 7467600"/>
              <a:gd name="connsiteY585" fmla="*/ 1250369 h 6858000"/>
              <a:gd name="connsiteX586" fmla="*/ 323180 w 7467600"/>
              <a:gd name="connsiteY586" fmla="*/ 1435283 h 6858000"/>
              <a:gd name="connsiteX587" fmla="*/ 349381 w 7467600"/>
              <a:gd name="connsiteY587" fmla="*/ 1875041 h 6858000"/>
              <a:gd name="connsiteX588" fmla="*/ 374363 w 7467600"/>
              <a:gd name="connsiteY588" fmla="*/ 1506494 h 6858000"/>
              <a:gd name="connsiteX589" fmla="*/ 302168 w 7467600"/>
              <a:gd name="connsiteY589" fmla="*/ 1274495 h 6858000"/>
              <a:gd name="connsiteX590" fmla="*/ 291466 w 7467600"/>
              <a:gd name="connsiteY590" fmla="*/ 1250369 h 6858000"/>
              <a:gd name="connsiteX591" fmla="*/ 678222 w 7467600"/>
              <a:gd name="connsiteY591" fmla="*/ 1248670 h 6858000"/>
              <a:gd name="connsiteX592" fmla="*/ 775536 w 7467600"/>
              <a:gd name="connsiteY592" fmla="*/ 1388015 h 6858000"/>
              <a:gd name="connsiteX593" fmla="*/ 894529 w 7467600"/>
              <a:gd name="connsiteY593" fmla="*/ 1567739 h 6858000"/>
              <a:gd name="connsiteX594" fmla="*/ 948000 w 7467600"/>
              <a:gd name="connsiteY594" fmla="*/ 1663088 h 6858000"/>
              <a:gd name="connsiteX595" fmla="*/ 1006812 w 7467600"/>
              <a:gd name="connsiteY595" fmla="*/ 1767683 h 6858000"/>
              <a:gd name="connsiteX596" fmla="*/ 1149133 w 7467600"/>
              <a:gd name="connsiteY596" fmla="*/ 1971513 h 6858000"/>
              <a:gd name="connsiteX597" fmla="*/ 1333952 w 7467600"/>
              <a:gd name="connsiteY597" fmla="*/ 2251620 h 6858000"/>
              <a:gd name="connsiteX598" fmla="*/ 1337329 w 7467600"/>
              <a:gd name="connsiteY598" fmla="*/ 2258350 h 6858000"/>
              <a:gd name="connsiteX599" fmla="*/ 1014726 w 7467600"/>
              <a:gd name="connsiteY599" fmla="*/ 1615556 h 6858000"/>
              <a:gd name="connsiteX600" fmla="*/ 678222 w 7467600"/>
              <a:gd name="connsiteY600" fmla="*/ 1248670 h 6858000"/>
              <a:gd name="connsiteX601" fmla="*/ 6691602 w 7467600"/>
              <a:gd name="connsiteY601" fmla="*/ 1140573 h 6858000"/>
              <a:gd name="connsiteX602" fmla="*/ 6571100 w 7467600"/>
              <a:gd name="connsiteY602" fmla="*/ 1183662 h 6858000"/>
              <a:gd name="connsiteX603" fmla="*/ 6241687 w 7467600"/>
              <a:gd name="connsiteY603" fmla="*/ 1257600 h 6858000"/>
              <a:gd name="connsiteX604" fmla="*/ 5693009 w 7467600"/>
              <a:gd name="connsiteY604" fmla="*/ 1478256 h 6858000"/>
              <a:gd name="connsiteX605" fmla="*/ 6548420 w 7467600"/>
              <a:gd name="connsiteY605" fmla="*/ 1214599 h 6858000"/>
              <a:gd name="connsiteX606" fmla="*/ 6605473 w 7467600"/>
              <a:gd name="connsiteY606" fmla="*/ 1184686 h 6858000"/>
              <a:gd name="connsiteX607" fmla="*/ 6691602 w 7467600"/>
              <a:gd name="connsiteY607" fmla="*/ 1140573 h 6858000"/>
              <a:gd name="connsiteX608" fmla="*/ 4002475 w 7467600"/>
              <a:gd name="connsiteY608" fmla="*/ 1037802 h 6858000"/>
              <a:gd name="connsiteX609" fmla="*/ 4000324 w 7467600"/>
              <a:gd name="connsiteY609" fmla="*/ 1039362 h 6858000"/>
              <a:gd name="connsiteX610" fmla="*/ 4002862 w 7467600"/>
              <a:gd name="connsiteY610" fmla="*/ 1042866 h 6858000"/>
              <a:gd name="connsiteX611" fmla="*/ 4002475 w 7467600"/>
              <a:gd name="connsiteY611" fmla="*/ 1037802 h 6858000"/>
              <a:gd name="connsiteX612" fmla="*/ 506322 w 7467600"/>
              <a:gd name="connsiteY612" fmla="*/ 1020997 h 6858000"/>
              <a:gd name="connsiteX613" fmla="*/ 533068 w 7467600"/>
              <a:gd name="connsiteY613" fmla="*/ 1029409 h 6858000"/>
              <a:gd name="connsiteX614" fmla="*/ 1232525 w 7467600"/>
              <a:gd name="connsiteY614" fmla="*/ 1804675 h 6858000"/>
              <a:gd name="connsiteX615" fmla="*/ 1388858 w 7467600"/>
              <a:gd name="connsiteY615" fmla="*/ 2368011 h 6858000"/>
              <a:gd name="connsiteX616" fmla="*/ 1384098 w 7467600"/>
              <a:gd name="connsiteY616" fmla="*/ 2378125 h 6858000"/>
              <a:gd name="connsiteX617" fmla="*/ 1425393 w 7467600"/>
              <a:gd name="connsiteY617" fmla="*/ 2589124 h 6858000"/>
              <a:gd name="connsiteX618" fmla="*/ 1424001 w 7467600"/>
              <a:gd name="connsiteY618" fmla="*/ 2597541 h 6858000"/>
              <a:gd name="connsiteX619" fmla="*/ 2152729 w 7467600"/>
              <a:gd name="connsiteY619" fmla="*/ 2864487 h 6858000"/>
              <a:gd name="connsiteX620" fmla="*/ 2020609 w 7467600"/>
              <a:gd name="connsiteY620" fmla="*/ 2539671 h 6858000"/>
              <a:gd name="connsiteX621" fmla="*/ 2018920 w 7467600"/>
              <a:gd name="connsiteY621" fmla="*/ 2536309 h 6858000"/>
              <a:gd name="connsiteX622" fmla="*/ 1342441 w 7467600"/>
              <a:gd name="connsiteY622" fmla="*/ 1173017 h 6858000"/>
              <a:gd name="connsiteX623" fmla="*/ 1367925 w 7467600"/>
              <a:gd name="connsiteY623" fmla="*/ 1135648 h 6858000"/>
              <a:gd name="connsiteX624" fmla="*/ 1771401 w 7467600"/>
              <a:gd name="connsiteY624" fmla="*/ 1806673 h 6858000"/>
              <a:gd name="connsiteX625" fmla="*/ 1972385 w 7467600"/>
              <a:gd name="connsiteY625" fmla="*/ 2198735 h 6858000"/>
              <a:gd name="connsiteX626" fmla="*/ 2040892 w 7467600"/>
              <a:gd name="connsiteY626" fmla="*/ 2405205 h 6858000"/>
              <a:gd name="connsiteX627" fmla="*/ 2131689 w 7467600"/>
              <a:gd name="connsiteY627" fmla="*/ 1936926 h 6858000"/>
              <a:gd name="connsiteX628" fmla="*/ 2454820 w 7467600"/>
              <a:gd name="connsiteY628" fmla="*/ 1248808 h 6858000"/>
              <a:gd name="connsiteX629" fmla="*/ 2492512 w 7467600"/>
              <a:gd name="connsiteY629" fmla="*/ 1302920 h 6858000"/>
              <a:gd name="connsiteX630" fmla="*/ 2081216 w 7467600"/>
              <a:gd name="connsiteY630" fmla="*/ 2527513 h 6858000"/>
              <a:gd name="connsiteX631" fmla="*/ 2081211 w 7467600"/>
              <a:gd name="connsiteY631" fmla="*/ 2528916 h 6858000"/>
              <a:gd name="connsiteX632" fmla="*/ 2199067 w 7467600"/>
              <a:gd name="connsiteY632" fmla="*/ 2884061 h 6858000"/>
              <a:gd name="connsiteX633" fmla="*/ 3192586 w 7467600"/>
              <a:gd name="connsiteY633" fmla="*/ 3411496 h 6858000"/>
              <a:gd name="connsiteX634" fmla="*/ 3182620 w 7467600"/>
              <a:gd name="connsiteY634" fmla="*/ 3483279 h 6858000"/>
              <a:gd name="connsiteX635" fmla="*/ 2435119 w 7467600"/>
              <a:gd name="connsiteY635" fmla="*/ 3080173 h 6858000"/>
              <a:gd name="connsiteX636" fmla="*/ 2410152 w 7467600"/>
              <a:gd name="connsiteY636" fmla="*/ 3063751 h 6858000"/>
              <a:gd name="connsiteX637" fmla="*/ 2408099 w 7467600"/>
              <a:gd name="connsiteY637" fmla="*/ 3064403 h 6858000"/>
              <a:gd name="connsiteX638" fmla="*/ 2407218 w 7467600"/>
              <a:gd name="connsiteY638" fmla="*/ 3070324 h 6858000"/>
              <a:gd name="connsiteX639" fmla="*/ 2380138 w 7467600"/>
              <a:gd name="connsiteY639" fmla="*/ 3099341 h 6858000"/>
              <a:gd name="connsiteX640" fmla="*/ 1765923 w 7467600"/>
              <a:gd name="connsiteY640" fmla="*/ 3581043 h 6858000"/>
              <a:gd name="connsiteX641" fmla="*/ 1702258 w 7467600"/>
              <a:gd name="connsiteY641" fmla="*/ 3612286 h 6858000"/>
              <a:gd name="connsiteX642" fmla="*/ 1538370 w 7467600"/>
              <a:gd name="connsiteY642" fmla="*/ 3811804 h 6858000"/>
              <a:gd name="connsiteX643" fmla="*/ 542867 w 7467600"/>
              <a:gd name="connsiteY643" fmla="*/ 4944092 h 6858000"/>
              <a:gd name="connsiteX644" fmla="*/ 515800 w 7467600"/>
              <a:gd name="connsiteY644" fmla="*/ 4862180 h 6858000"/>
              <a:gd name="connsiteX645" fmla="*/ 909145 w 7467600"/>
              <a:gd name="connsiteY645" fmla="*/ 4199225 h 6858000"/>
              <a:gd name="connsiteX646" fmla="*/ 1214067 w 7467600"/>
              <a:gd name="connsiteY646" fmla="*/ 3908561 h 6858000"/>
              <a:gd name="connsiteX647" fmla="*/ 640967 w 7467600"/>
              <a:gd name="connsiteY647" fmla="*/ 4105601 h 6858000"/>
              <a:gd name="connsiteX648" fmla="*/ 112563 w 7467600"/>
              <a:gd name="connsiteY648" fmla="*/ 4396952 h 6858000"/>
              <a:gd name="connsiteX649" fmla="*/ 0 w 7467600"/>
              <a:gd name="connsiteY649" fmla="*/ 4466006 h 6858000"/>
              <a:gd name="connsiteX650" fmla="*/ 0 w 7467600"/>
              <a:gd name="connsiteY650" fmla="*/ 4233763 h 6858000"/>
              <a:gd name="connsiteX651" fmla="*/ 36881 w 7467600"/>
              <a:gd name="connsiteY651" fmla="*/ 4200118 h 6858000"/>
              <a:gd name="connsiteX652" fmla="*/ 910534 w 7467600"/>
              <a:gd name="connsiteY652" fmla="*/ 3629753 h 6858000"/>
              <a:gd name="connsiteX653" fmla="*/ 1578717 w 7467600"/>
              <a:gd name="connsiteY653" fmla="*/ 3575982 h 6858000"/>
              <a:gd name="connsiteX654" fmla="*/ 2338780 w 7467600"/>
              <a:gd name="connsiteY654" fmla="*/ 3033725 h 6858000"/>
              <a:gd name="connsiteX655" fmla="*/ 1807991 w 7467600"/>
              <a:gd name="connsiteY655" fmla="*/ 2807184 h 6858000"/>
              <a:gd name="connsiteX656" fmla="*/ 1416358 w 7467600"/>
              <a:gd name="connsiteY656" fmla="*/ 3112571 h 6858000"/>
              <a:gd name="connsiteX657" fmla="*/ 939066 w 7467600"/>
              <a:gd name="connsiteY657" fmla="*/ 3378798 h 6858000"/>
              <a:gd name="connsiteX658" fmla="*/ 115099 w 7467600"/>
              <a:gd name="connsiteY658" fmla="*/ 3607650 h 6858000"/>
              <a:gd name="connsiteX659" fmla="*/ 97284 w 7467600"/>
              <a:gd name="connsiteY659" fmla="*/ 3520393 h 6858000"/>
              <a:gd name="connsiteX660" fmla="*/ 922050 w 7467600"/>
              <a:gd name="connsiteY660" fmla="*/ 3074867 h 6858000"/>
              <a:gd name="connsiteX661" fmla="*/ 1405265 w 7467600"/>
              <a:gd name="connsiteY661" fmla="*/ 3016319 h 6858000"/>
              <a:gd name="connsiteX662" fmla="*/ 1407512 w 7467600"/>
              <a:gd name="connsiteY662" fmla="*/ 3018001 h 6858000"/>
              <a:gd name="connsiteX663" fmla="*/ 1726266 w 7467600"/>
              <a:gd name="connsiteY663" fmla="*/ 2777274 h 6858000"/>
              <a:gd name="connsiteX664" fmla="*/ 625390 w 7467600"/>
              <a:gd name="connsiteY664" fmla="*/ 2514541 h 6858000"/>
              <a:gd name="connsiteX665" fmla="*/ 619799 w 7467600"/>
              <a:gd name="connsiteY665" fmla="*/ 2527180 h 6858000"/>
              <a:gd name="connsiteX666" fmla="*/ 310030 w 7467600"/>
              <a:gd name="connsiteY666" fmla="*/ 2771818 h 6858000"/>
              <a:gd name="connsiteX667" fmla="*/ 173877 w 7467600"/>
              <a:gd name="connsiteY667" fmla="*/ 2937056 h 6858000"/>
              <a:gd name="connsiteX668" fmla="*/ 77889 w 7467600"/>
              <a:gd name="connsiteY668" fmla="*/ 3138440 h 6858000"/>
              <a:gd name="connsiteX669" fmla="*/ 0 w 7467600"/>
              <a:gd name="connsiteY669" fmla="*/ 3271395 h 6858000"/>
              <a:gd name="connsiteX670" fmla="*/ 0 w 7467600"/>
              <a:gd name="connsiteY670" fmla="*/ 3153002 h 6858000"/>
              <a:gd name="connsiteX671" fmla="*/ 2386 w 7467600"/>
              <a:gd name="connsiteY671" fmla="*/ 3149203 h 6858000"/>
              <a:gd name="connsiteX672" fmla="*/ 89753 w 7467600"/>
              <a:gd name="connsiteY672" fmla="*/ 2987702 h 6858000"/>
              <a:gd name="connsiteX673" fmla="*/ 76869 w 7467600"/>
              <a:gd name="connsiteY673" fmla="*/ 3005404 h 6858000"/>
              <a:gd name="connsiteX674" fmla="*/ 32049 w 7467600"/>
              <a:gd name="connsiteY674" fmla="*/ 3065814 h 6858000"/>
              <a:gd name="connsiteX675" fmla="*/ 0 w 7467600"/>
              <a:gd name="connsiteY675" fmla="*/ 3108744 h 6858000"/>
              <a:gd name="connsiteX676" fmla="*/ 0 w 7467600"/>
              <a:gd name="connsiteY676" fmla="*/ 3058059 h 6858000"/>
              <a:gd name="connsiteX677" fmla="*/ 7610 w 7467600"/>
              <a:gd name="connsiteY677" fmla="*/ 3047889 h 6858000"/>
              <a:gd name="connsiteX678" fmla="*/ 52419 w 7467600"/>
              <a:gd name="connsiteY678" fmla="*/ 2987479 h 6858000"/>
              <a:gd name="connsiteX679" fmla="*/ 59142 w 7467600"/>
              <a:gd name="connsiteY679" fmla="*/ 2978488 h 6858000"/>
              <a:gd name="connsiteX680" fmla="*/ 0 w 7467600"/>
              <a:gd name="connsiteY680" fmla="*/ 3015334 h 6858000"/>
              <a:gd name="connsiteX681" fmla="*/ 0 w 7467600"/>
              <a:gd name="connsiteY681" fmla="*/ 2914286 h 6858000"/>
              <a:gd name="connsiteX682" fmla="*/ 36383 w 7467600"/>
              <a:gd name="connsiteY682" fmla="*/ 2901128 h 6858000"/>
              <a:gd name="connsiteX683" fmla="*/ 156329 w 7467600"/>
              <a:gd name="connsiteY683" fmla="*/ 2840533 h 6858000"/>
              <a:gd name="connsiteX684" fmla="*/ 358355 w 7467600"/>
              <a:gd name="connsiteY684" fmla="*/ 2620471 h 6858000"/>
              <a:gd name="connsiteX685" fmla="*/ 510577 w 7467600"/>
              <a:gd name="connsiteY685" fmla="*/ 2501244 h 6858000"/>
              <a:gd name="connsiteX686" fmla="*/ 211967 w 7467600"/>
              <a:gd name="connsiteY686" fmla="*/ 2479171 h 6858000"/>
              <a:gd name="connsiteX687" fmla="*/ 0 w 7467600"/>
              <a:gd name="connsiteY687" fmla="*/ 2476398 h 6858000"/>
              <a:gd name="connsiteX688" fmla="*/ 0 w 7467600"/>
              <a:gd name="connsiteY688" fmla="*/ 2389189 h 6858000"/>
              <a:gd name="connsiteX689" fmla="*/ 103062 w 7467600"/>
              <a:gd name="connsiteY689" fmla="*/ 2389518 h 6858000"/>
              <a:gd name="connsiteX690" fmla="*/ 510734 w 7467600"/>
              <a:gd name="connsiteY690" fmla="*/ 2416201 h 6858000"/>
              <a:gd name="connsiteX691" fmla="*/ 279257 w 7467600"/>
              <a:gd name="connsiteY691" fmla="*/ 2092102 h 6858000"/>
              <a:gd name="connsiteX692" fmla="*/ 65265 w 7467600"/>
              <a:gd name="connsiteY692" fmla="*/ 2006049 h 6858000"/>
              <a:gd name="connsiteX693" fmla="*/ 0 w 7467600"/>
              <a:gd name="connsiteY693" fmla="*/ 1982532 h 6858000"/>
              <a:gd name="connsiteX694" fmla="*/ 0 w 7467600"/>
              <a:gd name="connsiteY694" fmla="*/ 1912789 h 6858000"/>
              <a:gd name="connsiteX695" fmla="*/ 97460 w 7467600"/>
              <a:gd name="connsiteY695" fmla="*/ 1953725 h 6858000"/>
              <a:gd name="connsiteX696" fmla="*/ 221272 w 7467600"/>
              <a:gd name="connsiteY696" fmla="*/ 1980766 h 6858000"/>
              <a:gd name="connsiteX697" fmla="*/ 116765 w 7467600"/>
              <a:gd name="connsiteY697" fmla="*/ 1911033 h 6858000"/>
              <a:gd name="connsiteX698" fmla="*/ 16405 w 7467600"/>
              <a:gd name="connsiteY698" fmla="*/ 1803412 h 6858000"/>
              <a:gd name="connsiteX699" fmla="*/ 0 w 7467600"/>
              <a:gd name="connsiteY699" fmla="*/ 1784777 h 6858000"/>
              <a:gd name="connsiteX700" fmla="*/ 0 w 7467600"/>
              <a:gd name="connsiteY700" fmla="*/ 1740082 h 6858000"/>
              <a:gd name="connsiteX701" fmla="*/ 39394 w 7467600"/>
              <a:gd name="connsiteY701" fmla="*/ 1784856 h 6858000"/>
              <a:gd name="connsiteX702" fmla="*/ 135813 w 7467600"/>
              <a:gd name="connsiteY702" fmla="*/ 1888838 h 6858000"/>
              <a:gd name="connsiteX703" fmla="*/ 242575 w 7467600"/>
              <a:gd name="connsiteY703" fmla="*/ 1958841 h 6858000"/>
              <a:gd name="connsiteX704" fmla="*/ 82197 w 7467600"/>
              <a:gd name="connsiteY704" fmla="*/ 1754826 h 6858000"/>
              <a:gd name="connsiteX705" fmla="*/ 0 w 7467600"/>
              <a:gd name="connsiteY705" fmla="*/ 1679650 h 6858000"/>
              <a:gd name="connsiteX706" fmla="*/ 0 w 7467600"/>
              <a:gd name="connsiteY706" fmla="*/ 1602463 h 6858000"/>
              <a:gd name="connsiteX707" fmla="*/ 84689 w 7467600"/>
              <a:gd name="connsiteY707" fmla="*/ 1677442 h 6858000"/>
              <a:gd name="connsiteX708" fmla="*/ 298437 w 7467600"/>
              <a:gd name="connsiteY708" fmla="*/ 1968019 h 6858000"/>
              <a:gd name="connsiteX709" fmla="*/ 227269 w 7467600"/>
              <a:gd name="connsiteY709" fmla="*/ 1114064 h 6858000"/>
              <a:gd name="connsiteX710" fmla="*/ 248003 w 7467600"/>
              <a:gd name="connsiteY710" fmla="*/ 1089613 h 6858000"/>
              <a:gd name="connsiteX711" fmla="*/ 427020 w 7467600"/>
              <a:gd name="connsiteY711" fmla="*/ 1619803 h 6858000"/>
              <a:gd name="connsiteX712" fmla="*/ 340345 w 7467600"/>
              <a:gd name="connsiteY712" fmla="*/ 2027739 h 6858000"/>
              <a:gd name="connsiteX713" fmla="*/ 360865 w 7467600"/>
              <a:gd name="connsiteY713" fmla="*/ 2044827 h 6858000"/>
              <a:gd name="connsiteX714" fmla="*/ 560414 w 7467600"/>
              <a:gd name="connsiteY714" fmla="*/ 2421457 h 6858000"/>
              <a:gd name="connsiteX715" fmla="*/ 1359703 w 7467600"/>
              <a:gd name="connsiteY715" fmla="*/ 2578554 h 6858000"/>
              <a:gd name="connsiteX716" fmla="*/ 1359422 w 7467600"/>
              <a:gd name="connsiteY716" fmla="*/ 2577994 h 6858000"/>
              <a:gd name="connsiteX717" fmla="*/ 828701 w 7467600"/>
              <a:gd name="connsiteY717" fmla="*/ 1839520 h 6858000"/>
              <a:gd name="connsiteX718" fmla="*/ 494427 w 7467600"/>
              <a:gd name="connsiteY718" fmla="*/ 1092333 h 6858000"/>
              <a:gd name="connsiteX719" fmla="*/ 506322 w 7467600"/>
              <a:gd name="connsiteY719" fmla="*/ 1020997 h 6858000"/>
              <a:gd name="connsiteX720" fmla="*/ 4570198 w 7467600"/>
              <a:gd name="connsiteY720" fmla="*/ 978081 h 6858000"/>
              <a:gd name="connsiteX721" fmla="*/ 4523691 w 7467600"/>
              <a:gd name="connsiteY721" fmla="*/ 1127776 h 6858000"/>
              <a:gd name="connsiteX722" fmla="*/ 4509875 w 7467600"/>
              <a:gd name="connsiteY722" fmla="*/ 1167552 h 6858000"/>
              <a:gd name="connsiteX723" fmla="*/ 4478168 w 7467600"/>
              <a:gd name="connsiteY723" fmla="*/ 1260735 h 6858000"/>
              <a:gd name="connsiteX724" fmla="*/ 4409309 w 7467600"/>
              <a:gd name="connsiteY724" fmla="*/ 1666996 h 6858000"/>
              <a:gd name="connsiteX725" fmla="*/ 4370031 w 7467600"/>
              <a:gd name="connsiteY725" fmla="*/ 1955666 h 6858000"/>
              <a:gd name="connsiteX726" fmla="*/ 4570198 w 7467600"/>
              <a:gd name="connsiteY726" fmla="*/ 978081 h 6858000"/>
              <a:gd name="connsiteX727" fmla="*/ 4557898 w 7467600"/>
              <a:gd name="connsiteY727" fmla="*/ 900011 h 6858000"/>
              <a:gd name="connsiteX728" fmla="*/ 4344840 w 7467600"/>
              <a:gd name="connsiteY728" fmla="*/ 1922038 h 6858000"/>
              <a:gd name="connsiteX729" fmla="*/ 4378710 w 7467600"/>
              <a:gd name="connsiteY729" fmla="*/ 1665516 h 6858000"/>
              <a:gd name="connsiteX730" fmla="*/ 4448798 w 7467600"/>
              <a:gd name="connsiteY730" fmla="*/ 1253024 h 6858000"/>
              <a:gd name="connsiteX731" fmla="*/ 4480315 w 7467600"/>
              <a:gd name="connsiteY731" fmla="*/ 1158454 h 6858000"/>
              <a:gd name="connsiteX732" fmla="*/ 4494133 w 7467600"/>
              <a:gd name="connsiteY732" fmla="*/ 1118676 h 6858000"/>
              <a:gd name="connsiteX733" fmla="*/ 4557898 w 7467600"/>
              <a:gd name="connsiteY733" fmla="*/ 900011 h 6858000"/>
              <a:gd name="connsiteX734" fmla="*/ 5870151 w 7467600"/>
              <a:gd name="connsiteY734" fmla="*/ 898890 h 6858000"/>
              <a:gd name="connsiteX735" fmla="*/ 5861335 w 7467600"/>
              <a:gd name="connsiteY735" fmla="*/ 899177 h 6858000"/>
              <a:gd name="connsiteX736" fmla="*/ 5843702 w 7467600"/>
              <a:gd name="connsiteY736" fmla="*/ 899748 h 6858000"/>
              <a:gd name="connsiteX737" fmla="*/ 5651107 w 7467600"/>
              <a:gd name="connsiteY737" fmla="*/ 920306 h 6858000"/>
              <a:gd name="connsiteX738" fmla="*/ 5459407 w 7467600"/>
              <a:gd name="connsiteY738" fmla="*/ 940975 h 6858000"/>
              <a:gd name="connsiteX739" fmla="*/ 5374846 w 7467600"/>
              <a:gd name="connsiteY739" fmla="*/ 941988 h 6858000"/>
              <a:gd name="connsiteX740" fmla="*/ 5256105 w 7467600"/>
              <a:gd name="connsiteY740" fmla="*/ 945632 h 6858000"/>
              <a:gd name="connsiteX741" fmla="*/ 5107071 w 7467600"/>
              <a:gd name="connsiteY741" fmla="*/ 969720 h 6858000"/>
              <a:gd name="connsiteX742" fmla="*/ 4998681 w 7467600"/>
              <a:gd name="connsiteY742" fmla="*/ 988771 h 6858000"/>
              <a:gd name="connsiteX743" fmla="*/ 5870151 w 7467600"/>
              <a:gd name="connsiteY743" fmla="*/ 898890 h 6858000"/>
              <a:gd name="connsiteX744" fmla="*/ 5504425 w 7467600"/>
              <a:gd name="connsiteY744" fmla="*/ 848067 h 6858000"/>
              <a:gd name="connsiteX745" fmla="*/ 4968849 w 7467600"/>
              <a:gd name="connsiteY745" fmla="*/ 962318 h 6858000"/>
              <a:gd name="connsiteX746" fmla="*/ 5104039 w 7467600"/>
              <a:gd name="connsiteY746" fmla="*/ 940634 h 6858000"/>
              <a:gd name="connsiteX747" fmla="*/ 5256311 w 7467600"/>
              <a:gd name="connsiteY747" fmla="*/ 916490 h 6858000"/>
              <a:gd name="connsiteX748" fmla="*/ 5377381 w 7467600"/>
              <a:gd name="connsiteY748" fmla="*/ 912671 h 6858000"/>
              <a:gd name="connsiteX749" fmla="*/ 5460148 w 7467600"/>
              <a:gd name="connsiteY749" fmla="*/ 911442 h 6858000"/>
              <a:gd name="connsiteX750" fmla="*/ 5648971 w 7467600"/>
              <a:gd name="connsiteY750" fmla="*/ 891331 h 6858000"/>
              <a:gd name="connsiteX751" fmla="*/ 5844807 w 7467600"/>
              <a:gd name="connsiteY751" fmla="*/ 870718 h 6858000"/>
              <a:gd name="connsiteX752" fmla="*/ 5862975 w 7467600"/>
              <a:gd name="connsiteY752" fmla="*/ 869756 h 6858000"/>
              <a:gd name="connsiteX753" fmla="*/ 5920887 w 7467600"/>
              <a:gd name="connsiteY753" fmla="*/ 865929 h 6858000"/>
              <a:gd name="connsiteX754" fmla="*/ 5504425 w 7467600"/>
              <a:gd name="connsiteY754" fmla="*/ 848067 h 6858000"/>
              <a:gd name="connsiteX755" fmla="*/ 3607114 w 7467600"/>
              <a:gd name="connsiteY755" fmla="*/ 467441 h 6858000"/>
              <a:gd name="connsiteX756" fmla="*/ 3296242 w 7467600"/>
              <a:gd name="connsiteY756" fmla="*/ 807991 h 6858000"/>
              <a:gd name="connsiteX757" fmla="*/ 3174674 w 7467600"/>
              <a:gd name="connsiteY757" fmla="*/ 919759 h 6858000"/>
              <a:gd name="connsiteX758" fmla="*/ 3042978 w 7467600"/>
              <a:gd name="connsiteY758" fmla="*/ 1054894 h 6858000"/>
              <a:gd name="connsiteX759" fmla="*/ 2968914 w 7467600"/>
              <a:gd name="connsiteY759" fmla="*/ 1133756 h 6858000"/>
              <a:gd name="connsiteX760" fmla="*/ 3103823 w 7467600"/>
              <a:gd name="connsiteY760" fmla="*/ 1026814 h 6858000"/>
              <a:gd name="connsiteX761" fmla="*/ 3607114 w 7467600"/>
              <a:gd name="connsiteY761" fmla="*/ 467441 h 6858000"/>
              <a:gd name="connsiteX762" fmla="*/ 3744487 w 7467600"/>
              <a:gd name="connsiteY762" fmla="*/ 383136 h 6858000"/>
              <a:gd name="connsiteX763" fmla="*/ 3970213 w 7467600"/>
              <a:gd name="connsiteY763" fmla="*/ 995559 h 6858000"/>
              <a:gd name="connsiteX764" fmla="*/ 3744487 w 7467600"/>
              <a:gd name="connsiteY764" fmla="*/ 383136 h 6858000"/>
              <a:gd name="connsiteX765" fmla="*/ 3624562 w 7467600"/>
              <a:gd name="connsiteY765" fmla="*/ 367041 h 6858000"/>
              <a:gd name="connsiteX766" fmla="*/ 3489712 w 7467600"/>
              <a:gd name="connsiteY766" fmla="*/ 485386 h 6858000"/>
              <a:gd name="connsiteX767" fmla="*/ 3182994 w 7467600"/>
              <a:gd name="connsiteY767" fmla="*/ 828265 h 6858000"/>
              <a:gd name="connsiteX768" fmla="*/ 2892114 w 7467600"/>
              <a:gd name="connsiteY768" fmla="*/ 1172635 h 6858000"/>
              <a:gd name="connsiteX769" fmla="*/ 3021459 w 7467600"/>
              <a:gd name="connsiteY769" fmla="*/ 1035385 h 6858000"/>
              <a:gd name="connsiteX770" fmla="*/ 3153873 w 7467600"/>
              <a:gd name="connsiteY770" fmla="*/ 898971 h 6858000"/>
              <a:gd name="connsiteX771" fmla="*/ 3276511 w 7467600"/>
              <a:gd name="connsiteY771" fmla="*/ 786423 h 6858000"/>
              <a:gd name="connsiteX772" fmla="*/ 3584154 w 7467600"/>
              <a:gd name="connsiteY772" fmla="*/ 448218 h 6858000"/>
              <a:gd name="connsiteX773" fmla="*/ 3624562 w 7467600"/>
              <a:gd name="connsiteY773" fmla="*/ 367041 h 6858000"/>
              <a:gd name="connsiteX774" fmla="*/ 3766672 w 7467600"/>
              <a:gd name="connsiteY774" fmla="*/ 359429 h 6858000"/>
              <a:gd name="connsiteX775" fmla="*/ 3996338 w 7467600"/>
              <a:gd name="connsiteY775" fmla="*/ 968237 h 6858000"/>
              <a:gd name="connsiteX776" fmla="*/ 3766672 w 7467600"/>
              <a:gd name="connsiteY776" fmla="*/ 359429 h 6858000"/>
              <a:gd name="connsiteX777" fmla="*/ 5805386 w 7467600"/>
              <a:gd name="connsiteY777" fmla="*/ 239240 h 6858000"/>
              <a:gd name="connsiteX778" fmla="*/ 5736947 w 7467600"/>
              <a:gd name="connsiteY778" fmla="*/ 261367 h 6858000"/>
              <a:gd name="connsiteX779" fmla="*/ 5427012 w 7467600"/>
              <a:gd name="connsiteY779" fmla="*/ 311272 h 6858000"/>
              <a:gd name="connsiteX780" fmla="*/ 5147818 w 7467600"/>
              <a:gd name="connsiteY780" fmla="*/ 322112 h 6858000"/>
              <a:gd name="connsiteX781" fmla="*/ 5060854 w 7467600"/>
              <a:gd name="connsiteY781" fmla="*/ 311882 h 6858000"/>
              <a:gd name="connsiteX782" fmla="*/ 4945989 w 7467600"/>
              <a:gd name="connsiteY782" fmla="*/ 300516 h 6858000"/>
              <a:gd name="connsiteX783" fmla="*/ 5410479 w 7467600"/>
              <a:gd name="connsiteY783" fmla="*/ 348434 h 6858000"/>
              <a:gd name="connsiteX784" fmla="*/ 5805386 w 7467600"/>
              <a:gd name="connsiteY784" fmla="*/ 239240 h 6858000"/>
              <a:gd name="connsiteX785" fmla="*/ 5905192 w 7467600"/>
              <a:gd name="connsiteY785" fmla="*/ 163079 h 6858000"/>
              <a:gd name="connsiteX786" fmla="*/ 5865655 w 7467600"/>
              <a:gd name="connsiteY786" fmla="*/ 171901 h 6858000"/>
              <a:gd name="connsiteX787" fmla="*/ 5259740 w 7467600"/>
              <a:gd name="connsiteY787" fmla="*/ 257013 h 6858000"/>
              <a:gd name="connsiteX788" fmla="*/ 5208466 w 7467600"/>
              <a:gd name="connsiteY788" fmla="*/ 257550 h 6858000"/>
              <a:gd name="connsiteX789" fmla="*/ 4980204 w 7467600"/>
              <a:gd name="connsiteY789" fmla="*/ 271903 h 6858000"/>
              <a:gd name="connsiteX790" fmla="*/ 5068068 w 7467600"/>
              <a:gd name="connsiteY790" fmla="*/ 282244 h 6858000"/>
              <a:gd name="connsiteX791" fmla="*/ 5153231 w 7467600"/>
              <a:gd name="connsiteY791" fmla="*/ 292240 h 6858000"/>
              <a:gd name="connsiteX792" fmla="*/ 5426491 w 7467600"/>
              <a:gd name="connsiteY792" fmla="*/ 281128 h 6858000"/>
              <a:gd name="connsiteX793" fmla="*/ 5731212 w 7467600"/>
              <a:gd name="connsiteY793" fmla="*/ 231951 h 6858000"/>
              <a:gd name="connsiteX794" fmla="*/ 5905192 w 7467600"/>
              <a:gd name="connsiteY794" fmla="*/ 163079 h 6858000"/>
              <a:gd name="connsiteX795" fmla="*/ 5944437 w 7467600"/>
              <a:gd name="connsiteY795" fmla="*/ 113829 h 6858000"/>
              <a:gd name="connsiteX796" fmla="*/ 5825032 w 7467600"/>
              <a:gd name="connsiteY796" fmla="*/ 146405 h 6858000"/>
              <a:gd name="connsiteX797" fmla="*/ 4955599 w 7467600"/>
              <a:gd name="connsiteY797" fmla="*/ 247008 h 6858000"/>
              <a:gd name="connsiteX798" fmla="*/ 5210104 w 7467600"/>
              <a:gd name="connsiteY798" fmla="*/ 228123 h 6858000"/>
              <a:gd name="connsiteX799" fmla="*/ 5261015 w 7467600"/>
              <a:gd name="connsiteY799" fmla="*/ 227087 h 6858000"/>
              <a:gd name="connsiteX800" fmla="*/ 5861181 w 7467600"/>
              <a:gd name="connsiteY800" fmla="*/ 143093 h 6858000"/>
              <a:gd name="connsiteX801" fmla="*/ 5961252 w 7467600"/>
              <a:gd name="connsiteY801" fmla="*/ 114820 h 6858000"/>
              <a:gd name="connsiteX802" fmla="*/ 5944437 w 7467600"/>
              <a:gd name="connsiteY802" fmla="*/ 113829 h 6858000"/>
              <a:gd name="connsiteX803" fmla="*/ 3882765 w 7467600"/>
              <a:gd name="connsiteY803" fmla="*/ 0 h 6858000"/>
              <a:gd name="connsiteX804" fmla="*/ 3995099 w 7467600"/>
              <a:gd name="connsiteY804" fmla="*/ 0 h 6858000"/>
              <a:gd name="connsiteX805" fmla="*/ 4163818 w 7467600"/>
              <a:gd name="connsiteY805" fmla="*/ 234104 h 6858000"/>
              <a:gd name="connsiteX806" fmla="*/ 4172099 w 7467600"/>
              <a:gd name="connsiteY806" fmla="*/ 234207 h 6858000"/>
              <a:gd name="connsiteX807" fmla="*/ 4784282 w 7467600"/>
              <a:gd name="connsiteY807" fmla="*/ 276561 h 6858000"/>
              <a:gd name="connsiteX808" fmla="*/ 4801687 w 7467600"/>
              <a:gd name="connsiteY808" fmla="*/ 267764 h 6858000"/>
              <a:gd name="connsiteX809" fmla="*/ 6082788 w 7467600"/>
              <a:gd name="connsiteY809" fmla="*/ 64119 h 6858000"/>
              <a:gd name="connsiteX810" fmla="*/ 6099442 w 7467600"/>
              <a:gd name="connsiteY810" fmla="*/ 82568 h 6858000"/>
              <a:gd name="connsiteX811" fmla="*/ 4804137 w 7467600"/>
              <a:gd name="connsiteY811" fmla="*/ 320931 h 6858000"/>
              <a:gd name="connsiteX812" fmla="*/ 4227047 w 7467600"/>
              <a:gd name="connsiteY812" fmla="*/ 313415 h 6858000"/>
              <a:gd name="connsiteX813" fmla="*/ 4346041 w 7467600"/>
              <a:gd name="connsiteY813" fmla="*/ 456086 h 6858000"/>
              <a:gd name="connsiteX814" fmla="*/ 4870967 w 7467600"/>
              <a:gd name="connsiteY814" fmla="*/ 963061 h 6858000"/>
              <a:gd name="connsiteX815" fmla="*/ 4889647 w 7467600"/>
              <a:gd name="connsiteY815" fmla="*/ 957147 h 6858000"/>
              <a:gd name="connsiteX816" fmla="*/ 5422504 w 7467600"/>
              <a:gd name="connsiteY816" fmla="*/ 805191 h 6858000"/>
              <a:gd name="connsiteX817" fmla="*/ 6087656 w 7467600"/>
              <a:gd name="connsiteY817" fmla="*/ 826703 h 6858000"/>
              <a:gd name="connsiteX818" fmla="*/ 6058717 w 7467600"/>
              <a:gd name="connsiteY818" fmla="*/ 865992 h 6858000"/>
              <a:gd name="connsiteX819" fmla="*/ 4974153 w 7467600"/>
              <a:gd name="connsiteY819" fmla="*/ 1045456 h 6858000"/>
              <a:gd name="connsiteX820" fmla="*/ 5627835 w 7467600"/>
              <a:gd name="connsiteY820" fmla="*/ 1472077 h 6858000"/>
              <a:gd name="connsiteX821" fmla="*/ 5629817 w 7467600"/>
              <a:gd name="connsiteY821" fmla="*/ 1471412 h 6858000"/>
              <a:gd name="connsiteX822" fmla="*/ 5634124 w 7467600"/>
              <a:gd name="connsiteY822" fmla="*/ 1470572 h 6858000"/>
              <a:gd name="connsiteX823" fmla="*/ 5755832 w 7467600"/>
              <a:gd name="connsiteY823" fmla="*/ 1383886 h 6858000"/>
              <a:gd name="connsiteX824" fmla="*/ 6014186 w 7467600"/>
              <a:gd name="connsiteY824" fmla="*/ 1279799 h 6858000"/>
              <a:gd name="connsiteX825" fmla="*/ 6901619 w 7467600"/>
              <a:gd name="connsiteY825" fmla="*/ 1047874 h 6858000"/>
              <a:gd name="connsiteX826" fmla="*/ 6931566 w 7467600"/>
              <a:gd name="connsiteY826" fmla="*/ 1062034 h 6858000"/>
              <a:gd name="connsiteX827" fmla="*/ 5790982 w 7467600"/>
              <a:gd name="connsiteY827" fmla="*/ 1561380 h 6858000"/>
              <a:gd name="connsiteX828" fmla="*/ 6188971 w 7467600"/>
              <a:gd name="connsiteY828" fmla="*/ 1755168 h 6858000"/>
              <a:gd name="connsiteX829" fmla="*/ 6202446 w 7467600"/>
              <a:gd name="connsiteY829" fmla="*/ 1752268 h 6858000"/>
              <a:gd name="connsiteX830" fmla="*/ 7179560 w 7467600"/>
              <a:gd name="connsiteY830" fmla="*/ 1467551 h 6858000"/>
              <a:gd name="connsiteX831" fmla="*/ 7158730 w 7467600"/>
              <a:gd name="connsiteY831" fmla="*/ 1507835 h 6858000"/>
              <a:gd name="connsiteX832" fmla="*/ 6326959 w 7467600"/>
              <a:gd name="connsiteY832" fmla="*/ 1817686 h 6858000"/>
              <a:gd name="connsiteX833" fmla="*/ 6537433 w 7467600"/>
              <a:gd name="connsiteY833" fmla="*/ 1907790 h 6858000"/>
              <a:gd name="connsiteX834" fmla="*/ 6550221 w 7467600"/>
              <a:gd name="connsiteY834" fmla="*/ 1910729 h 6858000"/>
              <a:gd name="connsiteX835" fmla="*/ 6964438 w 7467600"/>
              <a:gd name="connsiteY835" fmla="*/ 2209505 h 6858000"/>
              <a:gd name="connsiteX836" fmla="*/ 7367862 w 7467600"/>
              <a:gd name="connsiteY836" fmla="*/ 2806833 h 6858000"/>
              <a:gd name="connsiteX837" fmla="*/ 7364329 w 7467600"/>
              <a:gd name="connsiteY837" fmla="*/ 2826907 h 6858000"/>
              <a:gd name="connsiteX838" fmla="*/ 7290545 w 7467600"/>
              <a:gd name="connsiteY838" fmla="*/ 2850663 h 6858000"/>
              <a:gd name="connsiteX839" fmla="*/ 6472036 w 7467600"/>
              <a:gd name="connsiteY839" fmla="*/ 1959003 h 6858000"/>
              <a:gd name="connsiteX840" fmla="*/ 5792897 w 7467600"/>
              <a:gd name="connsiteY840" fmla="*/ 1647747 h 6858000"/>
              <a:gd name="connsiteX841" fmla="*/ 5842751 w 7467600"/>
              <a:gd name="connsiteY841" fmla="*/ 1816112 h 6858000"/>
              <a:gd name="connsiteX842" fmla="*/ 5847424 w 7467600"/>
              <a:gd name="connsiteY842" fmla="*/ 1815776 h 6858000"/>
              <a:gd name="connsiteX843" fmla="*/ 6399821 w 7467600"/>
              <a:gd name="connsiteY843" fmla="*/ 2344799 h 6858000"/>
              <a:gd name="connsiteX844" fmla="*/ 6323232 w 7467600"/>
              <a:gd name="connsiteY844" fmla="*/ 2389634 h 6858000"/>
              <a:gd name="connsiteX845" fmla="*/ 5942958 w 7467600"/>
              <a:gd name="connsiteY845" fmla="*/ 2077708 h 6858000"/>
              <a:gd name="connsiteX846" fmla="*/ 5921559 w 7467600"/>
              <a:gd name="connsiteY846" fmla="*/ 2378596 h 6858000"/>
              <a:gd name="connsiteX847" fmla="*/ 5817651 w 7467600"/>
              <a:gd name="connsiteY847" fmla="*/ 3023919 h 6858000"/>
              <a:gd name="connsiteX848" fmla="*/ 5729634 w 7467600"/>
              <a:gd name="connsiteY848" fmla="*/ 3051849 h 6858000"/>
              <a:gd name="connsiteX849" fmla="*/ 5611018 w 7467600"/>
              <a:gd name="connsiteY849" fmla="*/ 2316769 h 6858000"/>
              <a:gd name="connsiteX850" fmla="*/ 5687608 w 7467600"/>
              <a:gd name="connsiteY850" fmla="*/ 2039972 h 6858000"/>
              <a:gd name="connsiteX851" fmla="*/ 5657554 w 7467600"/>
              <a:gd name="connsiteY851" fmla="*/ 1576445 h 6858000"/>
              <a:gd name="connsiteX852" fmla="*/ 5150475 w 7467600"/>
              <a:gd name="connsiteY852" fmla="*/ 1274012 h 6858000"/>
              <a:gd name="connsiteX853" fmla="*/ 5349142 w 7467600"/>
              <a:gd name="connsiteY853" fmla="*/ 2204405 h 6858000"/>
              <a:gd name="connsiteX854" fmla="*/ 5262214 w 7467600"/>
              <a:gd name="connsiteY854" fmla="*/ 2233836 h 6858000"/>
              <a:gd name="connsiteX855" fmla="*/ 4981539 w 7467600"/>
              <a:gd name="connsiteY855" fmla="*/ 1542201 h 6858000"/>
              <a:gd name="connsiteX856" fmla="*/ 4958461 w 7467600"/>
              <a:gd name="connsiteY856" fmla="*/ 1136957 h 6858000"/>
              <a:gd name="connsiteX857" fmla="*/ 4655015 w 7467600"/>
              <a:gd name="connsiteY857" fmla="*/ 891426 h 6858000"/>
              <a:gd name="connsiteX858" fmla="*/ 4348002 w 7467600"/>
              <a:gd name="connsiteY858" fmla="*/ 2205895 h 6858000"/>
              <a:gd name="connsiteX859" fmla="*/ 4262250 w 7467600"/>
              <a:gd name="connsiteY859" fmla="*/ 2219972 h 6858000"/>
              <a:gd name="connsiteX860" fmla="*/ 4550611 w 7467600"/>
              <a:gd name="connsiteY860" fmla="*/ 817540 h 6858000"/>
              <a:gd name="connsiteX861" fmla="*/ 4564418 w 7467600"/>
              <a:gd name="connsiteY861" fmla="*/ 808293 h 6858000"/>
              <a:gd name="connsiteX862" fmla="*/ 4266388 w 7467600"/>
              <a:gd name="connsiteY862" fmla="*/ 500083 h 6858000"/>
              <a:gd name="connsiteX863" fmla="*/ 4032842 w 7467600"/>
              <a:gd name="connsiteY863" fmla="*/ 211809 h 6858000"/>
              <a:gd name="connsiteX864" fmla="*/ 3882765 w 7467600"/>
              <a:gd name="connsiteY864" fmla="*/ 0 h 6858000"/>
              <a:gd name="connsiteX865" fmla="*/ 3721337 w 7467600"/>
              <a:gd name="connsiteY865" fmla="*/ 0 h 6858000"/>
              <a:gd name="connsiteX866" fmla="*/ 3797544 w 7467600"/>
              <a:gd name="connsiteY866" fmla="*/ 0 h 6858000"/>
              <a:gd name="connsiteX867" fmla="*/ 3775734 w 7467600"/>
              <a:gd name="connsiteY867" fmla="*/ 95131 h 6858000"/>
              <a:gd name="connsiteX868" fmla="*/ 3724807 w 7467600"/>
              <a:gd name="connsiteY868" fmla="*/ 272257 h 6858000"/>
              <a:gd name="connsiteX869" fmla="*/ 3726844 w 7467600"/>
              <a:gd name="connsiteY869" fmla="*/ 282988 h 6858000"/>
              <a:gd name="connsiteX870" fmla="*/ 3742664 w 7467600"/>
              <a:gd name="connsiteY870" fmla="*/ 279918 h 6858000"/>
              <a:gd name="connsiteX871" fmla="*/ 4103910 w 7467600"/>
              <a:gd name="connsiteY871" fmla="*/ 1161917 h 6858000"/>
              <a:gd name="connsiteX872" fmla="*/ 4020269 w 7467600"/>
              <a:gd name="connsiteY872" fmla="*/ 1200406 h 6858000"/>
              <a:gd name="connsiteX873" fmla="*/ 3674882 w 7467600"/>
              <a:gd name="connsiteY873" fmla="*/ 488524 h 6858000"/>
              <a:gd name="connsiteX874" fmla="*/ 3132682 w 7467600"/>
              <a:gd name="connsiteY874" fmla="*/ 1072284 h 6858000"/>
              <a:gd name="connsiteX875" fmla="*/ 2716346 w 7467600"/>
              <a:gd name="connsiteY875" fmla="*/ 1276376 h 6858000"/>
              <a:gd name="connsiteX876" fmla="*/ 2716772 w 7467600"/>
              <a:gd name="connsiteY876" fmla="*/ 1255462 h 6858000"/>
              <a:gd name="connsiteX877" fmla="*/ 3471096 w 7467600"/>
              <a:gd name="connsiteY877" fmla="*/ 437072 h 6858000"/>
              <a:gd name="connsiteX878" fmla="*/ 3639057 w 7467600"/>
              <a:gd name="connsiteY878" fmla="*/ 286334 h 6858000"/>
              <a:gd name="connsiteX879" fmla="*/ 3640309 w 7467600"/>
              <a:gd name="connsiteY879" fmla="*/ 284664 h 6858000"/>
              <a:gd name="connsiteX880" fmla="*/ 3646022 w 7467600"/>
              <a:gd name="connsiteY880" fmla="*/ 276711 h 6858000"/>
              <a:gd name="connsiteX881" fmla="*/ 3707943 w 7467600"/>
              <a:gd name="connsiteY881" fmla="*/ 65958 h 6858000"/>
              <a:gd name="connsiteX882" fmla="*/ 3721337 w 7467600"/>
              <a:gd name="connsiteY882" fmla="*/ 0 h 6858000"/>
              <a:gd name="connsiteX883" fmla="*/ 2867960 w 7467600"/>
              <a:gd name="connsiteY883" fmla="*/ 0 h 6858000"/>
              <a:gd name="connsiteX884" fmla="*/ 2926351 w 7467600"/>
              <a:gd name="connsiteY884" fmla="*/ 0 h 6858000"/>
              <a:gd name="connsiteX885" fmla="*/ 2902823 w 7467600"/>
              <a:gd name="connsiteY885" fmla="*/ 262929 h 6858000"/>
              <a:gd name="connsiteX886" fmla="*/ 2940663 w 7467600"/>
              <a:gd name="connsiteY886" fmla="*/ 140884 h 6858000"/>
              <a:gd name="connsiteX887" fmla="*/ 2947039 w 7467600"/>
              <a:gd name="connsiteY887" fmla="*/ 122524 h 6858000"/>
              <a:gd name="connsiteX888" fmla="*/ 2984316 w 7467600"/>
              <a:gd name="connsiteY888" fmla="*/ 0 h 6858000"/>
              <a:gd name="connsiteX889" fmla="*/ 3016114 w 7467600"/>
              <a:gd name="connsiteY889" fmla="*/ 0 h 6858000"/>
              <a:gd name="connsiteX890" fmla="*/ 2979949 w 7467600"/>
              <a:gd name="connsiteY890" fmla="*/ 119274 h 6858000"/>
              <a:gd name="connsiteX891" fmla="*/ 3023879 w 7467600"/>
              <a:gd name="connsiteY891" fmla="*/ 0 h 6858000"/>
              <a:gd name="connsiteX892" fmla="*/ 3105400 w 7467600"/>
              <a:gd name="connsiteY892" fmla="*/ 0 h 6858000"/>
              <a:gd name="connsiteX893" fmla="*/ 3094669 w 7467600"/>
              <a:gd name="connsiteY893" fmla="*/ 30308 h 6858000"/>
              <a:gd name="connsiteX894" fmla="*/ 2901945 w 7467600"/>
              <a:gd name="connsiteY894" fmla="*/ 466538 h 6858000"/>
              <a:gd name="connsiteX895" fmla="*/ 2815209 w 7467600"/>
              <a:gd name="connsiteY895" fmla="*/ 497361 h 6858000"/>
              <a:gd name="connsiteX896" fmla="*/ 2844845 w 7467600"/>
              <a:gd name="connsiteY896" fmla="*/ 127638 h 6858000"/>
              <a:gd name="connsiteX897" fmla="*/ 2867960 w 7467600"/>
              <a:gd name="connsiteY897" fmla="*/ 0 h 6858000"/>
              <a:gd name="connsiteX898" fmla="*/ 1057230 w 7467600"/>
              <a:gd name="connsiteY898" fmla="*/ 0 h 6858000"/>
              <a:gd name="connsiteX899" fmla="*/ 1111003 w 7467600"/>
              <a:gd name="connsiteY899" fmla="*/ 0 h 6858000"/>
              <a:gd name="connsiteX900" fmla="*/ 1125553 w 7467600"/>
              <a:gd name="connsiteY900" fmla="*/ 52588 h 6858000"/>
              <a:gd name="connsiteX901" fmla="*/ 1304276 w 7467600"/>
              <a:gd name="connsiteY901" fmla="*/ 476275 h 6858000"/>
              <a:gd name="connsiteX902" fmla="*/ 1492066 w 7467600"/>
              <a:gd name="connsiteY902" fmla="*/ 886333 h 6858000"/>
              <a:gd name="connsiteX903" fmla="*/ 1423698 w 7467600"/>
              <a:gd name="connsiteY903" fmla="*/ 710817 h 6858000"/>
              <a:gd name="connsiteX904" fmla="*/ 1357609 w 7467600"/>
              <a:gd name="connsiteY904" fmla="*/ 532892 h 6858000"/>
              <a:gd name="connsiteX905" fmla="*/ 1309550 w 7467600"/>
              <a:gd name="connsiteY905" fmla="*/ 374031 h 6858000"/>
              <a:gd name="connsiteX906" fmla="*/ 1193673 w 7467600"/>
              <a:gd name="connsiteY906" fmla="*/ 49533 h 6858000"/>
              <a:gd name="connsiteX907" fmla="*/ 1164391 w 7467600"/>
              <a:gd name="connsiteY907" fmla="*/ 0 h 6858000"/>
              <a:gd name="connsiteX908" fmla="*/ 1200666 w 7467600"/>
              <a:gd name="connsiteY908" fmla="*/ 0 h 6858000"/>
              <a:gd name="connsiteX909" fmla="*/ 1223408 w 7467600"/>
              <a:gd name="connsiteY909" fmla="*/ 38996 h 6858000"/>
              <a:gd name="connsiteX910" fmla="*/ 1339635 w 7467600"/>
              <a:gd name="connsiteY910" fmla="*/ 365517 h 6858000"/>
              <a:gd name="connsiteX911" fmla="*/ 1387469 w 7467600"/>
              <a:gd name="connsiteY911" fmla="*/ 523079 h 6858000"/>
              <a:gd name="connsiteX912" fmla="*/ 1452685 w 7467600"/>
              <a:gd name="connsiteY912" fmla="*/ 699806 h 6858000"/>
              <a:gd name="connsiteX913" fmla="*/ 1492092 w 7467600"/>
              <a:gd name="connsiteY913" fmla="*/ 800424 h 6858000"/>
              <a:gd name="connsiteX914" fmla="*/ 1455302 w 7467600"/>
              <a:gd name="connsiteY914" fmla="*/ 632913 h 6858000"/>
              <a:gd name="connsiteX915" fmla="*/ 1222336 w 7467600"/>
              <a:gd name="connsiteY915" fmla="*/ 9480 h 6858000"/>
              <a:gd name="connsiteX916" fmla="*/ 1214634 w 7467600"/>
              <a:gd name="connsiteY916" fmla="*/ 0 h 6858000"/>
              <a:gd name="connsiteX917" fmla="*/ 1289827 w 7467600"/>
              <a:gd name="connsiteY917" fmla="*/ 0 h 6858000"/>
              <a:gd name="connsiteX918" fmla="*/ 1321076 w 7467600"/>
              <a:gd name="connsiteY918" fmla="*/ 59722 h 6858000"/>
              <a:gd name="connsiteX919" fmla="*/ 1512579 w 7467600"/>
              <a:gd name="connsiteY919" fmla="*/ 626441 h 6858000"/>
              <a:gd name="connsiteX920" fmla="*/ 1506076 w 7467600"/>
              <a:gd name="connsiteY920" fmla="*/ 1089289 h 6858000"/>
              <a:gd name="connsiteX921" fmla="*/ 1486346 w 7467600"/>
              <a:gd name="connsiteY921" fmla="*/ 1079919 h 6858000"/>
              <a:gd name="connsiteX922" fmla="*/ 1070511 w 7467600"/>
              <a:gd name="connsiteY922" fmla="*/ 48609 h 6858000"/>
              <a:gd name="connsiteX923" fmla="*/ 1057230 w 7467600"/>
              <a:gd name="connsiteY923" fmla="*/ 0 h 6858000"/>
              <a:gd name="connsiteX924" fmla="*/ 43151 w 7467600"/>
              <a:gd name="connsiteY924" fmla="*/ 0 h 6858000"/>
              <a:gd name="connsiteX925" fmla="*/ 95283 w 7467600"/>
              <a:gd name="connsiteY925" fmla="*/ 0 h 6858000"/>
              <a:gd name="connsiteX926" fmla="*/ 300708 w 7467600"/>
              <a:gd name="connsiteY926" fmla="*/ 154571 h 6858000"/>
              <a:gd name="connsiteX927" fmla="*/ 530414 w 7467600"/>
              <a:gd name="connsiteY927" fmla="*/ 354673 h 6858000"/>
              <a:gd name="connsiteX928" fmla="*/ 333785 w 7467600"/>
              <a:gd name="connsiteY928" fmla="*/ 161564 h 6858000"/>
              <a:gd name="connsiteX929" fmla="*/ 147005 w 7467600"/>
              <a:gd name="connsiteY929" fmla="*/ 0 h 6858000"/>
              <a:gd name="connsiteX930" fmla="*/ 272509 w 7467600"/>
              <a:gd name="connsiteY930" fmla="*/ 0 h 6858000"/>
              <a:gd name="connsiteX931" fmla="*/ 326276 w 7467600"/>
              <a:gd name="connsiteY931" fmla="*/ 45847 h 6858000"/>
              <a:gd name="connsiteX932" fmla="*/ 823759 w 7467600"/>
              <a:gd name="connsiteY932" fmla="*/ 574145 h 6858000"/>
              <a:gd name="connsiteX933" fmla="*/ 811254 w 7467600"/>
              <a:gd name="connsiteY933" fmla="*/ 665546 h 6858000"/>
              <a:gd name="connsiteX934" fmla="*/ 154042 w 7467600"/>
              <a:gd name="connsiteY934" fmla="*/ 261522 h 6858000"/>
              <a:gd name="connsiteX935" fmla="*/ 13550 w 7467600"/>
              <a:gd name="connsiteY935" fmla="*/ 158423 h 6858000"/>
              <a:gd name="connsiteX936" fmla="*/ 0 w 7467600"/>
              <a:gd name="connsiteY936" fmla="*/ 146618 h 6858000"/>
              <a:gd name="connsiteX937" fmla="*/ 0 w 7467600"/>
              <a:gd name="connsiteY937" fmla="*/ 59161 h 6858000"/>
              <a:gd name="connsiteX938" fmla="*/ 45427 w 7467600"/>
              <a:gd name="connsiteY938" fmla="*/ 101078 h 6858000"/>
              <a:gd name="connsiteX939" fmla="*/ 630103 w 7467600"/>
              <a:gd name="connsiteY939" fmla="*/ 485885 h 6858000"/>
              <a:gd name="connsiteX940" fmla="*/ 532040 w 7467600"/>
              <a:gd name="connsiteY940" fmla="*/ 399359 h 6858000"/>
              <a:gd name="connsiteX941" fmla="*/ 517618 w 7467600"/>
              <a:gd name="connsiteY941" fmla="*/ 385726 h 6858000"/>
              <a:gd name="connsiteX942" fmla="*/ 285074 w 7467600"/>
              <a:gd name="connsiteY942" fmla="*/ 182755 h 6858000"/>
              <a:gd name="connsiteX943" fmla="*/ 43151 w 7467600"/>
              <a:gd name="connsiteY943"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289862 w 7467600"/>
              <a:gd name="connsiteY4" fmla="*/ 6659827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467600 w 7467600"/>
              <a:gd name="connsiteY9" fmla="*/ 6683873 h 6858000"/>
              <a:gd name="connsiteX10" fmla="*/ 7289862 w 7467600"/>
              <a:gd name="connsiteY10" fmla="*/ 6659827 h 6858000"/>
              <a:gd name="connsiteX11" fmla="*/ 1019354 w 7467600"/>
              <a:gd name="connsiteY11" fmla="*/ 6315006 h 6858000"/>
              <a:gd name="connsiteX12" fmla="*/ 441046 w 7467600"/>
              <a:gd name="connsiteY12" fmla="*/ 6691153 h 6858000"/>
              <a:gd name="connsiteX13" fmla="*/ 1019354 w 7467600"/>
              <a:gd name="connsiteY13" fmla="*/ 6315006 h 6858000"/>
              <a:gd name="connsiteX14" fmla="*/ 991680 w 7467600"/>
              <a:gd name="connsiteY14" fmla="*/ 6298413 h 6858000"/>
              <a:gd name="connsiteX15" fmla="*/ 409060 w 7467600"/>
              <a:gd name="connsiteY15" fmla="*/ 6671470 h 6858000"/>
              <a:gd name="connsiteX16" fmla="*/ 991680 w 7467600"/>
              <a:gd name="connsiteY16" fmla="*/ 6298413 h 6858000"/>
              <a:gd name="connsiteX17" fmla="*/ 103333 w 7467600"/>
              <a:gd name="connsiteY17" fmla="*/ 5699602 h 6858000"/>
              <a:gd name="connsiteX18" fmla="*/ 233938 w 7467600"/>
              <a:gd name="connsiteY18" fmla="*/ 5809416 h 6858000"/>
              <a:gd name="connsiteX19" fmla="*/ 883580 w 7467600"/>
              <a:gd name="connsiteY19" fmla="*/ 6180710 h 6858000"/>
              <a:gd name="connsiteX20" fmla="*/ 487337 w 7467600"/>
              <a:gd name="connsiteY20" fmla="*/ 5950182 h 6858000"/>
              <a:gd name="connsiteX21" fmla="*/ 354051 w 7467600"/>
              <a:gd name="connsiteY21" fmla="*/ 5854912 h 6858000"/>
              <a:gd name="connsiteX22" fmla="*/ 195436 w 7467600"/>
              <a:gd name="connsiteY22" fmla="*/ 5755068 h 6858000"/>
              <a:gd name="connsiteX23" fmla="*/ 103333 w 7467600"/>
              <a:gd name="connsiteY23" fmla="*/ 5699602 h 6858000"/>
              <a:gd name="connsiteX24" fmla="*/ 5539432 w 7467600"/>
              <a:gd name="connsiteY24" fmla="*/ 5642928 h 6858000"/>
              <a:gd name="connsiteX25" fmla="*/ 5555462 w 7467600"/>
              <a:gd name="connsiteY25" fmla="*/ 5694454 h 6858000"/>
              <a:gd name="connsiteX26" fmla="*/ 5828270 w 7467600"/>
              <a:gd name="connsiteY26" fmla="*/ 6320663 h 6858000"/>
              <a:gd name="connsiteX27" fmla="*/ 5947416 w 7467600"/>
              <a:gd name="connsiteY27" fmla="*/ 6574846 h 6858000"/>
              <a:gd name="connsiteX28" fmla="*/ 5539432 w 7467600"/>
              <a:gd name="connsiteY28" fmla="*/ 5642928 h 6858000"/>
              <a:gd name="connsiteX29" fmla="*/ 51253 w 7467600"/>
              <a:gd name="connsiteY29" fmla="*/ 5631825 h 6858000"/>
              <a:gd name="connsiteX30" fmla="*/ 211622 w 7467600"/>
              <a:gd name="connsiteY30" fmla="*/ 5728803 h 6858000"/>
              <a:gd name="connsiteX31" fmla="*/ 371652 w 7467600"/>
              <a:gd name="connsiteY31" fmla="*/ 5829062 h 6858000"/>
              <a:gd name="connsiteX32" fmla="*/ 505903 w 7467600"/>
              <a:gd name="connsiteY32" fmla="*/ 5925221 h 6858000"/>
              <a:gd name="connsiteX33" fmla="*/ 899240 w 7467600"/>
              <a:gd name="connsiteY33" fmla="*/ 6153068 h 6858000"/>
              <a:gd name="connsiteX34" fmla="*/ 988114 w 7467600"/>
              <a:gd name="connsiteY34" fmla="*/ 6174204 h 6858000"/>
              <a:gd name="connsiteX35" fmla="*/ 845971 w 7467600"/>
              <a:gd name="connsiteY35" fmla="*/ 6067177 h 6858000"/>
              <a:gd name="connsiteX36" fmla="*/ 448057 w 7467600"/>
              <a:gd name="connsiteY36" fmla="*/ 5841376 h 6858000"/>
              <a:gd name="connsiteX37" fmla="*/ 51253 w 7467600"/>
              <a:gd name="connsiteY37" fmla="*/ 5631825 h 6858000"/>
              <a:gd name="connsiteX38" fmla="*/ 2606687 w 7467600"/>
              <a:gd name="connsiteY38" fmla="*/ 5630718 h 6858000"/>
              <a:gd name="connsiteX39" fmla="*/ 2645658 w 7467600"/>
              <a:gd name="connsiteY39" fmla="*/ 6640259 h 6858000"/>
              <a:gd name="connsiteX40" fmla="*/ 2606687 w 7467600"/>
              <a:gd name="connsiteY40" fmla="*/ 5630718 h 6858000"/>
              <a:gd name="connsiteX41" fmla="*/ 3642057 w 7467600"/>
              <a:gd name="connsiteY41" fmla="*/ 5573487 h 6858000"/>
              <a:gd name="connsiteX42" fmla="*/ 3632981 w 7467600"/>
              <a:gd name="connsiteY42" fmla="*/ 5579437 h 6858000"/>
              <a:gd name="connsiteX43" fmla="*/ 3382436 w 7467600"/>
              <a:gd name="connsiteY43" fmla="*/ 5952726 h 6858000"/>
              <a:gd name="connsiteX44" fmla="*/ 3191929 w 7467600"/>
              <a:gd name="connsiteY44" fmla="*/ 6662669 h 6858000"/>
              <a:gd name="connsiteX45" fmla="*/ 3369898 w 7467600"/>
              <a:gd name="connsiteY45" fmla="*/ 6081771 h 6858000"/>
              <a:gd name="connsiteX46" fmla="*/ 3642057 w 7467600"/>
              <a:gd name="connsiteY46" fmla="*/ 5573487 h 6858000"/>
              <a:gd name="connsiteX47" fmla="*/ 2650666 w 7467600"/>
              <a:gd name="connsiteY47" fmla="*/ 5530686 h 6858000"/>
              <a:gd name="connsiteX48" fmla="*/ 2650249 w 7467600"/>
              <a:gd name="connsiteY48" fmla="*/ 5532101 h 6858000"/>
              <a:gd name="connsiteX49" fmla="*/ 2663808 w 7467600"/>
              <a:gd name="connsiteY49" fmla="*/ 6535215 h 6858000"/>
              <a:gd name="connsiteX50" fmla="*/ 2665418 w 7467600"/>
              <a:gd name="connsiteY50" fmla="*/ 6132756 h 6858000"/>
              <a:gd name="connsiteX51" fmla="*/ 2650666 w 7467600"/>
              <a:gd name="connsiteY51" fmla="*/ 5530686 h 6858000"/>
              <a:gd name="connsiteX52" fmla="*/ 2680277 w 7467600"/>
              <a:gd name="connsiteY52" fmla="*/ 5479204 h 6858000"/>
              <a:gd name="connsiteX53" fmla="*/ 2678972 w 7467600"/>
              <a:gd name="connsiteY53" fmla="*/ 5481582 h 6858000"/>
              <a:gd name="connsiteX54" fmla="*/ 2696666 w 7467600"/>
              <a:gd name="connsiteY54" fmla="*/ 6133836 h 6858000"/>
              <a:gd name="connsiteX55" fmla="*/ 2695769 w 7467600"/>
              <a:gd name="connsiteY55" fmla="*/ 6390955 h 6858000"/>
              <a:gd name="connsiteX56" fmla="*/ 2739893 w 7467600"/>
              <a:gd name="connsiteY56" fmla="*/ 6108357 h 6858000"/>
              <a:gd name="connsiteX57" fmla="*/ 2680277 w 7467600"/>
              <a:gd name="connsiteY57" fmla="*/ 5479204 h 6858000"/>
              <a:gd name="connsiteX58" fmla="*/ 1132195 w 7467600"/>
              <a:gd name="connsiteY58" fmla="*/ 5467980 h 6858000"/>
              <a:gd name="connsiteX59" fmla="*/ 1679056 w 7467600"/>
              <a:gd name="connsiteY59" fmla="*/ 5516907 h 6858000"/>
              <a:gd name="connsiteX60" fmla="*/ 2128648 w 7467600"/>
              <a:gd name="connsiteY60" fmla="*/ 5474249 h 6858000"/>
              <a:gd name="connsiteX61" fmla="*/ 1825619 w 7467600"/>
              <a:gd name="connsiteY61" fmla="*/ 5478447 h 6858000"/>
              <a:gd name="connsiteX62" fmla="*/ 1737798 w 7467600"/>
              <a:gd name="connsiteY62" fmla="*/ 5483353 h 6858000"/>
              <a:gd name="connsiteX63" fmla="*/ 1132195 w 7467600"/>
              <a:gd name="connsiteY63" fmla="*/ 5467980 h 6858000"/>
              <a:gd name="connsiteX64" fmla="*/ 1456157 w 7467600"/>
              <a:gd name="connsiteY64" fmla="*/ 5371404 h 6858000"/>
              <a:gd name="connsiteX65" fmla="*/ 1244432 w 7467600"/>
              <a:gd name="connsiteY65" fmla="*/ 5385601 h 6858000"/>
              <a:gd name="connsiteX66" fmla="*/ 973990 w 7467600"/>
              <a:gd name="connsiteY66" fmla="*/ 5424940 h 6858000"/>
              <a:gd name="connsiteX67" fmla="*/ 1103809 w 7467600"/>
              <a:gd name="connsiteY67" fmla="*/ 5433720 h 6858000"/>
              <a:gd name="connsiteX68" fmla="*/ 1123454 w 7467600"/>
              <a:gd name="connsiteY68" fmla="*/ 5435727 h 6858000"/>
              <a:gd name="connsiteX69" fmla="*/ 1737017 w 7467600"/>
              <a:gd name="connsiteY69" fmla="*/ 5452183 h 6858000"/>
              <a:gd name="connsiteX70" fmla="*/ 1824397 w 7467600"/>
              <a:gd name="connsiteY70" fmla="*/ 5447757 h 6858000"/>
              <a:gd name="connsiteX71" fmla="*/ 2070059 w 7467600"/>
              <a:gd name="connsiteY71" fmla="*/ 5441660 h 6858000"/>
              <a:gd name="connsiteX72" fmla="*/ 1456157 w 7467600"/>
              <a:gd name="connsiteY72" fmla="*/ 5371404 h 6858000"/>
              <a:gd name="connsiteX73" fmla="*/ 4988186 w 7467600"/>
              <a:gd name="connsiteY73" fmla="*/ 5216467 h 6858000"/>
              <a:gd name="connsiteX74" fmla="*/ 4777334 w 7467600"/>
              <a:gd name="connsiteY74" fmla="*/ 5406072 h 6858000"/>
              <a:gd name="connsiteX75" fmla="*/ 4718341 w 7467600"/>
              <a:gd name="connsiteY75" fmla="*/ 5468043 h 6858000"/>
              <a:gd name="connsiteX76" fmla="*/ 4604655 w 7467600"/>
              <a:gd name="connsiteY76" fmla="*/ 5583434 h 6858000"/>
              <a:gd name="connsiteX77" fmla="*/ 4565074 w 7467600"/>
              <a:gd name="connsiteY77" fmla="*/ 5618550 h 6858000"/>
              <a:gd name="connsiteX78" fmla="*/ 4988186 w 7467600"/>
              <a:gd name="connsiteY78" fmla="*/ 5216467 h 6858000"/>
              <a:gd name="connsiteX79" fmla="*/ 4978032 w 7467600"/>
              <a:gd name="connsiteY79" fmla="*/ 5183809 h 6858000"/>
              <a:gd name="connsiteX80" fmla="*/ 4463413 w 7467600"/>
              <a:gd name="connsiteY80" fmla="*/ 5615162 h 6858000"/>
              <a:gd name="connsiteX81" fmla="*/ 4358134 w 7467600"/>
              <a:gd name="connsiteY81" fmla="*/ 5742791 h 6858000"/>
              <a:gd name="connsiteX82" fmla="*/ 4376219 w 7467600"/>
              <a:gd name="connsiteY82" fmla="*/ 5729027 h 6858000"/>
              <a:gd name="connsiteX83" fmla="*/ 4582340 w 7467600"/>
              <a:gd name="connsiteY83" fmla="*/ 5561037 h 6858000"/>
              <a:gd name="connsiteX84" fmla="*/ 4694684 w 7467600"/>
              <a:gd name="connsiteY84" fmla="*/ 5447098 h 6858000"/>
              <a:gd name="connsiteX85" fmla="*/ 4754123 w 7467600"/>
              <a:gd name="connsiteY85" fmla="*/ 5384643 h 6858000"/>
              <a:gd name="connsiteX86" fmla="*/ 4978032 w 7467600"/>
              <a:gd name="connsiteY86" fmla="*/ 5183809 h 6858000"/>
              <a:gd name="connsiteX87" fmla="*/ 1903353 w 7467600"/>
              <a:gd name="connsiteY87" fmla="*/ 5044827 h 6858000"/>
              <a:gd name="connsiteX88" fmla="*/ 1936931 w 7467600"/>
              <a:gd name="connsiteY88" fmla="*/ 5093954 h 6858000"/>
              <a:gd name="connsiteX89" fmla="*/ 2195868 w 7467600"/>
              <a:gd name="connsiteY89" fmla="*/ 5396574 h 6858000"/>
              <a:gd name="connsiteX90" fmla="*/ 2088852 w 7467600"/>
              <a:gd name="connsiteY90" fmla="*/ 5166123 h 6858000"/>
              <a:gd name="connsiteX91" fmla="*/ 1958241 w 7467600"/>
              <a:gd name="connsiteY91" fmla="*/ 5067955 h 6858000"/>
              <a:gd name="connsiteX92" fmla="*/ 1903353 w 7467600"/>
              <a:gd name="connsiteY92" fmla="*/ 5044827 h 6858000"/>
              <a:gd name="connsiteX93" fmla="*/ 1979378 w 7467600"/>
              <a:gd name="connsiteY93" fmla="*/ 4769504 h 6858000"/>
              <a:gd name="connsiteX94" fmla="*/ 2882120 w 7467600"/>
              <a:gd name="connsiteY94" fmla="*/ 5064547 h 6858000"/>
              <a:gd name="connsiteX95" fmla="*/ 2793103 w 7467600"/>
              <a:gd name="connsiteY95" fmla="*/ 5039699 h 6858000"/>
              <a:gd name="connsiteX96" fmla="*/ 2770041 w 7467600"/>
              <a:gd name="connsiteY96" fmla="*/ 5033634 h 6858000"/>
              <a:gd name="connsiteX97" fmla="*/ 1979378 w 7467600"/>
              <a:gd name="connsiteY97" fmla="*/ 4769504 h 6858000"/>
              <a:gd name="connsiteX98" fmla="*/ 1927410 w 7467600"/>
              <a:gd name="connsiteY98" fmla="*/ 4716164 h 6858000"/>
              <a:gd name="connsiteX99" fmla="*/ 1959587 w 7467600"/>
              <a:gd name="connsiteY99" fmla="*/ 4728849 h 6858000"/>
              <a:gd name="connsiteX100" fmla="*/ 2777707 w 7467600"/>
              <a:gd name="connsiteY100" fmla="*/ 5003991 h 6858000"/>
              <a:gd name="connsiteX101" fmla="*/ 2800768 w 7467600"/>
              <a:gd name="connsiteY101" fmla="*/ 5010056 h 6858000"/>
              <a:gd name="connsiteX102" fmla="*/ 2879408 w 7467600"/>
              <a:gd name="connsiteY102" fmla="*/ 5031590 h 6858000"/>
              <a:gd name="connsiteX103" fmla="*/ 2862295 w 7467600"/>
              <a:gd name="connsiteY103" fmla="*/ 5022958 h 6858000"/>
              <a:gd name="connsiteX104" fmla="*/ 2813343 w 7467600"/>
              <a:gd name="connsiteY104" fmla="*/ 4998369 h 6858000"/>
              <a:gd name="connsiteX105" fmla="*/ 2646245 w 7467600"/>
              <a:gd name="connsiteY105" fmla="*/ 4930999 h 6858000"/>
              <a:gd name="connsiteX106" fmla="*/ 1999243 w 7467600"/>
              <a:gd name="connsiteY106" fmla="*/ 4730524 h 6858000"/>
              <a:gd name="connsiteX107" fmla="*/ 1979527 w 7467600"/>
              <a:gd name="connsiteY107" fmla="*/ 4726651 h 6858000"/>
              <a:gd name="connsiteX108" fmla="*/ 1927410 w 7467600"/>
              <a:gd name="connsiteY108" fmla="*/ 4716164 h 6858000"/>
              <a:gd name="connsiteX109" fmla="*/ 1997014 w 7467600"/>
              <a:gd name="connsiteY109" fmla="*/ 4698007 h 6858000"/>
              <a:gd name="connsiteX110" fmla="*/ 2005458 w 7467600"/>
              <a:gd name="connsiteY110" fmla="*/ 4699540 h 6858000"/>
              <a:gd name="connsiteX111" fmla="*/ 2657186 w 7467600"/>
              <a:gd name="connsiteY111" fmla="*/ 4901687 h 6858000"/>
              <a:gd name="connsiteX112" fmla="*/ 2826662 w 7467600"/>
              <a:gd name="connsiteY112" fmla="*/ 4970362 h 6858000"/>
              <a:gd name="connsiteX113" fmla="*/ 2876100 w 7467600"/>
              <a:gd name="connsiteY113" fmla="*/ 4995397 h 6858000"/>
              <a:gd name="connsiteX114" fmla="*/ 3042600 w 7467600"/>
              <a:gd name="connsiteY114" fmla="*/ 5059532 h 6858000"/>
              <a:gd name="connsiteX115" fmla="*/ 1997014 w 7467600"/>
              <a:gd name="connsiteY115" fmla="*/ 4698007 h 6858000"/>
              <a:gd name="connsiteX116" fmla="*/ 2305292 w 7467600"/>
              <a:gd name="connsiteY116" fmla="*/ 4219492 h 6858000"/>
              <a:gd name="connsiteX117" fmla="*/ 3360922 w 7467600"/>
              <a:gd name="connsiteY117" fmla="*/ 4529373 h 6858000"/>
              <a:gd name="connsiteX118" fmla="*/ 3492420 w 7467600"/>
              <a:gd name="connsiteY118" fmla="*/ 4510145 h 6858000"/>
              <a:gd name="connsiteX119" fmla="*/ 3364086 w 7467600"/>
              <a:gd name="connsiteY119" fmla="*/ 4480340 h 6858000"/>
              <a:gd name="connsiteX120" fmla="*/ 3225818 w 7467600"/>
              <a:gd name="connsiteY120" fmla="*/ 4411822 h 6858000"/>
              <a:gd name="connsiteX121" fmla="*/ 3129696 w 7467600"/>
              <a:gd name="connsiteY121" fmla="*/ 4360704 h 6858000"/>
              <a:gd name="connsiteX122" fmla="*/ 2814545 w 7467600"/>
              <a:gd name="connsiteY122" fmla="*/ 4282955 h 6858000"/>
              <a:gd name="connsiteX123" fmla="*/ 2305292 w 7467600"/>
              <a:gd name="connsiteY123" fmla="*/ 4219492 h 6858000"/>
              <a:gd name="connsiteX124" fmla="*/ 2626982 w 7467600"/>
              <a:gd name="connsiteY124" fmla="*/ 4206450 h 6858000"/>
              <a:gd name="connsiteX125" fmla="*/ 2490617 w 7467600"/>
              <a:gd name="connsiteY125" fmla="*/ 4206951 h 6858000"/>
              <a:gd name="connsiteX126" fmla="*/ 2819869 w 7467600"/>
              <a:gd name="connsiteY126" fmla="*/ 4252936 h 6858000"/>
              <a:gd name="connsiteX127" fmla="*/ 3143018 w 7467600"/>
              <a:gd name="connsiteY127" fmla="*/ 4332698 h 6858000"/>
              <a:gd name="connsiteX128" fmla="*/ 3241520 w 7467600"/>
              <a:gd name="connsiteY128" fmla="*/ 4385112 h 6858000"/>
              <a:gd name="connsiteX129" fmla="*/ 3374575 w 7467600"/>
              <a:gd name="connsiteY129" fmla="*/ 4451517 h 6858000"/>
              <a:gd name="connsiteX130" fmla="*/ 3505221 w 7467600"/>
              <a:gd name="connsiteY130" fmla="*/ 4480757 h 6858000"/>
              <a:gd name="connsiteX131" fmla="*/ 2626982 w 7467600"/>
              <a:gd name="connsiteY131" fmla="*/ 4206450 h 6858000"/>
              <a:gd name="connsiteX132" fmla="*/ 1310106 w 7467600"/>
              <a:gd name="connsiteY132" fmla="*/ 3943217 h 6858000"/>
              <a:gd name="connsiteX133" fmla="*/ 854994 w 7467600"/>
              <a:gd name="connsiteY133" fmla="*/ 4399136 h 6858000"/>
              <a:gd name="connsiteX134" fmla="*/ 742462 w 7467600"/>
              <a:gd name="connsiteY134" fmla="*/ 4594648 h 6858000"/>
              <a:gd name="connsiteX135" fmla="*/ 820602 w 7467600"/>
              <a:gd name="connsiteY135" fmla="*/ 4485915 h 6858000"/>
              <a:gd name="connsiteX136" fmla="*/ 878295 w 7467600"/>
              <a:gd name="connsiteY136" fmla="*/ 4403594 h 6858000"/>
              <a:gd name="connsiteX137" fmla="*/ 1240607 w 7467600"/>
              <a:gd name="connsiteY137" fmla="*/ 4010401 h 6858000"/>
              <a:gd name="connsiteX138" fmla="*/ 1310106 w 7467600"/>
              <a:gd name="connsiteY138" fmla="*/ 3943217 h 6858000"/>
              <a:gd name="connsiteX139" fmla="*/ 1423113 w 7467600"/>
              <a:gd name="connsiteY139" fmla="*/ 3874565 h 6858000"/>
              <a:gd name="connsiteX140" fmla="*/ 1260565 w 7467600"/>
              <a:gd name="connsiteY140" fmla="*/ 4031982 h 6858000"/>
              <a:gd name="connsiteX141" fmla="*/ 901900 w 7467600"/>
              <a:gd name="connsiteY141" fmla="*/ 4421236 h 6858000"/>
              <a:gd name="connsiteX142" fmla="*/ 845044 w 7467600"/>
              <a:gd name="connsiteY142" fmla="*/ 4502436 h 6858000"/>
              <a:gd name="connsiteX143" fmla="*/ 685926 w 7467600"/>
              <a:gd name="connsiteY143" fmla="*/ 4703069 h 6858000"/>
              <a:gd name="connsiteX144" fmla="*/ 684248 w 7467600"/>
              <a:gd name="connsiteY144" fmla="*/ 4706721 h 6858000"/>
              <a:gd name="connsiteX145" fmla="*/ 1423113 w 7467600"/>
              <a:gd name="connsiteY145" fmla="*/ 3874565 h 6858000"/>
              <a:gd name="connsiteX146" fmla="*/ 3316479 w 7467600"/>
              <a:gd name="connsiteY146" fmla="*/ 3872136 h 6858000"/>
              <a:gd name="connsiteX147" fmla="*/ 3546806 w 7467600"/>
              <a:gd name="connsiteY147" fmla="*/ 4356139 h 6858000"/>
              <a:gd name="connsiteX148" fmla="*/ 3364433 w 7467600"/>
              <a:gd name="connsiteY148" fmla="*/ 3953121 h 6858000"/>
              <a:gd name="connsiteX149" fmla="*/ 3316479 w 7467600"/>
              <a:gd name="connsiteY149" fmla="*/ 3872136 h 6858000"/>
              <a:gd name="connsiteX150" fmla="*/ 3291335 w 7467600"/>
              <a:gd name="connsiteY150" fmla="*/ 3767420 h 6858000"/>
              <a:gd name="connsiteX151" fmla="*/ 3390805 w 7467600"/>
              <a:gd name="connsiteY151" fmla="*/ 3937163 h 6858000"/>
              <a:gd name="connsiteX152" fmla="*/ 3579062 w 7467600"/>
              <a:gd name="connsiteY152" fmla="*/ 4359040 h 6858000"/>
              <a:gd name="connsiteX153" fmla="*/ 3467355 w 7467600"/>
              <a:gd name="connsiteY153" fmla="*/ 3988130 h 6858000"/>
              <a:gd name="connsiteX154" fmla="*/ 3310753 w 7467600"/>
              <a:gd name="connsiteY154" fmla="*/ 3787140 h 6858000"/>
              <a:gd name="connsiteX155" fmla="*/ 3291335 w 7467600"/>
              <a:gd name="connsiteY155" fmla="*/ 3767420 h 6858000"/>
              <a:gd name="connsiteX156" fmla="*/ 1635889 w 7467600"/>
              <a:gd name="connsiteY156" fmla="*/ 3709494 h 6858000"/>
              <a:gd name="connsiteX157" fmla="*/ 1634800 w 7467600"/>
              <a:gd name="connsiteY157" fmla="*/ 3731111 h 6858000"/>
              <a:gd name="connsiteX158" fmla="*/ 1635889 w 7467600"/>
              <a:gd name="connsiteY158" fmla="*/ 3709494 h 6858000"/>
              <a:gd name="connsiteX159" fmla="*/ 1510397 w 7467600"/>
              <a:gd name="connsiteY159" fmla="*/ 3684705 h 6858000"/>
              <a:gd name="connsiteX160" fmla="*/ 1146550 w 7467600"/>
              <a:gd name="connsiteY160" fmla="*/ 3802012 h 6858000"/>
              <a:gd name="connsiteX161" fmla="*/ 698834 w 7467600"/>
              <a:gd name="connsiteY161" fmla="*/ 3952272 h 6858000"/>
              <a:gd name="connsiteX162" fmla="*/ 34256 w 7467600"/>
              <a:gd name="connsiteY162" fmla="*/ 4347603 h 6858000"/>
              <a:gd name="connsiteX163" fmla="*/ 527241 w 7467600"/>
              <a:gd name="connsiteY163" fmla="*/ 4065078 h 6858000"/>
              <a:gd name="connsiteX164" fmla="*/ 1510397 w 7467600"/>
              <a:gd name="connsiteY164" fmla="*/ 3684705 h 6858000"/>
              <a:gd name="connsiteX165" fmla="*/ 1313114 w 7467600"/>
              <a:gd name="connsiteY165" fmla="*/ 3655216 h 6858000"/>
              <a:gd name="connsiteX166" fmla="*/ 1109304 w 7467600"/>
              <a:gd name="connsiteY166" fmla="*/ 3669030 h 6858000"/>
              <a:gd name="connsiteX167" fmla="*/ 8129 w 7467600"/>
              <a:gd name="connsiteY167" fmla="*/ 4330519 h 6858000"/>
              <a:gd name="connsiteX168" fmla="*/ 687572 w 7467600"/>
              <a:gd name="connsiteY168" fmla="*/ 3925629 h 6858000"/>
              <a:gd name="connsiteX169" fmla="*/ 1138365 w 7467600"/>
              <a:gd name="connsiteY169" fmla="*/ 3774515 h 6858000"/>
              <a:gd name="connsiteX170" fmla="*/ 1505579 w 7467600"/>
              <a:gd name="connsiteY170" fmla="*/ 3655526 h 6858000"/>
              <a:gd name="connsiteX171" fmla="*/ 1313114 w 7467600"/>
              <a:gd name="connsiteY171" fmla="*/ 3655216 h 6858000"/>
              <a:gd name="connsiteX172" fmla="*/ 3655073 w 7467600"/>
              <a:gd name="connsiteY172" fmla="*/ 3650884 h 6858000"/>
              <a:gd name="connsiteX173" fmla="*/ 3989938 w 7467600"/>
              <a:gd name="connsiteY173" fmla="*/ 3991685 h 6858000"/>
              <a:gd name="connsiteX174" fmla="*/ 4393907 w 7467600"/>
              <a:gd name="connsiteY174" fmla="*/ 4261258 h 6858000"/>
              <a:gd name="connsiteX175" fmla="*/ 4648051 w 7467600"/>
              <a:gd name="connsiteY175" fmla="*/ 4374051 h 6858000"/>
              <a:gd name="connsiteX176" fmla="*/ 4383389 w 7467600"/>
              <a:gd name="connsiteY176" fmla="*/ 4184369 h 6858000"/>
              <a:gd name="connsiteX177" fmla="*/ 4165508 w 7467600"/>
              <a:gd name="connsiteY177" fmla="*/ 4035196 h 6858000"/>
              <a:gd name="connsiteX178" fmla="*/ 4068162 w 7467600"/>
              <a:gd name="connsiteY178" fmla="*/ 3953394 h 6858000"/>
              <a:gd name="connsiteX179" fmla="*/ 3981416 w 7467600"/>
              <a:gd name="connsiteY179" fmla="*/ 3880482 h 6858000"/>
              <a:gd name="connsiteX180" fmla="*/ 3800147 w 7467600"/>
              <a:gd name="connsiteY180" fmla="*/ 3749872 h 6858000"/>
              <a:gd name="connsiteX181" fmla="*/ 3655073 w 7467600"/>
              <a:gd name="connsiteY181" fmla="*/ 3650884 h 6858000"/>
              <a:gd name="connsiteX182" fmla="*/ 3670252 w 7467600"/>
              <a:gd name="connsiteY182" fmla="*/ 3622798 h 6858000"/>
              <a:gd name="connsiteX183" fmla="*/ 3817258 w 7467600"/>
              <a:gd name="connsiteY183" fmla="*/ 3723577 h 6858000"/>
              <a:gd name="connsiteX184" fmla="*/ 4000461 w 7467600"/>
              <a:gd name="connsiteY184" fmla="*/ 3855966 h 6858000"/>
              <a:gd name="connsiteX185" fmla="*/ 4088180 w 7467600"/>
              <a:gd name="connsiteY185" fmla="*/ 3929774 h 6858000"/>
              <a:gd name="connsiteX186" fmla="*/ 4184555 w 7467600"/>
              <a:gd name="connsiteY186" fmla="*/ 4010683 h 6858000"/>
              <a:gd name="connsiteX187" fmla="*/ 4399563 w 7467600"/>
              <a:gd name="connsiteY187" fmla="*/ 4158106 h 6858000"/>
              <a:gd name="connsiteX188" fmla="*/ 4684469 w 7467600"/>
              <a:gd name="connsiteY188" fmla="*/ 4364680 h 6858000"/>
              <a:gd name="connsiteX189" fmla="*/ 4690271 w 7467600"/>
              <a:gd name="connsiteY189" fmla="*/ 4370034 h 6858000"/>
              <a:gd name="connsiteX190" fmla="*/ 4136093 w 7467600"/>
              <a:gd name="connsiteY190" fmla="*/ 3858466 h 6858000"/>
              <a:gd name="connsiteX191" fmla="*/ 3670252 w 7467600"/>
              <a:gd name="connsiteY191" fmla="*/ 3622798 h 6858000"/>
              <a:gd name="connsiteX192" fmla="*/ 4440129 w 7467600"/>
              <a:gd name="connsiteY192" fmla="*/ 3448571 h 6858000"/>
              <a:gd name="connsiteX193" fmla="*/ 4856525 w 7467600"/>
              <a:gd name="connsiteY193" fmla="*/ 3915351 h 6858000"/>
              <a:gd name="connsiteX194" fmla="*/ 5059055 w 7467600"/>
              <a:gd name="connsiteY194" fmla="*/ 4108918 h 6858000"/>
              <a:gd name="connsiteX195" fmla="*/ 5290070 w 7467600"/>
              <a:gd name="connsiteY195" fmla="*/ 4263619 h 6858000"/>
              <a:gd name="connsiteX196" fmla="*/ 4834991 w 7467600"/>
              <a:gd name="connsiteY196" fmla="*/ 3830985 h 6858000"/>
              <a:gd name="connsiteX197" fmla="*/ 4440129 w 7467600"/>
              <a:gd name="connsiteY197" fmla="*/ 3448571 h 6858000"/>
              <a:gd name="connsiteX198" fmla="*/ 4441737 w 7467600"/>
              <a:gd name="connsiteY198" fmla="*/ 3399734 h 6858000"/>
              <a:gd name="connsiteX199" fmla="*/ 4431236 w 7467600"/>
              <a:gd name="connsiteY199" fmla="*/ 3400954 h 6858000"/>
              <a:gd name="connsiteX200" fmla="*/ 4557150 w 7467600"/>
              <a:gd name="connsiteY200" fmla="*/ 3510023 h 6858000"/>
              <a:gd name="connsiteX201" fmla="*/ 4856936 w 7467600"/>
              <a:gd name="connsiteY201" fmla="*/ 3809146 h 6858000"/>
              <a:gd name="connsiteX202" fmla="*/ 5111996 w 7467600"/>
              <a:gd name="connsiteY202" fmla="*/ 4065759 h 6858000"/>
              <a:gd name="connsiteX203" fmla="*/ 5388878 w 7467600"/>
              <a:gd name="connsiteY203" fmla="*/ 4300185 h 6858000"/>
              <a:gd name="connsiteX204" fmla="*/ 5425556 w 7467600"/>
              <a:gd name="connsiteY204" fmla="*/ 4308967 h 6858000"/>
              <a:gd name="connsiteX205" fmla="*/ 4943646 w 7467600"/>
              <a:gd name="connsiteY205" fmla="*/ 3822916 h 6858000"/>
              <a:gd name="connsiteX206" fmla="*/ 4594837 w 7467600"/>
              <a:gd name="connsiteY206" fmla="*/ 3532274 h 6858000"/>
              <a:gd name="connsiteX207" fmla="*/ 4441737 w 7467600"/>
              <a:gd name="connsiteY207" fmla="*/ 3399734 h 6858000"/>
              <a:gd name="connsiteX208" fmla="*/ 5425834 w 7467600"/>
              <a:gd name="connsiteY208" fmla="*/ 3162785 h 6858000"/>
              <a:gd name="connsiteX209" fmla="*/ 5401644 w 7467600"/>
              <a:gd name="connsiteY209" fmla="*/ 3617847 h 6858000"/>
              <a:gd name="connsiteX210" fmla="*/ 5467256 w 7467600"/>
              <a:gd name="connsiteY210" fmla="*/ 4175494 h 6858000"/>
              <a:gd name="connsiteX211" fmla="*/ 5448069 w 7467600"/>
              <a:gd name="connsiteY211" fmla="*/ 3567554 h 6858000"/>
              <a:gd name="connsiteX212" fmla="*/ 5425834 w 7467600"/>
              <a:gd name="connsiteY212" fmla="*/ 3162785 h 6858000"/>
              <a:gd name="connsiteX213" fmla="*/ 1318687 w 7467600"/>
              <a:gd name="connsiteY213" fmla="*/ 3113840 h 6858000"/>
              <a:gd name="connsiteX214" fmla="*/ 1066793 w 7467600"/>
              <a:gd name="connsiteY214" fmla="*/ 3212171 h 6858000"/>
              <a:gd name="connsiteX215" fmla="*/ 993319 w 7467600"/>
              <a:gd name="connsiteY215" fmla="*/ 3247648 h 6858000"/>
              <a:gd name="connsiteX216" fmla="*/ 853081 w 7467600"/>
              <a:gd name="connsiteY216" fmla="*/ 3312410 h 6858000"/>
              <a:gd name="connsiteX217" fmla="*/ 805957 w 7467600"/>
              <a:gd name="connsiteY217" fmla="*/ 3330443 h 6858000"/>
              <a:gd name="connsiteX218" fmla="*/ 1318687 w 7467600"/>
              <a:gd name="connsiteY218" fmla="*/ 3113840 h 6858000"/>
              <a:gd name="connsiteX219" fmla="*/ 5453702 w 7467600"/>
              <a:gd name="connsiteY219" fmla="*/ 3090882 h 6858000"/>
              <a:gd name="connsiteX220" fmla="*/ 5480135 w 7467600"/>
              <a:gd name="connsiteY220" fmla="*/ 3565802 h 6858000"/>
              <a:gd name="connsiteX221" fmla="*/ 5499023 w 7467600"/>
              <a:gd name="connsiteY221" fmla="*/ 4166310 h 6858000"/>
              <a:gd name="connsiteX222" fmla="*/ 5547022 w 7467600"/>
              <a:gd name="connsiteY222" fmla="*/ 3607838 h 6858000"/>
              <a:gd name="connsiteX223" fmla="*/ 5515964 w 7467600"/>
              <a:gd name="connsiteY223" fmla="*/ 3378541 h 6858000"/>
              <a:gd name="connsiteX224" fmla="*/ 5453702 w 7467600"/>
              <a:gd name="connsiteY224" fmla="*/ 3090882 h 6858000"/>
              <a:gd name="connsiteX225" fmla="*/ 1238695 w 7467600"/>
              <a:gd name="connsiteY225" fmla="*/ 3076820 h 6858000"/>
              <a:gd name="connsiteX226" fmla="*/ 716371 w 7467600"/>
              <a:gd name="connsiteY226" fmla="*/ 3293249 h 6858000"/>
              <a:gd name="connsiteX227" fmla="*/ 579522 w 7467600"/>
              <a:gd name="connsiteY227" fmla="*/ 3371759 h 6858000"/>
              <a:gd name="connsiteX228" fmla="*/ 600288 w 7467600"/>
              <a:gd name="connsiteY228" fmla="*/ 3365555 h 6858000"/>
              <a:gd name="connsiteX229" fmla="*/ 840692 w 7467600"/>
              <a:gd name="connsiteY229" fmla="*/ 3284921 h 6858000"/>
              <a:gd name="connsiteX230" fmla="*/ 979248 w 7467600"/>
              <a:gd name="connsiteY230" fmla="*/ 3221003 h 6858000"/>
              <a:gd name="connsiteX231" fmla="*/ 1053282 w 7467600"/>
              <a:gd name="connsiteY231" fmla="*/ 3185247 h 6858000"/>
              <a:gd name="connsiteX232" fmla="*/ 1320603 w 7467600"/>
              <a:gd name="connsiteY232" fmla="*/ 3081281 h 6858000"/>
              <a:gd name="connsiteX233" fmla="*/ 1238695 w 7467600"/>
              <a:gd name="connsiteY233" fmla="*/ 3076820 h 6858000"/>
              <a:gd name="connsiteX234" fmla="*/ 5425627 w 7467600"/>
              <a:gd name="connsiteY234" fmla="*/ 2954192 h 6858000"/>
              <a:gd name="connsiteX235" fmla="*/ 5470770 w 7467600"/>
              <a:gd name="connsiteY235" fmla="*/ 3005435 h 6858000"/>
              <a:gd name="connsiteX236" fmla="*/ 5519779 w 7467600"/>
              <a:gd name="connsiteY236" fmla="*/ 4359223 h 6858000"/>
              <a:gd name="connsiteX237" fmla="*/ 5520293 w 7467600"/>
              <a:gd name="connsiteY237" fmla="*/ 4360602 h 6858000"/>
              <a:gd name="connsiteX238" fmla="*/ 5767221 w 7467600"/>
              <a:gd name="connsiteY238" fmla="*/ 4665564 h 6858000"/>
              <a:gd name="connsiteX239" fmla="*/ 6937169 w 7467600"/>
              <a:gd name="connsiteY239" fmla="*/ 4815941 h 6858000"/>
              <a:gd name="connsiteX240" fmla="*/ 6953922 w 7467600"/>
              <a:gd name="connsiteY240" fmla="*/ 4890068 h 6858000"/>
              <a:gd name="connsiteX241" fmla="*/ 6071359 w 7467600"/>
              <a:gd name="connsiteY241" fmla="*/ 4770770 h 6858000"/>
              <a:gd name="connsiteX242" fmla="*/ 6038839 w 7467600"/>
              <a:gd name="connsiteY242" fmla="*/ 4764474 h 6858000"/>
              <a:gd name="connsiteX243" fmla="*/ 6038706 w 7467600"/>
              <a:gd name="connsiteY243" fmla="*/ 4763847 h 6858000"/>
              <a:gd name="connsiteX244" fmla="*/ 6037784 w 7467600"/>
              <a:gd name="connsiteY244" fmla="*/ 4764270 h 6858000"/>
              <a:gd name="connsiteX245" fmla="*/ 6038839 w 7467600"/>
              <a:gd name="connsiteY245" fmla="*/ 4764474 h 6858000"/>
              <a:gd name="connsiteX246" fmla="*/ 6040338 w 7467600"/>
              <a:gd name="connsiteY246" fmla="*/ 4771418 h 6858000"/>
              <a:gd name="connsiteX247" fmla="*/ 6024488 w 7467600"/>
              <a:gd name="connsiteY247" fmla="*/ 4809903 h 6858000"/>
              <a:gd name="connsiteX248" fmla="*/ 5599771 w 7467600"/>
              <a:gd name="connsiteY248" fmla="*/ 5509652 h 6858000"/>
              <a:gd name="connsiteX249" fmla="*/ 5548843 w 7467600"/>
              <a:gd name="connsiteY249" fmla="*/ 5563845 h 6858000"/>
              <a:gd name="connsiteX250" fmla="*/ 5940952 w 7467600"/>
              <a:gd name="connsiteY250" fmla="*/ 6250028 h 6858000"/>
              <a:gd name="connsiteX251" fmla="*/ 6043441 w 7467600"/>
              <a:gd name="connsiteY251" fmla="*/ 6665847 h 6858000"/>
              <a:gd name="connsiteX252" fmla="*/ 6093432 w 7467600"/>
              <a:gd name="connsiteY252" fmla="*/ 6858000 h 6858000"/>
              <a:gd name="connsiteX253" fmla="*/ 6034344 w 7467600"/>
              <a:gd name="connsiteY253" fmla="*/ 6858000 h 6858000"/>
              <a:gd name="connsiteX254" fmla="*/ 6026679 w 7467600"/>
              <a:gd name="connsiteY254" fmla="*/ 6836959 h 6858000"/>
              <a:gd name="connsiteX255" fmla="*/ 5800441 w 7467600"/>
              <a:gd name="connsiteY255" fmla="*/ 6335286 h 6858000"/>
              <a:gd name="connsiteX256" fmla="*/ 5526562 w 7467600"/>
              <a:gd name="connsiteY256" fmla="*/ 5705388 h 6858000"/>
              <a:gd name="connsiteX257" fmla="*/ 5519640 w 7467600"/>
              <a:gd name="connsiteY257" fmla="*/ 5683774 h 6858000"/>
              <a:gd name="connsiteX258" fmla="*/ 5844559 w 7467600"/>
              <a:gd name="connsiteY258" fmla="*/ 6553349 h 6858000"/>
              <a:gd name="connsiteX259" fmla="*/ 5975994 w 7467600"/>
              <a:gd name="connsiteY259" fmla="*/ 6858000 h 6858000"/>
              <a:gd name="connsiteX260" fmla="*/ 5898547 w 7467600"/>
              <a:gd name="connsiteY260" fmla="*/ 6858000 h 6858000"/>
              <a:gd name="connsiteX261" fmla="*/ 5682041 w 7467600"/>
              <a:gd name="connsiteY261" fmla="*/ 6355860 h 6858000"/>
              <a:gd name="connsiteX262" fmla="*/ 5461758 w 7467600"/>
              <a:gd name="connsiteY262" fmla="*/ 5820220 h 6858000"/>
              <a:gd name="connsiteX263" fmla="*/ 5237282 w 7467600"/>
              <a:gd name="connsiteY263" fmla="*/ 6579086 h 6858000"/>
              <a:gd name="connsiteX264" fmla="*/ 5115009 w 7467600"/>
              <a:gd name="connsiteY264" fmla="*/ 6858000 h 6858000"/>
              <a:gd name="connsiteX265" fmla="*/ 5028074 w 7467600"/>
              <a:gd name="connsiteY265" fmla="*/ 6858000 h 6858000"/>
              <a:gd name="connsiteX266" fmla="*/ 5079508 w 7467600"/>
              <a:gd name="connsiteY266" fmla="*/ 6749074 h 6858000"/>
              <a:gd name="connsiteX267" fmla="*/ 5371846 w 7467600"/>
              <a:gd name="connsiteY267" fmla="*/ 5924413 h 6858000"/>
              <a:gd name="connsiteX268" fmla="*/ 5270512 w 7467600"/>
              <a:gd name="connsiteY268" fmla="*/ 6138975 h 6858000"/>
              <a:gd name="connsiteX269" fmla="*/ 5062409 w 7467600"/>
              <a:gd name="connsiteY269" fmla="*/ 6653544 h 6858000"/>
              <a:gd name="connsiteX270" fmla="*/ 5036628 w 7467600"/>
              <a:gd name="connsiteY270" fmla="*/ 6754247 h 6858000"/>
              <a:gd name="connsiteX271" fmla="*/ 5009112 w 7467600"/>
              <a:gd name="connsiteY271" fmla="*/ 6858000 h 6858000"/>
              <a:gd name="connsiteX272" fmla="*/ 4976679 w 7467600"/>
              <a:gd name="connsiteY272" fmla="*/ 6858000 h 6858000"/>
              <a:gd name="connsiteX273" fmla="*/ 5006537 w 7467600"/>
              <a:gd name="connsiteY273" fmla="*/ 6747068 h 6858000"/>
              <a:gd name="connsiteX274" fmla="*/ 5032723 w 7467600"/>
              <a:gd name="connsiteY274" fmla="*/ 6644957 h 6858000"/>
              <a:gd name="connsiteX275" fmla="*/ 5242949 w 7467600"/>
              <a:gd name="connsiteY275" fmla="*/ 6125175 h 6858000"/>
              <a:gd name="connsiteX276" fmla="*/ 5286321 w 7467600"/>
              <a:gd name="connsiteY276" fmla="*/ 6033555 h 6858000"/>
              <a:gd name="connsiteX277" fmla="*/ 5008210 w 7467600"/>
              <a:gd name="connsiteY277" fmla="*/ 6649194 h 6858000"/>
              <a:gd name="connsiteX278" fmla="*/ 4986321 w 7467600"/>
              <a:gd name="connsiteY278" fmla="*/ 6765687 h 6858000"/>
              <a:gd name="connsiteX279" fmla="*/ 4973474 w 7467600"/>
              <a:gd name="connsiteY279" fmla="*/ 6858000 h 6858000"/>
              <a:gd name="connsiteX280" fmla="*/ 4907178 w 7467600"/>
              <a:gd name="connsiteY280" fmla="*/ 6858000 h 6858000"/>
              <a:gd name="connsiteX281" fmla="*/ 4910810 w 7467600"/>
              <a:gd name="connsiteY281" fmla="*/ 6829660 h 6858000"/>
              <a:gd name="connsiteX282" fmla="*/ 4987461 w 7467600"/>
              <a:gd name="connsiteY282" fmla="*/ 6432994 h 6858000"/>
              <a:gd name="connsiteX283" fmla="*/ 5179262 w 7467600"/>
              <a:gd name="connsiteY283" fmla="*/ 6035044 h 6858000"/>
              <a:gd name="connsiteX284" fmla="*/ 4689678 w 7467600"/>
              <a:gd name="connsiteY284" fmla="*/ 6440241 h 6858000"/>
              <a:gd name="connsiteX285" fmla="*/ 4477543 w 7467600"/>
              <a:gd name="connsiteY285" fmla="*/ 6674836 h 6858000"/>
              <a:gd name="connsiteX286" fmla="*/ 4329957 w 7467600"/>
              <a:gd name="connsiteY286" fmla="*/ 6858000 h 6858000"/>
              <a:gd name="connsiteX287" fmla="*/ 4218595 w 7467600"/>
              <a:gd name="connsiteY287" fmla="*/ 6858000 h 6858000"/>
              <a:gd name="connsiteX288" fmla="*/ 4368888 w 7467600"/>
              <a:gd name="connsiteY288" fmla="*/ 6668412 h 6858000"/>
              <a:gd name="connsiteX289" fmla="*/ 4563091 w 7467600"/>
              <a:gd name="connsiteY289" fmla="*/ 6442508 h 6858000"/>
              <a:gd name="connsiteX290" fmla="*/ 5387324 w 7467600"/>
              <a:gd name="connsiteY290" fmla="*/ 5705830 h 6858000"/>
              <a:gd name="connsiteX291" fmla="*/ 5073620 w 7467600"/>
              <a:gd name="connsiteY291" fmla="*/ 5955437 h 6858000"/>
              <a:gd name="connsiteX292" fmla="*/ 4689789 w 7467600"/>
              <a:gd name="connsiteY292" fmla="*/ 6268382 h 6858000"/>
              <a:gd name="connsiteX293" fmla="*/ 4418722 w 7467600"/>
              <a:gd name="connsiteY293" fmla="*/ 6570886 h 6858000"/>
              <a:gd name="connsiteX294" fmla="*/ 4214944 w 7467600"/>
              <a:gd name="connsiteY294" fmla="*/ 6858000 h 6858000"/>
              <a:gd name="connsiteX295" fmla="*/ 4177898 w 7467600"/>
              <a:gd name="connsiteY295" fmla="*/ 6858000 h 6858000"/>
              <a:gd name="connsiteX296" fmla="*/ 4391597 w 7467600"/>
              <a:gd name="connsiteY296" fmla="*/ 6556370 h 6858000"/>
              <a:gd name="connsiteX297" fmla="*/ 4668889 w 7467600"/>
              <a:gd name="connsiteY297" fmla="*/ 6246399 h 6858000"/>
              <a:gd name="connsiteX298" fmla="*/ 5055427 w 7467600"/>
              <a:gd name="connsiteY298" fmla="*/ 5931476 h 6858000"/>
              <a:gd name="connsiteX299" fmla="*/ 5371814 w 7467600"/>
              <a:gd name="connsiteY299" fmla="*/ 5678975 h 6858000"/>
              <a:gd name="connsiteX300" fmla="*/ 4987918 w 7467600"/>
              <a:gd name="connsiteY300" fmla="*/ 5838701 h 6858000"/>
              <a:gd name="connsiteX301" fmla="*/ 4317146 w 7467600"/>
              <a:gd name="connsiteY301" fmla="*/ 6587716 h 6858000"/>
              <a:gd name="connsiteX302" fmla="*/ 4171627 w 7467600"/>
              <a:gd name="connsiteY302" fmla="*/ 6858000 h 6858000"/>
              <a:gd name="connsiteX303" fmla="*/ 4081585 w 7467600"/>
              <a:gd name="connsiteY303" fmla="*/ 6858000 h 6858000"/>
              <a:gd name="connsiteX304" fmla="*/ 4238603 w 7467600"/>
              <a:gd name="connsiteY304" fmla="*/ 6559341 h 6858000"/>
              <a:gd name="connsiteX305" fmla="*/ 4778333 w 7467600"/>
              <a:gd name="connsiteY305" fmla="*/ 5873626 h 6858000"/>
              <a:gd name="connsiteX306" fmla="*/ 5414185 w 7467600"/>
              <a:gd name="connsiteY306" fmla="*/ 5573882 h 6858000"/>
              <a:gd name="connsiteX307" fmla="*/ 5959648 w 7467600"/>
              <a:gd name="connsiteY307" fmla="*/ 4760797 h 6858000"/>
              <a:gd name="connsiteX308" fmla="*/ 5355019 w 7467600"/>
              <a:gd name="connsiteY308" fmla="*/ 4734672 h 6858000"/>
              <a:gd name="connsiteX309" fmla="*/ 5083565 w 7467600"/>
              <a:gd name="connsiteY309" fmla="*/ 5179121 h 6858000"/>
              <a:gd name="connsiteX310" fmla="*/ 4713577 w 7467600"/>
              <a:gd name="connsiteY310" fmla="*/ 5616803 h 6858000"/>
              <a:gd name="connsiteX311" fmla="*/ 3989559 w 7467600"/>
              <a:gd name="connsiteY311" fmla="*/ 6145945 h 6858000"/>
              <a:gd name="connsiteX312" fmla="*/ 3939824 w 7467600"/>
              <a:gd name="connsiteY312" fmla="*/ 6066900 h 6858000"/>
              <a:gd name="connsiteX313" fmla="*/ 4584537 w 7467600"/>
              <a:gd name="connsiteY313" fmla="*/ 5324826 h 6858000"/>
              <a:gd name="connsiteX314" fmla="*/ 5037105 w 7467600"/>
              <a:gd name="connsiteY314" fmla="*/ 5088765 h 6858000"/>
              <a:gd name="connsiteX315" fmla="*/ 5039930 w 7467600"/>
              <a:gd name="connsiteY315" fmla="*/ 5089585 h 6858000"/>
              <a:gd name="connsiteX316" fmla="*/ 5263764 w 7467600"/>
              <a:gd name="connsiteY316" fmla="*/ 4735525 h 6858000"/>
              <a:gd name="connsiteX317" fmla="*/ 4086300 w 7467600"/>
              <a:gd name="connsiteY317" fmla="*/ 4884599 h 6858000"/>
              <a:gd name="connsiteX318" fmla="*/ 4085485 w 7467600"/>
              <a:gd name="connsiteY318" fmla="*/ 4899070 h 6858000"/>
              <a:gd name="connsiteX319" fmla="*/ 3871915 w 7467600"/>
              <a:gd name="connsiteY319" fmla="*/ 5253645 h 6858000"/>
              <a:gd name="connsiteX320" fmla="*/ 3799374 w 7467600"/>
              <a:gd name="connsiteY320" fmla="*/ 5466127 h 6858000"/>
              <a:gd name="connsiteX321" fmla="*/ 3498850 w 7467600"/>
              <a:gd name="connsiteY321" fmla="*/ 6661888 h 6858000"/>
              <a:gd name="connsiteX322" fmla="*/ 3399216 w 7467600"/>
              <a:gd name="connsiteY322" fmla="*/ 6858000 h 6858000"/>
              <a:gd name="connsiteX323" fmla="*/ 3303688 w 7467600"/>
              <a:gd name="connsiteY323" fmla="*/ 6858000 h 6858000"/>
              <a:gd name="connsiteX324" fmla="*/ 3391774 w 7467600"/>
              <a:gd name="connsiteY324" fmla="*/ 6697181 h 6858000"/>
              <a:gd name="connsiteX325" fmla="*/ 3735540 w 7467600"/>
              <a:gd name="connsiteY325" fmla="*/ 5546923 h 6858000"/>
              <a:gd name="connsiteX326" fmla="*/ 3729438 w 7467600"/>
              <a:gd name="connsiteY326" fmla="*/ 5569058 h 6858000"/>
              <a:gd name="connsiteX327" fmla="*/ 3707782 w 7467600"/>
              <a:gd name="connsiteY327" fmla="*/ 5644908 h 6858000"/>
              <a:gd name="connsiteX328" fmla="*/ 3583827 w 7467600"/>
              <a:gd name="connsiteY328" fmla="*/ 6039215 h 6858000"/>
              <a:gd name="connsiteX329" fmla="*/ 3547861 w 7467600"/>
              <a:gd name="connsiteY329" fmla="*/ 6129609 h 6858000"/>
              <a:gd name="connsiteX330" fmla="*/ 3490905 w 7467600"/>
              <a:gd name="connsiteY330" fmla="*/ 6277660 h 6858000"/>
              <a:gd name="connsiteX331" fmla="*/ 3455859 w 7467600"/>
              <a:gd name="connsiteY331" fmla="*/ 6391301 h 6858000"/>
              <a:gd name="connsiteX332" fmla="*/ 3429112 w 7467600"/>
              <a:gd name="connsiteY332" fmla="*/ 6479469 h 6858000"/>
              <a:gd name="connsiteX333" fmla="*/ 3304862 w 7467600"/>
              <a:gd name="connsiteY333" fmla="*/ 6796476 h 6858000"/>
              <a:gd name="connsiteX334" fmla="*/ 3276071 w 7467600"/>
              <a:gd name="connsiteY334" fmla="*/ 6858000 h 6858000"/>
              <a:gd name="connsiteX335" fmla="*/ 3240805 w 7467600"/>
              <a:gd name="connsiteY335" fmla="*/ 6858000 h 6858000"/>
              <a:gd name="connsiteX336" fmla="*/ 3275917 w 7467600"/>
              <a:gd name="connsiteY336" fmla="*/ 6783192 h 6858000"/>
              <a:gd name="connsiteX337" fmla="*/ 3399358 w 7467600"/>
              <a:gd name="connsiteY337" fmla="*/ 6469011 h 6858000"/>
              <a:gd name="connsiteX338" fmla="*/ 3425650 w 7467600"/>
              <a:gd name="connsiteY338" fmla="*/ 6381333 h 6858000"/>
              <a:gd name="connsiteX339" fmla="*/ 3460661 w 7467600"/>
              <a:gd name="connsiteY339" fmla="*/ 6266763 h 6858000"/>
              <a:gd name="connsiteX340" fmla="*/ 3518021 w 7467600"/>
              <a:gd name="connsiteY340" fmla="*/ 6117298 h 6858000"/>
              <a:gd name="connsiteX341" fmla="*/ 3554035 w 7467600"/>
              <a:gd name="connsiteY341" fmla="*/ 6027832 h 6858000"/>
              <a:gd name="connsiteX342" fmla="*/ 3677174 w 7467600"/>
              <a:gd name="connsiteY342" fmla="*/ 5636351 h 6858000"/>
              <a:gd name="connsiteX343" fmla="*/ 3698819 w 7467600"/>
              <a:gd name="connsiteY343" fmla="*/ 5560503 h 6858000"/>
              <a:gd name="connsiteX344" fmla="*/ 3702094 w 7467600"/>
              <a:gd name="connsiteY344" fmla="*/ 5549194 h 6858000"/>
              <a:gd name="connsiteX345" fmla="*/ 3398355 w 7467600"/>
              <a:gd name="connsiteY345" fmla="*/ 6094603 h 6858000"/>
              <a:gd name="connsiteX346" fmla="*/ 3193941 w 7467600"/>
              <a:gd name="connsiteY346" fmla="*/ 6798775 h 6858000"/>
              <a:gd name="connsiteX347" fmla="*/ 3184140 w 7467600"/>
              <a:gd name="connsiteY347" fmla="*/ 6858000 h 6858000"/>
              <a:gd name="connsiteX348" fmla="*/ 3099978 w 7467600"/>
              <a:gd name="connsiteY348" fmla="*/ 6858000 h 6858000"/>
              <a:gd name="connsiteX349" fmla="*/ 3101556 w 7467600"/>
              <a:gd name="connsiteY349" fmla="*/ 6843337 h 6858000"/>
              <a:gd name="connsiteX350" fmla="*/ 3370162 w 7467600"/>
              <a:gd name="connsiteY350" fmla="*/ 5785550 h 6858000"/>
              <a:gd name="connsiteX351" fmla="*/ 3746477 w 7467600"/>
              <a:gd name="connsiteY351" fmla="*/ 5377889 h 6858000"/>
              <a:gd name="connsiteX352" fmla="*/ 3863399 w 7467600"/>
              <a:gd name="connsiteY352" fmla="*/ 5087257 h 6858000"/>
              <a:gd name="connsiteX353" fmla="*/ 3968712 w 7467600"/>
              <a:gd name="connsiteY353" fmla="*/ 4913989 h 6858000"/>
              <a:gd name="connsiteX354" fmla="*/ 2792390 w 7467600"/>
              <a:gd name="connsiteY354" fmla="*/ 5382974 h 6858000"/>
              <a:gd name="connsiteX355" fmla="*/ 2714982 w 7467600"/>
              <a:gd name="connsiteY355" fmla="*/ 5427051 h 6858000"/>
              <a:gd name="connsiteX356" fmla="*/ 2813361 w 7467600"/>
              <a:gd name="connsiteY356" fmla="*/ 6023912 h 6858000"/>
              <a:gd name="connsiteX357" fmla="*/ 2688430 w 7467600"/>
              <a:gd name="connsiteY357" fmla="*/ 6801564 h 6858000"/>
              <a:gd name="connsiteX358" fmla="*/ 2629626 w 7467600"/>
              <a:gd name="connsiteY358" fmla="*/ 6763394 h 6858000"/>
              <a:gd name="connsiteX359" fmla="*/ 2565328 w 7467600"/>
              <a:gd name="connsiteY359" fmla="*/ 5516399 h 6858000"/>
              <a:gd name="connsiteX360" fmla="*/ 1922999 w 7467600"/>
              <a:gd name="connsiteY360" fmla="*/ 5980343 h 6858000"/>
              <a:gd name="connsiteX361" fmla="*/ 1950261 w 7467600"/>
              <a:gd name="connsiteY361" fmla="*/ 6405858 h 6858000"/>
              <a:gd name="connsiteX362" fmla="*/ 2365554 w 7467600"/>
              <a:gd name="connsiteY362" fmla="*/ 6759107 h 6858000"/>
              <a:gd name="connsiteX363" fmla="*/ 2424142 w 7467600"/>
              <a:gd name="connsiteY363" fmla="*/ 6858000 h 6858000"/>
              <a:gd name="connsiteX364" fmla="*/ 2395994 w 7467600"/>
              <a:gd name="connsiteY364" fmla="*/ 6858000 h 6858000"/>
              <a:gd name="connsiteX365" fmla="*/ 2392863 w 7467600"/>
              <a:gd name="connsiteY365" fmla="*/ 6852964 h 6858000"/>
              <a:gd name="connsiteX366" fmla="*/ 2017589 w 7467600"/>
              <a:gd name="connsiteY366" fmla="*/ 6493982 h 6858000"/>
              <a:gd name="connsiteX367" fmla="*/ 2147336 w 7467600"/>
              <a:gd name="connsiteY367" fmla="*/ 6594052 h 6858000"/>
              <a:gd name="connsiteX368" fmla="*/ 2207047 w 7467600"/>
              <a:gd name="connsiteY368" fmla="*/ 6654540 h 6858000"/>
              <a:gd name="connsiteX369" fmla="*/ 2299106 w 7467600"/>
              <a:gd name="connsiteY369" fmla="*/ 6778931 h 6858000"/>
              <a:gd name="connsiteX370" fmla="*/ 2314430 w 7467600"/>
              <a:gd name="connsiteY370" fmla="*/ 6801144 h 6858000"/>
              <a:gd name="connsiteX371" fmla="*/ 2352406 w 7467600"/>
              <a:gd name="connsiteY371" fmla="*/ 6858000 h 6858000"/>
              <a:gd name="connsiteX372" fmla="*/ 2314492 w 7467600"/>
              <a:gd name="connsiteY372" fmla="*/ 6858000 h 6858000"/>
              <a:gd name="connsiteX373" fmla="*/ 2288095 w 7467600"/>
              <a:gd name="connsiteY373" fmla="*/ 6818030 h 6858000"/>
              <a:gd name="connsiteX374" fmla="*/ 2272768 w 7467600"/>
              <a:gd name="connsiteY374" fmla="*/ 6795822 h 6858000"/>
              <a:gd name="connsiteX375" fmla="*/ 2182715 w 7467600"/>
              <a:gd name="connsiteY375" fmla="*/ 6675071 h 6858000"/>
              <a:gd name="connsiteX376" fmla="*/ 2032061 w 7467600"/>
              <a:gd name="connsiteY376" fmla="*/ 6541380 h 6858000"/>
              <a:gd name="connsiteX377" fmla="*/ 2257220 w 7467600"/>
              <a:gd name="connsiteY377" fmla="*/ 6826257 h 6858000"/>
              <a:gd name="connsiteX378" fmla="*/ 2281324 w 7467600"/>
              <a:gd name="connsiteY378" fmla="*/ 6858000 h 6858000"/>
              <a:gd name="connsiteX379" fmla="*/ 2242860 w 7467600"/>
              <a:gd name="connsiteY379" fmla="*/ 6858000 h 6858000"/>
              <a:gd name="connsiteX380" fmla="*/ 2232818 w 7467600"/>
              <a:gd name="connsiteY380" fmla="*/ 6844926 h 6858000"/>
              <a:gd name="connsiteX381" fmla="*/ 1990172 w 7467600"/>
              <a:gd name="connsiteY381" fmla="*/ 6542121 h 6858000"/>
              <a:gd name="connsiteX382" fmla="*/ 2124090 w 7467600"/>
              <a:gd name="connsiteY382" fmla="*/ 6761017 h 6858000"/>
              <a:gd name="connsiteX383" fmla="*/ 2200380 w 7467600"/>
              <a:gd name="connsiteY383" fmla="*/ 6858000 h 6858000"/>
              <a:gd name="connsiteX384" fmla="*/ 2147507 w 7467600"/>
              <a:gd name="connsiteY384" fmla="*/ 6858000 h 6858000"/>
              <a:gd name="connsiteX385" fmla="*/ 2070668 w 7467600"/>
              <a:gd name="connsiteY385" fmla="*/ 6761520 h 6858000"/>
              <a:gd name="connsiteX386" fmla="*/ 1975142 w 7467600"/>
              <a:gd name="connsiteY386" fmla="*/ 6585570 h 6858000"/>
              <a:gd name="connsiteX387" fmla="*/ 2050035 w 7467600"/>
              <a:gd name="connsiteY387" fmla="*/ 6813345 h 6858000"/>
              <a:gd name="connsiteX388" fmla="*/ 2063025 w 7467600"/>
              <a:gd name="connsiteY388" fmla="*/ 6858000 h 6858000"/>
              <a:gd name="connsiteX389" fmla="*/ 2021675 w 7467600"/>
              <a:gd name="connsiteY389" fmla="*/ 6858000 h 6858000"/>
              <a:gd name="connsiteX390" fmla="*/ 2019308 w 7467600"/>
              <a:gd name="connsiteY390" fmla="*/ 6847118 h 6858000"/>
              <a:gd name="connsiteX391" fmla="*/ 1938835 w 7467600"/>
              <a:gd name="connsiteY391" fmla="*/ 6551160 h 6858000"/>
              <a:gd name="connsiteX392" fmla="*/ 1953230 w 7467600"/>
              <a:gd name="connsiteY392" fmla="*/ 6759699 h 6858000"/>
              <a:gd name="connsiteX393" fmla="*/ 1956763 w 7467600"/>
              <a:gd name="connsiteY393" fmla="*/ 6778191 h 6858000"/>
              <a:gd name="connsiteX394" fmla="*/ 1967925 w 7467600"/>
              <a:gd name="connsiteY394" fmla="*/ 6858000 h 6858000"/>
              <a:gd name="connsiteX395" fmla="*/ 1936622 w 7467600"/>
              <a:gd name="connsiteY395" fmla="*/ 6858000 h 6858000"/>
              <a:gd name="connsiteX396" fmla="*/ 1926261 w 7467600"/>
              <a:gd name="connsiteY396" fmla="*/ 6784064 h 6858000"/>
              <a:gd name="connsiteX397" fmla="*/ 1922724 w 7467600"/>
              <a:gd name="connsiteY397" fmla="*/ 6765577 h 6858000"/>
              <a:gd name="connsiteX398" fmla="*/ 1904650 w 7467600"/>
              <a:gd name="connsiteY398" fmla="*/ 6639616 h 6858000"/>
              <a:gd name="connsiteX399" fmla="*/ 1885273 w 7467600"/>
              <a:gd name="connsiteY399" fmla="*/ 6858000 h 6858000"/>
              <a:gd name="connsiteX400" fmla="*/ 1854363 w 7467600"/>
              <a:gd name="connsiteY400" fmla="*/ 6858000 h 6858000"/>
              <a:gd name="connsiteX401" fmla="*/ 1880391 w 7467600"/>
              <a:gd name="connsiteY401" fmla="*/ 6603796 h 6858000"/>
              <a:gd name="connsiteX402" fmla="*/ 1818273 w 7467600"/>
              <a:gd name="connsiteY402" fmla="*/ 6715729 h 6858000"/>
              <a:gd name="connsiteX403" fmla="*/ 1794691 w 7467600"/>
              <a:gd name="connsiteY403" fmla="*/ 6843239 h 6858000"/>
              <a:gd name="connsiteX404" fmla="*/ 1794914 w 7467600"/>
              <a:gd name="connsiteY404" fmla="*/ 6858000 h 6858000"/>
              <a:gd name="connsiteX405" fmla="*/ 1746128 w 7467600"/>
              <a:gd name="connsiteY405" fmla="*/ 6858000 h 6858000"/>
              <a:gd name="connsiteX406" fmla="*/ 1753934 w 7467600"/>
              <a:gd name="connsiteY406" fmla="*/ 6724796 h 6858000"/>
              <a:gd name="connsiteX407" fmla="*/ 1792053 w 7467600"/>
              <a:gd name="connsiteY407" fmla="*/ 6572396 h 6858000"/>
              <a:gd name="connsiteX408" fmla="*/ 1862248 w 7467600"/>
              <a:gd name="connsiteY408" fmla="*/ 6266397 h 6858000"/>
              <a:gd name="connsiteX409" fmla="*/ 1862250 w 7467600"/>
              <a:gd name="connsiteY409" fmla="*/ 6033531 h 6858000"/>
              <a:gd name="connsiteX410" fmla="*/ 1211999 w 7467600"/>
              <a:gd name="connsiteY410" fmla="*/ 6683610 h 6858000"/>
              <a:gd name="connsiteX411" fmla="*/ 1213266 w 7467600"/>
              <a:gd name="connsiteY411" fmla="*/ 6691947 h 6858000"/>
              <a:gd name="connsiteX412" fmla="*/ 1203370 w 7467600"/>
              <a:gd name="connsiteY412" fmla="*/ 6850676 h 6858000"/>
              <a:gd name="connsiteX413" fmla="*/ 1203671 w 7467600"/>
              <a:gd name="connsiteY413" fmla="*/ 6858000 h 6858000"/>
              <a:gd name="connsiteX414" fmla="*/ 1143180 w 7467600"/>
              <a:gd name="connsiteY414" fmla="*/ 6858000 h 6858000"/>
              <a:gd name="connsiteX415" fmla="*/ 1142176 w 7467600"/>
              <a:gd name="connsiteY415" fmla="*/ 6766045 h 6858000"/>
              <a:gd name="connsiteX416" fmla="*/ 1067484 w 7467600"/>
              <a:gd name="connsiteY416" fmla="*/ 6858000 h 6858000"/>
              <a:gd name="connsiteX417" fmla="*/ 953928 w 7467600"/>
              <a:gd name="connsiteY417" fmla="*/ 6858000 h 6858000"/>
              <a:gd name="connsiteX418" fmla="*/ 959715 w 7467600"/>
              <a:gd name="connsiteY418" fmla="*/ 6850185 h 6858000"/>
              <a:gd name="connsiteX419" fmla="*/ 1483788 w 7467600"/>
              <a:gd name="connsiteY419" fmla="*/ 6259174 h 6858000"/>
              <a:gd name="connsiteX420" fmla="*/ 1100671 w 7467600"/>
              <a:gd name="connsiteY420" fmla="*/ 6252137 h 6858000"/>
              <a:gd name="connsiteX421" fmla="*/ 1090144 w 7467600"/>
              <a:gd name="connsiteY421" fmla="*/ 6256748 h 6858000"/>
              <a:gd name="connsiteX422" fmla="*/ 1095872 w 7467600"/>
              <a:gd name="connsiteY422" fmla="*/ 6271892 h 6858000"/>
              <a:gd name="connsiteX423" fmla="*/ 262785 w 7467600"/>
              <a:gd name="connsiteY423" fmla="*/ 6845450 h 6858000"/>
              <a:gd name="connsiteX424" fmla="*/ 209968 w 7467600"/>
              <a:gd name="connsiteY424" fmla="*/ 6770713 h 6858000"/>
              <a:gd name="connsiteX425" fmla="*/ 873460 w 7467600"/>
              <a:gd name="connsiteY425" fmla="*/ 6253768 h 6858000"/>
              <a:gd name="connsiteX426" fmla="*/ 192686 w 7467600"/>
              <a:gd name="connsiteY426" fmla="*/ 5849257 h 6858000"/>
              <a:gd name="connsiteX427" fmla="*/ 4696 w 7467600"/>
              <a:gd name="connsiteY427" fmla="*/ 5697668 h 6858000"/>
              <a:gd name="connsiteX428" fmla="*/ 0 w 7467600"/>
              <a:gd name="connsiteY428" fmla="*/ 5689984 h 6858000"/>
              <a:gd name="connsiteX429" fmla="*/ 0 w 7467600"/>
              <a:gd name="connsiteY429" fmla="*/ 5513472 h 6858000"/>
              <a:gd name="connsiteX430" fmla="*/ 174101 w 7467600"/>
              <a:gd name="connsiteY430" fmla="*/ 5620277 h 6858000"/>
              <a:gd name="connsiteX431" fmla="*/ 891800 w 7467600"/>
              <a:gd name="connsiteY431" fmla="*/ 6036935 h 6858000"/>
              <a:gd name="connsiteX432" fmla="*/ 1072219 w 7467600"/>
              <a:gd name="connsiteY432" fmla="*/ 6169443 h 6858000"/>
              <a:gd name="connsiteX433" fmla="*/ 1074117 w 7467600"/>
              <a:gd name="connsiteY433" fmla="*/ 6170301 h 6858000"/>
              <a:gd name="connsiteX434" fmla="*/ 1083114 w 7467600"/>
              <a:gd name="connsiteY434" fmla="*/ 6174131 h 6858000"/>
              <a:gd name="connsiteX435" fmla="*/ 1543010 w 7467600"/>
              <a:gd name="connsiteY435" fmla="*/ 6191140 h 6858000"/>
              <a:gd name="connsiteX436" fmla="*/ 1551080 w 7467600"/>
              <a:gd name="connsiteY436" fmla="*/ 6195006 h 6858000"/>
              <a:gd name="connsiteX437" fmla="*/ 2345443 w 7467600"/>
              <a:gd name="connsiteY437" fmla="*/ 5549882 h 6858000"/>
              <a:gd name="connsiteX438" fmla="*/ 1721499 w 7467600"/>
              <a:gd name="connsiteY438" fmla="*/ 5599969 h 6858000"/>
              <a:gd name="connsiteX439" fmla="*/ 767716 w 7467600"/>
              <a:gd name="connsiteY439" fmla="*/ 5472768 h 6858000"/>
              <a:gd name="connsiteX440" fmla="*/ 722147 w 7467600"/>
              <a:gd name="connsiteY440" fmla="*/ 5393091 h 6858000"/>
              <a:gd name="connsiteX441" fmla="*/ 1485552 w 7467600"/>
              <a:gd name="connsiteY441" fmla="*/ 5313202 h 6858000"/>
              <a:gd name="connsiteX442" fmla="*/ 2143004 w 7467600"/>
              <a:gd name="connsiteY442" fmla="*/ 5402420 h 6858000"/>
              <a:gd name="connsiteX443" fmla="*/ 1933391 w 7467600"/>
              <a:gd name="connsiteY443" fmla="*/ 5156971 h 6858000"/>
              <a:gd name="connsiteX444" fmla="*/ 1827118 w 7467600"/>
              <a:gd name="connsiteY444" fmla="*/ 4968410 h 6858000"/>
              <a:gd name="connsiteX445" fmla="*/ 1837349 w 7467600"/>
              <a:gd name="connsiteY445" fmla="*/ 4956357 h 6858000"/>
              <a:gd name="connsiteX446" fmla="*/ 2162835 w 7467600"/>
              <a:gd name="connsiteY446" fmla="*/ 5187853 h 6858000"/>
              <a:gd name="connsiteX447" fmla="*/ 2257167 w 7467600"/>
              <a:gd name="connsiteY447" fmla="*/ 5462123 h 6858000"/>
              <a:gd name="connsiteX448" fmla="*/ 2261598 w 7467600"/>
              <a:gd name="connsiteY448" fmla="*/ 5467998 h 6858000"/>
              <a:gd name="connsiteX449" fmla="*/ 2437177 w 7467600"/>
              <a:gd name="connsiteY449" fmla="*/ 5479608 h 6858000"/>
              <a:gd name="connsiteX450" fmla="*/ 2445247 w 7467600"/>
              <a:gd name="connsiteY450" fmla="*/ 5483476 h 6858000"/>
              <a:gd name="connsiteX451" fmla="*/ 2743626 w 7467600"/>
              <a:gd name="connsiteY451" fmla="*/ 5304819 h 6858000"/>
              <a:gd name="connsiteX452" fmla="*/ 3048102 w 7467600"/>
              <a:gd name="connsiteY452" fmla="*/ 5150595 h 6858000"/>
              <a:gd name="connsiteX453" fmla="*/ 1799414 w 7467600"/>
              <a:gd name="connsiteY453" fmla="*/ 4694732 h 6858000"/>
              <a:gd name="connsiteX454" fmla="*/ 1771735 w 7467600"/>
              <a:gd name="connsiteY454" fmla="*/ 4619929 h 6858000"/>
              <a:gd name="connsiteX455" fmla="*/ 3104273 w 7467600"/>
              <a:gd name="connsiteY455" fmla="*/ 5076159 h 6858000"/>
              <a:gd name="connsiteX456" fmla="*/ 3113245 w 7467600"/>
              <a:gd name="connsiteY456" fmla="*/ 5090705 h 6858000"/>
              <a:gd name="connsiteX457" fmla="*/ 3126294 w 7467600"/>
              <a:gd name="connsiteY457" fmla="*/ 5114400 h 6858000"/>
              <a:gd name="connsiteX458" fmla="*/ 3937433 w 7467600"/>
              <a:gd name="connsiteY458" fmla="*/ 4830473 h 6858000"/>
              <a:gd name="connsiteX459" fmla="*/ 3590475 w 7467600"/>
              <a:gd name="connsiteY459" fmla="*/ 4597974 h 6858000"/>
              <a:gd name="connsiteX460" fmla="*/ 3100264 w 7467600"/>
              <a:gd name="connsiteY460" fmla="*/ 4579845 h 6858000"/>
              <a:gd name="connsiteX461" fmla="*/ 2183576 w 7467600"/>
              <a:gd name="connsiteY461" fmla="*/ 4227150 h 6858000"/>
              <a:gd name="connsiteX462" fmla="*/ 2151029 w 7467600"/>
              <a:gd name="connsiteY462" fmla="*/ 4146947 h 6858000"/>
              <a:gd name="connsiteX463" fmla="*/ 3563434 w 7467600"/>
              <a:gd name="connsiteY463" fmla="*/ 4469115 h 6858000"/>
              <a:gd name="connsiteX464" fmla="*/ 3177952 w 7467600"/>
              <a:gd name="connsiteY464" fmla="*/ 3657386 h 6858000"/>
              <a:gd name="connsiteX465" fmla="*/ 3189263 w 7467600"/>
              <a:gd name="connsiteY465" fmla="*/ 3625726 h 6858000"/>
              <a:gd name="connsiteX466" fmla="*/ 3560912 w 7467600"/>
              <a:gd name="connsiteY466" fmla="*/ 4079863 h 6858000"/>
              <a:gd name="connsiteX467" fmla="*/ 3626636 w 7467600"/>
              <a:gd name="connsiteY467" fmla="*/ 4512230 h 6858000"/>
              <a:gd name="connsiteX468" fmla="*/ 3653088 w 7467600"/>
              <a:gd name="connsiteY468" fmla="*/ 4521417 h 6858000"/>
              <a:gd name="connsiteX469" fmla="*/ 3988128 w 7467600"/>
              <a:gd name="connsiteY469" fmla="*/ 4817267 h 6858000"/>
              <a:gd name="connsiteX470" fmla="*/ 4830582 w 7467600"/>
              <a:gd name="connsiteY470" fmla="*/ 4676000 h 6858000"/>
              <a:gd name="connsiteX471" fmla="*/ 4830100 w 7467600"/>
              <a:gd name="connsiteY471" fmla="*/ 4675554 h 6858000"/>
              <a:gd name="connsiteX472" fmla="*/ 4036318 w 7467600"/>
              <a:gd name="connsiteY472" fmla="*/ 4147013 h 6858000"/>
              <a:gd name="connsiteX473" fmla="*/ 3432098 w 7467600"/>
              <a:gd name="connsiteY473" fmla="*/ 3537312 h 6858000"/>
              <a:gd name="connsiteX474" fmla="*/ 3446761 w 7467600"/>
              <a:gd name="connsiteY474" fmla="*/ 3461278 h 6858000"/>
              <a:gd name="connsiteX475" fmla="*/ 4419733 w 7467600"/>
              <a:gd name="connsiteY475" fmla="*/ 3963555 h 6858000"/>
              <a:gd name="connsiteX476" fmla="*/ 4781371 w 7467600"/>
              <a:gd name="connsiteY476" fmla="*/ 4458604 h 6858000"/>
              <a:gd name="connsiteX477" fmla="*/ 4780440 w 7467600"/>
              <a:gd name="connsiteY477" fmla="*/ 4470290 h 6858000"/>
              <a:gd name="connsiteX478" fmla="*/ 4898954 w 7467600"/>
              <a:gd name="connsiteY478" fmla="*/ 4662092 h 6858000"/>
              <a:gd name="connsiteX479" fmla="*/ 4900699 w 7467600"/>
              <a:gd name="connsiteY479" fmla="*/ 4670867 h 6858000"/>
              <a:gd name="connsiteX480" fmla="*/ 5714511 w 7467600"/>
              <a:gd name="connsiteY480" fmla="*/ 4663483 h 6858000"/>
              <a:gd name="connsiteX481" fmla="*/ 5464793 w 7467600"/>
              <a:gd name="connsiteY481" fmla="*/ 4393556 h 6858000"/>
              <a:gd name="connsiteX482" fmla="*/ 5461897 w 7467600"/>
              <a:gd name="connsiteY482" fmla="*/ 4390879 h 6858000"/>
              <a:gd name="connsiteX483" fmla="*/ 4294126 w 7467600"/>
              <a:gd name="connsiteY483" fmla="*/ 3303048 h 6858000"/>
              <a:gd name="connsiteX484" fmla="*/ 4305321 w 7467600"/>
              <a:gd name="connsiteY484" fmla="*/ 3256953 h 6858000"/>
              <a:gd name="connsiteX485" fmla="*/ 4949299 w 7467600"/>
              <a:gd name="connsiteY485" fmla="*/ 3766336 h 6858000"/>
              <a:gd name="connsiteX486" fmla="*/ 5291452 w 7467600"/>
              <a:gd name="connsiteY486" fmla="*/ 4076801 h 6858000"/>
              <a:gd name="connsiteX487" fmla="*/ 5434998 w 7467600"/>
              <a:gd name="connsiteY487" fmla="*/ 4254100 h 6858000"/>
              <a:gd name="connsiteX488" fmla="*/ 5351015 w 7467600"/>
              <a:gd name="connsiteY488" fmla="*/ 3760989 h 6858000"/>
              <a:gd name="connsiteX489" fmla="*/ 5413780 w 7467600"/>
              <a:gd name="connsiteY489" fmla="*/ 2966265 h 6858000"/>
              <a:gd name="connsiteX490" fmla="*/ 5425627 w 7467600"/>
              <a:gd name="connsiteY490" fmla="*/ 2954192 h 6858000"/>
              <a:gd name="connsiteX491" fmla="*/ 6604735 w 7467600"/>
              <a:gd name="connsiteY491" fmla="*/ 2041381 h 6858000"/>
              <a:gd name="connsiteX492" fmla="*/ 7204487 w 7467600"/>
              <a:gd name="connsiteY492" fmla="*/ 2742112 h 6858000"/>
              <a:gd name="connsiteX493" fmla="*/ 7131592 w 7467600"/>
              <a:gd name="connsiteY493" fmla="*/ 2672096 h 6858000"/>
              <a:gd name="connsiteX494" fmla="*/ 6996344 w 7467600"/>
              <a:gd name="connsiteY494" fmla="*/ 2518310 h 6858000"/>
              <a:gd name="connsiteX495" fmla="*/ 6735495 w 7467600"/>
              <a:gd name="connsiteY495" fmla="*/ 2196890 h 6858000"/>
              <a:gd name="connsiteX496" fmla="*/ 6721901 w 7467600"/>
              <a:gd name="connsiteY496" fmla="*/ 2179274 h 6858000"/>
              <a:gd name="connsiteX497" fmla="*/ 6604735 w 7467600"/>
              <a:gd name="connsiteY497" fmla="*/ 2041381 h 6858000"/>
              <a:gd name="connsiteX498" fmla="*/ 6591670 w 7467600"/>
              <a:gd name="connsiteY498" fmla="*/ 1988277 h 6858000"/>
              <a:gd name="connsiteX499" fmla="*/ 6747349 w 7467600"/>
              <a:gd name="connsiteY499" fmla="*/ 2160069 h 6858000"/>
              <a:gd name="connsiteX500" fmla="*/ 6760943 w 7467600"/>
              <a:gd name="connsiteY500" fmla="*/ 2177686 h 6858000"/>
              <a:gd name="connsiteX501" fmla="*/ 7021065 w 7467600"/>
              <a:gd name="connsiteY501" fmla="*/ 2498102 h 6858000"/>
              <a:gd name="connsiteX502" fmla="*/ 7155223 w 7467600"/>
              <a:gd name="connsiteY502" fmla="*/ 2650386 h 6858000"/>
              <a:gd name="connsiteX503" fmla="*/ 7203167 w 7467600"/>
              <a:gd name="connsiteY503" fmla="*/ 2697288 h 6858000"/>
              <a:gd name="connsiteX504" fmla="*/ 6937703 w 7467600"/>
              <a:gd name="connsiteY504" fmla="*/ 2321981 h 6858000"/>
              <a:gd name="connsiteX505" fmla="*/ 6591670 w 7467600"/>
              <a:gd name="connsiteY505" fmla="*/ 1988277 h 6858000"/>
              <a:gd name="connsiteX506" fmla="*/ 5798671 w 7467600"/>
              <a:gd name="connsiteY506" fmla="*/ 1981601 h 6858000"/>
              <a:gd name="connsiteX507" fmla="*/ 5754709 w 7467600"/>
              <a:gd name="connsiteY507" fmla="*/ 2071454 h 6858000"/>
              <a:gd name="connsiteX508" fmla="*/ 5763044 w 7467600"/>
              <a:gd name="connsiteY508" fmla="*/ 2842206 h 6858000"/>
              <a:gd name="connsiteX509" fmla="*/ 5764974 w 7467600"/>
              <a:gd name="connsiteY509" fmla="*/ 2799609 h 6858000"/>
              <a:gd name="connsiteX510" fmla="*/ 5767665 w 7467600"/>
              <a:gd name="connsiteY510" fmla="*/ 2666409 h 6858000"/>
              <a:gd name="connsiteX511" fmla="*/ 5763055 w 7467600"/>
              <a:gd name="connsiteY511" fmla="*/ 2579705 h 6858000"/>
              <a:gd name="connsiteX512" fmla="*/ 5758079 w 7467600"/>
              <a:gd name="connsiteY512" fmla="*/ 2492508 h 6858000"/>
              <a:gd name="connsiteX513" fmla="*/ 5779325 w 7467600"/>
              <a:gd name="connsiteY513" fmla="*/ 2197069 h 6858000"/>
              <a:gd name="connsiteX514" fmla="*/ 5798671 w 7467600"/>
              <a:gd name="connsiteY514" fmla="*/ 1981601 h 6858000"/>
              <a:gd name="connsiteX515" fmla="*/ 5829202 w 7467600"/>
              <a:gd name="connsiteY515" fmla="*/ 1971679 h 6858000"/>
              <a:gd name="connsiteX516" fmla="*/ 5809558 w 7467600"/>
              <a:gd name="connsiteY516" fmla="*/ 2198043 h 6858000"/>
              <a:gd name="connsiteX517" fmla="*/ 5788653 w 7467600"/>
              <a:gd name="connsiteY517" fmla="*/ 2489430 h 6858000"/>
              <a:gd name="connsiteX518" fmla="*/ 5793439 w 7467600"/>
              <a:gd name="connsiteY518" fmla="*/ 2575235 h 6858000"/>
              <a:gd name="connsiteX519" fmla="*/ 5796837 w 7467600"/>
              <a:gd name="connsiteY519" fmla="*/ 2637633 h 6858000"/>
              <a:gd name="connsiteX520" fmla="*/ 5818614 w 7467600"/>
              <a:gd name="connsiteY520" fmla="*/ 2473055 h 6858000"/>
              <a:gd name="connsiteX521" fmla="*/ 5829202 w 7467600"/>
              <a:gd name="connsiteY521" fmla="*/ 1971679 h 6858000"/>
              <a:gd name="connsiteX522" fmla="*/ 5911389 w 7467600"/>
              <a:gd name="connsiteY522" fmla="*/ 1898371 h 6858000"/>
              <a:gd name="connsiteX523" fmla="*/ 6237627 w 7467600"/>
              <a:gd name="connsiteY523" fmla="*/ 2231921 h 6858000"/>
              <a:gd name="connsiteX524" fmla="*/ 5911389 w 7467600"/>
              <a:gd name="connsiteY524" fmla="*/ 1898371 h 6858000"/>
              <a:gd name="connsiteX525" fmla="*/ 6944437 w 7467600"/>
              <a:gd name="connsiteY525" fmla="*/ 1575402 h 6858000"/>
              <a:gd name="connsiteX526" fmla="*/ 6304730 w 7467600"/>
              <a:gd name="connsiteY526" fmla="*/ 1766654 h 6858000"/>
              <a:gd name="connsiteX527" fmla="*/ 6944437 w 7467600"/>
              <a:gd name="connsiteY527" fmla="*/ 1575402 h 6858000"/>
              <a:gd name="connsiteX528" fmla="*/ 7019523 w 7467600"/>
              <a:gd name="connsiteY528" fmla="*/ 1519450 h 6858000"/>
              <a:gd name="connsiteX529" fmla="*/ 6298091 w 7467600"/>
              <a:gd name="connsiteY529" fmla="*/ 1737122 h 6858000"/>
              <a:gd name="connsiteX530" fmla="*/ 7019523 w 7467600"/>
              <a:gd name="connsiteY530" fmla="*/ 1519450 h 6858000"/>
              <a:gd name="connsiteX531" fmla="*/ 2399523 w 7467600"/>
              <a:gd name="connsiteY531" fmla="*/ 1428234 h 6858000"/>
              <a:gd name="connsiteX532" fmla="*/ 2224982 w 7467600"/>
              <a:gd name="connsiteY532" fmla="*/ 1826201 h 6858000"/>
              <a:gd name="connsiteX533" fmla="*/ 2096099 w 7467600"/>
              <a:gd name="connsiteY533" fmla="*/ 2345900 h 6858000"/>
              <a:gd name="connsiteX534" fmla="*/ 2283317 w 7467600"/>
              <a:gd name="connsiteY534" fmla="*/ 1796925 h 6858000"/>
              <a:gd name="connsiteX535" fmla="*/ 2399523 w 7467600"/>
              <a:gd name="connsiteY535" fmla="*/ 1428234 h 6858000"/>
              <a:gd name="connsiteX536" fmla="*/ 2448558 w 7467600"/>
              <a:gd name="connsiteY536" fmla="*/ 1373435 h 6858000"/>
              <a:gd name="connsiteX537" fmla="*/ 2312521 w 7467600"/>
              <a:gd name="connsiteY537" fmla="*/ 1806140 h 6858000"/>
              <a:gd name="connsiteX538" fmla="*/ 2127533 w 7467600"/>
              <a:gd name="connsiteY538" fmla="*/ 2348380 h 6858000"/>
              <a:gd name="connsiteX539" fmla="*/ 2358080 w 7467600"/>
              <a:gd name="connsiteY539" fmla="*/ 1866134 h 6858000"/>
              <a:gd name="connsiteX540" fmla="*/ 2407436 w 7467600"/>
              <a:gd name="connsiteY540" fmla="*/ 1651070 h 6858000"/>
              <a:gd name="connsiteX541" fmla="*/ 2448558 w 7467600"/>
              <a:gd name="connsiteY541" fmla="*/ 1373435 h 6858000"/>
              <a:gd name="connsiteX542" fmla="*/ 278707 w 7467600"/>
              <a:gd name="connsiteY542" fmla="*/ 1352270 h 6858000"/>
              <a:gd name="connsiteX543" fmla="*/ 321570 w 7467600"/>
              <a:gd name="connsiteY543" fmla="*/ 1861610 h 6858000"/>
              <a:gd name="connsiteX544" fmla="*/ 294281 w 7467600"/>
              <a:gd name="connsiteY544" fmla="*/ 1440658 h 6858000"/>
              <a:gd name="connsiteX545" fmla="*/ 278707 w 7467600"/>
              <a:gd name="connsiteY545" fmla="*/ 1352270 h 6858000"/>
              <a:gd name="connsiteX546" fmla="*/ 1423821 w 7467600"/>
              <a:gd name="connsiteY546" fmla="*/ 1351958 h 6858000"/>
              <a:gd name="connsiteX547" fmla="*/ 1638521 w 7467600"/>
              <a:gd name="connsiteY547" fmla="*/ 1908470 h 6858000"/>
              <a:gd name="connsiteX548" fmla="*/ 1754199 w 7467600"/>
              <a:gd name="connsiteY548" fmla="*/ 2149284 h 6858000"/>
              <a:gd name="connsiteX549" fmla="*/ 1908359 w 7467600"/>
              <a:gd name="connsiteY549" fmla="*/ 2364988 h 6858000"/>
              <a:gd name="connsiteX550" fmla="*/ 1647661 w 7467600"/>
              <a:gd name="connsiteY550" fmla="*/ 1825945 h 6858000"/>
              <a:gd name="connsiteX551" fmla="*/ 1423821 w 7467600"/>
              <a:gd name="connsiteY551" fmla="*/ 1351958 h 6858000"/>
              <a:gd name="connsiteX552" fmla="*/ 1431890 w 7467600"/>
              <a:gd name="connsiteY552" fmla="*/ 1306475 h 6858000"/>
              <a:gd name="connsiteX553" fmla="*/ 1507597 w 7467600"/>
              <a:gd name="connsiteY553" fmla="*/ 1446132 h 6858000"/>
              <a:gd name="connsiteX554" fmla="*/ 1674586 w 7467600"/>
              <a:gd name="connsiteY554" fmla="*/ 1813832 h 6858000"/>
              <a:gd name="connsiteX555" fmla="*/ 1815950 w 7467600"/>
              <a:gd name="connsiteY555" fmla="*/ 2128564 h 6858000"/>
              <a:gd name="connsiteX556" fmla="*/ 1984242 w 7467600"/>
              <a:gd name="connsiteY556" fmla="*/ 2430829 h 6858000"/>
              <a:gd name="connsiteX557" fmla="*/ 2014023 w 7467600"/>
              <a:gd name="connsiteY557" fmla="*/ 2450995 h 6858000"/>
              <a:gd name="connsiteX558" fmla="*/ 1747337 w 7467600"/>
              <a:gd name="connsiteY558" fmla="*/ 1855264 h 6858000"/>
              <a:gd name="connsiteX559" fmla="*/ 1533749 w 7467600"/>
              <a:gd name="connsiteY559" fmla="*/ 1478656 h 6858000"/>
              <a:gd name="connsiteX560" fmla="*/ 1431890 w 7467600"/>
              <a:gd name="connsiteY560" fmla="*/ 1306475 h 6858000"/>
              <a:gd name="connsiteX561" fmla="*/ 5052692 w 7467600"/>
              <a:gd name="connsiteY561" fmla="*/ 1292994 h 6858000"/>
              <a:gd name="connsiteX562" fmla="*/ 5200661 w 7467600"/>
              <a:gd name="connsiteY562" fmla="*/ 1635186 h 6858000"/>
              <a:gd name="connsiteX563" fmla="*/ 5297138 w 7467600"/>
              <a:gd name="connsiteY563" fmla="*/ 1906351 h 6858000"/>
              <a:gd name="connsiteX564" fmla="*/ 5052692 w 7467600"/>
              <a:gd name="connsiteY564" fmla="*/ 1292994 h 6858000"/>
              <a:gd name="connsiteX565" fmla="*/ 5009948 w 7467600"/>
              <a:gd name="connsiteY565" fmla="*/ 1273619 h 6858000"/>
              <a:gd name="connsiteX566" fmla="*/ 5121777 w 7467600"/>
              <a:gd name="connsiteY566" fmla="*/ 1654213 h 6858000"/>
              <a:gd name="connsiteX567" fmla="*/ 5293545 w 7467600"/>
              <a:gd name="connsiteY567" fmla="*/ 2072247 h 6858000"/>
              <a:gd name="connsiteX568" fmla="*/ 5294042 w 7467600"/>
              <a:gd name="connsiteY568" fmla="*/ 2065019 h 6858000"/>
              <a:gd name="connsiteX569" fmla="*/ 5171936 w 7467600"/>
              <a:gd name="connsiteY569" fmla="*/ 1647613 h 6858000"/>
              <a:gd name="connsiteX570" fmla="*/ 5009948 w 7467600"/>
              <a:gd name="connsiteY570" fmla="*/ 1273619 h 6858000"/>
              <a:gd name="connsiteX571" fmla="*/ 655236 w 7467600"/>
              <a:gd name="connsiteY571" fmla="*/ 1268632 h 6858000"/>
              <a:gd name="connsiteX572" fmla="*/ 839521 w 7467600"/>
              <a:gd name="connsiteY572" fmla="*/ 1685315 h 6858000"/>
              <a:gd name="connsiteX573" fmla="*/ 1109416 w 7467600"/>
              <a:gd name="connsiteY573" fmla="*/ 2061663 h 6858000"/>
              <a:gd name="connsiteX574" fmla="*/ 1298300 w 7467600"/>
              <a:gd name="connsiteY574" fmla="*/ 2247742 h 6858000"/>
              <a:gd name="connsiteX575" fmla="*/ 1125871 w 7467600"/>
              <a:gd name="connsiteY575" fmla="*/ 1989513 h 6858000"/>
              <a:gd name="connsiteX576" fmla="*/ 981574 w 7467600"/>
              <a:gd name="connsiteY576" fmla="*/ 1783157 h 6858000"/>
              <a:gd name="connsiteX577" fmla="*/ 922198 w 7467600"/>
              <a:gd name="connsiteY577" fmla="*/ 1677437 h 6858000"/>
              <a:gd name="connsiteX578" fmla="*/ 869293 w 7467600"/>
              <a:gd name="connsiteY578" fmla="*/ 1583214 h 6858000"/>
              <a:gd name="connsiteX579" fmla="*/ 751431 w 7467600"/>
              <a:gd name="connsiteY579" fmla="*/ 1405731 h 6858000"/>
              <a:gd name="connsiteX580" fmla="*/ 655236 w 7467600"/>
              <a:gd name="connsiteY580" fmla="*/ 1268632 h 6858000"/>
              <a:gd name="connsiteX581" fmla="*/ 6516292 w 7467600"/>
              <a:gd name="connsiteY581" fmla="*/ 1263064 h 6858000"/>
              <a:gd name="connsiteX582" fmla="*/ 5736320 w 7467600"/>
              <a:gd name="connsiteY582" fmla="*/ 1501803 h 6858000"/>
              <a:gd name="connsiteX583" fmla="*/ 6516292 w 7467600"/>
              <a:gd name="connsiteY583" fmla="*/ 1263064 h 6858000"/>
              <a:gd name="connsiteX584" fmla="*/ 291466 w 7467600"/>
              <a:gd name="connsiteY584" fmla="*/ 1250369 h 6858000"/>
              <a:gd name="connsiteX585" fmla="*/ 323180 w 7467600"/>
              <a:gd name="connsiteY585" fmla="*/ 1435283 h 6858000"/>
              <a:gd name="connsiteX586" fmla="*/ 349381 w 7467600"/>
              <a:gd name="connsiteY586" fmla="*/ 1875041 h 6858000"/>
              <a:gd name="connsiteX587" fmla="*/ 374363 w 7467600"/>
              <a:gd name="connsiteY587" fmla="*/ 1506494 h 6858000"/>
              <a:gd name="connsiteX588" fmla="*/ 302168 w 7467600"/>
              <a:gd name="connsiteY588" fmla="*/ 1274495 h 6858000"/>
              <a:gd name="connsiteX589" fmla="*/ 291466 w 7467600"/>
              <a:gd name="connsiteY589" fmla="*/ 1250369 h 6858000"/>
              <a:gd name="connsiteX590" fmla="*/ 678222 w 7467600"/>
              <a:gd name="connsiteY590" fmla="*/ 1248670 h 6858000"/>
              <a:gd name="connsiteX591" fmla="*/ 775536 w 7467600"/>
              <a:gd name="connsiteY591" fmla="*/ 1388015 h 6858000"/>
              <a:gd name="connsiteX592" fmla="*/ 894529 w 7467600"/>
              <a:gd name="connsiteY592" fmla="*/ 1567739 h 6858000"/>
              <a:gd name="connsiteX593" fmla="*/ 948000 w 7467600"/>
              <a:gd name="connsiteY593" fmla="*/ 1663088 h 6858000"/>
              <a:gd name="connsiteX594" fmla="*/ 1006812 w 7467600"/>
              <a:gd name="connsiteY594" fmla="*/ 1767683 h 6858000"/>
              <a:gd name="connsiteX595" fmla="*/ 1149133 w 7467600"/>
              <a:gd name="connsiteY595" fmla="*/ 1971513 h 6858000"/>
              <a:gd name="connsiteX596" fmla="*/ 1333952 w 7467600"/>
              <a:gd name="connsiteY596" fmla="*/ 2251620 h 6858000"/>
              <a:gd name="connsiteX597" fmla="*/ 1337329 w 7467600"/>
              <a:gd name="connsiteY597" fmla="*/ 2258350 h 6858000"/>
              <a:gd name="connsiteX598" fmla="*/ 1014726 w 7467600"/>
              <a:gd name="connsiteY598" fmla="*/ 1615556 h 6858000"/>
              <a:gd name="connsiteX599" fmla="*/ 678222 w 7467600"/>
              <a:gd name="connsiteY599" fmla="*/ 1248670 h 6858000"/>
              <a:gd name="connsiteX600" fmla="*/ 6691602 w 7467600"/>
              <a:gd name="connsiteY600" fmla="*/ 1140573 h 6858000"/>
              <a:gd name="connsiteX601" fmla="*/ 6571100 w 7467600"/>
              <a:gd name="connsiteY601" fmla="*/ 1183662 h 6858000"/>
              <a:gd name="connsiteX602" fmla="*/ 6241687 w 7467600"/>
              <a:gd name="connsiteY602" fmla="*/ 1257600 h 6858000"/>
              <a:gd name="connsiteX603" fmla="*/ 5693009 w 7467600"/>
              <a:gd name="connsiteY603" fmla="*/ 1478256 h 6858000"/>
              <a:gd name="connsiteX604" fmla="*/ 6548420 w 7467600"/>
              <a:gd name="connsiteY604" fmla="*/ 1214599 h 6858000"/>
              <a:gd name="connsiteX605" fmla="*/ 6605473 w 7467600"/>
              <a:gd name="connsiteY605" fmla="*/ 1184686 h 6858000"/>
              <a:gd name="connsiteX606" fmla="*/ 6691602 w 7467600"/>
              <a:gd name="connsiteY606" fmla="*/ 1140573 h 6858000"/>
              <a:gd name="connsiteX607" fmla="*/ 4002475 w 7467600"/>
              <a:gd name="connsiteY607" fmla="*/ 1037802 h 6858000"/>
              <a:gd name="connsiteX608" fmla="*/ 4000324 w 7467600"/>
              <a:gd name="connsiteY608" fmla="*/ 1039362 h 6858000"/>
              <a:gd name="connsiteX609" fmla="*/ 4002862 w 7467600"/>
              <a:gd name="connsiteY609" fmla="*/ 1042866 h 6858000"/>
              <a:gd name="connsiteX610" fmla="*/ 4002475 w 7467600"/>
              <a:gd name="connsiteY610" fmla="*/ 1037802 h 6858000"/>
              <a:gd name="connsiteX611" fmla="*/ 506322 w 7467600"/>
              <a:gd name="connsiteY611" fmla="*/ 1020997 h 6858000"/>
              <a:gd name="connsiteX612" fmla="*/ 533068 w 7467600"/>
              <a:gd name="connsiteY612" fmla="*/ 1029409 h 6858000"/>
              <a:gd name="connsiteX613" fmla="*/ 1232525 w 7467600"/>
              <a:gd name="connsiteY613" fmla="*/ 1804675 h 6858000"/>
              <a:gd name="connsiteX614" fmla="*/ 1388858 w 7467600"/>
              <a:gd name="connsiteY614" fmla="*/ 2368011 h 6858000"/>
              <a:gd name="connsiteX615" fmla="*/ 1384098 w 7467600"/>
              <a:gd name="connsiteY615" fmla="*/ 2378125 h 6858000"/>
              <a:gd name="connsiteX616" fmla="*/ 1425393 w 7467600"/>
              <a:gd name="connsiteY616" fmla="*/ 2589124 h 6858000"/>
              <a:gd name="connsiteX617" fmla="*/ 1424001 w 7467600"/>
              <a:gd name="connsiteY617" fmla="*/ 2597541 h 6858000"/>
              <a:gd name="connsiteX618" fmla="*/ 2152729 w 7467600"/>
              <a:gd name="connsiteY618" fmla="*/ 2864487 h 6858000"/>
              <a:gd name="connsiteX619" fmla="*/ 2020609 w 7467600"/>
              <a:gd name="connsiteY619" fmla="*/ 2539671 h 6858000"/>
              <a:gd name="connsiteX620" fmla="*/ 2018920 w 7467600"/>
              <a:gd name="connsiteY620" fmla="*/ 2536309 h 6858000"/>
              <a:gd name="connsiteX621" fmla="*/ 1342441 w 7467600"/>
              <a:gd name="connsiteY621" fmla="*/ 1173017 h 6858000"/>
              <a:gd name="connsiteX622" fmla="*/ 1367925 w 7467600"/>
              <a:gd name="connsiteY622" fmla="*/ 1135648 h 6858000"/>
              <a:gd name="connsiteX623" fmla="*/ 1771401 w 7467600"/>
              <a:gd name="connsiteY623" fmla="*/ 1806673 h 6858000"/>
              <a:gd name="connsiteX624" fmla="*/ 1972385 w 7467600"/>
              <a:gd name="connsiteY624" fmla="*/ 2198735 h 6858000"/>
              <a:gd name="connsiteX625" fmla="*/ 2040892 w 7467600"/>
              <a:gd name="connsiteY625" fmla="*/ 2405205 h 6858000"/>
              <a:gd name="connsiteX626" fmla="*/ 2131689 w 7467600"/>
              <a:gd name="connsiteY626" fmla="*/ 1936926 h 6858000"/>
              <a:gd name="connsiteX627" fmla="*/ 2454820 w 7467600"/>
              <a:gd name="connsiteY627" fmla="*/ 1248808 h 6858000"/>
              <a:gd name="connsiteX628" fmla="*/ 2492512 w 7467600"/>
              <a:gd name="connsiteY628" fmla="*/ 1302920 h 6858000"/>
              <a:gd name="connsiteX629" fmla="*/ 2081216 w 7467600"/>
              <a:gd name="connsiteY629" fmla="*/ 2527513 h 6858000"/>
              <a:gd name="connsiteX630" fmla="*/ 2081211 w 7467600"/>
              <a:gd name="connsiteY630" fmla="*/ 2528916 h 6858000"/>
              <a:gd name="connsiteX631" fmla="*/ 2199067 w 7467600"/>
              <a:gd name="connsiteY631" fmla="*/ 2884061 h 6858000"/>
              <a:gd name="connsiteX632" fmla="*/ 3192586 w 7467600"/>
              <a:gd name="connsiteY632" fmla="*/ 3411496 h 6858000"/>
              <a:gd name="connsiteX633" fmla="*/ 3182620 w 7467600"/>
              <a:gd name="connsiteY633" fmla="*/ 3483279 h 6858000"/>
              <a:gd name="connsiteX634" fmla="*/ 2435119 w 7467600"/>
              <a:gd name="connsiteY634" fmla="*/ 3080173 h 6858000"/>
              <a:gd name="connsiteX635" fmla="*/ 2410152 w 7467600"/>
              <a:gd name="connsiteY635" fmla="*/ 3063751 h 6858000"/>
              <a:gd name="connsiteX636" fmla="*/ 2408099 w 7467600"/>
              <a:gd name="connsiteY636" fmla="*/ 3064403 h 6858000"/>
              <a:gd name="connsiteX637" fmla="*/ 2407218 w 7467600"/>
              <a:gd name="connsiteY637" fmla="*/ 3070324 h 6858000"/>
              <a:gd name="connsiteX638" fmla="*/ 2380138 w 7467600"/>
              <a:gd name="connsiteY638" fmla="*/ 3099341 h 6858000"/>
              <a:gd name="connsiteX639" fmla="*/ 1765923 w 7467600"/>
              <a:gd name="connsiteY639" fmla="*/ 3581043 h 6858000"/>
              <a:gd name="connsiteX640" fmla="*/ 1702258 w 7467600"/>
              <a:gd name="connsiteY640" fmla="*/ 3612286 h 6858000"/>
              <a:gd name="connsiteX641" fmla="*/ 1538370 w 7467600"/>
              <a:gd name="connsiteY641" fmla="*/ 3811804 h 6858000"/>
              <a:gd name="connsiteX642" fmla="*/ 542867 w 7467600"/>
              <a:gd name="connsiteY642" fmla="*/ 4944092 h 6858000"/>
              <a:gd name="connsiteX643" fmla="*/ 515800 w 7467600"/>
              <a:gd name="connsiteY643" fmla="*/ 4862180 h 6858000"/>
              <a:gd name="connsiteX644" fmla="*/ 909145 w 7467600"/>
              <a:gd name="connsiteY644" fmla="*/ 4199225 h 6858000"/>
              <a:gd name="connsiteX645" fmla="*/ 1214067 w 7467600"/>
              <a:gd name="connsiteY645" fmla="*/ 3908561 h 6858000"/>
              <a:gd name="connsiteX646" fmla="*/ 640967 w 7467600"/>
              <a:gd name="connsiteY646" fmla="*/ 4105601 h 6858000"/>
              <a:gd name="connsiteX647" fmla="*/ 112563 w 7467600"/>
              <a:gd name="connsiteY647" fmla="*/ 4396952 h 6858000"/>
              <a:gd name="connsiteX648" fmla="*/ 0 w 7467600"/>
              <a:gd name="connsiteY648" fmla="*/ 4466006 h 6858000"/>
              <a:gd name="connsiteX649" fmla="*/ 0 w 7467600"/>
              <a:gd name="connsiteY649" fmla="*/ 4233763 h 6858000"/>
              <a:gd name="connsiteX650" fmla="*/ 36881 w 7467600"/>
              <a:gd name="connsiteY650" fmla="*/ 4200118 h 6858000"/>
              <a:gd name="connsiteX651" fmla="*/ 910534 w 7467600"/>
              <a:gd name="connsiteY651" fmla="*/ 3629753 h 6858000"/>
              <a:gd name="connsiteX652" fmla="*/ 1578717 w 7467600"/>
              <a:gd name="connsiteY652" fmla="*/ 3575982 h 6858000"/>
              <a:gd name="connsiteX653" fmla="*/ 2338780 w 7467600"/>
              <a:gd name="connsiteY653" fmla="*/ 3033725 h 6858000"/>
              <a:gd name="connsiteX654" fmla="*/ 1807991 w 7467600"/>
              <a:gd name="connsiteY654" fmla="*/ 2807184 h 6858000"/>
              <a:gd name="connsiteX655" fmla="*/ 1416358 w 7467600"/>
              <a:gd name="connsiteY655" fmla="*/ 3112571 h 6858000"/>
              <a:gd name="connsiteX656" fmla="*/ 939066 w 7467600"/>
              <a:gd name="connsiteY656" fmla="*/ 3378798 h 6858000"/>
              <a:gd name="connsiteX657" fmla="*/ 115099 w 7467600"/>
              <a:gd name="connsiteY657" fmla="*/ 3607650 h 6858000"/>
              <a:gd name="connsiteX658" fmla="*/ 97284 w 7467600"/>
              <a:gd name="connsiteY658" fmla="*/ 3520393 h 6858000"/>
              <a:gd name="connsiteX659" fmla="*/ 922050 w 7467600"/>
              <a:gd name="connsiteY659" fmla="*/ 3074867 h 6858000"/>
              <a:gd name="connsiteX660" fmla="*/ 1405265 w 7467600"/>
              <a:gd name="connsiteY660" fmla="*/ 3016319 h 6858000"/>
              <a:gd name="connsiteX661" fmla="*/ 1407512 w 7467600"/>
              <a:gd name="connsiteY661" fmla="*/ 3018001 h 6858000"/>
              <a:gd name="connsiteX662" fmla="*/ 1726266 w 7467600"/>
              <a:gd name="connsiteY662" fmla="*/ 2777274 h 6858000"/>
              <a:gd name="connsiteX663" fmla="*/ 625390 w 7467600"/>
              <a:gd name="connsiteY663" fmla="*/ 2514541 h 6858000"/>
              <a:gd name="connsiteX664" fmla="*/ 619799 w 7467600"/>
              <a:gd name="connsiteY664" fmla="*/ 2527180 h 6858000"/>
              <a:gd name="connsiteX665" fmla="*/ 310030 w 7467600"/>
              <a:gd name="connsiteY665" fmla="*/ 2771818 h 6858000"/>
              <a:gd name="connsiteX666" fmla="*/ 173877 w 7467600"/>
              <a:gd name="connsiteY666" fmla="*/ 2937056 h 6858000"/>
              <a:gd name="connsiteX667" fmla="*/ 77889 w 7467600"/>
              <a:gd name="connsiteY667" fmla="*/ 3138440 h 6858000"/>
              <a:gd name="connsiteX668" fmla="*/ 0 w 7467600"/>
              <a:gd name="connsiteY668" fmla="*/ 3271395 h 6858000"/>
              <a:gd name="connsiteX669" fmla="*/ 0 w 7467600"/>
              <a:gd name="connsiteY669" fmla="*/ 3153002 h 6858000"/>
              <a:gd name="connsiteX670" fmla="*/ 2386 w 7467600"/>
              <a:gd name="connsiteY670" fmla="*/ 3149203 h 6858000"/>
              <a:gd name="connsiteX671" fmla="*/ 89753 w 7467600"/>
              <a:gd name="connsiteY671" fmla="*/ 2987702 h 6858000"/>
              <a:gd name="connsiteX672" fmla="*/ 76869 w 7467600"/>
              <a:gd name="connsiteY672" fmla="*/ 3005404 h 6858000"/>
              <a:gd name="connsiteX673" fmla="*/ 32049 w 7467600"/>
              <a:gd name="connsiteY673" fmla="*/ 3065814 h 6858000"/>
              <a:gd name="connsiteX674" fmla="*/ 0 w 7467600"/>
              <a:gd name="connsiteY674" fmla="*/ 3108744 h 6858000"/>
              <a:gd name="connsiteX675" fmla="*/ 0 w 7467600"/>
              <a:gd name="connsiteY675" fmla="*/ 3058059 h 6858000"/>
              <a:gd name="connsiteX676" fmla="*/ 7610 w 7467600"/>
              <a:gd name="connsiteY676" fmla="*/ 3047889 h 6858000"/>
              <a:gd name="connsiteX677" fmla="*/ 52419 w 7467600"/>
              <a:gd name="connsiteY677" fmla="*/ 2987479 h 6858000"/>
              <a:gd name="connsiteX678" fmla="*/ 59142 w 7467600"/>
              <a:gd name="connsiteY678" fmla="*/ 2978488 h 6858000"/>
              <a:gd name="connsiteX679" fmla="*/ 0 w 7467600"/>
              <a:gd name="connsiteY679" fmla="*/ 3015334 h 6858000"/>
              <a:gd name="connsiteX680" fmla="*/ 0 w 7467600"/>
              <a:gd name="connsiteY680" fmla="*/ 2914286 h 6858000"/>
              <a:gd name="connsiteX681" fmla="*/ 36383 w 7467600"/>
              <a:gd name="connsiteY681" fmla="*/ 2901128 h 6858000"/>
              <a:gd name="connsiteX682" fmla="*/ 156329 w 7467600"/>
              <a:gd name="connsiteY682" fmla="*/ 2840533 h 6858000"/>
              <a:gd name="connsiteX683" fmla="*/ 358355 w 7467600"/>
              <a:gd name="connsiteY683" fmla="*/ 2620471 h 6858000"/>
              <a:gd name="connsiteX684" fmla="*/ 510577 w 7467600"/>
              <a:gd name="connsiteY684" fmla="*/ 2501244 h 6858000"/>
              <a:gd name="connsiteX685" fmla="*/ 211967 w 7467600"/>
              <a:gd name="connsiteY685" fmla="*/ 2479171 h 6858000"/>
              <a:gd name="connsiteX686" fmla="*/ 0 w 7467600"/>
              <a:gd name="connsiteY686" fmla="*/ 2476398 h 6858000"/>
              <a:gd name="connsiteX687" fmla="*/ 0 w 7467600"/>
              <a:gd name="connsiteY687" fmla="*/ 2389189 h 6858000"/>
              <a:gd name="connsiteX688" fmla="*/ 103062 w 7467600"/>
              <a:gd name="connsiteY688" fmla="*/ 2389518 h 6858000"/>
              <a:gd name="connsiteX689" fmla="*/ 510734 w 7467600"/>
              <a:gd name="connsiteY689" fmla="*/ 2416201 h 6858000"/>
              <a:gd name="connsiteX690" fmla="*/ 279257 w 7467600"/>
              <a:gd name="connsiteY690" fmla="*/ 2092102 h 6858000"/>
              <a:gd name="connsiteX691" fmla="*/ 65265 w 7467600"/>
              <a:gd name="connsiteY691" fmla="*/ 2006049 h 6858000"/>
              <a:gd name="connsiteX692" fmla="*/ 0 w 7467600"/>
              <a:gd name="connsiteY692" fmla="*/ 1982532 h 6858000"/>
              <a:gd name="connsiteX693" fmla="*/ 0 w 7467600"/>
              <a:gd name="connsiteY693" fmla="*/ 1912789 h 6858000"/>
              <a:gd name="connsiteX694" fmla="*/ 97460 w 7467600"/>
              <a:gd name="connsiteY694" fmla="*/ 1953725 h 6858000"/>
              <a:gd name="connsiteX695" fmla="*/ 221272 w 7467600"/>
              <a:gd name="connsiteY695" fmla="*/ 1980766 h 6858000"/>
              <a:gd name="connsiteX696" fmla="*/ 116765 w 7467600"/>
              <a:gd name="connsiteY696" fmla="*/ 1911033 h 6858000"/>
              <a:gd name="connsiteX697" fmla="*/ 16405 w 7467600"/>
              <a:gd name="connsiteY697" fmla="*/ 1803412 h 6858000"/>
              <a:gd name="connsiteX698" fmla="*/ 0 w 7467600"/>
              <a:gd name="connsiteY698" fmla="*/ 1784777 h 6858000"/>
              <a:gd name="connsiteX699" fmla="*/ 0 w 7467600"/>
              <a:gd name="connsiteY699" fmla="*/ 1740082 h 6858000"/>
              <a:gd name="connsiteX700" fmla="*/ 39394 w 7467600"/>
              <a:gd name="connsiteY700" fmla="*/ 1784856 h 6858000"/>
              <a:gd name="connsiteX701" fmla="*/ 135813 w 7467600"/>
              <a:gd name="connsiteY701" fmla="*/ 1888838 h 6858000"/>
              <a:gd name="connsiteX702" fmla="*/ 242575 w 7467600"/>
              <a:gd name="connsiteY702" fmla="*/ 1958841 h 6858000"/>
              <a:gd name="connsiteX703" fmla="*/ 82197 w 7467600"/>
              <a:gd name="connsiteY703" fmla="*/ 1754826 h 6858000"/>
              <a:gd name="connsiteX704" fmla="*/ 0 w 7467600"/>
              <a:gd name="connsiteY704" fmla="*/ 1679650 h 6858000"/>
              <a:gd name="connsiteX705" fmla="*/ 0 w 7467600"/>
              <a:gd name="connsiteY705" fmla="*/ 1602463 h 6858000"/>
              <a:gd name="connsiteX706" fmla="*/ 84689 w 7467600"/>
              <a:gd name="connsiteY706" fmla="*/ 1677442 h 6858000"/>
              <a:gd name="connsiteX707" fmla="*/ 298437 w 7467600"/>
              <a:gd name="connsiteY707" fmla="*/ 1968019 h 6858000"/>
              <a:gd name="connsiteX708" fmla="*/ 227269 w 7467600"/>
              <a:gd name="connsiteY708" fmla="*/ 1114064 h 6858000"/>
              <a:gd name="connsiteX709" fmla="*/ 248003 w 7467600"/>
              <a:gd name="connsiteY709" fmla="*/ 1089613 h 6858000"/>
              <a:gd name="connsiteX710" fmla="*/ 427020 w 7467600"/>
              <a:gd name="connsiteY710" fmla="*/ 1619803 h 6858000"/>
              <a:gd name="connsiteX711" fmla="*/ 340345 w 7467600"/>
              <a:gd name="connsiteY711" fmla="*/ 2027739 h 6858000"/>
              <a:gd name="connsiteX712" fmla="*/ 360865 w 7467600"/>
              <a:gd name="connsiteY712" fmla="*/ 2044827 h 6858000"/>
              <a:gd name="connsiteX713" fmla="*/ 560414 w 7467600"/>
              <a:gd name="connsiteY713" fmla="*/ 2421457 h 6858000"/>
              <a:gd name="connsiteX714" fmla="*/ 1359703 w 7467600"/>
              <a:gd name="connsiteY714" fmla="*/ 2578554 h 6858000"/>
              <a:gd name="connsiteX715" fmla="*/ 1359422 w 7467600"/>
              <a:gd name="connsiteY715" fmla="*/ 2577994 h 6858000"/>
              <a:gd name="connsiteX716" fmla="*/ 828701 w 7467600"/>
              <a:gd name="connsiteY716" fmla="*/ 1839520 h 6858000"/>
              <a:gd name="connsiteX717" fmla="*/ 494427 w 7467600"/>
              <a:gd name="connsiteY717" fmla="*/ 1092333 h 6858000"/>
              <a:gd name="connsiteX718" fmla="*/ 506322 w 7467600"/>
              <a:gd name="connsiteY718" fmla="*/ 1020997 h 6858000"/>
              <a:gd name="connsiteX719" fmla="*/ 4570198 w 7467600"/>
              <a:gd name="connsiteY719" fmla="*/ 978081 h 6858000"/>
              <a:gd name="connsiteX720" fmla="*/ 4523691 w 7467600"/>
              <a:gd name="connsiteY720" fmla="*/ 1127776 h 6858000"/>
              <a:gd name="connsiteX721" fmla="*/ 4509875 w 7467600"/>
              <a:gd name="connsiteY721" fmla="*/ 1167552 h 6858000"/>
              <a:gd name="connsiteX722" fmla="*/ 4478168 w 7467600"/>
              <a:gd name="connsiteY722" fmla="*/ 1260735 h 6858000"/>
              <a:gd name="connsiteX723" fmla="*/ 4409309 w 7467600"/>
              <a:gd name="connsiteY723" fmla="*/ 1666996 h 6858000"/>
              <a:gd name="connsiteX724" fmla="*/ 4370031 w 7467600"/>
              <a:gd name="connsiteY724" fmla="*/ 1955666 h 6858000"/>
              <a:gd name="connsiteX725" fmla="*/ 4570198 w 7467600"/>
              <a:gd name="connsiteY725" fmla="*/ 978081 h 6858000"/>
              <a:gd name="connsiteX726" fmla="*/ 4557898 w 7467600"/>
              <a:gd name="connsiteY726" fmla="*/ 900011 h 6858000"/>
              <a:gd name="connsiteX727" fmla="*/ 4344840 w 7467600"/>
              <a:gd name="connsiteY727" fmla="*/ 1922038 h 6858000"/>
              <a:gd name="connsiteX728" fmla="*/ 4378710 w 7467600"/>
              <a:gd name="connsiteY728" fmla="*/ 1665516 h 6858000"/>
              <a:gd name="connsiteX729" fmla="*/ 4448798 w 7467600"/>
              <a:gd name="connsiteY729" fmla="*/ 1253024 h 6858000"/>
              <a:gd name="connsiteX730" fmla="*/ 4480315 w 7467600"/>
              <a:gd name="connsiteY730" fmla="*/ 1158454 h 6858000"/>
              <a:gd name="connsiteX731" fmla="*/ 4494133 w 7467600"/>
              <a:gd name="connsiteY731" fmla="*/ 1118676 h 6858000"/>
              <a:gd name="connsiteX732" fmla="*/ 4557898 w 7467600"/>
              <a:gd name="connsiteY732" fmla="*/ 900011 h 6858000"/>
              <a:gd name="connsiteX733" fmla="*/ 5870151 w 7467600"/>
              <a:gd name="connsiteY733" fmla="*/ 898890 h 6858000"/>
              <a:gd name="connsiteX734" fmla="*/ 5861335 w 7467600"/>
              <a:gd name="connsiteY734" fmla="*/ 899177 h 6858000"/>
              <a:gd name="connsiteX735" fmla="*/ 5843702 w 7467600"/>
              <a:gd name="connsiteY735" fmla="*/ 899748 h 6858000"/>
              <a:gd name="connsiteX736" fmla="*/ 5651107 w 7467600"/>
              <a:gd name="connsiteY736" fmla="*/ 920306 h 6858000"/>
              <a:gd name="connsiteX737" fmla="*/ 5459407 w 7467600"/>
              <a:gd name="connsiteY737" fmla="*/ 940975 h 6858000"/>
              <a:gd name="connsiteX738" fmla="*/ 5374846 w 7467600"/>
              <a:gd name="connsiteY738" fmla="*/ 941988 h 6858000"/>
              <a:gd name="connsiteX739" fmla="*/ 5256105 w 7467600"/>
              <a:gd name="connsiteY739" fmla="*/ 945632 h 6858000"/>
              <a:gd name="connsiteX740" fmla="*/ 5107071 w 7467600"/>
              <a:gd name="connsiteY740" fmla="*/ 969720 h 6858000"/>
              <a:gd name="connsiteX741" fmla="*/ 4998681 w 7467600"/>
              <a:gd name="connsiteY741" fmla="*/ 988771 h 6858000"/>
              <a:gd name="connsiteX742" fmla="*/ 5870151 w 7467600"/>
              <a:gd name="connsiteY742" fmla="*/ 898890 h 6858000"/>
              <a:gd name="connsiteX743" fmla="*/ 5504425 w 7467600"/>
              <a:gd name="connsiteY743" fmla="*/ 848067 h 6858000"/>
              <a:gd name="connsiteX744" fmla="*/ 4968849 w 7467600"/>
              <a:gd name="connsiteY744" fmla="*/ 962318 h 6858000"/>
              <a:gd name="connsiteX745" fmla="*/ 5104039 w 7467600"/>
              <a:gd name="connsiteY745" fmla="*/ 940634 h 6858000"/>
              <a:gd name="connsiteX746" fmla="*/ 5256311 w 7467600"/>
              <a:gd name="connsiteY746" fmla="*/ 916490 h 6858000"/>
              <a:gd name="connsiteX747" fmla="*/ 5377381 w 7467600"/>
              <a:gd name="connsiteY747" fmla="*/ 912671 h 6858000"/>
              <a:gd name="connsiteX748" fmla="*/ 5460148 w 7467600"/>
              <a:gd name="connsiteY748" fmla="*/ 911442 h 6858000"/>
              <a:gd name="connsiteX749" fmla="*/ 5648971 w 7467600"/>
              <a:gd name="connsiteY749" fmla="*/ 891331 h 6858000"/>
              <a:gd name="connsiteX750" fmla="*/ 5844807 w 7467600"/>
              <a:gd name="connsiteY750" fmla="*/ 870718 h 6858000"/>
              <a:gd name="connsiteX751" fmla="*/ 5862975 w 7467600"/>
              <a:gd name="connsiteY751" fmla="*/ 869756 h 6858000"/>
              <a:gd name="connsiteX752" fmla="*/ 5920887 w 7467600"/>
              <a:gd name="connsiteY752" fmla="*/ 865929 h 6858000"/>
              <a:gd name="connsiteX753" fmla="*/ 5504425 w 7467600"/>
              <a:gd name="connsiteY753" fmla="*/ 848067 h 6858000"/>
              <a:gd name="connsiteX754" fmla="*/ 3607114 w 7467600"/>
              <a:gd name="connsiteY754" fmla="*/ 467441 h 6858000"/>
              <a:gd name="connsiteX755" fmla="*/ 3296242 w 7467600"/>
              <a:gd name="connsiteY755" fmla="*/ 807991 h 6858000"/>
              <a:gd name="connsiteX756" fmla="*/ 3174674 w 7467600"/>
              <a:gd name="connsiteY756" fmla="*/ 919759 h 6858000"/>
              <a:gd name="connsiteX757" fmla="*/ 3042978 w 7467600"/>
              <a:gd name="connsiteY757" fmla="*/ 1054894 h 6858000"/>
              <a:gd name="connsiteX758" fmla="*/ 2968914 w 7467600"/>
              <a:gd name="connsiteY758" fmla="*/ 1133756 h 6858000"/>
              <a:gd name="connsiteX759" fmla="*/ 3103823 w 7467600"/>
              <a:gd name="connsiteY759" fmla="*/ 1026814 h 6858000"/>
              <a:gd name="connsiteX760" fmla="*/ 3607114 w 7467600"/>
              <a:gd name="connsiteY760" fmla="*/ 467441 h 6858000"/>
              <a:gd name="connsiteX761" fmla="*/ 3744487 w 7467600"/>
              <a:gd name="connsiteY761" fmla="*/ 383136 h 6858000"/>
              <a:gd name="connsiteX762" fmla="*/ 3970213 w 7467600"/>
              <a:gd name="connsiteY762" fmla="*/ 995559 h 6858000"/>
              <a:gd name="connsiteX763" fmla="*/ 3744487 w 7467600"/>
              <a:gd name="connsiteY763" fmla="*/ 383136 h 6858000"/>
              <a:gd name="connsiteX764" fmla="*/ 3624562 w 7467600"/>
              <a:gd name="connsiteY764" fmla="*/ 367041 h 6858000"/>
              <a:gd name="connsiteX765" fmla="*/ 3489712 w 7467600"/>
              <a:gd name="connsiteY765" fmla="*/ 485386 h 6858000"/>
              <a:gd name="connsiteX766" fmla="*/ 3182994 w 7467600"/>
              <a:gd name="connsiteY766" fmla="*/ 828265 h 6858000"/>
              <a:gd name="connsiteX767" fmla="*/ 2892114 w 7467600"/>
              <a:gd name="connsiteY767" fmla="*/ 1172635 h 6858000"/>
              <a:gd name="connsiteX768" fmla="*/ 3021459 w 7467600"/>
              <a:gd name="connsiteY768" fmla="*/ 1035385 h 6858000"/>
              <a:gd name="connsiteX769" fmla="*/ 3153873 w 7467600"/>
              <a:gd name="connsiteY769" fmla="*/ 898971 h 6858000"/>
              <a:gd name="connsiteX770" fmla="*/ 3276511 w 7467600"/>
              <a:gd name="connsiteY770" fmla="*/ 786423 h 6858000"/>
              <a:gd name="connsiteX771" fmla="*/ 3584154 w 7467600"/>
              <a:gd name="connsiteY771" fmla="*/ 448218 h 6858000"/>
              <a:gd name="connsiteX772" fmla="*/ 3624562 w 7467600"/>
              <a:gd name="connsiteY772" fmla="*/ 367041 h 6858000"/>
              <a:gd name="connsiteX773" fmla="*/ 3766672 w 7467600"/>
              <a:gd name="connsiteY773" fmla="*/ 359429 h 6858000"/>
              <a:gd name="connsiteX774" fmla="*/ 3996338 w 7467600"/>
              <a:gd name="connsiteY774" fmla="*/ 968237 h 6858000"/>
              <a:gd name="connsiteX775" fmla="*/ 3766672 w 7467600"/>
              <a:gd name="connsiteY775" fmla="*/ 359429 h 6858000"/>
              <a:gd name="connsiteX776" fmla="*/ 5805386 w 7467600"/>
              <a:gd name="connsiteY776" fmla="*/ 239240 h 6858000"/>
              <a:gd name="connsiteX777" fmla="*/ 5736947 w 7467600"/>
              <a:gd name="connsiteY777" fmla="*/ 261367 h 6858000"/>
              <a:gd name="connsiteX778" fmla="*/ 5427012 w 7467600"/>
              <a:gd name="connsiteY778" fmla="*/ 311272 h 6858000"/>
              <a:gd name="connsiteX779" fmla="*/ 5147818 w 7467600"/>
              <a:gd name="connsiteY779" fmla="*/ 322112 h 6858000"/>
              <a:gd name="connsiteX780" fmla="*/ 5060854 w 7467600"/>
              <a:gd name="connsiteY780" fmla="*/ 311882 h 6858000"/>
              <a:gd name="connsiteX781" fmla="*/ 4945989 w 7467600"/>
              <a:gd name="connsiteY781" fmla="*/ 300516 h 6858000"/>
              <a:gd name="connsiteX782" fmla="*/ 5410479 w 7467600"/>
              <a:gd name="connsiteY782" fmla="*/ 348434 h 6858000"/>
              <a:gd name="connsiteX783" fmla="*/ 5805386 w 7467600"/>
              <a:gd name="connsiteY783" fmla="*/ 239240 h 6858000"/>
              <a:gd name="connsiteX784" fmla="*/ 5905192 w 7467600"/>
              <a:gd name="connsiteY784" fmla="*/ 163079 h 6858000"/>
              <a:gd name="connsiteX785" fmla="*/ 5865655 w 7467600"/>
              <a:gd name="connsiteY785" fmla="*/ 171901 h 6858000"/>
              <a:gd name="connsiteX786" fmla="*/ 5259740 w 7467600"/>
              <a:gd name="connsiteY786" fmla="*/ 257013 h 6858000"/>
              <a:gd name="connsiteX787" fmla="*/ 5208466 w 7467600"/>
              <a:gd name="connsiteY787" fmla="*/ 257550 h 6858000"/>
              <a:gd name="connsiteX788" fmla="*/ 4980204 w 7467600"/>
              <a:gd name="connsiteY788" fmla="*/ 271903 h 6858000"/>
              <a:gd name="connsiteX789" fmla="*/ 5068068 w 7467600"/>
              <a:gd name="connsiteY789" fmla="*/ 282244 h 6858000"/>
              <a:gd name="connsiteX790" fmla="*/ 5153231 w 7467600"/>
              <a:gd name="connsiteY790" fmla="*/ 292240 h 6858000"/>
              <a:gd name="connsiteX791" fmla="*/ 5426491 w 7467600"/>
              <a:gd name="connsiteY791" fmla="*/ 281128 h 6858000"/>
              <a:gd name="connsiteX792" fmla="*/ 5731212 w 7467600"/>
              <a:gd name="connsiteY792" fmla="*/ 231951 h 6858000"/>
              <a:gd name="connsiteX793" fmla="*/ 5905192 w 7467600"/>
              <a:gd name="connsiteY793" fmla="*/ 163079 h 6858000"/>
              <a:gd name="connsiteX794" fmla="*/ 5944437 w 7467600"/>
              <a:gd name="connsiteY794" fmla="*/ 113829 h 6858000"/>
              <a:gd name="connsiteX795" fmla="*/ 5825032 w 7467600"/>
              <a:gd name="connsiteY795" fmla="*/ 146405 h 6858000"/>
              <a:gd name="connsiteX796" fmla="*/ 4955599 w 7467600"/>
              <a:gd name="connsiteY796" fmla="*/ 247008 h 6858000"/>
              <a:gd name="connsiteX797" fmla="*/ 5210104 w 7467600"/>
              <a:gd name="connsiteY797" fmla="*/ 228123 h 6858000"/>
              <a:gd name="connsiteX798" fmla="*/ 5261015 w 7467600"/>
              <a:gd name="connsiteY798" fmla="*/ 227087 h 6858000"/>
              <a:gd name="connsiteX799" fmla="*/ 5861181 w 7467600"/>
              <a:gd name="connsiteY799" fmla="*/ 143093 h 6858000"/>
              <a:gd name="connsiteX800" fmla="*/ 5961252 w 7467600"/>
              <a:gd name="connsiteY800" fmla="*/ 114820 h 6858000"/>
              <a:gd name="connsiteX801" fmla="*/ 5944437 w 7467600"/>
              <a:gd name="connsiteY801" fmla="*/ 113829 h 6858000"/>
              <a:gd name="connsiteX802" fmla="*/ 3882765 w 7467600"/>
              <a:gd name="connsiteY802" fmla="*/ 0 h 6858000"/>
              <a:gd name="connsiteX803" fmla="*/ 3995099 w 7467600"/>
              <a:gd name="connsiteY803" fmla="*/ 0 h 6858000"/>
              <a:gd name="connsiteX804" fmla="*/ 4163818 w 7467600"/>
              <a:gd name="connsiteY804" fmla="*/ 234104 h 6858000"/>
              <a:gd name="connsiteX805" fmla="*/ 4172099 w 7467600"/>
              <a:gd name="connsiteY805" fmla="*/ 234207 h 6858000"/>
              <a:gd name="connsiteX806" fmla="*/ 4784282 w 7467600"/>
              <a:gd name="connsiteY806" fmla="*/ 276561 h 6858000"/>
              <a:gd name="connsiteX807" fmla="*/ 4801687 w 7467600"/>
              <a:gd name="connsiteY807" fmla="*/ 267764 h 6858000"/>
              <a:gd name="connsiteX808" fmla="*/ 6082788 w 7467600"/>
              <a:gd name="connsiteY808" fmla="*/ 64119 h 6858000"/>
              <a:gd name="connsiteX809" fmla="*/ 6099442 w 7467600"/>
              <a:gd name="connsiteY809" fmla="*/ 82568 h 6858000"/>
              <a:gd name="connsiteX810" fmla="*/ 4804137 w 7467600"/>
              <a:gd name="connsiteY810" fmla="*/ 320931 h 6858000"/>
              <a:gd name="connsiteX811" fmla="*/ 4227047 w 7467600"/>
              <a:gd name="connsiteY811" fmla="*/ 313415 h 6858000"/>
              <a:gd name="connsiteX812" fmla="*/ 4346041 w 7467600"/>
              <a:gd name="connsiteY812" fmla="*/ 456086 h 6858000"/>
              <a:gd name="connsiteX813" fmla="*/ 4870967 w 7467600"/>
              <a:gd name="connsiteY813" fmla="*/ 963061 h 6858000"/>
              <a:gd name="connsiteX814" fmla="*/ 4889647 w 7467600"/>
              <a:gd name="connsiteY814" fmla="*/ 957147 h 6858000"/>
              <a:gd name="connsiteX815" fmla="*/ 5422504 w 7467600"/>
              <a:gd name="connsiteY815" fmla="*/ 805191 h 6858000"/>
              <a:gd name="connsiteX816" fmla="*/ 6087656 w 7467600"/>
              <a:gd name="connsiteY816" fmla="*/ 826703 h 6858000"/>
              <a:gd name="connsiteX817" fmla="*/ 6058717 w 7467600"/>
              <a:gd name="connsiteY817" fmla="*/ 865992 h 6858000"/>
              <a:gd name="connsiteX818" fmla="*/ 4974153 w 7467600"/>
              <a:gd name="connsiteY818" fmla="*/ 1045456 h 6858000"/>
              <a:gd name="connsiteX819" fmla="*/ 5627835 w 7467600"/>
              <a:gd name="connsiteY819" fmla="*/ 1472077 h 6858000"/>
              <a:gd name="connsiteX820" fmla="*/ 5629817 w 7467600"/>
              <a:gd name="connsiteY820" fmla="*/ 1471412 h 6858000"/>
              <a:gd name="connsiteX821" fmla="*/ 5634124 w 7467600"/>
              <a:gd name="connsiteY821" fmla="*/ 1470572 h 6858000"/>
              <a:gd name="connsiteX822" fmla="*/ 5755832 w 7467600"/>
              <a:gd name="connsiteY822" fmla="*/ 1383886 h 6858000"/>
              <a:gd name="connsiteX823" fmla="*/ 6014186 w 7467600"/>
              <a:gd name="connsiteY823" fmla="*/ 1279799 h 6858000"/>
              <a:gd name="connsiteX824" fmla="*/ 6901619 w 7467600"/>
              <a:gd name="connsiteY824" fmla="*/ 1047874 h 6858000"/>
              <a:gd name="connsiteX825" fmla="*/ 6931566 w 7467600"/>
              <a:gd name="connsiteY825" fmla="*/ 1062034 h 6858000"/>
              <a:gd name="connsiteX826" fmla="*/ 5790982 w 7467600"/>
              <a:gd name="connsiteY826" fmla="*/ 1561380 h 6858000"/>
              <a:gd name="connsiteX827" fmla="*/ 6188971 w 7467600"/>
              <a:gd name="connsiteY827" fmla="*/ 1755168 h 6858000"/>
              <a:gd name="connsiteX828" fmla="*/ 6202446 w 7467600"/>
              <a:gd name="connsiteY828" fmla="*/ 1752268 h 6858000"/>
              <a:gd name="connsiteX829" fmla="*/ 7179560 w 7467600"/>
              <a:gd name="connsiteY829" fmla="*/ 1467551 h 6858000"/>
              <a:gd name="connsiteX830" fmla="*/ 7158730 w 7467600"/>
              <a:gd name="connsiteY830" fmla="*/ 1507835 h 6858000"/>
              <a:gd name="connsiteX831" fmla="*/ 6326959 w 7467600"/>
              <a:gd name="connsiteY831" fmla="*/ 1817686 h 6858000"/>
              <a:gd name="connsiteX832" fmla="*/ 6537433 w 7467600"/>
              <a:gd name="connsiteY832" fmla="*/ 1907790 h 6858000"/>
              <a:gd name="connsiteX833" fmla="*/ 6550221 w 7467600"/>
              <a:gd name="connsiteY833" fmla="*/ 1910729 h 6858000"/>
              <a:gd name="connsiteX834" fmla="*/ 6964438 w 7467600"/>
              <a:gd name="connsiteY834" fmla="*/ 2209505 h 6858000"/>
              <a:gd name="connsiteX835" fmla="*/ 7367862 w 7467600"/>
              <a:gd name="connsiteY835" fmla="*/ 2806833 h 6858000"/>
              <a:gd name="connsiteX836" fmla="*/ 7364329 w 7467600"/>
              <a:gd name="connsiteY836" fmla="*/ 2826907 h 6858000"/>
              <a:gd name="connsiteX837" fmla="*/ 7290545 w 7467600"/>
              <a:gd name="connsiteY837" fmla="*/ 2850663 h 6858000"/>
              <a:gd name="connsiteX838" fmla="*/ 6472036 w 7467600"/>
              <a:gd name="connsiteY838" fmla="*/ 1959003 h 6858000"/>
              <a:gd name="connsiteX839" fmla="*/ 5792897 w 7467600"/>
              <a:gd name="connsiteY839" fmla="*/ 1647747 h 6858000"/>
              <a:gd name="connsiteX840" fmla="*/ 5842751 w 7467600"/>
              <a:gd name="connsiteY840" fmla="*/ 1816112 h 6858000"/>
              <a:gd name="connsiteX841" fmla="*/ 5847424 w 7467600"/>
              <a:gd name="connsiteY841" fmla="*/ 1815776 h 6858000"/>
              <a:gd name="connsiteX842" fmla="*/ 6399821 w 7467600"/>
              <a:gd name="connsiteY842" fmla="*/ 2344799 h 6858000"/>
              <a:gd name="connsiteX843" fmla="*/ 6323232 w 7467600"/>
              <a:gd name="connsiteY843" fmla="*/ 2389634 h 6858000"/>
              <a:gd name="connsiteX844" fmla="*/ 5942958 w 7467600"/>
              <a:gd name="connsiteY844" fmla="*/ 2077708 h 6858000"/>
              <a:gd name="connsiteX845" fmla="*/ 5921559 w 7467600"/>
              <a:gd name="connsiteY845" fmla="*/ 2378596 h 6858000"/>
              <a:gd name="connsiteX846" fmla="*/ 5817651 w 7467600"/>
              <a:gd name="connsiteY846" fmla="*/ 3023919 h 6858000"/>
              <a:gd name="connsiteX847" fmla="*/ 5729634 w 7467600"/>
              <a:gd name="connsiteY847" fmla="*/ 3051849 h 6858000"/>
              <a:gd name="connsiteX848" fmla="*/ 5611018 w 7467600"/>
              <a:gd name="connsiteY848" fmla="*/ 2316769 h 6858000"/>
              <a:gd name="connsiteX849" fmla="*/ 5687608 w 7467600"/>
              <a:gd name="connsiteY849" fmla="*/ 2039972 h 6858000"/>
              <a:gd name="connsiteX850" fmla="*/ 5657554 w 7467600"/>
              <a:gd name="connsiteY850" fmla="*/ 1576445 h 6858000"/>
              <a:gd name="connsiteX851" fmla="*/ 5150475 w 7467600"/>
              <a:gd name="connsiteY851" fmla="*/ 1274012 h 6858000"/>
              <a:gd name="connsiteX852" fmla="*/ 5349142 w 7467600"/>
              <a:gd name="connsiteY852" fmla="*/ 2204405 h 6858000"/>
              <a:gd name="connsiteX853" fmla="*/ 5262214 w 7467600"/>
              <a:gd name="connsiteY853" fmla="*/ 2233836 h 6858000"/>
              <a:gd name="connsiteX854" fmla="*/ 4981539 w 7467600"/>
              <a:gd name="connsiteY854" fmla="*/ 1542201 h 6858000"/>
              <a:gd name="connsiteX855" fmla="*/ 4958461 w 7467600"/>
              <a:gd name="connsiteY855" fmla="*/ 1136957 h 6858000"/>
              <a:gd name="connsiteX856" fmla="*/ 4655015 w 7467600"/>
              <a:gd name="connsiteY856" fmla="*/ 891426 h 6858000"/>
              <a:gd name="connsiteX857" fmla="*/ 4348002 w 7467600"/>
              <a:gd name="connsiteY857" fmla="*/ 2205895 h 6858000"/>
              <a:gd name="connsiteX858" fmla="*/ 4262250 w 7467600"/>
              <a:gd name="connsiteY858" fmla="*/ 2219972 h 6858000"/>
              <a:gd name="connsiteX859" fmla="*/ 4550611 w 7467600"/>
              <a:gd name="connsiteY859" fmla="*/ 817540 h 6858000"/>
              <a:gd name="connsiteX860" fmla="*/ 4564418 w 7467600"/>
              <a:gd name="connsiteY860" fmla="*/ 808293 h 6858000"/>
              <a:gd name="connsiteX861" fmla="*/ 4266388 w 7467600"/>
              <a:gd name="connsiteY861" fmla="*/ 500083 h 6858000"/>
              <a:gd name="connsiteX862" fmla="*/ 4032842 w 7467600"/>
              <a:gd name="connsiteY862" fmla="*/ 211809 h 6858000"/>
              <a:gd name="connsiteX863" fmla="*/ 3882765 w 7467600"/>
              <a:gd name="connsiteY863" fmla="*/ 0 h 6858000"/>
              <a:gd name="connsiteX864" fmla="*/ 3721337 w 7467600"/>
              <a:gd name="connsiteY864" fmla="*/ 0 h 6858000"/>
              <a:gd name="connsiteX865" fmla="*/ 3797544 w 7467600"/>
              <a:gd name="connsiteY865" fmla="*/ 0 h 6858000"/>
              <a:gd name="connsiteX866" fmla="*/ 3775734 w 7467600"/>
              <a:gd name="connsiteY866" fmla="*/ 95131 h 6858000"/>
              <a:gd name="connsiteX867" fmla="*/ 3724807 w 7467600"/>
              <a:gd name="connsiteY867" fmla="*/ 272257 h 6858000"/>
              <a:gd name="connsiteX868" fmla="*/ 3726844 w 7467600"/>
              <a:gd name="connsiteY868" fmla="*/ 282988 h 6858000"/>
              <a:gd name="connsiteX869" fmla="*/ 3742664 w 7467600"/>
              <a:gd name="connsiteY869" fmla="*/ 279918 h 6858000"/>
              <a:gd name="connsiteX870" fmla="*/ 4103910 w 7467600"/>
              <a:gd name="connsiteY870" fmla="*/ 1161917 h 6858000"/>
              <a:gd name="connsiteX871" fmla="*/ 4020269 w 7467600"/>
              <a:gd name="connsiteY871" fmla="*/ 1200406 h 6858000"/>
              <a:gd name="connsiteX872" fmla="*/ 3674882 w 7467600"/>
              <a:gd name="connsiteY872" fmla="*/ 488524 h 6858000"/>
              <a:gd name="connsiteX873" fmla="*/ 3132682 w 7467600"/>
              <a:gd name="connsiteY873" fmla="*/ 1072284 h 6858000"/>
              <a:gd name="connsiteX874" fmla="*/ 2716346 w 7467600"/>
              <a:gd name="connsiteY874" fmla="*/ 1276376 h 6858000"/>
              <a:gd name="connsiteX875" fmla="*/ 2716772 w 7467600"/>
              <a:gd name="connsiteY875" fmla="*/ 1255462 h 6858000"/>
              <a:gd name="connsiteX876" fmla="*/ 3471096 w 7467600"/>
              <a:gd name="connsiteY876" fmla="*/ 437072 h 6858000"/>
              <a:gd name="connsiteX877" fmla="*/ 3639057 w 7467600"/>
              <a:gd name="connsiteY877" fmla="*/ 286334 h 6858000"/>
              <a:gd name="connsiteX878" fmla="*/ 3640309 w 7467600"/>
              <a:gd name="connsiteY878" fmla="*/ 284664 h 6858000"/>
              <a:gd name="connsiteX879" fmla="*/ 3646022 w 7467600"/>
              <a:gd name="connsiteY879" fmla="*/ 276711 h 6858000"/>
              <a:gd name="connsiteX880" fmla="*/ 3707943 w 7467600"/>
              <a:gd name="connsiteY880" fmla="*/ 65958 h 6858000"/>
              <a:gd name="connsiteX881" fmla="*/ 3721337 w 7467600"/>
              <a:gd name="connsiteY881" fmla="*/ 0 h 6858000"/>
              <a:gd name="connsiteX882" fmla="*/ 2867960 w 7467600"/>
              <a:gd name="connsiteY882" fmla="*/ 0 h 6858000"/>
              <a:gd name="connsiteX883" fmla="*/ 2926351 w 7467600"/>
              <a:gd name="connsiteY883" fmla="*/ 0 h 6858000"/>
              <a:gd name="connsiteX884" fmla="*/ 2902823 w 7467600"/>
              <a:gd name="connsiteY884" fmla="*/ 262929 h 6858000"/>
              <a:gd name="connsiteX885" fmla="*/ 2940663 w 7467600"/>
              <a:gd name="connsiteY885" fmla="*/ 140884 h 6858000"/>
              <a:gd name="connsiteX886" fmla="*/ 2947039 w 7467600"/>
              <a:gd name="connsiteY886" fmla="*/ 122524 h 6858000"/>
              <a:gd name="connsiteX887" fmla="*/ 2984316 w 7467600"/>
              <a:gd name="connsiteY887" fmla="*/ 0 h 6858000"/>
              <a:gd name="connsiteX888" fmla="*/ 3016114 w 7467600"/>
              <a:gd name="connsiteY888" fmla="*/ 0 h 6858000"/>
              <a:gd name="connsiteX889" fmla="*/ 2979949 w 7467600"/>
              <a:gd name="connsiteY889" fmla="*/ 119274 h 6858000"/>
              <a:gd name="connsiteX890" fmla="*/ 3023879 w 7467600"/>
              <a:gd name="connsiteY890" fmla="*/ 0 h 6858000"/>
              <a:gd name="connsiteX891" fmla="*/ 3105400 w 7467600"/>
              <a:gd name="connsiteY891" fmla="*/ 0 h 6858000"/>
              <a:gd name="connsiteX892" fmla="*/ 3094669 w 7467600"/>
              <a:gd name="connsiteY892" fmla="*/ 30308 h 6858000"/>
              <a:gd name="connsiteX893" fmla="*/ 2901945 w 7467600"/>
              <a:gd name="connsiteY893" fmla="*/ 466538 h 6858000"/>
              <a:gd name="connsiteX894" fmla="*/ 2815209 w 7467600"/>
              <a:gd name="connsiteY894" fmla="*/ 497361 h 6858000"/>
              <a:gd name="connsiteX895" fmla="*/ 2844845 w 7467600"/>
              <a:gd name="connsiteY895" fmla="*/ 127638 h 6858000"/>
              <a:gd name="connsiteX896" fmla="*/ 2867960 w 7467600"/>
              <a:gd name="connsiteY896" fmla="*/ 0 h 6858000"/>
              <a:gd name="connsiteX897" fmla="*/ 1057230 w 7467600"/>
              <a:gd name="connsiteY897" fmla="*/ 0 h 6858000"/>
              <a:gd name="connsiteX898" fmla="*/ 1111003 w 7467600"/>
              <a:gd name="connsiteY898" fmla="*/ 0 h 6858000"/>
              <a:gd name="connsiteX899" fmla="*/ 1125553 w 7467600"/>
              <a:gd name="connsiteY899" fmla="*/ 52588 h 6858000"/>
              <a:gd name="connsiteX900" fmla="*/ 1304276 w 7467600"/>
              <a:gd name="connsiteY900" fmla="*/ 476275 h 6858000"/>
              <a:gd name="connsiteX901" fmla="*/ 1492066 w 7467600"/>
              <a:gd name="connsiteY901" fmla="*/ 886333 h 6858000"/>
              <a:gd name="connsiteX902" fmla="*/ 1423698 w 7467600"/>
              <a:gd name="connsiteY902" fmla="*/ 710817 h 6858000"/>
              <a:gd name="connsiteX903" fmla="*/ 1357609 w 7467600"/>
              <a:gd name="connsiteY903" fmla="*/ 532892 h 6858000"/>
              <a:gd name="connsiteX904" fmla="*/ 1309550 w 7467600"/>
              <a:gd name="connsiteY904" fmla="*/ 374031 h 6858000"/>
              <a:gd name="connsiteX905" fmla="*/ 1193673 w 7467600"/>
              <a:gd name="connsiteY905" fmla="*/ 49533 h 6858000"/>
              <a:gd name="connsiteX906" fmla="*/ 1164391 w 7467600"/>
              <a:gd name="connsiteY906" fmla="*/ 0 h 6858000"/>
              <a:gd name="connsiteX907" fmla="*/ 1200666 w 7467600"/>
              <a:gd name="connsiteY907" fmla="*/ 0 h 6858000"/>
              <a:gd name="connsiteX908" fmla="*/ 1223408 w 7467600"/>
              <a:gd name="connsiteY908" fmla="*/ 38996 h 6858000"/>
              <a:gd name="connsiteX909" fmla="*/ 1339635 w 7467600"/>
              <a:gd name="connsiteY909" fmla="*/ 365517 h 6858000"/>
              <a:gd name="connsiteX910" fmla="*/ 1387469 w 7467600"/>
              <a:gd name="connsiteY910" fmla="*/ 523079 h 6858000"/>
              <a:gd name="connsiteX911" fmla="*/ 1452685 w 7467600"/>
              <a:gd name="connsiteY911" fmla="*/ 699806 h 6858000"/>
              <a:gd name="connsiteX912" fmla="*/ 1492092 w 7467600"/>
              <a:gd name="connsiteY912" fmla="*/ 800424 h 6858000"/>
              <a:gd name="connsiteX913" fmla="*/ 1455302 w 7467600"/>
              <a:gd name="connsiteY913" fmla="*/ 632913 h 6858000"/>
              <a:gd name="connsiteX914" fmla="*/ 1222336 w 7467600"/>
              <a:gd name="connsiteY914" fmla="*/ 9480 h 6858000"/>
              <a:gd name="connsiteX915" fmla="*/ 1214634 w 7467600"/>
              <a:gd name="connsiteY915" fmla="*/ 0 h 6858000"/>
              <a:gd name="connsiteX916" fmla="*/ 1289827 w 7467600"/>
              <a:gd name="connsiteY916" fmla="*/ 0 h 6858000"/>
              <a:gd name="connsiteX917" fmla="*/ 1321076 w 7467600"/>
              <a:gd name="connsiteY917" fmla="*/ 59722 h 6858000"/>
              <a:gd name="connsiteX918" fmla="*/ 1512579 w 7467600"/>
              <a:gd name="connsiteY918" fmla="*/ 626441 h 6858000"/>
              <a:gd name="connsiteX919" fmla="*/ 1506076 w 7467600"/>
              <a:gd name="connsiteY919" fmla="*/ 1089289 h 6858000"/>
              <a:gd name="connsiteX920" fmla="*/ 1486346 w 7467600"/>
              <a:gd name="connsiteY920" fmla="*/ 1079919 h 6858000"/>
              <a:gd name="connsiteX921" fmla="*/ 1070511 w 7467600"/>
              <a:gd name="connsiteY921" fmla="*/ 48609 h 6858000"/>
              <a:gd name="connsiteX922" fmla="*/ 1057230 w 7467600"/>
              <a:gd name="connsiteY922" fmla="*/ 0 h 6858000"/>
              <a:gd name="connsiteX923" fmla="*/ 43151 w 7467600"/>
              <a:gd name="connsiteY923" fmla="*/ 0 h 6858000"/>
              <a:gd name="connsiteX924" fmla="*/ 95283 w 7467600"/>
              <a:gd name="connsiteY924" fmla="*/ 0 h 6858000"/>
              <a:gd name="connsiteX925" fmla="*/ 300708 w 7467600"/>
              <a:gd name="connsiteY925" fmla="*/ 154571 h 6858000"/>
              <a:gd name="connsiteX926" fmla="*/ 530414 w 7467600"/>
              <a:gd name="connsiteY926" fmla="*/ 354673 h 6858000"/>
              <a:gd name="connsiteX927" fmla="*/ 333785 w 7467600"/>
              <a:gd name="connsiteY927" fmla="*/ 161564 h 6858000"/>
              <a:gd name="connsiteX928" fmla="*/ 147005 w 7467600"/>
              <a:gd name="connsiteY928" fmla="*/ 0 h 6858000"/>
              <a:gd name="connsiteX929" fmla="*/ 272509 w 7467600"/>
              <a:gd name="connsiteY929" fmla="*/ 0 h 6858000"/>
              <a:gd name="connsiteX930" fmla="*/ 326276 w 7467600"/>
              <a:gd name="connsiteY930" fmla="*/ 45847 h 6858000"/>
              <a:gd name="connsiteX931" fmla="*/ 823759 w 7467600"/>
              <a:gd name="connsiteY931" fmla="*/ 574145 h 6858000"/>
              <a:gd name="connsiteX932" fmla="*/ 811254 w 7467600"/>
              <a:gd name="connsiteY932" fmla="*/ 665546 h 6858000"/>
              <a:gd name="connsiteX933" fmla="*/ 154042 w 7467600"/>
              <a:gd name="connsiteY933" fmla="*/ 261522 h 6858000"/>
              <a:gd name="connsiteX934" fmla="*/ 13550 w 7467600"/>
              <a:gd name="connsiteY934" fmla="*/ 158423 h 6858000"/>
              <a:gd name="connsiteX935" fmla="*/ 0 w 7467600"/>
              <a:gd name="connsiteY935" fmla="*/ 146618 h 6858000"/>
              <a:gd name="connsiteX936" fmla="*/ 0 w 7467600"/>
              <a:gd name="connsiteY936" fmla="*/ 59161 h 6858000"/>
              <a:gd name="connsiteX937" fmla="*/ 45427 w 7467600"/>
              <a:gd name="connsiteY937" fmla="*/ 101078 h 6858000"/>
              <a:gd name="connsiteX938" fmla="*/ 630103 w 7467600"/>
              <a:gd name="connsiteY938" fmla="*/ 485885 h 6858000"/>
              <a:gd name="connsiteX939" fmla="*/ 532040 w 7467600"/>
              <a:gd name="connsiteY939" fmla="*/ 399359 h 6858000"/>
              <a:gd name="connsiteX940" fmla="*/ 517618 w 7467600"/>
              <a:gd name="connsiteY940" fmla="*/ 385726 h 6858000"/>
              <a:gd name="connsiteX941" fmla="*/ 285074 w 7467600"/>
              <a:gd name="connsiteY941" fmla="*/ 182755 h 6858000"/>
              <a:gd name="connsiteX942" fmla="*/ 43151 w 7467600"/>
              <a:gd name="connsiteY942"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289862 w 7467600"/>
              <a:gd name="connsiteY4" fmla="*/ 6659827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392322 w 7467600"/>
              <a:gd name="connsiteY8" fmla="*/ 6658238 h 6858000"/>
              <a:gd name="connsiteX9" fmla="*/ 7289862 w 7467600"/>
              <a:gd name="connsiteY9" fmla="*/ 6659827 h 6858000"/>
              <a:gd name="connsiteX10" fmla="*/ 1019354 w 7467600"/>
              <a:gd name="connsiteY10" fmla="*/ 6315006 h 6858000"/>
              <a:gd name="connsiteX11" fmla="*/ 441046 w 7467600"/>
              <a:gd name="connsiteY11" fmla="*/ 6691153 h 6858000"/>
              <a:gd name="connsiteX12" fmla="*/ 1019354 w 7467600"/>
              <a:gd name="connsiteY12" fmla="*/ 6315006 h 6858000"/>
              <a:gd name="connsiteX13" fmla="*/ 991680 w 7467600"/>
              <a:gd name="connsiteY13" fmla="*/ 6298413 h 6858000"/>
              <a:gd name="connsiteX14" fmla="*/ 409060 w 7467600"/>
              <a:gd name="connsiteY14" fmla="*/ 6671470 h 6858000"/>
              <a:gd name="connsiteX15" fmla="*/ 991680 w 7467600"/>
              <a:gd name="connsiteY15" fmla="*/ 6298413 h 6858000"/>
              <a:gd name="connsiteX16" fmla="*/ 103333 w 7467600"/>
              <a:gd name="connsiteY16" fmla="*/ 5699602 h 6858000"/>
              <a:gd name="connsiteX17" fmla="*/ 233938 w 7467600"/>
              <a:gd name="connsiteY17" fmla="*/ 5809416 h 6858000"/>
              <a:gd name="connsiteX18" fmla="*/ 883580 w 7467600"/>
              <a:gd name="connsiteY18" fmla="*/ 6180710 h 6858000"/>
              <a:gd name="connsiteX19" fmla="*/ 487337 w 7467600"/>
              <a:gd name="connsiteY19" fmla="*/ 5950182 h 6858000"/>
              <a:gd name="connsiteX20" fmla="*/ 354051 w 7467600"/>
              <a:gd name="connsiteY20" fmla="*/ 5854912 h 6858000"/>
              <a:gd name="connsiteX21" fmla="*/ 195436 w 7467600"/>
              <a:gd name="connsiteY21" fmla="*/ 5755068 h 6858000"/>
              <a:gd name="connsiteX22" fmla="*/ 103333 w 7467600"/>
              <a:gd name="connsiteY22" fmla="*/ 5699602 h 6858000"/>
              <a:gd name="connsiteX23" fmla="*/ 5539432 w 7467600"/>
              <a:gd name="connsiteY23" fmla="*/ 5642928 h 6858000"/>
              <a:gd name="connsiteX24" fmla="*/ 5555462 w 7467600"/>
              <a:gd name="connsiteY24" fmla="*/ 5694454 h 6858000"/>
              <a:gd name="connsiteX25" fmla="*/ 5828270 w 7467600"/>
              <a:gd name="connsiteY25" fmla="*/ 6320663 h 6858000"/>
              <a:gd name="connsiteX26" fmla="*/ 5947416 w 7467600"/>
              <a:gd name="connsiteY26" fmla="*/ 6574846 h 6858000"/>
              <a:gd name="connsiteX27" fmla="*/ 5539432 w 7467600"/>
              <a:gd name="connsiteY27" fmla="*/ 5642928 h 6858000"/>
              <a:gd name="connsiteX28" fmla="*/ 51253 w 7467600"/>
              <a:gd name="connsiteY28" fmla="*/ 5631825 h 6858000"/>
              <a:gd name="connsiteX29" fmla="*/ 211622 w 7467600"/>
              <a:gd name="connsiteY29" fmla="*/ 5728803 h 6858000"/>
              <a:gd name="connsiteX30" fmla="*/ 371652 w 7467600"/>
              <a:gd name="connsiteY30" fmla="*/ 5829062 h 6858000"/>
              <a:gd name="connsiteX31" fmla="*/ 505903 w 7467600"/>
              <a:gd name="connsiteY31" fmla="*/ 5925221 h 6858000"/>
              <a:gd name="connsiteX32" fmla="*/ 899240 w 7467600"/>
              <a:gd name="connsiteY32" fmla="*/ 6153068 h 6858000"/>
              <a:gd name="connsiteX33" fmla="*/ 988114 w 7467600"/>
              <a:gd name="connsiteY33" fmla="*/ 6174204 h 6858000"/>
              <a:gd name="connsiteX34" fmla="*/ 845971 w 7467600"/>
              <a:gd name="connsiteY34" fmla="*/ 6067177 h 6858000"/>
              <a:gd name="connsiteX35" fmla="*/ 448057 w 7467600"/>
              <a:gd name="connsiteY35" fmla="*/ 5841376 h 6858000"/>
              <a:gd name="connsiteX36" fmla="*/ 51253 w 7467600"/>
              <a:gd name="connsiteY36" fmla="*/ 5631825 h 6858000"/>
              <a:gd name="connsiteX37" fmla="*/ 2606687 w 7467600"/>
              <a:gd name="connsiteY37" fmla="*/ 5630718 h 6858000"/>
              <a:gd name="connsiteX38" fmla="*/ 2645658 w 7467600"/>
              <a:gd name="connsiteY38" fmla="*/ 6640259 h 6858000"/>
              <a:gd name="connsiteX39" fmla="*/ 2606687 w 7467600"/>
              <a:gd name="connsiteY39" fmla="*/ 5630718 h 6858000"/>
              <a:gd name="connsiteX40" fmla="*/ 3642057 w 7467600"/>
              <a:gd name="connsiteY40" fmla="*/ 5573487 h 6858000"/>
              <a:gd name="connsiteX41" fmla="*/ 3632981 w 7467600"/>
              <a:gd name="connsiteY41" fmla="*/ 5579437 h 6858000"/>
              <a:gd name="connsiteX42" fmla="*/ 3382436 w 7467600"/>
              <a:gd name="connsiteY42" fmla="*/ 5952726 h 6858000"/>
              <a:gd name="connsiteX43" fmla="*/ 3191929 w 7467600"/>
              <a:gd name="connsiteY43" fmla="*/ 6662669 h 6858000"/>
              <a:gd name="connsiteX44" fmla="*/ 3369898 w 7467600"/>
              <a:gd name="connsiteY44" fmla="*/ 6081771 h 6858000"/>
              <a:gd name="connsiteX45" fmla="*/ 3642057 w 7467600"/>
              <a:gd name="connsiteY45" fmla="*/ 5573487 h 6858000"/>
              <a:gd name="connsiteX46" fmla="*/ 2650666 w 7467600"/>
              <a:gd name="connsiteY46" fmla="*/ 5530686 h 6858000"/>
              <a:gd name="connsiteX47" fmla="*/ 2650249 w 7467600"/>
              <a:gd name="connsiteY47" fmla="*/ 5532101 h 6858000"/>
              <a:gd name="connsiteX48" fmla="*/ 2663808 w 7467600"/>
              <a:gd name="connsiteY48" fmla="*/ 6535215 h 6858000"/>
              <a:gd name="connsiteX49" fmla="*/ 2665418 w 7467600"/>
              <a:gd name="connsiteY49" fmla="*/ 6132756 h 6858000"/>
              <a:gd name="connsiteX50" fmla="*/ 2650666 w 7467600"/>
              <a:gd name="connsiteY50" fmla="*/ 5530686 h 6858000"/>
              <a:gd name="connsiteX51" fmla="*/ 2680277 w 7467600"/>
              <a:gd name="connsiteY51" fmla="*/ 5479204 h 6858000"/>
              <a:gd name="connsiteX52" fmla="*/ 2678972 w 7467600"/>
              <a:gd name="connsiteY52" fmla="*/ 5481582 h 6858000"/>
              <a:gd name="connsiteX53" fmla="*/ 2696666 w 7467600"/>
              <a:gd name="connsiteY53" fmla="*/ 6133836 h 6858000"/>
              <a:gd name="connsiteX54" fmla="*/ 2695769 w 7467600"/>
              <a:gd name="connsiteY54" fmla="*/ 6390955 h 6858000"/>
              <a:gd name="connsiteX55" fmla="*/ 2739893 w 7467600"/>
              <a:gd name="connsiteY55" fmla="*/ 6108357 h 6858000"/>
              <a:gd name="connsiteX56" fmla="*/ 2680277 w 7467600"/>
              <a:gd name="connsiteY56" fmla="*/ 5479204 h 6858000"/>
              <a:gd name="connsiteX57" fmla="*/ 1132195 w 7467600"/>
              <a:gd name="connsiteY57" fmla="*/ 5467980 h 6858000"/>
              <a:gd name="connsiteX58" fmla="*/ 1679056 w 7467600"/>
              <a:gd name="connsiteY58" fmla="*/ 5516907 h 6858000"/>
              <a:gd name="connsiteX59" fmla="*/ 2128648 w 7467600"/>
              <a:gd name="connsiteY59" fmla="*/ 5474249 h 6858000"/>
              <a:gd name="connsiteX60" fmla="*/ 1825619 w 7467600"/>
              <a:gd name="connsiteY60" fmla="*/ 5478447 h 6858000"/>
              <a:gd name="connsiteX61" fmla="*/ 1737798 w 7467600"/>
              <a:gd name="connsiteY61" fmla="*/ 5483353 h 6858000"/>
              <a:gd name="connsiteX62" fmla="*/ 1132195 w 7467600"/>
              <a:gd name="connsiteY62" fmla="*/ 5467980 h 6858000"/>
              <a:gd name="connsiteX63" fmla="*/ 1456157 w 7467600"/>
              <a:gd name="connsiteY63" fmla="*/ 5371404 h 6858000"/>
              <a:gd name="connsiteX64" fmla="*/ 1244432 w 7467600"/>
              <a:gd name="connsiteY64" fmla="*/ 5385601 h 6858000"/>
              <a:gd name="connsiteX65" fmla="*/ 973990 w 7467600"/>
              <a:gd name="connsiteY65" fmla="*/ 5424940 h 6858000"/>
              <a:gd name="connsiteX66" fmla="*/ 1103809 w 7467600"/>
              <a:gd name="connsiteY66" fmla="*/ 5433720 h 6858000"/>
              <a:gd name="connsiteX67" fmla="*/ 1123454 w 7467600"/>
              <a:gd name="connsiteY67" fmla="*/ 5435727 h 6858000"/>
              <a:gd name="connsiteX68" fmla="*/ 1737017 w 7467600"/>
              <a:gd name="connsiteY68" fmla="*/ 5452183 h 6858000"/>
              <a:gd name="connsiteX69" fmla="*/ 1824397 w 7467600"/>
              <a:gd name="connsiteY69" fmla="*/ 5447757 h 6858000"/>
              <a:gd name="connsiteX70" fmla="*/ 2070059 w 7467600"/>
              <a:gd name="connsiteY70" fmla="*/ 5441660 h 6858000"/>
              <a:gd name="connsiteX71" fmla="*/ 1456157 w 7467600"/>
              <a:gd name="connsiteY71" fmla="*/ 5371404 h 6858000"/>
              <a:gd name="connsiteX72" fmla="*/ 4988186 w 7467600"/>
              <a:gd name="connsiteY72" fmla="*/ 5216467 h 6858000"/>
              <a:gd name="connsiteX73" fmla="*/ 4777334 w 7467600"/>
              <a:gd name="connsiteY73" fmla="*/ 5406072 h 6858000"/>
              <a:gd name="connsiteX74" fmla="*/ 4718341 w 7467600"/>
              <a:gd name="connsiteY74" fmla="*/ 5468043 h 6858000"/>
              <a:gd name="connsiteX75" fmla="*/ 4604655 w 7467600"/>
              <a:gd name="connsiteY75" fmla="*/ 5583434 h 6858000"/>
              <a:gd name="connsiteX76" fmla="*/ 4565074 w 7467600"/>
              <a:gd name="connsiteY76" fmla="*/ 5618550 h 6858000"/>
              <a:gd name="connsiteX77" fmla="*/ 4988186 w 7467600"/>
              <a:gd name="connsiteY77" fmla="*/ 5216467 h 6858000"/>
              <a:gd name="connsiteX78" fmla="*/ 4978032 w 7467600"/>
              <a:gd name="connsiteY78" fmla="*/ 5183809 h 6858000"/>
              <a:gd name="connsiteX79" fmla="*/ 4463413 w 7467600"/>
              <a:gd name="connsiteY79" fmla="*/ 5615162 h 6858000"/>
              <a:gd name="connsiteX80" fmla="*/ 4358134 w 7467600"/>
              <a:gd name="connsiteY80" fmla="*/ 5742791 h 6858000"/>
              <a:gd name="connsiteX81" fmla="*/ 4376219 w 7467600"/>
              <a:gd name="connsiteY81" fmla="*/ 5729027 h 6858000"/>
              <a:gd name="connsiteX82" fmla="*/ 4582340 w 7467600"/>
              <a:gd name="connsiteY82" fmla="*/ 5561037 h 6858000"/>
              <a:gd name="connsiteX83" fmla="*/ 4694684 w 7467600"/>
              <a:gd name="connsiteY83" fmla="*/ 5447098 h 6858000"/>
              <a:gd name="connsiteX84" fmla="*/ 4754123 w 7467600"/>
              <a:gd name="connsiteY84" fmla="*/ 5384643 h 6858000"/>
              <a:gd name="connsiteX85" fmla="*/ 4978032 w 7467600"/>
              <a:gd name="connsiteY85" fmla="*/ 5183809 h 6858000"/>
              <a:gd name="connsiteX86" fmla="*/ 1903353 w 7467600"/>
              <a:gd name="connsiteY86" fmla="*/ 5044827 h 6858000"/>
              <a:gd name="connsiteX87" fmla="*/ 1936931 w 7467600"/>
              <a:gd name="connsiteY87" fmla="*/ 5093954 h 6858000"/>
              <a:gd name="connsiteX88" fmla="*/ 2195868 w 7467600"/>
              <a:gd name="connsiteY88" fmla="*/ 5396574 h 6858000"/>
              <a:gd name="connsiteX89" fmla="*/ 2088852 w 7467600"/>
              <a:gd name="connsiteY89" fmla="*/ 5166123 h 6858000"/>
              <a:gd name="connsiteX90" fmla="*/ 1958241 w 7467600"/>
              <a:gd name="connsiteY90" fmla="*/ 5067955 h 6858000"/>
              <a:gd name="connsiteX91" fmla="*/ 1903353 w 7467600"/>
              <a:gd name="connsiteY91" fmla="*/ 5044827 h 6858000"/>
              <a:gd name="connsiteX92" fmla="*/ 1979378 w 7467600"/>
              <a:gd name="connsiteY92" fmla="*/ 4769504 h 6858000"/>
              <a:gd name="connsiteX93" fmla="*/ 2882120 w 7467600"/>
              <a:gd name="connsiteY93" fmla="*/ 5064547 h 6858000"/>
              <a:gd name="connsiteX94" fmla="*/ 2793103 w 7467600"/>
              <a:gd name="connsiteY94" fmla="*/ 5039699 h 6858000"/>
              <a:gd name="connsiteX95" fmla="*/ 2770041 w 7467600"/>
              <a:gd name="connsiteY95" fmla="*/ 5033634 h 6858000"/>
              <a:gd name="connsiteX96" fmla="*/ 1979378 w 7467600"/>
              <a:gd name="connsiteY96" fmla="*/ 4769504 h 6858000"/>
              <a:gd name="connsiteX97" fmla="*/ 1927410 w 7467600"/>
              <a:gd name="connsiteY97" fmla="*/ 4716164 h 6858000"/>
              <a:gd name="connsiteX98" fmla="*/ 1959587 w 7467600"/>
              <a:gd name="connsiteY98" fmla="*/ 4728849 h 6858000"/>
              <a:gd name="connsiteX99" fmla="*/ 2777707 w 7467600"/>
              <a:gd name="connsiteY99" fmla="*/ 5003991 h 6858000"/>
              <a:gd name="connsiteX100" fmla="*/ 2800768 w 7467600"/>
              <a:gd name="connsiteY100" fmla="*/ 5010056 h 6858000"/>
              <a:gd name="connsiteX101" fmla="*/ 2879408 w 7467600"/>
              <a:gd name="connsiteY101" fmla="*/ 5031590 h 6858000"/>
              <a:gd name="connsiteX102" fmla="*/ 2862295 w 7467600"/>
              <a:gd name="connsiteY102" fmla="*/ 5022958 h 6858000"/>
              <a:gd name="connsiteX103" fmla="*/ 2813343 w 7467600"/>
              <a:gd name="connsiteY103" fmla="*/ 4998369 h 6858000"/>
              <a:gd name="connsiteX104" fmla="*/ 2646245 w 7467600"/>
              <a:gd name="connsiteY104" fmla="*/ 4930999 h 6858000"/>
              <a:gd name="connsiteX105" fmla="*/ 1999243 w 7467600"/>
              <a:gd name="connsiteY105" fmla="*/ 4730524 h 6858000"/>
              <a:gd name="connsiteX106" fmla="*/ 1979527 w 7467600"/>
              <a:gd name="connsiteY106" fmla="*/ 4726651 h 6858000"/>
              <a:gd name="connsiteX107" fmla="*/ 1927410 w 7467600"/>
              <a:gd name="connsiteY107" fmla="*/ 4716164 h 6858000"/>
              <a:gd name="connsiteX108" fmla="*/ 1997014 w 7467600"/>
              <a:gd name="connsiteY108" fmla="*/ 4698007 h 6858000"/>
              <a:gd name="connsiteX109" fmla="*/ 2005458 w 7467600"/>
              <a:gd name="connsiteY109" fmla="*/ 4699540 h 6858000"/>
              <a:gd name="connsiteX110" fmla="*/ 2657186 w 7467600"/>
              <a:gd name="connsiteY110" fmla="*/ 4901687 h 6858000"/>
              <a:gd name="connsiteX111" fmla="*/ 2826662 w 7467600"/>
              <a:gd name="connsiteY111" fmla="*/ 4970362 h 6858000"/>
              <a:gd name="connsiteX112" fmla="*/ 2876100 w 7467600"/>
              <a:gd name="connsiteY112" fmla="*/ 4995397 h 6858000"/>
              <a:gd name="connsiteX113" fmla="*/ 3042600 w 7467600"/>
              <a:gd name="connsiteY113" fmla="*/ 5059532 h 6858000"/>
              <a:gd name="connsiteX114" fmla="*/ 1997014 w 7467600"/>
              <a:gd name="connsiteY114" fmla="*/ 4698007 h 6858000"/>
              <a:gd name="connsiteX115" fmla="*/ 2305292 w 7467600"/>
              <a:gd name="connsiteY115" fmla="*/ 4219492 h 6858000"/>
              <a:gd name="connsiteX116" fmla="*/ 3360922 w 7467600"/>
              <a:gd name="connsiteY116" fmla="*/ 4529373 h 6858000"/>
              <a:gd name="connsiteX117" fmla="*/ 3492420 w 7467600"/>
              <a:gd name="connsiteY117" fmla="*/ 4510145 h 6858000"/>
              <a:gd name="connsiteX118" fmla="*/ 3364086 w 7467600"/>
              <a:gd name="connsiteY118" fmla="*/ 4480340 h 6858000"/>
              <a:gd name="connsiteX119" fmla="*/ 3225818 w 7467600"/>
              <a:gd name="connsiteY119" fmla="*/ 4411822 h 6858000"/>
              <a:gd name="connsiteX120" fmla="*/ 3129696 w 7467600"/>
              <a:gd name="connsiteY120" fmla="*/ 4360704 h 6858000"/>
              <a:gd name="connsiteX121" fmla="*/ 2814545 w 7467600"/>
              <a:gd name="connsiteY121" fmla="*/ 4282955 h 6858000"/>
              <a:gd name="connsiteX122" fmla="*/ 2305292 w 7467600"/>
              <a:gd name="connsiteY122" fmla="*/ 4219492 h 6858000"/>
              <a:gd name="connsiteX123" fmla="*/ 2626982 w 7467600"/>
              <a:gd name="connsiteY123" fmla="*/ 4206450 h 6858000"/>
              <a:gd name="connsiteX124" fmla="*/ 2490617 w 7467600"/>
              <a:gd name="connsiteY124" fmla="*/ 4206951 h 6858000"/>
              <a:gd name="connsiteX125" fmla="*/ 2819869 w 7467600"/>
              <a:gd name="connsiteY125" fmla="*/ 4252936 h 6858000"/>
              <a:gd name="connsiteX126" fmla="*/ 3143018 w 7467600"/>
              <a:gd name="connsiteY126" fmla="*/ 4332698 h 6858000"/>
              <a:gd name="connsiteX127" fmla="*/ 3241520 w 7467600"/>
              <a:gd name="connsiteY127" fmla="*/ 4385112 h 6858000"/>
              <a:gd name="connsiteX128" fmla="*/ 3374575 w 7467600"/>
              <a:gd name="connsiteY128" fmla="*/ 4451517 h 6858000"/>
              <a:gd name="connsiteX129" fmla="*/ 3505221 w 7467600"/>
              <a:gd name="connsiteY129" fmla="*/ 4480757 h 6858000"/>
              <a:gd name="connsiteX130" fmla="*/ 2626982 w 7467600"/>
              <a:gd name="connsiteY130" fmla="*/ 4206450 h 6858000"/>
              <a:gd name="connsiteX131" fmla="*/ 1310106 w 7467600"/>
              <a:gd name="connsiteY131" fmla="*/ 3943217 h 6858000"/>
              <a:gd name="connsiteX132" fmla="*/ 854994 w 7467600"/>
              <a:gd name="connsiteY132" fmla="*/ 4399136 h 6858000"/>
              <a:gd name="connsiteX133" fmla="*/ 742462 w 7467600"/>
              <a:gd name="connsiteY133" fmla="*/ 4594648 h 6858000"/>
              <a:gd name="connsiteX134" fmla="*/ 820602 w 7467600"/>
              <a:gd name="connsiteY134" fmla="*/ 4485915 h 6858000"/>
              <a:gd name="connsiteX135" fmla="*/ 878295 w 7467600"/>
              <a:gd name="connsiteY135" fmla="*/ 4403594 h 6858000"/>
              <a:gd name="connsiteX136" fmla="*/ 1240607 w 7467600"/>
              <a:gd name="connsiteY136" fmla="*/ 4010401 h 6858000"/>
              <a:gd name="connsiteX137" fmla="*/ 1310106 w 7467600"/>
              <a:gd name="connsiteY137" fmla="*/ 3943217 h 6858000"/>
              <a:gd name="connsiteX138" fmla="*/ 1423113 w 7467600"/>
              <a:gd name="connsiteY138" fmla="*/ 3874565 h 6858000"/>
              <a:gd name="connsiteX139" fmla="*/ 1260565 w 7467600"/>
              <a:gd name="connsiteY139" fmla="*/ 4031982 h 6858000"/>
              <a:gd name="connsiteX140" fmla="*/ 901900 w 7467600"/>
              <a:gd name="connsiteY140" fmla="*/ 4421236 h 6858000"/>
              <a:gd name="connsiteX141" fmla="*/ 845044 w 7467600"/>
              <a:gd name="connsiteY141" fmla="*/ 4502436 h 6858000"/>
              <a:gd name="connsiteX142" fmla="*/ 685926 w 7467600"/>
              <a:gd name="connsiteY142" fmla="*/ 4703069 h 6858000"/>
              <a:gd name="connsiteX143" fmla="*/ 684248 w 7467600"/>
              <a:gd name="connsiteY143" fmla="*/ 4706721 h 6858000"/>
              <a:gd name="connsiteX144" fmla="*/ 1423113 w 7467600"/>
              <a:gd name="connsiteY144" fmla="*/ 3874565 h 6858000"/>
              <a:gd name="connsiteX145" fmla="*/ 3316479 w 7467600"/>
              <a:gd name="connsiteY145" fmla="*/ 3872136 h 6858000"/>
              <a:gd name="connsiteX146" fmla="*/ 3546806 w 7467600"/>
              <a:gd name="connsiteY146" fmla="*/ 4356139 h 6858000"/>
              <a:gd name="connsiteX147" fmla="*/ 3364433 w 7467600"/>
              <a:gd name="connsiteY147" fmla="*/ 3953121 h 6858000"/>
              <a:gd name="connsiteX148" fmla="*/ 3316479 w 7467600"/>
              <a:gd name="connsiteY148" fmla="*/ 3872136 h 6858000"/>
              <a:gd name="connsiteX149" fmla="*/ 3291335 w 7467600"/>
              <a:gd name="connsiteY149" fmla="*/ 3767420 h 6858000"/>
              <a:gd name="connsiteX150" fmla="*/ 3390805 w 7467600"/>
              <a:gd name="connsiteY150" fmla="*/ 3937163 h 6858000"/>
              <a:gd name="connsiteX151" fmla="*/ 3579062 w 7467600"/>
              <a:gd name="connsiteY151" fmla="*/ 4359040 h 6858000"/>
              <a:gd name="connsiteX152" fmla="*/ 3467355 w 7467600"/>
              <a:gd name="connsiteY152" fmla="*/ 3988130 h 6858000"/>
              <a:gd name="connsiteX153" fmla="*/ 3310753 w 7467600"/>
              <a:gd name="connsiteY153" fmla="*/ 3787140 h 6858000"/>
              <a:gd name="connsiteX154" fmla="*/ 3291335 w 7467600"/>
              <a:gd name="connsiteY154" fmla="*/ 3767420 h 6858000"/>
              <a:gd name="connsiteX155" fmla="*/ 1635889 w 7467600"/>
              <a:gd name="connsiteY155" fmla="*/ 3709494 h 6858000"/>
              <a:gd name="connsiteX156" fmla="*/ 1634800 w 7467600"/>
              <a:gd name="connsiteY156" fmla="*/ 3731111 h 6858000"/>
              <a:gd name="connsiteX157" fmla="*/ 1635889 w 7467600"/>
              <a:gd name="connsiteY157" fmla="*/ 3709494 h 6858000"/>
              <a:gd name="connsiteX158" fmla="*/ 1510397 w 7467600"/>
              <a:gd name="connsiteY158" fmla="*/ 3684705 h 6858000"/>
              <a:gd name="connsiteX159" fmla="*/ 1146550 w 7467600"/>
              <a:gd name="connsiteY159" fmla="*/ 3802012 h 6858000"/>
              <a:gd name="connsiteX160" fmla="*/ 698834 w 7467600"/>
              <a:gd name="connsiteY160" fmla="*/ 3952272 h 6858000"/>
              <a:gd name="connsiteX161" fmla="*/ 34256 w 7467600"/>
              <a:gd name="connsiteY161" fmla="*/ 4347603 h 6858000"/>
              <a:gd name="connsiteX162" fmla="*/ 527241 w 7467600"/>
              <a:gd name="connsiteY162" fmla="*/ 4065078 h 6858000"/>
              <a:gd name="connsiteX163" fmla="*/ 1510397 w 7467600"/>
              <a:gd name="connsiteY163" fmla="*/ 3684705 h 6858000"/>
              <a:gd name="connsiteX164" fmla="*/ 1313114 w 7467600"/>
              <a:gd name="connsiteY164" fmla="*/ 3655216 h 6858000"/>
              <a:gd name="connsiteX165" fmla="*/ 1109304 w 7467600"/>
              <a:gd name="connsiteY165" fmla="*/ 3669030 h 6858000"/>
              <a:gd name="connsiteX166" fmla="*/ 8129 w 7467600"/>
              <a:gd name="connsiteY166" fmla="*/ 4330519 h 6858000"/>
              <a:gd name="connsiteX167" fmla="*/ 687572 w 7467600"/>
              <a:gd name="connsiteY167" fmla="*/ 3925629 h 6858000"/>
              <a:gd name="connsiteX168" fmla="*/ 1138365 w 7467600"/>
              <a:gd name="connsiteY168" fmla="*/ 3774515 h 6858000"/>
              <a:gd name="connsiteX169" fmla="*/ 1505579 w 7467600"/>
              <a:gd name="connsiteY169" fmla="*/ 3655526 h 6858000"/>
              <a:gd name="connsiteX170" fmla="*/ 1313114 w 7467600"/>
              <a:gd name="connsiteY170" fmla="*/ 3655216 h 6858000"/>
              <a:gd name="connsiteX171" fmla="*/ 3655073 w 7467600"/>
              <a:gd name="connsiteY171" fmla="*/ 3650884 h 6858000"/>
              <a:gd name="connsiteX172" fmla="*/ 3989938 w 7467600"/>
              <a:gd name="connsiteY172" fmla="*/ 3991685 h 6858000"/>
              <a:gd name="connsiteX173" fmla="*/ 4393907 w 7467600"/>
              <a:gd name="connsiteY173" fmla="*/ 4261258 h 6858000"/>
              <a:gd name="connsiteX174" fmla="*/ 4648051 w 7467600"/>
              <a:gd name="connsiteY174" fmla="*/ 4374051 h 6858000"/>
              <a:gd name="connsiteX175" fmla="*/ 4383389 w 7467600"/>
              <a:gd name="connsiteY175" fmla="*/ 4184369 h 6858000"/>
              <a:gd name="connsiteX176" fmla="*/ 4165508 w 7467600"/>
              <a:gd name="connsiteY176" fmla="*/ 4035196 h 6858000"/>
              <a:gd name="connsiteX177" fmla="*/ 4068162 w 7467600"/>
              <a:gd name="connsiteY177" fmla="*/ 3953394 h 6858000"/>
              <a:gd name="connsiteX178" fmla="*/ 3981416 w 7467600"/>
              <a:gd name="connsiteY178" fmla="*/ 3880482 h 6858000"/>
              <a:gd name="connsiteX179" fmla="*/ 3800147 w 7467600"/>
              <a:gd name="connsiteY179" fmla="*/ 3749872 h 6858000"/>
              <a:gd name="connsiteX180" fmla="*/ 3655073 w 7467600"/>
              <a:gd name="connsiteY180" fmla="*/ 3650884 h 6858000"/>
              <a:gd name="connsiteX181" fmla="*/ 3670252 w 7467600"/>
              <a:gd name="connsiteY181" fmla="*/ 3622798 h 6858000"/>
              <a:gd name="connsiteX182" fmla="*/ 3817258 w 7467600"/>
              <a:gd name="connsiteY182" fmla="*/ 3723577 h 6858000"/>
              <a:gd name="connsiteX183" fmla="*/ 4000461 w 7467600"/>
              <a:gd name="connsiteY183" fmla="*/ 3855966 h 6858000"/>
              <a:gd name="connsiteX184" fmla="*/ 4088180 w 7467600"/>
              <a:gd name="connsiteY184" fmla="*/ 3929774 h 6858000"/>
              <a:gd name="connsiteX185" fmla="*/ 4184555 w 7467600"/>
              <a:gd name="connsiteY185" fmla="*/ 4010683 h 6858000"/>
              <a:gd name="connsiteX186" fmla="*/ 4399563 w 7467600"/>
              <a:gd name="connsiteY186" fmla="*/ 4158106 h 6858000"/>
              <a:gd name="connsiteX187" fmla="*/ 4684469 w 7467600"/>
              <a:gd name="connsiteY187" fmla="*/ 4364680 h 6858000"/>
              <a:gd name="connsiteX188" fmla="*/ 4690271 w 7467600"/>
              <a:gd name="connsiteY188" fmla="*/ 4370034 h 6858000"/>
              <a:gd name="connsiteX189" fmla="*/ 4136093 w 7467600"/>
              <a:gd name="connsiteY189" fmla="*/ 3858466 h 6858000"/>
              <a:gd name="connsiteX190" fmla="*/ 3670252 w 7467600"/>
              <a:gd name="connsiteY190" fmla="*/ 3622798 h 6858000"/>
              <a:gd name="connsiteX191" fmla="*/ 4440129 w 7467600"/>
              <a:gd name="connsiteY191" fmla="*/ 3448571 h 6858000"/>
              <a:gd name="connsiteX192" fmla="*/ 4856525 w 7467600"/>
              <a:gd name="connsiteY192" fmla="*/ 3915351 h 6858000"/>
              <a:gd name="connsiteX193" fmla="*/ 5059055 w 7467600"/>
              <a:gd name="connsiteY193" fmla="*/ 4108918 h 6858000"/>
              <a:gd name="connsiteX194" fmla="*/ 5290070 w 7467600"/>
              <a:gd name="connsiteY194" fmla="*/ 4263619 h 6858000"/>
              <a:gd name="connsiteX195" fmla="*/ 4834991 w 7467600"/>
              <a:gd name="connsiteY195" fmla="*/ 3830985 h 6858000"/>
              <a:gd name="connsiteX196" fmla="*/ 4440129 w 7467600"/>
              <a:gd name="connsiteY196" fmla="*/ 3448571 h 6858000"/>
              <a:gd name="connsiteX197" fmla="*/ 4441737 w 7467600"/>
              <a:gd name="connsiteY197" fmla="*/ 3399734 h 6858000"/>
              <a:gd name="connsiteX198" fmla="*/ 4431236 w 7467600"/>
              <a:gd name="connsiteY198" fmla="*/ 3400954 h 6858000"/>
              <a:gd name="connsiteX199" fmla="*/ 4557150 w 7467600"/>
              <a:gd name="connsiteY199" fmla="*/ 3510023 h 6858000"/>
              <a:gd name="connsiteX200" fmla="*/ 4856936 w 7467600"/>
              <a:gd name="connsiteY200" fmla="*/ 3809146 h 6858000"/>
              <a:gd name="connsiteX201" fmla="*/ 5111996 w 7467600"/>
              <a:gd name="connsiteY201" fmla="*/ 4065759 h 6858000"/>
              <a:gd name="connsiteX202" fmla="*/ 5388878 w 7467600"/>
              <a:gd name="connsiteY202" fmla="*/ 4300185 h 6858000"/>
              <a:gd name="connsiteX203" fmla="*/ 5425556 w 7467600"/>
              <a:gd name="connsiteY203" fmla="*/ 4308967 h 6858000"/>
              <a:gd name="connsiteX204" fmla="*/ 4943646 w 7467600"/>
              <a:gd name="connsiteY204" fmla="*/ 3822916 h 6858000"/>
              <a:gd name="connsiteX205" fmla="*/ 4594837 w 7467600"/>
              <a:gd name="connsiteY205" fmla="*/ 3532274 h 6858000"/>
              <a:gd name="connsiteX206" fmla="*/ 4441737 w 7467600"/>
              <a:gd name="connsiteY206" fmla="*/ 3399734 h 6858000"/>
              <a:gd name="connsiteX207" fmla="*/ 5425834 w 7467600"/>
              <a:gd name="connsiteY207" fmla="*/ 3162785 h 6858000"/>
              <a:gd name="connsiteX208" fmla="*/ 5401644 w 7467600"/>
              <a:gd name="connsiteY208" fmla="*/ 3617847 h 6858000"/>
              <a:gd name="connsiteX209" fmla="*/ 5467256 w 7467600"/>
              <a:gd name="connsiteY209" fmla="*/ 4175494 h 6858000"/>
              <a:gd name="connsiteX210" fmla="*/ 5448069 w 7467600"/>
              <a:gd name="connsiteY210" fmla="*/ 3567554 h 6858000"/>
              <a:gd name="connsiteX211" fmla="*/ 5425834 w 7467600"/>
              <a:gd name="connsiteY211" fmla="*/ 3162785 h 6858000"/>
              <a:gd name="connsiteX212" fmla="*/ 1318687 w 7467600"/>
              <a:gd name="connsiteY212" fmla="*/ 3113840 h 6858000"/>
              <a:gd name="connsiteX213" fmla="*/ 1066793 w 7467600"/>
              <a:gd name="connsiteY213" fmla="*/ 3212171 h 6858000"/>
              <a:gd name="connsiteX214" fmla="*/ 993319 w 7467600"/>
              <a:gd name="connsiteY214" fmla="*/ 3247648 h 6858000"/>
              <a:gd name="connsiteX215" fmla="*/ 853081 w 7467600"/>
              <a:gd name="connsiteY215" fmla="*/ 3312410 h 6858000"/>
              <a:gd name="connsiteX216" fmla="*/ 805957 w 7467600"/>
              <a:gd name="connsiteY216" fmla="*/ 3330443 h 6858000"/>
              <a:gd name="connsiteX217" fmla="*/ 1318687 w 7467600"/>
              <a:gd name="connsiteY217" fmla="*/ 3113840 h 6858000"/>
              <a:gd name="connsiteX218" fmla="*/ 5453702 w 7467600"/>
              <a:gd name="connsiteY218" fmla="*/ 3090882 h 6858000"/>
              <a:gd name="connsiteX219" fmla="*/ 5480135 w 7467600"/>
              <a:gd name="connsiteY219" fmla="*/ 3565802 h 6858000"/>
              <a:gd name="connsiteX220" fmla="*/ 5499023 w 7467600"/>
              <a:gd name="connsiteY220" fmla="*/ 4166310 h 6858000"/>
              <a:gd name="connsiteX221" fmla="*/ 5547022 w 7467600"/>
              <a:gd name="connsiteY221" fmla="*/ 3607838 h 6858000"/>
              <a:gd name="connsiteX222" fmla="*/ 5515964 w 7467600"/>
              <a:gd name="connsiteY222" fmla="*/ 3378541 h 6858000"/>
              <a:gd name="connsiteX223" fmla="*/ 5453702 w 7467600"/>
              <a:gd name="connsiteY223" fmla="*/ 3090882 h 6858000"/>
              <a:gd name="connsiteX224" fmla="*/ 1238695 w 7467600"/>
              <a:gd name="connsiteY224" fmla="*/ 3076820 h 6858000"/>
              <a:gd name="connsiteX225" fmla="*/ 716371 w 7467600"/>
              <a:gd name="connsiteY225" fmla="*/ 3293249 h 6858000"/>
              <a:gd name="connsiteX226" fmla="*/ 579522 w 7467600"/>
              <a:gd name="connsiteY226" fmla="*/ 3371759 h 6858000"/>
              <a:gd name="connsiteX227" fmla="*/ 600288 w 7467600"/>
              <a:gd name="connsiteY227" fmla="*/ 3365555 h 6858000"/>
              <a:gd name="connsiteX228" fmla="*/ 840692 w 7467600"/>
              <a:gd name="connsiteY228" fmla="*/ 3284921 h 6858000"/>
              <a:gd name="connsiteX229" fmla="*/ 979248 w 7467600"/>
              <a:gd name="connsiteY229" fmla="*/ 3221003 h 6858000"/>
              <a:gd name="connsiteX230" fmla="*/ 1053282 w 7467600"/>
              <a:gd name="connsiteY230" fmla="*/ 3185247 h 6858000"/>
              <a:gd name="connsiteX231" fmla="*/ 1320603 w 7467600"/>
              <a:gd name="connsiteY231" fmla="*/ 3081281 h 6858000"/>
              <a:gd name="connsiteX232" fmla="*/ 1238695 w 7467600"/>
              <a:gd name="connsiteY232" fmla="*/ 3076820 h 6858000"/>
              <a:gd name="connsiteX233" fmla="*/ 5425627 w 7467600"/>
              <a:gd name="connsiteY233" fmla="*/ 2954192 h 6858000"/>
              <a:gd name="connsiteX234" fmla="*/ 5470770 w 7467600"/>
              <a:gd name="connsiteY234" fmla="*/ 3005435 h 6858000"/>
              <a:gd name="connsiteX235" fmla="*/ 5519779 w 7467600"/>
              <a:gd name="connsiteY235" fmla="*/ 4359223 h 6858000"/>
              <a:gd name="connsiteX236" fmla="*/ 5520293 w 7467600"/>
              <a:gd name="connsiteY236" fmla="*/ 4360602 h 6858000"/>
              <a:gd name="connsiteX237" fmla="*/ 5767221 w 7467600"/>
              <a:gd name="connsiteY237" fmla="*/ 4665564 h 6858000"/>
              <a:gd name="connsiteX238" fmla="*/ 6937169 w 7467600"/>
              <a:gd name="connsiteY238" fmla="*/ 4815941 h 6858000"/>
              <a:gd name="connsiteX239" fmla="*/ 6953922 w 7467600"/>
              <a:gd name="connsiteY239" fmla="*/ 4890068 h 6858000"/>
              <a:gd name="connsiteX240" fmla="*/ 6071359 w 7467600"/>
              <a:gd name="connsiteY240" fmla="*/ 4770770 h 6858000"/>
              <a:gd name="connsiteX241" fmla="*/ 6038839 w 7467600"/>
              <a:gd name="connsiteY241" fmla="*/ 4764474 h 6858000"/>
              <a:gd name="connsiteX242" fmla="*/ 6038706 w 7467600"/>
              <a:gd name="connsiteY242" fmla="*/ 4763847 h 6858000"/>
              <a:gd name="connsiteX243" fmla="*/ 6037784 w 7467600"/>
              <a:gd name="connsiteY243" fmla="*/ 4764270 h 6858000"/>
              <a:gd name="connsiteX244" fmla="*/ 6038839 w 7467600"/>
              <a:gd name="connsiteY244" fmla="*/ 4764474 h 6858000"/>
              <a:gd name="connsiteX245" fmla="*/ 6040338 w 7467600"/>
              <a:gd name="connsiteY245" fmla="*/ 4771418 h 6858000"/>
              <a:gd name="connsiteX246" fmla="*/ 6024488 w 7467600"/>
              <a:gd name="connsiteY246" fmla="*/ 4809903 h 6858000"/>
              <a:gd name="connsiteX247" fmla="*/ 5599771 w 7467600"/>
              <a:gd name="connsiteY247" fmla="*/ 5509652 h 6858000"/>
              <a:gd name="connsiteX248" fmla="*/ 5548843 w 7467600"/>
              <a:gd name="connsiteY248" fmla="*/ 5563845 h 6858000"/>
              <a:gd name="connsiteX249" fmla="*/ 5940952 w 7467600"/>
              <a:gd name="connsiteY249" fmla="*/ 6250028 h 6858000"/>
              <a:gd name="connsiteX250" fmla="*/ 6043441 w 7467600"/>
              <a:gd name="connsiteY250" fmla="*/ 6665847 h 6858000"/>
              <a:gd name="connsiteX251" fmla="*/ 6093432 w 7467600"/>
              <a:gd name="connsiteY251" fmla="*/ 6858000 h 6858000"/>
              <a:gd name="connsiteX252" fmla="*/ 6034344 w 7467600"/>
              <a:gd name="connsiteY252" fmla="*/ 6858000 h 6858000"/>
              <a:gd name="connsiteX253" fmla="*/ 6026679 w 7467600"/>
              <a:gd name="connsiteY253" fmla="*/ 6836959 h 6858000"/>
              <a:gd name="connsiteX254" fmla="*/ 5800441 w 7467600"/>
              <a:gd name="connsiteY254" fmla="*/ 6335286 h 6858000"/>
              <a:gd name="connsiteX255" fmla="*/ 5526562 w 7467600"/>
              <a:gd name="connsiteY255" fmla="*/ 5705388 h 6858000"/>
              <a:gd name="connsiteX256" fmla="*/ 5519640 w 7467600"/>
              <a:gd name="connsiteY256" fmla="*/ 5683774 h 6858000"/>
              <a:gd name="connsiteX257" fmla="*/ 5844559 w 7467600"/>
              <a:gd name="connsiteY257" fmla="*/ 6553349 h 6858000"/>
              <a:gd name="connsiteX258" fmla="*/ 5975994 w 7467600"/>
              <a:gd name="connsiteY258" fmla="*/ 6858000 h 6858000"/>
              <a:gd name="connsiteX259" fmla="*/ 5898547 w 7467600"/>
              <a:gd name="connsiteY259" fmla="*/ 6858000 h 6858000"/>
              <a:gd name="connsiteX260" fmla="*/ 5682041 w 7467600"/>
              <a:gd name="connsiteY260" fmla="*/ 6355860 h 6858000"/>
              <a:gd name="connsiteX261" fmla="*/ 5461758 w 7467600"/>
              <a:gd name="connsiteY261" fmla="*/ 5820220 h 6858000"/>
              <a:gd name="connsiteX262" fmla="*/ 5237282 w 7467600"/>
              <a:gd name="connsiteY262" fmla="*/ 6579086 h 6858000"/>
              <a:gd name="connsiteX263" fmla="*/ 5115009 w 7467600"/>
              <a:gd name="connsiteY263" fmla="*/ 6858000 h 6858000"/>
              <a:gd name="connsiteX264" fmla="*/ 5028074 w 7467600"/>
              <a:gd name="connsiteY264" fmla="*/ 6858000 h 6858000"/>
              <a:gd name="connsiteX265" fmla="*/ 5079508 w 7467600"/>
              <a:gd name="connsiteY265" fmla="*/ 6749074 h 6858000"/>
              <a:gd name="connsiteX266" fmla="*/ 5371846 w 7467600"/>
              <a:gd name="connsiteY266" fmla="*/ 5924413 h 6858000"/>
              <a:gd name="connsiteX267" fmla="*/ 5270512 w 7467600"/>
              <a:gd name="connsiteY267" fmla="*/ 6138975 h 6858000"/>
              <a:gd name="connsiteX268" fmla="*/ 5062409 w 7467600"/>
              <a:gd name="connsiteY268" fmla="*/ 6653544 h 6858000"/>
              <a:gd name="connsiteX269" fmla="*/ 5036628 w 7467600"/>
              <a:gd name="connsiteY269" fmla="*/ 6754247 h 6858000"/>
              <a:gd name="connsiteX270" fmla="*/ 5009112 w 7467600"/>
              <a:gd name="connsiteY270" fmla="*/ 6858000 h 6858000"/>
              <a:gd name="connsiteX271" fmla="*/ 4976679 w 7467600"/>
              <a:gd name="connsiteY271" fmla="*/ 6858000 h 6858000"/>
              <a:gd name="connsiteX272" fmla="*/ 5006537 w 7467600"/>
              <a:gd name="connsiteY272" fmla="*/ 6747068 h 6858000"/>
              <a:gd name="connsiteX273" fmla="*/ 5032723 w 7467600"/>
              <a:gd name="connsiteY273" fmla="*/ 6644957 h 6858000"/>
              <a:gd name="connsiteX274" fmla="*/ 5242949 w 7467600"/>
              <a:gd name="connsiteY274" fmla="*/ 6125175 h 6858000"/>
              <a:gd name="connsiteX275" fmla="*/ 5286321 w 7467600"/>
              <a:gd name="connsiteY275" fmla="*/ 6033555 h 6858000"/>
              <a:gd name="connsiteX276" fmla="*/ 5008210 w 7467600"/>
              <a:gd name="connsiteY276" fmla="*/ 6649194 h 6858000"/>
              <a:gd name="connsiteX277" fmla="*/ 4986321 w 7467600"/>
              <a:gd name="connsiteY277" fmla="*/ 6765687 h 6858000"/>
              <a:gd name="connsiteX278" fmla="*/ 4973474 w 7467600"/>
              <a:gd name="connsiteY278" fmla="*/ 6858000 h 6858000"/>
              <a:gd name="connsiteX279" fmla="*/ 4907178 w 7467600"/>
              <a:gd name="connsiteY279" fmla="*/ 6858000 h 6858000"/>
              <a:gd name="connsiteX280" fmla="*/ 4910810 w 7467600"/>
              <a:gd name="connsiteY280" fmla="*/ 6829660 h 6858000"/>
              <a:gd name="connsiteX281" fmla="*/ 4987461 w 7467600"/>
              <a:gd name="connsiteY281" fmla="*/ 6432994 h 6858000"/>
              <a:gd name="connsiteX282" fmla="*/ 5179262 w 7467600"/>
              <a:gd name="connsiteY282" fmla="*/ 6035044 h 6858000"/>
              <a:gd name="connsiteX283" fmla="*/ 4689678 w 7467600"/>
              <a:gd name="connsiteY283" fmla="*/ 6440241 h 6858000"/>
              <a:gd name="connsiteX284" fmla="*/ 4477543 w 7467600"/>
              <a:gd name="connsiteY284" fmla="*/ 6674836 h 6858000"/>
              <a:gd name="connsiteX285" fmla="*/ 4329957 w 7467600"/>
              <a:gd name="connsiteY285" fmla="*/ 6858000 h 6858000"/>
              <a:gd name="connsiteX286" fmla="*/ 4218595 w 7467600"/>
              <a:gd name="connsiteY286" fmla="*/ 6858000 h 6858000"/>
              <a:gd name="connsiteX287" fmla="*/ 4368888 w 7467600"/>
              <a:gd name="connsiteY287" fmla="*/ 6668412 h 6858000"/>
              <a:gd name="connsiteX288" fmla="*/ 4563091 w 7467600"/>
              <a:gd name="connsiteY288" fmla="*/ 6442508 h 6858000"/>
              <a:gd name="connsiteX289" fmla="*/ 5387324 w 7467600"/>
              <a:gd name="connsiteY289" fmla="*/ 5705830 h 6858000"/>
              <a:gd name="connsiteX290" fmla="*/ 5073620 w 7467600"/>
              <a:gd name="connsiteY290" fmla="*/ 5955437 h 6858000"/>
              <a:gd name="connsiteX291" fmla="*/ 4689789 w 7467600"/>
              <a:gd name="connsiteY291" fmla="*/ 6268382 h 6858000"/>
              <a:gd name="connsiteX292" fmla="*/ 4418722 w 7467600"/>
              <a:gd name="connsiteY292" fmla="*/ 6570886 h 6858000"/>
              <a:gd name="connsiteX293" fmla="*/ 4214944 w 7467600"/>
              <a:gd name="connsiteY293" fmla="*/ 6858000 h 6858000"/>
              <a:gd name="connsiteX294" fmla="*/ 4177898 w 7467600"/>
              <a:gd name="connsiteY294" fmla="*/ 6858000 h 6858000"/>
              <a:gd name="connsiteX295" fmla="*/ 4391597 w 7467600"/>
              <a:gd name="connsiteY295" fmla="*/ 6556370 h 6858000"/>
              <a:gd name="connsiteX296" fmla="*/ 4668889 w 7467600"/>
              <a:gd name="connsiteY296" fmla="*/ 6246399 h 6858000"/>
              <a:gd name="connsiteX297" fmla="*/ 5055427 w 7467600"/>
              <a:gd name="connsiteY297" fmla="*/ 5931476 h 6858000"/>
              <a:gd name="connsiteX298" fmla="*/ 5371814 w 7467600"/>
              <a:gd name="connsiteY298" fmla="*/ 5678975 h 6858000"/>
              <a:gd name="connsiteX299" fmla="*/ 4987918 w 7467600"/>
              <a:gd name="connsiteY299" fmla="*/ 5838701 h 6858000"/>
              <a:gd name="connsiteX300" fmla="*/ 4317146 w 7467600"/>
              <a:gd name="connsiteY300" fmla="*/ 6587716 h 6858000"/>
              <a:gd name="connsiteX301" fmla="*/ 4171627 w 7467600"/>
              <a:gd name="connsiteY301" fmla="*/ 6858000 h 6858000"/>
              <a:gd name="connsiteX302" fmla="*/ 4081585 w 7467600"/>
              <a:gd name="connsiteY302" fmla="*/ 6858000 h 6858000"/>
              <a:gd name="connsiteX303" fmla="*/ 4238603 w 7467600"/>
              <a:gd name="connsiteY303" fmla="*/ 6559341 h 6858000"/>
              <a:gd name="connsiteX304" fmla="*/ 4778333 w 7467600"/>
              <a:gd name="connsiteY304" fmla="*/ 5873626 h 6858000"/>
              <a:gd name="connsiteX305" fmla="*/ 5414185 w 7467600"/>
              <a:gd name="connsiteY305" fmla="*/ 5573882 h 6858000"/>
              <a:gd name="connsiteX306" fmla="*/ 5959648 w 7467600"/>
              <a:gd name="connsiteY306" fmla="*/ 4760797 h 6858000"/>
              <a:gd name="connsiteX307" fmla="*/ 5355019 w 7467600"/>
              <a:gd name="connsiteY307" fmla="*/ 4734672 h 6858000"/>
              <a:gd name="connsiteX308" fmla="*/ 5083565 w 7467600"/>
              <a:gd name="connsiteY308" fmla="*/ 5179121 h 6858000"/>
              <a:gd name="connsiteX309" fmla="*/ 4713577 w 7467600"/>
              <a:gd name="connsiteY309" fmla="*/ 5616803 h 6858000"/>
              <a:gd name="connsiteX310" fmla="*/ 3989559 w 7467600"/>
              <a:gd name="connsiteY310" fmla="*/ 6145945 h 6858000"/>
              <a:gd name="connsiteX311" fmla="*/ 3939824 w 7467600"/>
              <a:gd name="connsiteY311" fmla="*/ 6066900 h 6858000"/>
              <a:gd name="connsiteX312" fmla="*/ 4584537 w 7467600"/>
              <a:gd name="connsiteY312" fmla="*/ 5324826 h 6858000"/>
              <a:gd name="connsiteX313" fmla="*/ 5037105 w 7467600"/>
              <a:gd name="connsiteY313" fmla="*/ 5088765 h 6858000"/>
              <a:gd name="connsiteX314" fmla="*/ 5039930 w 7467600"/>
              <a:gd name="connsiteY314" fmla="*/ 5089585 h 6858000"/>
              <a:gd name="connsiteX315" fmla="*/ 5263764 w 7467600"/>
              <a:gd name="connsiteY315" fmla="*/ 4735525 h 6858000"/>
              <a:gd name="connsiteX316" fmla="*/ 4086300 w 7467600"/>
              <a:gd name="connsiteY316" fmla="*/ 4884599 h 6858000"/>
              <a:gd name="connsiteX317" fmla="*/ 4085485 w 7467600"/>
              <a:gd name="connsiteY317" fmla="*/ 4899070 h 6858000"/>
              <a:gd name="connsiteX318" fmla="*/ 3871915 w 7467600"/>
              <a:gd name="connsiteY318" fmla="*/ 5253645 h 6858000"/>
              <a:gd name="connsiteX319" fmla="*/ 3799374 w 7467600"/>
              <a:gd name="connsiteY319" fmla="*/ 5466127 h 6858000"/>
              <a:gd name="connsiteX320" fmla="*/ 3498850 w 7467600"/>
              <a:gd name="connsiteY320" fmla="*/ 6661888 h 6858000"/>
              <a:gd name="connsiteX321" fmla="*/ 3399216 w 7467600"/>
              <a:gd name="connsiteY321" fmla="*/ 6858000 h 6858000"/>
              <a:gd name="connsiteX322" fmla="*/ 3303688 w 7467600"/>
              <a:gd name="connsiteY322" fmla="*/ 6858000 h 6858000"/>
              <a:gd name="connsiteX323" fmla="*/ 3391774 w 7467600"/>
              <a:gd name="connsiteY323" fmla="*/ 6697181 h 6858000"/>
              <a:gd name="connsiteX324" fmla="*/ 3735540 w 7467600"/>
              <a:gd name="connsiteY324" fmla="*/ 5546923 h 6858000"/>
              <a:gd name="connsiteX325" fmla="*/ 3729438 w 7467600"/>
              <a:gd name="connsiteY325" fmla="*/ 5569058 h 6858000"/>
              <a:gd name="connsiteX326" fmla="*/ 3707782 w 7467600"/>
              <a:gd name="connsiteY326" fmla="*/ 5644908 h 6858000"/>
              <a:gd name="connsiteX327" fmla="*/ 3583827 w 7467600"/>
              <a:gd name="connsiteY327" fmla="*/ 6039215 h 6858000"/>
              <a:gd name="connsiteX328" fmla="*/ 3547861 w 7467600"/>
              <a:gd name="connsiteY328" fmla="*/ 6129609 h 6858000"/>
              <a:gd name="connsiteX329" fmla="*/ 3490905 w 7467600"/>
              <a:gd name="connsiteY329" fmla="*/ 6277660 h 6858000"/>
              <a:gd name="connsiteX330" fmla="*/ 3455859 w 7467600"/>
              <a:gd name="connsiteY330" fmla="*/ 6391301 h 6858000"/>
              <a:gd name="connsiteX331" fmla="*/ 3429112 w 7467600"/>
              <a:gd name="connsiteY331" fmla="*/ 6479469 h 6858000"/>
              <a:gd name="connsiteX332" fmla="*/ 3304862 w 7467600"/>
              <a:gd name="connsiteY332" fmla="*/ 6796476 h 6858000"/>
              <a:gd name="connsiteX333" fmla="*/ 3276071 w 7467600"/>
              <a:gd name="connsiteY333" fmla="*/ 6858000 h 6858000"/>
              <a:gd name="connsiteX334" fmla="*/ 3240805 w 7467600"/>
              <a:gd name="connsiteY334" fmla="*/ 6858000 h 6858000"/>
              <a:gd name="connsiteX335" fmla="*/ 3275917 w 7467600"/>
              <a:gd name="connsiteY335" fmla="*/ 6783192 h 6858000"/>
              <a:gd name="connsiteX336" fmla="*/ 3399358 w 7467600"/>
              <a:gd name="connsiteY336" fmla="*/ 6469011 h 6858000"/>
              <a:gd name="connsiteX337" fmla="*/ 3425650 w 7467600"/>
              <a:gd name="connsiteY337" fmla="*/ 6381333 h 6858000"/>
              <a:gd name="connsiteX338" fmla="*/ 3460661 w 7467600"/>
              <a:gd name="connsiteY338" fmla="*/ 6266763 h 6858000"/>
              <a:gd name="connsiteX339" fmla="*/ 3518021 w 7467600"/>
              <a:gd name="connsiteY339" fmla="*/ 6117298 h 6858000"/>
              <a:gd name="connsiteX340" fmla="*/ 3554035 w 7467600"/>
              <a:gd name="connsiteY340" fmla="*/ 6027832 h 6858000"/>
              <a:gd name="connsiteX341" fmla="*/ 3677174 w 7467600"/>
              <a:gd name="connsiteY341" fmla="*/ 5636351 h 6858000"/>
              <a:gd name="connsiteX342" fmla="*/ 3698819 w 7467600"/>
              <a:gd name="connsiteY342" fmla="*/ 5560503 h 6858000"/>
              <a:gd name="connsiteX343" fmla="*/ 3702094 w 7467600"/>
              <a:gd name="connsiteY343" fmla="*/ 5549194 h 6858000"/>
              <a:gd name="connsiteX344" fmla="*/ 3398355 w 7467600"/>
              <a:gd name="connsiteY344" fmla="*/ 6094603 h 6858000"/>
              <a:gd name="connsiteX345" fmla="*/ 3193941 w 7467600"/>
              <a:gd name="connsiteY345" fmla="*/ 6798775 h 6858000"/>
              <a:gd name="connsiteX346" fmla="*/ 3184140 w 7467600"/>
              <a:gd name="connsiteY346" fmla="*/ 6858000 h 6858000"/>
              <a:gd name="connsiteX347" fmla="*/ 3099978 w 7467600"/>
              <a:gd name="connsiteY347" fmla="*/ 6858000 h 6858000"/>
              <a:gd name="connsiteX348" fmla="*/ 3101556 w 7467600"/>
              <a:gd name="connsiteY348" fmla="*/ 6843337 h 6858000"/>
              <a:gd name="connsiteX349" fmla="*/ 3370162 w 7467600"/>
              <a:gd name="connsiteY349" fmla="*/ 5785550 h 6858000"/>
              <a:gd name="connsiteX350" fmla="*/ 3746477 w 7467600"/>
              <a:gd name="connsiteY350" fmla="*/ 5377889 h 6858000"/>
              <a:gd name="connsiteX351" fmla="*/ 3863399 w 7467600"/>
              <a:gd name="connsiteY351" fmla="*/ 5087257 h 6858000"/>
              <a:gd name="connsiteX352" fmla="*/ 3968712 w 7467600"/>
              <a:gd name="connsiteY352" fmla="*/ 4913989 h 6858000"/>
              <a:gd name="connsiteX353" fmla="*/ 2792390 w 7467600"/>
              <a:gd name="connsiteY353" fmla="*/ 5382974 h 6858000"/>
              <a:gd name="connsiteX354" fmla="*/ 2714982 w 7467600"/>
              <a:gd name="connsiteY354" fmla="*/ 5427051 h 6858000"/>
              <a:gd name="connsiteX355" fmla="*/ 2813361 w 7467600"/>
              <a:gd name="connsiteY355" fmla="*/ 6023912 h 6858000"/>
              <a:gd name="connsiteX356" fmla="*/ 2688430 w 7467600"/>
              <a:gd name="connsiteY356" fmla="*/ 6801564 h 6858000"/>
              <a:gd name="connsiteX357" fmla="*/ 2629626 w 7467600"/>
              <a:gd name="connsiteY357" fmla="*/ 6763394 h 6858000"/>
              <a:gd name="connsiteX358" fmla="*/ 2565328 w 7467600"/>
              <a:gd name="connsiteY358" fmla="*/ 5516399 h 6858000"/>
              <a:gd name="connsiteX359" fmla="*/ 1922999 w 7467600"/>
              <a:gd name="connsiteY359" fmla="*/ 5980343 h 6858000"/>
              <a:gd name="connsiteX360" fmla="*/ 1950261 w 7467600"/>
              <a:gd name="connsiteY360" fmla="*/ 6405858 h 6858000"/>
              <a:gd name="connsiteX361" fmla="*/ 2365554 w 7467600"/>
              <a:gd name="connsiteY361" fmla="*/ 6759107 h 6858000"/>
              <a:gd name="connsiteX362" fmla="*/ 2424142 w 7467600"/>
              <a:gd name="connsiteY362" fmla="*/ 6858000 h 6858000"/>
              <a:gd name="connsiteX363" fmla="*/ 2395994 w 7467600"/>
              <a:gd name="connsiteY363" fmla="*/ 6858000 h 6858000"/>
              <a:gd name="connsiteX364" fmla="*/ 2392863 w 7467600"/>
              <a:gd name="connsiteY364" fmla="*/ 6852964 h 6858000"/>
              <a:gd name="connsiteX365" fmla="*/ 2017589 w 7467600"/>
              <a:gd name="connsiteY365" fmla="*/ 6493982 h 6858000"/>
              <a:gd name="connsiteX366" fmla="*/ 2147336 w 7467600"/>
              <a:gd name="connsiteY366" fmla="*/ 6594052 h 6858000"/>
              <a:gd name="connsiteX367" fmla="*/ 2207047 w 7467600"/>
              <a:gd name="connsiteY367" fmla="*/ 6654540 h 6858000"/>
              <a:gd name="connsiteX368" fmla="*/ 2299106 w 7467600"/>
              <a:gd name="connsiteY368" fmla="*/ 6778931 h 6858000"/>
              <a:gd name="connsiteX369" fmla="*/ 2314430 w 7467600"/>
              <a:gd name="connsiteY369" fmla="*/ 6801144 h 6858000"/>
              <a:gd name="connsiteX370" fmla="*/ 2352406 w 7467600"/>
              <a:gd name="connsiteY370" fmla="*/ 6858000 h 6858000"/>
              <a:gd name="connsiteX371" fmla="*/ 2314492 w 7467600"/>
              <a:gd name="connsiteY371" fmla="*/ 6858000 h 6858000"/>
              <a:gd name="connsiteX372" fmla="*/ 2288095 w 7467600"/>
              <a:gd name="connsiteY372" fmla="*/ 6818030 h 6858000"/>
              <a:gd name="connsiteX373" fmla="*/ 2272768 w 7467600"/>
              <a:gd name="connsiteY373" fmla="*/ 6795822 h 6858000"/>
              <a:gd name="connsiteX374" fmla="*/ 2182715 w 7467600"/>
              <a:gd name="connsiteY374" fmla="*/ 6675071 h 6858000"/>
              <a:gd name="connsiteX375" fmla="*/ 2032061 w 7467600"/>
              <a:gd name="connsiteY375" fmla="*/ 6541380 h 6858000"/>
              <a:gd name="connsiteX376" fmla="*/ 2257220 w 7467600"/>
              <a:gd name="connsiteY376" fmla="*/ 6826257 h 6858000"/>
              <a:gd name="connsiteX377" fmla="*/ 2281324 w 7467600"/>
              <a:gd name="connsiteY377" fmla="*/ 6858000 h 6858000"/>
              <a:gd name="connsiteX378" fmla="*/ 2242860 w 7467600"/>
              <a:gd name="connsiteY378" fmla="*/ 6858000 h 6858000"/>
              <a:gd name="connsiteX379" fmla="*/ 2232818 w 7467600"/>
              <a:gd name="connsiteY379" fmla="*/ 6844926 h 6858000"/>
              <a:gd name="connsiteX380" fmla="*/ 1990172 w 7467600"/>
              <a:gd name="connsiteY380" fmla="*/ 6542121 h 6858000"/>
              <a:gd name="connsiteX381" fmla="*/ 2124090 w 7467600"/>
              <a:gd name="connsiteY381" fmla="*/ 6761017 h 6858000"/>
              <a:gd name="connsiteX382" fmla="*/ 2200380 w 7467600"/>
              <a:gd name="connsiteY382" fmla="*/ 6858000 h 6858000"/>
              <a:gd name="connsiteX383" fmla="*/ 2147507 w 7467600"/>
              <a:gd name="connsiteY383" fmla="*/ 6858000 h 6858000"/>
              <a:gd name="connsiteX384" fmla="*/ 2070668 w 7467600"/>
              <a:gd name="connsiteY384" fmla="*/ 6761520 h 6858000"/>
              <a:gd name="connsiteX385" fmla="*/ 1975142 w 7467600"/>
              <a:gd name="connsiteY385" fmla="*/ 6585570 h 6858000"/>
              <a:gd name="connsiteX386" fmla="*/ 2050035 w 7467600"/>
              <a:gd name="connsiteY386" fmla="*/ 6813345 h 6858000"/>
              <a:gd name="connsiteX387" fmla="*/ 2063025 w 7467600"/>
              <a:gd name="connsiteY387" fmla="*/ 6858000 h 6858000"/>
              <a:gd name="connsiteX388" fmla="*/ 2021675 w 7467600"/>
              <a:gd name="connsiteY388" fmla="*/ 6858000 h 6858000"/>
              <a:gd name="connsiteX389" fmla="*/ 2019308 w 7467600"/>
              <a:gd name="connsiteY389" fmla="*/ 6847118 h 6858000"/>
              <a:gd name="connsiteX390" fmla="*/ 1938835 w 7467600"/>
              <a:gd name="connsiteY390" fmla="*/ 6551160 h 6858000"/>
              <a:gd name="connsiteX391" fmla="*/ 1953230 w 7467600"/>
              <a:gd name="connsiteY391" fmla="*/ 6759699 h 6858000"/>
              <a:gd name="connsiteX392" fmla="*/ 1956763 w 7467600"/>
              <a:gd name="connsiteY392" fmla="*/ 6778191 h 6858000"/>
              <a:gd name="connsiteX393" fmla="*/ 1967925 w 7467600"/>
              <a:gd name="connsiteY393" fmla="*/ 6858000 h 6858000"/>
              <a:gd name="connsiteX394" fmla="*/ 1936622 w 7467600"/>
              <a:gd name="connsiteY394" fmla="*/ 6858000 h 6858000"/>
              <a:gd name="connsiteX395" fmla="*/ 1926261 w 7467600"/>
              <a:gd name="connsiteY395" fmla="*/ 6784064 h 6858000"/>
              <a:gd name="connsiteX396" fmla="*/ 1922724 w 7467600"/>
              <a:gd name="connsiteY396" fmla="*/ 6765577 h 6858000"/>
              <a:gd name="connsiteX397" fmla="*/ 1904650 w 7467600"/>
              <a:gd name="connsiteY397" fmla="*/ 6639616 h 6858000"/>
              <a:gd name="connsiteX398" fmla="*/ 1885273 w 7467600"/>
              <a:gd name="connsiteY398" fmla="*/ 6858000 h 6858000"/>
              <a:gd name="connsiteX399" fmla="*/ 1854363 w 7467600"/>
              <a:gd name="connsiteY399" fmla="*/ 6858000 h 6858000"/>
              <a:gd name="connsiteX400" fmla="*/ 1880391 w 7467600"/>
              <a:gd name="connsiteY400" fmla="*/ 6603796 h 6858000"/>
              <a:gd name="connsiteX401" fmla="*/ 1818273 w 7467600"/>
              <a:gd name="connsiteY401" fmla="*/ 6715729 h 6858000"/>
              <a:gd name="connsiteX402" fmla="*/ 1794691 w 7467600"/>
              <a:gd name="connsiteY402" fmla="*/ 6843239 h 6858000"/>
              <a:gd name="connsiteX403" fmla="*/ 1794914 w 7467600"/>
              <a:gd name="connsiteY403" fmla="*/ 6858000 h 6858000"/>
              <a:gd name="connsiteX404" fmla="*/ 1746128 w 7467600"/>
              <a:gd name="connsiteY404" fmla="*/ 6858000 h 6858000"/>
              <a:gd name="connsiteX405" fmla="*/ 1753934 w 7467600"/>
              <a:gd name="connsiteY405" fmla="*/ 6724796 h 6858000"/>
              <a:gd name="connsiteX406" fmla="*/ 1792053 w 7467600"/>
              <a:gd name="connsiteY406" fmla="*/ 6572396 h 6858000"/>
              <a:gd name="connsiteX407" fmla="*/ 1862248 w 7467600"/>
              <a:gd name="connsiteY407" fmla="*/ 6266397 h 6858000"/>
              <a:gd name="connsiteX408" fmla="*/ 1862250 w 7467600"/>
              <a:gd name="connsiteY408" fmla="*/ 6033531 h 6858000"/>
              <a:gd name="connsiteX409" fmla="*/ 1211999 w 7467600"/>
              <a:gd name="connsiteY409" fmla="*/ 6683610 h 6858000"/>
              <a:gd name="connsiteX410" fmla="*/ 1213266 w 7467600"/>
              <a:gd name="connsiteY410" fmla="*/ 6691947 h 6858000"/>
              <a:gd name="connsiteX411" fmla="*/ 1203370 w 7467600"/>
              <a:gd name="connsiteY411" fmla="*/ 6850676 h 6858000"/>
              <a:gd name="connsiteX412" fmla="*/ 1203671 w 7467600"/>
              <a:gd name="connsiteY412" fmla="*/ 6858000 h 6858000"/>
              <a:gd name="connsiteX413" fmla="*/ 1143180 w 7467600"/>
              <a:gd name="connsiteY413" fmla="*/ 6858000 h 6858000"/>
              <a:gd name="connsiteX414" fmla="*/ 1142176 w 7467600"/>
              <a:gd name="connsiteY414" fmla="*/ 6766045 h 6858000"/>
              <a:gd name="connsiteX415" fmla="*/ 1067484 w 7467600"/>
              <a:gd name="connsiteY415" fmla="*/ 6858000 h 6858000"/>
              <a:gd name="connsiteX416" fmla="*/ 953928 w 7467600"/>
              <a:gd name="connsiteY416" fmla="*/ 6858000 h 6858000"/>
              <a:gd name="connsiteX417" fmla="*/ 959715 w 7467600"/>
              <a:gd name="connsiteY417" fmla="*/ 6850185 h 6858000"/>
              <a:gd name="connsiteX418" fmla="*/ 1483788 w 7467600"/>
              <a:gd name="connsiteY418" fmla="*/ 6259174 h 6858000"/>
              <a:gd name="connsiteX419" fmla="*/ 1100671 w 7467600"/>
              <a:gd name="connsiteY419" fmla="*/ 6252137 h 6858000"/>
              <a:gd name="connsiteX420" fmla="*/ 1090144 w 7467600"/>
              <a:gd name="connsiteY420" fmla="*/ 6256748 h 6858000"/>
              <a:gd name="connsiteX421" fmla="*/ 1095872 w 7467600"/>
              <a:gd name="connsiteY421" fmla="*/ 6271892 h 6858000"/>
              <a:gd name="connsiteX422" fmla="*/ 262785 w 7467600"/>
              <a:gd name="connsiteY422" fmla="*/ 6845450 h 6858000"/>
              <a:gd name="connsiteX423" fmla="*/ 209968 w 7467600"/>
              <a:gd name="connsiteY423" fmla="*/ 6770713 h 6858000"/>
              <a:gd name="connsiteX424" fmla="*/ 873460 w 7467600"/>
              <a:gd name="connsiteY424" fmla="*/ 6253768 h 6858000"/>
              <a:gd name="connsiteX425" fmla="*/ 192686 w 7467600"/>
              <a:gd name="connsiteY425" fmla="*/ 5849257 h 6858000"/>
              <a:gd name="connsiteX426" fmla="*/ 4696 w 7467600"/>
              <a:gd name="connsiteY426" fmla="*/ 5697668 h 6858000"/>
              <a:gd name="connsiteX427" fmla="*/ 0 w 7467600"/>
              <a:gd name="connsiteY427" fmla="*/ 5689984 h 6858000"/>
              <a:gd name="connsiteX428" fmla="*/ 0 w 7467600"/>
              <a:gd name="connsiteY428" fmla="*/ 5513472 h 6858000"/>
              <a:gd name="connsiteX429" fmla="*/ 174101 w 7467600"/>
              <a:gd name="connsiteY429" fmla="*/ 5620277 h 6858000"/>
              <a:gd name="connsiteX430" fmla="*/ 891800 w 7467600"/>
              <a:gd name="connsiteY430" fmla="*/ 6036935 h 6858000"/>
              <a:gd name="connsiteX431" fmla="*/ 1072219 w 7467600"/>
              <a:gd name="connsiteY431" fmla="*/ 6169443 h 6858000"/>
              <a:gd name="connsiteX432" fmla="*/ 1074117 w 7467600"/>
              <a:gd name="connsiteY432" fmla="*/ 6170301 h 6858000"/>
              <a:gd name="connsiteX433" fmla="*/ 1083114 w 7467600"/>
              <a:gd name="connsiteY433" fmla="*/ 6174131 h 6858000"/>
              <a:gd name="connsiteX434" fmla="*/ 1543010 w 7467600"/>
              <a:gd name="connsiteY434" fmla="*/ 6191140 h 6858000"/>
              <a:gd name="connsiteX435" fmla="*/ 1551080 w 7467600"/>
              <a:gd name="connsiteY435" fmla="*/ 6195006 h 6858000"/>
              <a:gd name="connsiteX436" fmla="*/ 2345443 w 7467600"/>
              <a:gd name="connsiteY436" fmla="*/ 5549882 h 6858000"/>
              <a:gd name="connsiteX437" fmla="*/ 1721499 w 7467600"/>
              <a:gd name="connsiteY437" fmla="*/ 5599969 h 6858000"/>
              <a:gd name="connsiteX438" fmla="*/ 767716 w 7467600"/>
              <a:gd name="connsiteY438" fmla="*/ 5472768 h 6858000"/>
              <a:gd name="connsiteX439" fmla="*/ 722147 w 7467600"/>
              <a:gd name="connsiteY439" fmla="*/ 5393091 h 6858000"/>
              <a:gd name="connsiteX440" fmla="*/ 1485552 w 7467600"/>
              <a:gd name="connsiteY440" fmla="*/ 5313202 h 6858000"/>
              <a:gd name="connsiteX441" fmla="*/ 2143004 w 7467600"/>
              <a:gd name="connsiteY441" fmla="*/ 5402420 h 6858000"/>
              <a:gd name="connsiteX442" fmla="*/ 1933391 w 7467600"/>
              <a:gd name="connsiteY442" fmla="*/ 5156971 h 6858000"/>
              <a:gd name="connsiteX443" fmla="*/ 1827118 w 7467600"/>
              <a:gd name="connsiteY443" fmla="*/ 4968410 h 6858000"/>
              <a:gd name="connsiteX444" fmla="*/ 1837349 w 7467600"/>
              <a:gd name="connsiteY444" fmla="*/ 4956357 h 6858000"/>
              <a:gd name="connsiteX445" fmla="*/ 2162835 w 7467600"/>
              <a:gd name="connsiteY445" fmla="*/ 5187853 h 6858000"/>
              <a:gd name="connsiteX446" fmla="*/ 2257167 w 7467600"/>
              <a:gd name="connsiteY446" fmla="*/ 5462123 h 6858000"/>
              <a:gd name="connsiteX447" fmla="*/ 2261598 w 7467600"/>
              <a:gd name="connsiteY447" fmla="*/ 5467998 h 6858000"/>
              <a:gd name="connsiteX448" fmla="*/ 2437177 w 7467600"/>
              <a:gd name="connsiteY448" fmla="*/ 5479608 h 6858000"/>
              <a:gd name="connsiteX449" fmla="*/ 2445247 w 7467600"/>
              <a:gd name="connsiteY449" fmla="*/ 5483476 h 6858000"/>
              <a:gd name="connsiteX450" fmla="*/ 2743626 w 7467600"/>
              <a:gd name="connsiteY450" fmla="*/ 5304819 h 6858000"/>
              <a:gd name="connsiteX451" fmla="*/ 3048102 w 7467600"/>
              <a:gd name="connsiteY451" fmla="*/ 5150595 h 6858000"/>
              <a:gd name="connsiteX452" fmla="*/ 1799414 w 7467600"/>
              <a:gd name="connsiteY452" fmla="*/ 4694732 h 6858000"/>
              <a:gd name="connsiteX453" fmla="*/ 1771735 w 7467600"/>
              <a:gd name="connsiteY453" fmla="*/ 4619929 h 6858000"/>
              <a:gd name="connsiteX454" fmla="*/ 3104273 w 7467600"/>
              <a:gd name="connsiteY454" fmla="*/ 5076159 h 6858000"/>
              <a:gd name="connsiteX455" fmla="*/ 3113245 w 7467600"/>
              <a:gd name="connsiteY455" fmla="*/ 5090705 h 6858000"/>
              <a:gd name="connsiteX456" fmla="*/ 3126294 w 7467600"/>
              <a:gd name="connsiteY456" fmla="*/ 5114400 h 6858000"/>
              <a:gd name="connsiteX457" fmla="*/ 3937433 w 7467600"/>
              <a:gd name="connsiteY457" fmla="*/ 4830473 h 6858000"/>
              <a:gd name="connsiteX458" fmla="*/ 3590475 w 7467600"/>
              <a:gd name="connsiteY458" fmla="*/ 4597974 h 6858000"/>
              <a:gd name="connsiteX459" fmla="*/ 3100264 w 7467600"/>
              <a:gd name="connsiteY459" fmla="*/ 4579845 h 6858000"/>
              <a:gd name="connsiteX460" fmla="*/ 2183576 w 7467600"/>
              <a:gd name="connsiteY460" fmla="*/ 4227150 h 6858000"/>
              <a:gd name="connsiteX461" fmla="*/ 2151029 w 7467600"/>
              <a:gd name="connsiteY461" fmla="*/ 4146947 h 6858000"/>
              <a:gd name="connsiteX462" fmla="*/ 3563434 w 7467600"/>
              <a:gd name="connsiteY462" fmla="*/ 4469115 h 6858000"/>
              <a:gd name="connsiteX463" fmla="*/ 3177952 w 7467600"/>
              <a:gd name="connsiteY463" fmla="*/ 3657386 h 6858000"/>
              <a:gd name="connsiteX464" fmla="*/ 3189263 w 7467600"/>
              <a:gd name="connsiteY464" fmla="*/ 3625726 h 6858000"/>
              <a:gd name="connsiteX465" fmla="*/ 3560912 w 7467600"/>
              <a:gd name="connsiteY465" fmla="*/ 4079863 h 6858000"/>
              <a:gd name="connsiteX466" fmla="*/ 3626636 w 7467600"/>
              <a:gd name="connsiteY466" fmla="*/ 4512230 h 6858000"/>
              <a:gd name="connsiteX467" fmla="*/ 3653088 w 7467600"/>
              <a:gd name="connsiteY467" fmla="*/ 4521417 h 6858000"/>
              <a:gd name="connsiteX468" fmla="*/ 3988128 w 7467600"/>
              <a:gd name="connsiteY468" fmla="*/ 4817267 h 6858000"/>
              <a:gd name="connsiteX469" fmla="*/ 4830582 w 7467600"/>
              <a:gd name="connsiteY469" fmla="*/ 4676000 h 6858000"/>
              <a:gd name="connsiteX470" fmla="*/ 4830100 w 7467600"/>
              <a:gd name="connsiteY470" fmla="*/ 4675554 h 6858000"/>
              <a:gd name="connsiteX471" fmla="*/ 4036318 w 7467600"/>
              <a:gd name="connsiteY471" fmla="*/ 4147013 h 6858000"/>
              <a:gd name="connsiteX472" fmla="*/ 3432098 w 7467600"/>
              <a:gd name="connsiteY472" fmla="*/ 3537312 h 6858000"/>
              <a:gd name="connsiteX473" fmla="*/ 3446761 w 7467600"/>
              <a:gd name="connsiteY473" fmla="*/ 3461278 h 6858000"/>
              <a:gd name="connsiteX474" fmla="*/ 4419733 w 7467600"/>
              <a:gd name="connsiteY474" fmla="*/ 3963555 h 6858000"/>
              <a:gd name="connsiteX475" fmla="*/ 4781371 w 7467600"/>
              <a:gd name="connsiteY475" fmla="*/ 4458604 h 6858000"/>
              <a:gd name="connsiteX476" fmla="*/ 4780440 w 7467600"/>
              <a:gd name="connsiteY476" fmla="*/ 4470290 h 6858000"/>
              <a:gd name="connsiteX477" fmla="*/ 4898954 w 7467600"/>
              <a:gd name="connsiteY477" fmla="*/ 4662092 h 6858000"/>
              <a:gd name="connsiteX478" fmla="*/ 4900699 w 7467600"/>
              <a:gd name="connsiteY478" fmla="*/ 4670867 h 6858000"/>
              <a:gd name="connsiteX479" fmla="*/ 5714511 w 7467600"/>
              <a:gd name="connsiteY479" fmla="*/ 4663483 h 6858000"/>
              <a:gd name="connsiteX480" fmla="*/ 5464793 w 7467600"/>
              <a:gd name="connsiteY480" fmla="*/ 4393556 h 6858000"/>
              <a:gd name="connsiteX481" fmla="*/ 5461897 w 7467600"/>
              <a:gd name="connsiteY481" fmla="*/ 4390879 h 6858000"/>
              <a:gd name="connsiteX482" fmla="*/ 4294126 w 7467600"/>
              <a:gd name="connsiteY482" fmla="*/ 3303048 h 6858000"/>
              <a:gd name="connsiteX483" fmla="*/ 4305321 w 7467600"/>
              <a:gd name="connsiteY483" fmla="*/ 3256953 h 6858000"/>
              <a:gd name="connsiteX484" fmla="*/ 4949299 w 7467600"/>
              <a:gd name="connsiteY484" fmla="*/ 3766336 h 6858000"/>
              <a:gd name="connsiteX485" fmla="*/ 5291452 w 7467600"/>
              <a:gd name="connsiteY485" fmla="*/ 4076801 h 6858000"/>
              <a:gd name="connsiteX486" fmla="*/ 5434998 w 7467600"/>
              <a:gd name="connsiteY486" fmla="*/ 4254100 h 6858000"/>
              <a:gd name="connsiteX487" fmla="*/ 5351015 w 7467600"/>
              <a:gd name="connsiteY487" fmla="*/ 3760989 h 6858000"/>
              <a:gd name="connsiteX488" fmla="*/ 5413780 w 7467600"/>
              <a:gd name="connsiteY488" fmla="*/ 2966265 h 6858000"/>
              <a:gd name="connsiteX489" fmla="*/ 5425627 w 7467600"/>
              <a:gd name="connsiteY489" fmla="*/ 2954192 h 6858000"/>
              <a:gd name="connsiteX490" fmla="*/ 6604735 w 7467600"/>
              <a:gd name="connsiteY490" fmla="*/ 2041381 h 6858000"/>
              <a:gd name="connsiteX491" fmla="*/ 7204487 w 7467600"/>
              <a:gd name="connsiteY491" fmla="*/ 2742112 h 6858000"/>
              <a:gd name="connsiteX492" fmla="*/ 7131592 w 7467600"/>
              <a:gd name="connsiteY492" fmla="*/ 2672096 h 6858000"/>
              <a:gd name="connsiteX493" fmla="*/ 6996344 w 7467600"/>
              <a:gd name="connsiteY493" fmla="*/ 2518310 h 6858000"/>
              <a:gd name="connsiteX494" fmla="*/ 6735495 w 7467600"/>
              <a:gd name="connsiteY494" fmla="*/ 2196890 h 6858000"/>
              <a:gd name="connsiteX495" fmla="*/ 6721901 w 7467600"/>
              <a:gd name="connsiteY495" fmla="*/ 2179274 h 6858000"/>
              <a:gd name="connsiteX496" fmla="*/ 6604735 w 7467600"/>
              <a:gd name="connsiteY496" fmla="*/ 2041381 h 6858000"/>
              <a:gd name="connsiteX497" fmla="*/ 6591670 w 7467600"/>
              <a:gd name="connsiteY497" fmla="*/ 1988277 h 6858000"/>
              <a:gd name="connsiteX498" fmla="*/ 6747349 w 7467600"/>
              <a:gd name="connsiteY498" fmla="*/ 2160069 h 6858000"/>
              <a:gd name="connsiteX499" fmla="*/ 6760943 w 7467600"/>
              <a:gd name="connsiteY499" fmla="*/ 2177686 h 6858000"/>
              <a:gd name="connsiteX500" fmla="*/ 7021065 w 7467600"/>
              <a:gd name="connsiteY500" fmla="*/ 2498102 h 6858000"/>
              <a:gd name="connsiteX501" fmla="*/ 7155223 w 7467600"/>
              <a:gd name="connsiteY501" fmla="*/ 2650386 h 6858000"/>
              <a:gd name="connsiteX502" fmla="*/ 7203167 w 7467600"/>
              <a:gd name="connsiteY502" fmla="*/ 2697288 h 6858000"/>
              <a:gd name="connsiteX503" fmla="*/ 6937703 w 7467600"/>
              <a:gd name="connsiteY503" fmla="*/ 2321981 h 6858000"/>
              <a:gd name="connsiteX504" fmla="*/ 6591670 w 7467600"/>
              <a:gd name="connsiteY504" fmla="*/ 1988277 h 6858000"/>
              <a:gd name="connsiteX505" fmla="*/ 5798671 w 7467600"/>
              <a:gd name="connsiteY505" fmla="*/ 1981601 h 6858000"/>
              <a:gd name="connsiteX506" fmla="*/ 5754709 w 7467600"/>
              <a:gd name="connsiteY506" fmla="*/ 2071454 h 6858000"/>
              <a:gd name="connsiteX507" fmla="*/ 5763044 w 7467600"/>
              <a:gd name="connsiteY507" fmla="*/ 2842206 h 6858000"/>
              <a:gd name="connsiteX508" fmla="*/ 5764974 w 7467600"/>
              <a:gd name="connsiteY508" fmla="*/ 2799609 h 6858000"/>
              <a:gd name="connsiteX509" fmla="*/ 5767665 w 7467600"/>
              <a:gd name="connsiteY509" fmla="*/ 2666409 h 6858000"/>
              <a:gd name="connsiteX510" fmla="*/ 5763055 w 7467600"/>
              <a:gd name="connsiteY510" fmla="*/ 2579705 h 6858000"/>
              <a:gd name="connsiteX511" fmla="*/ 5758079 w 7467600"/>
              <a:gd name="connsiteY511" fmla="*/ 2492508 h 6858000"/>
              <a:gd name="connsiteX512" fmla="*/ 5779325 w 7467600"/>
              <a:gd name="connsiteY512" fmla="*/ 2197069 h 6858000"/>
              <a:gd name="connsiteX513" fmla="*/ 5798671 w 7467600"/>
              <a:gd name="connsiteY513" fmla="*/ 1981601 h 6858000"/>
              <a:gd name="connsiteX514" fmla="*/ 5829202 w 7467600"/>
              <a:gd name="connsiteY514" fmla="*/ 1971679 h 6858000"/>
              <a:gd name="connsiteX515" fmla="*/ 5809558 w 7467600"/>
              <a:gd name="connsiteY515" fmla="*/ 2198043 h 6858000"/>
              <a:gd name="connsiteX516" fmla="*/ 5788653 w 7467600"/>
              <a:gd name="connsiteY516" fmla="*/ 2489430 h 6858000"/>
              <a:gd name="connsiteX517" fmla="*/ 5793439 w 7467600"/>
              <a:gd name="connsiteY517" fmla="*/ 2575235 h 6858000"/>
              <a:gd name="connsiteX518" fmla="*/ 5796837 w 7467600"/>
              <a:gd name="connsiteY518" fmla="*/ 2637633 h 6858000"/>
              <a:gd name="connsiteX519" fmla="*/ 5818614 w 7467600"/>
              <a:gd name="connsiteY519" fmla="*/ 2473055 h 6858000"/>
              <a:gd name="connsiteX520" fmla="*/ 5829202 w 7467600"/>
              <a:gd name="connsiteY520" fmla="*/ 1971679 h 6858000"/>
              <a:gd name="connsiteX521" fmla="*/ 5911389 w 7467600"/>
              <a:gd name="connsiteY521" fmla="*/ 1898371 h 6858000"/>
              <a:gd name="connsiteX522" fmla="*/ 6237627 w 7467600"/>
              <a:gd name="connsiteY522" fmla="*/ 2231921 h 6858000"/>
              <a:gd name="connsiteX523" fmla="*/ 5911389 w 7467600"/>
              <a:gd name="connsiteY523" fmla="*/ 1898371 h 6858000"/>
              <a:gd name="connsiteX524" fmla="*/ 6944437 w 7467600"/>
              <a:gd name="connsiteY524" fmla="*/ 1575402 h 6858000"/>
              <a:gd name="connsiteX525" fmla="*/ 6304730 w 7467600"/>
              <a:gd name="connsiteY525" fmla="*/ 1766654 h 6858000"/>
              <a:gd name="connsiteX526" fmla="*/ 6944437 w 7467600"/>
              <a:gd name="connsiteY526" fmla="*/ 1575402 h 6858000"/>
              <a:gd name="connsiteX527" fmla="*/ 7019523 w 7467600"/>
              <a:gd name="connsiteY527" fmla="*/ 1519450 h 6858000"/>
              <a:gd name="connsiteX528" fmla="*/ 6298091 w 7467600"/>
              <a:gd name="connsiteY528" fmla="*/ 1737122 h 6858000"/>
              <a:gd name="connsiteX529" fmla="*/ 7019523 w 7467600"/>
              <a:gd name="connsiteY529" fmla="*/ 1519450 h 6858000"/>
              <a:gd name="connsiteX530" fmla="*/ 2399523 w 7467600"/>
              <a:gd name="connsiteY530" fmla="*/ 1428234 h 6858000"/>
              <a:gd name="connsiteX531" fmla="*/ 2224982 w 7467600"/>
              <a:gd name="connsiteY531" fmla="*/ 1826201 h 6858000"/>
              <a:gd name="connsiteX532" fmla="*/ 2096099 w 7467600"/>
              <a:gd name="connsiteY532" fmla="*/ 2345900 h 6858000"/>
              <a:gd name="connsiteX533" fmla="*/ 2283317 w 7467600"/>
              <a:gd name="connsiteY533" fmla="*/ 1796925 h 6858000"/>
              <a:gd name="connsiteX534" fmla="*/ 2399523 w 7467600"/>
              <a:gd name="connsiteY534" fmla="*/ 1428234 h 6858000"/>
              <a:gd name="connsiteX535" fmla="*/ 2448558 w 7467600"/>
              <a:gd name="connsiteY535" fmla="*/ 1373435 h 6858000"/>
              <a:gd name="connsiteX536" fmla="*/ 2312521 w 7467600"/>
              <a:gd name="connsiteY536" fmla="*/ 1806140 h 6858000"/>
              <a:gd name="connsiteX537" fmla="*/ 2127533 w 7467600"/>
              <a:gd name="connsiteY537" fmla="*/ 2348380 h 6858000"/>
              <a:gd name="connsiteX538" fmla="*/ 2358080 w 7467600"/>
              <a:gd name="connsiteY538" fmla="*/ 1866134 h 6858000"/>
              <a:gd name="connsiteX539" fmla="*/ 2407436 w 7467600"/>
              <a:gd name="connsiteY539" fmla="*/ 1651070 h 6858000"/>
              <a:gd name="connsiteX540" fmla="*/ 2448558 w 7467600"/>
              <a:gd name="connsiteY540" fmla="*/ 1373435 h 6858000"/>
              <a:gd name="connsiteX541" fmla="*/ 278707 w 7467600"/>
              <a:gd name="connsiteY541" fmla="*/ 1352270 h 6858000"/>
              <a:gd name="connsiteX542" fmla="*/ 321570 w 7467600"/>
              <a:gd name="connsiteY542" fmla="*/ 1861610 h 6858000"/>
              <a:gd name="connsiteX543" fmla="*/ 294281 w 7467600"/>
              <a:gd name="connsiteY543" fmla="*/ 1440658 h 6858000"/>
              <a:gd name="connsiteX544" fmla="*/ 278707 w 7467600"/>
              <a:gd name="connsiteY544" fmla="*/ 1352270 h 6858000"/>
              <a:gd name="connsiteX545" fmla="*/ 1423821 w 7467600"/>
              <a:gd name="connsiteY545" fmla="*/ 1351958 h 6858000"/>
              <a:gd name="connsiteX546" fmla="*/ 1638521 w 7467600"/>
              <a:gd name="connsiteY546" fmla="*/ 1908470 h 6858000"/>
              <a:gd name="connsiteX547" fmla="*/ 1754199 w 7467600"/>
              <a:gd name="connsiteY547" fmla="*/ 2149284 h 6858000"/>
              <a:gd name="connsiteX548" fmla="*/ 1908359 w 7467600"/>
              <a:gd name="connsiteY548" fmla="*/ 2364988 h 6858000"/>
              <a:gd name="connsiteX549" fmla="*/ 1647661 w 7467600"/>
              <a:gd name="connsiteY549" fmla="*/ 1825945 h 6858000"/>
              <a:gd name="connsiteX550" fmla="*/ 1423821 w 7467600"/>
              <a:gd name="connsiteY550" fmla="*/ 1351958 h 6858000"/>
              <a:gd name="connsiteX551" fmla="*/ 1431890 w 7467600"/>
              <a:gd name="connsiteY551" fmla="*/ 1306475 h 6858000"/>
              <a:gd name="connsiteX552" fmla="*/ 1507597 w 7467600"/>
              <a:gd name="connsiteY552" fmla="*/ 1446132 h 6858000"/>
              <a:gd name="connsiteX553" fmla="*/ 1674586 w 7467600"/>
              <a:gd name="connsiteY553" fmla="*/ 1813832 h 6858000"/>
              <a:gd name="connsiteX554" fmla="*/ 1815950 w 7467600"/>
              <a:gd name="connsiteY554" fmla="*/ 2128564 h 6858000"/>
              <a:gd name="connsiteX555" fmla="*/ 1984242 w 7467600"/>
              <a:gd name="connsiteY555" fmla="*/ 2430829 h 6858000"/>
              <a:gd name="connsiteX556" fmla="*/ 2014023 w 7467600"/>
              <a:gd name="connsiteY556" fmla="*/ 2450995 h 6858000"/>
              <a:gd name="connsiteX557" fmla="*/ 1747337 w 7467600"/>
              <a:gd name="connsiteY557" fmla="*/ 1855264 h 6858000"/>
              <a:gd name="connsiteX558" fmla="*/ 1533749 w 7467600"/>
              <a:gd name="connsiteY558" fmla="*/ 1478656 h 6858000"/>
              <a:gd name="connsiteX559" fmla="*/ 1431890 w 7467600"/>
              <a:gd name="connsiteY559" fmla="*/ 1306475 h 6858000"/>
              <a:gd name="connsiteX560" fmla="*/ 5052692 w 7467600"/>
              <a:gd name="connsiteY560" fmla="*/ 1292994 h 6858000"/>
              <a:gd name="connsiteX561" fmla="*/ 5200661 w 7467600"/>
              <a:gd name="connsiteY561" fmla="*/ 1635186 h 6858000"/>
              <a:gd name="connsiteX562" fmla="*/ 5297138 w 7467600"/>
              <a:gd name="connsiteY562" fmla="*/ 1906351 h 6858000"/>
              <a:gd name="connsiteX563" fmla="*/ 5052692 w 7467600"/>
              <a:gd name="connsiteY563" fmla="*/ 1292994 h 6858000"/>
              <a:gd name="connsiteX564" fmla="*/ 5009948 w 7467600"/>
              <a:gd name="connsiteY564" fmla="*/ 1273619 h 6858000"/>
              <a:gd name="connsiteX565" fmla="*/ 5121777 w 7467600"/>
              <a:gd name="connsiteY565" fmla="*/ 1654213 h 6858000"/>
              <a:gd name="connsiteX566" fmla="*/ 5293545 w 7467600"/>
              <a:gd name="connsiteY566" fmla="*/ 2072247 h 6858000"/>
              <a:gd name="connsiteX567" fmla="*/ 5294042 w 7467600"/>
              <a:gd name="connsiteY567" fmla="*/ 2065019 h 6858000"/>
              <a:gd name="connsiteX568" fmla="*/ 5171936 w 7467600"/>
              <a:gd name="connsiteY568" fmla="*/ 1647613 h 6858000"/>
              <a:gd name="connsiteX569" fmla="*/ 5009948 w 7467600"/>
              <a:gd name="connsiteY569" fmla="*/ 1273619 h 6858000"/>
              <a:gd name="connsiteX570" fmla="*/ 655236 w 7467600"/>
              <a:gd name="connsiteY570" fmla="*/ 1268632 h 6858000"/>
              <a:gd name="connsiteX571" fmla="*/ 839521 w 7467600"/>
              <a:gd name="connsiteY571" fmla="*/ 1685315 h 6858000"/>
              <a:gd name="connsiteX572" fmla="*/ 1109416 w 7467600"/>
              <a:gd name="connsiteY572" fmla="*/ 2061663 h 6858000"/>
              <a:gd name="connsiteX573" fmla="*/ 1298300 w 7467600"/>
              <a:gd name="connsiteY573" fmla="*/ 2247742 h 6858000"/>
              <a:gd name="connsiteX574" fmla="*/ 1125871 w 7467600"/>
              <a:gd name="connsiteY574" fmla="*/ 1989513 h 6858000"/>
              <a:gd name="connsiteX575" fmla="*/ 981574 w 7467600"/>
              <a:gd name="connsiteY575" fmla="*/ 1783157 h 6858000"/>
              <a:gd name="connsiteX576" fmla="*/ 922198 w 7467600"/>
              <a:gd name="connsiteY576" fmla="*/ 1677437 h 6858000"/>
              <a:gd name="connsiteX577" fmla="*/ 869293 w 7467600"/>
              <a:gd name="connsiteY577" fmla="*/ 1583214 h 6858000"/>
              <a:gd name="connsiteX578" fmla="*/ 751431 w 7467600"/>
              <a:gd name="connsiteY578" fmla="*/ 1405731 h 6858000"/>
              <a:gd name="connsiteX579" fmla="*/ 655236 w 7467600"/>
              <a:gd name="connsiteY579" fmla="*/ 1268632 h 6858000"/>
              <a:gd name="connsiteX580" fmla="*/ 6516292 w 7467600"/>
              <a:gd name="connsiteY580" fmla="*/ 1263064 h 6858000"/>
              <a:gd name="connsiteX581" fmla="*/ 5736320 w 7467600"/>
              <a:gd name="connsiteY581" fmla="*/ 1501803 h 6858000"/>
              <a:gd name="connsiteX582" fmla="*/ 6516292 w 7467600"/>
              <a:gd name="connsiteY582" fmla="*/ 1263064 h 6858000"/>
              <a:gd name="connsiteX583" fmla="*/ 291466 w 7467600"/>
              <a:gd name="connsiteY583" fmla="*/ 1250369 h 6858000"/>
              <a:gd name="connsiteX584" fmla="*/ 323180 w 7467600"/>
              <a:gd name="connsiteY584" fmla="*/ 1435283 h 6858000"/>
              <a:gd name="connsiteX585" fmla="*/ 349381 w 7467600"/>
              <a:gd name="connsiteY585" fmla="*/ 1875041 h 6858000"/>
              <a:gd name="connsiteX586" fmla="*/ 374363 w 7467600"/>
              <a:gd name="connsiteY586" fmla="*/ 1506494 h 6858000"/>
              <a:gd name="connsiteX587" fmla="*/ 302168 w 7467600"/>
              <a:gd name="connsiteY587" fmla="*/ 1274495 h 6858000"/>
              <a:gd name="connsiteX588" fmla="*/ 291466 w 7467600"/>
              <a:gd name="connsiteY588" fmla="*/ 1250369 h 6858000"/>
              <a:gd name="connsiteX589" fmla="*/ 678222 w 7467600"/>
              <a:gd name="connsiteY589" fmla="*/ 1248670 h 6858000"/>
              <a:gd name="connsiteX590" fmla="*/ 775536 w 7467600"/>
              <a:gd name="connsiteY590" fmla="*/ 1388015 h 6858000"/>
              <a:gd name="connsiteX591" fmla="*/ 894529 w 7467600"/>
              <a:gd name="connsiteY591" fmla="*/ 1567739 h 6858000"/>
              <a:gd name="connsiteX592" fmla="*/ 948000 w 7467600"/>
              <a:gd name="connsiteY592" fmla="*/ 1663088 h 6858000"/>
              <a:gd name="connsiteX593" fmla="*/ 1006812 w 7467600"/>
              <a:gd name="connsiteY593" fmla="*/ 1767683 h 6858000"/>
              <a:gd name="connsiteX594" fmla="*/ 1149133 w 7467600"/>
              <a:gd name="connsiteY594" fmla="*/ 1971513 h 6858000"/>
              <a:gd name="connsiteX595" fmla="*/ 1333952 w 7467600"/>
              <a:gd name="connsiteY595" fmla="*/ 2251620 h 6858000"/>
              <a:gd name="connsiteX596" fmla="*/ 1337329 w 7467600"/>
              <a:gd name="connsiteY596" fmla="*/ 2258350 h 6858000"/>
              <a:gd name="connsiteX597" fmla="*/ 1014726 w 7467600"/>
              <a:gd name="connsiteY597" fmla="*/ 1615556 h 6858000"/>
              <a:gd name="connsiteX598" fmla="*/ 678222 w 7467600"/>
              <a:gd name="connsiteY598" fmla="*/ 1248670 h 6858000"/>
              <a:gd name="connsiteX599" fmla="*/ 6691602 w 7467600"/>
              <a:gd name="connsiteY599" fmla="*/ 1140573 h 6858000"/>
              <a:gd name="connsiteX600" fmla="*/ 6571100 w 7467600"/>
              <a:gd name="connsiteY600" fmla="*/ 1183662 h 6858000"/>
              <a:gd name="connsiteX601" fmla="*/ 6241687 w 7467600"/>
              <a:gd name="connsiteY601" fmla="*/ 1257600 h 6858000"/>
              <a:gd name="connsiteX602" fmla="*/ 5693009 w 7467600"/>
              <a:gd name="connsiteY602" fmla="*/ 1478256 h 6858000"/>
              <a:gd name="connsiteX603" fmla="*/ 6548420 w 7467600"/>
              <a:gd name="connsiteY603" fmla="*/ 1214599 h 6858000"/>
              <a:gd name="connsiteX604" fmla="*/ 6605473 w 7467600"/>
              <a:gd name="connsiteY604" fmla="*/ 1184686 h 6858000"/>
              <a:gd name="connsiteX605" fmla="*/ 6691602 w 7467600"/>
              <a:gd name="connsiteY605" fmla="*/ 1140573 h 6858000"/>
              <a:gd name="connsiteX606" fmla="*/ 4002475 w 7467600"/>
              <a:gd name="connsiteY606" fmla="*/ 1037802 h 6858000"/>
              <a:gd name="connsiteX607" fmla="*/ 4000324 w 7467600"/>
              <a:gd name="connsiteY607" fmla="*/ 1039362 h 6858000"/>
              <a:gd name="connsiteX608" fmla="*/ 4002862 w 7467600"/>
              <a:gd name="connsiteY608" fmla="*/ 1042866 h 6858000"/>
              <a:gd name="connsiteX609" fmla="*/ 4002475 w 7467600"/>
              <a:gd name="connsiteY609" fmla="*/ 1037802 h 6858000"/>
              <a:gd name="connsiteX610" fmla="*/ 506322 w 7467600"/>
              <a:gd name="connsiteY610" fmla="*/ 1020997 h 6858000"/>
              <a:gd name="connsiteX611" fmla="*/ 533068 w 7467600"/>
              <a:gd name="connsiteY611" fmla="*/ 1029409 h 6858000"/>
              <a:gd name="connsiteX612" fmla="*/ 1232525 w 7467600"/>
              <a:gd name="connsiteY612" fmla="*/ 1804675 h 6858000"/>
              <a:gd name="connsiteX613" fmla="*/ 1388858 w 7467600"/>
              <a:gd name="connsiteY613" fmla="*/ 2368011 h 6858000"/>
              <a:gd name="connsiteX614" fmla="*/ 1384098 w 7467600"/>
              <a:gd name="connsiteY614" fmla="*/ 2378125 h 6858000"/>
              <a:gd name="connsiteX615" fmla="*/ 1425393 w 7467600"/>
              <a:gd name="connsiteY615" fmla="*/ 2589124 h 6858000"/>
              <a:gd name="connsiteX616" fmla="*/ 1424001 w 7467600"/>
              <a:gd name="connsiteY616" fmla="*/ 2597541 h 6858000"/>
              <a:gd name="connsiteX617" fmla="*/ 2152729 w 7467600"/>
              <a:gd name="connsiteY617" fmla="*/ 2864487 h 6858000"/>
              <a:gd name="connsiteX618" fmla="*/ 2020609 w 7467600"/>
              <a:gd name="connsiteY618" fmla="*/ 2539671 h 6858000"/>
              <a:gd name="connsiteX619" fmla="*/ 2018920 w 7467600"/>
              <a:gd name="connsiteY619" fmla="*/ 2536309 h 6858000"/>
              <a:gd name="connsiteX620" fmla="*/ 1342441 w 7467600"/>
              <a:gd name="connsiteY620" fmla="*/ 1173017 h 6858000"/>
              <a:gd name="connsiteX621" fmla="*/ 1367925 w 7467600"/>
              <a:gd name="connsiteY621" fmla="*/ 1135648 h 6858000"/>
              <a:gd name="connsiteX622" fmla="*/ 1771401 w 7467600"/>
              <a:gd name="connsiteY622" fmla="*/ 1806673 h 6858000"/>
              <a:gd name="connsiteX623" fmla="*/ 1972385 w 7467600"/>
              <a:gd name="connsiteY623" fmla="*/ 2198735 h 6858000"/>
              <a:gd name="connsiteX624" fmla="*/ 2040892 w 7467600"/>
              <a:gd name="connsiteY624" fmla="*/ 2405205 h 6858000"/>
              <a:gd name="connsiteX625" fmla="*/ 2131689 w 7467600"/>
              <a:gd name="connsiteY625" fmla="*/ 1936926 h 6858000"/>
              <a:gd name="connsiteX626" fmla="*/ 2454820 w 7467600"/>
              <a:gd name="connsiteY626" fmla="*/ 1248808 h 6858000"/>
              <a:gd name="connsiteX627" fmla="*/ 2492512 w 7467600"/>
              <a:gd name="connsiteY627" fmla="*/ 1302920 h 6858000"/>
              <a:gd name="connsiteX628" fmla="*/ 2081216 w 7467600"/>
              <a:gd name="connsiteY628" fmla="*/ 2527513 h 6858000"/>
              <a:gd name="connsiteX629" fmla="*/ 2081211 w 7467600"/>
              <a:gd name="connsiteY629" fmla="*/ 2528916 h 6858000"/>
              <a:gd name="connsiteX630" fmla="*/ 2199067 w 7467600"/>
              <a:gd name="connsiteY630" fmla="*/ 2884061 h 6858000"/>
              <a:gd name="connsiteX631" fmla="*/ 3192586 w 7467600"/>
              <a:gd name="connsiteY631" fmla="*/ 3411496 h 6858000"/>
              <a:gd name="connsiteX632" fmla="*/ 3182620 w 7467600"/>
              <a:gd name="connsiteY632" fmla="*/ 3483279 h 6858000"/>
              <a:gd name="connsiteX633" fmla="*/ 2435119 w 7467600"/>
              <a:gd name="connsiteY633" fmla="*/ 3080173 h 6858000"/>
              <a:gd name="connsiteX634" fmla="*/ 2410152 w 7467600"/>
              <a:gd name="connsiteY634" fmla="*/ 3063751 h 6858000"/>
              <a:gd name="connsiteX635" fmla="*/ 2408099 w 7467600"/>
              <a:gd name="connsiteY635" fmla="*/ 3064403 h 6858000"/>
              <a:gd name="connsiteX636" fmla="*/ 2407218 w 7467600"/>
              <a:gd name="connsiteY636" fmla="*/ 3070324 h 6858000"/>
              <a:gd name="connsiteX637" fmla="*/ 2380138 w 7467600"/>
              <a:gd name="connsiteY637" fmla="*/ 3099341 h 6858000"/>
              <a:gd name="connsiteX638" fmla="*/ 1765923 w 7467600"/>
              <a:gd name="connsiteY638" fmla="*/ 3581043 h 6858000"/>
              <a:gd name="connsiteX639" fmla="*/ 1702258 w 7467600"/>
              <a:gd name="connsiteY639" fmla="*/ 3612286 h 6858000"/>
              <a:gd name="connsiteX640" fmla="*/ 1538370 w 7467600"/>
              <a:gd name="connsiteY640" fmla="*/ 3811804 h 6858000"/>
              <a:gd name="connsiteX641" fmla="*/ 542867 w 7467600"/>
              <a:gd name="connsiteY641" fmla="*/ 4944092 h 6858000"/>
              <a:gd name="connsiteX642" fmla="*/ 515800 w 7467600"/>
              <a:gd name="connsiteY642" fmla="*/ 4862180 h 6858000"/>
              <a:gd name="connsiteX643" fmla="*/ 909145 w 7467600"/>
              <a:gd name="connsiteY643" fmla="*/ 4199225 h 6858000"/>
              <a:gd name="connsiteX644" fmla="*/ 1214067 w 7467600"/>
              <a:gd name="connsiteY644" fmla="*/ 3908561 h 6858000"/>
              <a:gd name="connsiteX645" fmla="*/ 640967 w 7467600"/>
              <a:gd name="connsiteY645" fmla="*/ 4105601 h 6858000"/>
              <a:gd name="connsiteX646" fmla="*/ 112563 w 7467600"/>
              <a:gd name="connsiteY646" fmla="*/ 4396952 h 6858000"/>
              <a:gd name="connsiteX647" fmla="*/ 0 w 7467600"/>
              <a:gd name="connsiteY647" fmla="*/ 4466006 h 6858000"/>
              <a:gd name="connsiteX648" fmla="*/ 0 w 7467600"/>
              <a:gd name="connsiteY648" fmla="*/ 4233763 h 6858000"/>
              <a:gd name="connsiteX649" fmla="*/ 36881 w 7467600"/>
              <a:gd name="connsiteY649" fmla="*/ 4200118 h 6858000"/>
              <a:gd name="connsiteX650" fmla="*/ 910534 w 7467600"/>
              <a:gd name="connsiteY650" fmla="*/ 3629753 h 6858000"/>
              <a:gd name="connsiteX651" fmla="*/ 1578717 w 7467600"/>
              <a:gd name="connsiteY651" fmla="*/ 3575982 h 6858000"/>
              <a:gd name="connsiteX652" fmla="*/ 2338780 w 7467600"/>
              <a:gd name="connsiteY652" fmla="*/ 3033725 h 6858000"/>
              <a:gd name="connsiteX653" fmla="*/ 1807991 w 7467600"/>
              <a:gd name="connsiteY653" fmla="*/ 2807184 h 6858000"/>
              <a:gd name="connsiteX654" fmla="*/ 1416358 w 7467600"/>
              <a:gd name="connsiteY654" fmla="*/ 3112571 h 6858000"/>
              <a:gd name="connsiteX655" fmla="*/ 939066 w 7467600"/>
              <a:gd name="connsiteY655" fmla="*/ 3378798 h 6858000"/>
              <a:gd name="connsiteX656" fmla="*/ 115099 w 7467600"/>
              <a:gd name="connsiteY656" fmla="*/ 3607650 h 6858000"/>
              <a:gd name="connsiteX657" fmla="*/ 97284 w 7467600"/>
              <a:gd name="connsiteY657" fmla="*/ 3520393 h 6858000"/>
              <a:gd name="connsiteX658" fmla="*/ 922050 w 7467600"/>
              <a:gd name="connsiteY658" fmla="*/ 3074867 h 6858000"/>
              <a:gd name="connsiteX659" fmla="*/ 1405265 w 7467600"/>
              <a:gd name="connsiteY659" fmla="*/ 3016319 h 6858000"/>
              <a:gd name="connsiteX660" fmla="*/ 1407512 w 7467600"/>
              <a:gd name="connsiteY660" fmla="*/ 3018001 h 6858000"/>
              <a:gd name="connsiteX661" fmla="*/ 1726266 w 7467600"/>
              <a:gd name="connsiteY661" fmla="*/ 2777274 h 6858000"/>
              <a:gd name="connsiteX662" fmla="*/ 625390 w 7467600"/>
              <a:gd name="connsiteY662" fmla="*/ 2514541 h 6858000"/>
              <a:gd name="connsiteX663" fmla="*/ 619799 w 7467600"/>
              <a:gd name="connsiteY663" fmla="*/ 2527180 h 6858000"/>
              <a:gd name="connsiteX664" fmla="*/ 310030 w 7467600"/>
              <a:gd name="connsiteY664" fmla="*/ 2771818 h 6858000"/>
              <a:gd name="connsiteX665" fmla="*/ 173877 w 7467600"/>
              <a:gd name="connsiteY665" fmla="*/ 2937056 h 6858000"/>
              <a:gd name="connsiteX666" fmla="*/ 77889 w 7467600"/>
              <a:gd name="connsiteY666" fmla="*/ 3138440 h 6858000"/>
              <a:gd name="connsiteX667" fmla="*/ 0 w 7467600"/>
              <a:gd name="connsiteY667" fmla="*/ 3271395 h 6858000"/>
              <a:gd name="connsiteX668" fmla="*/ 0 w 7467600"/>
              <a:gd name="connsiteY668" fmla="*/ 3153002 h 6858000"/>
              <a:gd name="connsiteX669" fmla="*/ 2386 w 7467600"/>
              <a:gd name="connsiteY669" fmla="*/ 3149203 h 6858000"/>
              <a:gd name="connsiteX670" fmla="*/ 89753 w 7467600"/>
              <a:gd name="connsiteY670" fmla="*/ 2987702 h 6858000"/>
              <a:gd name="connsiteX671" fmla="*/ 76869 w 7467600"/>
              <a:gd name="connsiteY671" fmla="*/ 3005404 h 6858000"/>
              <a:gd name="connsiteX672" fmla="*/ 32049 w 7467600"/>
              <a:gd name="connsiteY672" fmla="*/ 3065814 h 6858000"/>
              <a:gd name="connsiteX673" fmla="*/ 0 w 7467600"/>
              <a:gd name="connsiteY673" fmla="*/ 3108744 h 6858000"/>
              <a:gd name="connsiteX674" fmla="*/ 0 w 7467600"/>
              <a:gd name="connsiteY674" fmla="*/ 3058059 h 6858000"/>
              <a:gd name="connsiteX675" fmla="*/ 7610 w 7467600"/>
              <a:gd name="connsiteY675" fmla="*/ 3047889 h 6858000"/>
              <a:gd name="connsiteX676" fmla="*/ 52419 w 7467600"/>
              <a:gd name="connsiteY676" fmla="*/ 2987479 h 6858000"/>
              <a:gd name="connsiteX677" fmla="*/ 59142 w 7467600"/>
              <a:gd name="connsiteY677" fmla="*/ 2978488 h 6858000"/>
              <a:gd name="connsiteX678" fmla="*/ 0 w 7467600"/>
              <a:gd name="connsiteY678" fmla="*/ 3015334 h 6858000"/>
              <a:gd name="connsiteX679" fmla="*/ 0 w 7467600"/>
              <a:gd name="connsiteY679" fmla="*/ 2914286 h 6858000"/>
              <a:gd name="connsiteX680" fmla="*/ 36383 w 7467600"/>
              <a:gd name="connsiteY680" fmla="*/ 2901128 h 6858000"/>
              <a:gd name="connsiteX681" fmla="*/ 156329 w 7467600"/>
              <a:gd name="connsiteY681" fmla="*/ 2840533 h 6858000"/>
              <a:gd name="connsiteX682" fmla="*/ 358355 w 7467600"/>
              <a:gd name="connsiteY682" fmla="*/ 2620471 h 6858000"/>
              <a:gd name="connsiteX683" fmla="*/ 510577 w 7467600"/>
              <a:gd name="connsiteY683" fmla="*/ 2501244 h 6858000"/>
              <a:gd name="connsiteX684" fmla="*/ 211967 w 7467600"/>
              <a:gd name="connsiteY684" fmla="*/ 2479171 h 6858000"/>
              <a:gd name="connsiteX685" fmla="*/ 0 w 7467600"/>
              <a:gd name="connsiteY685" fmla="*/ 2476398 h 6858000"/>
              <a:gd name="connsiteX686" fmla="*/ 0 w 7467600"/>
              <a:gd name="connsiteY686" fmla="*/ 2389189 h 6858000"/>
              <a:gd name="connsiteX687" fmla="*/ 103062 w 7467600"/>
              <a:gd name="connsiteY687" fmla="*/ 2389518 h 6858000"/>
              <a:gd name="connsiteX688" fmla="*/ 510734 w 7467600"/>
              <a:gd name="connsiteY688" fmla="*/ 2416201 h 6858000"/>
              <a:gd name="connsiteX689" fmla="*/ 279257 w 7467600"/>
              <a:gd name="connsiteY689" fmla="*/ 2092102 h 6858000"/>
              <a:gd name="connsiteX690" fmla="*/ 65265 w 7467600"/>
              <a:gd name="connsiteY690" fmla="*/ 2006049 h 6858000"/>
              <a:gd name="connsiteX691" fmla="*/ 0 w 7467600"/>
              <a:gd name="connsiteY691" fmla="*/ 1982532 h 6858000"/>
              <a:gd name="connsiteX692" fmla="*/ 0 w 7467600"/>
              <a:gd name="connsiteY692" fmla="*/ 1912789 h 6858000"/>
              <a:gd name="connsiteX693" fmla="*/ 97460 w 7467600"/>
              <a:gd name="connsiteY693" fmla="*/ 1953725 h 6858000"/>
              <a:gd name="connsiteX694" fmla="*/ 221272 w 7467600"/>
              <a:gd name="connsiteY694" fmla="*/ 1980766 h 6858000"/>
              <a:gd name="connsiteX695" fmla="*/ 116765 w 7467600"/>
              <a:gd name="connsiteY695" fmla="*/ 1911033 h 6858000"/>
              <a:gd name="connsiteX696" fmla="*/ 16405 w 7467600"/>
              <a:gd name="connsiteY696" fmla="*/ 1803412 h 6858000"/>
              <a:gd name="connsiteX697" fmla="*/ 0 w 7467600"/>
              <a:gd name="connsiteY697" fmla="*/ 1784777 h 6858000"/>
              <a:gd name="connsiteX698" fmla="*/ 0 w 7467600"/>
              <a:gd name="connsiteY698" fmla="*/ 1740082 h 6858000"/>
              <a:gd name="connsiteX699" fmla="*/ 39394 w 7467600"/>
              <a:gd name="connsiteY699" fmla="*/ 1784856 h 6858000"/>
              <a:gd name="connsiteX700" fmla="*/ 135813 w 7467600"/>
              <a:gd name="connsiteY700" fmla="*/ 1888838 h 6858000"/>
              <a:gd name="connsiteX701" fmla="*/ 242575 w 7467600"/>
              <a:gd name="connsiteY701" fmla="*/ 1958841 h 6858000"/>
              <a:gd name="connsiteX702" fmla="*/ 82197 w 7467600"/>
              <a:gd name="connsiteY702" fmla="*/ 1754826 h 6858000"/>
              <a:gd name="connsiteX703" fmla="*/ 0 w 7467600"/>
              <a:gd name="connsiteY703" fmla="*/ 1679650 h 6858000"/>
              <a:gd name="connsiteX704" fmla="*/ 0 w 7467600"/>
              <a:gd name="connsiteY704" fmla="*/ 1602463 h 6858000"/>
              <a:gd name="connsiteX705" fmla="*/ 84689 w 7467600"/>
              <a:gd name="connsiteY705" fmla="*/ 1677442 h 6858000"/>
              <a:gd name="connsiteX706" fmla="*/ 298437 w 7467600"/>
              <a:gd name="connsiteY706" fmla="*/ 1968019 h 6858000"/>
              <a:gd name="connsiteX707" fmla="*/ 227269 w 7467600"/>
              <a:gd name="connsiteY707" fmla="*/ 1114064 h 6858000"/>
              <a:gd name="connsiteX708" fmla="*/ 248003 w 7467600"/>
              <a:gd name="connsiteY708" fmla="*/ 1089613 h 6858000"/>
              <a:gd name="connsiteX709" fmla="*/ 427020 w 7467600"/>
              <a:gd name="connsiteY709" fmla="*/ 1619803 h 6858000"/>
              <a:gd name="connsiteX710" fmla="*/ 340345 w 7467600"/>
              <a:gd name="connsiteY710" fmla="*/ 2027739 h 6858000"/>
              <a:gd name="connsiteX711" fmla="*/ 360865 w 7467600"/>
              <a:gd name="connsiteY711" fmla="*/ 2044827 h 6858000"/>
              <a:gd name="connsiteX712" fmla="*/ 560414 w 7467600"/>
              <a:gd name="connsiteY712" fmla="*/ 2421457 h 6858000"/>
              <a:gd name="connsiteX713" fmla="*/ 1359703 w 7467600"/>
              <a:gd name="connsiteY713" fmla="*/ 2578554 h 6858000"/>
              <a:gd name="connsiteX714" fmla="*/ 1359422 w 7467600"/>
              <a:gd name="connsiteY714" fmla="*/ 2577994 h 6858000"/>
              <a:gd name="connsiteX715" fmla="*/ 828701 w 7467600"/>
              <a:gd name="connsiteY715" fmla="*/ 1839520 h 6858000"/>
              <a:gd name="connsiteX716" fmla="*/ 494427 w 7467600"/>
              <a:gd name="connsiteY716" fmla="*/ 1092333 h 6858000"/>
              <a:gd name="connsiteX717" fmla="*/ 506322 w 7467600"/>
              <a:gd name="connsiteY717" fmla="*/ 1020997 h 6858000"/>
              <a:gd name="connsiteX718" fmla="*/ 4570198 w 7467600"/>
              <a:gd name="connsiteY718" fmla="*/ 978081 h 6858000"/>
              <a:gd name="connsiteX719" fmla="*/ 4523691 w 7467600"/>
              <a:gd name="connsiteY719" fmla="*/ 1127776 h 6858000"/>
              <a:gd name="connsiteX720" fmla="*/ 4509875 w 7467600"/>
              <a:gd name="connsiteY720" fmla="*/ 1167552 h 6858000"/>
              <a:gd name="connsiteX721" fmla="*/ 4478168 w 7467600"/>
              <a:gd name="connsiteY721" fmla="*/ 1260735 h 6858000"/>
              <a:gd name="connsiteX722" fmla="*/ 4409309 w 7467600"/>
              <a:gd name="connsiteY722" fmla="*/ 1666996 h 6858000"/>
              <a:gd name="connsiteX723" fmla="*/ 4370031 w 7467600"/>
              <a:gd name="connsiteY723" fmla="*/ 1955666 h 6858000"/>
              <a:gd name="connsiteX724" fmla="*/ 4570198 w 7467600"/>
              <a:gd name="connsiteY724" fmla="*/ 978081 h 6858000"/>
              <a:gd name="connsiteX725" fmla="*/ 4557898 w 7467600"/>
              <a:gd name="connsiteY725" fmla="*/ 900011 h 6858000"/>
              <a:gd name="connsiteX726" fmla="*/ 4344840 w 7467600"/>
              <a:gd name="connsiteY726" fmla="*/ 1922038 h 6858000"/>
              <a:gd name="connsiteX727" fmla="*/ 4378710 w 7467600"/>
              <a:gd name="connsiteY727" fmla="*/ 1665516 h 6858000"/>
              <a:gd name="connsiteX728" fmla="*/ 4448798 w 7467600"/>
              <a:gd name="connsiteY728" fmla="*/ 1253024 h 6858000"/>
              <a:gd name="connsiteX729" fmla="*/ 4480315 w 7467600"/>
              <a:gd name="connsiteY729" fmla="*/ 1158454 h 6858000"/>
              <a:gd name="connsiteX730" fmla="*/ 4494133 w 7467600"/>
              <a:gd name="connsiteY730" fmla="*/ 1118676 h 6858000"/>
              <a:gd name="connsiteX731" fmla="*/ 4557898 w 7467600"/>
              <a:gd name="connsiteY731" fmla="*/ 900011 h 6858000"/>
              <a:gd name="connsiteX732" fmla="*/ 5870151 w 7467600"/>
              <a:gd name="connsiteY732" fmla="*/ 898890 h 6858000"/>
              <a:gd name="connsiteX733" fmla="*/ 5861335 w 7467600"/>
              <a:gd name="connsiteY733" fmla="*/ 899177 h 6858000"/>
              <a:gd name="connsiteX734" fmla="*/ 5843702 w 7467600"/>
              <a:gd name="connsiteY734" fmla="*/ 899748 h 6858000"/>
              <a:gd name="connsiteX735" fmla="*/ 5651107 w 7467600"/>
              <a:gd name="connsiteY735" fmla="*/ 920306 h 6858000"/>
              <a:gd name="connsiteX736" fmla="*/ 5459407 w 7467600"/>
              <a:gd name="connsiteY736" fmla="*/ 940975 h 6858000"/>
              <a:gd name="connsiteX737" fmla="*/ 5374846 w 7467600"/>
              <a:gd name="connsiteY737" fmla="*/ 941988 h 6858000"/>
              <a:gd name="connsiteX738" fmla="*/ 5256105 w 7467600"/>
              <a:gd name="connsiteY738" fmla="*/ 945632 h 6858000"/>
              <a:gd name="connsiteX739" fmla="*/ 5107071 w 7467600"/>
              <a:gd name="connsiteY739" fmla="*/ 969720 h 6858000"/>
              <a:gd name="connsiteX740" fmla="*/ 4998681 w 7467600"/>
              <a:gd name="connsiteY740" fmla="*/ 988771 h 6858000"/>
              <a:gd name="connsiteX741" fmla="*/ 5870151 w 7467600"/>
              <a:gd name="connsiteY741" fmla="*/ 898890 h 6858000"/>
              <a:gd name="connsiteX742" fmla="*/ 5504425 w 7467600"/>
              <a:gd name="connsiteY742" fmla="*/ 848067 h 6858000"/>
              <a:gd name="connsiteX743" fmla="*/ 4968849 w 7467600"/>
              <a:gd name="connsiteY743" fmla="*/ 962318 h 6858000"/>
              <a:gd name="connsiteX744" fmla="*/ 5104039 w 7467600"/>
              <a:gd name="connsiteY744" fmla="*/ 940634 h 6858000"/>
              <a:gd name="connsiteX745" fmla="*/ 5256311 w 7467600"/>
              <a:gd name="connsiteY745" fmla="*/ 916490 h 6858000"/>
              <a:gd name="connsiteX746" fmla="*/ 5377381 w 7467600"/>
              <a:gd name="connsiteY746" fmla="*/ 912671 h 6858000"/>
              <a:gd name="connsiteX747" fmla="*/ 5460148 w 7467600"/>
              <a:gd name="connsiteY747" fmla="*/ 911442 h 6858000"/>
              <a:gd name="connsiteX748" fmla="*/ 5648971 w 7467600"/>
              <a:gd name="connsiteY748" fmla="*/ 891331 h 6858000"/>
              <a:gd name="connsiteX749" fmla="*/ 5844807 w 7467600"/>
              <a:gd name="connsiteY749" fmla="*/ 870718 h 6858000"/>
              <a:gd name="connsiteX750" fmla="*/ 5862975 w 7467600"/>
              <a:gd name="connsiteY750" fmla="*/ 869756 h 6858000"/>
              <a:gd name="connsiteX751" fmla="*/ 5920887 w 7467600"/>
              <a:gd name="connsiteY751" fmla="*/ 865929 h 6858000"/>
              <a:gd name="connsiteX752" fmla="*/ 5504425 w 7467600"/>
              <a:gd name="connsiteY752" fmla="*/ 848067 h 6858000"/>
              <a:gd name="connsiteX753" fmla="*/ 3607114 w 7467600"/>
              <a:gd name="connsiteY753" fmla="*/ 467441 h 6858000"/>
              <a:gd name="connsiteX754" fmla="*/ 3296242 w 7467600"/>
              <a:gd name="connsiteY754" fmla="*/ 807991 h 6858000"/>
              <a:gd name="connsiteX755" fmla="*/ 3174674 w 7467600"/>
              <a:gd name="connsiteY755" fmla="*/ 919759 h 6858000"/>
              <a:gd name="connsiteX756" fmla="*/ 3042978 w 7467600"/>
              <a:gd name="connsiteY756" fmla="*/ 1054894 h 6858000"/>
              <a:gd name="connsiteX757" fmla="*/ 2968914 w 7467600"/>
              <a:gd name="connsiteY757" fmla="*/ 1133756 h 6858000"/>
              <a:gd name="connsiteX758" fmla="*/ 3103823 w 7467600"/>
              <a:gd name="connsiteY758" fmla="*/ 1026814 h 6858000"/>
              <a:gd name="connsiteX759" fmla="*/ 3607114 w 7467600"/>
              <a:gd name="connsiteY759" fmla="*/ 467441 h 6858000"/>
              <a:gd name="connsiteX760" fmla="*/ 3744487 w 7467600"/>
              <a:gd name="connsiteY760" fmla="*/ 383136 h 6858000"/>
              <a:gd name="connsiteX761" fmla="*/ 3970213 w 7467600"/>
              <a:gd name="connsiteY761" fmla="*/ 995559 h 6858000"/>
              <a:gd name="connsiteX762" fmla="*/ 3744487 w 7467600"/>
              <a:gd name="connsiteY762" fmla="*/ 383136 h 6858000"/>
              <a:gd name="connsiteX763" fmla="*/ 3624562 w 7467600"/>
              <a:gd name="connsiteY763" fmla="*/ 367041 h 6858000"/>
              <a:gd name="connsiteX764" fmla="*/ 3489712 w 7467600"/>
              <a:gd name="connsiteY764" fmla="*/ 485386 h 6858000"/>
              <a:gd name="connsiteX765" fmla="*/ 3182994 w 7467600"/>
              <a:gd name="connsiteY765" fmla="*/ 828265 h 6858000"/>
              <a:gd name="connsiteX766" fmla="*/ 2892114 w 7467600"/>
              <a:gd name="connsiteY766" fmla="*/ 1172635 h 6858000"/>
              <a:gd name="connsiteX767" fmla="*/ 3021459 w 7467600"/>
              <a:gd name="connsiteY767" fmla="*/ 1035385 h 6858000"/>
              <a:gd name="connsiteX768" fmla="*/ 3153873 w 7467600"/>
              <a:gd name="connsiteY768" fmla="*/ 898971 h 6858000"/>
              <a:gd name="connsiteX769" fmla="*/ 3276511 w 7467600"/>
              <a:gd name="connsiteY769" fmla="*/ 786423 h 6858000"/>
              <a:gd name="connsiteX770" fmla="*/ 3584154 w 7467600"/>
              <a:gd name="connsiteY770" fmla="*/ 448218 h 6858000"/>
              <a:gd name="connsiteX771" fmla="*/ 3624562 w 7467600"/>
              <a:gd name="connsiteY771" fmla="*/ 367041 h 6858000"/>
              <a:gd name="connsiteX772" fmla="*/ 3766672 w 7467600"/>
              <a:gd name="connsiteY772" fmla="*/ 359429 h 6858000"/>
              <a:gd name="connsiteX773" fmla="*/ 3996338 w 7467600"/>
              <a:gd name="connsiteY773" fmla="*/ 968237 h 6858000"/>
              <a:gd name="connsiteX774" fmla="*/ 3766672 w 7467600"/>
              <a:gd name="connsiteY774" fmla="*/ 359429 h 6858000"/>
              <a:gd name="connsiteX775" fmla="*/ 5805386 w 7467600"/>
              <a:gd name="connsiteY775" fmla="*/ 239240 h 6858000"/>
              <a:gd name="connsiteX776" fmla="*/ 5736947 w 7467600"/>
              <a:gd name="connsiteY776" fmla="*/ 261367 h 6858000"/>
              <a:gd name="connsiteX777" fmla="*/ 5427012 w 7467600"/>
              <a:gd name="connsiteY777" fmla="*/ 311272 h 6858000"/>
              <a:gd name="connsiteX778" fmla="*/ 5147818 w 7467600"/>
              <a:gd name="connsiteY778" fmla="*/ 322112 h 6858000"/>
              <a:gd name="connsiteX779" fmla="*/ 5060854 w 7467600"/>
              <a:gd name="connsiteY779" fmla="*/ 311882 h 6858000"/>
              <a:gd name="connsiteX780" fmla="*/ 4945989 w 7467600"/>
              <a:gd name="connsiteY780" fmla="*/ 300516 h 6858000"/>
              <a:gd name="connsiteX781" fmla="*/ 5410479 w 7467600"/>
              <a:gd name="connsiteY781" fmla="*/ 348434 h 6858000"/>
              <a:gd name="connsiteX782" fmla="*/ 5805386 w 7467600"/>
              <a:gd name="connsiteY782" fmla="*/ 239240 h 6858000"/>
              <a:gd name="connsiteX783" fmla="*/ 5905192 w 7467600"/>
              <a:gd name="connsiteY783" fmla="*/ 163079 h 6858000"/>
              <a:gd name="connsiteX784" fmla="*/ 5865655 w 7467600"/>
              <a:gd name="connsiteY784" fmla="*/ 171901 h 6858000"/>
              <a:gd name="connsiteX785" fmla="*/ 5259740 w 7467600"/>
              <a:gd name="connsiteY785" fmla="*/ 257013 h 6858000"/>
              <a:gd name="connsiteX786" fmla="*/ 5208466 w 7467600"/>
              <a:gd name="connsiteY786" fmla="*/ 257550 h 6858000"/>
              <a:gd name="connsiteX787" fmla="*/ 4980204 w 7467600"/>
              <a:gd name="connsiteY787" fmla="*/ 271903 h 6858000"/>
              <a:gd name="connsiteX788" fmla="*/ 5068068 w 7467600"/>
              <a:gd name="connsiteY788" fmla="*/ 282244 h 6858000"/>
              <a:gd name="connsiteX789" fmla="*/ 5153231 w 7467600"/>
              <a:gd name="connsiteY789" fmla="*/ 292240 h 6858000"/>
              <a:gd name="connsiteX790" fmla="*/ 5426491 w 7467600"/>
              <a:gd name="connsiteY790" fmla="*/ 281128 h 6858000"/>
              <a:gd name="connsiteX791" fmla="*/ 5731212 w 7467600"/>
              <a:gd name="connsiteY791" fmla="*/ 231951 h 6858000"/>
              <a:gd name="connsiteX792" fmla="*/ 5905192 w 7467600"/>
              <a:gd name="connsiteY792" fmla="*/ 163079 h 6858000"/>
              <a:gd name="connsiteX793" fmla="*/ 5944437 w 7467600"/>
              <a:gd name="connsiteY793" fmla="*/ 113829 h 6858000"/>
              <a:gd name="connsiteX794" fmla="*/ 5825032 w 7467600"/>
              <a:gd name="connsiteY794" fmla="*/ 146405 h 6858000"/>
              <a:gd name="connsiteX795" fmla="*/ 4955599 w 7467600"/>
              <a:gd name="connsiteY795" fmla="*/ 247008 h 6858000"/>
              <a:gd name="connsiteX796" fmla="*/ 5210104 w 7467600"/>
              <a:gd name="connsiteY796" fmla="*/ 228123 h 6858000"/>
              <a:gd name="connsiteX797" fmla="*/ 5261015 w 7467600"/>
              <a:gd name="connsiteY797" fmla="*/ 227087 h 6858000"/>
              <a:gd name="connsiteX798" fmla="*/ 5861181 w 7467600"/>
              <a:gd name="connsiteY798" fmla="*/ 143093 h 6858000"/>
              <a:gd name="connsiteX799" fmla="*/ 5961252 w 7467600"/>
              <a:gd name="connsiteY799" fmla="*/ 114820 h 6858000"/>
              <a:gd name="connsiteX800" fmla="*/ 5944437 w 7467600"/>
              <a:gd name="connsiteY800" fmla="*/ 113829 h 6858000"/>
              <a:gd name="connsiteX801" fmla="*/ 3882765 w 7467600"/>
              <a:gd name="connsiteY801" fmla="*/ 0 h 6858000"/>
              <a:gd name="connsiteX802" fmla="*/ 3995099 w 7467600"/>
              <a:gd name="connsiteY802" fmla="*/ 0 h 6858000"/>
              <a:gd name="connsiteX803" fmla="*/ 4163818 w 7467600"/>
              <a:gd name="connsiteY803" fmla="*/ 234104 h 6858000"/>
              <a:gd name="connsiteX804" fmla="*/ 4172099 w 7467600"/>
              <a:gd name="connsiteY804" fmla="*/ 234207 h 6858000"/>
              <a:gd name="connsiteX805" fmla="*/ 4784282 w 7467600"/>
              <a:gd name="connsiteY805" fmla="*/ 276561 h 6858000"/>
              <a:gd name="connsiteX806" fmla="*/ 4801687 w 7467600"/>
              <a:gd name="connsiteY806" fmla="*/ 267764 h 6858000"/>
              <a:gd name="connsiteX807" fmla="*/ 6082788 w 7467600"/>
              <a:gd name="connsiteY807" fmla="*/ 64119 h 6858000"/>
              <a:gd name="connsiteX808" fmla="*/ 6099442 w 7467600"/>
              <a:gd name="connsiteY808" fmla="*/ 82568 h 6858000"/>
              <a:gd name="connsiteX809" fmla="*/ 4804137 w 7467600"/>
              <a:gd name="connsiteY809" fmla="*/ 320931 h 6858000"/>
              <a:gd name="connsiteX810" fmla="*/ 4227047 w 7467600"/>
              <a:gd name="connsiteY810" fmla="*/ 313415 h 6858000"/>
              <a:gd name="connsiteX811" fmla="*/ 4346041 w 7467600"/>
              <a:gd name="connsiteY811" fmla="*/ 456086 h 6858000"/>
              <a:gd name="connsiteX812" fmla="*/ 4870967 w 7467600"/>
              <a:gd name="connsiteY812" fmla="*/ 963061 h 6858000"/>
              <a:gd name="connsiteX813" fmla="*/ 4889647 w 7467600"/>
              <a:gd name="connsiteY813" fmla="*/ 957147 h 6858000"/>
              <a:gd name="connsiteX814" fmla="*/ 5422504 w 7467600"/>
              <a:gd name="connsiteY814" fmla="*/ 805191 h 6858000"/>
              <a:gd name="connsiteX815" fmla="*/ 6087656 w 7467600"/>
              <a:gd name="connsiteY815" fmla="*/ 826703 h 6858000"/>
              <a:gd name="connsiteX816" fmla="*/ 6058717 w 7467600"/>
              <a:gd name="connsiteY816" fmla="*/ 865992 h 6858000"/>
              <a:gd name="connsiteX817" fmla="*/ 4974153 w 7467600"/>
              <a:gd name="connsiteY817" fmla="*/ 1045456 h 6858000"/>
              <a:gd name="connsiteX818" fmla="*/ 5627835 w 7467600"/>
              <a:gd name="connsiteY818" fmla="*/ 1472077 h 6858000"/>
              <a:gd name="connsiteX819" fmla="*/ 5629817 w 7467600"/>
              <a:gd name="connsiteY819" fmla="*/ 1471412 h 6858000"/>
              <a:gd name="connsiteX820" fmla="*/ 5634124 w 7467600"/>
              <a:gd name="connsiteY820" fmla="*/ 1470572 h 6858000"/>
              <a:gd name="connsiteX821" fmla="*/ 5755832 w 7467600"/>
              <a:gd name="connsiteY821" fmla="*/ 1383886 h 6858000"/>
              <a:gd name="connsiteX822" fmla="*/ 6014186 w 7467600"/>
              <a:gd name="connsiteY822" fmla="*/ 1279799 h 6858000"/>
              <a:gd name="connsiteX823" fmla="*/ 6901619 w 7467600"/>
              <a:gd name="connsiteY823" fmla="*/ 1047874 h 6858000"/>
              <a:gd name="connsiteX824" fmla="*/ 6931566 w 7467600"/>
              <a:gd name="connsiteY824" fmla="*/ 1062034 h 6858000"/>
              <a:gd name="connsiteX825" fmla="*/ 5790982 w 7467600"/>
              <a:gd name="connsiteY825" fmla="*/ 1561380 h 6858000"/>
              <a:gd name="connsiteX826" fmla="*/ 6188971 w 7467600"/>
              <a:gd name="connsiteY826" fmla="*/ 1755168 h 6858000"/>
              <a:gd name="connsiteX827" fmla="*/ 6202446 w 7467600"/>
              <a:gd name="connsiteY827" fmla="*/ 1752268 h 6858000"/>
              <a:gd name="connsiteX828" fmla="*/ 7179560 w 7467600"/>
              <a:gd name="connsiteY828" fmla="*/ 1467551 h 6858000"/>
              <a:gd name="connsiteX829" fmla="*/ 7158730 w 7467600"/>
              <a:gd name="connsiteY829" fmla="*/ 1507835 h 6858000"/>
              <a:gd name="connsiteX830" fmla="*/ 6326959 w 7467600"/>
              <a:gd name="connsiteY830" fmla="*/ 1817686 h 6858000"/>
              <a:gd name="connsiteX831" fmla="*/ 6537433 w 7467600"/>
              <a:gd name="connsiteY831" fmla="*/ 1907790 h 6858000"/>
              <a:gd name="connsiteX832" fmla="*/ 6550221 w 7467600"/>
              <a:gd name="connsiteY832" fmla="*/ 1910729 h 6858000"/>
              <a:gd name="connsiteX833" fmla="*/ 6964438 w 7467600"/>
              <a:gd name="connsiteY833" fmla="*/ 2209505 h 6858000"/>
              <a:gd name="connsiteX834" fmla="*/ 7367862 w 7467600"/>
              <a:gd name="connsiteY834" fmla="*/ 2806833 h 6858000"/>
              <a:gd name="connsiteX835" fmla="*/ 7364329 w 7467600"/>
              <a:gd name="connsiteY835" fmla="*/ 2826907 h 6858000"/>
              <a:gd name="connsiteX836" fmla="*/ 7290545 w 7467600"/>
              <a:gd name="connsiteY836" fmla="*/ 2850663 h 6858000"/>
              <a:gd name="connsiteX837" fmla="*/ 6472036 w 7467600"/>
              <a:gd name="connsiteY837" fmla="*/ 1959003 h 6858000"/>
              <a:gd name="connsiteX838" fmla="*/ 5792897 w 7467600"/>
              <a:gd name="connsiteY838" fmla="*/ 1647747 h 6858000"/>
              <a:gd name="connsiteX839" fmla="*/ 5842751 w 7467600"/>
              <a:gd name="connsiteY839" fmla="*/ 1816112 h 6858000"/>
              <a:gd name="connsiteX840" fmla="*/ 5847424 w 7467600"/>
              <a:gd name="connsiteY840" fmla="*/ 1815776 h 6858000"/>
              <a:gd name="connsiteX841" fmla="*/ 6399821 w 7467600"/>
              <a:gd name="connsiteY841" fmla="*/ 2344799 h 6858000"/>
              <a:gd name="connsiteX842" fmla="*/ 6323232 w 7467600"/>
              <a:gd name="connsiteY842" fmla="*/ 2389634 h 6858000"/>
              <a:gd name="connsiteX843" fmla="*/ 5942958 w 7467600"/>
              <a:gd name="connsiteY843" fmla="*/ 2077708 h 6858000"/>
              <a:gd name="connsiteX844" fmla="*/ 5921559 w 7467600"/>
              <a:gd name="connsiteY844" fmla="*/ 2378596 h 6858000"/>
              <a:gd name="connsiteX845" fmla="*/ 5817651 w 7467600"/>
              <a:gd name="connsiteY845" fmla="*/ 3023919 h 6858000"/>
              <a:gd name="connsiteX846" fmla="*/ 5729634 w 7467600"/>
              <a:gd name="connsiteY846" fmla="*/ 3051849 h 6858000"/>
              <a:gd name="connsiteX847" fmla="*/ 5611018 w 7467600"/>
              <a:gd name="connsiteY847" fmla="*/ 2316769 h 6858000"/>
              <a:gd name="connsiteX848" fmla="*/ 5687608 w 7467600"/>
              <a:gd name="connsiteY848" fmla="*/ 2039972 h 6858000"/>
              <a:gd name="connsiteX849" fmla="*/ 5657554 w 7467600"/>
              <a:gd name="connsiteY849" fmla="*/ 1576445 h 6858000"/>
              <a:gd name="connsiteX850" fmla="*/ 5150475 w 7467600"/>
              <a:gd name="connsiteY850" fmla="*/ 1274012 h 6858000"/>
              <a:gd name="connsiteX851" fmla="*/ 5349142 w 7467600"/>
              <a:gd name="connsiteY851" fmla="*/ 2204405 h 6858000"/>
              <a:gd name="connsiteX852" fmla="*/ 5262214 w 7467600"/>
              <a:gd name="connsiteY852" fmla="*/ 2233836 h 6858000"/>
              <a:gd name="connsiteX853" fmla="*/ 4981539 w 7467600"/>
              <a:gd name="connsiteY853" fmla="*/ 1542201 h 6858000"/>
              <a:gd name="connsiteX854" fmla="*/ 4958461 w 7467600"/>
              <a:gd name="connsiteY854" fmla="*/ 1136957 h 6858000"/>
              <a:gd name="connsiteX855" fmla="*/ 4655015 w 7467600"/>
              <a:gd name="connsiteY855" fmla="*/ 891426 h 6858000"/>
              <a:gd name="connsiteX856" fmla="*/ 4348002 w 7467600"/>
              <a:gd name="connsiteY856" fmla="*/ 2205895 h 6858000"/>
              <a:gd name="connsiteX857" fmla="*/ 4262250 w 7467600"/>
              <a:gd name="connsiteY857" fmla="*/ 2219972 h 6858000"/>
              <a:gd name="connsiteX858" fmla="*/ 4550611 w 7467600"/>
              <a:gd name="connsiteY858" fmla="*/ 817540 h 6858000"/>
              <a:gd name="connsiteX859" fmla="*/ 4564418 w 7467600"/>
              <a:gd name="connsiteY859" fmla="*/ 808293 h 6858000"/>
              <a:gd name="connsiteX860" fmla="*/ 4266388 w 7467600"/>
              <a:gd name="connsiteY860" fmla="*/ 500083 h 6858000"/>
              <a:gd name="connsiteX861" fmla="*/ 4032842 w 7467600"/>
              <a:gd name="connsiteY861" fmla="*/ 211809 h 6858000"/>
              <a:gd name="connsiteX862" fmla="*/ 3882765 w 7467600"/>
              <a:gd name="connsiteY862" fmla="*/ 0 h 6858000"/>
              <a:gd name="connsiteX863" fmla="*/ 3721337 w 7467600"/>
              <a:gd name="connsiteY863" fmla="*/ 0 h 6858000"/>
              <a:gd name="connsiteX864" fmla="*/ 3797544 w 7467600"/>
              <a:gd name="connsiteY864" fmla="*/ 0 h 6858000"/>
              <a:gd name="connsiteX865" fmla="*/ 3775734 w 7467600"/>
              <a:gd name="connsiteY865" fmla="*/ 95131 h 6858000"/>
              <a:gd name="connsiteX866" fmla="*/ 3724807 w 7467600"/>
              <a:gd name="connsiteY866" fmla="*/ 272257 h 6858000"/>
              <a:gd name="connsiteX867" fmla="*/ 3726844 w 7467600"/>
              <a:gd name="connsiteY867" fmla="*/ 282988 h 6858000"/>
              <a:gd name="connsiteX868" fmla="*/ 3742664 w 7467600"/>
              <a:gd name="connsiteY868" fmla="*/ 279918 h 6858000"/>
              <a:gd name="connsiteX869" fmla="*/ 4103910 w 7467600"/>
              <a:gd name="connsiteY869" fmla="*/ 1161917 h 6858000"/>
              <a:gd name="connsiteX870" fmla="*/ 4020269 w 7467600"/>
              <a:gd name="connsiteY870" fmla="*/ 1200406 h 6858000"/>
              <a:gd name="connsiteX871" fmla="*/ 3674882 w 7467600"/>
              <a:gd name="connsiteY871" fmla="*/ 488524 h 6858000"/>
              <a:gd name="connsiteX872" fmla="*/ 3132682 w 7467600"/>
              <a:gd name="connsiteY872" fmla="*/ 1072284 h 6858000"/>
              <a:gd name="connsiteX873" fmla="*/ 2716346 w 7467600"/>
              <a:gd name="connsiteY873" fmla="*/ 1276376 h 6858000"/>
              <a:gd name="connsiteX874" fmla="*/ 2716772 w 7467600"/>
              <a:gd name="connsiteY874" fmla="*/ 1255462 h 6858000"/>
              <a:gd name="connsiteX875" fmla="*/ 3471096 w 7467600"/>
              <a:gd name="connsiteY875" fmla="*/ 437072 h 6858000"/>
              <a:gd name="connsiteX876" fmla="*/ 3639057 w 7467600"/>
              <a:gd name="connsiteY876" fmla="*/ 286334 h 6858000"/>
              <a:gd name="connsiteX877" fmla="*/ 3640309 w 7467600"/>
              <a:gd name="connsiteY877" fmla="*/ 284664 h 6858000"/>
              <a:gd name="connsiteX878" fmla="*/ 3646022 w 7467600"/>
              <a:gd name="connsiteY878" fmla="*/ 276711 h 6858000"/>
              <a:gd name="connsiteX879" fmla="*/ 3707943 w 7467600"/>
              <a:gd name="connsiteY879" fmla="*/ 65958 h 6858000"/>
              <a:gd name="connsiteX880" fmla="*/ 3721337 w 7467600"/>
              <a:gd name="connsiteY880" fmla="*/ 0 h 6858000"/>
              <a:gd name="connsiteX881" fmla="*/ 2867960 w 7467600"/>
              <a:gd name="connsiteY881" fmla="*/ 0 h 6858000"/>
              <a:gd name="connsiteX882" fmla="*/ 2926351 w 7467600"/>
              <a:gd name="connsiteY882" fmla="*/ 0 h 6858000"/>
              <a:gd name="connsiteX883" fmla="*/ 2902823 w 7467600"/>
              <a:gd name="connsiteY883" fmla="*/ 262929 h 6858000"/>
              <a:gd name="connsiteX884" fmla="*/ 2940663 w 7467600"/>
              <a:gd name="connsiteY884" fmla="*/ 140884 h 6858000"/>
              <a:gd name="connsiteX885" fmla="*/ 2947039 w 7467600"/>
              <a:gd name="connsiteY885" fmla="*/ 122524 h 6858000"/>
              <a:gd name="connsiteX886" fmla="*/ 2984316 w 7467600"/>
              <a:gd name="connsiteY886" fmla="*/ 0 h 6858000"/>
              <a:gd name="connsiteX887" fmla="*/ 3016114 w 7467600"/>
              <a:gd name="connsiteY887" fmla="*/ 0 h 6858000"/>
              <a:gd name="connsiteX888" fmla="*/ 2979949 w 7467600"/>
              <a:gd name="connsiteY888" fmla="*/ 119274 h 6858000"/>
              <a:gd name="connsiteX889" fmla="*/ 3023879 w 7467600"/>
              <a:gd name="connsiteY889" fmla="*/ 0 h 6858000"/>
              <a:gd name="connsiteX890" fmla="*/ 3105400 w 7467600"/>
              <a:gd name="connsiteY890" fmla="*/ 0 h 6858000"/>
              <a:gd name="connsiteX891" fmla="*/ 3094669 w 7467600"/>
              <a:gd name="connsiteY891" fmla="*/ 30308 h 6858000"/>
              <a:gd name="connsiteX892" fmla="*/ 2901945 w 7467600"/>
              <a:gd name="connsiteY892" fmla="*/ 466538 h 6858000"/>
              <a:gd name="connsiteX893" fmla="*/ 2815209 w 7467600"/>
              <a:gd name="connsiteY893" fmla="*/ 497361 h 6858000"/>
              <a:gd name="connsiteX894" fmla="*/ 2844845 w 7467600"/>
              <a:gd name="connsiteY894" fmla="*/ 127638 h 6858000"/>
              <a:gd name="connsiteX895" fmla="*/ 2867960 w 7467600"/>
              <a:gd name="connsiteY895" fmla="*/ 0 h 6858000"/>
              <a:gd name="connsiteX896" fmla="*/ 1057230 w 7467600"/>
              <a:gd name="connsiteY896" fmla="*/ 0 h 6858000"/>
              <a:gd name="connsiteX897" fmla="*/ 1111003 w 7467600"/>
              <a:gd name="connsiteY897" fmla="*/ 0 h 6858000"/>
              <a:gd name="connsiteX898" fmla="*/ 1125553 w 7467600"/>
              <a:gd name="connsiteY898" fmla="*/ 52588 h 6858000"/>
              <a:gd name="connsiteX899" fmla="*/ 1304276 w 7467600"/>
              <a:gd name="connsiteY899" fmla="*/ 476275 h 6858000"/>
              <a:gd name="connsiteX900" fmla="*/ 1492066 w 7467600"/>
              <a:gd name="connsiteY900" fmla="*/ 886333 h 6858000"/>
              <a:gd name="connsiteX901" fmla="*/ 1423698 w 7467600"/>
              <a:gd name="connsiteY901" fmla="*/ 710817 h 6858000"/>
              <a:gd name="connsiteX902" fmla="*/ 1357609 w 7467600"/>
              <a:gd name="connsiteY902" fmla="*/ 532892 h 6858000"/>
              <a:gd name="connsiteX903" fmla="*/ 1309550 w 7467600"/>
              <a:gd name="connsiteY903" fmla="*/ 374031 h 6858000"/>
              <a:gd name="connsiteX904" fmla="*/ 1193673 w 7467600"/>
              <a:gd name="connsiteY904" fmla="*/ 49533 h 6858000"/>
              <a:gd name="connsiteX905" fmla="*/ 1164391 w 7467600"/>
              <a:gd name="connsiteY905" fmla="*/ 0 h 6858000"/>
              <a:gd name="connsiteX906" fmla="*/ 1200666 w 7467600"/>
              <a:gd name="connsiteY906" fmla="*/ 0 h 6858000"/>
              <a:gd name="connsiteX907" fmla="*/ 1223408 w 7467600"/>
              <a:gd name="connsiteY907" fmla="*/ 38996 h 6858000"/>
              <a:gd name="connsiteX908" fmla="*/ 1339635 w 7467600"/>
              <a:gd name="connsiteY908" fmla="*/ 365517 h 6858000"/>
              <a:gd name="connsiteX909" fmla="*/ 1387469 w 7467600"/>
              <a:gd name="connsiteY909" fmla="*/ 523079 h 6858000"/>
              <a:gd name="connsiteX910" fmla="*/ 1452685 w 7467600"/>
              <a:gd name="connsiteY910" fmla="*/ 699806 h 6858000"/>
              <a:gd name="connsiteX911" fmla="*/ 1492092 w 7467600"/>
              <a:gd name="connsiteY911" fmla="*/ 800424 h 6858000"/>
              <a:gd name="connsiteX912" fmla="*/ 1455302 w 7467600"/>
              <a:gd name="connsiteY912" fmla="*/ 632913 h 6858000"/>
              <a:gd name="connsiteX913" fmla="*/ 1222336 w 7467600"/>
              <a:gd name="connsiteY913" fmla="*/ 9480 h 6858000"/>
              <a:gd name="connsiteX914" fmla="*/ 1214634 w 7467600"/>
              <a:gd name="connsiteY914" fmla="*/ 0 h 6858000"/>
              <a:gd name="connsiteX915" fmla="*/ 1289827 w 7467600"/>
              <a:gd name="connsiteY915" fmla="*/ 0 h 6858000"/>
              <a:gd name="connsiteX916" fmla="*/ 1321076 w 7467600"/>
              <a:gd name="connsiteY916" fmla="*/ 59722 h 6858000"/>
              <a:gd name="connsiteX917" fmla="*/ 1512579 w 7467600"/>
              <a:gd name="connsiteY917" fmla="*/ 626441 h 6858000"/>
              <a:gd name="connsiteX918" fmla="*/ 1506076 w 7467600"/>
              <a:gd name="connsiteY918" fmla="*/ 1089289 h 6858000"/>
              <a:gd name="connsiteX919" fmla="*/ 1486346 w 7467600"/>
              <a:gd name="connsiteY919" fmla="*/ 1079919 h 6858000"/>
              <a:gd name="connsiteX920" fmla="*/ 1070511 w 7467600"/>
              <a:gd name="connsiteY920" fmla="*/ 48609 h 6858000"/>
              <a:gd name="connsiteX921" fmla="*/ 1057230 w 7467600"/>
              <a:gd name="connsiteY921" fmla="*/ 0 h 6858000"/>
              <a:gd name="connsiteX922" fmla="*/ 43151 w 7467600"/>
              <a:gd name="connsiteY922" fmla="*/ 0 h 6858000"/>
              <a:gd name="connsiteX923" fmla="*/ 95283 w 7467600"/>
              <a:gd name="connsiteY923" fmla="*/ 0 h 6858000"/>
              <a:gd name="connsiteX924" fmla="*/ 300708 w 7467600"/>
              <a:gd name="connsiteY924" fmla="*/ 154571 h 6858000"/>
              <a:gd name="connsiteX925" fmla="*/ 530414 w 7467600"/>
              <a:gd name="connsiteY925" fmla="*/ 354673 h 6858000"/>
              <a:gd name="connsiteX926" fmla="*/ 333785 w 7467600"/>
              <a:gd name="connsiteY926" fmla="*/ 161564 h 6858000"/>
              <a:gd name="connsiteX927" fmla="*/ 147005 w 7467600"/>
              <a:gd name="connsiteY927" fmla="*/ 0 h 6858000"/>
              <a:gd name="connsiteX928" fmla="*/ 272509 w 7467600"/>
              <a:gd name="connsiteY928" fmla="*/ 0 h 6858000"/>
              <a:gd name="connsiteX929" fmla="*/ 326276 w 7467600"/>
              <a:gd name="connsiteY929" fmla="*/ 45847 h 6858000"/>
              <a:gd name="connsiteX930" fmla="*/ 823759 w 7467600"/>
              <a:gd name="connsiteY930" fmla="*/ 574145 h 6858000"/>
              <a:gd name="connsiteX931" fmla="*/ 811254 w 7467600"/>
              <a:gd name="connsiteY931" fmla="*/ 665546 h 6858000"/>
              <a:gd name="connsiteX932" fmla="*/ 154042 w 7467600"/>
              <a:gd name="connsiteY932" fmla="*/ 261522 h 6858000"/>
              <a:gd name="connsiteX933" fmla="*/ 13550 w 7467600"/>
              <a:gd name="connsiteY933" fmla="*/ 158423 h 6858000"/>
              <a:gd name="connsiteX934" fmla="*/ 0 w 7467600"/>
              <a:gd name="connsiteY934" fmla="*/ 146618 h 6858000"/>
              <a:gd name="connsiteX935" fmla="*/ 0 w 7467600"/>
              <a:gd name="connsiteY935" fmla="*/ 59161 h 6858000"/>
              <a:gd name="connsiteX936" fmla="*/ 45427 w 7467600"/>
              <a:gd name="connsiteY936" fmla="*/ 101078 h 6858000"/>
              <a:gd name="connsiteX937" fmla="*/ 630103 w 7467600"/>
              <a:gd name="connsiteY937" fmla="*/ 485885 h 6858000"/>
              <a:gd name="connsiteX938" fmla="*/ 532040 w 7467600"/>
              <a:gd name="connsiteY938" fmla="*/ 399359 h 6858000"/>
              <a:gd name="connsiteX939" fmla="*/ 517618 w 7467600"/>
              <a:gd name="connsiteY939" fmla="*/ 385726 h 6858000"/>
              <a:gd name="connsiteX940" fmla="*/ 285074 w 7467600"/>
              <a:gd name="connsiteY940" fmla="*/ 182755 h 6858000"/>
              <a:gd name="connsiteX941" fmla="*/ 43151 w 7467600"/>
              <a:gd name="connsiteY941"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289862 w 7467600"/>
              <a:gd name="connsiteY4" fmla="*/ 6659827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7289862 w 7467600"/>
              <a:gd name="connsiteY8" fmla="*/ 6659827 h 6858000"/>
              <a:gd name="connsiteX9" fmla="*/ 1019354 w 7467600"/>
              <a:gd name="connsiteY9" fmla="*/ 6315006 h 6858000"/>
              <a:gd name="connsiteX10" fmla="*/ 441046 w 7467600"/>
              <a:gd name="connsiteY10" fmla="*/ 6691153 h 6858000"/>
              <a:gd name="connsiteX11" fmla="*/ 1019354 w 7467600"/>
              <a:gd name="connsiteY11" fmla="*/ 6315006 h 6858000"/>
              <a:gd name="connsiteX12" fmla="*/ 991680 w 7467600"/>
              <a:gd name="connsiteY12" fmla="*/ 6298413 h 6858000"/>
              <a:gd name="connsiteX13" fmla="*/ 409060 w 7467600"/>
              <a:gd name="connsiteY13" fmla="*/ 6671470 h 6858000"/>
              <a:gd name="connsiteX14" fmla="*/ 991680 w 7467600"/>
              <a:gd name="connsiteY14" fmla="*/ 6298413 h 6858000"/>
              <a:gd name="connsiteX15" fmla="*/ 103333 w 7467600"/>
              <a:gd name="connsiteY15" fmla="*/ 5699602 h 6858000"/>
              <a:gd name="connsiteX16" fmla="*/ 233938 w 7467600"/>
              <a:gd name="connsiteY16" fmla="*/ 5809416 h 6858000"/>
              <a:gd name="connsiteX17" fmla="*/ 883580 w 7467600"/>
              <a:gd name="connsiteY17" fmla="*/ 6180710 h 6858000"/>
              <a:gd name="connsiteX18" fmla="*/ 487337 w 7467600"/>
              <a:gd name="connsiteY18" fmla="*/ 5950182 h 6858000"/>
              <a:gd name="connsiteX19" fmla="*/ 354051 w 7467600"/>
              <a:gd name="connsiteY19" fmla="*/ 5854912 h 6858000"/>
              <a:gd name="connsiteX20" fmla="*/ 195436 w 7467600"/>
              <a:gd name="connsiteY20" fmla="*/ 5755068 h 6858000"/>
              <a:gd name="connsiteX21" fmla="*/ 103333 w 7467600"/>
              <a:gd name="connsiteY21" fmla="*/ 5699602 h 6858000"/>
              <a:gd name="connsiteX22" fmla="*/ 5539432 w 7467600"/>
              <a:gd name="connsiteY22" fmla="*/ 5642928 h 6858000"/>
              <a:gd name="connsiteX23" fmla="*/ 5555462 w 7467600"/>
              <a:gd name="connsiteY23" fmla="*/ 5694454 h 6858000"/>
              <a:gd name="connsiteX24" fmla="*/ 5828270 w 7467600"/>
              <a:gd name="connsiteY24" fmla="*/ 6320663 h 6858000"/>
              <a:gd name="connsiteX25" fmla="*/ 5947416 w 7467600"/>
              <a:gd name="connsiteY25" fmla="*/ 6574846 h 6858000"/>
              <a:gd name="connsiteX26" fmla="*/ 5539432 w 7467600"/>
              <a:gd name="connsiteY26" fmla="*/ 5642928 h 6858000"/>
              <a:gd name="connsiteX27" fmla="*/ 51253 w 7467600"/>
              <a:gd name="connsiteY27" fmla="*/ 5631825 h 6858000"/>
              <a:gd name="connsiteX28" fmla="*/ 211622 w 7467600"/>
              <a:gd name="connsiteY28" fmla="*/ 5728803 h 6858000"/>
              <a:gd name="connsiteX29" fmla="*/ 371652 w 7467600"/>
              <a:gd name="connsiteY29" fmla="*/ 5829062 h 6858000"/>
              <a:gd name="connsiteX30" fmla="*/ 505903 w 7467600"/>
              <a:gd name="connsiteY30" fmla="*/ 5925221 h 6858000"/>
              <a:gd name="connsiteX31" fmla="*/ 899240 w 7467600"/>
              <a:gd name="connsiteY31" fmla="*/ 6153068 h 6858000"/>
              <a:gd name="connsiteX32" fmla="*/ 988114 w 7467600"/>
              <a:gd name="connsiteY32" fmla="*/ 6174204 h 6858000"/>
              <a:gd name="connsiteX33" fmla="*/ 845971 w 7467600"/>
              <a:gd name="connsiteY33" fmla="*/ 6067177 h 6858000"/>
              <a:gd name="connsiteX34" fmla="*/ 448057 w 7467600"/>
              <a:gd name="connsiteY34" fmla="*/ 5841376 h 6858000"/>
              <a:gd name="connsiteX35" fmla="*/ 51253 w 7467600"/>
              <a:gd name="connsiteY35" fmla="*/ 5631825 h 6858000"/>
              <a:gd name="connsiteX36" fmla="*/ 2606687 w 7467600"/>
              <a:gd name="connsiteY36" fmla="*/ 5630718 h 6858000"/>
              <a:gd name="connsiteX37" fmla="*/ 2645658 w 7467600"/>
              <a:gd name="connsiteY37" fmla="*/ 6640259 h 6858000"/>
              <a:gd name="connsiteX38" fmla="*/ 2606687 w 7467600"/>
              <a:gd name="connsiteY38" fmla="*/ 5630718 h 6858000"/>
              <a:gd name="connsiteX39" fmla="*/ 3642057 w 7467600"/>
              <a:gd name="connsiteY39" fmla="*/ 5573487 h 6858000"/>
              <a:gd name="connsiteX40" fmla="*/ 3632981 w 7467600"/>
              <a:gd name="connsiteY40" fmla="*/ 5579437 h 6858000"/>
              <a:gd name="connsiteX41" fmla="*/ 3382436 w 7467600"/>
              <a:gd name="connsiteY41" fmla="*/ 5952726 h 6858000"/>
              <a:gd name="connsiteX42" fmla="*/ 3191929 w 7467600"/>
              <a:gd name="connsiteY42" fmla="*/ 6662669 h 6858000"/>
              <a:gd name="connsiteX43" fmla="*/ 3369898 w 7467600"/>
              <a:gd name="connsiteY43" fmla="*/ 6081771 h 6858000"/>
              <a:gd name="connsiteX44" fmla="*/ 3642057 w 7467600"/>
              <a:gd name="connsiteY44" fmla="*/ 5573487 h 6858000"/>
              <a:gd name="connsiteX45" fmla="*/ 2650666 w 7467600"/>
              <a:gd name="connsiteY45" fmla="*/ 5530686 h 6858000"/>
              <a:gd name="connsiteX46" fmla="*/ 2650249 w 7467600"/>
              <a:gd name="connsiteY46" fmla="*/ 5532101 h 6858000"/>
              <a:gd name="connsiteX47" fmla="*/ 2663808 w 7467600"/>
              <a:gd name="connsiteY47" fmla="*/ 6535215 h 6858000"/>
              <a:gd name="connsiteX48" fmla="*/ 2665418 w 7467600"/>
              <a:gd name="connsiteY48" fmla="*/ 6132756 h 6858000"/>
              <a:gd name="connsiteX49" fmla="*/ 2650666 w 7467600"/>
              <a:gd name="connsiteY49" fmla="*/ 5530686 h 6858000"/>
              <a:gd name="connsiteX50" fmla="*/ 2680277 w 7467600"/>
              <a:gd name="connsiteY50" fmla="*/ 5479204 h 6858000"/>
              <a:gd name="connsiteX51" fmla="*/ 2678972 w 7467600"/>
              <a:gd name="connsiteY51" fmla="*/ 5481582 h 6858000"/>
              <a:gd name="connsiteX52" fmla="*/ 2696666 w 7467600"/>
              <a:gd name="connsiteY52" fmla="*/ 6133836 h 6858000"/>
              <a:gd name="connsiteX53" fmla="*/ 2695769 w 7467600"/>
              <a:gd name="connsiteY53" fmla="*/ 6390955 h 6858000"/>
              <a:gd name="connsiteX54" fmla="*/ 2739893 w 7467600"/>
              <a:gd name="connsiteY54" fmla="*/ 6108357 h 6858000"/>
              <a:gd name="connsiteX55" fmla="*/ 2680277 w 7467600"/>
              <a:gd name="connsiteY55" fmla="*/ 5479204 h 6858000"/>
              <a:gd name="connsiteX56" fmla="*/ 1132195 w 7467600"/>
              <a:gd name="connsiteY56" fmla="*/ 5467980 h 6858000"/>
              <a:gd name="connsiteX57" fmla="*/ 1679056 w 7467600"/>
              <a:gd name="connsiteY57" fmla="*/ 5516907 h 6858000"/>
              <a:gd name="connsiteX58" fmla="*/ 2128648 w 7467600"/>
              <a:gd name="connsiteY58" fmla="*/ 5474249 h 6858000"/>
              <a:gd name="connsiteX59" fmla="*/ 1825619 w 7467600"/>
              <a:gd name="connsiteY59" fmla="*/ 5478447 h 6858000"/>
              <a:gd name="connsiteX60" fmla="*/ 1737798 w 7467600"/>
              <a:gd name="connsiteY60" fmla="*/ 5483353 h 6858000"/>
              <a:gd name="connsiteX61" fmla="*/ 1132195 w 7467600"/>
              <a:gd name="connsiteY61" fmla="*/ 5467980 h 6858000"/>
              <a:gd name="connsiteX62" fmla="*/ 1456157 w 7467600"/>
              <a:gd name="connsiteY62" fmla="*/ 5371404 h 6858000"/>
              <a:gd name="connsiteX63" fmla="*/ 1244432 w 7467600"/>
              <a:gd name="connsiteY63" fmla="*/ 5385601 h 6858000"/>
              <a:gd name="connsiteX64" fmla="*/ 973990 w 7467600"/>
              <a:gd name="connsiteY64" fmla="*/ 5424940 h 6858000"/>
              <a:gd name="connsiteX65" fmla="*/ 1103809 w 7467600"/>
              <a:gd name="connsiteY65" fmla="*/ 5433720 h 6858000"/>
              <a:gd name="connsiteX66" fmla="*/ 1123454 w 7467600"/>
              <a:gd name="connsiteY66" fmla="*/ 5435727 h 6858000"/>
              <a:gd name="connsiteX67" fmla="*/ 1737017 w 7467600"/>
              <a:gd name="connsiteY67" fmla="*/ 5452183 h 6858000"/>
              <a:gd name="connsiteX68" fmla="*/ 1824397 w 7467600"/>
              <a:gd name="connsiteY68" fmla="*/ 5447757 h 6858000"/>
              <a:gd name="connsiteX69" fmla="*/ 2070059 w 7467600"/>
              <a:gd name="connsiteY69" fmla="*/ 5441660 h 6858000"/>
              <a:gd name="connsiteX70" fmla="*/ 1456157 w 7467600"/>
              <a:gd name="connsiteY70" fmla="*/ 5371404 h 6858000"/>
              <a:gd name="connsiteX71" fmla="*/ 4988186 w 7467600"/>
              <a:gd name="connsiteY71" fmla="*/ 5216467 h 6858000"/>
              <a:gd name="connsiteX72" fmla="*/ 4777334 w 7467600"/>
              <a:gd name="connsiteY72" fmla="*/ 5406072 h 6858000"/>
              <a:gd name="connsiteX73" fmla="*/ 4718341 w 7467600"/>
              <a:gd name="connsiteY73" fmla="*/ 5468043 h 6858000"/>
              <a:gd name="connsiteX74" fmla="*/ 4604655 w 7467600"/>
              <a:gd name="connsiteY74" fmla="*/ 5583434 h 6858000"/>
              <a:gd name="connsiteX75" fmla="*/ 4565074 w 7467600"/>
              <a:gd name="connsiteY75" fmla="*/ 5618550 h 6858000"/>
              <a:gd name="connsiteX76" fmla="*/ 4988186 w 7467600"/>
              <a:gd name="connsiteY76" fmla="*/ 5216467 h 6858000"/>
              <a:gd name="connsiteX77" fmla="*/ 4978032 w 7467600"/>
              <a:gd name="connsiteY77" fmla="*/ 5183809 h 6858000"/>
              <a:gd name="connsiteX78" fmla="*/ 4463413 w 7467600"/>
              <a:gd name="connsiteY78" fmla="*/ 5615162 h 6858000"/>
              <a:gd name="connsiteX79" fmla="*/ 4358134 w 7467600"/>
              <a:gd name="connsiteY79" fmla="*/ 5742791 h 6858000"/>
              <a:gd name="connsiteX80" fmla="*/ 4376219 w 7467600"/>
              <a:gd name="connsiteY80" fmla="*/ 5729027 h 6858000"/>
              <a:gd name="connsiteX81" fmla="*/ 4582340 w 7467600"/>
              <a:gd name="connsiteY81" fmla="*/ 5561037 h 6858000"/>
              <a:gd name="connsiteX82" fmla="*/ 4694684 w 7467600"/>
              <a:gd name="connsiteY82" fmla="*/ 5447098 h 6858000"/>
              <a:gd name="connsiteX83" fmla="*/ 4754123 w 7467600"/>
              <a:gd name="connsiteY83" fmla="*/ 5384643 h 6858000"/>
              <a:gd name="connsiteX84" fmla="*/ 4978032 w 7467600"/>
              <a:gd name="connsiteY84" fmla="*/ 5183809 h 6858000"/>
              <a:gd name="connsiteX85" fmla="*/ 1903353 w 7467600"/>
              <a:gd name="connsiteY85" fmla="*/ 5044827 h 6858000"/>
              <a:gd name="connsiteX86" fmla="*/ 1936931 w 7467600"/>
              <a:gd name="connsiteY86" fmla="*/ 5093954 h 6858000"/>
              <a:gd name="connsiteX87" fmla="*/ 2195868 w 7467600"/>
              <a:gd name="connsiteY87" fmla="*/ 5396574 h 6858000"/>
              <a:gd name="connsiteX88" fmla="*/ 2088852 w 7467600"/>
              <a:gd name="connsiteY88" fmla="*/ 5166123 h 6858000"/>
              <a:gd name="connsiteX89" fmla="*/ 1958241 w 7467600"/>
              <a:gd name="connsiteY89" fmla="*/ 5067955 h 6858000"/>
              <a:gd name="connsiteX90" fmla="*/ 1903353 w 7467600"/>
              <a:gd name="connsiteY90" fmla="*/ 5044827 h 6858000"/>
              <a:gd name="connsiteX91" fmla="*/ 1979378 w 7467600"/>
              <a:gd name="connsiteY91" fmla="*/ 4769504 h 6858000"/>
              <a:gd name="connsiteX92" fmla="*/ 2882120 w 7467600"/>
              <a:gd name="connsiteY92" fmla="*/ 5064547 h 6858000"/>
              <a:gd name="connsiteX93" fmla="*/ 2793103 w 7467600"/>
              <a:gd name="connsiteY93" fmla="*/ 5039699 h 6858000"/>
              <a:gd name="connsiteX94" fmla="*/ 2770041 w 7467600"/>
              <a:gd name="connsiteY94" fmla="*/ 5033634 h 6858000"/>
              <a:gd name="connsiteX95" fmla="*/ 1979378 w 7467600"/>
              <a:gd name="connsiteY95" fmla="*/ 4769504 h 6858000"/>
              <a:gd name="connsiteX96" fmla="*/ 1927410 w 7467600"/>
              <a:gd name="connsiteY96" fmla="*/ 4716164 h 6858000"/>
              <a:gd name="connsiteX97" fmla="*/ 1959587 w 7467600"/>
              <a:gd name="connsiteY97" fmla="*/ 4728849 h 6858000"/>
              <a:gd name="connsiteX98" fmla="*/ 2777707 w 7467600"/>
              <a:gd name="connsiteY98" fmla="*/ 5003991 h 6858000"/>
              <a:gd name="connsiteX99" fmla="*/ 2800768 w 7467600"/>
              <a:gd name="connsiteY99" fmla="*/ 5010056 h 6858000"/>
              <a:gd name="connsiteX100" fmla="*/ 2879408 w 7467600"/>
              <a:gd name="connsiteY100" fmla="*/ 5031590 h 6858000"/>
              <a:gd name="connsiteX101" fmla="*/ 2862295 w 7467600"/>
              <a:gd name="connsiteY101" fmla="*/ 5022958 h 6858000"/>
              <a:gd name="connsiteX102" fmla="*/ 2813343 w 7467600"/>
              <a:gd name="connsiteY102" fmla="*/ 4998369 h 6858000"/>
              <a:gd name="connsiteX103" fmla="*/ 2646245 w 7467600"/>
              <a:gd name="connsiteY103" fmla="*/ 4930999 h 6858000"/>
              <a:gd name="connsiteX104" fmla="*/ 1999243 w 7467600"/>
              <a:gd name="connsiteY104" fmla="*/ 4730524 h 6858000"/>
              <a:gd name="connsiteX105" fmla="*/ 1979527 w 7467600"/>
              <a:gd name="connsiteY105" fmla="*/ 4726651 h 6858000"/>
              <a:gd name="connsiteX106" fmla="*/ 1927410 w 7467600"/>
              <a:gd name="connsiteY106" fmla="*/ 4716164 h 6858000"/>
              <a:gd name="connsiteX107" fmla="*/ 1997014 w 7467600"/>
              <a:gd name="connsiteY107" fmla="*/ 4698007 h 6858000"/>
              <a:gd name="connsiteX108" fmla="*/ 2005458 w 7467600"/>
              <a:gd name="connsiteY108" fmla="*/ 4699540 h 6858000"/>
              <a:gd name="connsiteX109" fmla="*/ 2657186 w 7467600"/>
              <a:gd name="connsiteY109" fmla="*/ 4901687 h 6858000"/>
              <a:gd name="connsiteX110" fmla="*/ 2826662 w 7467600"/>
              <a:gd name="connsiteY110" fmla="*/ 4970362 h 6858000"/>
              <a:gd name="connsiteX111" fmla="*/ 2876100 w 7467600"/>
              <a:gd name="connsiteY111" fmla="*/ 4995397 h 6858000"/>
              <a:gd name="connsiteX112" fmla="*/ 3042600 w 7467600"/>
              <a:gd name="connsiteY112" fmla="*/ 5059532 h 6858000"/>
              <a:gd name="connsiteX113" fmla="*/ 1997014 w 7467600"/>
              <a:gd name="connsiteY113" fmla="*/ 4698007 h 6858000"/>
              <a:gd name="connsiteX114" fmla="*/ 2305292 w 7467600"/>
              <a:gd name="connsiteY114" fmla="*/ 4219492 h 6858000"/>
              <a:gd name="connsiteX115" fmla="*/ 3360922 w 7467600"/>
              <a:gd name="connsiteY115" fmla="*/ 4529373 h 6858000"/>
              <a:gd name="connsiteX116" fmla="*/ 3492420 w 7467600"/>
              <a:gd name="connsiteY116" fmla="*/ 4510145 h 6858000"/>
              <a:gd name="connsiteX117" fmla="*/ 3364086 w 7467600"/>
              <a:gd name="connsiteY117" fmla="*/ 4480340 h 6858000"/>
              <a:gd name="connsiteX118" fmla="*/ 3225818 w 7467600"/>
              <a:gd name="connsiteY118" fmla="*/ 4411822 h 6858000"/>
              <a:gd name="connsiteX119" fmla="*/ 3129696 w 7467600"/>
              <a:gd name="connsiteY119" fmla="*/ 4360704 h 6858000"/>
              <a:gd name="connsiteX120" fmla="*/ 2814545 w 7467600"/>
              <a:gd name="connsiteY120" fmla="*/ 4282955 h 6858000"/>
              <a:gd name="connsiteX121" fmla="*/ 2305292 w 7467600"/>
              <a:gd name="connsiteY121" fmla="*/ 4219492 h 6858000"/>
              <a:gd name="connsiteX122" fmla="*/ 2626982 w 7467600"/>
              <a:gd name="connsiteY122" fmla="*/ 4206450 h 6858000"/>
              <a:gd name="connsiteX123" fmla="*/ 2490617 w 7467600"/>
              <a:gd name="connsiteY123" fmla="*/ 4206951 h 6858000"/>
              <a:gd name="connsiteX124" fmla="*/ 2819869 w 7467600"/>
              <a:gd name="connsiteY124" fmla="*/ 4252936 h 6858000"/>
              <a:gd name="connsiteX125" fmla="*/ 3143018 w 7467600"/>
              <a:gd name="connsiteY125" fmla="*/ 4332698 h 6858000"/>
              <a:gd name="connsiteX126" fmla="*/ 3241520 w 7467600"/>
              <a:gd name="connsiteY126" fmla="*/ 4385112 h 6858000"/>
              <a:gd name="connsiteX127" fmla="*/ 3374575 w 7467600"/>
              <a:gd name="connsiteY127" fmla="*/ 4451517 h 6858000"/>
              <a:gd name="connsiteX128" fmla="*/ 3505221 w 7467600"/>
              <a:gd name="connsiteY128" fmla="*/ 4480757 h 6858000"/>
              <a:gd name="connsiteX129" fmla="*/ 2626982 w 7467600"/>
              <a:gd name="connsiteY129" fmla="*/ 4206450 h 6858000"/>
              <a:gd name="connsiteX130" fmla="*/ 1310106 w 7467600"/>
              <a:gd name="connsiteY130" fmla="*/ 3943217 h 6858000"/>
              <a:gd name="connsiteX131" fmla="*/ 854994 w 7467600"/>
              <a:gd name="connsiteY131" fmla="*/ 4399136 h 6858000"/>
              <a:gd name="connsiteX132" fmla="*/ 742462 w 7467600"/>
              <a:gd name="connsiteY132" fmla="*/ 4594648 h 6858000"/>
              <a:gd name="connsiteX133" fmla="*/ 820602 w 7467600"/>
              <a:gd name="connsiteY133" fmla="*/ 4485915 h 6858000"/>
              <a:gd name="connsiteX134" fmla="*/ 878295 w 7467600"/>
              <a:gd name="connsiteY134" fmla="*/ 4403594 h 6858000"/>
              <a:gd name="connsiteX135" fmla="*/ 1240607 w 7467600"/>
              <a:gd name="connsiteY135" fmla="*/ 4010401 h 6858000"/>
              <a:gd name="connsiteX136" fmla="*/ 1310106 w 7467600"/>
              <a:gd name="connsiteY136" fmla="*/ 3943217 h 6858000"/>
              <a:gd name="connsiteX137" fmla="*/ 1423113 w 7467600"/>
              <a:gd name="connsiteY137" fmla="*/ 3874565 h 6858000"/>
              <a:gd name="connsiteX138" fmla="*/ 1260565 w 7467600"/>
              <a:gd name="connsiteY138" fmla="*/ 4031982 h 6858000"/>
              <a:gd name="connsiteX139" fmla="*/ 901900 w 7467600"/>
              <a:gd name="connsiteY139" fmla="*/ 4421236 h 6858000"/>
              <a:gd name="connsiteX140" fmla="*/ 845044 w 7467600"/>
              <a:gd name="connsiteY140" fmla="*/ 4502436 h 6858000"/>
              <a:gd name="connsiteX141" fmla="*/ 685926 w 7467600"/>
              <a:gd name="connsiteY141" fmla="*/ 4703069 h 6858000"/>
              <a:gd name="connsiteX142" fmla="*/ 684248 w 7467600"/>
              <a:gd name="connsiteY142" fmla="*/ 4706721 h 6858000"/>
              <a:gd name="connsiteX143" fmla="*/ 1423113 w 7467600"/>
              <a:gd name="connsiteY143" fmla="*/ 3874565 h 6858000"/>
              <a:gd name="connsiteX144" fmla="*/ 3316479 w 7467600"/>
              <a:gd name="connsiteY144" fmla="*/ 3872136 h 6858000"/>
              <a:gd name="connsiteX145" fmla="*/ 3546806 w 7467600"/>
              <a:gd name="connsiteY145" fmla="*/ 4356139 h 6858000"/>
              <a:gd name="connsiteX146" fmla="*/ 3364433 w 7467600"/>
              <a:gd name="connsiteY146" fmla="*/ 3953121 h 6858000"/>
              <a:gd name="connsiteX147" fmla="*/ 3316479 w 7467600"/>
              <a:gd name="connsiteY147" fmla="*/ 3872136 h 6858000"/>
              <a:gd name="connsiteX148" fmla="*/ 3291335 w 7467600"/>
              <a:gd name="connsiteY148" fmla="*/ 3767420 h 6858000"/>
              <a:gd name="connsiteX149" fmla="*/ 3390805 w 7467600"/>
              <a:gd name="connsiteY149" fmla="*/ 3937163 h 6858000"/>
              <a:gd name="connsiteX150" fmla="*/ 3579062 w 7467600"/>
              <a:gd name="connsiteY150" fmla="*/ 4359040 h 6858000"/>
              <a:gd name="connsiteX151" fmla="*/ 3467355 w 7467600"/>
              <a:gd name="connsiteY151" fmla="*/ 3988130 h 6858000"/>
              <a:gd name="connsiteX152" fmla="*/ 3310753 w 7467600"/>
              <a:gd name="connsiteY152" fmla="*/ 3787140 h 6858000"/>
              <a:gd name="connsiteX153" fmla="*/ 3291335 w 7467600"/>
              <a:gd name="connsiteY153" fmla="*/ 3767420 h 6858000"/>
              <a:gd name="connsiteX154" fmla="*/ 1635889 w 7467600"/>
              <a:gd name="connsiteY154" fmla="*/ 3709494 h 6858000"/>
              <a:gd name="connsiteX155" fmla="*/ 1634800 w 7467600"/>
              <a:gd name="connsiteY155" fmla="*/ 3731111 h 6858000"/>
              <a:gd name="connsiteX156" fmla="*/ 1635889 w 7467600"/>
              <a:gd name="connsiteY156" fmla="*/ 3709494 h 6858000"/>
              <a:gd name="connsiteX157" fmla="*/ 1510397 w 7467600"/>
              <a:gd name="connsiteY157" fmla="*/ 3684705 h 6858000"/>
              <a:gd name="connsiteX158" fmla="*/ 1146550 w 7467600"/>
              <a:gd name="connsiteY158" fmla="*/ 3802012 h 6858000"/>
              <a:gd name="connsiteX159" fmla="*/ 698834 w 7467600"/>
              <a:gd name="connsiteY159" fmla="*/ 3952272 h 6858000"/>
              <a:gd name="connsiteX160" fmla="*/ 34256 w 7467600"/>
              <a:gd name="connsiteY160" fmla="*/ 4347603 h 6858000"/>
              <a:gd name="connsiteX161" fmla="*/ 527241 w 7467600"/>
              <a:gd name="connsiteY161" fmla="*/ 4065078 h 6858000"/>
              <a:gd name="connsiteX162" fmla="*/ 1510397 w 7467600"/>
              <a:gd name="connsiteY162" fmla="*/ 3684705 h 6858000"/>
              <a:gd name="connsiteX163" fmla="*/ 1313114 w 7467600"/>
              <a:gd name="connsiteY163" fmla="*/ 3655216 h 6858000"/>
              <a:gd name="connsiteX164" fmla="*/ 1109304 w 7467600"/>
              <a:gd name="connsiteY164" fmla="*/ 3669030 h 6858000"/>
              <a:gd name="connsiteX165" fmla="*/ 8129 w 7467600"/>
              <a:gd name="connsiteY165" fmla="*/ 4330519 h 6858000"/>
              <a:gd name="connsiteX166" fmla="*/ 687572 w 7467600"/>
              <a:gd name="connsiteY166" fmla="*/ 3925629 h 6858000"/>
              <a:gd name="connsiteX167" fmla="*/ 1138365 w 7467600"/>
              <a:gd name="connsiteY167" fmla="*/ 3774515 h 6858000"/>
              <a:gd name="connsiteX168" fmla="*/ 1505579 w 7467600"/>
              <a:gd name="connsiteY168" fmla="*/ 3655526 h 6858000"/>
              <a:gd name="connsiteX169" fmla="*/ 1313114 w 7467600"/>
              <a:gd name="connsiteY169" fmla="*/ 3655216 h 6858000"/>
              <a:gd name="connsiteX170" fmla="*/ 3655073 w 7467600"/>
              <a:gd name="connsiteY170" fmla="*/ 3650884 h 6858000"/>
              <a:gd name="connsiteX171" fmla="*/ 3989938 w 7467600"/>
              <a:gd name="connsiteY171" fmla="*/ 3991685 h 6858000"/>
              <a:gd name="connsiteX172" fmla="*/ 4393907 w 7467600"/>
              <a:gd name="connsiteY172" fmla="*/ 4261258 h 6858000"/>
              <a:gd name="connsiteX173" fmla="*/ 4648051 w 7467600"/>
              <a:gd name="connsiteY173" fmla="*/ 4374051 h 6858000"/>
              <a:gd name="connsiteX174" fmla="*/ 4383389 w 7467600"/>
              <a:gd name="connsiteY174" fmla="*/ 4184369 h 6858000"/>
              <a:gd name="connsiteX175" fmla="*/ 4165508 w 7467600"/>
              <a:gd name="connsiteY175" fmla="*/ 4035196 h 6858000"/>
              <a:gd name="connsiteX176" fmla="*/ 4068162 w 7467600"/>
              <a:gd name="connsiteY176" fmla="*/ 3953394 h 6858000"/>
              <a:gd name="connsiteX177" fmla="*/ 3981416 w 7467600"/>
              <a:gd name="connsiteY177" fmla="*/ 3880482 h 6858000"/>
              <a:gd name="connsiteX178" fmla="*/ 3800147 w 7467600"/>
              <a:gd name="connsiteY178" fmla="*/ 3749872 h 6858000"/>
              <a:gd name="connsiteX179" fmla="*/ 3655073 w 7467600"/>
              <a:gd name="connsiteY179" fmla="*/ 3650884 h 6858000"/>
              <a:gd name="connsiteX180" fmla="*/ 3670252 w 7467600"/>
              <a:gd name="connsiteY180" fmla="*/ 3622798 h 6858000"/>
              <a:gd name="connsiteX181" fmla="*/ 3817258 w 7467600"/>
              <a:gd name="connsiteY181" fmla="*/ 3723577 h 6858000"/>
              <a:gd name="connsiteX182" fmla="*/ 4000461 w 7467600"/>
              <a:gd name="connsiteY182" fmla="*/ 3855966 h 6858000"/>
              <a:gd name="connsiteX183" fmla="*/ 4088180 w 7467600"/>
              <a:gd name="connsiteY183" fmla="*/ 3929774 h 6858000"/>
              <a:gd name="connsiteX184" fmla="*/ 4184555 w 7467600"/>
              <a:gd name="connsiteY184" fmla="*/ 4010683 h 6858000"/>
              <a:gd name="connsiteX185" fmla="*/ 4399563 w 7467600"/>
              <a:gd name="connsiteY185" fmla="*/ 4158106 h 6858000"/>
              <a:gd name="connsiteX186" fmla="*/ 4684469 w 7467600"/>
              <a:gd name="connsiteY186" fmla="*/ 4364680 h 6858000"/>
              <a:gd name="connsiteX187" fmla="*/ 4690271 w 7467600"/>
              <a:gd name="connsiteY187" fmla="*/ 4370034 h 6858000"/>
              <a:gd name="connsiteX188" fmla="*/ 4136093 w 7467600"/>
              <a:gd name="connsiteY188" fmla="*/ 3858466 h 6858000"/>
              <a:gd name="connsiteX189" fmla="*/ 3670252 w 7467600"/>
              <a:gd name="connsiteY189" fmla="*/ 3622798 h 6858000"/>
              <a:gd name="connsiteX190" fmla="*/ 4440129 w 7467600"/>
              <a:gd name="connsiteY190" fmla="*/ 3448571 h 6858000"/>
              <a:gd name="connsiteX191" fmla="*/ 4856525 w 7467600"/>
              <a:gd name="connsiteY191" fmla="*/ 3915351 h 6858000"/>
              <a:gd name="connsiteX192" fmla="*/ 5059055 w 7467600"/>
              <a:gd name="connsiteY192" fmla="*/ 4108918 h 6858000"/>
              <a:gd name="connsiteX193" fmla="*/ 5290070 w 7467600"/>
              <a:gd name="connsiteY193" fmla="*/ 4263619 h 6858000"/>
              <a:gd name="connsiteX194" fmla="*/ 4834991 w 7467600"/>
              <a:gd name="connsiteY194" fmla="*/ 3830985 h 6858000"/>
              <a:gd name="connsiteX195" fmla="*/ 4440129 w 7467600"/>
              <a:gd name="connsiteY195" fmla="*/ 3448571 h 6858000"/>
              <a:gd name="connsiteX196" fmla="*/ 4441737 w 7467600"/>
              <a:gd name="connsiteY196" fmla="*/ 3399734 h 6858000"/>
              <a:gd name="connsiteX197" fmla="*/ 4431236 w 7467600"/>
              <a:gd name="connsiteY197" fmla="*/ 3400954 h 6858000"/>
              <a:gd name="connsiteX198" fmla="*/ 4557150 w 7467600"/>
              <a:gd name="connsiteY198" fmla="*/ 3510023 h 6858000"/>
              <a:gd name="connsiteX199" fmla="*/ 4856936 w 7467600"/>
              <a:gd name="connsiteY199" fmla="*/ 3809146 h 6858000"/>
              <a:gd name="connsiteX200" fmla="*/ 5111996 w 7467600"/>
              <a:gd name="connsiteY200" fmla="*/ 4065759 h 6858000"/>
              <a:gd name="connsiteX201" fmla="*/ 5388878 w 7467600"/>
              <a:gd name="connsiteY201" fmla="*/ 4300185 h 6858000"/>
              <a:gd name="connsiteX202" fmla="*/ 5425556 w 7467600"/>
              <a:gd name="connsiteY202" fmla="*/ 4308967 h 6858000"/>
              <a:gd name="connsiteX203" fmla="*/ 4943646 w 7467600"/>
              <a:gd name="connsiteY203" fmla="*/ 3822916 h 6858000"/>
              <a:gd name="connsiteX204" fmla="*/ 4594837 w 7467600"/>
              <a:gd name="connsiteY204" fmla="*/ 3532274 h 6858000"/>
              <a:gd name="connsiteX205" fmla="*/ 4441737 w 7467600"/>
              <a:gd name="connsiteY205" fmla="*/ 3399734 h 6858000"/>
              <a:gd name="connsiteX206" fmla="*/ 5425834 w 7467600"/>
              <a:gd name="connsiteY206" fmla="*/ 3162785 h 6858000"/>
              <a:gd name="connsiteX207" fmla="*/ 5401644 w 7467600"/>
              <a:gd name="connsiteY207" fmla="*/ 3617847 h 6858000"/>
              <a:gd name="connsiteX208" fmla="*/ 5467256 w 7467600"/>
              <a:gd name="connsiteY208" fmla="*/ 4175494 h 6858000"/>
              <a:gd name="connsiteX209" fmla="*/ 5448069 w 7467600"/>
              <a:gd name="connsiteY209" fmla="*/ 3567554 h 6858000"/>
              <a:gd name="connsiteX210" fmla="*/ 5425834 w 7467600"/>
              <a:gd name="connsiteY210" fmla="*/ 3162785 h 6858000"/>
              <a:gd name="connsiteX211" fmla="*/ 1318687 w 7467600"/>
              <a:gd name="connsiteY211" fmla="*/ 3113840 h 6858000"/>
              <a:gd name="connsiteX212" fmla="*/ 1066793 w 7467600"/>
              <a:gd name="connsiteY212" fmla="*/ 3212171 h 6858000"/>
              <a:gd name="connsiteX213" fmla="*/ 993319 w 7467600"/>
              <a:gd name="connsiteY213" fmla="*/ 3247648 h 6858000"/>
              <a:gd name="connsiteX214" fmla="*/ 853081 w 7467600"/>
              <a:gd name="connsiteY214" fmla="*/ 3312410 h 6858000"/>
              <a:gd name="connsiteX215" fmla="*/ 805957 w 7467600"/>
              <a:gd name="connsiteY215" fmla="*/ 3330443 h 6858000"/>
              <a:gd name="connsiteX216" fmla="*/ 1318687 w 7467600"/>
              <a:gd name="connsiteY216" fmla="*/ 3113840 h 6858000"/>
              <a:gd name="connsiteX217" fmla="*/ 5453702 w 7467600"/>
              <a:gd name="connsiteY217" fmla="*/ 3090882 h 6858000"/>
              <a:gd name="connsiteX218" fmla="*/ 5480135 w 7467600"/>
              <a:gd name="connsiteY218" fmla="*/ 3565802 h 6858000"/>
              <a:gd name="connsiteX219" fmla="*/ 5499023 w 7467600"/>
              <a:gd name="connsiteY219" fmla="*/ 4166310 h 6858000"/>
              <a:gd name="connsiteX220" fmla="*/ 5547022 w 7467600"/>
              <a:gd name="connsiteY220" fmla="*/ 3607838 h 6858000"/>
              <a:gd name="connsiteX221" fmla="*/ 5515964 w 7467600"/>
              <a:gd name="connsiteY221" fmla="*/ 3378541 h 6858000"/>
              <a:gd name="connsiteX222" fmla="*/ 5453702 w 7467600"/>
              <a:gd name="connsiteY222" fmla="*/ 3090882 h 6858000"/>
              <a:gd name="connsiteX223" fmla="*/ 1238695 w 7467600"/>
              <a:gd name="connsiteY223" fmla="*/ 3076820 h 6858000"/>
              <a:gd name="connsiteX224" fmla="*/ 716371 w 7467600"/>
              <a:gd name="connsiteY224" fmla="*/ 3293249 h 6858000"/>
              <a:gd name="connsiteX225" fmla="*/ 579522 w 7467600"/>
              <a:gd name="connsiteY225" fmla="*/ 3371759 h 6858000"/>
              <a:gd name="connsiteX226" fmla="*/ 600288 w 7467600"/>
              <a:gd name="connsiteY226" fmla="*/ 3365555 h 6858000"/>
              <a:gd name="connsiteX227" fmla="*/ 840692 w 7467600"/>
              <a:gd name="connsiteY227" fmla="*/ 3284921 h 6858000"/>
              <a:gd name="connsiteX228" fmla="*/ 979248 w 7467600"/>
              <a:gd name="connsiteY228" fmla="*/ 3221003 h 6858000"/>
              <a:gd name="connsiteX229" fmla="*/ 1053282 w 7467600"/>
              <a:gd name="connsiteY229" fmla="*/ 3185247 h 6858000"/>
              <a:gd name="connsiteX230" fmla="*/ 1320603 w 7467600"/>
              <a:gd name="connsiteY230" fmla="*/ 3081281 h 6858000"/>
              <a:gd name="connsiteX231" fmla="*/ 1238695 w 7467600"/>
              <a:gd name="connsiteY231" fmla="*/ 3076820 h 6858000"/>
              <a:gd name="connsiteX232" fmla="*/ 5425627 w 7467600"/>
              <a:gd name="connsiteY232" fmla="*/ 2954192 h 6858000"/>
              <a:gd name="connsiteX233" fmla="*/ 5470770 w 7467600"/>
              <a:gd name="connsiteY233" fmla="*/ 3005435 h 6858000"/>
              <a:gd name="connsiteX234" fmla="*/ 5519779 w 7467600"/>
              <a:gd name="connsiteY234" fmla="*/ 4359223 h 6858000"/>
              <a:gd name="connsiteX235" fmla="*/ 5520293 w 7467600"/>
              <a:gd name="connsiteY235" fmla="*/ 4360602 h 6858000"/>
              <a:gd name="connsiteX236" fmla="*/ 5767221 w 7467600"/>
              <a:gd name="connsiteY236" fmla="*/ 4665564 h 6858000"/>
              <a:gd name="connsiteX237" fmla="*/ 6937169 w 7467600"/>
              <a:gd name="connsiteY237" fmla="*/ 4815941 h 6858000"/>
              <a:gd name="connsiteX238" fmla="*/ 6953922 w 7467600"/>
              <a:gd name="connsiteY238" fmla="*/ 4890068 h 6858000"/>
              <a:gd name="connsiteX239" fmla="*/ 6071359 w 7467600"/>
              <a:gd name="connsiteY239" fmla="*/ 4770770 h 6858000"/>
              <a:gd name="connsiteX240" fmla="*/ 6038839 w 7467600"/>
              <a:gd name="connsiteY240" fmla="*/ 4764474 h 6858000"/>
              <a:gd name="connsiteX241" fmla="*/ 6038706 w 7467600"/>
              <a:gd name="connsiteY241" fmla="*/ 4763847 h 6858000"/>
              <a:gd name="connsiteX242" fmla="*/ 6037784 w 7467600"/>
              <a:gd name="connsiteY242" fmla="*/ 4764270 h 6858000"/>
              <a:gd name="connsiteX243" fmla="*/ 6038839 w 7467600"/>
              <a:gd name="connsiteY243" fmla="*/ 4764474 h 6858000"/>
              <a:gd name="connsiteX244" fmla="*/ 6040338 w 7467600"/>
              <a:gd name="connsiteY244" fmla="*/ 4771418 h 6858000"/>
              <a:gd name="connsiteX245" fmla="*/ 6024488 w 7467600"/>
              <a:gd name="connsiteY245" fmla="*/ 4809903 h 6858000"/>
              <a:gd name="connsiteX246" fmla="*/ 5599771 w 7467600"/>
              <a:gd name="connsiteY246" fmla="*/ 5509652 h 6858000"/>
              <a:gd name="connsiteX247" fmla="*/ 5548843 w 7467600"/>
              <a:gd name="connsiteY247" fmla="*/ 5563845 h 6858000"/>
              <a:gd name="connsiteX248" fmla="*/ 5940952 w 7467600"/>
              <a:gd name="connsiteY248" fmla="*/ 6250028 h 6858000"/>
              <a:gd name="connsiteX249" fmla="*/ 6043441 w 7467600"/>
              <a:gd name="connsiteY249" fmla="*/ 6665847 h 6858000"/>
              <a:gd name="connsiteX250" fmla="*/ 6093432 w 7467600"/>
              <a:gd name="connsiteY250" fmla="*/ 6858000 h 6858000"/>
              <a:gd name="connsiteX251" fmla="*/ 6034344 w 7467600"/>
              <a:gd name="connsiteY251" fmla="*/ 6858000 h 6858000"/>
              <a:gd name="connsiteX252" fmla="*/ 6026679 w 7467600"/>
              <a:gd name="connsiteY252" fmla="*/ 6836959 h 6858000"/>
              <a:gd name="connsiteX253" fmla="*/ 5800441 w 7467600"/>
              <a:gd name="connsiteY253" fmla="*/ 6335286 h 6858000"/>
              <a:gd name="connsiteX254" fmla="*/ 5526562 w 7467600"/>
              <a:gd name="connsiteY254" fmla="*/ 5705388 h 6858000"/>
              <a:gd name="connsiteX255" fmla="*/ 5519640 w 7467600"/>
              <a:gd name="connsiteY255" fmla="*/ 5683774 h 6858000"/>
              <a:gd name="connsiteX256" fmla="*/ 5844559 w 7467600"/>
              <a:gd name="connsiteY256" fmla="*/ 6553349 h 6858000"/>
              <a:gd name="connsiteX257" fmla="*/ 5975994 w 7467600"/>
              <a:gd name="connsiteY257" fmla="*/ 6858000 h 6858000"/>
              <a:gd name="connsiteX258" fmla="*/ 5898547 w 7467600"/>
              <a:gd name="connsiteY258" fmla="*/ 6858000 h 6858000"/>
              <a:gd name="connsiteX259" fmla="*/ 5682041 w 7467600"/>
              <a:gd name="connsiteY259" fmla="*/ 6355860 h 6858000"/>
              <a:gd name="connsiteX260" fmla="*/ 5461758 w 7467600"/>
              <a:gd name="connsiteY260" fmla="*/ 5820220 h 6858000"/>
              <a:gd name="connsiteX261" fmla="*/ 5237282 w 7467600"/>
              <a:gd name="connsiteY261" fmla="*/ 6579086 h 6858000"/>
              <a:gd name="connsiteX262" fmla="*/ 5115009 w 7467600"/>
              <a:gd name="connsiteY262" fmla="*/ 6858000 h 6858000"/>
              <a:gd name="connsiteX263" fmla="*/ 5028074 w 7467600"/>
              <a:gd name="connsiteY263" fmla="*/ 6858000 h 6858000"/>
              <a:gd name="connsiteX264" fmla="*/ 5079508 w 7467600"/>
              <a:gd name="connsiteY264" fmla="*/ 6749074 h 6858000"/>
              <a:gd name="connsiteX265" fmla="*/ 5371846 w 7467600"/>
              <a:gd name="connsiteY265" fmla="*/ 5924413 h 6858000"/>
              <a:gd name="connsiteX266" fmla="*/ 5270512 w 7467600"/>
              <a:gd name="connsiteY266" fmla="*/ 6138975 h 6858000"/>
              <a:gd name="connsiteX267" fmla="*/ 5062409 w 7467600"/>
              <a:gd name="connsiteY267" fmla="*/ 6653544 h 6858000"/>
              <a:gd name="connsiteX268" fmla="*/ 5036628 w 7467600"/>
              <a:gd name="connsiteY268" fmla="*/ 6754247 h 6858000"/>
              <a:gd name="connsiteX269" fmla="*/ 5009112 w 7467600"/>
              <a:gd name="connsiteY269" fmla="*/ 6858000 h 6858000"/>
              <a:gd name="connsiteX270" fmla="*/ 4976679 w 7467600"/>
              <a:gd name="connsiteY270" fmla="*/ 6858000 h 6858000"/>
              <a:gd name="connsiteX271" fmla="*/ 5006537 w 7467600"/>
              <a:gd name="connsiteY271" fmla="*/ 6747068 h 6858000"/>
              <a:gd name="connsiteX272" fmla="*/ 5032723 w 7467600"/>
              <a:gd name="connsiteY272" fmla="*/ 6644957 h 6858000"/>
              <a:gd name="connsiteX273" fmla="*/ 5242949 w 7467600"/>
              <a:gd name="connsiteY273" fmla="*/ 6125175 h 6858000"/>
              <a:gd name="connsiteX274" fmla="*/ 5286321 w 7467600"/>
              <a:gd name="connsiteY274" fmla="*/ 6033555 h 6858000"/>
              <a:gd name="connsiteX275" fmla="*/ 5008210 w 7467600"/>
              <a:gd name="connsiteY275" fmla="*/ 6649194 h 6858000"/>
              <a:gd name="connsiteX276" fmla="*/ 4986321 w 7467600"/>
              <a:gd name="connsiteY276" fmla="*/ 6765687 h 6858000"/>
              <a:gd name="connsiteX277" fmla="*/ 4973474 w 7467600"/>
              <a:gd name="connsiteY277" fmla="*/ 6858000 h 6858000"/>
              <a:gd name="connsiteX278" fmla="*/ 4907178 w 7467600"/>
              <a:gd name="connsiteY278" fmla="*/ 6858000 h 6858000"/>
              <a:gd name="connsiteX279" fmla="*/ 4910810 w 7467600"/>
              <a:gd name="connsiteY279" fmla="*/ 6829660 h 6858000"/>
              <a:gd name="connsiteX280" fmla="*/ 4987461 w 7467600"/>
              <a:gd name="connsiteY280" fmla="*/ 6432994 h 6858000"/>
              <a:gd name="connsiteX281" fmla="*/ 5179262 w 7467600"/>
              <a:gd name="connsiteY281" fmla="*/ 6035044 h 6858000"/>
              <a:gd name="connsiteX282" fmla="*/ 4689678 w 7467600"/>
              <a:gd name="connsiteY282" fmla="*/ 6440241 h 6858000"/>
              <a:gd name="connsiteX283" fmla="*/ 4477543 w 7467600"/>
              <a:gd name="connsiteY283" fmla="*/ 6674836 h 6858000"/>
              <a:gd name="connsiteX284" fmla="*/ 4329957 w 7467600"/>
              <a:gd name="connsiteY284" fmla="*/ 6858000 h 6858000"/>
              <a:gd name="connsiteX285" fmla="*/ 4218595 w 7467600"/>
              <a:gd name="connsiteY285" fmla="*/ 6858000 h 6858000"/>
              <a:gd name="connsiteX286" fmla="*/ 4368888 w 7467600"/>
              <a:gd name="connsiteY286" fmla="*/ 6668412 h 6858000"/>
              <a:gd name="connsiteX287" fmla="*/ 4563091 w 7467600"/>
              <a:gd name="connsiteY287" fmla="*/ 6442508 h 6858000"/>
              <a:gd name="connsiteX288" fmla="*/ 5387324 w 7467600"/>
              <a:gd name="connsiteY288" fmla="*/ 5705830 h 6858000"/>
              <a:gd name="connsiteX289" fmla="*/ 5073620 w 7467600"/>
              <a:gd name="connsiteY289" fmla="*/ 5955437 h 6858000"/>
              <a:gd name="connsiteX290" fmla="*/ 4689789 w 7467600"/>
              <a:gd name="connsiteY290" fmla="*/ 6268382 h 6858000"/>
              <a:gd name="connsiteX291" fmla="*/ 4418722 w 7467600"/>
              <a:gd name="connsiteY291" fmla="*/ 6570886 h 6858000"/>
              <a:gd name="connsiteX292" fmla="*/ 4214944 w 7467600"/>
              <a:gd name="connsiteY292" fmla="*/ 6858000 h 6858000"/>
              <a:gd name="connsiteX293" fmla="*/ 4177898 w 7467600"/>
              <a:gd name="connsiteY293" fmla="*/ 6858000 h 6858000"/>
              <a:gd name="connsiteX294" fmla="*/ 4391597 w 7467600"/>
              <a:gd name="connsiteY294" fmla="*/ 6556370 h 6858000"/>
              <a:gd name="connsiteX295" fmla="*/ 4668889 w 7467600"/>
              <a:gd name="connsiteY295" fmla="*/ 6246399 h 6858000"/>
              <a:gd name="connsiteX296" fmla="*/ 5055427 w 7467600"/>
              <a:gd name="connsiteY296" fmla="*/ 5931476 h 6858000"/>
              <a:gd name="connsiteX297" fmla="*/ 5371814 w 7467600"/>
              <a:gd name="connsiteY297" fmla="*/ 5678975 h 6858000"/>
              <a:gd name="connsiteX298" fmla="*/ 4987918 w 7467600"/>
              <a:gd name="connsiteY298" fmla="*/ 5838701 h 6858000"/>
              <a:gd name="connsiteX299" fmla="*/ 4317146 w 7467600"/>
              <a:gd name="connsiteY299" fmla="*/ 6587716 h 6858000"/>
              <a:gd name="connsiteX300" fmla="*/ 4171627 w 7467600"/>
              <a:gd name="connsiteY300" fmla="*/ 6858000 h 6858000"/>
              <a:gd name="connsiteX301" fmla="*/ 4081585 w 7467600"/>
              <a:gd name="connsiteY301" fmla="*/ 6858000 h 6858000"/>
              <a:gd name="connsiteX302" fmla="*/ 4238603 w 7467600"/>
              <a:gd name="connsiteY302" fmla="*/ 6559341 h 6858000"/>
              <a:gd name="connsiteX303" fmla="*/ 4778333 w 7467600"/>
              <a:gd name="connsiteY303" fmla="*/ 5873626 h 6858000"/>
              <a:gd name="connsiteX304" fmla="*/ 5414185 w 7467600"/>
              <a:gd name="connsiteY304" fmla="*/ 5573882 h 6858000"/>
              <a:gd name="connsiteX305" fmla="*/ 5959648 w 7467600"/>
              <a:gd name="connsiteY305" fmla="*/ 4760797 h 6858000"/>
              <a:gd name="connsiteX306" fmla="*/ 5355019 w 7467600"/>
              <a:gd name="connsiteY306" fmla="*/ 4734672 h 6858000"/>
              <a:gd name="connsiteX307" fmla="*/ 5083565 w 7467600"/>
              <a:gd name="connsiteY307" fmla="*/ 5179121 h 6858000"/>
              <a:gd name="connsiteX308" fmla="*/ 4713577 w 7467600"/>
              <a:gd name="connsiteY308" fmla="*/ 5616803 h 6858000"/>
              <a:gd name="connsiteX309" fmla="*/ 3989559 w 7467600"/>
              <a:gd name="connsiteY309" fmla="*/ 6145945 h 6858000"/>
              <a:gd name="connsiteX310" fmla="*/ 3939824 w 7467600"/>
              <a:gd name="connsiteY310" fmla="*/ 6066900 h 6858000"/>
              <a:gd name="connsiteX311" fmla="*/ 4584537 w 7467600"/>
              <a:gd name="connsiteY311" fmla="*/ 5324826 h 6858000"/>
              <a:gd name="connsiteX312" fmla="*/ 5037105 w 7467600"/>
              <a:gd name="connsiteY312" fmla="*/ 5088765 h 6858000"/>
              <a:gd name="connsiteX313" fmla="*/ 5039930 w 7467600"/>
              <a:gd name="connsiteY313" fmla="*/ 5089585 h 6858000"/>
              <a:gd name="connsiteX314" fmla="*/ 5263764 w 7467600"/>
              <a:gd name="connsiteY314" fmla="*/ 4735525 h 6858000"/>
              <a:gd name="connsiteX315" fmla="*/ 4086300 w 7467600"/>
              <a:gd name="connsiteY315" fmla="*/ 4884599 h 6858000"/>
              <a:gd name="connsiteX316" fmla="*/ 4085485 w 7467600"/>
              <a:gd name="connsiteY316" fmla="*/ 4899070 h 6858000"/>
              <a:gd name="connsiteX317" fmla="*/ 3871915 w 7467600"/>
              <a:gd name="connsiteY317" fmla="*/ 5253645 h 6858000"/>
              <a:gd name="connsiteX318" fmla="*/ 3799374 w 7467600"/>
              <a:gd name="connsiteY318" fmla="*/ 5466127 h 6858000"/>
              <a:gd name="connsiteX319" fmla="*/ 3498850 w 7467600"/>
              <a:gd name="connsiteY319" fmla="*/ 6661888 h 6858000"/>
              <a:gd name="connsiteX320" fmla="*/ 3399216 w 7467600"/>
              <a:gd name="connsiteY320" fmla="*/ 6858000 h 6858000"/>
              <a:gd name="connsiteX321" fmla="*/ 3303688 w 7467600"/>
              <a:gd name="connsiteY321" fmla="*/ 6858000 h 6858000"/>
              <a:gd name="connsiteX322" fmla="*/ 3391774 w 7467600"/>
              <a:gd name="connsiteY322" fmla="*/ 6697181 h 6858000"/>
              <a:gd name="connsiteX323" fmla="*/ 3735540 w 7467600"/>
              <a:gd name="connsiteY323" fmla="*/ 5546923 h 6858000"/>
              <a:gd name="connsiteX324" fmla="*/ 3729438 w 7467600"/>
              <a:gd name="connsiteY324" fmla="*/ 5569058 h 6858000"/>
              <a:gd name="connsiteX325" fmla="*/ 3707782 w 7467600"/>
              <a:gd name="connsiteY325" fmla="*/ 5644908 h 6858000"/>
              <a:gd name="connsiteX326" fmla="*/ 3583827 w 7467600"/>
              <a:gd name="connsiteY326" fmla="*/ 6039215 h 6858000"/>
              <a:gd name="connsiteX327" fmla="*/ 3547861 w 7467600"/>
              <a:gd name="connsiteY327" fmla="*/ 6129609 h 6858000"/>
              <a:gd name="connsiteX328" fmla="*/ 3490905 w 7467600"/>
              <a:gd name="connsiteY328" fmla="*/ 6277660 h 6858000"/>
              <a:gd name="connsiteX329" fmla="*/ 3455859 w 7467600"/>
              <a:gd name="connsiteY329" fmla="*/ 6391301 h 6858000"/>
              <a:gd name="connsiteX330" fmla="*/ 3429112 w 7467600"/>
              <a:gd name="connsiteY330" fmla="*/ 6479469 h 6858000"/>
              <a:gd name="connsiteX331" fmla="*/ 3304862 w 7467600"/>
              <a:gd name="connsiteY331" fmla="*/ 6796476 h 6858000"/>
              <a:gd name="connsiteX332" fmla="*/ 3276071 w 7467600"/>
              <a:gd name="connsiteY332" fmla="*/ 6858000 h 6858000"/>
              <a:gd name="connsiteX333" fmla="*/ 3240805 w 7467600"/>
              <a:gd name="connsiteY333" fmla="*/ 6858000 h 6858000"/>
              <a:gd name="connsiteX334" fmla="*/ 3275917 w 7467600"/>
              <a:gd name="connsiteY334" fmla="*/ 6783192 h 6858000"/>
              <a:gd name="connsiteX335" fmla="*/ 3399358 w 7467600"/>
              <a:gd name="connsiteY335" fmla="*/ 6469011 h 6858000"/>
              <a:gd name="connsiteX336" fmla="*/ 3425650 w 7467600"/>
              <a:gd name="connsiteY336" fmla="*/ 6381333 h 6858000"/>
              <a:gd name="connsiteX337" fmla="*/ 3460661 w 7467600"/>
              <a:gd name="connsiteY337" fmla="*/ 6266763 h 6858000"/>
              <a:gd name="connsiteX338" fmla="*/ 3518021 w 7467600"/>
              <a:gd name="connsiteY338" fmla="*/ 6117298 h 6858000"/>
              <a:gd name="connsiteX339" fmla="*/ 3554035 w 7467600"/>
              <a:gd name="connsiteY339" fmla="*/ 6027832 h 6858000"/>
              <a:gd name="connsiteX340" fmla="*/ 3677174 w 7467600"/>
              <a:gd name="connsiteY340" fmla="*/ 5636351 h 6858000"/>
              <a:gd name="connsiteX341" fmla="*/ 3698819 w 7467600"/>
              <a:gd name="connsiteY341" fmla="*/ 5560503 h 6858000"/>
              <a:gd name="connsiteX342" fmla="*/ 3702094 w 7467600"/>
              <a:gd name="connsiteY342" fmla="*/ 5549194 h 6858000"/>
              <a:gd name="connsiteX343" fmla="*/ 3398355 w 7467600"/>
              <a:gd name="connsiteY343" fmla="*/ 6094603 h 6858000"/>
              <a:gd name="connsiteX344" fmla="*/ 3193941 w 7467600"/>
              <a:gd name="connsiteY344" fmla="*/ 6798775 h 6858000"/>
              <a:gd name="connsiteX345" fmla="*/ 3184140 w 7467600"/>
              <a:gd name="connsiteY345" fmla="*/ 6858000 h 6858000"/>
              <a:gd name="connsiteX346" fmla="*/ 3099978 w 7467600"/>
              <a:gd name="connsiteY346" fmla="*/ 6858000 h 6858000"/>
              <a:gd name="connsiteX347" fmla="*/ 3101556 w 7467600"/>
              <a:gd name="connsiteY347" fmla="*/ 6843337 h 6858000"/>
              <a:gd name="connsiteX348" fmla="*/ 3370162 w 7467600"/>
              <a:gd name="connsiteY348" fmla="*/ 5785550 h 6858000"/>
              <a:gd name="connsiteX349" fmla="*/ 3746477 w 7467600"/>
              <a:gd name="connsiteY349" fmla="*/ 5377889 h 6858000"/>
              <a:gd name="connsiteX350" fmla="*/ 3863399 w 7467600"/>
              <a:gd name="connsiteY350" fmla="*/ 5087257 h 6858000"/>
              <a:gd name="connsiteX351" fmla="*/ 3968712 w 7467600"/>
              <a:gd name="connsiteY351" fmla="*/ 4913989 h 6858000"/>
              <a:gd name="connsiteX352" fmla="*/ 2792390 w 7467600"/>
              <a:gd name="connsiteY352" fmla="*/ 5382974 h 6858000"/>
              <a:gd name="connsiteX353" fmla="*/ 2714982 w 7467600"/>
              <a:gd name="connsiteY353" fmla="*/ 5427051 h 6858000"/>
              <a:gd name="connsiteX354" fmla="*/ 2813361 w 7467600"/>
              <a:gd name="connsiteY354" fmla="*/ 6023912 h 6858000"/>
              <a:gd name="connsiteX355" fmla="*/ 2688430 w 7467600"/>
              <a:gd name="connsiteY355" fmla="*/ 6801564 h 6858000"/>
              <a:gd name="connsiteX356" fmla="*/ 2629626 w 7467600"/>
              <a:gd name="connsiteY356" fmla="*/ 6763394 h 6858000"/>
              <a:gd name="connsiteX357" fmla="*/ 2565328 w 7467600"/>
              <a:gd name="connsiteY357" fmla="*/ 5516399 h 6858000"/>
              <a:gd name="connsiteX358" fmla="*/ 1922999 w 7467600"/>
              <a:gd name="connsiteY358" fmla="*/ 5980343 h 6858000"/>
              <a:gd name="connsiteX359" fmla="*/ 1950261 w 7467600"/>
              <a:gd name="connsiteY359" fmla="*/ 6405858 h 6858000"/>
              <a:gd name="connsiteX360" fmla="*/ 2365554 w 7467600"/>
              <a:gd name="connsiteY360" fmla="*/ 6759107 h 6858000"/>
              <a:gd name="connsiteX361" fmla="*/ 2424142 w 7467600"/>
              <a:gd name="connsiteY361" fmla="*/ 6858000 h 6858000"/>
              <a:gd name="connsiteX362" fmla="*/ 2395994 w 7467600"/>
              <a:gd name="connsiteY362" fmla="*/ 6858000 h 6858000"/>
              <a:gd name="connsiteX363" fmla="*/ 2392863 w 7467600"/>
              <a:gd name="connsiteY363" fmla="*/ 6852964 h 6858000"/>
              <a:gd name="connsiteX364" fmla="*/ 2017589 w 7467600"/>
              <a:gd name="connsiteY364" fmla="*/ 6493982 h 6858000"/>
              <a:gd name="connsiteX365" fmla="*/ 2147336 w 7467600"/>
              <a:gd name="connsiteY365" fmla="*/ 6594052 h 6858000"/>
              <a:gd name="connsiteX366" fmla="*/ 2207047 w 7467600"/>
              <a:gd name="connsiteY366" fmla="*/ 6654540 h 6858000"/>
              <a:gd name="connsiteX367" fmla="*/ 2299106 w 7467600"/>
              <a:gd name="connsiteY367" fmla="*/ 6778931 h 6858000"/>
              <a:gd name="connsiteX368" fmla="*/ 2314430 w 7467600"/>
              <a:gd name="connsiteY368" fmla="*/ 6801144 h 6858000"/>
              <a:gd name="connsiteX369" fmla="*/ 2352406 w 7467600"/>
              <a:gd name="connsiteY369" fmla="*/ 6858000 h 6858000"/>
              <a:gd name="connsiteX370" fmla="*/ 2314492 w 7467600"/>
              <a:gd name="connsiteY370" fmla="*/ 6858000 h 6858000"/>
              <a:gd name="connsiteX371" fmla="*/ 2288095 w 7467600"/>
              <a:gd name="connsiteY371" fmla="*/ 6818030 h 6858000"/>
              <a:gd name="connsiteX372" fmla="*/ 2272768 w 7467600"/>
              <a:gd name="connsiteY372" fmla="*/ 6795822 h 6858000"/>
              <a:gd name="connsiteX373" fmla="*/ 2182715 w 7467600"/>
              <a:gd name="connsiteY373" fmla="*/ 6675071 h 6858000"/>
              <a:gd name="connsiteX374" fmla="*/ 2032061 w 7467600"/>
              <a:gd name="connsiteY374" fmla="*/ 6541380 h 6858000"/>
              <a:gd name="connsiteX375" fmla="*/ 2257220 w 7467600"/>
              <a:gd name="connsiteY375" fmla="*/ 6826257 h 6858000"/>
              <a:gd name="connsiteX376" fmla="*/ 2281324 w 7467600"/>
              <a:gd name="connsiteY376" fmla="*/ 6858000 h 6858000"/>
              <a:gd name="connsiteX377" fmla="*/ 2242860 w 7467600"/>
              <a:gd name="connsiteY377" fmla="*/ 6858000 h 6858000"/>
              <a:gd name="connsiteX378" fmla="*/ 2232818 w 7467600"/>
              <a:gd name="connsiteY378" fmla="*/ 6844926 h 6858000"/>
              <a:gd name="connsiteX379" fmla="*/ 1990172 w 7467600"/>
              <a:gd name="connsiteY379" fmla="*/ 6542121 h 6858000"/>
              <a:gd name="connsiteX380" fmla="*/ 2124090 w 7467600"/>
              <a:gd name="connsiteY380" fmla="*/ 6761017 h 6858000"/>
              <a:gd name="connsiteX381" fmla="*/ 2200380 w 7467600"/>
              <a:gd name="connsiteY381" fmla="*/ 6858000 h 6858000"/>
              <a:gd name="connsiteX382" fmla="*/ 2147507 w 7467600"/>
              <a:gd name="connsiteY382" fmla="*/ 6858000 h 6858000"/>
              <a:gd name="connsiteX383" fmla="*/ 2070668 w 7467600"/>
              <a:gd name="connsiteY383" fmla="*/ 6761520 h 6858000"/>
              <a:gd name="connsiteX384" fmla="*/ 1975142 w 7467600"/>
              <a:gd name="connsiteY384" fmla="*/ 6585570 h 6858000"/>
              <a:gd name="connsiteX385" fmla="*/ 2050035 w 7467600"/>
              <a:gd name="connsiteY385" fmla="*/ 6813345 h 6858000"/>
              <a:gd name="connsiteX386" fmla="*/ 2063025 w 7467600"/>
              <a:gd name="connsiteY386" fmla="*/ 6858000 h 6858000"/>
              <a:gd name="connsiteX387" fmla="*/ 2021675 w 7467600"/>
              <a:gd name="connsiteY387" fmla="*/ 6858000 h 6858000"/>
              <a:gd name="connsiteX388" fmla="*/ 2019308 w 7467600"/>
              <a:gd name="connsiteY388" fmla="*/ 6847118 h 6858000"/>
              <a:gd name="connsiteX389" fmla="*/ 1938835 w 7467600"/>
              <a:gd name="connsiteY389" fmla="*/ 6551160 h 6858000"/>
              <a:gd name="connsiteX390" fmla="*/ 1953230 w 7467600"/>
              <a:gd name="connsiteY390" fmla="*/ 6759699 h 6858000"/>
              <a:gd name="connsiteX391" fmla="*/ 1956763 w 7467600"/>
              <a:gd name="connsiteY391" fmla="*/ 6778191 h 6858000"/>
              <a:gd name="connsiteX392" fmla="*/ 1967925 w 7467600"/>
              <a:gd name="connsiteY392" fmla="*/ 6858000 h 6858000"/>
              <a:gd name="connsiteX393" fmla="*/ 1936622 w 7467600"/>
              <a:gd name="connsiteY393" fmla="*/ 6858000 h 6858000"/>
              <a:gd name="connsiteX394" fmla="*/ 1926261 w 7467600"/>
              <a:gd name="connsiteY394" fmla="*/ 6784064 h 6858000"/>
              <a:gd name="connsiteX395" fmla="*/ 1922724 w 7467600"/>
              <a:gd name="connsiteY395" fmla="*/ 6765577 h 6858000"/>
              <a:gd name="connsiteX396" fmla="*/ 1904650 w 7467600"/>
              <a:gd name="connsiteY396" fmla="*/ 6639616 h 6858000"/>
              <a:gd name="connsiteX397" fmla="*/ 1885273 w 7467600"/>
              <a:gd name="connsiteY397" fmla="*/ 6858000 h 6858000"/>
              <a:gd name="connsiteX398" fmla="*/ 1854363 w 7467600"/>
              <a:gd name="connsiteY398" fmla="*/ 6858000 h 6858000"/>
              <a:gd name="connsiteX399" fmla="*/ 1880391 w 7467600"/>
              <a:gd name="connsiteY399" fmla="*/ 6603796 h 6858000"/>
              <a:gd name="connsiteX400" fmla="*/ 1818273 w 7467600"/>
              <a:gd name="connsiteY400" fmla="*/ 6715729 h 6858000"/>
              <a:gd name="connsiteX401" fmla="*/ 1794691 w 7467600"/>
              <a:gd name="connsiteY401" fmla="*/ 6843239 h 6858000"/>
              <a:gd name="connsiteX402" fmla="*/ 1794914 w 7467600"/>
              <a:gd name="connsiteY402" fmla="*/ 6858000 h 6858000"/>
              <a:gd name="connsiteX403" fmla="*/ 1746128 w 7467600"/>
              <a:gd name="connsiteY403" fmla="*/ 6858000 h 6858000"/>
              <a:gd name="connsiteX404" fmla="*/ 1753934 w 7467600"/>
              <a:gd name="connsiteY404" fmla="*/ 6724796 h 6858000"/>
              <a:gd name="connsiteX405" fmla="*/ 1792053 w 7467600"/>
              <a:gd name="connsiteY405" fmla="*/ 6572396 h 6858000"/>
              <a:gd name="connsiteX406" fmla="*/ 1862248 w 7467600"/>
              <a:gd name="connsiteY406" fmla="*/ 6266397 h 6858000"/>
              <a:gd name="connsiteX407" fmla="*/ 1862250 w 7467600"/>
              <a:gd name="connsiteY407" fmla="*/ 6033531 h 6858000"/>
              <a:gd name="connsiteX408" fmla="*/ 1211999 w 7467600"/>
              <a:gd name="connsiteY408" fmla="*/ 6683610 h 6858000"/>
              <a:gd name="connsiteX409" fmla="*/ 1213266 w 7467600"/>
              <a:gd name="connsiteY409" fmla="*/ 6691947 h 6858000"/>
              <a:gd name="connsiteX410" fmla="*/ 1203370 w 7467600"/>
              <a:gd name="connsiteY410" fmla="*/ 6850676 h 6858000"/>
              <a:gd name="connsiteX411" fmla="*/ 1203671 w 7467600"/>
              <a:gd name="connsiteY411" fmla="*/ 6858000 h 6858000"/>
              <a:gd name="connsiteX412" fmla="*/ 1143180 w 7467600"/>
              <a:gd name="connsiteY412" fmla="*/ 6858000 h 6858000"/>
              <a:gd name="connsiteX413" fmla="*/ 1142176 w 7467600"/>
              <a:gd name="connsiteY413" fmla="*/ 6766045 h 6858000"/>
              <a:gd name="connsiteX414" fmla="*/ 1067484 w 7467600"/>
              <a:gd name="connsiteY414" fmla="*/ 6858000 h 6858000"/>
              <a:gd name="connsiteX415" fmla="*/ 953928 w 7467600"/>
              <a:gd name="connsiteY415" fmla="*/ 6858000 h 6858000"/>
              <a:gd name="connsiteX416" fmla="*/ 959715 w 7467600"/>
              <a:gd name="connsiteY416" fmla="*/ 6850185 h 6858000"/>
              <a:gd name="connsiteX417" fmla="*/ 1483788 w 7467600"/>
              <a:gd name="connsiteY417" fmla="*/ 6259174 h 6858000"/>
              <a:gd name="connsiteX418" fmla="*/ 1100671 w 7467600"/>
              <a:gd name="connsiteY418" fmla="*/ 6252137 h 6858000"/>
              <a:gd name="connsiteX419" fmla="*/ 1090144 w 7467600"/>
              <a:gd name="connsiteY419" fmla="*/ 6256748 h 6858000"/>
              <a:gd name="connsiteX420" fmla="*/ 1095872 w 7467600"/>
              <a:gd name="connsiteY420" fmla="*/ 6271892 h 6858000"/>
              <a:gd name="connsiteX421" fmla="*/ 262785 w 7467600"/>
              <a:gd name="connsiteY421" fmla="*/ 6845450 h 6858000"/>
              <a:gd name="connsiteX422" fmla="*/ 209968 w 7467600"/>
              <a:gd name="connsiteY422" fmla="*/ 6770713 h 6858000"/>
              <a:gd name="connsiteX423" fmla="*/ 873460 w 7467600"/>
              <a:gd name="connsiteY423" fmla="*/ 6253768 h 6858000"/>
              <a:gd name="connsiteX424" fmla="*/ 192686 w 7467600"/>
              <a:gd name="connsiteY424" fmla="*/ 5849257 h 6858000"/>
              <a:gd name="connsiteX425" fmla="*/ 4696 w 7467600"/>
              <a:gd name="connsiteY425" fmla="*/ 5697668 h 6858000"/>
              <a:gd name="connsiteX426" fmla="*/ 0 w 7467600"/>
              <a:gd name="connsiteY426" fmla="*/ 5689984 h 6858000"/>
              <a:gd name="connsiteX427" fmla="*/ 0 w 7467600"/>
              <a:gd name="connsiteY427" fmla="*/ 5513472 h 6858000"/>
              <a:gd name="connsiteX428" fmla="*/ 174101 w 7467600"/>
              <a:gd name="connsiteY428" fmla="*/ 5620277 h 6858000"/>
              <a:gd name="connsiteX429" fmla="*/ 891800 w 7467600"/>
              <a:gd name="connsiteY429" fmla="*/ 6036935 h 6858000"/>
              <a:gd name="connsiteX430" fmla="*/ 1072219 w 7467600"/>
              <a:gd name="connsiteY430" fmla="*/ 6169443 h 6858000"/>
              <a:gd name="connsiteX431" fmla="*/ 1074117 w 7467600"/>
              <a:gd name="connsiteY431" fmla="*/ 6170301 h 6858000"/>
              <a:gd name="connsiteX432" fmla="*/ 1083114 w 7467600"/>
              <a:gd name="connsiteY432" fmla="*/ 6174131 h 6858000"/>
              <a:gd name="connsiteX433" fmla="*/ 1543010 w 7467600"/>
              <a:gd name="connsiteY433" fmla="*/ 6191140 h 6858000"/>
              <a:gd name="connsiteX434" fmla="*/ 1551080 w 7467600"/>
              <a:gd name="connsiteY434" fmla="*/ 6195006 h 6858000"/>
              <a:gd name="connsiteX435" fmla="*/ 2345443 w 7467600"/>
              <a:gd name="connsiteY435" fmla="*/ 5549882 h 6858000"/>
              <a:gd name="connsiteX436" fmla="*/ 1721499 w 7467600"/>
              <a:gd name="connsiteY436" fmla="*/ 5599969 h 6858000"/>
              <a:gd name="connsiteX437" fmla="*/ 767716 w 7467600"/>
              <a:gd name="connsiteY437" fmla="*/ 5472768 h 6858000"/>
              <a:gd name="connsiteX438" fmla="*/ 722147 w 7467600"/>
              <a:gd name="connsiteY438" fmla="*/ 5393091 h 6858000"/>
              <a:gd name="connsiteX439" fmla="*/ 1485552 w 7467600"/>
              <a:gd name="connsiteY439" fmla="*/ 5313202 h 6858000"/>
              <a:gd name="connsiteX440" fmla="*/ 2143004 w 7467600"/>
              <a:gd name="connsiteY440" fmla="*/ 5402420 h 6858000"/>
              <a:gd name="connsiteX441" fmla="*/ 1933391 w 7467600"/>
              <a:gd name="connsiteY441" fmla="*/ 5156971 h 6858000"/>
              <a:gd name="connsiteX442" fmla="*/ 1827118 w 7467600"/>
              <a:gd name="connsiteY442" fmla="*/ 4968410 h 6858000"/>
              <a:gd name="connsiteX443" fmla="*/ 1837349 w 7467600"/>
              <a:gd name="connsiteY443" fmla="*/ 4956357 h 6858000"/>
              <a:gd name="connsiteX444" fmla="*/ 2162835 w 7467600"/>
              <a:gd name="connsiteY444" fmla="*/ 5187853 h 6858000"/>
              <a:gd name="connsiteX445" fmla="*/ 2257167 w 7467600"/>
              <a:gd name="connsiteY445" fmla="*/ 5462123 h 6858000"/>
              <a:gd name="connsiteX446" fmla="*/ 2261598 w 7467600"/>
              <a:gd name="connsiteY446" fmla="*/ 5467998 h 6858000"/>
              <a:gd name="connsiteX447" fmla="*/ 2437177 w 7467600"/>
              <a:gd name="connsiteY447" fmla="*/ 5479608 h 6858000"/>
              <a:gd name="connsiteX448" fmla="*/ 2445247 w 7467600"/>
              <a:gd name="connsiteY448" fmla="*/ 5483476 h 6858000"/>
              <a:gd name="connsiteX449" fmla="*/ 2743626 w 7467600"/>
              <a:gd name="connsiteY449" fmla="*/ 5304819 h 6858000"/>
              <a:gd name="connsiteX450" fmla="*/ 3048102 w 7467600"/>
              <a:gd name="connsiteY450" fmla="*/ 5150595 h 6858000"/>
              <a:gd name="connsiteX451" fmla="*/ 1799414 w 7467600"/>
              <a:gd name="connsiteY451" fmla="*/ 4694732 h 6858000"/>
              <a:gd name="connsiteX452" fmla="*/ 1771735 w 7467600"/>
              <a:gd name="connsiteY452" fmla="*/ 4619929 h 6858000"/>
              <a:gd name="connsiteX453" fmla="*/ 3104273 w 7467600"/>
              <a:gd name="connsiteY453" fmla="*/ 5076159 h 6858000"/>
              <a:gd name="connsiteX454" fmla="*/ 3113245 w 7467600"/>
              <a:gd name="connsiteY454" fmla="*/ 5090705 h 6858000"/>
              <a:gd name="connsiteX455" fmla="*/ 3126294 w 7467600"/>
              <a:gd name="connsiteY455" fmla="*/ 5114400 h 6858000"/>
              <a:gd name="connsiteX456" fmla="*/ 3937433 w 7467600"/>
              <a:gd name="connsiteY456" fmla="*/ 4830473 h 6858000"/>
              <a:gd name="connsiteX457" fmla="*/ 3590475 w 7467600"/>
              <a:gd name="connsiteY457" fmla="*/ 4597974 h 6858000"/>
              <a:gd name="connsiteX458" fmla="*/ 3100264 w 7467600"/>
              <a:gd name="connsiteY458" fmla="*/ 4579845 h 6858000"/>
              <a:gd name="connsiteX459" fmla="*/ 2183576 w 7467600"/>
              <a:gd name="connsiteY459" fmla="*/ 4227150 h 6858000"/>
              <a:gd name="connsiteX460" fmla="*/ 2151029 w 7467600"/>
              <a:gd name="connsiteY460" fmla="*/ 4146947 h 6858000"/>
              <a:gd name="connsiteX461" fmla="*/ 3563434 w 7467600"/>
              <a:gd name="connsiteY461" fmla="*/ 4469115 h 6858000"/>
              <a:gd name="connsiteX462" fmla="*/ 3177952 w 7467600"/>
              <a:gd name="connsiteY462" fmla="*/ 3657386 h 6858000"/>
              <a:gd name="connsiteX463" fmla="*/ 3189263 w 7467600"/>
              <a:gd name="connsiteY463" fmla="*/ 3625726 h 6858000"/>
              <a:gd name="connsiteX464" fmla="*/ 3560912 w 7467600"/>
              <a:gd name="connsiteY464" fmla="*/ 4079863 h 6858000"/>
              <a:gd name="connsiteX465" fmla="*/ 3626636 w 7467600"/>
              <a:gd name="connsiteY465" fmla="*/ 4512230 h 6858000"/>
              <a:gd name="connsiteX466" fmla="*/ 3653088 w 7467600"/>
              <a:gd name="connsiteY466" fmla="*/ 4521417 h 6858000"/>
              <a:gd name="connsiteX467" fmla="*/ 3988128 w 7467600"/>
              <a:gd name="connsiteY467" fmla="*/ 4817267 h 6858000"/>
              <a:gd name="connsiteX468" fmla="*/ 4830582 w 7467600"/>
              <a:gd name="connsiteY468" fmla="*/ 4676000 h 6858000"/>
              <a:gd name="connsiteX469" fmla="*/ 4830100 w 7467600"/>
              <a:gd name="connsiteY469" fmla="*/ 4675554 h 6858000"/>
              <a:gd name="connsiteX470" fmla="*/ 4036318 w 7467600"/>
              <a:gd name="connsiteY470" fmla="*/ 4147013 h 6858000"/>
              <a:gd name="connsiteX471" fmla="*/ 3432098 w 7467600"/>
              <a:gd name="connsiteY471" fmla="*/ 3537312 h 6858000"/>
              <a:gd name="connsiteX472" fmla="*/ 3446761 w 7467600"/>
              <a:gd name="connsiteY472" fmla="*/ 3461278 h 6858000"/>
              <a:gd name="connsiteX473" fmla="*/ 4419733 w 7467600"/>
              <a:gd name="connsiteY473" fmla="*/ 3963555 h 6858000"/>
              <a:gd name="connsiteX474" fmla="*/ 4781371 w 7467600"/>
              <a:gd name="connsiteY474" fmla="*/ 4458604 h 6858000"/>
              <a:gd name="connsiteX475" fmla="*/ 4780440 w 7467600"/>
              <a:gd name="connsiteY475" fmla="*/ 4470290 h 6858000"/>
              <a:gd name="connsiteX476" fmla="*/ 4898954 w 7467600"/>
              <a:gd name="connsiteY476" fmla="*/ 4662092 h 6858000"/>
              <a:gd name="connsiteX477" fmla="*/ 4900699 w 7467600"/>
              <a:gd name="connsiteY477" fmla="*/ 4670867 h 6858000"/>
              <a:gd name="connsiteX478" fmla="*/ 5714511 w 7467600"/>
              <a:gd name="connsiteY478" fmla="*/ 4663483 h 6858000"/>
              <a:gd name="connsiteX479" fmla="*/ 5464793 w 7467600"/>
              <a:gd name="connsiteY479" fmla="*/ 4393556 h 6858000"/>
              <a:gd name="connsiteX480" fmla="*/ 5461897 w 7467600"/>
              <a:gd name="connsiteY480" fmla="*/ 4390879 h 6858000"/>
              <a:gd name="connsiteX481" fmla="*/ 4294126 w 7467600"/>
              <a:gd name="connsiteY481" fmla="*/ 3303048 h 6858000"/>
              <a:gd name="connsiteX482" fmla="*/ 4305321 w 7467600"/>
              <a:gd name="connsiteY482" fmla="*/ 3256953 h 6858000"/>
              <a:gd name="connsiteX483" fmla="*/ 4949299 w 7467600"/>
              <a:gd name="connsiteY483" fmla="*/ 3766336 h 6858000"/>
              <a:gd name="connsiteX484" fmla="*/ 5291452 w 7467600"/>
              <a:gd name="connsiteY484" fmla="*/ 4076801 h 6858000"/>
              <a:gd name="connsiteX485" fmla="*/ 5434998 w 7467600"/>
              <a:gd name="connsiteY485" fmla="*/ 4254100 h 6858000"/>
              <a:gd name="connsiteX486" fmla="*/ 5351015 w 7467600"/>
              <a:gd name="connsiteY486" fmla="*/ 3760989 h 6858000"/>
              <a:gd name="connsiteX487" fmla="*/ 5413780 w 7467600"/>
              <a:gd name="connsiteY487" fmla="*/ 2966265 h 6858000"/>
              <a:gd name="connsiteX488" fmla="*/ 5425627 w 7467600"/>
              <a:gd name="connsiteY488" fmla="*/ 2954192 h 6858000"/>
              <a:gd name="connsiteX489" fmla="*/ 6604735 w 7467600"/>
              <a:gd name="connsiteY489" fmla="*/ 2041381 h 6858000"/>
              <a:gd name="connsiteX490" fmla="*/ 7204487 w 7467600"/>
              <a:gd name="connsiteY490" fmla="*/ 2742112 h 6858000"/>
              <a:gd name="connsiteX491" fmla="*/ 7131592 w 7467600"/>
              <a:gd name="connsiteY491" fmla="*/ 2672096 h 6858000"/>
              <a:gd name="connsiteX492" fmla="*/ 6996344 w 7467600"/>
              <a:gd name="connsiteY492" fmla="*/ 2518310 h 6858000"/>
              <a:gd name="connsiteX493" fmla="*/ 6735495 w 7467600"/>
              <a:gd name="connsiteY493" fmla="*/ 2196890 h 6858000"/>
              <a:gd name="connsiteX494" fmla="*/ 6721901 w 7467600"/>
              <a:gd name="connsiteY494" fmla="*/ 2179274 h 6858000"/>
              <a:gd name="connsiteX495" fmla="*/ 6604735 w 7467600"/>
              <a:gd name="connsiteY495" fmla="*/ 2041381 h 6858000"/>
              <a:gd name="connsiteX496" fmla="*/ 6591670 w 7467600"/>
              <a:gd name="connsiteY496" fmla="*/ 1988277 h 6858000"/>
              <a:gd name="connsiteX497" fmla="*/ 6747349 w 7467600"/>
              <a:gd name="connsiteY497" fmla="*/ 2160069 h 6858000"/>
              <a:gd name="connsiteX498" fmla="*/ 6760943 w 7467600"/>
              <a:gd name="connsiteY498" fmla="*/ 2177686 h 6858000"/>
              <a:gd name="connsiteX499" fmla="*/ 7021065 w 7467600"/>
              <a:gd name="connsiteY499" fmla="*/ 2498102 h 6858000"/>
              <a:gd name="connsiteX500" fmla="*/ 7155223 w 7467600"/>
              <a:gd name="connsiteY500" fmla="*/ 2650386 h 6858000"/>
              <a:gd name="connsiteX501" fmla="*/ 7203167 w 7467600"/>
              <a:gd name="connsiteY501" fmla="*/ 2697288 h 6858000"/>
              <a:gd name="connsiteX502" fmla="*/ 6937703 w 7467600"/>
              <a:gd name="connsiteY502" fmla="*/ 2321981 h 6858000"/>
              <a:gd name="connsiteX503" fmla="*/ 6591670 w 7467600"/>
              <a:gd name="connsiteY503" fmla="*/ 1988277 h 6858000"/>
              <a:gd name="connsiteX504" fmla="*/ 5798671 w 7467600"/>
              <a:gd name="connsiteY504" fmla="*/ 1981601 h 6858000"/>
              <a:gd name="connsiteX505" fmla="*/ 5754709 w 7467600"/>
              <a:gd name="connsiteY505" fmla="*/ 2071454 h 6858000"/>
              <a:gd name="connsiteX506" fmla="*/ 5763044 w 7467600"/>
              <a:gd name="connsiteY506" fmla="*/ 2842206 h 6858000"/>
              <a:gd name="connsiteX507" fmla="*/ 5764974 w 7467600"/>
              <a:gd name="connsiteY507" fmla="*/ 2799609 h 6858000"/>
              <a:gd name="connsiteX508" fmla="*/ 5767665 w 7467600"/>
              <a:gd name="connsiteY508" fmla="*/ 2666409 h 6858000"/>
              <a:gd name="connsiteX509" fmla="*/ 5763055 w 7467600"/>
              <a:gd name="connsiteY509" fmla="*/ 2579705 h 6858000"/>
              <a:gd name="connsiteX510" fmla="*/ 5758079 w 7467600"/>
              <a:gd name="connsiteY510" fmla="*/ 2492508 h 6858000"/>
              <a:gd name="connsiteX511" fmla="*/ 5779325 w 7467600"/>
              <a:gd name="connsiteY511" fmla="*/ 2197069 h 6858000"/>
              <a:gd name="connsiteX512" fmla="*/ 5798671 w 7467600"/>
              <a:gd name="connsiteY512" fmla="*/ 1981601 h 6858000"/>
              <a:gd name="connsiteX513" fmla="*/ 5829202 w 7467600"/>
              <a:gd name="connsiteY513" fmla="*/ 1971679 h 6858000"/>
              <a:gd name="connsiteX514" fmla="*/ 5809558 w 7467600"/>
              <a:gd name="connsiteY514" fmla="*/ 2198043 h 6858000"/>
              <a:gd name="connsiteX515" fmla="*/ 5788653 w 7467600"/>
              <a:gd name="connsiteY515" fmla="*/ 2489430 h 6858000"/>
              <a:gd name="connsiteX516" fmla="*/ 5793439 w 7467600"/>
              <a:gd name="connsiteY516" fmla="*/ 2575235 h 6858000"/>
              <a:gd name="connsiteX517" fmla="*/ 5796837 w 7467600"/>
              <a:gd name="connsiteY517" fmla="*/ 2637633 h 6858000"/>
              <a:gd name="connsiteX518" fmla="*/ 5818614 w 7467600"/>
              <a:gd name="connsiteY518" fmla="*/ 2473055 h 6858000"/>
              <a:gd name="connsiteX519" fmla="*/ 5829202 w 7467600"/>
              <a:gd name="connsiteY519" fmla="*/ 1971679 h 6858000"/>
              <a:gd name="connsiteX520" fmla="*/ 5911389 w 7467600"/>
              <a:gd name="connsiteY520" fmla="*/ 1898371 h 6858000"/>
              <a:gd name="connsiteX521" fmla="*/ 6237627 w 7467600"/>
              <a:gd name="connsiteY521" fmla="*/ 2231921 h 6858000"/>
              <a:gd name="connsiteX522" fmla="*/ 5911389 w 7467600"/>
              <a:gd name="connsiteY522" fmla="*/ 1898371 h 6858000"/>
              <a:gd name="connsiteX523" fmla="*/ 6944437 w 7467600"/>
              <a:gd name="connsiteY523" fmla="*/ 1575402 h 6858000"/>
              <a:gd name="connsiteX524" fmla="*/ 6304730 w 7467600"/>
              <a:gd name="connsiteY524" fmla="*/ 1766654 h 6858000"/>
              <a:gd name="connsiteX525" fmla="*/ 6944437 w 7467600"/>
              <a:gd name="connsiteY525" fmla="*/ 1575402 h 6858000"/>
              <a:gd name="connsiteX526" fmla="*/ 7019523 w 7467600"/>
              <a:gd name="connsiteY526" fmla="*/ 1519450 h 6858000"/>
              <a:gd name="connsiteX527" fmla="*/ 6298091 w 7467600"/>
              <a:gd name="connsiteY527" fmla="*/ 1737122 h 6858000"/>
              <a:gd name="connsiteX528" fmla="*/ 7019523 w 7467600"/>
              <a:gd name="connsiteY528" fmla="*/ 1519450 h 6858000"/>
              <a:gd name="connsiteX529" fmla="*/ 2399523 w 7467600"/>
              <a:gd name="connsiteY529" fmla="*/ 1428234 h 6858000"/>
              <a:gd name="connsiteX530" fmla="*/ 2224982 w 7467600"/>
              <a:gd name="connsiteY530" fmla="*/ 1826201 h 6858000"/>
              <a:gd name="connsiteX531" fmla="*/ 2096099 w 7467600"/>
              <a:gd name="connsiteY531" fmla="*/ 2345900 h 6858000"/>
              <a:gd name="connsiteX532" fmla="*/ 2283317 w 7467600"/>
              <a:gd name="connsiteY532" fmla="*/ 1796925 h 6858000"/>
              <a:gd name="connsiteX533" fmla="*/ 2399523 w 7467600"/>
              <a:gd name="connsiteY533" fmla="*/ 1428234 h 6858000"/>
              <a:gd name="connsiteX534" fmla="*/ 2448558 w 7467600"/>
              <a:gd name="connsiteY534" fmla="*/ 1373435 h 6858000"/>
              <a:gd name="connsiteX535" fmla="*/ 2312521 w 7467600"/>
              <a:gd name="connsiteY535" fmla="*/ 1806140 h 6858000"/>
              <a:gd name="connsiteX536" fmla="*/ 2127533 w 7467600"/>
              <a:gd name="connsiteY536" fmla="*/ 2348380 h 6858000"/>
              <a:gd name="connsiteX537" fmla="*/ 2358080 w 7467600"/>
              <a:gd name="connsiteY537" fmla="*/ 1866134 h 6858000"/>
              <a:gd name="connsiteX538" fmla="*/ 2407436 w 7467600"/>
              <a:gd name="connsiteY538" fmla="*/ 1651070 h 6858000"/>
              <a:gd name="connsiteX539" fmla="*/ 2448558 w 7467600"/>
              <a:gd name="connsiteY539" fmla="*/ 1373435 h 6858000"/>
              <a:gd name="connsiteX540" fmla="*/ 278707 w 7467600"/>
              <a:gd name="connsiteY540" fmla="*/ 1352270 h 6858000"/>
              <a:gd name="connsiteX541" fmla="*/ 321570 w 7467600"/>
              <a:gd name="connsiteY541" fmla="*/ 1861610 h 6858000"/>
              <a:gd name="connsiteX542" fmla="*/ 294281 w 7467600"/>
              <a:gd name="connsiteY542" fmla="*/ 1440658 h 6858000"/>
              <a:gd name="connsiteX543" fmla="*/ 278707 w 7467600"/>
              <a:gd name="connsiteY543" fmla="*/ 1352270 h 6858000"/>
              <a:gd name="connsiteX544" fmla="*/ 1423821 w 7467600"/>
              <a:gd name="connsiteY544" fmla="*/ 1351958 h 6858000"/>
              <a:gd name="connsiteX545" fmla="*/ 1638521 w 7467600"/>
              <a:gd name="connsiteY545" fmla="*/ 1908470 h 6858000"/>
              <a:gd name="connsiteX546" fmla="*/ 1754199 w 7467600"/>
              <a:gd name="connsiteY546" fmla="*/ 2149284 h 6858000"/>
              <a:gd name="connsiteX547" fmla="*/ 1908359 w 7467600"/>
              <a:gd name="connsiteY547" fmla="*/ 2364988 h 6858000"/>
              <a:gd name="connsiteX548" fmla="*/ 1647661 w 7467600"/>
              <a:gd name="connsiteY548" fmla="*/ 1825945 h 6858000"/>
              <a:gd name="connsiteX549" fmla="*/ 1423821 w 7467600"/>
              <a:gd name="connsiteY549" fmla="*/ 1351958 h 6858000"/>
              <a:gd name="connsiteX550" fmla="*/ 1431890 w 7467600"/>
              <a:gd name="connsiteY550" fmla="*/ 1306475 h 6858000"/>
              <a:gd name="connsiteX551" fmla="*/ 1507597 w 7467600"/>
              <a:gd name="connsiteY551" fmla="*/ 1446132 h 6858000"/>
              <a:gd name="connsiteX552" fmla="*/ 1674586 w 7467600"/>
              <a:gd name="connsiteY552" fmla="*/ 1813832 h 6858000"/>
              <a:gd name="connsiteX553" fmla="*/ 1815950 w 7467600"/>
              <a:gd name="connsiteY553" fmla="*/ 2128564 h 6858000"/>
              <a:gd name="connsiteX554" fmla="*/ 1984242 w 7467600"/>
              <a:gd name="connsiteY554" fmla="*/ 2430829 h 6858000"/>
              <a:gd name="connsiteX555" fmla="*/ 2014023 w 7467600"/>
              <a:gd name="connsiteY555" fmla="*/ 2450995 h 6858000"/>
              <a:gd name="connsiteX556" fmla="*/ 1747337 w 7467600"/>
              <a:gd name="connsiteY556" fmla="*/ 1855264 h 6858000"/>
              <a:gd name="connsiteX557" fmla="*/ 1533749 w 7467600"/>
              <a:gd name="connsiteY557" fmla="*/ 1478656 h 6858000"/>
              <a:gd name="connsiteX558" fmla="*/ 1431890 w 7467600"/>
              <a:gd name="connsiteY558" fmla="*/ 1306475 h 6858000"/>
              <a:gd name="connsiteX559" fmla="*/ 5052692 w 7467600"/>
              <a:gd name="connsiteY559" fmla="*/ 1292994 h 6858000"/>
              <a:gd name="connsiteX560" fmla="*/ 5200661 w 7467600"/>
              <a:gd name="connsiteY560" fmla="*/ 1635186 h 6858000"/>
              <a:gd name="connsiteX561" fmla="*/ 5297138 w 7467600"/>
              <a:gd name="connsiteY561" fmla="*/ 1906351 h 6858000"/>
              <a:gd name="connsiteX562" fmla="*/ 5052692 w 7467600"/>
              <a:gd name="connsiteY562" fmla="*/ 1292994 h 6858000"/>
              <a:gd name="connsiteX563" fmla="*/ 5009948 w 7467600"/>
              <a:gd name="connsiteY563" fmla="*/ 1273619 h 6858000"/>
              <a:gd name="connsiteX564" fmla="*/ 5121777 w 7467600"/>
              <a:gd name="connsiteY564" fmla="*/ 1654213 h 6858000"/>
              <a:gd name="connsiteX565" fmla="*/ 5293545 w 7467600"/>
              <a:gd name="connsiteY565" fmla="*/ 2072247 h 6858000"/>
              <a:gd name="connsiteX566" fmla="*/ 5294042 w 7467600"/>
              <a:gd name="connsiteY566" fmla="*/ 2065019 h 6858000"/>
              <a:gd name="connsiteX567" fmla="*/ 5171936 w 7467600"/>
              <a:gd name="connsiteY567" fmla="*/ 1647613 h 6858000"/>
              <a:gd name="connsiteX568" fmla="*/ 5009948 w 7467600"/>
              <a:gd name="connsiteY568" fmla="*/ 1273619 h 6858000"/>
              <a:gd name="connsiteX569" fmla="*/ 655236 w 7467600"/>
              <a:gd name="connsiteY569" fmla="*/ 1268632 h 6858000"/>
              <a:gd name="connsiteX570" fmla="*/ 839521 w 7467600"/>
              <a:gd name="connsiteY570" fmla="*/ 1685315 h 6858000"/>
              <a:gd name="connsiteX571" fmla="*/ 1109416 w 7467600"/>
              <a:gd name="connsiteY571" fmla="*/ 2061663 h 6858000"/>
              <a:gd name="connsiteX572" fmla="*/ 1298300 w 7467600"/>
              <a:gd name="connsiteY572" fmla="*/ 2247742 h 6858000"/>
              <a:gd name="connsiteX573" fmla="*/ 1125871 w 7467600"/>
              <a:gd name="connsiteY573" fmla="*/ 1989513 h 6858000"/>
              <a:gd name="connsiteX574" fmla="*/ 981574 w 7467600"/>
              <a:gd name="connsiteY574" fmla="*/ 1783157 h 6858000"/>
              <a:gd name="connsiteX575" fmla="*/ 922198 w 7467600"/>
              <a:gd name="connsiteY575" fmla="*/ 1677437 h 6858000"/>
              <a:gd name="connsiteX576" fmla="*/ 869293 w 7467600"/>
              <a:gd name="connsiteY576" fmla="*/ 1583214 h 6858000"/>
              <a:gd name="connsiteX577" fmla="*/ 751431 w 7467600"/>
              <a:gd name="connsiteY577" fmla="*/ 1405731 h 6858000"/>
              <a:gd name="connsiteX578" fmla="*/ 655236 w 7467600"/>
              <a:gd name="connsiteY578" fmla="*/ 1268632 h 6858000"/>
              <a:gd name="connsiteX579" fmla="*/ 6516292 w 7467600"/>
              <a:gd name="connsiteY579" fmla="*/ 1263064 h 6858000"/>
              <a:gd name="connsiteX580" fmla="*/ 5736320 w 7467600"/>
              <a:gd name="connsiteY580" fmla="*/ 1501803 h 6858000"/>
              <a:gd name="connsiteX581" fmla="*/ 6516292 w 7467600"/>
              <a:gd name="connsiteY581" fmla="*/ 1263064 h 6858000"/>
              <a:gd name="connsiteX582" fmla="*/ 291466 w 7467600"/>
              <a:gd name="connsiteY582" fmla="*/ 1250369 h 6858000"/>
              <a:gd name="connsiteX583" fmla="*/ 323180 w 7467600"/>
              <a:gd name="connsiteY583" fmla="*/ 1435283 h 6858000"/>
              <a:gd name="connsiteX584" fmla="*/ 349381 w 7467600"/>
              <a:gd name="connsiteY584" fmla="*/ 1875041 h 6858000"/>
              <a:gd name="connsiteX585" fmla="*/ 374363 w 7467600"/>
              <a:gd name="connsiteY585" fmla="*/ 1506494 h 6858000"/>
              <a:gd name="connsiteX586" fmla="*/ 302168 w 7467600"/>
              <a:gd name="connsiteY586" fmla="*/ 1274495 h 6858000"/>
              <a:gd name="connsiteX587" fmla="*/ 291466 w 7467600"/>
              <a:gd name="connsiteY587" fmla="*/ 1250369 h 6858000"/>
              <a:gd name="connsiteX588" fmla="*/ 678222 w 7467600"/>
              <a:gd name="connsiteY588" fmla="*/ 1248670 h 6858000"/>
              <a:gd name="connsiteX589" fmla="*/ 775536 w 7467600"/>
              <a:gd name="connsiteY589" fmla="*/ 1388015 h 6858000"/>
              <a:gd name="connsiteX590" fmla="*/ 894529 w 7467600"/>
              <a:gd name="connsiteY590" fmla="*/ 1567739 h 6858000"/>
              <a:gd name="connsiteX591" fmla="*/ 948000 w 7467600"/>
              <a:gd name="connsiteY591" fmla="*/ 1663088 h 6858000"/>
              <a:gd name="connsiteX592" fmla="*/ 1006812 w 7467600"/>
              <a:gd name="connsiteY592" fmla="*/ 1767683 h 6858000"/>
              <a:gd name="connsiteX593" fmla="*/ 1149133 w 7467600"/>
              <a:gd name="connsiteY593" fmla="*/ 1971513 h 6858000"/>
              <a:gd name="connsiteX594" fmla="*/ 1333952 w 7467600"/>
              <a:gd name="connsiteY594" fmla="*/ 2251620 h 6858000"/>
              <a:gd name="connsiteX595" fmla="*/ 1337329 w 7467600"/>
              <a:gd name="connsiteY595" fmla="*/ 2258350 h 6858000"/>
              <a:gd name="connsiteX596" fmla="*/ 1014726 w 7467600"/>
              <a:gd name="connsiteY596" fmla="*/ 1615556 h 6858000"/>
              <a:gd name="connsiteX597" fmla="*/ 678222 w 7467600"/>
              <a:gd name="connsiteY597" fmla="*/ 1248670 h 6858000"/>
              <a:gd name="connsiteX598" fmla="*/ 6691602 w 7467600"/>
              <a:gd name="connsiteY598" fmla="*/ 1140573 h 6858000"/>
              <a:gd name="connsiteX599" fmla="*/ 6571100 w 7467600"/>
              <a:gd name="connsiteY599" fmla="*/ 1183662 h 6858000"/>
              <a:gd name="connsiteX600" fmla="*/ 6241687 w 7467600"/>
              <a:gd name="connsiteY600" fmla="*/ 1257600 h 6858000"/>
              <a:gd name="connsiteX601" fmla="*/ 5693009 w 7467600"/>
              <a:gd name="connsiteY601" fmla="*/ 1478256 h 6858000"/>
              <a:gd name="connsiteX602" fmla="*/ 6548420 w 7467600"/>
              <a:gd name="connsiteY602" fmla="*/ 1214599 h 6858000"/>
              <a:gd name="connsiteX603" fmla="*/ 6605473 w 7467600"/>
              <a:gd name="connsiteY603" fmla="*/ 1184686 h 6858000"/>
              <a:gd name="connsiteX604" fmla="*/ 6691602 w 7467600"/>
              <a:gd name="connsiteY604" fmla="*/ 1140573 h 6858000"/>
              <a:gd name="connsiteX605" fmla="*/ 4002475 w 7467600"/>
              <a:gd name="connsiteY605" fmla="*/ 1037802 h 6858000"/>
              <a:gd name="connsiteX606" fmla="*/ 4000324 w 7467600"/>
              <a:gd name="connsiteY606" fmla="*/ 1039362 h 6858000"/>
              <a:gd name="connsiteX607" fmla="*/ 4002862 w 7467600"/>
              <a:gd name="connsiteY607" fmla="*/ 1042866 h 6858000"/>
              <a:gd name="connsiteX608" fmla="*/ 4002475 w 7467600"/>
              <a:gd name="connsiteY608" fmla="*/ 1037802 h 6858000"/>
              <a:gd name="connsiteX609" fmla="*/ 506322 w 7467600"/>
              <a:gd name="connsiteY609" fmla="*/ 1020997 h 6858000"/>
              <a:gd name="connsiteX610" fmla="*/ 533068 w 7467600"/>
              <a:gd name="connsiteY610" fmla="*/ 1029409 h 6858000"/>
              <a:gd name="connsiteX611" fmla="*/ 1232525 w 7467600"/>
              <a:gd name="connsiteY611" fmla="*/ 1804675 h 6858000"/>
              <a:gd name="connsiteX612" fmla="*/ 1388858 w 7467600"/>
              <a:gd name="connsiteY612" fmla="*/ 2368011 h 6858000"/>
              <a:gd name="connsiteX613" fmla="*/ 1384098 w 7467600"/>
              <a:gd name="connsiteY613" fmla="*/ 2378125 h 6858000"/>
              <a:gd name="connsiteX614" fmla="*/ 1425393 w 7467600"/>
              <a:gd name="connsiteY614" fmla="*/ 2589124 h 6858000"/>
              <a:gd name="connsiteX615" fmla="*/ 1424001 w 7467600"/>
              <a:gd name="connsiteY615" fmla="*/ 2597541 h 6858000"/>
              <a:gd name="connsiteX616" fmla="*/ 2152729 w 7467600"/>
              <a:gd name="connsiteY616" fmla="*/ 2864487 h 6858000"/>
              <a:gd name="connsiteX617" fmla="*/ 2020609 w 7467600"/>
              <a:gd name="connsiteY617" fmla="*/ 2539671 h 6858000"/>
              <a:gd name="connsiteX618" fmla="*/ 2018920 w 7467600"/>
              <a:gd name="connsiteY618" fmla="*/ 2536309 h 6858000"/>
              <a:gd name="connsiteX619" fmla="*/ 1342441 w 7467600"/>
              <a:gd name="connsiteY619" fmla="*/ 1173017 h 6858000"/>
              <a:gd name="connsiteX620" fmla="*/ 1367925 w 7467600"/>
              <a:gd name="connsiteY620" fmla="*/ 1135648 h 6858000"/>
              <a:gd name="connsiteX621" fmla="*/ 1771401 w 7467600"/>
              <a:gd name="connsiteY621" fmla="*/ 1806673 h 6858000"/>
              <a:gd name="connsiteX622" fmla="*/ 1972385 w 7467600"/>
              <a:gd name="connsiteY622" fmla="*/ 2198735 h 6858000"/>
              <a:gd name="connsiteX623" fmla="*/ 2040892 w 7467600"/>
              <a:gd name="connsiteY623" fmla="*/ 2405205 h 6858000"/>
              <a:gd name="connsiteX624" fmla="*/ 2131689 w 7467600"/>
              <a:gd name="connsiteY624" fmla="*/ 1936926 h 6858000"/>
              <a:gd name="connsiteX625" fmla="*/ 2454820 w 7467600"/>
              <a:gd name="connsiteY625" fmla="*/ 1248808 h 6858000"/>
              <a:gd name="connsiteX626" fmla="*/ 2492512 w 7467600"/>
              <a:gd name="connsiteY626" fmla="*/ 1302920 h 6858000"/>
              <a:gd name="connsiteX627" fmla="*/ 2081216 w 7467600"/>
              <a:gd name="connsiteY627" fmla="*/ 2527513 h 6858000"/>
              <a:gd name="connsiteX628" fmla="*/ 2081211 w 7467600"/>
              <a:gd name="connsiteY628" fmla="*/ 2528916 h 6858000"/>
              <a:gd name="connsiteX629" fmla="*/ 2199067 w 7467600"/>
              <a:gd name="connsiteY629" fmla="*/ 2884061 h 6858000"/>
              <a:gd name="connsiteX630" fmla="*/ 3192586 w 7467600"/>
              <a:gd name="connsiteY630" fmla="*/ 3411496 h 6858000"/>
              <a:gd name="connsiteX631" fmla="*/ 3182620 w 7467600"/>
              <a:gd name="connsiteY631" fmla="*/ 3483279 h 6858000"/>
              <a:gd name="connsiteX632" fmla="*/ 2435119 w 7467600"/>
              <a:gd name="connsiteY632" fmla="*/ 3080173 h 6858000"/>
              <a:gd name="connsiteX633" fmla="*/ 2410152 w 7467600"/>
              <a:gd name="connsiteY633" fmla="*/ 3063751 h 6858000"/>
              <a:gd name="connsiteX634" fmla="*/ 2408099 w 7467600"/>
              <a:gd name="connsiteY634" fmla="*/ 3064403 h 6858000"/>
              <a:gd name="connsiteX635" fmla="*/ 2407218 w 7467600"/>
              <a:gd name="connsiteY635" fmla="*/ 3070324 h 6858000"/>
              <a:gd name="connsiteX636" fmla="*/ 2380138 w 7467600"/>
              <a:gd name="connsiteY636" fmla="*/ 3099341 h 6858000"/>
              <a:gd name="connsiteX637" fmla="*/ 1765923 w 7467600"/>
              <a:gd name="connsiteY637" fmla="*/ 3581043 h 6858000"/>
              <a:gd name="connsiteX638" fmla="*/ 1702258 w 7467600"/>
              <a:gd name="connsiteY638" fmla="*/ 3612286 h 6858000"/>
              <a:gd name="connsiteX639" fmla="*/ 1538370 w 7467600"/>
              <a:gd name="connsiteY639" fmla="*/ 3811804 h 6858000"/>
              <a:gd name="connsiteX640" fmla="*/ 542867 w 7467600"/>
              <a:gd name="connsiteY640" fmla="*/ 4944092 h 6858000"/>
              <a:gd name="connsiteX641" fmla="*/ 515800 w 7467600"/>
              <a:gd name="connsiteY641" fmla="*/ 4862180 h 6858000"/>
              <a:gd name="connsiteX642" fmla="*/ 909145 w 7467600"/>
              <a:gd name="connsiteY642" fmla="*/ 4199225 h 6858000"/>
              <a:gd name="connsiteX643" fmla="*/ 1214067 w 7467600"/>
              <a:gd name="connsiteY643" fmla="*/ 3908561 h 6858000"/>
              <a:gd name="connsiteX644" fmla="*/ 640967 w 7467600"/>
              <a:gd name="connsiteY644" fmla="*/ 4105601 h 6858000"/>
              <a:gd name="connsiteX645" fmla="*/ 112563 w 7467600"/>
              <a:gd name="connsiteY645" fmla="*/ 4396952 h 6858000"/>
              <a:gd name="connsiteX646" fmla="*/ 0 w 7467600"/>
              <a:gd name="connsiteY646" fmla="*/ 4466006 h 6858000"/>
              <a:gd name="connsiteX647" fmla="*/ 0 w 7467600"/>
              <a:gd name="connsiteY647" fmla="*/ 4233763 h 6858000"/>
              <a:gd name="connsiteX648" fmla="*/ 36881 w 7467600"/>
              <a:gd name="connsiteY648" fmla="*/ 4200118 h 6858000"/>
              <a:gd name="connsiteX649" fmla="*/ 910534 w 7467600"/>
              <a:gd name="connsiteY649" fmla="*/ 3629753 h 6858000"/>
              <a:gd name="connsiteX650" fmla="*/ 1578717 w 7467600"/>
              <a:gd name="connsiteY650" fmla="*/ 3575982 h 6858000"/>
              <a:gd name="connsiteX651" fmla="*/ 2338780 w 7467600"/>
              <a:gd name="connsiteY651" fmla="*/ 3033725 h 6858000"/>
              <a:gd name="connsiteX652" fmla="*/ 1807991 w 7467600"/>
              <a:gd name="connsiteY652" fmla="*/ 2807184 h 6858000"/>
              <a:gd name="connsiteX653" fmla="*/ 1416358 w 7467600"/>
              <a:gd name="connsiteY653" fmla="*/ 3112571 h 6858000"/>
              <a:gd name="connsiteX654" fmla="*/ 939066 w 7467600"/>
              <a:gd name="connsiteY654" fmla="*/ 3378798 h 6858000"/>
              <a:gd name="connsiteX655" fmla="*/ 115099 w 7467600"/>
              <a:gd name="connsiteY655" fmla="*/ 3607650 h 6858000"/>
              <a:gd name="connsiteX656" fmla="*/ 97284 w 7467600"/>
              <a:gd name="connsiteY656" fmla="*/ 3520393 h 6858000"/>
              <a:gd name="connsiteX657" fmla="*/ 922050 w 7467600"/>
              <a:gd name="connsiteY657" fmla="*/ 3074867 h 6858000"/>
              <a:gd name="connsiteX658" fmla="*/ 1405265 w 7467600"/>
              <a:gd name="connsiteY658" fmla="*/ 3016319 h 6858000"/>
              <a:gd name="connsiteX659" fmla="*/ 1407512 w 7467600"/>
              <a:gd name="connsiteY659" fmla="*/ 3018001 h 6858000"/>
              <a:gd name="connsiteX660" fmla="*/ 1726266 w 7467600"/>
              <a:gd name="connsiteY660" fmla="*/ 2777274 h 6858000"/>
              <a:gd name="connsiteX661" fmla="*/ 625390 w 7467600"/>
              <a:gd name="connsiteY661" fmla="*/ 2514541 h 6858000"/>
              <a:gd name="connsiteX662" fmla="*/ 619799 w 7467600"/>
              <a:gd name="connsiteY662" fmla="*/ 2527180 h 6858000"/>
              <a:gd name="connsiteX663" fmla="*/ 310030 w 7467600"/>
              <a:gd name="connsiteY663" fmla="*/ 2771818 h 6858000"/>
              <a:gd name="connsiteX664" fmla="*/ 173877 w 7467600"/>
              <a:gd name="connsiteY664" fmla="*/ 2937056 h 6858000"/>
              <a:gd name="connsiteX665" fmla="*/ 77889 w 7467600"/>
              <a:gd name="connsiteY665" fmla="*/ 3138440 h 6858000"/>
              <a:gd name="connsiteX666" fmla="*/ 0 w 7467600"/>
              <a:gd name="connsiteY666" fmla="*/ 3271395 h 6858000"/>
              <a:gd name="connsiteX667" fmla="*/ 0 w 7467600"/>
              <a:gd name="connsiteY667" fmla="*/ 3153002 h 6858000"/>
              <a:gd name="connsiteX668" fmla="*/ 2386 w 7467600"/>
              <a:gd name="connsiteY668" fmla="*/ 3149203 h 6858000"/>
              <a:gd name="connsiteX669" fmla="*/ 89753 w 7467600"/>
              <a:gd name="connsiteY669" fmla="*/ 2987702 h 6858000"/>
              <a:gd name="connsiteX670" fmla="*/ 76869 w 7467600"/>
              <a:gd name="connsiteY670" fmla="*/ 3005404 h 6858000"/>
              <a:gd name="connsiteX671" fmla="*/ 32049 w 7467600"/>
              <a:gd name="connsiteY671" fmla="*/ 3065814 h 6858000"/>
              <a:gd name="connsiteX672" fmla="*/ 0 w 7467600"/>
              <a:gd name="connsiteY672" fmla="*/ 3108744 h 6858000"/>
              <a:gd name="connsiteX673" fmla="*/ 0 w 7467600"/>
              <a:gd name="connsiteY673" fmla="*/ 3058059 h 6858000"/>
              <a:gd name="connsiteX674" fmla="*/ 7610 w 7467600"/>
              <a:gd name="connsiteY674" fmla="*/ 3047889 h 6858000"/>
              <a:gd name="connsiteX675" fmla="*/ 52419 w 7467600"/>
              <a:gd name="connsiteY675" fmla="*/ 2987479 h 6858000"/>
              <a:gd name="connsiteX676" fmla="*/ 59142 w 7467600"/>
              <a:gd name="connsiteY676" fmla="*/ 2978488 h 6858000"/>
              <a:gd name="connsiteX677" fmla="*/ 0 w 7467600"/>
              <a:gd name="connsiteY677" fmla="*/ 3015334 h 6858000"/>
              <a:gd name="connsiteX678" fmla="*/ 0 w 7467600"/>
              <a:gd name="connsiteY678" fmla="*/ 2914286 h 6858000"/>
              <a:gd name="connsiteX679" fmla="*/ 36383 w 7467600"/>
              <a:gd name="connsiteY679" fmla="*/ 2901128 h 6858000"/>
              <a:gd name="connsiteX680" fmla="*/ 156329 w 7467600"/>
              <a:gd name="connsiteY680" fmla="*/ 2840533 h 6858000"/>
              <a:gd name="connsiteX681" fmla="*/ 358355 w 7467600"/>
              <a:gd name="connsiteY681" fmla="*/ 2620471 h 6858000"/>
              <a:gd name="connsiteX682" fmla="*/ 510577 w 7467600"/>
              <a:gd name="connsiteY682" fmla="*/ 2501244 h 6858000"/>
              <a:gd name="connsiteX683" fmla="*/ 211967 w 7467600"/>
              <a:gd name="connsiteY683" fmla="*/ 2479171 h 6858000"/>
              <a:gd name="connsiteX684" fmla="*/ 0 w 7467600"/>
              <a:gd name="connsiteY684" fmla="*/ 2476398 h 6858000"/>
              <a:gd name="connsiteX685" fmla="*/ 0 w 7467600"/>
              <a:gd name="connsiteY685" fmla="*/ 2389189 h 6858000"/>
              <a:gd name="connsiteX686" fmla="*/ 103062 w 7467600"/>
              <a:gd name="connsiteY686" fmla="*/ 2389518 h 6858000"/>
              <a:gd name="connsiteX687" fmla="*/ 510734 w 7467600"/>
              <a:gd name="connsiteY687" fmla="*/ 2416201 h 6858000"/>
              <a:gd name="connsiteX688" fmla="*/ 279257 w 7467600"/>
              <a:gd name="connsiteY688" fmla="*/ 2092102 h 6858000"/>
              <a:gd name="connsiteX689" fmla="*/ 65265 w 7467600"/>
              <a:gd name="connsiteY689" fmla="*/ 2006049 h 6858000"/>
              <a:gd name="connsiteX690" fmla="*/ 0 w 7467600"/>
              <a:gd name="connsiteY690" fmla="*/ 1982532 h 6858000"/>
              <a:gd name="connsiteX691" fmla="*/ 0 w 7467600"/>
              <a:gd name="connsiteY691" fmla="*/ 1912789 h 6858000"/>
              <a:gd name="connsiteX692" fmla="*/ 97460 w 7467600"/>
              <a:gd name="connsiteY692" fmla="*/ 1953725 h 6858000"/>
              <a:gd name="connsiteX693" fmla="*/ 221272 w 7467600"/>
              <a:gd name="connsiteY693" fmla="*/ 1980766 h 6858000"/>
              <a:gd name="connsiteX694" fmla="*/ 116765 w 7467600"/>
              <a:gd name="connsiteY694" fmla="*/ 1911033 h 6858000"/>
              <a:gd name="connsiteX695" fmla="*/ 16405 w 7467600"/>
              <a:gd name="connsiteY695" fmla="*/ 1803412 h 6858000"/>
              <a:gd name="connsiteX696" fmla="*/ 0 w 7467600"/>
              <a:gd name="connsiteY696" fmla="*/ 1784777 h 6858000"/>
              <a:gd name="connsiteX697" fmla="*/ 0 w 7467600"/>
              <a:gd name="connsiteY697" fmla="*/ 1740082 h 6858000"/>
              <a:gd name="connsiteX698" fmla="*/ 39394 w 7467600"/>
              <a:gd name="connsiteY698" fmla="*/ 1784856 h 6858000"/>
              <a:gd name="connsiteX699" fmla="*/ 135813 w 7467600"/>
              <a:gd name="connsiteY699" fmla="*/ 1888838 h 6858000"/>
              <a:gd name="connsiteX700" fmla="*/ 242575 w 7467600"/>
              <a:gd name="connsiteY700" fmla="*/ 1958841 h 6858000"/>
              <a:gd name="connsiteX701" fmla="*/ 82197 w 7467600"/>
              <a:gd name="connsiteY701" fmla="*/ 1754826 h 6858000"/>
              <a:gd name="connsiteX702" fmla="*/ 0 w 7467600"/>
              <a:gd name="connsiteY702" fmla="*/ 1679650 h 6858000"/>
              <a:gd name="connsiteX703" fmla="*/ 0 w 7467600"/>
              <a:gd name="connsiteY703" fmla="*/ 1602463 h 6858000"/>
              <a:gd name="connsiteX704" fmla="*/ 84689 w 7467600"/>
              <a:gd name="connsiteY704" fmla="*/ 1677442 h 6858000"/>
              <a:gd name="connsiteX705" fmla="*/ 298437 w 7467600"/>
              <a:gd name="connsiteY705" fmla="*/ 1968019 h 6858000"/>
              <a:gd name="connsiteX706" fmla="*/ 227269 w 7467600"/>
              <a:gd name="connsiteY706" fmla="*/ 1114064 h 6858000"/>
              <a:gd name="connsiteX707" fmla="*/ 248003 w 7467600"/>
              <a:gd name="connsiteY707" fmla="*/ 1089613 h 6858000"/>
              <a:gd name="connsiteX708" fmla="*/ 427020 w 7467600"/>
              <a:gd name="connsiteY708" fmla="*/ 1619803 h 6858000"/>
              <a:gd name="connsiteX709" fmla="*/ 340345 w 7467600"/>
              <a:gd name="connsiteY709" fmla="*/ 2027739 h 6858000"/>
              <a:gd name="connsiteX710" fmla="*/ 360865 w 7467600"/>
              <a:gd name="connsiteY710" fmla="*/ 2044827 h 6858000"/>
              <a:gd name="connsiteX711" fmla="*/ 560414 w 7467600"/>
              <a:gd name="connsiteY711" fmla="*/ 2421457 h 6858000"/>
              <a:gd name="connsiteX712" fmla="*/ 1359703 w 7467600"/>
              <a:gd name="connsiteY712" fmla="*/ 2578554 h 6858000"/>
              <a:gd name="connsiteX713" fmla="*/ 1359422 w 7467600"/>
              <a:gd name="connsiteY713" fmla="*/ 2577994 h 6858000"/>
              <a:gd name="connsiteX714" fmla="*/ 828701 w 7467600"/>
              <a:gd name="connsiteY714" fmla="*/ 1839520 h 6858000"/>
              <a:gd name="connsiteX715" fmla="*/ 494427 w 7467600"/>
              <a:gd name="connsiteY715" fmla="*/ 1092333 h 6858000"/>
              <a:gd name="connsiteX716" fmla="*/ 506322 w 7467600"/>
              <a:gd name="connsiteY716" fmla="*/ 1020997 h 6858000"/>
              <a:gd name="connsiteX717" fmla="*/ 4570198 w 7467600"/>
              <a:gd name="connsiteY717" fmla="*/ 978081 h 6858000"/>
              <a:gd name="connsiteX718" fmla="*/ 4523691 w 7467600"/>
              <a:gd name="connsiteY718" fmla="*/ 1127776 h 6858000"/>
              <a:gd name="connsiteX719" fmla="*/ 4509875 w 7467600"/>
              <a:gd name="connsiteY719" fmla="*/ 1167552 h 6858000"/>
              <a:gd name="connsiteX720" fmla="*/ 4478168 w 7467600"/>
              <a:gd name="connsiteY720" fmla="*/ 1260735 h 6858000"/>
              <a:gd name="connsiteX721" fmla="*/ 4409309 w 7467600"/>
              <a:gd name="connsiteY721" fmla="*/ 1666996 h 6858000"/>
              <a:gd name="connsiteX722" fmla="*/ 4370031 w 7467600"/>
              <a:gd name="connsiteY722" fmla="*/ 1955666 h 6858000"/>
              <a:gd name="connsiteX723" fmla="*/ 4570198 w 7467600"/>
              <a:gd name="connsiteY723" fmla="*/ 978081 h 6858000"/>
              <a:gd name="connsiteX724" fmla="*/ 4557898 w 7467600"/>
              <a:gd name="connsiteY724" fmla="*/ 900011 h 6858000"/>
              <a:gd name="connsiteX725" fmla="*/ 4344840 w 7467600"/>
              <a:gd name="connsiteY725" fmla="*/ 1922038 h 6858000"/>
              <a:gd name="connsiteX726" fmla="*/ 4378710 w 7467600"/>
              <a:gd name="connsiteY726" fmla="*/ 1665516 h 6858000"/>
              <a:gd name="connsiteX727" fmla="*/ 4448798 w 7467600"/>
              <a:gd name="connsiteY727" fmla="*/ 1253024 h 6858000"/>
              <a:gd name="connsiteX728" fmla="*/ 4480315 w 7467600"/>
              <a:gd name="connsiteY728" fmla="*/ 1158454 h 6858000"/>
              <a:gd name="connsiteX729" fmla="*/ 4494133 w 7467600"/>
              <a:gd name="connsiteY729" fmla="*/ 1118676 h 6858000"/>
              <a:gd name="connsiteX730" fmla="*/ 4557898 w 7467600"/>
              <a:gd name="connsiteY730" fmla="*/ 900011 h 6858000"/>
              <a:gd name="connsiteX731" fmla="*/ 5870151 w 7467600"/>
              <a:gd name="connsiteY731" fmla="*/ 898890 h 6858000"/>
              <a:gd name="connsiteX732" fmla="*/ 5861335 w 7467600"/>
              <a:gd name="connsiteY732" fmla="*/ 899177 h 6858000"/>
              <a:gd name="connsiteX733" fmla="*/ 5843702 w 7467600"/>
              <a:gd name="connsiteY733" fmla="*/ 899748 h 6858000"/>
              <a:gd name="connsiteX734" fmla="*/ 5651107 w 7467600"/>
              <a:gd name="connsiteY734" fmla="*/ 920306 h 6858000"/>
              <a:gd name="connsiteX735" fmla="*/ 5459407 w 7467600"/>
              <a:gd name="connsiteY735" fmla="*/ 940975 h 6858000"/>
              <a:gd name="connsiteX736" fmla="*/ 5374846 w 7467600"/>
              <a:gd name="connsiteY736" fmla="*/ 941988 h 6858000"/>
              <a:gd name="connsiteX737" fmla="*/ 5256105 w 7467600"/>
              <a:gd name="connsiteY737" fmla="*/ 945632 h 6858000"/>
              <a:gd name="connsiteX738" fmla="*/ 5107071 w 7467600"/>
              <a:gd name="connsiteY738" fmla="*/ 969720 h 6858000"/>
              <a:gd name="connsiteX739" fmla="*/ 4998681 w 7467600"/>
              <a:gd name="connsiteY739" fmla="*/ 988771 h 6858000"/>
              <a:gd name="connsiteX740" fmla="*/ 5870151 w 7467600"/>
              <a:gd name="connsiteY740" fmla="*/ 898890 h 6858000"/>
              <a:gd name="connsiteX741" fmla="*/ 5504425 w 7467600"/>
              <a:gd name="connsiteY741" fmla="*/ 848067 h 6858000"/>
              <a:gd name="connsiteX742" fmla="*/ 4968849 w 7467600"/>
              <a:gd name="connsiteY742" fmla="*/ 962318 h 6858000"/>
              <a:gd name="connsiteX743" fmla="*/ 5104039 w 7467600"/>
              <a:gd name="connsiteY743" fmla="*/ 940634 h 6858000"/>
              <a:gd name="connsiteX744" fmla="*/ 5256311 w 7467600"/>
              <a:gd name="connsiteY744" fmla="*/ 916490 h 6858000"/>
              <a:gd name="connsiteX745" fmla="*/ 5377381 w 7467600"/>
              <a:gd name="connsiteY745" fmla="*/ 912671 h 6858000"/>
              <a:gd name="connsiteX746" fmla="*/ 5460148 w 7467600"/>
              <a:gd name="connsiteY746" fmla="*/ 911442 h 6858000"/>
              <a:gd name="connsiteX747" fmla="*/ 5648971 w 7467600"/>
              <a:gd name="connsiteY747" fmla="*/ 891331 h 6858000"/>
              <a:gd name="connsiteX748" fmla="*/ 5844807 w 7467600"/>
              <a:gd name="connsiteY748" fmla="*/ 870718 h 6858000"/>
              <a:gd name="connsiteX749" fmla="*/ 5862975 w 7467600"/>
              <a:gd name="connsiteY749" fmla="*/ 869756 h 6858000"/>
              <a:gd name="connsiteX750" fmla="*/ 5920887 w 7467600"/>
              <a:gd name="connsiteY750" fmla="*/ 865929 h 6858000"/>
              <a:gd name="connsiteX751" fmla="*/ 5504425 w 7467600"/>
              <a:gd name="connsiteY751" fmla="*/ 848067 h 6858000"/>
              <a:gd name="connsiteX752" fmla="*/ 3607114 w 7467600"/>
              <a:gd name="connsiteY752" fmla="*/ 467441 h 6858000"/>
              <a:gd name="connsiteX753" fmla="*/ 3296242 w 7467600"/>
              <a:gd name="connsiteY753" fmla="*/ 807991 h 6858000"/>
              <a:gd name="connsiteX754" fmla="*/ 3174674 w 7467600"/>
              <a:gd name="connsiteY754" fmla="*/ 919759 h 6858000"/>
              <a:gd name="connsiteX755" fmla="*/ 3042978 w 7467600"/>
              <a:gd name="connsiteY755" fmla="*/ 1054894 h 6858000"/>
              <a:gd name="connsiteX756" fmla="*/ 2968914 w 7467600"/>
              <a:gd name="connsiteY756" fmla="*/ 1133756 h 6858000"/>
              <a:gd name="connsiteX757" fmla="*/ 3103823 w 7467600"/>
              <a:gd name="connsiteY757" fmla="*/ 1026814 h 6858000"/>
              <a:gd name="connsiteX758" fmla="*/ 3607114 w 7467600"/>
              <a:gd name="connsiteY758" fmla="*/ 467441 h 6858000"/>
              <a:gd name="connsiteX759" fmla="*/ 3744487 w 7467600"/>
              <a:gd name="connsiteY759" fmla="*/ 383136 h 6858000"/>
              <a:gd name="connsiteX760" fmla="*/ 3970213 w 7467600"/>
              <a:gd name="connsiteY760" fmla="*/ 995559 h 6858000"/>
              <a:gd name="connsiteX761" fmla="*/ 3744487 w 7467600"/>
              <a:gd name="connsiteY761" fmla="*/ 383136 h 6858000"/>
              <a:gd name="connsiteX762" fmla="*/ 3624562 w 7467600"/>
              <a:gd name="connsiteY762" fmla="*/ 367041 h 6858000"/>
              <a:gd name="connsiteX763" fmla="*/ 3489712 w 7467600"/>
              <a:gd name="connsiteY763" fmla="*/ 485386 h 6858000"/>
              <a:gd name="connsiteX764" fmla="*/ 3182994 w 7467600"/>
              <a:gd name="connsiteY764" fmla="*/ 828265 h 6858000"/>
              <a:gd name="connsiteX765" fmla="*/ 2892114 w 7467600"/>
              <a:gd name="connsiteY765" fmla="*/ 1172635 h 6858000"/>
              <a:gd name="connsiteX766" fmla="*/ 3021459 w 7467600"/>
              <a:gd name="connsiteY766" fmla="*/ 1035385 h 6858000"/>
              <a:gd name="connsiteX767" fmla="*/ 3153873 w 7467600"/>
              <a:gd name="connsiteY767" fmla="*/ 898971 h 6858000"/>
              <a:gd name="connsiteX768" fmla="*/ 3276511 w 7467600"/>
              <a:gd name="connsiteY768" fmla="*/ 786423 h 6858000"/>
              <a:gd name="connsiteX769" fmla="*/ 3584154 w 7467600"/>
              <a:gd name="connsiteY769" fmla="*/ 448218 h 6858000"/>
              <a:gd name="connsiteX770" fmla="*/ 3624562 w 7467600"/>
              <a:gd name="connsiteY770" fmla="*/ 367041 h 6858000"/>
              <a:gd name="connsiteX771" fmla="*/ 3766672 w 7467600"/>
              <a:gd name="connsiteY771" fmla="*/ 359429 h 6858000"/>
              <a:gd name="connsiteX772" fmla="*/ 3996338 w 7467600"/>
              <a:gd name="connsiteY772" fmla="*/ 968237 h 6858000"/>
              <a:gd name="connsiteX773" fmla="*/ 3766672 w 7467600"/>
              <a:gd name="connsiteY773" fmla="*/ 359429 h 6858000"/>
              <a:gd name="connsiteX774" fmla="*/ 5805386 w 7467600"/>
              <a:gd name="connsiteY774" fmla="*/ 239240 h 6858000"/>
              <a:gd name="connsiteX775" fmla="*/ 5736947 w 7467600"/>
              <a:gd name="connsiteY775" fmla="*/ 261367 h 6858000"/>
              <a:gd name="connsiteX776" fmla="*/ 5427012 w 7467600"/>
              <a:gd name="connsiteY776" fmla="*/ 311272 h 6858000"/>
              <a:gd name="connsiteX777" fmla="*/ 5147818 w 7467600"/>
              <a:gd name="connsiteY777" fmla="*/ 322112 h 6858000"/>
              <a:gd name="connsiteX778" fmla="*/ 5060854 w 7467600"/>
              <a:gd name="connsiteY778" fmla="*/ 311882 h 6858000"/>
              <a:gd name="connsiteX779" fmla="*/ 4945989 w 7467600"/>
              <a:gd name="connsiteY779" fmla="*/ 300516 h 6858000"/>
              <a:gd name="connsiteX780" fmla="*/ 5410479 w 7467600"/>
              <a:gd name="connsiteY780" fmla="*/ 348434 h 6858000"/>
              <a:gd name="connsiteX781" fmla="*/ 5805386 w 7467600"/>
              <a:gd name="connsiteY781" fmla="*/ 239240 h 6858000"/>
              <a:gd name="connsiteX782" fmla="*/ 5905192 w 7467600"/>
              <a:gd name="connsiteY782" fmla="*/ 163079 h 6858000"/>
              <a:gd name="connsiteX783" fmla="*/ 5865655 w 7467600"/>
              <a:gd name="connsiteY783" fmla="*/ 171901 h 6858000"/>
              <a:gd name="connsiteX784" fmla="*/ 5259740 w 7467600"/>
              <a:gd name="connsiteY784" fmla="*/ 257013 h 6858000"/>
              <a:gd name="connsiteX785" fmla="*/ 5208466 w 7467600"/>
              <a:gd name="connsiteY785" fmla="*/ 257550 h 6858000"/>
              <a:gd name="connsiteX786" fmla="*/ 4980204 w 7467600"/>
              <a:gd name="connsiteY786" fmla="*/ 271903 h 6858000"/>
              <a:gd name="connsiteX787" fmla="*/ 5068068 w 7467600"/>
              <a:gd name="connsiteY787" fmla="*/ 282244 h 6858000"/>
              <a:gd name="connsiteX788" fmla="*/ 5153231 w 7467600"/>
              <a:gd name="connsiteY788" fmla="*/ 292240 h 6858000"/>
              <a:gd name="connsiteX789" fmla="*/ 5426491 w 7467600"/>
              <a:gd name="connsiteY789" fmla="*/ 281128 h 6858000"/>
              <a:gd name="connsiteX790" fmla="*/ 5731212 w 7467600"/>
              <a:gd name="connsiteY790" fmla="*/ 231951 h 6858000"/>
              <a:gd name="connsiteX791" fmla="*/ 5905192 w 7467600"/>
              <a:gd name="connsiteY791" fmla="*/ 163079 h 6858000"/>
              <a:gd name="connsiteX792" fmla="*/ 5944437 w 7467600"/>
              <a:gd name="connsiteY792" fmla="*/ 113829 h 6858000"/>
              <a:gd name="connsiteX793" fmla="*/ 5825032 w 7467600"/>
              <a:gd name="connsiteY793" fmla="*/ 146405 h 6858000"/>
              <a:gd name="connsiteX794" fmla="*/ 4955599 w 7467600"/>
              <a:gd name="connsiteY794" fmla="*/ 247008 h 6858000"/>
              <a:gd name="connsiteX795" fmla="*/ 5210104 w 7467600"/>
              <a:gd name="connsiteY795" fmla="*/ 228123 h 6858000"/>
              <a:gd name="connsiteX796" fmla="*/ 5261015 w 7467600"/>
              <a:gd name="connsiteY796" fmla="*/ 227087 h 6858000"/>
              <a:gd name="connsiteX797" fmla="*/ 5861181 w 7467600"/>
              <a:gd name="connsiteY797" fmla="*/ 143093 h 6858000"/>
              <a:gd name="connsiteX798" fmla="*/ 5961252 w 7467600"/>
              <a:gd name="connsiteY798" fmla="*/ 114820 h 6858000"/>
              <a:gd name="connsiteX799" fmla="*/ 5944437 w 7467600"/>
              <a:gd name="connsiteY799" fmla="*/ 113829 h 6858000"/>
              <a:gd name="connsiteX800" fmla="*/ 3882765 w 7467600"/>
              <a:gd name="connsiteY800" fmla="*/ 0 h 6858000"/>
              <a:gd name="connsiteX801" fmla="*/ 3995099 w 7467600"/>
              <a:gd name="connsiteY801" fmla="*/ 0 h 6858000"/>
              <a:gd name="connsiteX802" fmla="*/ 4163818 w 7467600"/>
              <a:gd name="connsiteY802" fmla="*/ 234104 h 6858000"/>
              <a:gd name="connsiteX803" fmla="*/ 4172099 w 7467600"/>
              <a:gd name="connsiteY803" fmla="*/ 234207 h 6858000"/>
              <a:gd name="connsiteX804" fmla="*/ 4784282 w 7467600"/>
              <a:gd name="connsiteY804" fmla="*/ 276561 h 6858000"/>
              <a:gd name="connsiteX805" fmla="*/ 4801687 w 7467600"/>
              <a:gd name="connsiteY805" fmla="*/ 267764 h 6858000"/>
              <a:gd name="connsiteX806" fmla="*/ 6082788 w 7467600"/>
              <a:gd name="connsiteY806" fmla="*/ 64119 h 6858000"/>
              <a:gd name="connsiteX807" fmla="*/ 6099442 w 7467600"/>
              <a:gd name="connsiteY807" fmla="*/ 82568 h 6858000"/>
              <a:gd name="connsiteX808" fmla="*/ 4804137 w 7467600"/>
              <a:gd name="connsiteY808" fmla="*/ 320931 h 6858000"/>
              <a:gd name="connsiteX809" fmla="*/ 4227047 w 7467600"/>
              <a:gd name="connsiteY809" fmla="*/ 313415 h 6858000"/>
              <a:gd name="connsiteX810" fmla="*/ 4346041 w 7467600"/>
              <a:gd name="connsiteY810" fmla="*/ 456086 h 6858000"/>
              <a:gd name="connsiteX811" fmla="*/ 4870967 w 7467600"/>
              <a:gd name="connsiteY811" fmla="*/ 963061 h 6858000"/>
              <a:gd name="connsiteX812" fmla="*/ 4889647 w 7467600"/>
              <a:gd name="connsiteY812" fmla="*/ 957147 h 6858000"/>
              <a:gd name="connsiteX813" fmla="*/ 5422504 w 7467600"/>
              <a:gd name="connsiteY813" fmla="*/ 805191 h 6858000"/>
              <a:gd name="connsiteX814" fmla="*/ 6087656 w 7467600"/>
              <a:gd name="connsiteY814" fmla="*/ 826703 h 6858000"/>
              <a:gd name="connsiteX815" fmla="*/ 6058717 w 7467600"/>
              <a:gd name="connsiteY815" fmla="*/ 865992 h 6858000"/>
              <a:gd name="connsiteX816" fmla="*/ 4974153 w 7467600"/>
              <a:gd name="connsiteY816" fmla="*/ 1045456 h 6858000"/>
              <a:gd name="connsiteX817" fmla="*/ 5627835 w 7467600"/>
              <a:gd name="connsiteY817" fmla="*/ 1472077 h 6858000"/>
              <a:gd name="connsiteX818" fmla="*/ 5629817 w 7467600"/>
              <a:gd name="connsiteY818" fmla="*/ 1471412 h 6858000"/>
              <a:gd name="connsiteX819" fmla="*/ 5634124 w 7467600"/>
              <a:gd name="connsiteY819" fmla="*/ 1470572 h 6858000"/>
              <a:gd name="connsiteX820" fmla="*/ 5755832 w 7467600"/>
              <a:gd name="connsiteY820" fmla="*/ 1383886 h 6858000"/>
              <a:gd name="connsiteX821" fmla="*/ 6014186 w 7467600"/>
              <a:gd name="connsiteY821" fmla="*/ 1279799 h 6858000"/>
              <a:gd name="connsiteX822" fmla="*/ 6901619 w 7467600"/>
              <a:gd name="connsiteY822" fmla="*/ 1047874 h 6858000"/>
              <a:gd name="connsiteX823" fmla="*/ 6931566 w 7467600"/>
              <a:gd name="connsiteY823" fmla="*/ 1062034 h 6858000"/>
              <a:gd name="connsiteX824" fmla="*/ 5790982 w 7467600"/>
              <a:gd name="connsiteY824" fmla="*/ 1561380 h 6858000"/>
              <a:gd name="connsiteX825" fmla="*/ 6188971 w 7467600"/>
              <a:gd name="connsiteY825" fmla="*/ 1755168 h 6858000"/>
              <a:gd name="connsiteX826" fmla="*/ 6202446 w 7467600"/>
              <a:gd name="connsiteY826" fmla="*/ 1752268 h 6858000"/>
              <a:gd name="connsiteX827" fmla="*/ 7179560 w 7467600"/>
              <a:gd name="connsiteY827" fmla="*/ 1467551 h 6858000"/>
              <a:gd name="connsiteX828" fmla="*/ 7158730 w 7467600"/>
              <a:gd name="connsiteY828" fmla="*/ 1507835 h 6858000"/>
              <a:gd name="connsiteX829" fmla="*/ 6326959 w 7467600"/>
              <a:gd name="connsiteY829" fmla="*/ 1817686 h 6858000"/>
              <a:gd name="connsiteX830" fmla="*/ 6537433 w 7467600"/>
              <a:gd name="connsiteY830" fmla="*/ 1907790 h 6858000"/>
              <a:gd name="connsiteX831" fmla="*/ 6550221 w 7467600"/>
              <a:gd name="connsiteY831" fmla="*/ 1910729 h 6858000"/>
              <a:gd name="connsiteX832" fmla="*/ 6964438 w 7467600"/>
              <a:gd name="connsiteY832" fmla="*/ 2209505 h 6858000"/>
              <a:gd name="connsiteX833" fmla="*/ 7367862 w 7467600"/>
              <a:gd name="connsiteY833" fmla="*/ 2806833 h 6858000"/>
              <a:gd name="connsiteX834" fmla="*/ 7364329 w 7467600"/>
              <a:gd name="connsiteY834" fmla="*/ 2826907 h 6858000"/>
              <a:gd name="connsiteX835" fmla="*/ 7290545 w 7467600"/>
              <a:gd name="connsiteY835" fmla="*/ 2850663 h 6858000"/>
              <a:gd name="connsiteX836" fmla="*/ 6472036 w 7467600"/>
              <a:gd name="connsiteY836" fmla="*/ 1959003 h 6858000"/>
              <a:gd name="connsiteX837" fmla="*/ 5792897 w 7467600"/>
              <a:gd name="connsiteY837" fmla="*/ 1647747 h 6858000"/>
              <a:gd name="connsiteX838" fmla="*/ 5842751 w 7467600"/>
              <a:gd name="connsiteY838" fmla="*/ 1816112 h 6858000"/>
              <a:gd name="connsiteX839" fmla="*/ 5847424 w 7467600"/>
              <a:gd name="connsiteY839" fmla="*/ 1815776 h 6858000"/>
              <a:gd name="connsiteX840" fmla="*/ 6399821 w 7467600"/>
              <a:gd name="connsiteY840" fmla="*/ 2344799 h 6858000"/>
              <a:gd name="connsiteX841" fmla="*/ 6323232 w 7467600"/>
              <a:gd name="connsiteY841" fmla="*/ 2389634 h 6858000"/>
              <a:gd name="connsiteX842" fmla="*/ 5942958 w 7467600"/>
              <a:gd name="connsiteY842" fmla="*/ 2077708 h 6858000"/>
              <a:gd name="connsiteX843" fmla="*/ 5921559 w 7467600"/>
              <a:gd name="connsiteY843" fmla="*/ 2378596 h 6858000"/>
              <a:gd name="connsiteX844" fmla="*/ 5817651 w 7467600"/>
              <a:gd name="connsiteY844" fmla="*/ 3023919 h 6858000"/>
              <a:gd name="connsiteX845" fmla="*/ 5729634 w 7467600"/>
              <a:gd name="connsiteY845" fmla="*/ 3051849 h 6858000"/>
              <a:gd name="connsiteX846" fmla="*/ 5611018 w 7467600"/>
              <a:gd name="connsiteY846" fmla="*/ 2316769 h 6858000"/>
              <a:gd name="connsiteX847" fmla="*/ 5687608 w 7467600"/>
              <a:gd name="connsiteY847" fmla="*/ 2039972 h 6858000"/>
              <a:gd name="connsiteX848" fmla="*/ 5657554 w 7467600"/>
              <a:gd name="connsiteY848" fmla="*/ 1576445 h 6858000"/>
              <a:gd name="connsiteX849" fmla="*/ 5150475 w 7467600"/>
              <a:gd name="connsiteY849" fmla="*/ 1274012 h 6858000"/>
              <a:gd name="connsiteX850" fmla="*/ 5349142 w 7467600"/>
              <a:gd name="connsiteY850" fmla="*/ 2204405 h 6858000"/>
              <a:gd name="connsiteX851" fmla="*/ 5262214 w 7467600"/>
              <a:gd name="connsiteY851" fmla="*/ 2233836 h 6858000"/>
              <a:gd name="connsiteX852" fmla="*/ 4981539 w 7467600"/>
              <a:gd name="connsiteY852" fmla="*/ 1542201 h 6858000"/>
              <a:gd name="connsiteX853" fmla="*/ 4958461 w 7467600"/>
              <a:gd name="connsiteY853" fmla="*/ 1136957 h 6858000"/>
              <a:gd name="connsiteX854" fmla="*/ 4655015 w 7467600"/>
              <a:gd name="connsiteY854" fmla="*/ 891426 h 6858000"/>
              <a:gd name="connsiteX855" fmla="*/ 4348002 w 7467600"/>
              <a:gd name="connsiteY855" fmla="*/ 2205895 h 6858000"/>
              <a:gd name="connsiteX856" fmla="*/ 4262250 w 7467600"/>
              <a:gd name="connsiteY856" fmla="*/ 2219972 h 6858000"/>
              <a:gd name="connsiteX857" fmla="*/ 4550611 w 7467600"/>
              <a:gd name="connsiteY857" fmla="*/ 817540 h 6858000"/>
              <a:gd name="connsiteX858" fmla="*/ 4564418 w 7467600"/>
              <a:gd name="connsiteY858" fmla="*/ 808293 h 6858000"/>
              <a:gd name="connsiteX859" fmla="*/ 4266388 w 7467600"/>
              <a:gd name="connsiteY859" fmla="*/ 500083 h 6858000"/>
              <a:gd name="connsiteX860" fmla="*/ 4032842 w 7467600"/>
              <a:gd name="connsiteY860" fmla="*/ 211809 h 6858000"/>
              <a:gd name="connsiteX861" fmla="*/ 3882765 w 7467600"/>
              <a:gd name="connsiteY861" fmla="*/ 0 h 6858000"/>
              <a:gd name="connsiteX862" fmla="*/ 3721337 w 7467600"/>
              <a:gd name="connsiteY862" fmla="*/ 0 h 6858000"/>
              <a:gd name="connsiteX863" fmla="*/ 3797544 w 7467600"/>
              <a:gd name="connsiteY863" fmla="*/ 0 h 6858000"/>
              <a:gd name="connsiteX864" fmla="*/ 3775734 w 7467600"/>
              <a:gd name="connsiteY864" fmla="*/ 95131 h 6858000"/>
              <a:gd name="connsiteX865" fmla="*/ 3724807 w 7467600"/>
              <a:gd name="connsiteY865" fmla="*/ 272257 h 6858000"/>
              <a:gd name="connsiteX866" fmla="*/ 3726844 w 7467600"/>
              <a:gd name="connsiteY866" fmla="*/ 282988 h 6858000"/>
              <a:gd name="connsiteX867" fmla="*/ 3742664 w 7467600"/>
              <a:gd name="connsiteY867" fmla="*/ 279918 h 6858000"/>
              <a:gd name="connsiteX868" fmla="*/ 4103910 w 7467600"/>
              <a:gd name="connsiteY868" fmla="*/ 1161917 h 6858000"/>
              <a:gd name="connsiteX869" fmla="*/ 4020269 w 7467600"/>
              <a:gd name="connsiteY869" fmla="*/ 1200406 h 6858000"/>
              <a:gd name="connsiteX870" fmla="*/ 3674882 w 7467600"/>
              <a:gd name="connsiteY870" fmla="*/ 488524 h 6858000"/>
              <a:gd name="connsiteX871" fmla="*/ 3132682 w 7467600"/>
              <a:gd name="connsiteY871" fmla="*/ 1072284 h 6858000"/>
              <a:gd name="connsiteX872" fmla="*/ 2716346 w 7467600"/>
              <a:gd name="connsiteY872" fmla="*/ 1276376 h 6858000"/>
              <a:gd name="connsiteX873" fmla="*/ 2716772 w 7467600"/>
              <a:gd name="connsiteY873" fmla="*/ 1255462 h 6858000"/>
              <a:gd name="connsiteX874" fmla="*/ 3471096 w 7467600"/>
              <a:gd name="connsiteY874" fmla="*/ 437072 h 6858000"/>
              <a:gd name="connsiteX875" fmla="*/ 3639057 w 7467600"/>
              <a:gd name="connsiteY875" fmla="*/ 286334 h 6858000"/>
              <a:gd name="connsiteX876" fmla="*/ 3640309 w 7467600"/>
              <a:gd name="connsiteY876" fmla="*/ 284664 h 6858000"/>
              <a:gd name="connsiteX877" fmla="*/ 3646022 w 7467600"/>
              <a:gd name="connsiteY877" fmla="*/ 276711 h 6858000"/>
              <a:gd name="connsiteX878" fmla="*/ 3707943 w 7467600"/>
              <a:gd name="connsiteY878" fmla="*/ 65958 h 6858000"/>
              <a:gd name="connsiteX879" fmla="*/ 3721337 w 7467600"/>
              <a:gd name="connsiteY879" fmla="*/ 0 h 6858000"/>
              <a:gd name="connsiteX880" fmla="*/ 2867960 w 7467600"/>
              <a:gd name="connsiteY880" fmla="*/ 0 h 6858000"/>
              <a:gd name="connsiteX881" fmla="*/ 2926351 w 7467600"/>
              <a:gd name="connsiteY881" fmla="*/ 0 h 6858000"/>
              <a:gd name="connsiteX882" fmla="*/ 2902823 w 7467600"/>
              <a:gd name="connsiteY882" fmla="*/ 262929 h 6858000"/>
              <a:gd name="connsiteX883" fmla="*/ 2940663 w 7467600"/>
              <a:gd name="connsiteY883" fmla="*/ 140884 h 6858000"/>
              <a:gd name="connsiteX884" fmla="*/ 2947039 w 7467600"/>
              <a:gd name="connsiteY884" fmla="*/ 122524 h 6858000"/>
              <a:gd name="connsiteX885" fmla="*/ 2984316 w 7467600"/>
              <a:gd name="connsiteY885" fmla="*/ 0 h 6858000"/>
              <a:gd name="connsiteX886" fmla="*/ 3016114 w 7467600"/>
              <a:gd name="connsiteY886" fmla="*/ 0 h 6858000"/>
              <a:gd name="connsiteX887" fmla="*/ 2979949 w 7467600"/>
              <a:gd name="connsiteY887" fmla="*/ 119274 h 6858000"/>
              <a:gd name="connsiteX888" fmla="*/ 3023879 w 7467600"/>
              <a:gd name="connsiteY888" fmla="*/ 0 h 6858000"/>
              <a:gd name="connsiteX889" fmla="*/ 3105400 w 7467600"/>
              <a:gd name="connsiteY889" fmla="*/ 0 h 6858000"/>
              <a:gd name="connsiteX890" fmla="*/ 3094669 w 7467600"/>
              <a:gd name="connsiteY890" fmla="*/ 30308 h 6858000"/>
              <a:gd name="connsiteX891" fmla="*/ 2901945 w 7467600"/>
              <a:gd name="connsiteY891" fmla="*/ 466538 h 6858000"/>
              <a:gd name="connsiteX892" fmla="*/ 2815209 w 7467600"/>
              <a:gd name="connsiteY892" fmla="*/ 497361 h 6858000"/>
              <a:gd name="connsiteX893" fmla="*/ 2844845 w 7467600"/>
              <a:gd name="connsiteY893" fmla="*/ 127638 h 6858000"/>
              <a:gd name="connsiteX894" fmla="*/ 2867960 w 7467600"/>
              <a:gd name="connsiteY894" fmla="*/ 0 h 6858000"/>
              <a:gd name="connsiteX895" fmla="*/ 1057230 w 7467600"/>
              <a:gd name="connsiteY895" fmla="*/ 0 h 6858000"/>
              <a:gd name="connsiteX896" fmla="*/ 1111003 w 7467600"/>
              <a:gd name="connsiteY896" fmla="*/ 0 h 6858000"/>
              <a:gd name="connsiteX897" fmla="*/ 1125553 w 7467600"/>
              <a:gd name="connsiteY897" fmla="*/ 52588 h 6858000"/>
              <a:gd name="connsiteX898" fmla="*/ 1304276 w 7467600"/>
              <a:gd name="connsiteY898" fmla="*/ 476275 h 6858000"/>
              <a:gd name="connsiteX899" fmla="*/ 1492066 w 7467600"/>
              <a:gd name="connsiteY899" fmla="*/ 886333 h 6858000"/>
              <a:gd name="connsiteX900" fmla="*/ 1423698 w 7467600"/>
              <a:gd name="connsiteY900" fmla="*/ 710817 h 6858000"/>
              <a:gd name="connsiteX901" fmla="*/ 1357609 w 7467600"/>
              <a:gd name="connsiteY901" fmla="*/ 532892 h 6858000"/>
              <a:gd name="connsiteX902" fmla="*/ 1309550 w 7467600"/>
              <a:gd name="connsiteY902" fmla="*/ 374031 h 6858000"/>
              <a:gd name="connsiteX903" fmla="*/ 1193673 w 7467600"/>
              <a:gd name="connsiteY903" fmla="*/ 49533 h 6858000"/>
              <a:gd name="connsiteX904" fmla="*/ 1164391 w 7467600"/>
              <a:gd name="connsiteY904" fmla="*/ 0 h 6858000"/>
              <a:gd name="connsiteX905" fmla="*/ 1200666 w 7467600"/>
              <a:gd name="connsiteY905" fmla="*/ 0 h 6858000"/>
              <a:gd name="connsiteX906" fmla="*/ 1223408 w 7467600"/>
              <a:gd name="connsiteY906" fmla="*/ 38996 h 6858000"/>
              <a:gd name="connsiteX907" fmla="*/ 1339635 w 7467600"/>
              <a:gd name="connsiteY907" fmla="*/ 365517 h 6858000"/>
              <a:gd name="connsiteX908" fmla="*/ 1387469 w 7467600"/>
              <a:gd name="connsiteY908" fmla="*/ 523079 h 6858000"/>
              <a:gd name="connsiteX909" fmla="*/ 1452685 w 7467600"/>
              <a:gd name="connsiteY909" fmla="*/ 699806 h 6858000"/>
              <a:gd name="connsiteX910" fmla="*/ 1492092 w 7467600"/>
              <a:gd name="connsiteY910" fmla="*/ 800424 h 6858000"/>
              <a:gd name="connsiteX911" fmla="*/ 1455302 w 7467600"/>
              <a:gd name="connsiteY911" fmla="*/ 632913 h 6858000"/>
              <a:gd name="connsiteX912" fmla="*/ 1222336 w 7467600"/>
              <a:gd name="connsiteY912" fmla="*/ 9480 h 6858000"/>
              <a:gd name="connsiteX913" fmla="*/ 1214634 w 7467600"/>
              <a:gd name="connsiteY913" fmla="*/ 0 h 6858000"/>
              <a:gd name="connsiteX914" fmla="*/ 1289827 w 7467600"/>
              <a:gd name="connsiteY914" fmla="*/ 0 h 6858000"/>
              <a:gd name="connsiteX915" fmla="*/ 1321076 w 7467600"/>
              <a:gd name="connsiteY915" fmla="*/ 59722 h 6858000"/>
              <a:gd name="connsiteX916" fmla="*/ 1512579 w 7467600"/>
              <a:gd name="connsiteY916" fmla="*/ 626441 h 6858000"/>
              <a:gd name="connsiteX917" fmla="*/ 1506076 w 7467600"/>
              <a:gd name="connsiteY917" fmla="*/ 1089289 h 6858000"/>
              <a:gd name="connsiteX918" fmla="*/ 1486346 w 7467600"/>
              <a:gd name="connsiteY918" fmla="*/ 1079919 h 6858000"/>
              <a:gd name="connsiteX919" fmla="*/ 1070511 w 7467600"/>
              <a:gd name="connsiteY919" fmla="*/ 48609 h 6858000"/>
              <a:gd name="connsiteX920" fmla="*/ 1057230 w 7467600"/>
              <a:gd name="connsiteY920" fmla="*/ 0 h 6858000"/>
              <a:gd name="connsiteX921" fmla="*/ 43151 w 7467600"/>
              <a:gd name="connsiteY921" fmla="*/ 0 h 6858000"/>
              <a:gd name="connsiteX922" fmla="*/ 95283 w 7467600"/>
              <a:gd name="connsiteY922" fmla="*/ 0 h 6858000"/>
              <a:gd name="connsiteX923" fmla="*/ 300708 w 7467600"/>
              <a:gd name="connsiteY923" fmla="*/ 154571 h 6858000"/>
              <a:gd name="connsiteX924" fmla="*/ 530414 w 7467600"/>
              <a:gd name="connsiteY924" fmla="*/ 354673 h 6858000"/>
              <a:gd name="connsiteX925" fmla="*/ 333785 w 7467600"/>
              <a:gd name="connsiteY925" fmla="*/ 161564 h 6858000"/>
              <a:gd name="connsiteX926" fmla="*/ 147005 w 7467600"/>
              <a:gd name="connsiteY926" fmla="*/ 0 h 6858000"/>
              <a:gd name="connsiteX927" fmla="*/ 272509 w 7467600"/>
              <a:gd name="connsiteY927" fmla="*/ 0 h 6858000"/>
              <a:gd name="connsiteX928" fmla="*/ 326276 w 7467600"/>
              <a:gd name="connsiteY928" fmla="*/ 45847 h 6858000"/>
              <a:gd name="connsiteX929" fmla="*/ 823759 w 7467600"/>
              <a:gd name="connsiteY929" fmla="*/ 574145 h 6858000"/>
              <a:gd name="connsiteX930" fmla="*/ 811254 w 7467600"/>
              <a:gd name="connsiteY930" fmla="*/ 665546 h 6858000"/>
              <a:gd name="connsiteX931" fmla="*/ 154042 w 7467600"/>
              <a:gd name="connsiteY931" fmla="*/ 261522 h 6858000"/>
              <a:gd name="connsiteX932" fmla="*/ 13550 w 7467600"/>
              <a:gd name="connsiteY932" fmla="*/ 158423 h 6858000"/>
              <a:gd name="connsiteX933" fmla="*/ 0 w 7467600"/>
              <a:gd name="connsiteY933" fmla="*/ 146618 h 6858000"/>
              <a:gd name="connsiteX934" fmla="*/ 0 w 7467600"/>
              <a:gd name="connsiteY934" fmla="*/ 59161 h 6858000"/>
              <a:gd name="connsiteX935" fmla="*/ 45427 w 7467600"/>
              <a:gd name="connsiteY935" fmla="*/ 101078 h 6858000"/>
              <a:gd name="connsiteX936" fmla="*/ 630103 w 7467600"/>
              <a:gd name="connsiteY936" fmla="*/ 485885 h 6858000"/>
              <a:gd name="connsiteX937" fmla="*/ 532040 w 7467600"/>
              <a:gd name="connsiteY937" fmla="*/ 399359 h 6858000"/>
              <a:gd name="connsiteX938" fmla="*/ 517618 w 7467600"/>
              <a:gd name="connsiteY938" fmla="*/ 385726 h 6858000"/>
              <a:gd name="connsiteX939" fmla="*/ 285074 w 7467600"/>
              <a:gd name="connsiteY939" fmla="*/ 182755 h 6858000"/>
              <a:gd name="connsiteX940" fmla="*/ 43151 w 7467600"/>
              <a:gd name="connsiteY940"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467600 w 7467600"/>
              <a:gd name="connsiteY4" fmla="*/ 6668575 h 6858000"/>
              <a:gd name="connsiteX5" fmla="*/ 7440138 w 7467600"/>
              <a:gd name="connsiteY5" fmla="*/ 6622648 h 6858000"/>
              <a:gd name="connsiteX6" fmla="*/ 7467600 w 7467600"/>
              <a:gd name="connsiteY6" fmla="*/ 6628217 h 6858000"/>
              <a:gd name="connsiteX7" fmla="*/ 7467600 w 7467600"/>
              <a:gd name="connsiteY7" fmla="*/ 6668575 h 6858000"/>
              <a:gd name="connsiteX8" fmla="*/ 1019354 w 7467600"/>
              <a:gd name="connsiteY8" fmla="*/ 6315006 h 6858000"/>
              <a:gd name="connsiteX9" fmla="*/ 441046 w 7467600"/>
              <a:gd name="connsiteY9" fmla="*/ 6691153 h 6858000"/>
              <a:gd name="connsiteX10" fmla="*/ 1019354 w 7467600"/>
              <a:gd name="connsiteY10" fmla="*/ 6315006 h 6858000"/>
              <a:gd name="connsiteX11" fmla="*/ 991680 w 7467600"/>
              <a:gd name="connsiteY11" fmla="*/ 6298413 h 6858000"/>
              <a:gd name="connsiteX12" fmla="*/ 409060 w 7467600"/>
              <a:gd name="connsiteY12" fmla="*/ 6671470 h 6858000"/>
              <a:gd name="connsiteX13" fmla="*/ 991680 w 7467600"/>
              <a:gd name="connsiteY13" fmla="*/ 6298413 h 6858000"/>
              <a:gd name="connsiteX14" fmla="*/ 103333 w 7467600"/>
              <a:gd name="connsiteY14" fmla="*/ 5699602 h 6858000"/>
              <a:gd name="connsiteX15" fmla="*/ 233938 w 7467600"/>
              <a:gd name="connsiteY15" fmla="*/ 5809416 h 6858000"/>
              <a:gd name="connsiteX16" fmla="*/ 883580 w 7467600"/>
              <a:gd name="connsiteY16" fmla="*/ 6180710 h 6858000"/>
              <a:gd name="connsiteX17" fmla="*/ 487337 w 7467600"/>
              <a:gd name="connsiteY17" fmla="*/ 5950182 h 6858000"/>
              <a:gd name="connsiteX18" fmla="*/ 354051 w 7467600"/>
              <a:gd name="connsiteY18" fmla="*/ 5854912 h 6858000"/>
              <a:gd name="connsiteX19" fmla="*/ 195436 w 7467600"/>
              <a:gd name="connsiteY19" fmla="*/ 5755068 h 6858000"/>
              <a:gd name="connsiteX20" fmla="*/ 103333 w 7467600"/>
              <a:gd name="connsiteY20" fmla="*/ 5699602 h 6858000"/>
              <a:gd name="connsiteX21" fmla="*/ 5539432 w 7467600"/>
              <a:gd name="connsiteY21" fmla="*/ 5642928 h 6858000"/>
              <a:gd name="connsiteX22" fmla="*/ 5555462 w 7467600"/>
              <a:gd name="connsiteY22" fmla="*/ 5694454 h 6858000"/>
              <a:gd name="connsiteX23" fmla="*/ 5828270 w 7467600"/>
              <a:gd name="connsiteY23" fmla="*/ 6320663 h 6858000"/>
              <a:gd name="connsiteX24" fmla="*/ 5947416 w 7467600"/>
              <a:gd name="connsiteY24" fmla="*/ 6574846 h 6858000"/>
              <a:gd name="connsiteX25" fmla="*/ 5539432 w 7467600"/>
              <a:gd name="connsiteY25" fmla="*/ 5642928 h 6858000"/>
              <a:gd name="connsiteX26" fmla="*/ 51253 w 7467600"/>
              <a:gd name="connsiteY26" fmla="*/ 5631825 h 6858000"/>
              <a:gd name="connsiteX27" fmla="*/ 211622 w 7467600"/>
              <a:gd name="connsiteY27" fmla="*/ 5728803 h 6858000"/>
              <a:gd name="connsiteX28" fmla="*/ 371652 w 7467600"/>
              <a:gd name="connsiteY28" fmla="*/ 5829062 h 6858000"/>
              <a:gd name="connsiteX29" fmla="*/ 505903 w 7467600"/>
              <a:gd name="connsiteY29" fmla="*/ 5925221 h 6858000"/>
              <a:gd name="connsiteX30" fmla="*/ 899240 w 7467600"/>
              <a:gd name="connsiteY30" fmla="*/ 6153068 h 6858000"/>
              <a:gd name="connsiteX31" fmla="*/ 988114 w 7467600"/>
              <a:gd name="connsiteY31" fmla="*/ 6174204 h 6858000"/>
              <a:gd name="connsiteX32" fmla="*/ 845971 w 7467600"/>
              <a:gd name="connsiteY32" fmla="*/ 6067177 h 6858000"/>
              <a:gd name="connsiteX33" fmla="*/ 448057 w 7467600"/>
              <a:gd name="connsiteY33" fmla="*/ 5841376 h 6858000"/>
              <a:gd name="connsiteX34" fmla="*/ 51253 w 7467600"/>
              <a:gd name="connsiteY34" fmla="*/ 5631825 h 6858000"/>
              <a:gd name="connsiteX35" fmla="*/ 2606687 w 7467600"/>
              <a:gd name="connsiteY35" fmla="*/ 5630718 h 6858000"/>
              <a:gd name="connsiteX36" fmla="*/ 2645658 w 7467600"/>
              <a:gd name="connsiteY36" fmla="*/ 6640259 h 6858000"/>
              <a:gd name="connsiteX37" fmla="*/ 2606687 w 7467600"/>
              <a:gd name="connsiteY37" fmla="*/ 5630718 h 6858000"/>
              <a:gd name="connsiteX38" fmla="*/ 3642057 w 7467600"/>
              <a:gd name="connsiteY38" fmla="*/ 5573487 h 6858000"/>
              <a:gd name="connsiteX39" fmla="*/ 3632981 w 7467600"/>
              <a:gd name="connsiteY39" fmla="*/ 5579437 h 6858000"/>
              <a:gd name="connsiteX40" fmla="*/ 3382436 w 7467600"/>
              <a:gd name="connsiteY40" fmla="*/ 5952726 h 6858000"/>
              <a:gd name="connsiteX41" fmla="*/ 3191929 w 7467600"/>
              <a:gd name="connsiteY41" fmla="*/ 6662669 h 6858000"/>
              <a:gd name="connsiteX42" fmla="*/ 3369898 w 7467600"/>
              <a:gd name="connsiteY42" fmla="*/ 6081771 h 6858000"/>
              <a:gd name="connsiteX43" fmla="*/ 3642057 w 7467600"/>
              <a:gd name="connsiteY43" fmla="*/ 5573487 h 6858000"/>
              <a:gd name="connsiteX44" fmla="*/ 2650666 w 7467600"/>
              <a:gd name="connsiteY44" fmla="*/ 5530686 h 6858000"/>
              <a:gd name="connsiteX45" fmla="*/ 2650249 w 7467600"/>
              <a:gd name="connsiteY45" fmla="*/ 5532101 h 6858000"/>
              <a:gd name="connsiteX46" fmla="*/ 2663808 w 7467600"/>
              <a:gd name="connsiteY46" fmla="*/ 6535215 h 6858000"/>
              <a:gd name="connsiteX47" fmla="*/ 2665418 w 7467600"/>
              <a:gd name="connsiteY47" fmla="*/ 6132756 h 6858000"/>
              <a:gd name="connsiteX48" fmla="*/ 2650666 w 7467600"/>
              <a:gd name="connsiteY48" fmla="*/ 5530686 h 6858000"/>
              <a:gd name="connsiteX49" fmla="*/ 2680277 w 7467600"/>
              <a:gd name="connsiteY49" fmla="*/ 5479204 h 6858000"/>
              <a:gd name="connsiteX50" fmla="*/ 2678972 w 7467600"/>
              <a:gd name="connsiteY50" fmla="*/ 5481582 h 6858000"/>
              <a:gd name="connsiteX51" fmla="*/ 2696666 w 7467600"/>
              <a:gd name="connsiteY51" fmla="*/ 6133836 h 6858000"/>
              <a:gd name="connsiteX52" fmla="*/ 2695769 w 7467600"/>
              <a:gd name="connsiteY52" fmla="*/ 6390955 h 6858000"/>
              <a:gd name="connsiteX53" fmla="*/ 2739893 w 7467600"/>
              <a:gd name="connsiteY53" fmla="*/ 6108357 h 6858000"/>
              <a:gd name="connsiteX54" fmla="*/ 2680277 w 7467600"/>
              <a:gd name="connsiteY54" fmla="*/ 5479204 h 6858000"/>
              <a:gd name="connsiteX55" fmla="*/ 1132195 w 7467600"/>
              <a:gd name="connsiteY55" fmla="*/ 5467980 h 6858000"/>
              <a:gd name="connsiteX56" fmla="*/ 1679056 w 7467600"/>
              <a:gd name="connsiteY56" fmla="*/ 5516907 h 6858000"/>
              <a:gd name="connsiteX57" fmla="*/ 2128648 w 7467600"/>
              <a:gd name="connsiteY57" fmla="*/ 5474249 h 6858000"/>
              <a:gd name="connsiteX58" fmla="*/ 1825619 w 7467600"/>
              <a:gd name="connsiteY58" fmla="*/ 5478447 h 6858000"/>
              <a:gd name="connsiteX59" fmla="*/ 1737798 w 7467600"/>
              <a:gd name="connsiteY59" fmla="*/ 5483353 h 6858000"/>
              <a:gd name="connsiteX60" fmla="*/ 1132195 w 7467600"/>
              <a:gd name="connsiteY60" fmla="*/ 5467980 h 6858000"/>
              <a:gd name="connsiteX61" fmla="*/ 1456157 w 7467600"/>
              <a:gd name="connsiteY61" fmla="*/ 5371404 h 6858000"/>
              <a:gd name="connsiteX62" fmla="*/ 1244432 w 7467600"/>
              <a:gd name="connsiteY62" fmla="*/ 5385601 h 6858000"/>
              <a:gd name="connsiteX63" fmla="*/ 973990 w 7467600"/>
              <a:gd name="connsiteY63" fmla="*/ 5424940 h 6858000"/>
              <a:gd name="connsiteX64" fmla="*/ 1103809 w 7467600"/>
              <a:gd name="connsiteY64" fmla="*/ 5433720 h 6858000"/>
              <a:gd name="connsiteX65" fmla="*/ 1123454 w 7467600"/>
              <a:gd name="connsiteY65" fmla="*/ 5435727 h 6858000"/>
              <a:gd name="connsiteX66" fmla="*/ 1737017 w 7467600"/>
              <a:gd name="connsiteY66" fmla="*/ 5452183 h 6858000"/>
              <a:gd name="connsiteX67" fmla="*/ 1824397 w 7467600"/>
              <a:gd name="connsiteY67" fmla="*/ 5447757 h 6858000"/>
              <a:gd name="connsiteX68" fmla="*/ 2070059 w 7467600"/>
              <a:gd name="connsiteY68" fmla="*/ 5441660 h 6858000"/>
              <a:gd name="connsiteX69" fmla="*/ 1456157 w 7467600"/>
              <a:gd name="connsiteY69" fmla="*/ 5371404 h 6858000"/>
              <a:gd name="connsiteX70" fmla="*/ 4988186 w 7467600"/>
              <a:gd name="connsiteY70" fmla="*/ 5216467 h 6858000"/>
              <a:gd name="connsiteX71" fmla="*/ 4777334 w 7467600"/>
              <a:gd name="connsiteY71" fmla="*/ 5406072 h 6858000"/>
              <a:gd name="connsiteX72" fmla="*/ 4718341 w 7467600"/>
              <a:gd name="connsiteY72" fmla="*/ 5468043 h 6858000"/>
              <a:gd name="connsiteX73" fmla="*/ 4604655 w 7467600"/>
              <a:gd name="connsiteY73" fmla="*/ 5583434 h 6858000"/>
              <a:gd name="connsiteX74" fmla="*/ 4565074 w 7467600"/>
              <a:gd name="connsiteY74" fmla="*/ 5618550 h 6858000"/>
              <a:gd name="connsiteX75" fmla="*/ 4988186 w 7467600"/>
              <a:gd name="connsiteY75" fmla="*/ 5216467 h 6858000"/>
              <a:gd name="connsiteX76" fmla="*/ 4978032 w 7467600"/>
              <a:gd name="connsiteY76" fmla="*/ 5183809 h 6858000"/>
              <a:gd name="connsiteX77" fmla="*/ 4463413 w 7467600"/>
              <a:gd name="connsiteY77" fmla="*/ 5615162 h 6858000"/>
              <a:gd name="connsiteX78" fmla="*/ 4358134 w 7467600"/>
              <a:gd name="connsiteY78" fmla="*/ 5742791 h 6858000"/>
              <a:gd name="connsiteX79" fmla="*/ 4376219 w 7467600"/>
              <a:gd name="connsiteY79" fmla="*/ 5729027 h 6858000"/>
              <a:gd name="connsiteX80" fmla="*/ 4582340 w 7467600"/>
              <a:gd name="connsiteY80" fmla="*/ 5561037 h 6858000"/>
              <a:gd name="connsiteX81" fmla="*/ 4694684 w 7467600"/>
              <a:gd name="connsiteY81" fmla="*/ 5447098 h 6858000"/>
              <a:gd name="connsiteX82" fmla="*/ 4754123 w 7467600"/>
              <a:gd name="connsiteY82" fmla="*/ 5384643 h 6858000"/>
              <a:gd name="connsiteX83" fmla="*/ 4978032 w 7467600"/>
              <a:gd name="connsiteY83" fmla="*/ 5183809 h 6858000"/>
              <a:gd name="connsiteX84" fmla="*/ 1903353 w 7467600"/>
              <a:gd name="connsiteY84" fmla="*/ 5044827 h 6858000"/>
              <a:gd name="connsiteX85" fmla="*/ 1936931 w 7467600"/>
              <a:gd name="connsiteY85" fmla="*/ 5093954 h 6858000"/>
              <a:gd name="connsiteX86" fmla="*/ 2195868 w 7467600"/>
              <a:gd name="connsiteY86" fmla="*/ 5396574 h 6858000"/>
              <a:gd name="connsiteX87" fmla="*/ 2088852 w 7467600"/>
              <a:gd name="connsiteY87" fmla="*/ 5166123 h 6858000"/>
              <a:gd name="connsiteX88" fmla="*/ 1958241 w 7467600"/>
              <a:gd name="connsiteY88" fmla="*/ 5067955 h 6858000"/>
              <a:gd name="connsiteX89" fmla="*/ 1903353 w 7467600"/>
              <a:gd name="connsiteY89" fmla="*/ 5044827 h 6858000"/>
              <a:gd name="connsiteX90" fmla="*/ 1979378 w 7467600"/>
              <a:gd name="connsiteY90" fmla="*/ 4769504 h 6858000"/>
              <a:gd name="connsiteX91" fmla="*/ 2882120 w 7467600"/>
              <a:gd name="connsiteY91" fmla="*/ 5064547 h 6858000"/>
              <a:gd name="connsiteX92" fmla="*/ 2793103 w 7467600"/>
              <a:gd name="connsiteY92" fmla="*/ 5039699 h 6858000"/>
              <a:gd name="connsiteX93" fmla="*/ 2770041 w 7467600"/>
              <a:gd name="connsiteY93" fmla="*/ 5033634 h 6858000"/>
              <a:gd name="connsiteX94" fmla="*/ 1979378 w 7467600"/>
              <a:gd name="connsiteY94" fmla="*/ 4769504 h 6858000"/>
              <a:gd name="connsiteX95" fmla="*/ 1927410 w 7467600"/>
              <a:gd name="connsiteY95" fmla="*/ 4716164 h 6858000"/>
              <a:gd name="connsiteX96" fmla="*/ 1959587 w 7467600"/>
              <a:gd name="connsiteY96" fmla="*/ 4728849 h 6858000"/>
              <a:gd name="connsiteX97" fmla="*/ 2777707 w 7467600"/>
              <a:gd name="connsiteY97" fmla="*/ 5003991 h 6858000"/>
              <a:gd name="connsiteX98" fmla="*/ 2800768 w 7467600"/>
              <a:gd name="connsiteY98" fmla="*/ 5010056 h 6858000"/>
              <a:gd name="connsiteX99" fmla="*/ 2879408 w 7467600"/>
              <a:gd name="connsiteY99" fmla="*/ 5031590 h 6858000"/>
              <a:gd name="connsiteX100" fmla="*/ 2862295 w 7467600"/>
              <a:gd name="connsiteY100" fmla="*/ 5022958 h 6858000"/>
              <a:gd name="connsiteX101" fmla="*/ 2813343 w 7467600"/>
              <a:gd name="connsiteY101" fmla="*/ 4998369 h 6858000"/>
              <a:gd name="connsiteX102" fmla="*/ 2646245 w 7467600"/>
              <a:gd name="connsiteY102" fmla="*/ 4930999 h 6858000"/>
              <a:gd name="connsiteX103" fmla="*/ 1999243 w 7467600"/>
              <a:gd name="connsiteY103" fmla="*/ 4730524 h 6858000"/>
              <a:gd name="connsiteX104" fmla="*/ 1979527 w 7467600"/>
              <a:gd name="connsiteY104" fmla="*/ 4726651 h 6858000"/>
              <a:gd name="connsiteX105" fmla="*/ 1927410 w 7467600"/>
              <a:gd name="connsiteY105" fmla="*/ 4716164 h 6858000"/>
              <a:gd name="connsiteX106" fmla="*/ 1997014 w 7467600"/>
              <a:gd name="connsiteY106" fmla="*/ 4698007 h 6858000"/>
              <a:gd name="connsiteX107" fmla="*/ 2005458 w 7467600"/>
              <a:gd name="connsiteY107" fmla="*/ 4699540 h 6858000"/>
              <a:gd name="connsiteX108" fmla="*/ 2657186 w 7467600"/>
              <a:gd name="connsiteY108" fmla="*/ 4901687 h 6858000"/>
              <a:gd name="connsiteX109" fmla="*/ 2826662 w 7467600"/>
              <a:gd name="connsiteY109" fmla="*/ 4970362 h 6858000"/>
              <a:gd name="connsiteX110" fmla="*/ 2876100 w 7467600"/>
              <a:gd name="connsiteY110" fmla="*/ 4995397 h 6858000"/>
              <a:gd name="connsiteX111" fmla="*/ 3042600 w 7467600"/>
              <a:gd name="connsiteY111" fmla="*/ 5059532 h 6858000"/>
              <a:gd name="connsiteX112" fmla="*/ 1997014 w 7467600"/>
              <a:gd name="connsiteY112" fmla="*/ 4698007 h 6858000"/>
              <a:gd name="connsiteX113" fmla="*/ 2305292 w 7467600"/>
              <a:gd name="connsiteY113" fmla="*/ 4219492 h 6858000"/>
              <a:gd name="connsiteX114" fmla="*/ 3360922 w 7467600"/>
              <a:gd name="connsiteY114" fmla="*/ 4529373 h 6858000"/>
              <a:gd name="connsiteX115" fmla="*/ 3492420 w 7467600"/>
              <a:gd name="connsiteY115" fmla="*/ 4510145 h 6858000"/>
              <a:gd name="connsiteX116" fmla="*/ 3364086 w 7467600"/>
              <a:gd name="connsiteY116" fmla="*/ 4480340 h 6858000"/>
              <a:gd name="connsiteX117" fmla="*/ 3225818 w 7467600"/>
              <a:gd name="connsiteY117" fmla="*/ 4411822 h 6858000"/>
              <a:gd name="connsiteX118" fmla="*/ 3129696 w 7467600"/>
              <a:gd name="connsiteY118" fmla="*/ 4360704 h 6858000"/>
              <a:gd name="connsiteX119" fmla="*/ 2814545 w 7467600"/>
              <a:gd name="connsiteY119" fmla="*/ 4282955 h 6858000"/>
              <a:gd name="connsiteX120" fmla="*/ 2305292 w 7467600"/>
              <a:gd name="connsiteY120" fmla="*/ 4219492 h 6858000"/>
              <a:gd name="connsiteX121" fmla="*/ 2626982 w 7467600"/>
              <a:gd name="connsiteY121" fmla="*/ 4206450 h 6858000"/>
              <a:gd name="connsiteX122" fmla="*/ 2490617 w 7467600"/>
              <a:gd name="connsiteY122" fmla="*/ 4206951 h 6858000"/>
              <a:gd name="connsiteX123" fmla="*/ 2819869 w 7467600"/>
              <a:gd name="connsiteY123" fmla="*/ 4252936 h 6858000"/>
              <a:gd name="connsiteX124" fmla="*/ 3143018 w 7467600"/>
              <a:gd name="connsiteY124" fmla="*/ 4332698 h 6858000"/>
              <a:gd name="connsiteX125" fmla="*/ 3241520 w 7467600"/>
              <a:gd name="connsiteY125" fmla="*/ 4385112 h 6858000"/>
              <a:gd name="connsiteX126" fmla="*/ 3374575 w 7467600"/>
              <a:gd name="connsiteY126" fmla="*/ 4451517 h 6858000"/>
              <a:gd name="connsiteX127" fmla="*/ 3505221 w 7467600"/>
              <a:gd name="connsiteY127" fmla="*/ 4480757 h 6858000"/>
              <a:gd name="connsiteX128" fmla="*/ 2626982 w 7467600"/>
              <a:gd name="connsiteY128" fmla="*/ 4206450 h 6858000"/>
              <a:gd name="connsiteX129" fmla="*/ 1310106 w 7467600"/>
              <a:gd name="connsiteY129" fmla="*/ 3943217 h 6858000"/>
              <a:gd name="connsiteX130" fmla="*/ 854994 w 7467600"/>
              <a:gd name="connsiteY130" fmla="*/ 4399136 h 6858000"/>
              <a:gd name="connsiteX131" fmla="*/ 742462 w 7467600"/>
              <a:gd name="connsiteY131" fmla="*/ 4594648 h 6858000"/>
              <a:gd name="connsiteX132" fmla="*/ 820602 w 7467600"/>
              <a:gd name="connsiteY132" fmla="*/ 4485915 h 6858000"/>
              <a:gd name="connsiteX133" fmla="*/ 878295 w 7467600"/>
              <a:gd name="connsiteY133" fmla="*/ 4403594 h 6858000"/>
              <a:gd name="connsiteX134" fmla="*/ 1240607 w 7467600"/>
              <a:gd name="connsiteY134" fmla="*/ 4010401 h 6858000"/>
              <a:gd name="connsiteX135" fmla="*/ 1310106 w 7467600"/>
              <a:gd name="connsiteY135" fmla="*/ 3943217 h 6858000"/>
              <a:gd name="connsiteX136" fmla="*/ 1423113 w 7467600"/>
              <a:gd name="connsiteY136" fmla="*/ 3874565 h 6858000"/>
              <a:gd name="connsiteX137" fmla="*/ 1260565 w 7467600"/>
              <a:gd name="connsiteY137" fmla="*/ 4031982 h 6858000"/>
              <a:gd name="connsiteX138" fmla="*/ 901900 w 7467600"/>
              <a:gd name="connsiteY138" fmla="*/ 4421236 h 6858000"/>
              <a:gd name="connsiteX139" fmla="*/ 845044 w 7467600"/>
              <a:gd name="connsiteY139" fmla="*/ 4502436 h 6858000"/>
              <a:gd name="connsiteX140" fmla="*/ 685926 w 7467600"/>
              <a:gd name="connsiteY140" fmla="*/ 4703069 h 6858000"/>
              <a:gd name="connsiteX141" fmla="*/ 684248 w 7467600"/>
              <a:gd name="connsiteY141" fmla="*/ 4706721 h 6858000"/>
              <a:gd name="connsiteX142" fmla="*/ 1423113 w 7467600"/>
              <a:gd name="connsiteY142" fmla="*/ 3874565 h 6858000"/>
              <a:gd name="connsiteX143" fmla="*/ 3316479 w 7467600"/>
              <a:gd name="connsiteY143" fmla="*/ 3872136 h 6858000"/>
              <a:gd name="connsiteX144" fmla="*/ 3546806 w 7467600"/>
              <a:gd name="connsiteY144" fmla="*/ 4356139 h 6858000"/>
              <a:gd name="connsiteX145" fmla="*/ 3364433 w 7467600"/>
              <a:gd name="connsiteY145" fmla="*/ 3953121 h 6858000"/>
              <a:gd name="connsiteX146" fmla="*/ 3316479 w 7467600"/>
              <a:gd name="connsiteY146" fmla="*/ 3872136 h 6858000"/>
              <a:gd name="connsiteX147" fmla="*/ 3291335 w 7467600"/>
              <a:gd name="connsiteY147" fmla="*/ 3767420 h 6858000"/>
              <a:gd name="connsiteX148" fmla="*/ 3390805 w 7467600"/>
              <a:gd name="connsiteY148" fmla="*/ 3937163 h 6858000"/>
              <a:gd name="connsiteX149" fmla="*/ 3579062 w 7467600"/>
              <a:gd name="connsiteY149" fmla="*/ 4359040 h 6858000"/>
              <a:gd name="connsiteX150" fmla="*/ 3467355 w 7467600"/>
              <a:gd name="connsiteY150" fmla="*/ 3988130 h 6858000"/>
              <a:gd name="connsiteX151" fmla="*/ 3310753 w 7467600"/>
              <a:gd name="connsiteY151" fmla="*/ 3787140 h 6858000"/>
              <a:gd name="connsiteX152" fmla="*/ 3291335 w 7467600"/>
              <a:gd name="connsiteY152" fmla="*/ 3767420 h 6858000"/>
              <a:gd name="connsiteX153" fmla="*/ 1635889 w 7467600"/>
              <a:gd name="connsiteY153" fmla="*/ 3709494 h 6858000"/>
              <a:gd name="connsiteX154" fmla="*/ 1634800 w 7467600"/>
              <a:gd name="connsiteY154" fmla="*/ 3731111 h 6858000"/>
              <a:gd name="connsiteX155" fmla="*/ 1635889 w 7467600"/>
              <a:gd name="connsiteY155" fmla="*/ 3709494 h 6858000"/>
              <a:gd name="connsiteX156" fmla="*/ 1510397 w 7467600"/>
              <a:gd name="connsiteY156" fmla="*/ 3684705 h 6858000"/>
              <a:gd name="connsiteX157" fmla="*/ 1146550 w 7467600"/>
              <a:gd name="connsiteY157" fmla="*/ 3802012 h 6858000"/>
              <a:gd name="connsiteX158" fmla="*/ 698834 w 7467600"/>
              <a:gd name="connsiteY158" fmla="*/ 3952272 h 6858000"/>
              <a:gd name="connsiteX159" fmla="*/ 34256 w 7467600"/>
              <a:gd name="connsiteY159" fmla="*/ 4347603 h 6858000"/>
              <a:gd name="connsiteX160" fmla="*/ 527241 w 7467600"/>
              <a:gd name="connsiteY160" fmla="*/ 4065078 h 6858000"/>
              <a:gd name="connsiteX161" fmla="*/ 1510397 w 7467600"/>
              <a:gd name="connsiteY161" fmla="*/ 3684705 h 6858000"/>
              <a:gd name="connsiteX162" fmla="*/ 1313114 w 7467600"/>
              <a:gd name="connsiteY162" fmla="*/ 3655216 h 6858000"/>
              <a:gd name="connsiteX163" fmla="*/ 1109304 w 7467600"/>
              <a:gd name="connsiteY163" fmla="*/ 3669030 h 6858000"/>
              <a:gd name="connsiteX164" fmla="*/ 8129 w 7467600"/>
              <a:gd name="connsiteY164" fmla="*/ 4330519 h 6858000"/>
              <a:gd name="connsiteX165" fmla="*/ 687572 w 7467600"/>
              <a:gd name="connsiteY165" fmla="*/ 3925629 h 6858000"/>
              <a:gd name="connsiteX166" fmla="*/ 1138365 w 7467600"/>
              <a:gd name="connsiteY166" fmla="*/ 3774515 h 6858000"/>
              <a:gd name="connsiteX167" fmla="*/ 1505579 w 7467600"/>
              <a:gd name="connsiteY167" fmla="*/ 3655526 h 6858000"/>
              <a:gd name="connsiteX168" fmla="*/ 1313114 w 7467600"/>
              <a:gd name="connsiteY168" fmla="*/ 3655216 h 6858000"/>
              <a:gd name="connsiteX169" fmla="*/ 3655073 w 7467600"/>
              <a:gd name="connsiteY169" fmla="*/ 3650884 h 6858000"/>
              <a:gd name="connsiteX170" fmla="*/ 3989938 w 7467600"/>
              <a:gd name="connsiteY170" fmla="*/ 3991685 h 6858000"/>
              <a:gd name="connsiteX171" fmla="*/ 4393907 w 7467600"/>
              <a:gd name="connsiteY171" fmla="*/ 4261258 h 6858000"/>
              <a:gd name="connsiteX172" fmla="*/ 4648051 w 7467600"/>
              <a:gd name="connsiteY172" fmla="*/ 4374051 h 6858000"/>
              <a:gd name="connsiteX173" fmla="*/ 4383389 w 7467600"/>
              <a:gd name="connsiteY173" fmla="*/ 4184369 h 6858000"/>
              <a:gd name="connsiteX174" fmla="*/ 4165508 w 7467600"/>
              <a:gd name="connsiteY174" fmla="*/ 4035196 h 6858000"/>
              <a:gd name="connsiteX175" fmla="*/ 4068162 w 7467600"/>
              <a:gd name="connsiteY175" fmla="*/ 3953394 h 6858000"/>
              <a:gd name="connsiteX176" fmla="*/ 3981416 w 7467600"/>
              <a:gd name="connsiteY176" fmla="*/ 3880482 h 6858000"/>
              <a:gd name="connsiteX177" fmla="*/ 3800147 w 7467600"/>
              <a:gd name="connsiteY177" fmla="*/ 3749872 h 6858000"/>
              <a:gd name="connsiteX178" fmla="*/ 3655073 w 7467600"/>
              <a:gd name="connsiteY178" fmla="*/ 3650884 h 6858000"/>
              <a:gd name="connsiteX179" fmla="*/ 3670252 w 7467600"/>
              <a:gd name="connsiteY179" fmla="*/ 3622798 h 6858000"/>
              <a:gd name="connsiteX180" fmla="*/ 3817258 w 7467600"/>
              <a:gd name="connsiteY180" fmla="*/ 3723577 h 6858000"/>
              <a:gd name="connsiteX181" fmla="*/ 4000461 w 7467600"/>
              <a:gd name="connsiteY181" fmla="*/ 3855966 h 6858000"/>
              <a:gd name="connsiteX182" fmla="*/ 4088180 w 7467600"/>
              <a:gd name="connsiteY182" fmla="*/ 3929774 h 6858000"/>
              <a:gd name="connsiteX183" fmla="*/ 4184555 w 7467600"/>
              <a:gd name="connsiteY183" fmla="*/ 4010683 h 6858000"/>
              <a:gd name="connsiteX184" fmla="*/ 4399563 w 7467600"/>
              <a:gd name="connsiteY184" fmla="*/ 4158106 h 6858000"/>
              <a:gd name="connsiteX185" fmla="*/ 4684469 w 7467600"/>
              <a:gd name="connsiteY185" fmla="*/ 4364680 h 6858000"/>
              <a:gd name="connsiteX186" fmla="*/ 4690271 w 7467600"/>
              <a:gd name="connsiteY186" fmla="*/ 4370034 h 6858000"/>
              <a:gd name="connsiteX187" fmla="*/ 4136093 w 7467600"/>
              <a:gd name="connsiteY187" fmla="*/ 3858466 h 6858000"/>
              <a:gd name="connsiteX188" fmla="*/ 3670252 w 7467600"/>
              <a:gd name="connsiteY188" fmla="*/ 3622798 h 6858000"/>
              <a:gd name="connsiteX189" fmla="*/ 4440129 w 7467600"/>
              <a:gd name="connsiteY189" fmla="*/ 3448571 h 6858000"/>
              <a:gd name="connsiteX190" fmla="*/ 4856525 w 7467600"/>
              <a:gd name="connsiteY190" fmla="*/ 3915351 h 6858000"/>
              <a:gd name="connsiteX191" fmla="*/ 5059055 w 7467600"/>
              <a:gd name="connsiteY191" fmla="*/ 4108918 h 6858000"/>
              <a:gd name="connsiteX192" fmla="*/ 5290070 w 7467600"/>
              <a:gd name="connsiteY192" fmla="*/ 4263619 h 6858000"/>
              <a:gd name="connsiteX193" fmla="*/ 4834991 w 7467600"/>
              <a:gd name="connsiteY193" fmla="*/ 3830985 h 6858000"/>
              <a:gd name="connsiteX194" fmla="*/ 4440129 w 7467600"/>
              <a:gd name="connsiteY194" fmla="*/ 3448571 h 6858000"/>
              <a:gd name="connsiteX195" fmla="*/ 4441737 w 7467600"/>
              <a:gd name="connsiteY195" fmla="*/ 3399734 h 6858000"/>
              <a:gd name="connsiteX196" fmla="*/ 4431236 w 7467600"/>
              <a:gd name="connsiteY196" fmla="*/ 3400954 h 6858000"/>
              <a:gd name="connsiteX197" fmla="*/ 4557150 w 7467600"/>
              <a:gd name="connsiteY197" fmla="*/ 3510023 h 6858000"/>
              <a:gd name="connsiteX198" fmla="*/ 4856936 w 7467600"/>
              <a:gd name="connsiteY198" fmla="*/ 3809146 h 6858000"/>
              <a:gd name="connsiteX199" fmla="*/ 5111996 w 7467600"/>
              <a:gd name="connsiteY199" fmla="*/ 4065759 h 6858000"/>
              <a:gd name="connsiteX200" fmla="*/ 5388878 w 7467600"/>
              <a:gd name="connsiteY200" fmla="*/ 4300185 h 6858000"/>
              <a:gd name="connsiteX201" fmla="*/ 5425556 w 7467600"/>
              <a:gd name="connsiteY201" fmla="*/ 4308967 h 6858000"/>
              <a:gd name="connsiteX202" fmla="*/ 4943646 w 7467600"/>
              <a:gd name="connsiteY202" fmla="*/ 3822916 h 6858000"/>
              <a:gd name="connsiteX203" fmla="*/ 4594837 w 7467600"/>
              <a:gd name="connsiteY203" fmla="*/ 3532274 h 6858000"/>
              <a:gd name="connsiteX204" fmla="*/ 4441737 w 7467600"/>
              <a:gd name="connsiteY204" fmla="*/ 3399734 h 6858000"/>
              <a:gd name="connsiteX205" fmla="*/ 5425834 w 7467600"/>
              <a:gd name="connsiteY205" fmla="*/ 3162785 h 6858000"/>
              <a:gd name="connsiteX206" fmla="*/ 5401644 w 7467600"/>
              <a:gd name="connsiteY206" fmla="*/ 3617847 h 6858000"/>
              <a:gd name="connsiteX207" fmla="*/ 5467256 w 7467600"/>
              <a:gd name="connsiteY207" fmla="*/ 4175494 h 6858000"/>
              <a:gd name="connsiteX208" fmla="*/ 5448069 w 7467600"/>
              <a:gd name="connsiteY208" fmla="*/ 3567554 h 6858000"/>
              <a:gd name="connsiteX209" fmla="*/ 5425834 w 7467600"/>
              <a:gd name="connsiteY209" fmla="*/ 3162785 h 6858000"/>
              <a:gd name="connsiteX210" fmla="*/ 1318687 w 7467600"/>
              <a:gd name="connsiteY210" fmla="*/ 3113840 h 6858000"/>
              <a:gd name="connsiteX211" fmla="*/ 1066793 w 7467600"/>
              <a:gd name="connsiteY211" fmla="*/ 3212171 h 6858000"/>
              <a:gd name="connsiteX212" fmla="*/ 993319 w 7467600"/>
              <a:gd name="connsiteY212" fmla="*/ 3247648 h 6858000"/>
              <a:gd name="connsiteX213" fmla="*/ 853081 w 7467600"/>
              <a:gd name="connsiteY213" fmla="*/ 3312410 h 6858000"/>
              <a:gd name="connsiteX214" fmla="*/ 805957 w 7467600"/>
              <a:gd name="connsiteY214" fmla="*/ 3330443 h 6858000"/>
              <a:gd name="connsiteX215" fmla="*/ 1318687 w 7467600"/>
              <a:gd name="connsiteY215" fmla="*/ 3113840 h 6858000"/>
              <a:gd name="connsiteX216" fmla="*/ 5453702 w 7467600"/>
              <a:gd name="connsiteY216" fmla="*/ 3090882 h 6858000"/>
              <a:gd name="connsiteX217" fmla="*/ 5480135 w 7467600"/>
              <a:gd name="connsiteY217" fmla="*/ 3565802 h 6858000"/>
              <a:gd name="connsiteX218" fmla="*/ 5499023 w 7467600"/>
              <a:gd name="connsiteY218" fmla="*/ 4166310 h 6858000"/>
              <a:gd name="connsiteX219" fmla="*/ 5547022 w 7467600"/>
              <a:gd name="connsiteY219" fmla="*/ 3607838 h 6858000"/>
              <a:gd name="connsiteX220" fmla="*/ 5515964 w 7467600"/>
              <a:gd name="connsiteY220" fmla="*/ 3378541 h 6858000"/>
              <a:gd name="connsiteX221" fmla="*/ 5453702 w 7467600"/>
              <a:gd name="connsiteY221" fmla="*/ 3090882 h 6858000"/>
              <a:gd name="connsiteX222" fmla="*/ 1238695 w 7467600"/>
              <a:gd name="connsiteY222" fmla="*/ 3076820 h 6858000"/>
              <a:gd name="connsiteX223" fmla="*/ 716371 w 7467600"/>
              <a:gd name="connsiteY223" fmla="*/ 3293249 h 6858000"/>
              <a:gd name="connsiteX224" fmla="*/ 579522 w 7467600"/>
              <a:gd name="connsiteY224" fmla="*/ 3371759 h 6858000"/>
              <a:gd name="connsiteX225" fmla="*/ 600288 w 7467600"/>
              <a:gd name="connsiteY225" fmla="*/ 3365555 h 6858000"/>
              <a:gd name="connsiteX226" fmla="*/ 840692 w 7467600"/>
              <a:gd name="connsiteY226" fmla="*/ 3284921 h 6858000"/>
              <a:gd name="connsiteX227" fmla="*/ 979248 w 7467600"/>
              <a:gd name="connsiteY227" fmla="*/ 3221003 h 6858000"/>
              <a:gd name="connsiteX228" fmla="*/ 1053282 w 7467600"/>
              <a:gd name="connsiteY228" fmla="*/ 3185247 h 6858000"/>
              <a:gd name="connsiteX229" fmla="*/ 1320603 w 7467600"/>
              <a:gd name="connsiteY229" fmla="*/ 3081281 h 6858000"/>
              <a:gd name="connsiteX230" fmla="*/ 1238695 w 7467600"/>
              <a:gd name="connsiteY230" fmla="*/ 3076820 h 6858000"/>
              <a:gd name="connsiteX231" fmla="*/ 5425627 w 7467600"/>
              <a:gd name="connsiteY231" fmla="*/ 2954192 h 6858000"/>
              <a:gd name="connsiteX232" fmla="*/ 5470770 w 7467600"/>
              <a:gd name="connsiteY232" fmla="*/ 3005435 h 6858000"/>
              <a:gd name="connsiteX233" fmla="*/ 5519779 w 7467600"/>
              <a:gd name="connsiteY233" fmla="*/ 4359223 h 6858000"/>
              <a:gd name="connsiteX234" fmla="*/ 5520293 w 7467600"/>
              <a:gd name="connsiteY234" fmla="*/ 4360602 h 6858000"/>
              <a:gd name="connsiteX235" fmla="*/ 5767221 w 7467600"/>
              <a:gd name="connsiteY235" fmla="*/ 4665564 h 6858000"/>
              <a:gd name="connsiteX236" fmla="*/ 6937169 w 7467600"/>
              <a:gd name="connsiteY236" fmla="*/ 4815941 h 6858000"/>
              <a:gd name="connsiteX237" fmla="*/ 6953922 w 7467600"/>
              <a:gd name="connsiteY237" fmla="*/ 4890068 h 6858000"/>
              <a:gd name="connsiteX238" fmla="*/ 6071359 w 7467600"/>
              <a:gd name="connsiteY238" fmla="*/ 4770770 h 6858000"/>
              <a:gd name="connsiteX239" fmla="*/ 6038839 w 7467600"/>
              <a:gd name="connsiteY239" fmla="*/ 4764474 h 6858000"/>
              <a:gd name="connsiteX240" fmla="*/ 6038706 w 7467600"/>
              <a:gd name="connsiteY240" fmla="*/ 4763847 h 6858000"/>
              <a:gd name="connsiteX241" fmla="*/ 6037784 w 7467600"/>
              <a:gd name="connsiteY241" fmla="*/ 4764270 h 6858000"/>
              <a:gd name="connsiteX242" fmla="*/ 6038839 w 7467600"/>
              <a:gd name="connsiteY242" fmla="*/ 4764474 h 6858000"/>
              <a:gd name="connsiteX243" fmla="*/ 6040338 w 7467600"/>
              <a:gd name="connsiteY243" fmla="*/ 4771418 h 6858000"/>
              <a:gd name="connsiteX244" fmla="*/ 6024488 w 7467600"/>
              <a:gd name="connsiteY244" fmla="*/ 4809903 h 6858000"/>
              <a:gd name="connsiteX245" fmla="*/ 5599771 w 7467600"/>
              <a:gd name="connsiteY245" fmla="*/ 5509652 h 6858000"/>
              <a:gd name="connsiteX246" fmla="*/ 5548843 w 7467600"/>
              <a:gd name="connsiteY246" fmla="*/ 5563845 h 6858000"/>
              <a:gd name="connsiteX247" fmla="*/ 5940952 w 7467600"/>
              <a:gd name="connsiteY247" fmla="*/ 6250028 h 6858000"/>
              <a:gd name="connsiteX248" fmla="*/ 6043441 w 7467600"/>
              <a:gd name="connsiteY248" fmla="*/ 6665847 h 6858000"/>
              <a:gd name="connsiteX249" fmla="*/ 6093432 w 7467600"/>
              <a:gd name="connsiteY249" fmla="*/ 6858000 h 6858000"/>
              <a:gd name="connsiteX250" fmla="*/ 6034344 w 7467600"/>
              <a:gd name="connsiteY250" fmla="*/ 6858000 h 6858000"/>
              <a:gd name="connsiteX251" fmla="*/ 6026679 w 7467600"/>
              <a:gd name="connsiteY251" fmla="*/ 6836959 h 6858000"/>
              <a:gd name="connsiteX252" fmla="*/ 5800441 w 7467600"/>
              <a:gd name="connsiteY252" fmla="*/ 6335286 h 6858000"/>
              <a:gd name="connsiteX253" fmla="*/ 5526562 w 7467600"/>
              <a:gd name="connsiteY253" fmla="*/ 5705388 h 6858000"/>
              <a:gd name="connsiteX254" fmla="*/ 5519640 w 7467600"/>
              <a:gd name="connsiteY254" fmla="*/ 5683774 h 6858000"/>
              <a:gd name="connsiteX255" fmla="*/ 5844559 w 7467600"/>
              <a:gd name="connsiteY255" fmla="*/ 6553349 h 6858000"/>
              <a:gd name="connsiteX256" fmla="*/ 5975994 w 7467600"/>
              <a:gd name="connsiteY256" fmla="*/ 6858000 h 6858000"/>
              <a:gd name="connsiteX257" fmla="*/ 5898547 w 7467600"/>
              <a:gd name="connsiteY257" fmla="*/ 6858000 h 6858000"/>
              <a:gd name="connsiteX258" fmla="*/ 5682041 w 7467600"/>
              <a:gd name="connsiteY258" fmla="*/ 6355860 h 6858000"/>
              <a:gd name="connsiteX259" fmla="*/ 5461758 w 7467600"/>
              <a:gd name="connsiteY259" fmla="*/ 5820220 h 6858000"/>
              <a:gd name="connsiteX260" fmla="*/ 5237282 w 7467600"/>
              <a:gd name="connsiteY260" fmla="*/ 6579086 h 6858000"/>
              <a:gd name="connsiteX261" fmla="*/ 5115009 w 7467600"/>
              <a:gd name="connsiteY261" fmla="*/ 6858000 h 6858000"/>
              <a:gd name="connsiteX262" fmla="*/ 5028074 w 7467600"/>
              <a:gd name="connsiteY262" fmla="*/ 6858000 h 6858000"/>
              <a:gd name="connsiteX263" fmla="*/ 5079508 w 7467600"/>
              <a:gd name="connsiteY263" fmla="*/ 6749074 h 6858000"/>
              <a:gd name="connsiteX264" fmla="*/ 5371846 w 7467600"/>
              <a:gd name="connsiteY264" fmla="*/ 5924413 h 6858000"/>
              <a:gd name="connsiteX265" fmla="*/ 5270512 w 7467600"/>
              <a:gd name="connsiteY265" fmla="*/ 6138975 h 6858000"/>
              <a:gd name="connsiteX266" fmla="*/ 5062409 w 7467600"/>
              <a:gd name="connsiteY266" fmla="*/ 6653544 h 6858000"/>
              <a:gd name="connsiteX267" fmla="*/ 5036628 w 7467600"/>
              <a:gd name="connsiteY267" fmla="*/ 6754247 h 6858000"/>
              <a:gd name="connsiteX268" fmla="*/ 5009112 w 7467600"/>
              <a:gd name="connsiteY268" fmla="*/ 6858000 h 6858000"/>
              <a:gd name="connsiteX269" fmla="*/ 4976679 w 7467600"/>
              <a:gd name="connsiteY269" fmla="*/ 6858000 h 6858000"/>
              <a:gd name="connsiteX270" fmla="*/ 5006537 w 7467600"/>
              <a:gd name="connsiteY270" fmla="*/ 6747068 h 6858000"/>
              <a:gd name="connsiteX271" fmla="*/ 5032723 w 7467600"/>
              <a:gd name="connsiteY271" fmla="*/ 6644957 h 6858000"/>
              <a:gd name="connsiteX272" fmla="*/ 5242949 w 7467600"/>
              <a:gd name="connsiteY272" fmla="*/ 6125175 h 6858000"/>
              <a:gd name="connsiteX273" fmla="*/ 5286321 w 7467600"/>
              <a:gd name="connsiteY273" fmla="*/ 6033555 h 6858000"/>
              <a:gd name="connsiteX274" fmla="*/ 5008210 w 7467600"/>
              <a:gd name="connsiteY274" fmla="*/ 6649194 h 6858000"/>
              <a:gd name="connsiteX275" fmla="*/ 4986321 w 7467600"/>
              <a:gd name="connsiteY275" fmla="*/ 6765687 h 6858000"/>
              <a:gd name="connsiteX276" fmla="*/ 4973474 w 7467600"/>
              <a:gd name="connsiteY276" fmla="*/ 6858000 h 6858000"/>
              <a:gd name="connsiteX277" fmla="*/ 4907178 w 7467600"/>
              <a:gd name="connsiteY277" fmla="*/ 6858000 h 6858000"/>
              <a:gd name="connsiteX278" fmla="*/ 4910810 w 7467600"/>
              <a:gd name="connsiteY278" fmla="*/ 6829660 h 6858000"/>
              <a:gd name="connsiteX279" fmla="*/ 4987461 w 7467600"/>
              <a:gd name="connsiteY279" fmla="*/ 6432994 h 6858000"/>
              <a:gd name="connsiteX280" fmla="*/ 5179262 w 7467600"/>
              <a:gd name="connsiteY280" fmla="*/ 6035044 h 6858000"/>
              <a:gd name="connsiteX281" fmla="*/ 4689678 w 7467600"/>
              <a:gd name="connsiteY281" fmla="*/ 6440241 h 6858000"/>
              <a:gd name="connsiteX282" fmla="*/ 4477543 w 7467600"/>
              <a:gd name="connsiteY282" fmla="*/ 6674836 h 6858000"/>
              <a:gd name="connsiteX283" fmla="*/ 4329957 w 7467600"/>
              <a:gd name="connsiteY283" fmla="*/ 6858000 h 6858000"/>
              <a:gd name="connsiteX284" fmla="*/ 4218595 w 7467600"/>
              <a:gd name="connsiteY284" fmla="*/ 6858000 h 6858000"/>
              <a:gd name="connsiteX285" fmla="*/ 4368888 w 7467600"/>
              <a:gd name="connsiteY285" fmla="*/ 6668412 h 6858000"/>
              <a:gd name="connsiteX286" fmla="*/ 4563091 w 7467600"/>
              <a:gd name="connsiteY286" fmla="*/ 6442508 h 6858000"/>
              <a:gd name="connsiteX287" fmla="*/ 5387324 w 7467600"/>
              <a:gd name="connsiteY287" fmla="*/ 5705830 h 6858000"/>
              <a:gd name="connsiteX288" fmla="*/ 5073620 w 7467600"/>
              <a:gd name="connsiteY288" fmla="*/ 5955437 h 6858000"/>
              <a:gd name="connsiteX289" fmla="*/ 4689789 w 7467600"/>
              <a:gd name="connsiteY289" fmla="*/ 6268382 h 6858000"/>
              <a:gd name="connsiteX290" fmla="*/ 4418722 w 7467600"/>
              <a:gd name="connsiteY290" fmla="*/ 6570886 h 6858000"/>
              <a:gd name="connsiteX291" fmla="*/ 4214944 w 7467600"/>
              <a:gd name="connsiteY291" fmla="*/ 6858000 h 6858000"/>
              <a:gd name="connsiteX292" fmla="*/ 4177898 w 7467600"/>
              <a:gd name="connsiteY292" fmla="*/ 6858000 h 6858000"/>
              <a:gd name="connsiteX293" fmla="*/ 4391597 w 7467600"/>
              <a:gd name="connsiteY293" fmla="*/ 6556370 h 6858000"/>
              <a:gd name="connsiteX294" fmla="*/ 4668889 w 7467600"/>
              <a:gd name="connsiteY294" fmla="*/ 6246399 h 6858000"/>
              <a:gd name="connsiteX295" fmla="*/ 5055427 w 7467600"/>
              <a:gd name="connsiteY295" fmla="*/ 5931476 h 6858000"/>
              <a:gd name="connsiteX296" fmla="*/ 5371814 w 7467600"/>
              <a:gd name="connsiteY296" fmla="*/ 5678975 h 6858000"/>
              <a:gd name="connsiteX297" fmla="*/ 4987918 w 7467600"/>
              <a:gd name="connsiteY297" fmla="*/ 5838701 h 6858000"/>
              <a:gd name="connsiteX298" fmla="*/ 4317146 w 7467600"/>
              <a:gd name="connsiteY298" fmla="*/ 6587716 h 6858000"/>
              <a:gd name="connsiteX299" fmla="*/ 4171627 w 7467600"/>
              <a:gd name="connsiteY299" fmla="*/ 6858000 h 6858000"/>
              <a:gd name="connsiteX300" fmla="*/ 4081585 w 7467600"/>
              <a:gd name="connsiteY300" fmla="*/ 6858000 h 6858000"/>
              <a:gd name="connsiteX301" fmla="*/ 4238603 w 7467600"/>
              <a:gd name="connsiteY301" fmla="*/ 6559341 h 6858000"/>
              <a:gd name="connsiteX302" fmla="*/ 4778333 w 7467600"/>
              <a:gd name="connsiteY302" fmla="*/ 5873626 h 6858000"/>
              <a:gd name="connsiteX303" fmla="*/ 5414185 w 7467600"/>
              <a:gd name="connsiteY303" fmla="*/ 5573882 h 6858000"/>
              <a:gd name="connsiteX304" fmla="*/ 5959648 w 7467600"/>
              <a:gd name="connsiteY304" fmla="*/ 4760797 h 6858000"/>
              <a:gd name="connsiteX305" fmla="*/ 5355019 w 7467600"/>
              <a:gd name="connsiteY305" fmla="*/ 4734672 h 6858000"/>
              <a:gd name="connsiteX306" fmla="*/ 5083565 w 7467600"/>
              <a:gd name="connsiteY306" fmla="*/ 5179121 h 6858000"/>
              <a:gd name="connsiteX307" fmla="*/ 4713577 w 7467600"/>
              <a:gd name="connsiteY307" fmla="*/ 5616803 h 6858000"/>
              <a:gd name="connsiteX308" fmla="*/ 3989559 w 7467600"/>
              <a:gd name="connsiteY308" fmla="*/ 6145945 h 6858000"/>
              <a:gd name="connsiteX309" fmla="*/ 3939824 w 7467600"/>
              <a:gd name="connsiteY309" fmla="*/ 6066900 h 6858000"/>
              <a:gd name="connsiteX310" fmla="*/ 4584537 w 7467600"/>
              <a:gd name="connsiteY310" fmla="*/ 5324826 h 6858000"/>
              <a:gd name="connsiteX311" fmla="*/ 5037105 w 7467600"/>
              <a:gd name="connsiteY311" fmla="*/ 5088765 h 6858000"/>
              <a:gd name="connsiteX312" fmla="*/ 5039930 w 7467600"/>
              <a:gd name="connsiteY312" fmla="*/ 5089585 h 6858000"/>
              <a:gd name="connsiteX313" fmla="*/ 5263764 w 7467600"/>
              <a:gd name="connsiteY313" fmla="*/ 4735525 h 6858000"/>
              <a:gd name="connsiteX314" fmla="*/ 4086300 w 7467600"/>
              <a:gd name="connsiteY314" fmla="*/ 4884599 h 6858000"/>
              <a:gd name="connsiteX315" fmla="*/ 4085485 w 7467600"/>
              <a:gd name="connsiteY315" fmla="*/ 4899070 h 6858000"/>
              <a:gd name="connsiteX316" fmla="*/ 3871915 w 7467600"/>
              <a:gd name="connsiteY316" fmla="*/ 5253645 h 6858000"/>
              <a:gd name="connsiteX317" fmla="*/ 3799374 w 7467600"/>
              <a:gd name="connsiteY317" fmla="*/ 5466127 h 6858000"/>
              <a:gd name="connsiteX318" fmla="*/ 3498850 w 7467600"/>
              <a:gd name="connsiteY318" fmla="*/ 6661888 h 6858000"/>
              <a:gd name="connsiteX319" fmla="*/ 3399216 w 7467600"/>
              <a:gd name="connsiteY319" fmla="*/ 6858000 h 6858000"/>
              <a:gd name="connsiteX320" fmla="*/ 3303688 w 7467600"/>
              <a:gd name="connsiteY320" fmla="*/ 6858000 h 6858000"/>
              <a:gd name="connsiteX321" fmla="*/ 3391774 w 7467600"/>
              <a:gd name="connsiteY321" fmla="*/ 6697181 h 6858000"/>
              <a:gd name="connsiteX322" fmla="*/ 3735540 w 7467600"/>
              <a:gd name="connsiteY322" fmla="*/ 5546923 h 6858000"/>
              <a:gd name="connsiteX323" fmla="*/ 3729438 w 7467600"/>
              <a:gd name="connsiteY323" fmla="*/ 5569058 h 6858000"/>
              <a:gd name="connsiteX324" fmla="*/ 3707782 w 7467600"/>
              <a:gd name="connsiteY324" fmla="*/ 5644908 h 6858000"/>
              <a:gd name="connsiteX325" fmla="*/ 3583827 w 7467600"/>
              <a:gd name="connsiteY325" fmla="*/ 6039215 h 6858000"/>
              <a:gd name="connsiteX326" fmla="*/ 3547861 w 7467600"/>
              <a:gd name="connsiteY326" fmla="*/ 6129609 h 6858000"/>
              <a:gd name="connsiteX327" fmla="*/ 3490905 w 7467600"/>
              <a:gd name="connsiteY327" fmla="*/ 6277660 h 6858000"/>
              <a:gd name="connsiteX328" fmla="*/ 3455859 w 7467600"/>
              <a:gd name="connsiteY328" fmla="*/ 6391301 h 6858000"/>
              <a:gd name="connsiteX329" fmla="*/ 3429112 w 7467600"/>
              <a:gd name="connsiteY329" fmla="*/ 6479469 h 6858000"/>
              <a:gd name="connsiteX330" fmla="*/ 3304862 w 7467600"/>
              <a:gd name="connsiteY330" fmla="*/ 6796476 h 6858000"/>
              <a:gd name="connsiteX331" fmla="*/ 3276071 w 7467600"/>
              <a:gd name="connsiteY331" fmla="*/ 6858000 h 6858000"/>
              <a:gd name="connsiteX332" fmla="*/ 3240805 w 7467600"/>
              <a:gd name="connsiteY332" fmla="*/ 6858000 h 6858000"/>
              <a:gd name="connsiteX333" fmla="*/ 3275917 w 7467600"/>
              <a:gd name="connsiteY333" fmla="*/ 6783192 h 6858000"/>
              <a:gd name="connsiteX334" fmla="*/ 3399358 w 7467600"/>
              <a:gd name="connsiteY334" fmla="*/ 6469011 h 6858000"/>
              <a:gd name="connsiteX335" fmla="*/ 3425650 w 7467600"/>
              <a:gd name="connsiteY335" fmla="*/ 6381333 h 6858000"/>
              <a:gd name="connsiteX336" fmla="*/ 3460661 w 7467600"/>
              <a:gd name="connsiteY336" fmla="*/ 6266763 h 6858000"/>
              <a:gd name="connsiteX337" fmla="*/ 3518021 w 7467600"/>
              <a:gd name="connsiteY337" fmla="*/ 6117298 h 6858000"/>
              <a:gd name="connsiteX338" fmla="*/ 3554035 w 7467600"/>
              <a:gd name="connsiteY338" fmla="*/ 6027832 h 6858000"/>
              <a:gd name="connsiteX339" fmla="*/ 3677174 w 7467600"/>
              <a:gd name="connsiteY339" fmla="*/ 5636351 h 6858000"/>
              <a:gd name="connsiteX340" fmla="*/ 3698819 w 7467600"/>
              <a:gd name="connsiteY340" fmla="*/ 5560503 h 6858000"/>
              <a:gd name="connsiteX341" fmla="*/ 3702094 w 7467600"/>
              <a:gd name="connsiteY341" fmla="*/ 5549194 h 6858000"/>
              <a:gd name="connsiteX342" fmla="*/ 3398355 w 7467600"/>
              <a:gd name="connsiteY342" fmla="*/ 6094603 h 6858000"/>
              <a:gd name="connsiteX343" fmla="*/ 3193941 w 7467600"/>
              <a:gd name="connsiteY343" fmla="*/ 6798775 h 6858000"/>
              <a:gd name="connsiteX344" fmla="*/ 3184140 w 7467600"/>
              <a:gd name="connsiteY344" fmla="*/ 6858000 h 6858000"/>
              <a:gd name="connsiteX345" fmla="*/ 3099978 w 7467600"/>
              <a:gd name="connsiteY345" fmla="*/ 6858000 h 6858000"/>
              <a:gd name="connsiteX346" fmla="*/ 3101556 w 7467600"/>
              <a:gd name="connsiteY346" fmla="*/ 6843337 h 6858000"/>
              <a:gd name="connsiteX347" fmla="*/ 3370162 w 7467600"/>
              <a:gd name="connsiteY347" fmla="*/ 5785550 h 6858000"/>
              <a:gd name="connsiteX348" fmla="*/ 3746477 w 7467600"/>
              <a:gd name="connsiteY348" fmla="*/ 5377889 h 6858000"/>
              <a:gd name="connsiteX349" fmla="*/ 3863399 w 7467600"/>
              <a:gd name="connsiteY349" fmla="*/ 5087257 h 6858000"/>
              <a:gd name="connsiteX350" fmla="*/ 3968712 w 7467600"/>
              <a:gd name="connsiteY350" fmla="*/ 4913989 h 6858000"/>
              <a:gd name="connsiteX351" fmla="*/ 2792390 w 7467600"/>
              <a:gd name="connsiteY351" fmla="*/ 5382974 h 6858000"/>
              <a:gd name="connsiteX352" fmla="*/ 2714982 w 7467600"/>
              <a:gd name="connsiteY352" fmla="*/ 5427051 h 6858000"/>
              <a:gd name="connsiteX353" fmla="*/ 2813361 w 7467600"/>
              <a:gd name="connsiteY353" fmla="*/ 6023912 h 6858000"/>
              <a:gd name="connsiteX354" fmla="*/ 2688430 w 7467600"/>
              <a:gd name="connsiteY354" fmla="*/ 6801564 h 6858000"/>
              <a:gd name="connsiteX355" fmla="*/ 2629626 w 7467600"/>
              <a:gd name="connsiteY355" fmla="*/ 6763394 h 6858000"/>
              <a:gd name="connsiteX356" fmla="*/ 2565328 w 7467600"/>
              <a:gd name="connsiteY356" fmla="*/ 5516399 h 6858000"/>
              <a:gd name="connsiteX357" fmla="*/ 1922999 w 7467600"/>
              <a:gd name="connsiteY357" fmla="*/ 5980343 h 6858000"/>
              <a:gd name="connsiteX358" fmla="*/ 1950261 w 7467600"/>
              <a:gd name="connsiteY358" fmla="*/ 6405858 h 6858000"/>
              <a:gd name="connsiteX359" fmla="*/ 2365554 w 7467600"/>
              <a:gd name="connsiteY359" fmla="*/ 6759107 h 6858000"/>
              <a:gd name="connsiteX360" fmla="*/ 2424142 w 7467600"/>
              <a:gd name="connsiteY360" fmla="*/ 6858000 h 6858000"/>
              <a:gd name="connsiteX361" fmla="*/ 2395994 w 7467600"/>
              <a:gd name="connsiteY361" fmla="*/ 6858000 h 6858000"/>
              <a:gd name="connsiteX362" fmla="*/ 2392863 w 7467600"/>
              <a:gd name="connsiteY362" fmla="*/ 6852964 h 6858000"/>
              <a:gd name="connsiteX363" fmla="*/ 2017589 w 7467600"/>
              <a:gd name="connsiteY363" fmla="*/ 6493982 h 6858000"/>
              <a:gd name="connsiteX364" fmla="*/ 2147336 w 7467600"/>
              <a:gd name="connsiteY364" fmla="*/ 6594052 h 6858000"/>
              <a:gd name="connsiteX365" fmla="*/ 2207047 w 7467600"/>
              <a:gd name="connsiteY365" fmla="*/ 6654540 h 6858000"/>
              <a:gd name="connsiteX366" fmla="*/ 2299106 w 7467600"/>
              <a:gd name="connsiteY366" fmla="*/ 6778931 h 6858000"/>
              <a:gd name="connsiteX367" fmla="*/ 2314430 w 7467600"/>
              <a:gd name="connsiteY367" fmla="*/ 6801144 h 6858000"/>
              <a:gd name="connsiteX368" fmla="*/ 2352406 w 7467600"/>
              <a:gd name="connsiteY368" fmla="*/ 6858000 h 6858000"/>
              <a:gd name="connsiteX369" fmla="*/ 2314492 w 7467600"/>
              <a:gd name="connsiteY369" fmla="*/ 6858000 h 6858000"/>
              <a:gd name="connsiteX370" fmla="*/ 2288095 w 7467600"/>
              <a:gd name="connsiteY370" fmla="*/ 6818030 h 6858000"/>
              <a:gd name="connsiteX371" fmla="*/ 2272768 w 7467600"/>
              <a:gd name="connsiteY371" fmla="*/ 6795822 h 6858000"/>
              <a:gd name="connsiteX372" fmla="*/ 2182715 w 7467600"/>
              <a:gd name="connsiteY372" fmla="*/ 6675071 h 6858000"/>
              <a:gd name="connsiteX373" fmla="*/ 2032061 w 7467600"/>
              <a:gd name="connsiteY373" fmla="*/ 6541380 h 6858000"/>
              <a:gd name="connsiteX374" fmla="*/ 2257220 w 7467600"/>
              <a:gd name="connsiteY374" fmla="*/ 6826257 h 6858000"/>
              <a:gd name="connsiteX375" fmla="*/ 2281324 w 7467600"/>
              <a:gd name="connsiteY375" fmla="*/ 6858000 h 6858000"/>
              <a:gd name="connsiteX376" fmla="*/ 2242860 w 7467600"/>
              <a:gd name="connsiteY376" fmla="*/ 6858000 h 6858000"/>
              <a:gd name="connsiteX377" fmla="*/ 2232818 w 7467600"/>
              <a:gd name="connsiteY377" fmla="*/ 6844926 h 6858000"/>
              <a:gd name="connsiteX378" fmla="*/ 1990172 w 7467600"/>
              <a:gd name="connsiteY378" fmla="*/ 6542121 h 6858000"/>
              <a:gd name="connsiteX379" fmla="*/ 2124090 w 7467600"/>
              <a:gd name="connsiteY379" fmla="*/ 6761017 h 6858000"/>
              <a:gd name="connsiteX380" fmla="*/ 2200380 w 7467600"/>
              <a:gd name="connsiteY380" fmla="*/ 6858000 h 6858000"/>
              <a:gd name="connsiteX381" fmla="*/ 2147507 w 7467600"/>
              <a:gd name="connsiteY381" fmla="*/ 6858000 h 6858000"/>
              <a:gd name="connsiteX382" fmla="*/ 2070668 w 7467600"/>
              <a:gd name="connsiteY382" fmla="*/ 6761520 h 6858000"/>
              <a:gd name="connsiteX383" fmla="*/ 1975142 w 7467600"/>
              <a:gd name="connsiteY383" fmla="*/ 6585570 h 6858000"/>
              <a:gd name="connsiteX384" fmla="*/ 2050035 w 7467600"/>
              <a:gd name="connsiteY384" fmla="*/ 6813345 h 6858000"/>
              <a:gd name="connsiteX385" fmla="*/ 2063025 w 7467600"/>
              <a:gd name="connsiteY385" fmla="*/ 6858000 h 6858000"/>
              <a:gd name="connsiteX386" fmla="*/ 2021675 w 7467600"/>
              <a:gd name="connsiteY386" fmla="*/ 6858000 h 6858000"/>
              <a:gd name="connsiteX387" fmla="*/ 2019308 w 7467600"/>
              <a:gd name="connsiteY387" fmla="*/ 6847118 h 6858000"/>
              <a:gd name="connsiteX388" fmla="*/ 1938835 w 7467600"/>
              <a:gd name="connsiteY388" fmla="*/ 6551160 h 6858000"/>
              <a:gd name="connsiteX389" fmla="*/ 1953230 w 7467600"/>
              <a:gd name="connsiteY389" fmla="*/ 6759699 h 6858000"/>
              <a:gd name="connsiteX390" fmla="*/ 1956763 w 7467600"/>
              <a:gd name="connsiteY390" fmla="*/ 6778191 h 6858000"/>
              <a:gd name="connsiteX391" fmla="*/ 1967925 w 7467600"/>
              <a:gd name="connsiteY391" fmla="*/ 6858000 h 6858000"/>
              <a:gd name="connsiteX392" fmla="*/ 1936622 w 7467600"/>
              <a:gd name="connsiteY392" fmla="*/ 6858000 h 6858000"/>
              <a:gd name="connsiteX393" fmla="*/ 1926261 w 7467600"/>
              <a:gd name="connsiteY393" fmla="*/ 6784064 h 6858000"/>
              <a:gd name="connsiteX394" fmla="*/ 1922724 w 7467600"/>
              <a:gd name="connsiteY394" fmla="*/ 6765577 h 6858000"/>
              <a:gd name="connsiteX395" fmla="*/ 1904650 w 7467600"/>
              <a:gd name="connsiteY395" fmla="*/ 6639616 h 6858000"/>
              <a:gd name="connsiteX396" fmla="*/ 1885273 w 7467600"/>
              <a:gd name="connsiteY396" fmla="*/ 6858000 h 6858000"/>
              <a:gd name="connsiteX397" fmla="*/ 1854363 w 7467600"/>
              <a:gd name="connsiteY397" fmla="*/ 6858000 h 6858000"/>
              <a:gd name="connsiteX398" fmla="*/ 1880391 w 7467600"/>
              <a:gd name="connsiteY398" fmla="*/ 6603796 h 6858000"/>
              <a:gd name="connsiteX399" fmla="*/ 1818273 w 7467600"/>
              <a:gd name="connsiteY399" fmla="*/ 6715729 h 6858000"/>
              <a:gd name="connsiteX400" fmla="*/ 1794691 w 7467600"/>
              <a:gd name="connsiteY400" fmla="*/ 6843239 h 6858000"/>
              <a:gd name="connsiteX401" fmla="*/ 1794914 w 7467600"/>
              <a:gd name="connsiteY401" fmla="*/ 6858000 h 6858000"/>
              <a:gd name="connsiteX402" fmla="*/ 1746128 w 7467600"/>
              <a:gd name="connsiteY402" fmla="*/ 6858000 h 6858000"/>
              <a:gd name="connsiteX403" fmla="*/ 1753934 w 7467600"/>
              <a:gd name="connsiteY403" fmla="*/ 6724796 h 6858000"/>
              <a:gd name="connsiteX404" fmla="*/ 1792053 w 7467600"/>
              <a:gd name="connsiteY404" fmla="*/ 6572396 h 6858000"/>
              <a:gd name="connsiteX405" fmla="*/ 1862248 w 7467600"/>
              <a:gd name="connsiteY405" fmla="*/ 6266397 h 6858000"/>
              <a:gd name="connsiteX406" fmla="*/ 1862250 w 7467600"/>
              <a:gd name="connsiteY406" fmla="*/ 6033531 h 6858000"/>
              <a:gd name="connsiteX407" fmla="*/ 1211999 w 7467600"/>
              <a:gd name="connsiteY407" fmla="*/ 6683610 h 6858000"/>
              <a:gd name="connsiteX408" fmla="*/ 1213266 w 7467600"/>
              <a:gd name="connsiteY408" fmla="*/ 6691947 h 6858000"/>
              <a:gd name="connsiteX409" fmla="*/ 1203370 w 7467600"/>
              <a:gd name="connsiteY409" fmla="*/ 6850676 h 6858000"/>
              <a:gd name="connsiteX410" fmla="*/ 1203671 w 7467600"/>
              <a:gd name="connsiteY410" fmla="*/ 6858000 h 6858000"/>
              <a:gd name="connsiteX411" fmla="*/ 1143180 w 7467600"/>
              <a:gd name="connsiteY411" fmla="*/ 6858000 h 6858000"/>
              <a:gd name="connsiteX412" fmla="*/ 1142176 w 7467600"/>
              <a:gd name="connsiteY412" fmla="*/ 6766045 h 6858000"/>
              <a:gd name="connsiteX413" fmla="*/ 1067484 w 7467600"/>
              <a:gd name="connsiteY413" fmla="*/ 6858000 h 6858000"/>
              <a:gd name="connsiteX414" fmla="*/ 953928 w 7467600"/>
              <a:gd name="connsiteY414" fmla="*/ 6858000 h 6858000"/>
              <a:gd name="connsiteX415" fmla="*/ 959715 w 7467600"/>
              <a:gd name="connsiteY415" fmla="*/ 6850185 h 6858000"/>
              <a:gd name="connsiteX416" fmla="*/ 1483788 w 7467600"/>
              <a:gd name="connsiteY416" fmla="*/ 6259174 h 6858000"/>
              <a:gd name="connsiteX417" fmla="*/ 1100671 w 7467600"/>
              <a:gd name="connsiteY417" fmla="*/ 6252137 h 6858000"/>
              <a:gd name="connsiteX418" fmla="*/ 1090144 w 7467600"/>
              <a:gd name="connsiteY418" fmla="*/ 6256748 h 6858000"/>
              <a:gd name="connsiteX419" fmla="*/ 1095872 w 7467600"/>
              <a:gd name="connsiteY419" fmla="*/ 6271892 h 6858000"/>
              <a:gd name="connsiteX420" fmla="*/ 262785 w 7467600"/>
              <a:gd name="connsiteY420" fmla="*/ 6845450 h 6858000"/>
              <a:gd name="connsiteX421" fmla="*/ 209968 w 7467600"/>
              <a:gd name="connsiteY421" fmla="*/ 6770713 h 6858000"/>
              <a:gd name="connsiteX422" fmla="*/ 873460 w 7467600"/>
              <a:gd name="connsiteY422" fmla="*/ 6253768 h 6858000"/>
              <a:gd name="connsiteX423" fmla="*/ 192686 w 7467600"/>
              <a:gd name="connsiteY423" fmla="*/ 5849257 h 6858000"/>
              <a:gd name="connsiteX424" fmla="*/ 4696 w 7467600"/>
              <a:gd name="connsiteY424" fmla="*/ 5697668 h 6858000"/>
              <a:gd name="connsiteX425" fmla="*/ 0 w 7467600"/>
              <a:gd name="connsiteY425" fmla="*/ 5689984 h 6858000"/>
              <a:gd name="connsiteX426" fmla="*/ 0 w 7467600"/>
              <a:gd name="connsiteY426" fmla="*/ 5513472 h 6858000"/>
              <a:gd name="connsiteX427" fmla="*/ 174101 w 7467600"/>
              <a:gd name="connsiteY427" fmla="*/ 5620277 h 6858000"/>
              <a:gd name="connsiteX428" fmla="*/ 891800 w 7467600"/>
              <a:gd name="connsiteY428" fmla="*/ 6036935 h 6858000"/>
              <a:gd name="connsiteX429" fmla="*/ 1072219 w 7467600"/>
              <a:gd name="connsiteY429" fmla="*/ 6169443 h 6858000"/>
              <a:gd name="connsiteX430" fmla="*/ 1074117 w 7467600"/>
              <a:gd name="connsiteY430" fmla="*/ 6170301 h 6858000"/>
              <a:gd name="connsiteX431" fmla="*/ 1083114 w 7467600"/>
              <a:gd name="connsiteY431" fmla="*/ 6174131 h 6858000"/>
              <a:gd name="connsiteX432" fmla="*/ 1543010 w 7467600"/>
              <a:gd name="connsiteY432" fmla="*/ 6191140 h 6858000"/>
              <a:gd name="connsiteX433" fmla="*/ 1551080 w 7467600"/>
              <a:gd name="connsiteY433" fmla="*/ 6195006 h 6858000"/>
              <a:gd name="connsiteX434" fmla="*/ 2345443 w 7467600"/>
              <a:gd name="connsiteY434" fmla="*/ 5549882 h 6858000"/>
              <a:gd name="connsiteX435" fmla="*/ 1721499 w 7467600"/>
              <a:gd name="connsiteY435" fmla="*/ 5599969 h 6858000"/>
              <a:gd name="connsiteX436" fmla="*/ 767716 w 7467600"/>
              <a:gd name="connsiteY436" fmla="*/ 5472768 h 6858000"/>
              <a:gd name="connsiteX437" fmla="*/ 722147 w 7467600"/>
              <a:gd name="connsiteY437" fmla="*/ 5393091 h 6858000"/>
              <a:gd name="connsiteX438" fmla="*/ 1485552 w 7467600"/>
              <a:gd name="connsiteY438" fmla="*/ 5313202 h 6858000"/>
              <a:gd name="connsiteX439" fmla="*/ 2143004 w 7467600"/>
              <a:gd name="connsiteY439" fmla="*/ 5402420 h 6858000"/>
              <a:gd name="connsiteX440" fmla="*/ 1933391 w 7467600"/>
              <a:gd name="connsiteY440" fmla="*/ 5156971 h 6858000"/>
              <a:gd name="connsiteX441" fmla="*/ 1827118 w 7467600"/>
              <a:gd name="connsiteY441" fmla="*/ 4968410 h 6858000"/>
              <a:gd name="connsiteX442" fmla="*/ 1837349 w 7467600"/>
              <a:gd name="connsiteY442" fmla="*/ 4956357 h 6858000"/>
              <a:gd name="connsiteX443" fmla="*/ 2162835 w 7467600"/>
              <a:gd name="connsiteY443" fmla="*/ 5187853 h 6858000"/>
              <a:gd name="connsiteX444" fmla="*/ 2257167 w 7467600"/>
              <a:gd name="connsiteY444" fmla="*/ 5462123 h 6858000"/>
              <a:gd name="connsiteX445" fmla="*/ 2261598 w 7467600"/>
              <a:gd name="connsiteY445" fmla="*/ 5467998 h 6858000"/>
              <a:gd name="connsiteX446" fmla="*/ 2437177 w 7467600"/>
              <a:gd name="connsiteY446" fmla="*/ 5479608 h 6858000"/>
              <a:gd name="connsiteX447" fmla="*/ 2445247 w 7467600"/>
              <a:gd name="connsiteY447" fmla="*/ 5483476 h 6858000"/>
              <a:gd name="connsiteX448" fmla="*/ 2743626 w 7467600"/>
              <a:gd name="connsiteY448" fmla="*/ 5304819 h 6858000"/>
              <a:gd name="connsiteX449" fmla="*/ 3048102 w 7467600"/>
              <a:gd name="connsiteY449" fmla="*/ 5150595 h 6858000"/>
              <a:gd name="connsiteX450" fmla="*/ 1799414 w 7467600"/>
              <a:gd name="connsiteY450" fmla="*/ 4694732 h 6858000"/>
              <a:gd name="connsiteX451" fmla="*/ 1771735 w 7467600"/>
              <a:gd name="connsiteY451" fmla="*/ 4619929 h 6858000"/>
              <a:gd name="connsiteX452" fmla="*/ 3104273 w 7467600"/>
              <a:gd name="connsiteY452" fmla="*/ 5076159 h 6858000"/>
              <a:gd name="connsiteX453" fmla="*/ 3113245 w 7467600"/>
              <a:gd name="connsiteY453" fmla="*/ 5090705 h 6858000"/>
              <a:gd name="connsiteX454" fmla="*/ 3126294 w 7467600"/>
              <a:gd name="connsiteY454" fmla="*/ 5114400 h 6858000"/>
              <a:gd name="connsiteX455" fmla="*/ 3937433 w 7467600"/>
              <a:gd name="connsiteY455" fmla="*/ 4830473 h 6858000"/>
              <a:gd name="connsiteX456" fmla="*/ 3590475 w 7467600"/>
              <a:gd name="connsiteY456" fmla="*/ 4597974 h 6858000"/>
              <a:gd name="connsiteX457" fmla="*/ 3100264 w 7467600"/>
              <a:gd name="connsiteY457" fmla="*/ 4579845 h 6858000"/>
              <a:gd name="connsiteX458" fmla="*/ 2183576 w 7467600"/>
              <a:gd name="connsiteY458" fmla="*/ 4227150 h 6858000"/>
              <a:gd name="connsiteX459" fmla="*/ 2151029 w 7467600"/>
              <a:gd name="connsiteY459" fmla="*/ 4146947 h 6858000"/>
              <a:gd name="connsiteX460" fmla="*/ 3563434 w 7467600"/>
              <a:gd name="connsiteY460" fmla="*/ 4469115 h 6858000"/>
              <a:gd name="connsiteX461" fmla="*/ 3177952 w 7467600"/>
              <a:gd name="connsiteY461" fmla="*/ 3657386 h 6858000"/>
              <a:gd name="connsiteX462" fmla="*/ 3189263 w 7467600"/>
              <a:gd name="connsiteY462" fmla="*/ 3625726 h 6858000"/>
              <a:gd name="connsiteX463" fmla="*/ 3560912 w 7467600"/>
              <a:gd name="connsiteY463" fmla="*/ 4079863 h 6858000"/>
              <a:gd name="connsiteX464" fmla="*/ 3626636 w 7467600"/>
              <a:gd name="connsiteY464" fmla="*/ 4512230 h 6858000"/>
              <a:gd name="connsiteX465" fmla="*/ 3653088 w 7467600"/>
              <a:gd name="connsiteY465" fmla="*/ 4521417 h 6858000"/>
              <a:gd name="connsiteX466" fmla="*/ 3988128 w 7467600"/>
              <a:gd name="connsiteY466" fmla="*/ 4817267 h 6858000"/>
              <a:gd name="connsiteX467" fmla="*/ 4830582 w 7467600"/>
              <a:gd name="connsiteY467" fmla="*/ 4676000 h 6858000"/>
              <a:gd name="connsiteX468" fmla="*/ 4830100 w 7467600"/>
              <a:gd name="connsiteY468" fmla="*/ 4675554 h 6858000"/>
              <a:gd name="connsiteX469" fmla="*/ 4036318 w 7467600"/>
              <a:gd name="connsiteY469" fmla="*/ 4147013 h 6858000"/>
              <a:gd name="connsiteX470" fmla="*/ 3432098 w 7467600"/>
              <a:gd name="connsiteY470" fmla="*/ 3537312 h 6858000"/>
              <a:gd name="connsiteX471" fmla="*/ 3446761 w 7467600"/>
              <a:gd name="connsiteY471" fmla="*/ 3461278 h 6858000"/>
              <a:gd name="connsiteX472" fmla="*/ 4419733 w 7467600"/>
              <a:gd name="connsiteY472" fmla="*/ 3963555 h 6858000"/>
              <a:gd name="connsiteX473" fmla="*/ 4781371 w 7467600"/>
              <a:gd name="connsiteY473" fmla="*/ 4458604 h 6858000"/>
              <a:gd name="connsiteX474" fmla="*/ 4780440 w 7467600"/>
              <a:gd name="connsiteY474" fmla="*/ 4470290 h 6858000"/>
              <a:gd name="connsiteX475" fmla="*/ 4898954 w 7467600"/>
              <a:gd name="connsiteY475" fmla="*/ 4662092 h 6858000"/>
              <a:gd name="connsiteX476" fmla="*/ 4900699 w 7467600"/>
              <a:gd name="connsiteY476" fmla="*/ 4670867 h 6858000"/>
              <a:gd name="connsiteX477" fmla="*/ 5714511 w 7467600"/>
              <a:gd name="connsiteY477" fmla="*/ 4663483 h 6858000"/>
              <a:gd name="connsiteX478" fmla="*/ 5464793 w 7467600"/>
              <a:gd name="connsiteY478" fmla="*/ 4393556 h 6858000"/>
              <a:gd name="connsiteX479" fmla="*/ 5461897 w 7467600"/>
              <a:gd name="connsiteY479" fmla="*/ 4390879 h 6858000"/>
              <a:gd name="connsiteX480" fmla="*/ 4294126 w 7467600"/>
              <a:gd name="connsiteY480" fmla="*/ 3303048 h 6858000"/>
              <a:gd name="connsiteX481" fmla="*/ 4305321 w 7467600"/>
              <a:gd name="connsiteY481" fmla="*/ 3256953 h 6858000"/>
              <a:gd name="connsiteX482" fmla="*/ 4949299 w 7467600"/>
              <a:gd name="connsiteY482" fmla="*/ 3766336 h 6858000"/>
              <a:gd name="connsiteX483" fmla="*/ 5291452 w 7467600"/>
              <a:gd name="connsiteY483" fmla="*/ 4076801 h 6858000"/>
              <a:gd name="connsiteX484" fmla="*/ 5434998 w 7467600"/>
              <a:gd name="connsiteY484" fmla="*/ 4254100 h 6858000"/>
              <a:gd name="connsiteX485" fmla="*/ 5351015 w 7467600"/>
              <a:gd name="connsiteY485" fmla="*/ 3760989 h 6858000"/>
              <a:gd name="connsiteX486" fmla="*/ 5413780 w 7467600"/>
              <a:gd name="connsiteY486" fmla="*/ 2966265 h 6858000"/>
              <a:gd name="connsiteX487" fmla="*/ 5425627 w 7467600"/>
              <a:gd name="connsiteY487" fmla="*/ 2954192 h 6858000"/>
              <a:gd name="connsiteX488" fmla="*/ 6604735 w 7467600"/>
              <a:gd name="connsiteY488" fmla="*/ 2041381 h 6858000"/>
              <a:gd name="connsiteX489" fmla="*/ 7204487 w 7467600"/>
              <a:gd name="connsiteY489" fmla="*/ 2742112 h 6858000"/>
              <a:gd name="connsiteX490" fmla="*/ 7131592 w 7467600"/>
              <a:gd name="connsiteY490" fmla="*/ 2672096 h 6858000"/>
              <a:gd name="connsiteX491" fmla="*/ 6996344 w 7467600"/>
              <a:gd name="connsiteY491" fmla="*/ 2518310 h 6858000"/>
              <a:gd name="connsiteX492" fmla="*/ 6735495 w 7467600"/>
              <a:gd name="connsiteY492" fmla="*/ 2196890 h 6858000"/>
              <a:gd name="connsiteX493" fmla="*/ 6721901 w 7467600"/>
              <a:gd name="connsiteY493" fmla="*/ 2179274 h 6858000"/>
              <a:gd name="connsiteX494" fmla="*/ 6604735 w 7467600"/>
              <a:gd name="connsiteY494" fmla="*/ 2041381 h 6858000"/>
              <a:gd name="connsiteX495" fmla="*/ 6591670 w 7467600"/>
              <a:gd name="connsiteY495" fmla="*/ 1988277 h 6858000"/>
              <a:gd name="connsiteX496" fmla="*/ 6747349 w 7467600"/>
              <a:gd name="connsiteY496" fmla="*/ 2160069 h 6858000"/>
              <a:gd name="connsiteX497" fmla="*/ 6760943 w 7467600"/>
              <a:gd name="connsiteY497" fmla="*/ 2177686 h 6858000"/>
              <a:gd name="connsiteX498" fmla="*/ 7021065 w 7467600"/>
              <a:gd name="connsiteY498" fmla="*/ 2498102 h 6858000"/>
              <a:gd name="connsiteX499" fmla="*/ 7155223 w 7467600"/>
              <a:gd name="connsiteY499" fmla="*/ 2650386 h 6858000"/>
              <a:gd name="connsiteX500" fmla="*/ 7203167 w 7467600"/>
              <a:gd name="connsiteY500" fmla="*/ 2697288 h 6858000"/>
              <a:gd name="connsiteX501" fmla="*/ 6937703 w 7467600"/>
              <a:gd name="connsiteY501" fmla="*/ 2321981 h 6858000"/>
              <a:gd name="connsiteX502" fmla="*/ 6591670 w 7467600"/>
              <a:gd name="connsiteY502" fmla="*/ 1988277 h 6858000"/>
              <a:gd name="connsiteX503" fmla="*/ 5798671 w 7467600"/>
              <a:gd name="connsiteY503" fmla="*/ 1981601 h 6858000"/>
              <a:gd name="connsiteX504" fmla="*/ 5754709 w 7467600"/>
              <a:gd name="connsiteY504" fmla="*/ 2071454 h 6858000"/>
              <a:gd name="connsiteX505" fmla="*/ 5763044 w 7467600"/>
              <a:gd name="connsiteY505" fmla="*/ 2842206 h 6858000"/>
              <a:gd name="connsiteX506" fmla="*/ 5764974 w 7467600"/>
              <a:gd name="connsiteY506" fmla="*/ 2799609 h 6858000"/>
              <a:gd name="connsiteX507" fmla="*/ 5767665 w 7467600"/>
              <a:gd name="connsiteY507" fmla="*/ 2666409 h 6858000"/>
              <a:gd name="connsiteX508" fmla="*/ 5763055 w 7467600"/>
              <a:gd name="connsiteY508" fmla="*/ 2579705 h 6858000"/>
              <a:gd name="connsiteX509" fmla="*/ 5758079 w 7467600"/>
              <a:gd name="connsiteY509" fmla="*/ 2492508 h 6858000"/>
              <a:gd name="connsiteX510" fmla="*/ 5779325 w 7467600"/>
              <a:gd name="connsiteY510" fmla="*/ 2197069 h 6858000"/>
              <a:gd name="connsiteX511" fmla="*/ 5798671 w 7467600"/>
              <a:gd name="connsiteY511" fmla="*/ 1981601 h 6858000"/>
              <a:gd name="connsiteX512" fmla="*/ 5829202 w 7467600"/>
              <a:gd name="connsiteY512" fmla="*/ 1971679 h 6858000"/>
              <a:gd name="connsiteX513" fmla="*/ 5809558 w 7467600"/>
              <a:gd name="connsiteY513" fmla="*/ 2198043 h 6858000"/>
              <a:gd name="connsiteX514" fmla="*/ 5788653 w 7467600"/>
              <a:gd name="connsiteY514" fmla="*/ 2489430 h 6858000"/>
              <a:gd name="connsiteX515" fmla="*/ 5793439 w 7467600"/>
              <a:gd name="connsiteY515" fmla="*/ 2575235 h 6858000"/>
              <a:gd name="connsiteX516" fmla="*/ 5796837 w 7467600"/>
              <a:gd name="connsiteY516" fmla="*/ 2637633 h 6858000"/>
              <a:gd name="connsiteX517" fmla="*/ 5818614 w 7467600"/>
              <a:gd name="connsiteY517" fmla="*/ 2473055 h 6858000"/>
              <a:gd name="connsiteX518" fmla="*/ 5829202 w 7467600"/>
              <a:gd name="connsiteY518" fmla="*/ 1971679 h 6858000"/>
              <a:gd name="connsiteX519" fmla="*/ 5911389 w 7467600"/>
              <a:gd name="connsiteY519" fmla="*/ 1898371 h 6858000"/>
              <a:gd name="connsiteX520" fmla="*/ 6237627 w 7467600"/>
              <a:gd name="connsiteY520" fmla="*/ 2231921 h 6858000"/>
              <a:gd name="connsiteX521" fmla="*/ 5911389 w 7467600"/>
              <a:gd name="connsiteY521" fmla="*/ 1898371 h 6858000"/>
              <a:gd name="connsiteX522" fmla="*/ 6944437 w 7467600"/>
              <a:gd name="connsiteY522" fmla="*/ 1575402 h 6858000"/>
              <a:gd name="connsiteX523" fmla="*/ 6304730 w 7467600"/>
              <a:gd name="connsiteY523" fmla="*/ 1766654 h 6858000"/>
              <a:gd name="connsiteX524" fmla="*/ 6944437 w 7467600"/>
              <a:gd name="connsiteY524" fmla="*/ 1575402 h 6858000"/>
              <a:gd name="connsiteX525" fmla="*/ 7019523 w 7467600"/>
              <a:gd name="connsiteY525" fmla="*/ 1519450 h 6858000"/>
              <a:gd name="connsiteX526" fmla="*/ 6298091 w 7467600"/>
              <a:gd name="connsiteY526" fmla="*/ 1737122 h 6858000"/>
              <a:gd name="connsiteX527" fmla="*/ 7019523 w 7467600"/>
              <a:gd name="connsiteY527" fmla="*/ 1519450 h 6858000"/>
              <a:gd name="connsiteX528" fmla="*/ 2399523 w 7467600"/>
              <a:gd name="connsiteY528" fmla="*/ 1428234 h 6858000"/>
              <a:gd name="connsiteX529" fmla="*/ 2224982 w 7467600"/>
              <a:gd name="connsiteY529" fmla="*/ 1826201 h 6858000"/>
              <a:gd name="connsiteX530" fmla="*/ 2096099 w 7467600"/>
              <a:gd name="connsiteY530" fmla="*/ 2345900 h 6858000"/>
              <a:gd name="connsiteX531" fmla="*/ 2283317 w 7467600"/>
              <a:gd name="connsiteY531" fmla="*/ 1796925 h 6858000"/>
              <a:gd name="connsiteX532" fmla="*/ 2399523 w 7467600"/>
              <a:gd name="connsiteY532" fmla="*/ 1428234 h 6858000"/>
              <a:gd name="connsiteX533" fmla="*/ 2448558 w 7467600"/>
              <a:gd name="connsiteY533" fmla="*/ 1373435 h 6858000"/>
              <a:gd name="connsiteX534" fmla="*/ 2312521 w 7467600"/>
              <a:gd name="connsiteY534" fmla="*/ 1806140 h 6858000"/>
              <a:gd name="connsiteX535" fmla="*/ 2127533 w 7467600"/>
              <a:gd name="connsiteY535" fmla="*/ 2348380 h 6858000"/>
              <a:gd name="connsiteX536" fmla="*/ 2358080 w 7467600"/>
              <a:gd name="connsiteY536" fmla="*/ 1866134 h 6858000"/>
              <a:gd name="connsiteX537" fmla="*/ 2407436 w 7467600"/>
              <a:gd name="connsiteY537" fmla="*/ 1651070 h 6858000"/>
              <a:gd name="connsiteX538" fmla="*/ 2448558 w 7467600"/>
              <a:gd name="connsiteY538" fmla="*/ 1373435 h 6858000"/>
              <a:gd name="connsiteX539" fmla="*/ 278707 w 7467600"/>
              <a:gd name="connsiteY539" fmla="*/ 1352270 h 6858000"/>
              <a:gd name="connsiteX540" fmla="*/ 321570 w 7467600"/>
              <a:gd name="connsiteY540" fmla="*/ 1861610 h 6858000"/>
              <a:gd name="connsiteX541" fmla="*/ 294281 w 7467600"/>
              <a:gd name="connsiteY541" fmla="*/ 1440658 h 6858000"/>
              <a:gd name="connsiteX542" fmla="*/ 278707 w 7467600"/>
              <a:gd name="connsiteY542" fmla="*/ 1352270 h 6858000"/>
              <a:gd name="connsiteX543" fmla="*/ 1423821 w 7467600"/>
              <a:gd name="connsiteY543" fmla="*/ 1351958 h 6858000"/>
              <a:gd name="connsiteX544" fmla="*/ 1638521 w 7467600"/>
              <a:gd name="connsiteY544" fmla="*/ 1908470 h 6858000"/>
              <a:gd name="connsiteX545" fmla="*/ 1754199 w 7467600"/>
              <a:gd name="connsiteY545" fmla="*/ 2149284 h 6858000"/>
              <a:gd name="connsiteX546" fmla="*/ 1908359 w 7467600"/>
              <a:gd name="connsiteY546" fmla="*/ 2364988 h 6858000"/>
              <a:gd name="connsiteX547" fmla="*/ 1647661 w 7467600"/>
              <a:gd name="connsiteY547" fmla="*/ 1825945 h 6858000"/>
              <a:gd name="connsiteX548" fmla="*/ 1423821 w 7467600"/>
              <a:gd name="connsiteY548" fmla="*/ 1351958 h 6858000"/>
              <a:gd name="connsiteX549" fmla="*/ 1431890 w 7467600"/>
              <a:gd name="connsiteY549" fmla="*/ 1306475 h 6858000"/>
              <a:gd name="connsiteX550" fmla="*/ 1507597 w 7467600"/>
              <a:gd name="connsiteY550" fmla="*/ 1446132 h 6858000"/>
              <a:gd name="connsiteX551" fmla="*/ 1674586 w 7467600"/>
              <a:gd name="connsiteY551" fmla="*/ 1813832 h 6858000"/>
              <a:gd name="connsiteX552" fmla="*/ 1815950 w 7467600"/>
              <a:gd name="connsiteY552" fmla="*/ 2128564 h 6858000"/>
              <a:gd name="connsiteX553" fmla="*/ 1984242 w 7467600"/>
              <a:gd name="connsiteY553" fmla="*/ 2430829 h 6858000"/>
              <a:gd name="connsiteX554" fmla="*/ 2014023 w 7467600"/>
              <a:gd name="connsiteY554" fmla="*/ 2450995 h 6858000"/>
              <a:gd name="connsiteX555" fmla="*/ 1747337 w 7467600"/>
              <a:gd name="connsiteY555" fmla="*/ 1855264 h 6858000"/>
              <a:gd name="connsiteX556" fmla="*/ 1533749 w 7467600"/>
              <a:gd name="connsiteY556" fmla="*/ 1478656 h 6858000"/>
              <a:gd name="connsiteX557" fmla="*/ 1431890 w 7467600"/>
              <a:gd name="connsiteY557" fmla="*/ 1306475 h 6858000"/>
              <a:gd name="connsiteX558" fmla="*/ 5052692 w 7467600"/>
              <a:gd name="connsiteY558" fmla="*/ 1292994 h 6858000"/>
              <a:gd name="connsiteX559" fmla="*/ 5200661 w 7467600"/>
              <a:gd name="connsiteY559" fmla="*/ 1635186 h 6858000"/>
              <a:gd name="connsiteX560" fmla="*/ 5297138 w 7467600"/>
              <a:gd name="connsiteY560" fmla="*/ 1906351 h 6858000"/>
              <a:gd name="connsiteX561" fmla="*/ 5052692 w 7467600"/>
              <a:gd name="connsiteY561" fmla="*/ 1292994 h 6858000"/>
              <a:gd name="connsiteX562" fmla="*/ 5009948 w 7467600"/>
              <a:gd name="connsiteY562" fmla="*/ 1273619 h 6858000"/>
              <a:gd name="connsiteX563" fmla="*/ 5121777 w 7467600"/>
              <a:gd name="connsiteY563" fmla="*/ 1654213 h 6858000"/>
              <a:gd name="connsiteX564" fmla="*/ 5293545 w 7467600"/>
              <a:gd name="connsiteY564" fmla="*/ 2072247 h 6858000"/>
              <a:gd name="connsiteX565" fmla="*/ 5294042 w 7467600"/>
              <a:gd name="connsiteY565" fmla="*/ 2065019 h 6858000"/>
              <a:gd name="connsiteX566" fmla="*/ 5171936 w 7467600"/>
              <a:gd name="connsiteY566" fmla="*/ 1647613 h 6858000"/>
              <a:gd name="connsiteX567" fmla="*/ 5009948 w 7467600"/>
              <a:gd name="connsiteY567" fmla="*/ 1273619 h 6858000"/>
              <a:gd name="connsiteX568" fmla="*/ 655236 w 7467600"/>
              <a:gd name="connsiteY568" fmla="*/ 1268632 h 6858000"/>
              <a:gd name="connsiteX569" fmla="*/ 839521 w 7467600"/>
              <a:gd name="connsiteY569" fmla="*/ 1685315 h 6858000"/>
              <a:gd name="connsiteX570" fmla="*/ 1109416 w 7467600"/>
              <a:gd name="connsiteY570" fmla="*/ 2061663 h 6858000"/>
              <a:gd name="connsiteX571" fmla="*/ 1298300 w 7467600"/>
              <a:gd name="connsiteY571" fmla="*/ 2247742 h 6858000"/>
              <a:gd name="connsiteX572" fmla="*/ 1125871 w 7467600"/>
              <a:gd name="connsiteY572" fmla="*/ 1989513 h 6858000"/>
              <a:gd name="connsiteX573" fmla="*/ 981574 w 7467600"/>
              <a:gd name="connsiteY573" fmla="*/ 1783157 h 6858000"/>
              <a:gd name="connsiteX574" fmla="*/ 922198 w 7467600"/>
              <a:gd name="connsiteY574" fmla="*/ 1677437 h 6858000"/>
              <a:gd name="connsiteX575" fmla="*/ 869293 w 7467600"/>
              <a:gd name="connsiteY575" fmla="*/ 1583214 h 6858000"/>
              <a:gd name="connsiteX576" fmla="*/ 751431 w 7467600"/>
              <a:gd name="connsiteY576" fmla="*/ 1405731 h 6858000"/>
              <a:gd name="connsiteX577" fmla="*/ 655236 w 7467600"/>
              <a:gd name="connsiteY577" fmla="*/ 1268632 h 6858000"/>
              <a:gd name="connsiteX578" fmla="*/ 6516292 w 7467600"/>
              <a:gd name="connsiteY578" fmla="*/ 1263064 h 6858000"/>
              <a:gd name="connsiteX579" fmla="*/ 5736320 w 7467600"/>
              <a:gd name="connsiteY579" fmla="*/ 1501803 h 6858000"/>
              <a:gd name="connsiteX580" fmla="*/ 6516292 w 7467600"/>
              <a:gd name="connsiteY580" fmla="*/ 1263064 h 6858000"/>
              <a:gd name="connsiteX581" fmla="*/ 291466 w 7467600"/>
              <a:gd name="connsiteY581" fmla="*/ 1250369 h 6858000"/>
              <a:gd name="connsiteX582" fmla="*/ 323180 w 7467600"/>
              <a:gd name="connsiteY582" fmla="*/ 1435283 h 6858000"/>
              <a:gd name="connsiteX583" fmla="*/ 349381 w 7467600"/>
              <a:gd name="connsiteY583" fmla="*/ 1875041 h 6858000"/>
              <a:gd name="connsiteX584" fmla="*/ 374363 w 7467600"/>
              <a:gd name="connsiteY584" fmla="*/ 1506494 h 6858000"/>
              <a:gd name="connsiteX585" fmla="*/ 302168 w 7467600"/>
              <a:gd name="connsiteY585" fmla="*/ 1274495 h 6858000"/>
              <a:gd name="connsiteX586" fmla="*/ 291466 w 7467600"/>
              <a:gd name="connsiteY586" fmla="*/ 1250369 h 6858000"/>
              <a:gd name="connsiteX587" fmla="*/ 678222 w 7467600"/>
              <a:gd name="connsiteY587" fmla="*/ 1248670 h 6858000"/>
              <a:gd name="connsiteX588" fmla="*/ 775536 w 7467600"/>
              <a:gd name="connsiteY588" fmla="*/ 1388015 h 6858000"/>
              <a:gd name="connsiteX589" fmla="*/ 894529 w 7467600"/>
              <a:gd name="connsiteY589" fmla="*/ 1567739 h 6858000"/>
              <a:gd name="connsiteX590" fmla="*/ 948000 w 7467600"/>
              <a:gd name="connsiteY590" fmla="*/ 1663088 h 6858000"/>
              <a:gd name="connsiteX591" fmla="*/ 1006812 w 7467600"/>
              <a:gd name="connsiteY591" fmla="*/ 1767683 h 6858000"/>
              <a:gd name="connsiteX592" fmla="*/ 1149133 w 7467600"/>
              <a:gd name="connsiteY592" fmla="*/ 1971513 h 6858000"/>
              <a:gd name="connsiteX593" fmla="*/ 1333952 w 7467600"/>
              <a:gd name="connsiteY593" fmla="*/ 2251620 h 6858000"/>
              <a:gd name="connsiteX594" fmla="*/ 1337329 w 7467600"/>
              <a:gd name="connsiteY594" fmla="*/ 2258350 h 6858000"/>
              <a:gd name="connsiteX595" fmla="*/ 1014726 w 7467600"/>
              <a:gd name="connsiteY595" fmla="*/ 1615556 h 6858000"/>
              <a:gd name="connsiteX596" fmla="*/ 678222 w 7467600"/>
              <a:gd name="connsiteY596" fmla="*/ 1248670 h 6858000"/>
              <a:gd name="connsiteX597" fmla="*/ 6691602 w 7467600"/>
              <a:gd name="connsiteY597" fmla="*/ 1140573 h 6858000"/>
              <a:gd name="connsiteX598" fmla="*/ 6571100 w 7467600"/>
              <a:gd name="connsiteY598" fmla="*/ 1183662 h 6858000"/>
              <a:gd name="connsiteX599" fmla="*/ 6241687 w 7467600"/>
              <a:gd name="connsiteY599" fmla="*/ 1257600 h 6858000"/>
              <a:gd name="connsiteX600" fmla="*/ 5693009 w 7467600"/>
              <a:gd name="connsiteY600" fmla="*/ 1478256 h 6858000"/>
              <a:gd name="connsiteX601" fmla="*/ 6548420 w 7467600"/>
              <a:gd name="connsiteY601" fmla="*/ 1214599 h 6858000"/>
              <a:gd name="connsiteX602" fmla="*/ 6605473 w 7467600"/>
              <a:gd name="connsiteY602" fmla="*/ 1184686 h 6858000"/>
              <a:gd name="connsiteX603" fmla="*/ 6691602 w 7467600"/>
              <a:gd name="connsiteY603" fmla="*/ 1140573 h 6858000"/>
              <a:gd name="connsiteX604" fmla="*/ 4002475 w 7467600"/>
              <a:gd name="connsiteY604" fmla="*/ 1037802 h 6858000"/>
              <a:gd name="connsiteX605" fmla="*/ 4000324 w 7467600"/>
              <a:gd name="connsiteY605" fmla="*/ 1039362 h 6858000"/>
              <a:gd name="connsiteX606" fmla="*/ 4002862 w 7467600"/>
              <a:gd name="connsiteY606" fmla="*/ 1042866 h 6858000"/>
              <a:gd name="connsiteX607" fmla="*/ 4002475 w 7467600"/>
              <a:gd name="connsiteY607" fmla="*/ 1037802 h 6858000"/>
              <a:gd name="connsiteX608" fmla="*/ 506322 w 7467600"/>
              <a:gd name="connsiteY608" fmla="*/ 1020997 h 6858000"/>
              <a:gd name="connsiteX609" fmla="*/ 533068 w 7467600"/>
              <a:gd name="connsiteY609" fmla="*/ 1029409 h 6858000"/>
              <a:gd name="connsiteX610" fmla="*/ 1232525 w 7467600"/>
              <a:gd name="connsiteY610" fmla="*/ 1804675 h 6858000"/>
              <a:gd name="connsiteX611" fmla="*/ 1388858 w 7467600"/>
              <a:gd name="connsiteY611" fmla="*/ 2368011 h 6858000"/>
              <a:gd name="connsiteX612" fmla="*/ 1384098 w 7467600"/>
              <a:gd name="connsiteY612" fmla="*/ 2378125 h 6858000"/>
              <a:gd name="connsiteX613" fmla="*/ 1425393 w 7467600"/>
              <a:gd name="connsiteY613" fmla="*/ 2589124 h 6858000"/>
              <a:gd name="connsiteX614" fmla="*/ 1424001 w 7467600"/>
              <a:gd name="connsiteY614" fmla="*/ 2597541 h 6858000"/>
              <a:gd name="connsiteX615" fmla="*/ 2152729 w 7467600"/>
              <a:gd name="connsiteY615" fmla="*/ 2864487 h 6858000"/>
              <a:gd name="connsiteX616" fmla="*/ 2020609 w 7467600"/>
              <a:gd name="connsiteY616" fmla="*/ 2539671 h 6858000"/>
              <a:gd name="connsiteX617" fmla="*/ 2018920 w 7467600"/>
              <a:gd name="connsiteY617" fmla="*/ 2536309 h 6858000"/>
              <a:gd name="connsiteX618" fmla="*/ 1342441 w 7467600"/>
              <a:gd name="connsiteY618" fmla="*/ 1173017 h 6858000"/>
              <a:gd name="connsiteX619" fmla="*/ 1367925 w 7467600"/>
              <a:gd name="connsiteY619" fmla="*/ 1135648 h 6858000"/>
              <a:gd name="connsiteX620" fmla="*/ 1771401 w 7467600"/>
              <a:gd name="connsiteY620" fmla="*/ 1806673 h 6858000"/>
              <a:gd name="connsiteX621" fmla="*/ 1972385 w 7467600"/>
              <a:gd name="connsiteY621" fmla="*/ 2198735 h 6858000"/>
              <a:gd name="connsiteX622" fmla="*/ 2040892 w 7467600"/>
              <a:gd name="connsiteY622" fmla="*/ 2405205 h 6858000"/>
              <a:gd name="connsiteX623" fmla="*/ 2131689 w 7467600"/>
              <a:gd name="connsiteY623" fmla="*/ 1936926 h 6858000"/>
              <a:gd name="connsiteX624" fmla="*/ 2454820 w 7467600"/>
              <a:gd name="connsiteY624" fmla="*/ 1248808 h 6858000"/>
              <a:gd name="connsiteX625" fmla="*/ 2492512 w 7467600"/>
              <a:gd name="connsiteY625" fmla="*/ 1302920 h 6858000"/>
              <a:gd name="connsiteX626" fmla="*/ 2081216 w 7467600"/>
              <a:gd name="connsiteY626" fmla="*/ 2527513 h 6858000"/>
              <a:gd name="connsiteX627" fmla="*/ 2081211 w 7467600"/>
              <a:gd name="connsiteY627" fmla="*/ 2528916 h 6858000"/>
              <a:gd name="connsiteX628" fmla="*/ 2199067 w 7467600"/>
              <a:gd name="connsiteY628" fmla="*/ 2884061 h 6858000"/>
              <a:gd name="connsiteX629" fmla="*/ 3192586 w 7467600"/>
              <a:gd name="connsiteY629" fmla="*/ 3411496 h 6858000"/>
              <a:gd name="connsiteX630" fmla="*/ 3182620 w 7467600"/>
              <a:gd name="connsiteY630" fmla="*/ 3483279 h 6858000"/>
              <a:gd name="connsiteX631" fmla="*/ 2435119 w 7467600"/>
              <a:gd name="connsiteY631" fmla="*/ 3080173 h 6858000"/>
              <a:gd name="connsiteX632" fmla="*/ 2410152 w 7467600"/>
              <a:gd name="connsiteY632" fmla="*/ 3063751 h 6858000"/>
              <a:gd name="connsiteX633" fmla="*/ 2408099 w 7467600"/>
              <a:gd name="connsiteY633" fmla="*/ 3064403 h 6858000"/>
              <a:gd name="connsiteX634" fmla="*/ 2407218 w 7467600"/>
              <a:gd name="connsiteY634" fmla="*/ 3070324 h 6858000"/>
              <a:gd name="connsiteX635" fmla="*/ 2380138 w 7467600"/>
              <a:gd name="connsiteY635" fmla="*/ 3099341 h 6858000"/>
              <a:gd name="connsiteX636" fmla="*/ 1765923 w 7467600"/>
              <a:gd name="connsiteY636" fmla="*/ 3581043 h 6858000"/>
              <a:gd name="connsiteX637" fmla="*/ 1702258 w 7467600"/>
              <a:gd name="connsiteY637" fmla="*/ 3612286 h 6858000"/>
              <a:gd name="connsiteX638" fmla="*/ 1538370 w 7467600"/>
              <a:gd name="connsiteY638" fmla="*/ 3811804 h 6858000"/>
              <a:gd name="connsiteX639" fmla="*/ 542867 w 7467600"/>
              <a:gd name="connsiteY639" fmla="*/ 4944092 h 6858000"/>
              <a:gd name="connsiteX640" fmla="*/ 515800 w 7467600"/>
              <a:gd name="connsiteY640" fmla="*/ 4862180 h 6858000"/>
              <a:gd name="connsiteX641" fmla="*/ 909145 w 7467600"/>
              <a:gd name="connsiteY641" fmla="*/ 4199225 h 6858000"/>
              <a:gd name="connsiteX642" fmla="*/ 1214067 w 7467600"/>
              <a:gd name="connsiteY642" fmla="*/ 3908561 h 6858000"/>
              <a:gd name="connsiteX643" fmla="*/ 640967 w 7467600"/>
              <a:gd name="connsiteY643" fmla="*/ 4105601 h 6858000"/>
              <a:gd name="connsiteX644" fmla="*/ 112563 w 7467600"/>
              <a:gd name="connsiteY644" fmla="*/ 4396952 h 6858000"/>
              <a:gd name="connsiteX645" fmla="*/ 0 w 7467600"/>
              <a:gd name="connsiteY645" fmla="*/ 4466006 h 6858000"/>
              <a:gd name="connsiteX646" fmla="*/ 0 w 7467600"/>
              <a:gd name="connsiteY646" fmla="*/ 4233763 h 6858000"/>
              <a:gd name="connsiteX647" fmla="*/ 36881 w 7467600"/>
              <a:gd name="connsiteY647" fmla="*/ 4200118 h 6858000"/>
              <a:gd name="connsiteX648" fmla="*/ 910534 w 7467600"/>
              <a:gd name="connsiteY648" fmla="*/ 3629753 h 6858000"/>
              <a:gd name="connsiteX649" fmla="*/ 1578717 w 7467600"/>
              <a:gd name="connsiteY649" fmla="*/ 3575982 h 6858000"/>
              <a:gd name="connsiteX650" fmla="*/ 2338780 w 7467600"/>
              <a:gd name="connsiteY650" fmla="*/ 3033725 h 6858000"/>
              <a:gd name="connsiteX651" fmla="*/ 1807991 w 7467600"/>
              <a:gd name="connsiteY651" fmla="*/ 2807184 h 6858000"/>
              <a:gd name="connsiteX652" fmla="*/ 1416358 w 7467600"/>
              <a:gd name="connsiteY652" fmla="*/ 3112571 h 6858000"/>
              <a:gd name="connsiteX653" fmla="*/ 939066 w 7467600"/>
              <a:gd name="connsiteY653" fmla="*/ 3378798 h 6858000"/>
              <a:gd name="connsiteX654" fmla="*/ 115099 w 7467600"/>
              <a:gd name="connsiteY654" fmla="*/ 3607650 h 6858000"/>
              <a:gd name="connsiteX655" fmla="*/ 97284 w 7467600"/>
              <a:gd name="connsiteY655" fmla="*/ 3520393 h 6858000"/>
              <a:gd name="connsiteX656" fmla="*/ 922050 w 7467600"/>
              <a:gd name="connsiteY656" fmla="*/ 3074867 h 6858000"/>
              <a:gd name="connsiteX657" fmla="*/ 1405265 w 7467600"/>
              <a:gd name="connsiteY657" fmla="*/ 3016319 h 6858000"/>
              <a:gd name="connsiteX658" fmla="*/ 1407512 w 7467600"/>
              <a:gd name="connsiteY658" fmla="*/ 3018001 h 6858000"/>
              <a:gd name="connsiteX659" fmla="*/ 1726266 w 7467600"/>
              <a:gd name="connsiteY659" fmla="*/ 2777274 h 6858000"/>
              <a:gd name="connsiteX660" fmla="*/ 625390 w 7467600"/>
              <a:gd name="connsiteY660" fmla="*/ 2514541 h 6858000"/>
              <a:gd name="connsiteX661" fmla="*/ 619799 w 7467600"/>
              <a:gd name="connsiteY661" fmla="*/ 2527180 h 6858000"/>
              <a:gd name="connsiteX662" fmla="*/ 310030 w 7467600"/>
              <a:gd name="connsiteY662" fmla="*/ 2771818 h 6858000"/>
              <a:gd name="connsiteX663" fmla="*/ 173877 w 7467600"/>
              <a:gd name="connsiteY663" fmla="*/ 2937056 h 6858000"/>
              <a:gd name="connsiteX664" fmla="*/ 77889 w 7467600"/>
              <a:gd name="connsiteY664" fmla="*/ 3138440 h 6858000"/>
              <a:gd name="connsiteX665" fmla="*/ 0 w 7467600"/>
              <a:gd name="connsiteY665" fmla="*/ 3271395 h 6858000"/>
              <a:gd name="connsiteX666" fmla="*/ 0 w 7467600"/>
              <a:gd name="connsiteY666" fmla="*/ 3153002 h 6858000"/>
              <a:gd name="connsiteX667" fmla="*/ 2386 w 7467600"/>
              <a:gd name="connsiteY667" fmla="*/ 3149203 h 6858000"/>
              <a:gd name="connsiteX668" fmla="*/ 89753 w 7467600"/>
              <a:gd name="connsiteY668" fmla="*/ 2987702 h 6858000"/>
              <a:gd name="connsiteX669" fmla="*/ 76869 w 7467600"/>
              <a:gd name="connsiteY669" fmla="*/ 3005404 h 6858000"/>
              <a:gd name="connsiteX670" fmla="*/ 32049 w 7467600"/>
              <a:gd name="connsiteY670" fmla="*/ 3065814 h 6858000"/>
              <a:gd name="connsiteX671" fmla="*/ 0 w 7467600"/>
              <a:gd name="connsiteY671" fmla="*/ 3108744 h 6858000"/>
              <a:gd name="connsiteX672" fmla="*/ 0 w 7467600"/>
              <a:gd name="connsiteY672" fmla="*/ 3058059 h 6858000"/>
              <a:gd name="connsiteX673" fmla="*/ 7610 w 7467600"/>
              <a:gd name="connsiteY673" fmla="*/ 3047889 h 6858000"/>
              <a:gd name="connsiteX674" fmla="*/ 52419 w 7467600"/>
              <a:gd name="connsiteY674" fmla="*/ 2987479 h 6858000"/>
              <a:gd name="connsiteX675" fmla="*/ 59142 w 7467600"/>
              <a:gd name="connsiteY675" fmla="*/ 2978488 h 6858000"/>
              <a:gd name="connsiteX676" fmla="*/ 0 w 7467600"/>
              <a:gd name="connsiteY676" fmla="*/ 3015334 h 6858000"/>
              <a:gd name="connsiteX677" fmla="*/ 0 w 7467600"/>
              <a:gd name="connsiteY677" fmla="*/ 2914286 h 6858000"/>
              <a:gd name="connsiteX678" fmla="*/ 36383 w 7467600"/>
              <a:gd name="connsiteY678" fmla="*/ 2901128 h 6858000"/>
              <a:gd name="connsiteX679" fmla="*/ 156329 w 7467600"/>
              <a:gd name="connsiteY679" fmla="*/ 2840533 h 6858000"/>
              <a:gd name="connsiteX680" fmla="*/ 358355 w 7467600"/>
              <a:gd name="connsiteY680" fmla="*/ 2620471 h 6858000"/>
              <a:gd name="connsiteX681" fmla="*/ 510577 w 7467600"/>
              <a:gd name="connsiteY681" fmla="*/ 2501244 h 6858000"/>
              <a:gd name="connsiteX682" fmla="*/ 211967 w 7467600"/>
              <a:gd name="connsiteY682" fmla="*/ 2479171 h 6858000"/>
              <a:gd name="connsiteX683" fmla="*/ 0 w 7467600"/>
              <a:gd name="connsiteY683" fmla="*/ 2476398 h 6858000"/>
              <a:gd name="connsiteX684" fmla="*/ 0 w 7467600"/>
              <a:gd name="connsiteY684" fmla="*/ 2389189 h 6858000"/>
              <a:gd name="connsiteX685" fmla="*/ 103062 w 7467600"/>
              <a:gd name="connsiteY685" fmla="*/ 2389518 h 6858000"/>
              <a:gd name="connsiteX686" fmla="*/ 510734 w 7467600"/>
              <a:gd name="connsiteY686" fmla="*/ 2416201 h 6858000"/>
              <a:gd name="connsiteX687" fmla="*/ 279257 w 7467600"/>
              <a:gd name="connsiteY687" fmla="*/ 2092102 h 6858000"/>
              <a:gd name="connsiteX688" fmla="*/ 65265 w 7467600"/>
              <a:gd name="connsiteY688" fmla="*/ 2006049 h 6858000"/>
              <a:gd name="connsiteX689" fmla="*/ 0 w 7467600"/>
              <a:gd name="connsiteY689" fmla="*/ 1982532 h 6858000"/>
              <a:gd name="connsiteX690" fmla="*/ 0 w 7467600"/>
              <a:gd name="connsiteY690" fmla="*/ 1912789 h 6858000"/>
              <a:gd name="connsiteX691" fmla="*/ 97460 w 7467600"/>
              <a:gd name="connsiteY691" fmla="*/ 1953725 h 6858000"/>
              <a:gd name="connsiteX692" fmla="*/ 221272 w 7467600"/>
              <a:gd name="connsiteY692" fmla="*/ 1980766 h 6858000"/>
              <a:gd name="connsiteX693" fmla="*/ 116765 w 7467600"/>
              <a:gd name="connsiteY693" fmla="*/ 1911033 h 6858000"/>
              <a:gd name="connsiteX694" fmla="*/ 16405 w 7467600"/>
              <a:gd name="connsiteY694" fmla="*/ 1803412 h 6858000"/>
              <a:gd name="connsiteX695" fmla="*/ 0 w 7467600"/>
              <a:gd name="connsiteY695" fmla="*/ 1784777 h 6858000"/>
              <a:gd name="connsiteX696" fmla="*/ 0 w 7467600"/>
              <a:gd name="connsiteY696" fmla="*/ 1740082 h 6858000"/>
              <a:gd name="connsiteX697" fmla="*/ 39394 w 7467600"/>
              <a:gd name="connsiteY697" fmla="*/ 1784856 h 6858000"/>
              <a:gd name="connsiteX698" fmla="*/ 135813 w 7467600"/>
              <a:gd name="connsiteY698" fmla="*/ 1888838 h 6858000"/>
              <a:gd name="connsiteX699" fmla="*/ 242575 w 7467600"/>
              <a:gd name="connsiteY699" fmla="*/ 1958841 h 6858000"/>
              <a:gd name="connsiteX700" fmla="*/ 82197 w 7467600"/>
              <a:gd name="connsiteY700" fmla="*/ 1754826 h 6858000"/>
              <a:gd name="connsiteX701" fmla="*/ 0 w 7467600"/>
              <a:gd name="connsiteY701" fmla="*/ 1679650 h 6858000"/>
              <a:gd name="connsiteX702" fmla="*/ 0 w 7467600"/>
              <a:gd name="connsiteY702" fmla="*/ 1602463 h 6858000"/>
              <a:gd name="connsiteX703" fmla="*/ 84689 w 7467600"/>
              <a:gd name="connsiteY703" fmla="*/ 1677442 h 6858000"/>
              <a:gd name="connsiteX704" fmla="*/ 298437 w 7467600"/>
              <a:gd name="connsiteY704" fmla="*/ 1968019 h 6858000"/>
              <a:gd name="connsiteX705" fmla="*/ 227269 w 7467600"/>
              <a:gd name="connsiteY705" fmla="*/ 1114064 h 6858000"/>
              <a:gd name="connsiteX706" fmla="*/ 248003 w 7467600"/>
              <a:gd name="connsiteY706" fmla="*/ 1089613 h 6858000"/>
              <a:gd name="connsiteX707" fmla="*/ 427020 w 7467600"/>
              <a:gd name="connsiteY707" fmla="*/ 1619803 h 6858000"/>
              <a:gd name="connsiteX708" fmla="*/ 340345 w 7467600"/>
              <a:gd name="connsiteY708" fmla="*/ 2027739 h 6858000"/>
              <a:gd name="connsiteX709" fmla="*/ 360865 w 7467600"/>
              <a:gd name="connsiteY709" fmla="*/ 2044827 h 6858000"/>
              <a:gd name="connsiteX710" fmla="*/ 560414 w 7467600"/>
              <a:gd name="connsiteY710" fmla="*/ 2421457 h 6858000"/>
              <a:gd name="connsiteX711" fmla="*/ 1359703 w 7467600"/>
              <a:gd name="connsiteY711" fmla="*/ 2578554 h 6858000"/>
              <a:gd name="connsiteX712" fmla="*/ 1359422 w 7467600"/>
              <a:gd name="connsiteY712" fmla="*/ 2577994 h 6858000"/>
              <a:gd name="connsiteX713" fmla="*/ 828701 w 7467600"/>
              <a:gd name="connsiteY713" fmla="*/ 1839520 h 6858000"/>
              <a:gd name="connsiteX714" fmla="*/ 494427 w 7467600"/>
              <a:gd name="connsiteY714" fmla="*/ 1092333 h 6858000"/>
              <a:gd name="connsiteX715" fmla="*/ 506322 w 7467600"/>
              <a:gd name="connsiteY715" fmla="*/ 1020997 h 6858000"/>
              <a:gd name="connsiteX716" fmla="*/ 4570198 w 7467600"/>
              <a:gd name="connsiteY716" fmla="*/ 978081 h 6858000"/>
              <a:gd name="connsiteX717" fmla="*/ 4523691 w 7467600"/>
              <a:gd name="connsiteY717" fmla="*/ 1127776 h 6858000"/>
              <a:gd name="connsiteX718" fmla="*/ 4509875 w 7467600"/>
              <a:gd name="connsiteY718" fmla="*/ 1167552 h 6858000"/>
              <a:gd name="connsiteX719" fmla="*/ 4478168 w 7467600"/>
              <a:gd name="connsiteY719" fmla="*/ 1260735 h 6858000"/>
              <a:gd name="connsiteX720" fmla="*/ 4409309 w 7467600"/>
              <a:gd name="connsiteY720" fmla="*/ 1666996 h 6858000"/>
              <a:gd name="connsiteX721" fmla="*/ 4370031 w 7467600"/>
              <a:gd name="connsiteY721" fmla="*/ 1955666 h 6858000"/>
              <a:gd name="connsiteX722" fmla="*/ 4570198 w 7467600"/>
              <a:gd name="connsiteY722" fmla="*/ 978081 h 6858000"/>
              <a:gd name="connsiteX723" fmla="*/ 4557898 w 7467600"/>
              <a:gd name="connsiteY723" fmla="*/ 900011 h 6858000"/>
              <a:gd name="connsiteX724" fmla="*/ 4344840 w 7467600"/>
              <a:gd name="connsiteY724" fmla="*/ 1922038 h 6858000"/>
              <a:gd name="connsiteX725" fmla="*/ 4378710 w 7467600"/>
              <a:gd name="connsiteY725" fmla="*/ 1665516 h 6858000"/>
              <a:gd name="connsiteX726" fmla="*/ 4448798 w 7467600"/>
              <a:gd name="connsiteY726" fmla="*/ 1253024 h 6858000"/>
              <a:gd name="connsiteX727" fmla="*/ 4480315 w 7467600"/>
              <a:gd name="connsiteY727" fmla="*/ 1158454 h 6858000"/>
              <a:gd name="connsiteX728" fmla="*/ 4494133 w 7467600"/>
              <a:gd name="connsiteY728" fmla="*/ 1118676 h 6858000"/>
              <a:gd name="connsiteX729" fmla="*/ 4557898 w 7467600"/>
              <a:gd name="connsiteY729" fmla="*/ 900011 h 6858000"/>
              <a:gd name="connsiteX730" fmla="*/ 5870151 w 7467600"/>
              <a:gd name="connsiteY730" fmla="*/ 898890 h 6858000"/>
              <a:gd name="connsiteX731" fmla="*/ 5861335 w 7467600"/>
              <a:gd name="connsiteY731" fmla="*/ 899177 h 6858000"/>
              <a:gd name="connsiteX732" fmla="*/ 5843702 w 7467600"/>
              <a:gd name="connsiteY732" fmla="*/ 899748 h 6858000"/>
              <a:gd name="connsiteX733" fmla="*/ 5651107 w 7467600"/>
              <a:gd name="connsiteY733" fmla="*/ 920306 h 6858000"/>
              <a:gd name="connsiteX734" fmla="*/ 5459407 w 7467600"/>
              <a:gd name="connsiteY734" fmla="*/ 940975 h 6858000"/>
              <a:gd name="connsiteX735" fmla="*/ 5374846 w 7467600"/>
              <a:gd name="connsiteY735" fmla="*/ 941988 h 6858000"/>
              <a:gd name="connsiteX736" fmla="*/ 5256105 w 7467600"/>
              <a:gd name="connsiteY736" fmla="*/ 945632 h 6858000"/>
              <a:gd name="connsiteX737" fmla="*/ 5107071 w 7467600"/>
              <a:gd name="connsiteY737" fmla="*/ 969720 h 6858000"/>
              <a:gd name="connsiteX738" fmla="*/ 4998681 w 7467600"/>
              <a:gd name="connsiteY738" fmla="*/ 988771 h 6858000"/>
              <a:gd name="connsiteX739" fmla="*/ 5870151 w 7467600"/>
              <a:gd name="connsiteY739" fmla="*/ 898890 h 6858000"/>
              <a:gd name="connsiteX740" fmla="*/ 5504425 w 7467600"/>
              <a:gd name="connsiteY740" fmla="*/ 848067 h 6858000"/>
              <a:gd name="connsiteX741" fmla="*/ 4968849 w 7467600"/>
              <a:gd name="connsiteY741" fmla="*/ 962318 h 6858000"/>
              <a:gd name="connsiteX742" fmla="*/ 5104039 w 7467600"/>
              <a:gd name="connsiteY742" fmla="*/ 940634 h 6858000"/>
              <a:gd name="connsiteX743" fmla="*/ 5256311 w 7467600"/>
              <a:gd name="connsiteY743" fmla="*/ 916490 h 6858000"/>
              <a:gd name="connsiteX744" fmla="*/ 5377381 w 7467600"/>
              <a:gd name="connsiteY744" fmla="*/ 912671 h 6858000"/>
              <a:gd name="connsiteX745" fmla="*/ 5460148 w 7467600"/>
              <a:gd name="connsiteY745" fmla="*/ 911442 h 6858000"/>
              <a:gd name="connsiteX746" fmla="*/ 5648971 w 7467600"/>
              <a:gd name="connsiteY746" fmla="*/ 891331 h 6858000"/>
              <a:gd name="connsiteX747" fmla="*/ 5844807 w 7467600"/>
              <a:gd name="connsiteY747" fmla="*/ 870718 h 6858000"/>
              <a:gd name="connsiteX748" fmla="*/ 5862975 w 7467600"/>
              <a:gd name="connsiteY748" fmla="*/ 869756 h 6858000"/>
              <a:gd name="connsiteX749" fmla="*/ 5920887 w 7467600"/>
              <a:gd name="connsiteY749" fmla="*/ 865929 h 6858000"/>
              <a:gd name="connsiteX750" fmla="*/ 5504425 w 7467600"/>
              <a:gd name="connsiteY750" fmla="*/ 848067 h 6858000"/>
              <a:gd name="connsiteX751" fmla="*/ 3607114 w 7467600"/>
              <a:gd name="connsiteY751" fmla="*/ 467441 h 6858000"/>
              <a:gd name="connsiteX752" fmla="*/ 3296242 w 7467600"/>
              <a:gd name="connsiteY752" fmla="*/ 807991 h 6858000"/>
              <a:gd name="connsiteX753" fmla="*/ 3174674 w 7467600"/>
              <a:gd name="connsiteY753" fmla="*/ 919759 h 6858000"/>
              <a:gd name="connsiteX754" fmla="*/ 3042978 w 7467600"/>
              <a:gd name="connsiteY754" fmla="*/ 1054894 h 6858000"/>
              <a:gd name="connsiteX755" fmla="*/ 2968914 w 7467600"/>
              <a:gd name="connsiteY755" fmla="*/ 1133756 h 6858000"/>
              <a:gd name="connsiteX756" fmla="*/ 3103823 w 7467600"/>
              <a:gd name="connsiteY756" fmla="*/ 1026814 h 6858000"/>
              <a:gd name="connsiteX757" fmla="*/ 3607114 w 7467600"/>
              <a:gd name="connsiteY757" fmla="*/ 467441 h 6858000"/>
              <a:gd name="connsiteX758" fmla="*/ 3744487 w 7467600"/>
              <a:gd name="connsiteY758" fmla="*/ 383136 h 6858000"/>
              <a:gd name="connsiteX759" fmla="*/ 3970213 w 7467600"/>
              <a:gd name="connsiteY759" fmla="*/ 995559 h 6858000"/>
              <a:gd name="connsiteX760" fmla="*/ 3744487 w 7467600"/>
              <a:gd name="connsiteY760" fmla="*/ 383136 h 6858000"/>
              <a:gd name="connsiteX761" fmla="*/ 3624562 w 7467600"/>
              <a:gd name="connsiteY761" fmla="*/ 367041 h 6858000"/>
              <a:gd name="connsiteX762" fmla="*/ 3489712 w 7467600"/>
              <a:gd name="connsiteY762" fmla="*/ 485386 h 6858000"/>
              <a:gd name="connsiteX763" fmla="*/ 3182994 w 7467600"/>
              <a:gd name="connsiteY763" fmla="*/ 828265 h 6858000"/>
              <a:gd name="connsiteX764" fmla="*/ 2892114 w 7467600"/>
              <a:gd name="connsiteY764" fmla="*/ 1172635 h 6858000"/>
              <a:gd name="connsiteX765" fmla="*/ 3021459 w 7467600"/>
              <a:gd name="connsiteY765" fmla="*/ 1035385 h 6858000"/>
              <a:gd name="connsiteX766" fmla="*/ 3153873 w 7467600"/>
              <a:gd name="connsiteY766" fmla="*/ 898971 h 6858000"/>
              <a:gd name="connsiteX767" fmla="*/ 3276511 w 7467600"/>
              <a:gd name="connsiteY767" fmla="*/ 786423 h 6858000"/>
              <a:gd name="connsiteX768" fmla="*/ 3584154 w 7467600"/>
              <a:gd name="connsiteY768" fmla="*/ 448218 h 6858000"/>
              <a:gd name="connsiteX769" fmla="*/ 3624562 w 7467600"/>
              <a:gd name="connsiteY769" fmla="*/ 367041 h 6858000"/>
              <a:gd name="connsiteX770" fmla="*/ 3766672 w 7467600"/>
              <a:gd name="connsiteY770" fmla="*/ 359429 h 6858000"/>
              <a:gd name="connsiteX771" fmla="*/ 3996338 w 7467600"/>
              <a:gd name="connsiteY771" fmla="*/ 968237 h 6858000"/>
              <a:gd name="connsiteX772" fmla="*/ 3766672 w 7467600"/>
              <a:gd name="connsiteY772" fmla="*/ 359429 h 6858000"/>
              <a:gd name="connsiteX773" fmla="*/ 5805386 w 7467600"/>
              <a:gd name="connsiteY773" fmla="*/ 239240 h 6858000"/>
              <a:gd name="connsiteX774" fmla="*/ 5736947 w 7467600"/>
              <a:gd name="connsiteY774" fmla="*/ 261367 h 6858000"/>
              <a:gd name="connsiteX775" fmla="*/ 5427012 w 7467600"/>
              <a:gd name="connsiteY775" fmla="*/ 311272 h 6858000"/>
              <a:gd name="connsiteX776" fmla="*/ 5147818 w 7467600"/>
              <a:gd name="connsiteY776" fmla="*/ 322112 h 6858000"/>
              <a:gd name="connsiteX777" fmla="*/ 5060854 w 7467600"/>
              <a:gd name="connsiteY777" fmla="*/ 311882 h 6858000"/>
              <a:gd name="connsiteX778" fmla="*/ 4945989 w 7467600"/>
              <a:gd name="connsiteY778" fmla="*/ 300516 h 6858000"/>
              <a:gd name="connsiteX779" fmla="*/ 5410479 w 7467600"/>
              <a:gd name="connsiteY779" fmla="*/ 348434 h 6858000"/>
              <a:gd name="connsiteX780" fmla="*/ 5805386 w 7467600"/>
              <a:gd name="connsiteY780" fmla="*/ 239240 h 6858000"/>
              <a:gd name="connsiteX781" fmla="*/ 5905192 w 7467600"/>
              <a:gd name="connsiteY781" fmla="*/ 163079 h 6858000"/>
              <a:gd name="connsiteX782" fmla="*/ 5865655 w 7467600"/>
              <a:gd name="connsiteY782" fmla="*/ 171901 h 6858000"/>
              <a:gd name="connsiteX783" fmla="*/ 5259740 w 7467600"/>
              <a:gd name="connsiteY783" fmla="*/ 257013 h 6858000"/>
              <a:gd name="connsiteX784" fmla="*/ 5208466 w 7467600"/>
              <a:gd name="connsiteY784" fmla="*/ 257550 h 6858000"/>
              <a:gd name="connsiteX785" fmla="*/ 4980204 w 7467600"/>
              <a:gd name="connsiteY785" fmla="*/ 271903 h 6858000"/>
              <a:gd name="connsiteX786" fmla="*/ 5068068 w 7467600"/>
              <a:gd name="connsiteY786" fmla="*/ 282244 h 6858000"/>
              <a:gd name="connsiteX787" fmla="*/ 5153231 w 7467600"/>
              <a:gd name="connsiteY787" fmla="*/ 292240 h 6858000"/>
              <a:gd name="connsiteX788" fmla="*/ 5426491 w 7467600"/>
              <a:gd name="connsiteY788" fmla="*/ 281128 h 6858000"/>
              <a:gd name="connsiteX789" fmla="*/ 5731212 w 7467600"/>
              <a:gd name="connsiteY789" fmla="*/ 231951 h 6858000"/>
              <a:gd name="connsiteX790" fmla="*/ 5905192 w 7467600"/>
              <a:gd name="connsiteY790" fmla="*/ 163079 h 6858000"/>
              <a:gd name="connsiteX791" fmla="*/ 5944437 w 7467600"/>
              <a:gd name="connsiteY791" fmla="*/ 113829 h 6858000"/>
              <a:gd name="connsiteX792" fmla="*/ 5825032 w 7467600"/>
              <a:gd name="connsiteY792" fmla="*/ 146405 h 6858000"/>
              <a:gd name="connsiteX793" fmla="*/ 4955599 w 7467600"/>
              <a:gd name="connsiteY793" fmla="*/ 247008 h 6858000"/>
              <a:gd name="connsiteX794" fmla="*/ 5210104 w 7467600"/>
              <a:gd name="connsiteY794" fmla="*/ 228123 h 6858000"/>
              <a:gd name="connsiteX795" fmla="*/ 5261015 w 7467600"/>
              <a:gd name="connsiteY795" fmla="*/ 227087 h 6858000"/>
              <a:gd name="connsiteX796" fmla="*/ 5861181 w 7467600"/>
              <a:gd name="connsiteY796" fmla="*/ 143093 h 6858000"/>
              <a:gd name="connsiteX797" fmla="*/ 5961252 w 7467600"/>
              <a:gd name="connsiteY797" fmla="*/ 114820 h 6858000"/>
              <a:gd name="connsiteX798" fmla="*/ 5944437 w 7467600"/>
              <a:gd name="connsiteY798" fmla="*/ 113829 h 6858000"/>
              <a:gd name="connsiteX799" fmla="*/ 3882765 w 7467600"/>
              <a:gd name="connsiteY799" fmla="*/ 0 h 6858000"/>
              <a:gd name="connsiteX800" fmla="*/ 3995099 w 7467600"/>
              <a:gd name="connsiteY800" fmla="*/ 0 h 6858000"/>
              <a:gd name="connsiteX801" fmla="*/ 4163818 w 7467600"/>
              <a:gd name="connsiteY801" fmla="*/ 234104 h 6858000"/>
              <a:gd name="connsiteX802" fmla="*/ 4172099 w 7467600"/>
              <a:gd name="connsiteY802" fmla="*/ 234207 h 6858000"/>
              <a:gd name="connsiteX803" fmla="*/ 4784282 w 7467600"/>
              <a:gd name="connsiteY803" fmla="*/ 276561 h 6858000"/>
              <a:gd name="connsiteX804" fmla="*/ 4801687 w 7467600"/>
              <a:gd name="connsiteY804" fmla="*/ 267764 h 6858000"/>
              <a:gd name="connsiteX805" fmla="*/ 6082788 w 7467600"/>
              <a:gd name="connsiteY805" fmla="*/ 64119 h 6858000"/>
              <a:gd name="connsiteX806" fmla="*/ 6099442 w 7467600"/>
              <a:gd name="connsiteY806" fmla="*/ 82568 h 6858000"/>
              <a:gd name="connsiteX807" fmla="*/ 4804137 w 7467600"/>
              <a:gd name="connsiteY807" fmla="*/ 320931 h 6858000"/>
              <a:gd name="connsiteX808" fmla="*/ 4227047 w 7467600"/>
              <a:gd name="connsiteY808" fmla="*/ 313415 h 6858000"/>
              <a:gd name="connsiteX809" fmla="*/ 4346041 w 7467600"/>
              <a:gd name="connsiteY809" fmla="*/ 456086 h 6858000"/>
              <a:gd name="connsiteX810" fmla="*/ 4870967 w 7467600"/>
              <a:gd name="connsiteY810" fmla="*/ 963061 h 6858000"/>
              <a:gd name="connsiteX811" fmla="*/ 4889647 w 7467600"/>
              <a:gd name="connsiteY811" fmla="*/ 957147 h 6858000"/>
              <a:gd name="connsiteX812" fmla="*/ 5422504 w 7467600"/>
              <a:gd name="connsiteY812" fmla="*/ 805191 h 6858000"/>
              <a:gd name="connsiteX813" fmla="*/ 6087656 w 7467600"/>
              <a:gd name="connsiteY813" fmla="*/ 826703 h 6858000"/>
              <a:gd name="connsiteX814" fmla="*/ 6058717 w 7467600"/>
              <a:gd name="connsiteY814" fmla="*/ 865992 h 6858000"/>
              <a:gd name="connsiteX815" fmla="*/ 4974153 w 7467600"/>
              <a:gd name="connsiteY815" fmla="*/ 1045456 h 6858000"/>
              <a:gd name="connsiteX816" fmla="*/ 5627835 w 7467600"/>
              <a:gd name="connsiteY816" fmla="*/ 1472077 h 6858000"/>
              <a:gd name="connsiteX817" fmla="*/ 5629817 w 7467600"/>
              <a:gd name="connsiteY817" fmla="*/ 1471412 h 6858000"/>
              <a:gd name="connsiteX818" fmla="*/ 5634124 w 7467600"/>
              <a:gd name="connsiteY818" fmla="*/ 1470572 h 6858000"/>
              <a:gd name="connsiteX819" fmla="*/ 5755832 w 7467600"/>
              <a:gd name="connsiteY819" fmla="*/ 1383886 h 6858000"/>
              <a:gd name="connsiteX820" fmla="*/ 6014186 w 7467600"/>
              <a:gd name="connsiteY820" fmla="*/ 1279799 h 6858000"/>
              <a:gd name="connsiteX821" fmla="*/ 6901619 w 7467600"/>
              <a:gd name="connsiteY821" fmla="*/ 1047874 h 6858000"/>
              <a:gd name="connsiteX822" fmla="*/ 6931566 w 7467600"/>
              <a:gd name="connsiteY822" fmla="*/ 1062034 h 6858000"/>
              <a:gd name="connsiteX823" fmla="*/ 5790982 w 7467600"/>
              <a:gd name="connsiteY823" fmla="*/ 1561380 h 6858000"/>
              <a:gd name="connsiteX824" fmla="*/ 6188971 w 7467600"/>
              <a:gd name="connsiteY824" fmla="*/ 1755168 h 6858000"/>
              <a:gd name="connsiteX825" fmla="*/ 6202446 w 7467600"/>
              <a:gd name="connsiteY825" fmla="*/ 1752268 h 6858000"/>
              <a:gd name="connsiteX826" fmla="*/ 7179560 w 7467600"/>
              <a:gd name="connsiteY826" fmla="*/ 1467551 h 6858000"/>
              <a:gd name="connsiteX827" fmla="*/ 7158730 w 7467600"/>
              <a:gd name="connsiteY827" fmla="*/ 1507835 h 6858000"/>
              <a:gd name="connsiteX828" fmla="*/ 6326959 w 7467600"/>
              <a:gd name="connsiteY828" fmla="*/ 1817686 h 6858000"/>
              <a:gd name="connsiteX829" fmla="*/ 6537433 w 7467600"/>
              <a:gd name="connsiteY829" fmla="*/ 1907790 h 6858000"/>
              <a:gd name="connsiteX830" fmla="*/ 6550221 w 7467600"/>
              <a:gd name="connsiteY830" fmla="*/ 1910729 h 6858000"/>
              <a:gd name="connsiteX831" fmla="*/ 6964438 w 7467600"/>
              <a:gd name="connsiteY831" fmla="*/ 2209505 h 6858000"/>
              <a:gd name="connsiteX832" fmla="*/ 7367862 w 7467600"/>
              <a:gd name="connsiteY832" fmla="*/ 2806833 h 6858000"/>
              <a:gd name="connsiteX833" fmla="*/ 7364329 w 7467600"/>
              <a:gd name="connsiteY833" fmla="*/ 2826907 h 6858000"/>
              <a:gd name="connsiteX834" fmla="*/ 7290545 w 7467600"/>
              <a:gd name="connsiteY834" fmla="*/ 2850663 h 6858000"/>
              <a:gd name="connsiteX835" fmla="*/ 6472036 w 7467600"/>
              <a:gd name="connsiteY835" fmla="*/ 1959003 h 6858000"/>
              <a:gd name="connsiteX836" fmla="*/ 5792897 w 7467600"/>
              <a:gd name="connsiteY836" fmla="*/ 1647747 h 6858000"/>
              <a:gd name="connsiteX837" fmla="*/ 5842751 w 7467600"/>
              <a:gd name="connsiteY837" fmla="*/ 1816112 h 6858000"/>
              <a:gd name="connsiteX838" fmla="*/ 5847424 w 7467600"/>
              <a:gd name="connsiteY838" fmla="*/ 1815776 h 6858000"/>
              <a:gd name="connsiteX839" fmla="*/ 6399821 w 7467600"/>
              <a:gd name="connsiteY839" fmla="*/ 2344799 h 6858000"/>
              <a:gd name="connsiteX840" fmla="*/ 6323232 w 7467600"/>
              <a:gd name="connsiteY840" fmla="*/ 2389634 h 6858000"/>
              <a:gd name="connsiteX841" fmla="*/ 5942958 w 7467600"/>
              <a:gd name="connsiteY841" fmla="*/ 2077708 h 6858000"/>
              <a:gd name="connsiteX842" fmla="*/ 5921559 w 7467600"/>
              <a:gd name="connsiteY842" fmla="*/ 2378596 h 6858000"/>
              <a:gd name="connsiteX843" fmla="*/ 5817651 w 7467600"/>
              <a:gd name="connsiteY843" fmla="*/ 3023919 h 6858000"/>
              <a:gd name="connsiteX844" fmla="*/ 5729634 w 7467600"/>
              <a:gd name="connsiteY844" fmla="*/ 3051849 h 6858000"/>
              <a:gd name="connsiteX845" fmla="*/ 5611018 w 7467600"/>
              <a:gd name="connsiteY845" fmla="*/ 2316769 h 6858000"/>
              <a:gd name="connsiteX846" fmla="*/ 5687608 w 7467600"/>
              <a:gd name="connsiteY846" fmla="*/ 2039972 h 6858000"/>
              <a:gd name="connsiteX847" fmla="*/ 5657554 w 7467600"/>
              <a:gd name="connsiteY847" fmla="*/ 1576445 h 6858000"/>
              <a:gd name="connsiteX848" fmla="*/ 5150475 w 7467600"/>
              <a:gd name="connsiteY848" fmla="*/ 1274012 h 6858000"/>
              <a:gd name="connsiteX849" fmla="*/ 5349142 w 7467600"/>
              <a:gd name="connsiteY849" fmla="*/ 2204405 h 6858000"/>
              <a:gd name="connsiteX850" fmla="*/ 5262214 w 7467600"/>
              <a:gd name="connsiteY850" fmla="*/ 2233836 h 6858000"/>
              <a:gd name="connsiteX851" fmla="*/ 4981539 w 7467600"/>
              <a:gd name="connsiteY851" fmla="*/ 1542201 h 6858000"/>
              <a:gd name="connsiteX852" fmla="*/ 4958461 w 7467600"/>
              <a:gd name="connsiteY852" fmla="*/ 1136957 h 6858000"/>
              <a:gd name="connsiteX853" fmla="*/ 4655015 w 7467600"/>
              <a:gd name="connsiteY853" fmla="*/ 891426 h 6858000"/>
              <a:gd name="connsiteX854" fmla="*/ 4348002 w 7467600"/>
              <a:gd name="connsiteY854" fmla="*/ 2205895 h 6858000"/>
              <a:gd name="connsiteX855" fmla="*/ 4262250 w 7467600"/>
              <a:gd name="connsiteY855" fmla="*/ 2219972 h 6858000"/>
              <a:gd name="connsiteX856" fmla="*/ 4550611 w 7467600"/>
              <a:gd name="connsiteY856" fmla="*/ 817540 h 6858000"/>
              <a:gd name="connsiteX857" fmla="*/ 4564418 w 7467600"/>
              <a:gd name="connsiteY857" fmla="*/ 808293 h 6858000"/>
              <a:gd name="connsiteX858" fmla="*/ 4266388 w 7467600"/>
              <a:gd name="connsiteY858" fmla="*/ 500083 h 6858000"/>
              <a:gd name="connsiteX859" fmla="*/ 4032842 w 7467600"/>
              <a:gd name="connsiteY859" fmla="*/ 211809 h 6858000"/>
              <a:gd name="connsiteX860" fmla="*/ 3882765 w 7467600"/>
              <a:gd name="connsiteY860" fmla="*/ 0 h 6858000"/>
              <a:gd name="connsiteX861" fmla="*/ 3721337 w 7467600"/>
              <a:gd name="connsiteY861" fmla="*/ 0 h 6858000"/>
              <a:gd name="connsiteX862" fmla="*/ 3797544 w 7467600"/>
              <a:gd name="connsiteY862" fmla="*/ 0 h 6858000"/>
              <a:gd name="connsiteX863" fmla="*/ 3775734 w 7467600"/>
              <a:gd name="connsiteY863" fmla="*/ 95131 h 6858000"/>
              <a:gd name="connsiteX864" fmla="*/ 3724807 w 7467600"/>
              <a:gd name="connsiteY864" fmla="*/ 272257 h 6858000"/>
              <a:gd name="connsiteX865" fmla="*/ 3726844 w 7467600"/>
              <a:gd name="connsiteY865" fmla="*/ 282988 h 6858000"/>
              <a:gd name="connsiteX866" fmla="*/ 3742664 w 7467600"/>
              <a:gd name="connsiteY866" fmla="*/ 279918 h 6858000"/>
              <a:gd name="connsiteX867" fmla="*/ 4103910 w 7467600"/>
              <a:gd name="connsiteY867" fmla="*/ 1161917 h 6858000"/>
              <a:gd name="connsiteX868" fmla="*/ 4020269 w 7467600"/>
              <a:gd name="connsiteY868" fmla="*/ 1200406 h 6858000"/>
              <a:gd name="connsiteX869" fmla="*/ 3674882 w 7467600"/>
              <a:gd name="connsiteY869" fmla="*/ 488524 h 6858000"/>
              <a:gd name="connsiteX870" fmla="*/ 3132682 w 7467600"/>
              <a:gd name="connsiteY870" fmla="*/ 1072284 h 6858000"/>
              <a:gd name="connsiteX871" fmla="*/ 2716346 w 7467600"/>
              <a:gd name="connsiteY871" fmla="*/ 1276376 h 6858000"/>
              <a:gd name="connsiteX872" fmla="*/ 2716772 w 7467600"/>
              <a:gd name="connsiteY872" fmla="*/ 1255462 h 6858000"/>
              <a:gd name="connsiteX873" fmla="*/ 3471096 w 7467600"/>
              <a:gd name="connsiteY873" fmla="*/ 437072 h 6858000"/>
              <a:gd name="connsiteX874" fmla="*/ 3639057 w 7467600"/>
              <a:gd name="connsiteY874" fmla="*/ 286334 h 6858000"/>
              <a:gd name="connsiteX875" fmla="*/ 3640309 w 7467600"/>
              <a:gd name="connsiteY875" fmla="*/ 284664 h 6858000"/>
              <a:gd name="connsiteX876" fmla="*/ 3646022 w 7467600"/>
              <a:gd name="connsiteY876" fmla="*/ 276711 h 6858000"/>
              <a:gd name="connsiteX877" fmla="*/ 3707943 w 7467600"/>
              <a:gd name="connsiteY877" fmla="*/ 65958 h 6858000"/>
              <a:gd name="connsiteX878" fmla="*/ 3721337 w 7467600"/>
              <a:gd name="connsiteY878" fmla="*/ 0 h 6858000"/>
              <a:gd name="connsiteX879" fmla="*/ 2867960 w 7467600"/>
              <a:gd name="connsiteY879" fmla="*/ 0 h 6858000"/>
              <a:gd name="connsiteX880" fmla="*/ 2926351 w 7467600"/>
              <a:gd name="connsiteY880" fmla="*/ 0 h 6858000"/>
              <a:gd name="connsiteX881" fmla="*/ 2902823 w 7467600"/>
              <a:gd name="connsiteY881" fmla="*/ 262929 h 6858000"/>
              <a:gd name="connsiteX882" fmla="*/ 2940663 w 7467600"/>
              <a:gd name="connsiteY882" fmla="*/ 140884 h 6858000"/>
              <a:gd name="connsiteX883" fmla="*/ 2947039 w 7467600"/>
              <a:gd name="connsiteY883" fmla="*/ 122524 h 6858000"/>
              <a:gd name="connsiteX884" fmla="*/ 2984316 w 7467600"/>
              <a:gd name="connsiteY884" fmla="*/ 0 h 6858000"/>
              <a:gd name="connsiteX885" fmla="*/ 3016114 w 7467600"/>
              <a:gd name="connsiteY885" fmla="*/ 0 h 6858000"/>
              <a:gd name="connsiteX886" fmla="*/ 2979949 w 7467600"/>
              <a:gd name="connsiteY886" fmla="*/ 119274 h 6858000"/>
              <a:gd name="connsiteX887" fmla="*/ 3023879 w 7467600"/>
              <a:gd name="connsiteY887" fmla="*/ 0 h 6858000"/>
              <a:gd name="connsiteX888" fmla="*/ 3105400 w 7467600"/>
              <a:gd name="connsiteY888" fmla="*/ 0 h 6858000"/>
              <a:gd name="connsiteX889" fmla="*/ 3094669 w 7467600"/>
              <a:gd name="connsiteY889" fmla="*/ 30308 h 6858000"/>
              <a:gd name="connsiteX890" fmla="*/ 2901945 w 7467600"/>
              <a:gd name="connsiteY890" fmla="*/ 466538 h 6858000"/>
              <a:gd name="connsiteX891" fmla="*/ 2815209 w 7467600"/>
              <a:gd name="connsiteY891" fmla="*/ 497361 h 6858000"/>
              <a:gd name="connsiteX892" fmla="*/ 2844845 w 7467600"/>
              <a:gd name="connsiteY892" fmla="*/ 127638 h 6858000"/>
              <a:gd name="connsiteX893" fmla="*/ 2867960 w 7467600"/>
              <a:gd name="connsiteY893" fmla="*/ 0 h 6858000"/>
              <a:gd name="connsiteX894" fmla="*/ 1057230 w 7467600"/>
              <a:gd name="connsiteY894" fmla="*/ 0 h 6858000"/>
              <a:gd name="connsiteX895" fmla="*/ 1111003 w 7467600"/>
              <a:gd name="connsiteY895" fmla="*/ 0 h 6858000"/>
              <a:gd name="connsiteX896" fmla="*/ 1125553 w 7467600"/>
              <a:gd name="connsiteY896" fmla="*/ 52588 h 6858000"/>
              <a:gd name="connsiteX897" fmla="*/ 1304276 w 7467600"/>
              <a:gd name="connsiteY897" fmla="*/ 476275 h 6858000"/>
              <a:gd name="connsiteX898" fmla="*/ 1492066 w 7467600"/>
              <a:gd name="connsiteY898" fmla="*/ 886333 h 6858000"/>
              <a:gd name="connsiteX899" fmla="*/ 1423698 w 7467600"/>
              <a:gd name="connsiteY899" fmla="*/ 710817 h 6858000"/>
              <a:gd name="connsiteX900" fmla="*/ 1357609 w 7467600"/>
              <a:gd name="connsiteY900" fmla="*/ 532892 h 6858000"/>
              <a:gd name="connsiteX901" fmla="*/ 1309550 w 7467600"/>
              <a:gd name="connsiteY901" fmla="*/ 374031 h 6858000"/>
              <a:gd name="connsiteX902" fmla="*/ 1193673 w 7467600"/>
              <a:gd name="connsiteY902" fmla="*/ 49533 h 6858000"/>
              <a:gd name="connsiteX903" fmla="*/ 1164391 w 7467600"/>
              <a:gd name="connsiteY903" fmla="*/ 0 h 6858000"/>
              <a:gd name="connsiteX904" fmla="*/ 1200666 w 7467600"/>
              <a:gd name="connsiteY904" fmla="*/ 0 h 6858000"/>
              <a:gd name="connsiteX905" fmla="*/ 1223408 w 7467600"/>
              <a:gd name="connsiteY905" fmla="*/ 38996 h 6858000"/>
              <a:gd name="connsiteX906" fmla="*/ 1339635 w 7467600"/>
              <a:gd name="connsiteY906" fmla="*/ 365517 h 6858000"/>
              <a:gd name="connsiteX907" fmla="*/ 1387469 w 7467600"/>
              <a:gd name="connsiteY907" fmla="*/ 523079 h 6858000"/>
              <a:gd name="connsiteX908" fmla="*/ 1452685 w 7467600"/>
              <a:gd name="connsiteY908" fmla="*/ 699806 h 6858000"/>
              <a:gd name="connsiteX909" fmla="*/ 1492092 w 7467600"/>
              <a:gd name="connsiteY909" fmla="*/ 800424 h 6858000"/>
              <a:gd name="connsiteX910" fmla="*/ 1455302 w 7467600"/>
              <a:gd name="connsiteY910" fmla="*/ 632913 h 6858000"/>
              <a:gd name="connsiteX911" fmla="*/ 1222336 w 7467600"/>
              <a:gd name="connsiteY911" fmla="*/ 9480 h 6858000"/>
              <a:gd name="connsiteX912" fmla="*/ 1214634 w 7467600"/>
              <a:gd name="connsiteY912" fmla="*/ 0 h 6858000"/>
              <a:gd name="connsiteX913" fmla="*/ 1289827 w 7467600"/>
              <a:gd name="connsiteY913" fmla="*/ 0 h 6858000"/>
              <a:gd name="connsiteX914" fmla="*/ 1321076 w 7467600"/>
              <a:gd name="connsiteY914" fmla="*/ 59722 h 6858000"/>
              <a:gd name="connsiteX915" fmla="*/ 1512579 w 7467600"/>
              <a:gd name="connsiteY915" fmla="*/ 626441 h 6858000"/>
              <a:gd name="connsiteX916" fmla="*/ 1506076 w 7467600"/>
              <a:gd name="connsiteY916" fmla="*/ 1089289 h 6858000"/>
              <a:gd name="connsiteX917" fmla="*/ 1486346 w 7467600"/>
              <a:gd name="connsiteY917" fmla="*/ 1079919 h 6858000"/>
              <a:gd name="connsiteX918" fmla="*/ 1070511 w 7467600"/>
              <a:gd name="connsiteY918" fmla="*/ 48609 h 6858000"/>
              <a:gd name="connsiteX919" fmla="*/ 1057230 w 7467600"/>
              <a:gd name="connsiteY919" fmla="*/ 0 h 6858000"/>
              <a:gd name="connsiteX920" fmla="*/ 43151 w 7467600"/>
              <a:gd name="connsiteY920" fmla="*/ 0 h 6858000"/>
              <a:gd name="connsiteX921" fmla="*/ 95283 w 7467600"/>
              <a:gd name="connsiteY921" fmla="*/ 0 h 6858000"/>
              <a:gd name="connsiteX922" fmla="*/ 300708 w 7467600"/>
              <a:gd name="connsiteY922" fmla="*/ 154571 h 6858000"/>
              <a:gd name="connsiteX923" fmla="*/ 530414 w 7467600"/>
              <a:gd name="connsiteY923" fmla="*/ 354673 h 6858000"/>
              <a:gd name="connsiteX924" fmla="*/ 333785 w 7467600"/>
              <a:gd name="connsiteY924" fmla="*/ 161564 h 6858000"/>
              <a:gd name="connsiteX925" fmla="*/ 147005 w 7467600"/>
              <a:gd name="connsiteY925" fmla="*/ 0 h 6858000"/>
              <a:gd name="connsiteX926" fmla="*/ 272509 w 7467600"/>
              <a:gd name="connsiteY926" fmla="*/ 0 h 6858000"/>
              <a:gd name="connsiteX927" fmla="*/ 326276 w 7467600"/>
              <a:gd name="connsiteY927" fmla="*/ 45847 h 6858000"/>
              <a:gd name="connsiteX928" fmla="*/ 823759 w 7467600"/>
              <a:gd name="connsiteY928" fmla="*/ 574145 h 6858000"/>
              <a:gd name="connsiteX929" fmla="*/ 811254 w 7467600"/>
              <a:gd name="connsiteY929" fmla="*/ 665546 h 6858000"/>
              <a:gd name="connsiteX930" fmla="*/ 154042 w 7467600"/>
              <a:gd name="connsiteY930" fmla="*/ 261522 h 6858000"/>
              <a:gd name="connsiteX931" fmla="*/ 13550 w 7467600"/>
              <a:gd name="connsiteY931" fmla="*/ 158423 h 6858000"/>
              <a:gd name="connsiteX932" fmla="*/ 0 w 7467600"/>
              <a:gd name="connsiteY932" fmla="*/ 146618 h 6858000"/>
              <a:gd name="connsiteX933" fmla="*/ 0 w 7467600"/>
              <a:gd name="connsiteY933" fmla="*/ 59161 h 6858000"/>
              <a:gd name="connsiteX934" fmla="*/ 45427 w 7467600"/>
              <a:gd name="connsiteY934" fmla="*/ 101078 h 6858000"/>
              <a:gd name="connsiteX935" fmla="*/ 630103 w 7467600"/>
              <a:gd name="connsiteY935" fmla="*/ 485885 h 6858000"/>
              <a:gd name="connsiteX936" fmla="*/ 532040 w 7467600"/>
              <a:gd name="connsiteY936" fmla="*/ 399359 h 6858000"/>
              <a:gd name="connsiteX937" fmla="*/ 517618 w 7467600"/>
              <a:gd name="connsiteY937" fmla="*/ 385726 h 6858000"/>
              <a:gd name="connsiteX938" fmla="*/ 285074 w 7467600"/>
              <a:gd name="connsiteY938" fmla="*/ 182755 h 6858000"/>
              <a:gd name="connsiteX939" fmla="*/ 43151 w 7467600"/>
              <a:gd name="connsiteY939" fmla="*/ 0 h 6858000"/>
              <a:gd name="connsiteX0" fmla="*/ 369702 w 7467600"/>
              <a:gd name="connsiteY0" fmla="*/ 6712169 h 6858000"/>
              <a:gd name="connsiteX1" fmla="*/ 366575 w 7467600"/>
              <a:gd name="connsiteY1" fmla="*/ 6715556 h 6858000"/>
              <a:gd name="connsiteX2" fmla="*/ 371637 w 7467600"/>
              <a:gd name="connsiteY2" fmla="*/ 6713954 h 6858000"/>
              <a:gd name="connsiteX3" fmla="*/ 369702 w 7467600"/>
              <a:gd name="connsiteY3" fmla="*/ 6712169 h 6858000"/>
              <a:gd name="connsiteX4" fmla="*/ 7467600 w 7467600"/>
              <a:gd name="connsiteY4" fmla="*/ 6628217 h 6858000"/>
              <a:gd name="connsiteX5" fmla="*/ 7440138 w 7467600"/>
              <a:gd name="connsiteY5" fmla="*/ 6622648 h 6858000"/>
              <a:gd name="connsiteX6" fmla="*/ 7467600 w 7467600"/>
              <a:gd name="connsiteY6" fmla="*/ 6628217 h 6858000"/>
              <a:gd name="connsiteX7" fmla="*/ 1019354 w 7467600"/>
              <a:gd name="connsiteY7" fmla="*/ 6315006 h 6858000"/>
              <a:gd name="connsiteX8" fmla="*/ 441046 w 7467600"/>
              <a:gd name="connsiteY8" fmla="*/ 6691153 h 6858000"/>
              <a:gd name="connsiteX9" fmla="*/ 1019354 w 7467600"/>
              <a:gd name="connsiteY9" fmla="*/ 6315006 h 6858000"/>
              <a:gd name="connsiteX10" fmla="*/ 991680 w 7467600"/>
              <a:gd name="connsiteY10" fmla="*/ 6298413 h 6858000"/>
              <a:gd name="connsiteX11" fmla="*/ 409060 w 7467600"/>
              <a:gd name="connsiteY11" fmla="*/ 6671470 h 6858000"/>
              <a:gd name="connsiteX12" fmla="*/ 991680 w 7467600"/>
              <a:gd name="connsiteY12" fmla="*/ 6298413 h 6858000"/>
              <a:gd name="connsiteX13" fmla="*/ 103333 w 7467600"/>
              <a:gd name="connsiteY13" fmla="*/ 5699602 h 6858000"/>
              <a:gd name="connsiteX14" fmla="*/ 233938 w 7467600"/>
              <a:gd name="connsiteY14" fmla="*/ 5809416 h 6858000"/>
              <a:gd name="connsiteX15" fmla="*/ 883580 w 7467600"/>
              <a:gd name="connsiteY15" fmla="*/ 6180710 h 6858000"/>
              <a:gd name="connsiteX16" fmla="*/ 487337 w 7467600"/>
              <a:gd name="connsiteY16" fmla="*/ 5950182 h 6858000"/>
              <a:gd name="connsiteX17" fmla="*/ 354051 w 7467600"/>
              <a:gd name="connsiteY17" fmla="*/ 5854912 h 6858000"/>
              <a:gd name="connsiteX18" fmla="*/ 195436 w 7467600"/>
              <a:gd name="connsiteY18" fmla="*/ 5755068 h 6858000"/>
              <a:gd name="connsiteX19" fmla="*/ 103333 w 7467600"/>
              <a:gd name="connsiteY19" fmla="*/ 5699602 h 6858000"/>
              <a:gd name="connsiteX20" fmla="*/ 5539432 w 7467600"/>
              <a:gd name="connsiteY20" fmla="*/ 5642928 h 6858000"/>
              <a:gd name="connsiteX21" fmla="*/ 5555462 w 7467600"/>
              <a:gd name="connsiteY21" fmla="*/ 5694454 h 6858000"/>
              <a:gd name="connsiteX22" fmla="*/ 5828270 w 7467600"/>
              <a:gd name="connsiteY22" fmla="*/ 6320663 h 6858000"/>
              <a:gd name="connsiteX23" fmla="*/ 5947416 w 7467600"/>
              <a:gd name="connsiteY23" fmla="*/ 6574846 h 6858000"/>
              <a:gd name="connsiteX24" fmla="*/ 5539432 w 7467600"/>
              <a:gd name="connsiteY24" fmla="*/ 5642928 h 6858000"/>
              <a:gd name="connsiteX25" fmla="*/ 51253 w 7467600"/>
              <a:gd name="connsiteY25" fmla="*/ 5631825 h 6858000"/>
              <a:gd name="connsiteX26" fmla="*/ 211622 w 7467600"/>
              <a:gd name="connsiteY26" fmla="*/ 5728803 h 6858000"/>
              <a:gd name="connsiteX27" fmla="*/ 371652 w 7467600"/>
              <a:gd name="connsiteY27" fmla="*/ 5829062 h 6858000"/>
              <a:gd name="connsiteX28" fmla="*/ 505903 w 7467600"/>
              <a:gd name="connsiteY28" fmla="*/ 5925221 h 6858000"/>
              <a:gd name="connsiteX29" fmla="*/ 899240 w 7467600"/>
              <a:gd name="connsiteY29" fmla="*/ 6153068 h 6858000"/>
              <a:gd name="connsiteX30" fmla="*/ 988114 w 7467600"/>
              <a:gd name="connsiteY30" fmla="*/ 6174204 h 6858000"/>
              <a:gd name="connsiteX31" fmla="*/ 845971 w 7467600"/>
              <a:gd name="connsiteY31" fmla="*/ 6067177 h 6858000"/>
              <a:gd name="connsiteX32" fmla="*/ 448057 w 7467600"/>
              <a:gd name="connsiteY32" fmla="*/ 5841376 h 6858000"/>
              <a:gd name="connsiteX33" fmla="*/ 51253 w 7467600"/>
              <a:gd name="connsiteY33" fmla="*/ 5631825 h 6858000"/>
              <a:gd name="connsiteX34" fmla="*/ 2606687 w 7467600"/>
              <a:gd name="connsiteY34" fmla="*/ 5630718 h 6858000"/>
              <a:gd name="connsiteX35" fmla="*/ 2645658 w 7467600"/>
              <a:gd name="connsiteY35" fmla="*/ 6640259 h 6858000"/>
              <a:gd name="connsiteX36" fmla="*/ 2606687 w 7467600"/>
              <a:gd name="connsiteY36" fmla="*/ 5630718 h 6858000"/>
              <a:gd name="connsiteX37" fmla="*/ 3642057 w 7467600"/>
              <a:gd name="connsiteY37" fmla="*/ 5573487 h 6858000"/>
              <a:gd name="connsiteX38" fmla="*/ 3632981 w 7467600"/>
              <a:gd name="connsiteY38" fmla="*/ 5579437 h 6858000"/>
              <a:gd name="connsiteX39" fmla="*/ 3382436 w 7467600"/>
              <a:gd name="connsiteY39" fmla="*/ 5952726 h 6858000"/>
              <a:gd name="connsiteX40" fmla="*/ 3191929 w 7467600"/>
              <a:gd name="connsiteY40" fmla="*/ 6662669 h 6858000"/>
              <a:gd name="connsiteX41" fmla="*/ 3369898 w 7467600"/>
              <a:gd name="connsiteY41" fmla="*/ 6081771 h 6858000"/>
              <a:gd name="connsiteX42" fmla="*/ 3642057 w 7467600"/>
              <a:gd name="connsiteY42" fmla="*/ 5573487 h 6858000"/>
              <a:gd name="connsiteX43" fmla="*/ 2650666 w 7467600"/>
              <a:gd name="connsiteY43" fmla="*/ 5530686 h 6858000"/>
              <a:gd name="connsiteX44" fmla="*/ 2650249 w 7467600"/>
              <a:gd name="connsiteY44" fmla="*/ 5532101 h 6858000"/>
              <a:gd name="connsiteX45" fmla="*/ 2663808 w 7467600"/>
              <a:gd name="connsiteY45" fmla="*/ 6535215 h 6858000"/>
              <a:gd name="connsiteX46" fmla="*/ 2665418 w 7467600"/>
              <a:gd name="connsiteY46" fmla="*/ 6132756 h 6858000"/>
              <a:gd name="connsiteX47" fmla="*/ 2650666 w 7467600"/>
              <a:gd name="connsiteY47" fmla="*/ 5530686 h 6858000"/>
              <a:gd name="connsiteX48" fmla="*/ 2680277 w 7467600"/>
              <a:gd name="connsiteY48" fmla="*/ 5479204 h 6858000"/>
              <a:gd name="connsiteX49" fmla="*/ 2678972 w 7467600"/>
              <a:gd name="connsiteY49" fmla="*/ 5481582 h 6858000"/>
              <a:gd name="connsiteX50" fmla="*/ 2696666 w 7467600"/>
              <a:gd name="connsiteY50" fmla="*/ 6133836 h 6858000"/>
              <a:gd name="connsiteX51" fmla="*/ 2695769 w 7467600"/>
              <a:gd name="connsiteY51" fmla="*/ 6390955 h 6858000"/>
              <a:gd name="connsiteX52" fmla="*/ 2739893 w 7467600"/>
              <a:gd name="connsiteY52" fmla="*/ 6108357 h 6858000"/>
              <a:gd name="connsiteX53" fmla="*/ 2680277 w 7467600"/>
              <a:gd name="connsiteY53" fmla="*/ 5479204 h 6858000"/>
              <a:gd name="connsiteX54" fmla="*/ 1132195 w 7467600"/>
              <a:gd name="connsiteY54" fmla="*/ 5467980 h 6858000"/>
              <a:gd name="connsiteX55" fmla="*/ 1679056 w 7467600"/>
              <a:gd name="connsiteY55" fmla="*/ 5516907 h 6858000"/>
              <a:gd name="connsiteX56" fmla="*/ 2128648 w 7467600"/>
              <a:gd name="connsiteY56" fmla="*/ 5474249 h 6858000"/>
              <a:gd name="connsiteX57" fmla="*/ 1825619 w 7467600"/>
              <a:gd name="connsiteY57" fmla="*/ 5478447 h 6858000"/>
              <a:gd name="connsiteX58" fmla="*/ 1737798 w 7467600"/>
              <a:gd name="connsiteY58" fmla="*/ 5483353 h 6858000"/>
              <a:gd name="connsiteX59" fmla="*/ 1132195 w 7467600"/>
              <a:gd name="connsiteY59" fmla="*/ 5467980 h 6858000"/>
              <a:gd name="connsiteX60" fmla="*/ 1456157 w 7467600"/>
              <a:gd name="connsiteY60" fmla="*/ 5371404 h 6858000"/>
              <a:gd name="connsiteX61" fmla="*/ 1244432 w 7467600"/>
              <a:gd name="connsiteY61" fmla="*/ 5385601 h 6858000"/>
              <a:gd name="connsiteX62" fmla="*/ 973990 w 7467600"/>
              <a:gd name="connsiteY62" fmla="*/ 5424940 h 6858000"/>
              <a:gd name="connsiteX63" fmla="*/ 1103809 w 7467600"/>
              <a:gd name="connsiteY63" fmla="*/ 5433720 h 6858000"/>
              <a:gd name="connsiteX64" fmla="*/ 1123454 w 7467600"/>
              <a:gd name="connsiteY64" fmla="*/ 5435727 h 6858000"/>
              <a:gd name="connsiteX65" fmla="*/ 1737017 w 7467600"/>
              <a:gd name="connsiteY65" fmla="*/ 5452183 h 6858000"/>
              <a:gd name="connsiteX66" fmla="*/ 1824397 w 7467600"/>
              <a:gd name="connsiteY66" fmla="*/ 5447757 h 6858000"/>
              <a:gd name="connsiteX67" fmla="*/ 2070059 w 7467600"/>
              <a:gd name="connsiteY67" fmla="*/ 5441660 h 6858000"/>
              <a:gd name="connsiteX68" fmla="*/ 1456157 w 7467600"/>
              <a:gd name="connsiteY68" fmla="*/ 5371404 h 6858000"/>
              <a:gd name="connsiteX69" fmla="*/ 4988186 w 7467600"/>
              <a:gd name="connsiteY69" fmla="*/ 5216467 h 6858000"/>
              <a:gd name="connsiteX70" fmla="*/ 4777334 w 7467600"/>
              <a:gd name="connsiteY70" fmla="*/ 5406072 h 6858000"/>
              <a:gd name="connsiteX71" fmla="*/ 4718341 w 7467600"/>
              <a:gd name="connsiteY71" fmla="*/ 5468043 h 6858000"/>
              <a:gd name="connsiteX72" fmla="*/ 4604655 w 7467600"/>
              <a:gd name="connsiteY72" fmla="*/ 5583434 h 6858000"/>
              <a:gd name="connsiteX73" fmla="*/ 4565074 w 7467600"/>
              <a:gd name="connsiteY73" fmla="*/ 5618550 h 6858000"/>
              <a:gd name="connsiteX74" fmla="*/ 4988186 w 7467600"/>
              <a:gd name="connsiteY74" fmla="*/ 5216467 h 6858000"/>
              <a:gd name="connsiteX75" fmla="*/ 4978032 w 7467600"/>
              <a:gd name="connsiteY75" fmla="*/ 5183809 h 6858000"/>
              <a:gd name="connsiteX76" fmla="*/ 4463413 w 7467600"/>
              <a:gd name="connsiteY76" fmla="*/ 5615162 h 6858000"/>
              <a:gd name="connsiteX77" fmla="*/ 4358134 w 7467600"/>
              <a:gd name="connsiteY77" fmla="*/ 5742791 h 6858000"/>
              <a:gd name="connsiteX78" fmla="*/ 4376219 w 7467600"/>
              <a:gd name="connsiteY78" fmla="*/ 5729027 h 6858000"/>
              <a:gd name="connsiteX79" fmla="*/ 4582340 w 7467600"/>
              <a:gd name="connsiteY79" fmla="*/ 5561037 h 6858000"/>
              <a:gd name="connsiteX80" fmla="*/ 4694684 w 7467600"/>
              <a:gd name="connsiteY80" fmla="*/ 5447098 h 6858000"/>
              <a:gd name="connsiteX81" fmla="*/ 4754123 w 7467600"/>
              <a:gd name="connsiteY81" fmla="*/ 5384643 h 6858000"/>
              <a:gd name="connsiteX82" fmla="*/ 4978032 w 7467600"/>
              <a:gd name="connsiteY82" fmla="*/ 5183809 h 6858000"/>
              <a:gd name="connsiteX83" fmla="*/ 1903353 w 7467600"/>
              <a:gd name="connsiteY83" fmla="*/ 5044827 h 6858000"/>
              <a:gd name="connsiteX84" fmla="*/ 1936931 w 7467600"/>
              <a:gd name="connsiteY84" fmla="*/ 5093954 h 6858000"/>
              <a:gd name="connsiteX85" fmla="*/ 2195868 w 7467600"/>
              <a:gd name="connsiteY85" fmla="*/ 5396574 h 6858000"/>
              <a:gd name="connsiteX86" fmla="*/ 2088852 w 7467600"/>
              <a:gd name="connsiteY86" fmla="*/ 5166123 h 6858000"/>
              <a:gd name="connsiteX87" fmla="*/ 1958241 w 7467600"/>
              <a:gd name="connsiteY87" fmla="*/ 5067955 h 6858000"/>
              <a:gd name="connsiteX88" fmla="*/ 1903353 w 7467600"/>
              <a:gd name="connsiteY88" fmla="*/ 5044827 h 6858000"/>
              <a:gd name="connsiteX89" fmla="*/ 1979378 w 7467600"/>
              <a:gd name="connsiteY89" fmla="*/ 4769504 h 6858000"/>
              <a:gd name="connsiteX90" fmla="*/ 2882120 w 7467600"/>
              <a:gd name="connsiteY90" fmla="*/ 5064547 h 6858000"/>
              <a:gd name="connsiteX91" fmla="*/ 2793103 w 7467600"/>
              <a:gd name="connsiteY91" fmla="*/ 5039699 h 6858000"/>
              <a:gd name="connsiteX92" fmla="*/ 2770041 w 7467600"/>
              <a:gd name="connsiteY92" fmla="*/ 5033634 h 6858000"/>
              <a:gd name="connsiteX93" fmla="*/ 1979378 w 7467600"/>
              <a:gd name="connsiteY93" fmla="*/ 4769504 h 6858000"/>
              <a:gd name="connsiteX94" fmla="*/ 1927410 w 7467600"/>
              <a:gd name="connsiteY94" fmla="*/ 4716164 h 6858000"/>
              <a:gd name="connsiteX95" fmla="*/ 1959587 w 7467600"/>
              <a:gd name="connsiteY95" fmla="*/ 4728849 h 6858000"/>
              <a:gd name="connsiteX96" fmla="*/ 2777707 w 7467600"/>
              <a:gd name="connsiteY96" fmla="*/ 5003991 h 6858000"/>
              <a:gd name="connsiteX97" fmla="*/ 2800768 w 7467600"/>
              <a:gd name="connsiteY97" fmla="*/ 5010056 h 6858000"/>
              <a:gd name="connsiteX98" fmla="*/ 2879408 w 7467600"/>
              <a:gd name="connsiteY98" fmla="*/ 5031590 h 6858000"/>
              <a:gd name="connsiteX99" fmla="*/ 2862295 w 7467600"/>
              <a:gd name="connsiteY99" fmla="*/ 5022958 h 6858000"/>
              <a:gd name="connsiteX100" fmla="*/ 2813343 w 7467600"/>
              <a:gd name="connsiteY100" fmla="*/ 4998369 h 6858000"/>
              <a:gd name="connsiteX101" fmla="*/ 2646245 w 7467600"/>
              <a:gd name="connsiteY101" fmla="*/ 4930999 h 6858000"/>
              <a:gd name="connsiteX102" fmla="*/ 1999243 w 7467600"/>
              <a:gd name="connsiteY102" fmla="*/ 4730524 h 6858000"/>
              <a:gd name="connsiteX103" fmla="*/ 1979527 w 7467600"/>
              <a:gd name="connsiteY103" fmla="*/ 4726651 h 6858000"/>
              <a:gd name="connsiteX104" fmla="*/ 1927410 w 7467600"/>
              <a:gd name="connsiteY104" fmla="*/ 4716164 h 6858000"/>
              <a:gd name="connsiteX105" fmla="*/ 1997014 w 7467600"/>
              <a:gd name="connsiteY105" fmla="*/ 4698007 h 6858000"/>
              <a:gd name="connsiteX106" fmla="*/ 2005458 w 7467600"/>
              <a:gd name="connsiteY106" fmla="*/ 4699540 h 6858000"/>
              <a:gd name="connsiteX107" fmla="*/ 2657186 w 7467600"/>
              <a:gd name="connsiteY107" fmla="*/ 4901687 h 6858000"/>
              <a:gd name="connsiteX108" fmla="*/ 2826662 w 7467600"/>
              <a:gd name="connsiteY108" fmla="*/ 4970362 h 6858000"/>
              <a:gd name="connsiteX109" fmla="*/ 2876100 w 7467600"/>
              <a:gd name="connsiteY109" fmla="*/ 4995397 h 6858000"/>
              <a:gd name="connsiteX110" fmla="*/ 3042600 w 7467600"/>
              <a:gd name="connsiteY110" fmla="*/ 5059532 h 6858000"/>
              <a:gd name="connsiteX111" fmla="*/ 1997014 w 7467600"/>
              <a:gd name="connsiteY111" fmla="*/ 4698007 h 6858000"/>
              <a:gd name="connsiteX112" fmla="*/ 2305292 w 7467600"/>
              <a:gd name="connsiteY112" fmla="*/ 4219492 h 6858000"/>
              <a:gd name="connsiteX113" fmla="*/ 3360922 w 7467600"/>
              <a:gd name="connsiteY113" fmla="*/ 4529373 h 6858000"/>
              <a:gd name="connsiteX114" fmla="*/ 3492420 w 7467600"/>
              <a:gd name="connsiteY114" fmla="*/ 4510145 h 6858000"/>
              <a:gd name="connsiteX115" fmla="*/ 3364086 w 7467600"/>
              <a:gd name="connsiteY115" fmla="*/ 4480340 h 6858000"/>
              <a:gd name="connsiteX116" fmla="*/ 3225818 w 7467600"/>
              <a:gd name="connsiteY116" fmla="*/ 4411822 h 6858000"/>
              <a:gd name="connsiteX117" fmla="*/ 3129696 w 7467600"/>
              <a:gd name="connsiteY117" fmla="*/ 4360704 h 6858000"/>
              <a:gd name="connsiteX118" fmla="*/ 2814545 w 7467600"/>
              <a:gd name="connsiteY118" fmla="*/ 4282955 h 6858000"/>
              <a:gd name="connsiteX119" fmla="*/ 2305292 w 7467600"/>
              <a:gd name="connsiteY119" fmla="*/ 4219492 h 6858000"/>
              <a:gd name="connsiteX120" fmla="*/ 2626982 w 7467600"/>
              <a:gd name="connsiteY120" fmla="*/ 4206450 h 6858000"/>
              <a:gd name="connsiteX121" fmla="*/ 2490617 w 7467600"/>
              <a:gd name="connsiteY121" fmla="*/ 4206951 h 6858000"/>
              <a:gd name="connsiteX122" fmla="*/ 2819869 w 7467600"/>
              <a:gd name="connsiteY122" fmla="*/ 4252936 h 6858000"/>
              <a:gd name="connsiteX123" fmla="*/ 3143018 w 7467600"/>
              <a:gd name="connsiteY123" fmla="*/ 4332698 h 6858000"/>
              <a:gd name="connsiteX124" fmla="*/ 3241520 w 7467600"/>
              <a:gd name="connsiteY124" fmla="*/ 4385112 h 6858000"/>
              <a:gd name="connsiteX125" fmla="*/ 3374575 w 7467600"/>
              <a:gd name="connsiteY125" fmla="*/ 4451517 h 6858000"/>
              <a:gd name="connsiteX126" fmla="*/ 3505221 w 7467600"/>
              <a:gd name="connsiteY126" fmla="*/ 4480757 h 6858000"/>
              <a:gd name="connsiteX127" fmla="*/ 2626982 w 7467600"/>
              <a:gd name="connsiteY127" fmla="*/ 4206450 h 6858000"/>
              <a:gd name="connsiteX128" fmla="*/ 1310106 w 7467600"/>
              <a:gd name="connsiteY128" fmla="*/ 3943217 h 6858000"/>
              <a:gd name="connsiteX129" fmla="*/ 854994 w 7467600"/>
              <a:gd name="connsiteY129" fmla="*/ 4399136 h 6858000"/>
              <a:gd name="connsiteX130" fmla="*/ 742462 w 7467600"/>
              <a:gd name="connsiteY130" fmla="*/ 4594648 h 6858000"/>
              <a:gd name="connsiteX131" fmla="*/ 820602 w 7467600"/>
              <a:gd name="connsiteY131" fmla="*/ 4485915 h 6858000"/>
              <a:gd name="connsiteX132" fmla="*/ 878295 w 7467600"/>
              <a:gd name="connsiteY132" fmla="*/ 4403594 h 6858000"/>
              <a:gd name="connsiteX133" fmla="*/ 1240607 w 7467600"/>
              <a:gd name="connsiteY133" fmla="*/ 4010401 h 6858000"/>
              <a:gd name="connsiteX134" fmla="*/ 1310106 w 7467600"/>
              <a:gd name="connsiteY134" fmla="*/ 3943217 h 6858000"/>
              <a:gd name="connsiteX135" fmla="*/ 1423113 w 7467600"/>
              <a:gd name="connsiteY135" fmla="*/ 3874565 h 6858000"/>
              <a:gd name="connsiteX136" fmla="*/ 1260565 w 7467600"/>
              <a:gd name="connsiteY136" fmla="*/ 4031982 h 6858000"/>
              <a:gd name="connsiteX137" fmla="*/ 901900 w 7467600"/>
              <a:gd name="connsiteY137" fmla="*/ 4421236 h 6858000"/>
              <a:gd name="connsiteX138" fmla="*/ 845044 w 7467600"/>
              <a:gd name="connsiteY138" fmla="*/ 4502436 h 6858000"/>
              <a:gd name="connsiteX139" fmla="*/ 685926 w 7467600"/>
              <a:gd name="connsiteY139" fmla="*/ 4703069 h 6858000"/>
              <a:gd name="connsiteX140" fmla="*/ 684248 w 7467600"/>
              <a:gd name="connsiteY140" fmla="*/ 4706721 h 6858000"/>
              <a:gd name="connsiteX141" fmla="*/ 1423113 w 7467600"/>
              <a:gd name="connsiteY141" fmla="*/ 3874565 h 6858000"/>
              <a:gd name="connsiteX142" fmla="*/ 3316479 w 7467600"/>
              <a:gd name="connsiteY142" fmla="*/ 3872136 h 6858000"/>
              <a:gd name="connsiteX143" fmla="*/ 3546806 w 7467600"/>
              <a:gd name="connsiteY143" fmla="*/ 4356139 h 6858000"/>
              <a:gd name="connsiteX144" fmla="*/ 3364433 w 7467600"/>
              <a:gd name="connsiteY144" fmla="*/ 3953121 h 6858000"/>
              <a:gd name="connsiteX145" fmla="*/ 3316479 w 7467600"/>
              <a:gd name="connsiteY145" fmla="*/ 3872136 h 6858000"/>
              <a:gd name="connsiteX146" fmla="*/ 3291335 w 7467600"/>
              <a:gd name="connsiteY146" fmla="*/ 3767420 h 6858000"/>
              <a:gd name="connsiteX147" fmla="*/ 3390805 w 7467600"/>
              <a:gd name="connsiteY147" fmla="*/ 3937163 h 6858000"/>
              <a:gd name="connsiteX148" fmla="*/ 3579062 w 7467600"/>
              <a:gd name="connsiteY148" fmla="*/ 4359040 h 6858000"/>
              <a:gd name="connsiteX149" fmla="*/ 3467355 w 7467600"/>
              <a:gd name="connsiteY149" fmla="*/ 3988130 h 6858000"/>
              <a:gd name="connsiteX150" fmla="*/ 3310753 w 7467600"/>
              <a:gd name="connsiteY150" fmla="*/ 3787140 h 6858000"/>
              <a:gd name="connsiteX151" fmla="*/ 3291335 w 7467600"/>
              <a:gd name="connsiteY151" fmla="*/ 3767420 h 6858000"/>
              <a:gd name="connsiteX152" fmla="*/ 1635889 w 7467600"/>
              <a:gd name="connsiteY152" fmla="*/ 3709494 h 6858000"/>
              <a:gd name="connsiteX153" fmla="*/ 1634800 w 7467600"/>
              <a:gd name="connsiteY153" fmla="*/ 3731111 h 6858000"/>
              <a:gd name="connsiteX154" fmla="*/ 1635889 w 7467600"/>
              <a:gd name="connsiteY154" fmla="*/ 3709494 h 6858000"/>
              <a:gd name="connsiteX155" fmla="*/ 1510397 w 7467600"/>
              <a:gd name="connsiteY155" fmla="*/ 3684705 h 6858000"/>
              <a:gd name="connsiteX156" fmla="*/ 1146550 w 7467600"/>
              <a:gd name="connsiteY156" fmla="*/ 3802012 h 6858000"/>
              <a:gd name="connsiteX157" fmla="*/ 698834 w 7467600"/>
              <a:gd name="connsiteY157" fmla="*/ 3952272 h 6858000"/>
              <a:gd name="connsiteX158" fmla="*/ 34256 w 7467600"/>
              <a:gd name="connsiteY158" fmla="*/ 4347603 h 6858000"/>
              <a:gd name="connsiteX159" fmla="*/ 527241 w 7467600"/>
              <a:gd name="connsiteY159" fmla="*/ 4065078 h 6858000"/>
              <a:gd name="connsiteX160" fmla="*/ 1510397 w 7467600"/>
              <a:gd name="connsiteY160" fmla="*/ 3684705 h 6858000"/>
              <a:gd name="connsiteX161" fmla="*/ 1313114 w 7467600"/>
              <a:gd name="connsiteY161" fmla="*/ 3655216 h 6858000"/>
              <a:gd name="connsiteX162" fmla="*/ 1109304 w 7467600"/>
              <a:gd name="connsiteY162" fmla="*/ 3669030 h 6858000"/>
              <a:gd name="connsiteX163" fmla="*/ 8129 w 7467600"/>
              <a:gd name="connsiteY163" fmla="*/ 4330519 h 6858000"/>
              <a:gd name="connsiteX164" fmla="*/ 687572 w 7467600"/>
              <a:gd name="connsiteY164" fmla="*/ 3925629 h 6858000"/>
              <a:gd name="connsiteX165" fmla="*/ 1138365 w 7467600"/>
              <a:gd name="connsiteY165" fmla="*/ 3774515 h 6858000"/>
              <a:gd name="connsiteX166" fmla="*/ 1505579 w 7467600"/>
              <a:gd name="connsiteY166" fmla="*/ 3655526 h 6858000"/>
              <a:gd name="connsiteX167" fmla="*/ 1313114 w 7467600"/>
              <a:gd name="connsiteY167" fmla="*/ 3655216 h 6858000"/>
              <a:gd name="connsiteX168" fmla="*/ 3655073 w 7467600"/>
              <a:gd name="connsiteY168" fmla="*/ 3650884 h 6858000"/>
              <a:gd name="connsiteX169" fmla="*/ 3989938 w 7467600"/>
              <a:gd name="connsiteY169" fmla="*/ 3991685 h 6858000"/>
              <a:gd name="connsiteX170" fmla="*/ 4393907 w 7467600"/>
              <a:gd name="connsiteY170" fmla="*/ 4261258 h 6858000"/>
              <a:gd name="connsiteX171" fmla="*/ 4648051 w 7467600"/>
              <a:gd name="connsiteY171" fmla="*/ 4374051 h 6858000"/>
              <a:gd name="connsiteX172" fmla="*/ 4383389 w 7467600"/>
              <a:gd name="connsiteY172" fmla="*/ 4184369 h 6858000"/>
              <a:gd name="connsiteX173" fmla="*/ 4165508 w 7467600"/>
              <a:gd name="connsiteY173" fmla="*/ 4035196 h 6858000"/>
              <a:gd name="connsiteX174" fmla="*/ 4068162 w 7467600"/>
              <a:gd name="connsiteY174" fmla="*/ 3953394 h 6858000"/>
              <a:gd name="connsiteX175" fmla="*/ 3981416 w 7467600"/>
              <a:gd name="connsiteY175" fmla="*/ 3880482 h 6858000"/>
              <a:gd name="connsiteX176" fmla="*/ 3800147 w 7467600"/>
              <a:gd name="connsiteY176" fmla="*/ 3749872 h 6858000"/>
              <a:gd name="connsiteX177" fmla="*/ 3655073 w 7467600"/>
              <a:gd name="connsiteY177" fmla="*/ 3650884 h 6858000"/>
              <a:gd name="connsiteX178" fmla="*/ 3670252 w 7467600"/>
              <a:gd name="connsiteY178" fmla="*/ 3622798 h 6858000"/>
              <a:gd name="connsiteX179" fmla="*/ 3817258 w 7467600"/>
              <a:gd name="connsiteY179" fmla="*/ 3723577 h 6858000"/>
              <a:gd name="connsiteX180" fmla="*/ 4000461 w 7467600"/>
              <a:gd name="connsiteY180" fmla="*/ 3855966 h 6858000"/>
              <a:gd name="connsiteX181" fmla="*/ 4088180 w 7467600"/>
              <a:gd name="connsiteY181" fmla="*/ 3929774 h 6858000"/>
              <a:gd name="connsiteX182" fmla="*/ 4184555 w 7467600"/>
              <a:gd name="connsiteY182" fmla="*/ 4010683 h 6858000"/>
              <a:gd name="connsiteX183" fmla="*/ 4399563 w 7467600"/>
              <a:gd name="connsiteY183" fmla="*/ 4158106 h 6858000"/>
              <a:gd name="connsiteX184" fmla="*/ 4684469 w 7467600"/>
              <a:gd name="connsiteY184" fmla="*/ 4364680 h 6858000"/>
              <a:gd name="connsiteX185" fmla="*/ 4690271 w 7467600"/>
              <a:gd name="connsiteY185" fmla="*/ 4370034 h 6858000"/>
              <a:gd name="connsiteX186" fmla="*/ 4136093 w 7467600"/>
              <a:gd name="connsiteY186" fmla="*/ 3858466 h 6858000"/>
              <a:gd name="connsiteX187" fmla="*/ 3670252 w 7467600"/>
              <a:gd name="connsiteY187" fmla="*/ 3622798 h 6858000"/>
              <a:gd name="connsiteX188" fmla="*/ 4440129 w 7467600"/>
              <a:gd name="connsiteY188" fmla="*/ 3448571 h 6858000"/>
              <a:gd name="connsiteX189" fmla="*/ 4856525 w 7467600"/>
              <a:gd name="connsiteY189" fmla="*/ 3915351 h 6858000"/>
              <a:gd name="connsiteX190" fmla="*/ 5059055 w 7467600"/>
              <a:gd name="connsiteY190" fmla="*/ 4108918 h 6858000"/>
              <a:gd name="connsiteX191" fmla="*/ 5290070 w 7467600"/>
              <a:gd name="connsiteY191" fmla="*/ 4263619 h 6858000"/>
              <a:gd name="connsiteX192" fmla="*/ 4834991 w 7467600"/>
              <a:gd name="connsiteY192" fmla="*/ 3830985 h 6858000"/>
              <a:gd name="connsiteX193" fmla="*/ 4440129 w 7467600"/>
              <a:gd name="connsiteY193" fmla="*/ 3448571 h 6858000"/>
              <a:gd name="connsiteX194" fmla="*/ 4441737 w 7467600"/>
              <a:gd name="connsiteY194" fmla="*/ 3399734 h 6858000"/>
              <a:gd name="connsiteX195" fmla="*/ 4431236 w 7467600"/>
              <a:gd name="connsiteY195" fmla="*/ 3400954 h 6858000"/>
              <a:gd name="connsiteX196" fmla="*/ 4557150 w 7467600"/>
              <a:gd name="connsiteY196" fmla="*/ 3510023 h 6858000"/>
              <a:gd name="connsiteX197" fmla="*/ 4856936 w 7467600"/>
              <a:gd name="connsiteY197" fmla="*/ 3809146 h 6858000"/>
              <a:gd name="connsiteX198" fmla="*/ 5111996 w 7467600"/>
              <a:gd name="connsiteY198" fmla="*/ 4065759 h 6858000"/>
              <a:gd name="connsiteX199" fmla="*/ 5388878 w 7467600"/>
              <a:gd name="connsiteY199" fmla="*/ 4300185 h 6858000"/>
              <a:gd name="connsiteX200" fmla="*/ 5425556 w 7467600"/>
              <a:gd name="connsiteY200" fmla="*/ 4308967 h 6858000"/>
              <a:gd name="connsiteX201" fmla="*/ 4943646 w 7467600"/>
              <a:gd name="connsiteY201" fmla="*/ 3822916 h 6858000"/>
              <a:gd name="connsiteX202" fmla="*/ 4594837 w 7467600"/>
              <a:gd name="connsiteY202" fmla="*/ 3532274 h 6858000"/>
              <a:gd name="connsiteX203" fmla="*/ 4441737 w 7467600"/>
              <a:gd name="connsiteY203" fmla="*/ 3399734 h 6858000"/>
              <a:gd name="connsiteX204" fmla="*/ 5425834 w 7467600"/>
              <a:gd name="connsiteY204" fmla="*/ 3162785 h 6858000"/>
              <a:gd name="connsiteX205" fmla="*/ 5401644 w 7467600"/>
              <a:gd name="connsiteY205" fmla="*/ 3617847 h 6858000"/>
              <a:gd name="connsiteX206" fmla="*/ 5467256 w 7467600"/>
              <a:gd name="connsiteY206" fmla="*/ 4175494 h 6858000"/>
              <a:gd name="connsiteX207" fmla="*/ 5448069 w 7467600"/>
              <a:gd name="connsiteY207" fmla="*/ 3567554 h 6858000"/>
              <a:gd name="connsiteX208" fmla="*/ 5425834 w 7467600"/>
              <a:gd name="connsiteY208" fmla="*/ 3162785 h 6858000"/>
              <a:gd name="connsiteX209" fmla="*/ 1318687 w 7467600"/>
              <a:gd name="connsiteY209" fmla="*/ 3113840 h 6858000"/>
              <a:gd name="connsiteX210" fmla="*/ 1066793 w 7467600"/>
              <a:gd name="connsiteY210" fmla="*/ 3212171 h 6858000"/>
              <a:gd name="connsiteX211" fmla="*/ 993319 w 7467600"/>
              <a:gd name="connsiteY211" fmla="*/ 3247648 h 6858000"/>
              <a:gd name="connsiteX212" fmla="*/ 853081 w 7467600"/>
              <a:gd name="connsiteY212" fmla="*/ 3312410 h 6858000"/>
              <a:gd name="connsiteX213" fmla="*/ 805957 w 7467600"/>
              <a:gd name="connsiteY213" fmla="*/ 3330443 h 6858000"/>
              <a:gd name="connsiteX214" fmla="*/ 1318687 w 7467600"/>
              <a:gd name="connsiteY214" fmla="*/ 3113840 h 6858000"/>
              <a:gd name="connsiteX215" fmla="*/ 5453702 w 7467600"/>
              <a:gd name="connsiteY215" fmla="*/ 3090882 h 6858000"/>
              <a:gd name="connsiteX216" fmla="*/ 5480135 w 7467600"/>
              <a:gd name="connsiteY216" fmla="*/ 3565802 h 6858000"/>
              <a:gd name="connsiteX217" fmla="*/ 5499023 w 7467600"/>
              <a:gd name="connsiteY217" fmla="*/ 4166310 h 6858000"/>
              <a:gd name="connsiteX218" fmla="*/ 5547022 w 7467600"/>
              <a:gd name="connsiteY218" fmla="*/ 3607838 h 6858000"/>
              <a:gd name="connsiteX219" fmla="*/ 5515964 w 7467600"/>
              <a:gd name="connsiteY219" fmla="*/ 3378541 h 6858000"/>
              <a:gd name="connsiteX220" fmla="*/ 5453702 w 7467600"/>
              <a:gd name="connsiteY220" fmla="*/ 3090882 h 6858000"/>
              <a:gd name="connsiteX221" fmla="*/ 1238695 w 7467600"/>
              <a:gd name="connsiteY221" fmla="*/ 3076820 h 6858000"/>
              <a:gd name="connsiteX222" fmla="*/ 716371 w 7467600"/>
              <a:gd name="connsiteY222" fmla="*/ 3293249 h 6858000"/>
              <a:gd name="connsiteX223" fmla="*/ 579522 w 7467600"/>
              <a:gd name="connsiteY223" fmla="*/ 3371759 h 6858000"/>
              <a:gd name="connsiteX224" fmla="*/ 600288 w 7467600"/>
              <a:gd name="connsiteY224" fmla="*/ 3365555 h 6858000"/>
              <a:gd name="connsiteX225" fmla="*/ 840692 w 7467600"/>
              <a:gd name="connsiteY225" fmla="*/ 3284921 h 6858000"/>
              <a:gd name="connsiteX226" fmla="*/ 979248 w 7467600"/>
              <a:gd name="connsiteY226" fmla="*/ 3221003 h 6858000"/>
              <a:gd name="connsiteX227" fmla="*/ 1053282 w 7467600"/>
              <a:gd name="connsiteY227" fmla="*/ 3185247 h 6858000"/>
              <a:gd name="connsiteX228" fmla="*/ 1320603 w 7467600"/>
              <a:gd name="connsiteY228" fmla="*/ 3081281 h 6858000"/>
              <a:gd name="connsiteX229" fmla="*/ 1238695 w 7467600"/>
              <a:gd name="connsiteY229" fmla="*/ 3076820 h 6858000"/>
              <a:gd name="connsiteX230" fmla="*/ 5425627 w 7467600"/>
              <a:gd name="connsiteY230" fmla="*/ 2954192 h 6858000"/>
              <a:gd name="connsiteX231" fmla="*/ 5470770 w 7467600"/>
              <a:gd name="connsiteY231" fmla="*/ 3005435 h 6858000"/>
              <a:gd name="connsiteX232" fmla="*/ 5519779 w 7467600"/>
              <a:gd name="connsiteY232" fmla="*/ 4359223 h 6858000"/>
              <a:gd name="connsiteX233" fmla="*/ 5520293 w 7467600"/>
              <a:gd name="connsiteY233" fmla="*/ 4360602 h 6858000"/>
              <a:gd name="connsiteX234" fmla="*/ 5767221 w 7467600"/>
              <a:gd name="connsiteY234" fmla="*/ 4665564 h 6858000"/>
              <a:gd name="connsiteX235" fmla="*/ 6937169 w 7467600"/>
              <a:gd name="connsiteY235" fmla="*/ 4815941 h 6858000"/>
              <a:gd name="connsiteX236" fmla="*/ 6953922 w 7467600"/>
              <a:gd name="connsiteY236" fmla="*/ 4890068 h 6858000"/>
              <a:gd name="connsiteX237" fmla="*/ 6071359 w 7467600"/>
              <a:gd name="connsiteY237" fmla="*/ 4770770 h 6858000"/>
              <a:gd name="connsiteX238" fmla="*/ 6038839 w 7467600"/>
              <a:gd name="connsiteY238" fmla="*/ 4764474 h 6858000"/>
              <a:gd name="connsiteX239" fmla="*/ 6038706 w 7467600"/>
              <a:gd name="connsiteY239" fmla="*/ 4763847 h 6858000"/>
              <a:gd name="connsiteX240" fmla="*/ 6037784 w 7467600"/>
              <a:gd name="connsiteY240" fmla="*/ 4764270 h 6858000"/>
              <a:gd name="connsiteX241" fmla="*/ 6038839 w 7467600"/>
              <a:gd name="connsiteY241" fmla="*/ 4764474 h 6858000"/>
              <a:gd name="connsiteX242" fmla="*/ 6040338 w 7467600"/>
              <a:gd name="connsiteY242" fmla="*/ 4771418 h 6858000"/>
              <a:gd name="connsiteX243" fmla="*/ 6024488 w 7467600"/>
              <a:gd name="connsiteY243" fmla="*/ 4809903 h 6858000"/>
              <a:gd name="connsiteX244" fmla="*/ 5599771 w 7467600"/>
              <a:gd name="connsiteY244" fmla="*/ 5509652 h 6858000"/>
              <a:gd name="connsiteX245" fmla="*/ 5548843 w 7467600"/>
              <a:gd name="connsiteY245" fmla="*/ 5563845 h 6858000"/>
              <a:gd name="connsiteX246" fmla="*/ 5940952 w 7467600"/>
              <a:gd name="connsiteY246" fmla="*/ 6250028 h 6858000"/>
              <a:gd name="connsiteX247" fmla="*/ 6043441 w 7467600"/>
              <a:gd name="connsiteY247" fmla="*/ 6665847 h 6858000"/>
              <a:gd name="connsiteX248" fmla="*/ 6093432 w 7467600"/>
              <a:gd name="connsiteY248" fmla="*/ 6858000 h 6858000"/>
              <a:gd name="connsiteX249" fmla="*/ 6034344 w 7467600"/>
              <a:gd name="connsiteY249" fmla="*/ 6858000 h 6858000"/>
              <a:gd name="connsiteX250" fmla="*/ 6026679 w 7467600"/>
              <a:gd name="connsiteY250" fmla="*/ 6836959 h 6858000"/>
              <a:gd name="connsiteX251" fmla="*/ 5800441 w 7467600"/>
              <a:gd name="connsiteY251" fmla="*/ 6335286 h 6858000"/>
              <a:gd name="connsiteX252" fmla="*/ 5526562 w 7467600"/>
              <a:gd name="connsiteY252" fmla="*/ 5705388 h 6858000"/>
              <a:gd name="connsiteX253" fmla="*/ 5519640 w 7467600"/>
              <a:gd name="connsiteY253" fmla="*/ 5683774 h 6858000"/>
              <a:gd name="connsiteX254" fmla="*/ 5844559 w 7467600"/>
              <a:gd name="connsiteY254" fmla="*/ 6553349 h 6858000"/>
              <a:gd name="connsiteX255" fmla="*/ 5975994 w 7467600"/>
              <a:gd name="connsiteY255" fmla="*/ 6858000 h 6858000"/>
              <a:gd name="connsiteX256" fmla="*/ 5898547 w 7467600"/>
              <a:gd name="connsiteY256" fmla="*/ 6858000 h 6858000"/>
              <a:gd name="connsiteX257" fmla="*/ 5682041 w 7467600"/>
              <a:gd name="connsiteY257" fmla="*/ 6355860 h 6858000"/>
              <a:gd name="connsiteX258" fmla="*/ 5461758 w 7467600"/>
              <a:gd name="connsiteY258" fmla="*/ 5820220 h 6858000"/>
              <a:gd name="connsiteX259" fmla="*/ 5237282 w 7467600"/>
              <a:gd name="connsiteY259" fmla="*/ 6579086 h 6858000"/>
              <a:gd name="connsiteX260" fmla="*/ 5115009 w 7467600"/>
              <a:gd name="connsiteY260" fmla="*/ 6858000 h 6858000"/>
              <a:gd name="connsiteX261" fmla="*/ 5028074 w 7467600"/>
              <a:gd name="connsiteY261" fmla="*/ 6858000 h 6858000"/>
              <a:gd name="connsiteX262" fmla="*/ 5079508 w 7467600"/>
              <a:gd name="connsiteY262" fmla="*/ 6749074 h 6858000"/>
              <a:gd name="connsiteX263" fmla="*/ 5371846 w 7467600"/>
              <a:gd name="connsiteY263" fmla="*/ 5924413 h 6858000"/>
              <a:gd name="connsiteX264" fmla="*/ 5270512 w 7467600"/>
              <a:gd name="connsiteY264" fmla="*/ 6138975 h 6858000"/>
              <a:gd name="connsiteX265" fmla="*/ 5062409 w 7467600"/>
              <a:gd name="connsiteY265" fmla="*/ 6653544 h 6858000"/>
              <a:gd name="connsiteX266" fmla="*/ 5036628 w 7467600"/>
              <a:gd name="connsiteY266" fmla="*/ 6754247 h 6858000"/>
              <a:gd name="connsiteX267" fmla="*/ 5009112 w 7467600"/>
              <a:gd name="connsiteY267" fmla="*/ 6858000 h 6858000"/>
              <a:gd name="connsiteX268" fmla="*/ 4976679 w 7467600"/>
              <a:gd name="connsiteY268" fmla="*/ 6858000 h 6858000"/>
              <a:gd name="connsiteX269" fmla="*/ 5006537 w 7467600"/>
              <a:gd name="connsiteY269" fmla="*/ 6747068 h 6858000"/>
              <a:gd name="connsiteX270" fmla="*/ 5032723 w 7467600"/>
              <a:gd name="connsiteY270" fmla="*/ 6644957 h 6858000"/>
              <a:gd name="connsiteX271" fmla="*/ 5242949 w 7467600"/>
              <a:gd name="connsiteY271" fmla="*/ 6125175 h 6858000"/>
              <a:gd name="connsiteX272" fmla="*/ 5286321 w 7467600"/>
              <a:gd name="connsiteY272" fmla="*/ 6033555 h 6858000"/>
              <a:gd name="connsiteX273" fmla="*/ 5008210 w 7467600"/>
              <a:gd name="connsiteY273" fmla="*/ 6649194 h 6858000"/>
              <a:gd name="connsiteX274" fmla="*/ 4986321 w 7467600"/>
              <a:gd name="connsiteY274" fmla="*/ 6765687 h 6858000"/>
              <a:gd name="connsiteX275" fmla="*/ 4973474 w 7467600"/>
              <a:gd name="connsiteY275" fmla="*/ 6858000 h 6858000"/>
              <a:gd name="connsiteX276" fmla="*/ 4907178 w 7467600"/>
              <a:gd name="connsiteY276" fmla="*/ 6858000 h 6858000"/>
              <a:gd name="connsiteX277" fmla="*/ 4910810 w 7467600"/>
              <a:gd name="connsiteY277" fmla="*/ 6829660 h 6858000"/>
              <a:gd name="connsiteX278" fmla="*/ 4987461 w 7467600"/>
              <a:gd name="connsiteY278" fmla="*/ 6432994 h 6858000"/>
              <a:gd name="connsiteX279" fmla="*/ 5179262 w 7467600"/>
              <a:gd name="connsiteY279" fmla="*/ 6035044 h 6858000"/>
              <a:gd name="connsiteX280" fmla="*/ 4689678 w 7467600"/>
              <a:gd name="connsiteY280" fmla="*/ 6440241 h 6858000"/>
              <a:gd name="connsiteX281" fmla="*/ 4477543 w 7467600"/>
              <a:gd name="connsiteY281" fmla="*/ 6674836 h 6858000"/>
              <a:gd name="connsiteX282" fmla="*/ 4329957 w 7467600"/>
              <a:gd name="connsiteY282" fmla="*/ 6858000 h 6858000"/>
              <a:gd name="connsiteX283" fmla="*/ 4218595 w 7467600"/>
              <a:gd name="connsiteY283" fmla="*/ 6858000 h 6858000"/>
              <a:gd name="connsiteX284" fmla="*/ 4368888 w 7467600"/>
              <a:gd name="connsiteY284" fmla="*/ 6668412 h 6858000"/>
              <a:gd name="connsiteX285" fmla="*/ 4563091 w 7467600"/>
              <a:gd name="connsiteY285" fmla="*/ 6442508 h 6858000"/>
              <a:gd name="connsiteX286" fmla="*/ 5387324 w 7467600"/>
              <a:gd name="connsiteY286" fmla="*/ 5705830 h 6858000"/>
              <a:gd name="connsiteX287" fmla="*/ 5073620 w 7467600"/>
              <a:gd name="connsiteY287" fmla="*/ 5955437 h 6858000"/>
              <a:gd name="connsiteX288" fmla="*/ 4689789 w 7467600"/>
              <a:gd name="connsiteY288" fmla="*/ 6268382 h 6858000"/>
              <a:gd name="connsiteX289" fmla="*/ 4418722 w 7467600"/>
              <a:gd name="connsiteY289" fmla="*/ 6570886 h 6858000"/>
              <a:gd name="connsiteX290" fmla="*/ 4214944 w 7467600"/>
              <a:gd name="connsiteY290" fmla="*/ 6858000 h 6858000"/>
              <a:gd name="connsiteX291" fmla="*/ 4177898 w 7467600"/>
              <a:gd name="connsiteY291" fmla="*/ 6858000 h 6858000"/>
              <a:gd name="connsiteX292" fmla="*/ 4391597 w 7467600"/>
              <a:gd name="connsiteY292" fmla="*/ 6556370 h 6858000"/>
              <a:gd name="connsiteX293" fmla="*/ 4668889 w 7467600"/>
              <a:gd name="connsiteY293" fmla="*/ 6246399 h 6858000"/>
              <a:gd name="connsiteX294" fmla="*/ 5055427 w 7467600"/>
              <a:gd name="connsiteY294" fmla="*/ 5931476 h 6858000"/>
              <a:gd name="connsiteX295" fmla="*/ 5371814 w 7467600"/>
              <a:gd name="connsiteY295" fmla="*/ 5678975 h 6858000"/>
              <a:gd name="connsiteX296" fmla="*/ 4987918 w 7467600"/>
              <a:gd name="connsiteY296" fmla="*/ 5838701 h 6858000"/>
              <a:gd name="connsiteX297" fmla="*/ 4317146 w 7467600"/>
              <a:gd name="connsiteY297" fmla="*/ 6587716 h 6858000"/>
              <a:gd name="connsiteX298" fmla="*/ 4171627 w 7467600"/>
              <a:gd name="connsiteY298" fmla="*/ 6858000 h 6858000"/>
              <a:gd name="connsiteX299" fmla="*/ 4081585 w 7467600"/>
              <a:gd name="connsiteY299" fmla="*/ 6858000 h 6858000"/>
              <a:gd name="connsiteX300" fmla="*/ 4238603 w 7467600"/>
              <a:gd name="connsiteY300" fmla="*/ 6559341 h 6858000"/>
              <a:gd name="connsiteX301" fmla="*/ 4778333 w 7467600"/>
              <a:gd name="connsiteY301" fmla="*/ 5873626 h 6858000"/>
              <a:gd name="connsiteX302" fmla="*/ 5414185 w 7467600"/>
              <a:gd name="connsiteY302" fmla="*/ 5573882 h 6858000"/>
              <a:gd name="connsiteX303" fmla="*/ 5959648 w 7467600"/>
              <a:gd name="connsiteY303" fmla="*/ 4760797 h 6858000"/>
              <a:gd name="connsiteX304" fmla="*/ 5355019 w 7467600"/>
              <a:gd name="connsiteY304" fmla="*/ 4734672 h 6858000"/>
              <a:gd name="connsiteX305" fmla="*/ 5083565 w 7467600"/>
              <a:gd name="connsiteY305" fmla="*/ 5179121 h 6858000"/>
              <a:gd name="connsiteX306" fmla="*/ 4713577 w 7467600"/>
              <a:gd name="connsiteY306" fmla="*/ 5616803 h 6858000"/>
              <a:gd name="connsiteX307" fmla="*/ 3989559 w 7467600"/>
              <a:gd name="connsiteY307" fmla="*/ 6145945 h 6858000"/>
              <a:gd name="connsiteX308" fmla="*/ 3939824 w 7467600"/>
              <a:gd name="connsiteY308" fmla="*/ 6066900 h 6858000"/>
              <a:gd name="connsiteX309" fmla="*/ 4584537 w 7467600"/>
              <a:gd name="connsiteY309" fmla="*/ 5324826 h 6858000"/>
              <a:gd name="connsiteX310" fmla="*/ 5037105 w 7467600"/>
              <a:gd name="connsiteY310" fmla="*/ 5088765 h 6858000"/>
              <a:gd name="connsiteX311" fmla="*/ 5039930 w 7467600"/>
              <a:gd name="connsiteY311" fmla="*/ 5089585 h 6858000"/>
              <a:gd name="connsiteX312" fmla="*/ 5263764 w 7467600"/>
              <a:gd name="connsiteY312" fmla="*/ 4735525 h 6858000"/>
              <a:gd name="connsiteX313" fmla="*/ 4086300 w 7467600"/>
              <a:gd name="connsiteY313" fmla="*/ 4884599 h 6858000"/>
              <a:gd name="connsiteX314" fmla="*/ 4085485 w 7467600"/>
              <a:gd name="connsiteY314" fmla="*/ 4899070 h 6858000"/>
              <a:gd name="connsiteX315" fmla="*/ 3871915 w 7467600"/>
              <a:gd name="connsiteY315" fmla="*/ 5253645 h 6858000"/>
              <a:gd name="connsiteX316" fmla="*/ 3799374 w 7467600"/>
              <a:gd name="connsiteY316" fmla="*/ 5466127 h 6858000"/>
              <a:gd name="connsiteX317" fmla="*/ 3498850 w 7467600"/>
              <a:gd name="connsiteY317" fmla="*/ 6661888 h 6858000"/>
              <a:gd name="connsiteX318" fmla="*/ 3399216 w 7467600"/>
              <a:gd name="connsiteY318" fmla="*/ 6858000 h 6858000"/>
              <a:gd name="connsiteX319" fmla="*/ 3303688 w 7467600"/>
              <a:gd name="connsiteY319" fmla="*/ 6858000 h 6858000"/>
              <a:gd name="connsiteX320" fmla="*/ 3391774 w 7467600"/>
              <a:gd name="connsiteY320" fmla="*/ 6697181 h 6858000"/>
              <a:gd name="connsiteX321" fmla="*/ 3735540 w 7467600"/>
              <a:gd name="connsiteY321" fmla="*/ 5546923 h 6858000"/>
              <a:gd name="connsiteX322" fmla="*/ 3729438 w 7467600"/>
              <a:gd name="connsiteY322" fmla="*/ 5569058 h 6858000"/>
              <a:gd name="connsiteX323" fmla="*/ 3707782 w 7467600"/>
              <a:gd name="connsiteY323" fmla="*/ 5644908 h 6858000"/>
              <a:gd name="connsiteX324" fmla="*/ 3583827 w 7467600"/>
              <a:gd name="connsiteY324" fmla="*/ 6039215 h 6858000"/>
              <a:gd name="connsiteX325" fmla="*/ 3547861 w 7467600"/>
              <a:gd name="connsiteY325" fmla="*/ 6129609 h 6858000"/>
              <a:gd name="connsiteX326" fmla="*/ 3490905 w 7467600"/>
              <a:gd name="connsiteY326" fmla="*/ 6277660 h 6858000"/>
              <a:gd name="connsiteX327" fmla="*/ 3455859 w 7467600"/>
              <a:gd name="connsiteY327" fmla="*/ 6391301 h 6858000"/>
              <a:gd name="connsiteX328" fmla="*/ 3429112 w 7467600"/>
              <a:gd name="connsiteY328" fmla="*/ 6479469 h 6858000"/>
              <a:gd name="connsiteX329" fmla="*/ 3304862 w 7467600"/>
              <a:gd name="connsiteY329" fmla="*/ 6796476 h 6858000"/>
              <a:gd name="connsiteX330" fmla="*/ 3276071 w 7467600"/>
              <a:gd name="connsiteY330" fmla="*/ 6858000 h 6858000"/>
              <a:gd name="connsiteX331" fmla="*/ 3240805 w 7467600"/>
              <a:gd name="connsiteY331" fmla="*/ 6858000 h 6858000"/>
              <a:gd name="connsiteX332" fmla="*/ 3275917 w 7467600"/>
              <a:gd name="connsiteY332" fmla="*/ 6783192 h 6858000"/>
              <a:gd name="connsiteX333" fmla="*/ 3399358 w 7467600"/>
              <a:gd name="connsiteY333" fmla="*/ 6469011 h 6858000"/>
              <a:gd name="connsiteX334" fmla="*/ 3425650 w 7467600"/>
              <a:gd name="connsiteY334" fmla="*/ 6381333 h 6858000"/>
              <a:gd name="connsiteX335" fmla="*/ 3460661 w 7467600"/>
              <a:gd name="connsiteY335" fmla="*/ 6266763 h 6858000"/>
              <a:gd name="connsiteX336" fmla="*/ 3518021 w 7467600"/>
              <a:gd name="connsiteY336" fmla="*/ 6117298 h 6858000"/>
              <a:gd name="connsiteX337" fmla="*/ 3554035 w 7467600"/>
              <a:gd name="connsiteY337" fmla="*/ 6027832 h 6858000"/>
              <a:gd name="connsiteX338" fmla="*/ 3677174 w 7467600"/>
              <a:gd name="connsiteY338" fmla="*/ 5636351 h 6858000"/>
              <a:gd name="connsiteX339" fmla="*/ 3698819 w 7467600"/>
              <a:gd name="connsiteY339" fmla="*/ 5560503 h 6858000"/>
              <a:gd name="connsiteX340" fmla="*/ 3702094 w 7467600"/>
              <a:gd name="connsiteY340" fmla="*/ 5549194 h 6858000"/>
              <a:gd name="connsiteX341" fmla="*/ 3398355 w 7467600"/>
              <a:gd name="connsiteY341" fmla="*/ 6094603 h 6858000"/>
              <a:gd name="connsiteX342" fmla="*/ 3193941 w 7467600"/>
              <a:gd name="connsiteY342" fmla="*/ 6798775 h 6858000"/>
              <a:gd name="connsiteX343" fmla="*/ 3184140 w 7467600"/>
              <a:gd name="connsiteY343" fmla="*/ 6858000 h 6858000"/>
              <a:gd name="connsiteX344" fmla="*/ 3099978 w 7467600"/>
              <a:gd name="connsiteY344" fmla="*/ 6858000 h 6858000"/>
              <a:gd name="connsiteX345" fmla="*/ 3101556 w 7467600"/>
              <a:gd name="connsiteY345" fmla="*/ 6843337 h 6858000"/>
              <a:gd name="connsiteX346" fmla="*/ 3370162 w 7467600"/>
              <a:gd name="connsiteY346" fmla="*/ 5785550 h 6858000"/>
              <a:gd name="connsiteX347" fmla="*/ 3746477 w 7467600"/>
              <a:gd name="connsiteY347" fmla="*/ 5377889 h 6858000"/>
              <a:gd name="connsiteX348" fmla="*/ 3863399 w 7467600"/>
              <a:gd name="connsiteY348" fmla="*/ 5087257 h 6858000"/>
              <a:gd name="connsiteX349" fmla="*/ 3968712 w 7467600"/>
              <a:gd name="connsiteY349" fmla="*/ 4913989 h 6858000"/>
              <a:gd name="connsiteX350" fmla="*/ 2792390 w 7467600"/>
              <a:gd name="connsiteY350" fmla="*/ 5382974 h 6858000"/>
              <a:gd name="connsiteX351" fmla="*/ 2714982 w 7467600"/>
              <a:gd name="connsiteY351" fmla="*/ 5427051 h 6858000"/>
              <a:gd name="connsiteX352" fmla="*/ 2813361 w 7467600"/>
              <a:gd name="connsiteY352" fmla="*/ 6023912 h 6858000"/>
              <a:gd name="connsiteX353" fmla="*/ 2688430 w 7467600"/>
              <a:gd name="connsiteY353" fmla="*/ 6801564 h 6858000"/>
              <a:gd name="connsiteX354" fmla="*/ 2629626 w 7467600"/>
              <a:gd name="connsiteY354" fmla="*/ 6763394 h 6858000"/>
              <a:gd name="connsiteX355" fmla="*/ 2565328 w 7467600"/>
              <a:gd name="connsiteY355" fmla="*/ 5516399 h 6858000"/>
              <a:gd name="connsiteX356" fmla="*/ 1922999 w 7467600"/>
              <a:gd name="connsiteY356" fmla="*/ 5980343 h 6858000"/>
              <a:gd name="connsiteX357" fmla="*/ 1950261 w 7467600"/>
              <a:gd name="connsiteY357" fmla="*/ 6405858 h 6858000"/>
              <a:gd name="connsiteX358" fmla="*/ 2365554 w 7467600"/>
              <a:gd name="connsiteY358" fmla="*/ 6759107 h 6858000"/>
              <a:gd name="connsiteX359" fmla="*/ 2424142 w 7467600"/>
              <a:gd name="connsiteY359" fmla="*/ 6858000 h 6858000"/>
              <a:gd name="connsiteX360" fmla="*/ 2395994 w 7467600"/>
              <a:gd name="connsiteY360" fmla="*/ 6858000 h 6858000"/>
              <a:gd name="connsiteX361" fmla="*/ 2392863 w 7467600"/>
              <a:gd name="connsiteY361" fmla="*/ 6852964 h 6858000"/>
              <a:gd name="connsiteX362" fmla="*/ 2017589 w 7467600"/>
              <a:gd name="connsiteY362" fmla="*/ 6493982 h 6858000"/>
              <a:gd name="connsiteX363" fmla="*/ 2147336 w 7467600"/>
              <a:gd name="connsiteY363" fmla="*/ 6594052 h 6858000"/>
              <a:gd name="connsiteX364" fmla="*/ 2207047 w 7467600"/>
              <a:gd name="connsiteY364" fmla="*/ 6654540 h 6858000"/>
              <a:gd name="connsiteX365" fmla="*/ 2299106 w 7467600"/>
              <a:gd name="connsiteY365" fmla="*/ 6778931 h 6858000"/>
              <a:gd name="connsiteX366" fmla="*/ 2314430 w 7467600"/>
              <a:gd name="connsiteY366" fmla="*/ 6801144 h 6858000"/>
              <a:gd name="connsiteX367" fmla="*/ 2352406 w 7467600"/>
              <a:gd name="connsiteY367" fmla="*/ 6858000 h 6858000"/>
              <a:gd name="connsiteX368" fmla="*/ 2314492 w 7467600"/>
              <a:gd name="connsiteY368" fmla="*/ 6858000 h 6858000"/>
              <a:gd name="connsiteX369" fmla="*/ 2288095 w 7467600"/>
              <a:gd name="connsiteY369" fmla="*/ 6818030 h 6858000"/>
              <a:gd name="connsiteX370" fmla="*/ 2272768 w 7467600"/>
              <a:gd name="connsiteY370" fmla="*/ 6795822 h 6858000"/>
              <a:gd name="connsiteX371" fmla="*/ 2182715 w 7467600"/>
              <a:gd name="connsiteY371" fmla="*/ 6675071 h 6858000"/>
              <a:gd name="connsiteX372" fmla="*/ 2032061 w 7467600"/>
              <a:gd name="connsiteY372" fmla="*/ 6541380 h 6858000"/>
              <a:gd name="connsiteX373" fmla="*/ 2257220 w 7467600"/>
              <a:gd name="connsiteY373" fmla="*/ 6826257 h 6858000"/>
              <a:gd name="connsiteX374" fmla="*/ 2281324 w 7467600"/>
              <a:gd name="connsiteY374" fmla="*/ 6858000 h 6858000"/>
              <a:gd name="connsiteX375" fmla="*/ 2242860 w 7467600"/>
              <a:gd name="connsiteY375" fmla="*/ 6858000 h 6858000"/>
              <a:gd name="connsiteX376" fmla="*/ 2232818 w 7467600"/>
              <a:gd name="connsiteY376" fmla="*/ 6844926 h 6858000"/>
              <a:gd name="connsiteX377" fmla="*/ 1990172 w 7467600"/>
              <a:gd name="connsiteY377" fmla="*/ 6542121 h 6858000"/>
              <a:gd name="connsiteX378" fmla="*/ 2124090 w 7467600"/>
              <a:gd name="connsiteY378" fmla="*/ 6761017 h 6858000"/>
              <a:gd name="connsiteX379" fmla="*/ 2200380 w 7467600"/>
              <a:gd name="connsiteY379" fmla="*/ 6858000 h 6858000"/>
              <a:gd name="connsiteX380" fmla="*/ 2147507 w 7467600"/>
              <a:gd name="connsiteY380" fmla="*/ 6858000 h 6858000"/>
              <a:gd name="connsiteX381" fmla="*/ 2070668 w 7467600"/>
              <a:gd name="connsiteY381" fmla="*/ 6761520 h 6858000"/>
              <a:gd name="connsiteX382" fmla="*/ 1975142 w 7467600"/>
              <a:gd name="connsiteY382" fmla="*/ 6585570 h 6858000"/>
              <a:gd name="connsiteX383" fmla="*/ 2050035 w 7467600"/>
              <a:gd name="connsiteY383" fmla="*/ 6813345 h 6858000"/>
              <a:gd name="connsiteX384" fmla="*/ 2063025 w 7467600"/>
              <a:gd name="connsiteY384" fmla="*/ 6858000 h 6858000"/>
              <a:gd name="connsiteX385" fmla="*/ 2021675 w 7467600"/>
              <a:gd name="connsiteY385" fmla="*/ 6858000 h 6858000"/>
              <a:gd name="connsiteX386" fmla="*/ 2019308 w 7467600"/>
              <a:gd name="connsiteY386" fmla="*/ 6847118 h 6858000"/>
              <a:gd name="connsiteX387" fmla="*/ 1938835 w 7467600"/>
              <a:gd name="connsiteY387" fmla="*/ 6551160 h 6858000"/>
              <a:gd name="connsiteX388" fmla="*/ 1953230 w 7467600"/>
              <a:gd name="connsiteY388" fmla="*/ 6759699 h 6858000"/>
              <a:gd name="connsiteX389" fmla="*/ 1956763 w 7467600"/>
              <a:gd name="connsiteY389" fmla="*/ 6778191 h 6858000"/>
              <a:gd name="connsiteX390" fmla="*/ 1967925 w 7467600"/>
              <a:gd name="connsiteY390" fmla="*/ 6858000 h 6858000"/>
              <a:gd name="connsiteX391" fmla="*/ 1936622 w 7467600"/>
              <a:gd name="connsiteY391" fmla="*/ 6858000 h 6858000"/>
              <a:gd name="connsiteX392" fmla="*/ 1926261 w 7467600"/>
              <a:gd name="connsiteY392" fmla="*/ 6784064 h 6858000"/>
              <a:gd name="connsiteX393" fmla="*/ 1922724 w 7467600"/>
              <a:gd name="connsiteY393" fmla="*/ 6765577 h 6858000"/>
              <a:gd name="connsiteX394" fmla="*/ 1904650 w 7467600"/>
              <a:gd name="connsiteY394" fmla="*/ 6639616 h 6858000"/>
              <a:gd name="connsiteX395" fmla="*/ 1885273 w 7467600"/>
              <a:gd name="connsiteY395" fmla="*/ 6858000 h 6858000"/>
              <a:gd name="connsiteX396" fmla="*/ 1854363 w 7467600"/>
              <a:gd name="connsiteY396" fmla="*/ 6858000 h 6858000"/>
              <a:gd name="connsiteX397" fmla="*/ 1880391 w 7467600"/>
              <a:gd name="connsiteY397" fmla="*/ 6603796 h 6858000"/>
              <a:gd name="connsiteX398" fmla="*/ 1818273 w 7467600"/>
              <a:gd name="connsiteY398" fmla="*/ 6715729 h 6858000"/>
              <a:gd name="connsiteX399" fmla="*/ 1794691 w 7467600"/>
              <a:gd name="connsiteY399" fmla="*/ 6843239 h 6858000"/>
              <a:gd name="connsiteX400" fmla="*/ 1794914 w 7467600"/>
              <a:gd name="connsiteY400" fmla="*/ 6858000 h 6858000"/>
              <a:gd name="connsiteX401" fmla="*/ 1746128 w 7467600"/>
              <a:gd name="connsiteY401" fmla="*/ 6858000 h 6858000"/>
              <a:gd name="connsiteX402" fmla="*/ 1753934 w 7467600"/>
              <a:gd name="connsiteY402" fmla="*/ 6724796 h 6858000"/>
              <a:gd name="connsiteX403" fmla="*/ 1792053 w 7467600"/>
              <a:gd name="connsiteY403" fmla="*/ 6572396 h 6858000"/>
              <a:gd name="connsiteX404" fmla="*/ 1862248 w 7467600"/>
              <a:gd name="connsiteY404" fmla="*/ 6266397 h 6858000"/>
              <a:gd name="connsiteX405" fmla="*/ 1862250 w 7467600"/>
              <a:gd name="connsiteY405" fmla="*/ 6033531 h 6858000"/>
              <a:gd name="connsiteX406" fmla="*/ 1211999 w 7467600"/>
              <a:gd name="connsiteY406" fmla="*/ 6683610 h 6858000"/>
              <a:gd name="connsiteX407" fmla="*/ 1213266 w 7467600"/>
              <a:gd name="connsiteY407" fmla="*/ 6691947 h 6858000"/>
              <a:gd name="connsiteX408" fmla="*/ 1203370 w 7467600"/>
              <a:gd name="connsiteY408" fmla="*/ 6850676 h 6858000"/>
              <a:gd name="connsiteX409" fmla="*/ 1203671 w 7467600"/>
              <a:gd name="connsiteY409" fmla="*/ 6858000 h 6858000"/>
              <a:gd name="connsiteX410" fmla="*/ 1143180 w 7467600"/>
              <a:gd name="connsiteY410" fmla="*/ 6858000 h 6858000"/>
              <a:gd name="connsiteX411" fmla="*/ 1142176 w 7467600"/>
              <a:gd name="connsiteY411" fmla="*/ 6766045 h 6858000"/>
              <a:gd name="connsiteX412" fmla="*/ 1067484 w 7467600"/>
              <a:gd name="connsiteY412" fmla="*/ 6858000 h 6858000"/>
              <a:gd name="connsiteX413" fmla="*/ 953928 w 7467600"/>
              <a:gd name="connsiteY413" fmla="*/ 6858000 h 6858000"/>
              <a:gd name="connsiteX414" fmla="*/ 959715 w 7467600"/>
              <a:gd name="connsiteY414" fmla="*/ 6850185 h 6858000"/>
              <a:gd name="connsiteX415" fmla="*/ 1483788 w 7467600"/>
              <a:gd name="connsiteY415" fmla="*/ 6259174 h 6858000"/>
              <a:gd name="connsiteX416" fmla="*/ 1100671 w 7467600"/>
              <a:gd name="connsiteY416" fmla="*/ 6252137 h 6858000"/>
              <a:gd name="connsiteX417" fmla="*/ 1090144 w 7467600"/>
              <a:gd name="connsiteY417" fmla="*/ 6256748 h 6858000"/>
              <a:gd name="connsiteX418" fmla="*/ 1095872 w 7467600"/>
              <a:gd name="connsiteY418" fmla="*/ 6271892 h 6858000"/>
              <a:gd name="connsiteX419" fmla="*/ 262785 w 7467600"/>
              <a:gd name="connsiteY419" fmla="*/ 6845450 h 6858000"/>
              <a:gd name="connsiteX420" fmla="*/ 209968 w 7467600"/>
              <a:gd name="connsiteY420" fmla="*/ 6770713 h 6858000"/>
              <a:gd name="connsiteX421" fmla="*/ 873460 w 7467600"/>
              <a:gd name="connsiteY421" fmla="*/ 6253768 h 6858000"/>
              <a:gd name="connsiteX422" fmla="*/ 192686 w 7467600"/>
              <a:gd name="connsiteY422" fmla="*/ 5849257 h 6858000"/>
              <a:gd name="connsiteX423" fmla="*/ 4696 w 7467600"/>
              <a:gd name="connsiteY423" fmla="*/ 5697668 h 6858000"/>
              <a:gd name="connsiteX424" fmla="*/ 0 w 7467600"/>
              <a:gd name="connsiteY424" fmla="*/ 5689984 h 6858000"/>
              <a:gd name="connsiteX425" fmla="*/ 0 w 7467600"/>
              <a:gd name="connsiteY425" fmla="*/ 5513472 h 6858000"/>
              <a:gd name="connsiteX426" fmla="*/ 174101 w 7467600"/>
              <a:gd name="connsiteY426" fmla="*/ 5620277 h 6858000"/>
              <a:gd name="connsiteX427" fmla="*/ 891800 w 7467600"/>
              <a:gd name="connsiteY427" fmla="*/ 6036935 h 6858000"/>
              <a:gd name="connsiteX428" fmla="*/ 1072219 w 7467600"/>
              <a:gd name="connsiteY428" fmla="*/ 6169443 h 6858000"/>
              <a:gd name="connsiteX429" fmla="*/ 1074117 w 7467600"/>
              <a:gd name="connsiteY429" fmla="*/ 6170301 h 6858000"/>
              <a:gd name="connsiteX430" fmla="*/ 1083114 w 7467600"/>
              <a:gd name="connsiteY430" fmla="*/ 6174131 h 6858000"/>
              <a:gd name="connsiteX431" fmla="*/ 1543010 w 7467600"/>
              <a:gd name="connsiteY431" fmla="*/ 6191140 h 6858000"/>
              <a:gd name="connsiteX432" fmla="*/ 1551080 w 7467600"/>
              <a:gd name="connsiteY432" fmla="*/ 6195006 h 6858000"/>
              <a:gd name="connsiteX433" fmla="*/ 2345443 w 7467600"/>
              <a:gd name="connsiteY433" fmla="*/ 5549882 h 6858000"/>
              <a:gd name="connsiteX434" fmla="*/ 1721499 w 7467600"/>
              <a:gd name="connsiteY434" fmla="*/ 5599969 h 6858000"/>
              <a:gd name="connsiteX435" fmla="*/ 767716 w 7467600"/>
              <a:gd name="connsiteY435" fmla="*/ 5472768 h 6858000"/>
              <a:gd name="connsiteX436" fmla="*/ 722147 w 7467600"/>
              <a:gd name="connsiteY436" fmla="*/ 5393091 h 6858000"/>
              <a:gd name="connsiteX437" fmla="*/ 1485552 w 7467600"/>
              <a:gd name="connsiteY437" fmla="*/ 5313202 h 6858000"/>
              <a:gd name="connsiteX438" fmla="*/ 2143004 w 7467600"/>
              <a:gd name="connsiteY438" fmla="*/ 5402420 h 6858000"/>
              <a:gd name="connsiteX439" fmla="*/ 1933391 w 7467600"/>
              <a:gd name="connsiteY439" fmla="*/ 5156971 h 6858000"/>
              <a:gd name="connsiteX440" fmla="*/ 1827118 w 7467600"/>
              <a:gd name="connsiteY440" fmla="*/ 4968410 h 6858000"/>
              <a:gd name="connsiteX441" fmla="*/ 1837349 w 7467600"/>
              <a:gd name="connsiteY441" fmla="*/ 4956357 h 6858000"/>
              <a:gd name="connsiteX442" fmla="*/ 2162835 w 7467600"/>
              <a:gd name="connsiteY442" fmla="*/ 5187853 h 6858000"/>
              <a:gd name="connsiteX443" fmla="*/ 2257167 w 7467600"/>
              <a:gd name="connsiteY443" fmla="*/ 5462123 h 6858000"/>
              <a:gd name="connsiteX444" fmla="*/ 2261598 w 7467600"/>
              <a:gd name="connsiteY444" fmla="*/ 5467998 h 6858000"/>
              <a:gd name="connsiteX445" fmla="*/ 2437177 w 7467600"/>
              <a:gd name="connsiteY445" fmla="*/ 5479608 h 6858000"/>
              <a:gd name="connsiteX446" fmla="*/ 2445247 w 7467600"/>
              <a:gd name="connsiteY446" fmla="*/ 5483476 h 6858000"/>
              <a:gd name="connsiteX447" fmla="*/ 2743626 w 7467600"/>
              <a:gd name="connsiteY447" fmla="*/ 5304819 h 6858000"/>
              <a:gd name="connsiteX448" fmla="*/ 3048102 w 7467600"/>
              <a:gd name="connsiteY448" fmla="*/ 5150595 h 6858000"/>
              <a:gd name="connsiteX449" fmla="*/ 1799414 w 7467600"/>
              <a:gd name="connsiteY449" fmla="*/ 4694732 h 6858000"/>
              <a:gd name="connsiteX450" fmla="*/ 1771735 w 7467600"/>
              <a:gd name="connsiteY450" fmla="*/ 4619929 h 6858000"/>
              <a:gd name="connsiteX451" fmla="*/ 3104273 w 7467600"/>
              <a:gd name="connsiteY451" fmla="*/ 5076159 h 6858000"/>
              <a:gd name="connsiteX452" fmla="*/ 3113245 w 7467600"/>
              <a:gd name="connsiteY452" fmla="*/ 5090705 h 6858000"/>
              <a:gd name="connsiteX453" fmla="*/ 3126294 w 7467600"/>
              <a:gd name="connsiteY453" fmla="*/ 5114400 h 6858000"/>
              <a:gd name="connsiteX454" fmla="*/ 3937433 w 7467600"/>
              <a:gd name="connsiteY454" fmla="*/ 4830473 h 6858000"/>
              <a:gd name="connsiteX455" fmla="*/ 3590475 w 7467600"/>
              <a:gd name="connsiteY455" fmla="*/ 4597974 h 6858000"/>
              <a:gd name="connsiteX456" fmla="*/ 3100264 w 7467600"/>
              <a:gd name="connsiteY456" fmla="*/ 4579845 h 6858000"/>
              <a:gd name="connsiteX457" fmla="*/ 2183576 w 7467600"/>
              <a:gd name="connsiteY457" fmla="*/ 4227150 h 6858000"/>
              <a:gd name="connsiteX458" fmla="*/ 2151029 w 7467600"/>
              <a:gd name="connsiteY458" fmla="*/ 4146947 h 6858000"/>
              <a:gd name="connsiteX459" fmla="*/ 3563434 w 7467600"/>
              <a:gd name="connsiteY459" fmla="*/ 4469115 h 6858000"/>
              <a:gd name="connsiteX460" fmla="*/ 3177952 w 7467600"/>
              <a:gd name="connsiteY460" fmla="*/ 3657386 h 6858000"/>
              <a:gd name="connsiteX461" fmla="*/ 3189263 w 7467600"/>
              <a:gd name="connsiteY461" fmla="*/ 3625726 h 6858000"/>
              <a:gd name="connsiteX462" fmla="*/ 3560912 w 7467600"/>
              <a:gd name="connsiteY462" fmla="*/ 4079863 h 6858000"/>
              <a:gd name="connsiteX463" fmla="*/ 3626636 w 7467600"/>
              <a:gd name="connsiteY463" fmla="*/ 4512230 h 6858000"/>
              <a:gd name="connsiteX464" fmla="*/ 3653088 w 7467600"/>
              <a:gd name="connsiteY464" fmla="*/ 4521417 h 6858000"/>
              <a:gd name="connsiteX465" fmla="*/ 3988128 w 7467600"/>
              <a:gd name="connsiteY465" fmla="*/ 4817267 h 6858000"/>
              <a:gd name="connsiteX466" fmla="*/ 4830582 w 7467600"/>
              <a:gd name="connsiteY466" fmla="*/ 4676000 h 6858000"/>
              <a:gd name="connsiteX467" fmla="*/ 4830100 w 7467600"/>
              <a:gd name="connsiteY467" fmla="*/ 4675554 h 6858000"/>
              <a:gd name="connsiteX468" fmla="*/ 4036318 w 7467600"/>
              <a:gd name="connsiteY468" fmla="*/ 4147013 h 6858000"/>
              <a:gd name="connsiteX469" fmla="*/ 3432098 w 7467600"/>
              <a:gd name="connsiteY469" fmla="*/ 3537312 h 6858000"/>
              <a:gd name="connsiteX470" fmla="*/ 3446761 w 7467600"/>
              <a:gd name="connsiteY470" fmla="*/ 3461278 h 6858000"/>
              <a:gd name="connsiteX471" fmla="*/ 4419733 w 7467600"/>
              <a:gd name="connsiteY471" fmla="*/ 3963555 h 6858000"/>
              <a:gd name="connsiteX472" fmla="*/ 4781371 w 7467600"/>
              <a:gd name="connsiteY472" fmla="*/ 4458604 h 6858000"/>
              <a:gd name="connsiteX473" fmla="*/ 4780440 w 7467600"/>
              <a:gd name="connsiteY473" fmla="*/ 4470290 h 6858000"/>
              <a:gd name="connsiteX474" fmla="*/ 4898954 w 7467600"/>
              <a:gd name="connsiteY474" fmla="*/ 4662092 h 6858000"/>
              <a:gd name="connsiteX475" fmla="*/ 4900699 w 7467600"/>
              <a:gd name="connsiteY475" fmla="*/ 4670867 h 6858000"/>
              <a:gd name="connsiteX476" fmla="*/ 5714511 w 7467600"/>
              <a:gd name="connsiteY476" fmla="*/ 4663483 h 6858000"/>
              <a:gd name="connsiteX477" fmla="*/ 5464793 w 7467600"/>
              <a:gd name="connsiteY477" fmla="*/ 4393556 h 6858000"/>
              <a:gd name="connsiteX478" fmla="*/ 5461897 w 7467600"/>
              <a:gd name="connsiteY478" fmla="*/ 4390879 h 6858000"/>
              <a:gd name="connsiteX479" fmla="*/ 4294126 w 7467600"/>
              <a:gd name="connsiteY479" fmla="*/ 3303048 h 6858000"/>
              <a:gd name="connsiteX480" fmla="*/ 4305321 w 7467600"/>
              <a:gd name="connsiteY480" fmla="*/ 3256953 h 6858000"/>
              <a:gd name="connsiteX481" fmla="*/ 4949299 w 7467600"/>
              <a:gd name="connsiteY481" fmla="*/ 3766336 h 6858000"/>
              <a:gd name="connsiteX482" fmla="*/ 5291452 w 7467600"/>
              <a:gd name="connsiteY482" fmla="*/ 4076801 h 6858000"/>
              <a:gd name="connsiteX483" fmla="*/ 5434998 w 7467600"/>
              <a:gd name="connsiteY483" fmla="*/ 4254100 h 6858000"/>
              <a:gd name="connsiteX484" fmla="*/ 5351015 w 7467600"/>
              <a:gd name="connsiteY484" fmla="*/ 3760989 h 6858000"/>
              <a:gd name="connsiteX485" fmla="*/ 5413780 w 7467600"/>
              <a:gd name="connsiteY485" fmla="*/ 2966265 h 6858000"/>
              <a:gd name="connsiteX486" fmla="*/ 5425627 w 7467600"/>
              <a:gd name="connsiteY486" fmla="*/ 2954192 h 6858000"/>
              <a:gd name="connsiteX487" fmla="*/ 6604735 w 7467600"/>
              <a:gd name="connsiteY487" fmla="*/ 2041381 h 6858000"/>
              <a:gd name="connsiteX488" fmla="*/ 7204487 w 7467600"/>
              <a:gd name="connsiteY488" fmla="*/ 2742112 h 6858000"/>
              <a:gd name="connsiteX489" fmla="*/ 7131592 w 7467600"/>
              <a:gd name="connsiteY489" fmla="*/ 2672096 h 6858000"/>
              <a:gd name="connsiteX490" fmla="*/ 6996344 w 7467600"/>
              <a:gd name="connsiteY490" fmla="*/ 2518310 h 6858000"/>
              <a:gd name="connsiteX491" fmla="*/ 6735495 w 7467600"/>
              <a:gd name="connsiteY491" fmla="*/ 2196890 h 6858000"/>
              <a:gd name="connsiteX492" fmla="*/ 6721901 w 7467600"/>
              <a:gd name="connsiteY492" fmla="*/ 2179274 h 6858000"/>
              <a:gd name="connsiteX493" fmla="*/ 6604735 w 7467600"/>
              <a:gd name="connsiteY493" fmla="*/ 2041381 h 6858000"/>
              <a:gd name="connsiteX494" fmla="*/ 6591670 w 7467600"/>
              <a:gd name="connsiteY494" fmla="*/ 1988277 h 6858000"/>
              <a:gd name="connsiteX495" fmla="*/ 6747349 w 7467600"/>
              <a:gd name="connsiteY495" fmla="*/ 2160069 h 6858000"/>
              <a:gd name="connsiteX496" fmla="*/ 6760943 w 7467600"/>
              <a:gd name="connsiteY496" fmla="*/ 2177686 h 6858000"/>
              <a:gd name="connsiteX497" fmla="*/ 7021065 w 7467600"/>
              <a:gd name="connsiteY497" fmla="*/ 2498102 h 6858000"/>
              <a:gd name="connsiteX498" fmla="*/ 7155223 w 7467600"/>
              <a:gd name="connsiteY498" fmla="*/ 2650386 h 6858000"/>
              <a:gd name="connsiteX499" fmla="*/ 7203167 w 7467600"/>
              <a:gd name="connsiteY499" fmla="*/ 2697288 h 6858000"/>
              <a:gd name="connsiteX500" fmla="*/ 6937703 w 7467600"/>
              <a:gd name="connsiteY500" fmla="*/ 2321981 h 6858000"/>
              <a:gd name="connsiteX501" fmla="*/ 6591670 w 7467600"/>
              <a:gd name="connsiteY501" fmla="*/ 1988277 h 6858000"/>
              <a:gd name="connsiteX502" fmla="*/ 5798671 w 7467600"/>
              <a:gd name="connsiteY502" fmla="*/ 1981601 h 6858000"/>
              <a:gd name="connsiteX503" fmla="*/ 5754709 w 7467600"/>
              <a:gd name="connsiteY503" fmla="*/ 2071454 h 6858000"/>
              <a:gd name="connsiteX504" fmla="*/ 5763044 w 7467600"/>
              <a:gd name="connsiteY504" fmla="*/ 2842206 h 6858000"/>
              <a:gd name="connsiteX505" fmla="*/ 5764974 w 7467600"/>
              <a:gd name="connsiteY505" fmla="*/ 2799609 h 6858000"/>
              <a:gd name="connsiteX506" fmla="*/ 5767665 w 7467600"/>
              <a:gd name="connsiteY506" fmla="*/ 2666409 h 6858000"/>
              <a:gd name="connsiteX507" fmla="*/ 5763055 w 7467600"/>
              <a:gd name="connsiteY507" fmla="*/ 2579705 h 6858000"/>
              <a:gd name="connsiteX508" fmla="*/ 5758079 w 7467600"/>
              <a:gd name="connsiteY508" fmla="*/ 2492508 h 6858000"/>
              <a:gd name="connsiteX509" fmla="*/ 5779325 w 7467600"/>
              <a:gd name="connsiteY509" fmla="*/ 2197069 h 6858000"/>
              <a:gd name="connsiteX510" fmla="*/ 5798671 w 7467600"/>
              <a:gd name="connsiteY510" fmla="*/ 1981601 h 6858000"/>
              <a:gd name="connsiteX511" fmla="*/ 5829202 w 7467600"/>
              <a:gd name="connsiteY511" fmla="*/ 1971679 h 6858000"/>
              <a:gd name="connsiteX512" fmla="*/ 5809558 w 7467600"/>
              <a:gd name="connsiteY512" fmla="*/ 2198043 h 6858000"/>
              <a:gd name="connsiteX513" fmla="*/ 5788653 w 7467600"/>
              <a:gd name="connsiteY513" fmla="*/ 2489430 h 6858000"/>
              <a:gd name="connsiteX514" fmla="*/ 5793439 w 7467600"/>
              <a:gd name="connsiteY514" fmla="*/ 2575235 h 6858000"/>
              <a:gd name="connsiteX515" fmla="*/ 5796837 w 7467600"/>
              <a:gd name="connsiteY515" fmla="*/ 2637633 h 6858000"/>
              <a:gd name="connsiteX516" fmla="*/ 5818614 w 7467600"/>
              <a:gd name="connsiteY516" fmla="*/ 2473055 h 6858000"/>
              <a:gd name="connsiteX517" fmla="*/ 5829202 w 7467600"/>
              <a:gd name="connsiteY517" fmla="*/ 1971679 h 6858000"/>
              <a:gd name="connsiteX518" fmla="*/ 5911389 w 7467600"/>
              <a:gd name="connsiteY518" fmla="*/ 1898371 h 6858000"/>
              <a:gd name="connsiteX519" fmla="*/ 6237627 w 7467600"/>
              <a:gd name="connsiteY519" fmla="*/ 2231921 h 6858000"/>
              <a:gd name="connsiteX520" fmla="*/ 5911389 w 7467600"/>
              <a:gd name="connsiteY520" fmla="*/ 1898371 h 6858000"/>
              <a:gd name="connsiteX521" fmla="*/ 6944437 w 7467600"/>
              <a:gd name="connsiteY521" fmla="*/ 1575402 h 6858000"/>
              <a:gd name="connsiteX522" fmla="*/ 6304730 w 7467600"/>
              <a:gd name="connsiteY522" fmla="*/ 1766654 h 6858000"/>
              <a:gd name="connsiteX523" fmla="*/ 6944437 w 7467600"/>
              <a:gd name="connsiteY523" fmla="*/ 1575402 h 6858000"/>
              <a:gd name="connsiteX524" fmla="*/ 7019523 w 7467600"/>
              <a:gd name="connsiteY524" fmla="*/ 1519450 h 6858000"/>
              <a:gd name="connsiteX525" fmla="*/ 6298091 w 7467600"/>
              <a:gd name="connsiteY525" fmla="*/ 1737122 h 6858000"/>
              <a:gd name="connsiteX526" fmla="*/ 7019523 w 7467600"/>
              <a:gd name="connsiteY526" fmla="*/ 1519450 h 6858000"/>
              <a:gd name="connsiteX527" fmla="*/ 2399523 w 7467600"/>
              <a:gd name="connsiteY527" fmla="*/ 1428234 h 6858000"/>
              <a:gd name="connsiteX528" fmla="*/ 2224982 w 7467600"/>
              <a:gd name="connsiteY528" fmla="*/ 1826201 h 6858000"/>
              <a:gd name="connsiteX529" fmla="*/ 2096099 w 7467600"/>
              <a:gd name="connsiteY529" fmla="*/ 2345900 h 6858000"/>
              <a:gd name="connsiteX530" fmla="*/ 2283317 w 7467600"/>
              <a:gd name="connsiteY530" fmla="*/ 1796925 h 6858000"/>
              <a:gd name="connsiteX531" fmla="*/ 2399523 w 7467600"/>
              <a:gd name="connsiteY531" fmla="*/ 1428234 h 6858000"/>
              <a:gd name="connsiteX532" fmla="*/ 2448558 w 7467600"/>
              <a:gd name="connsiteY532" fmla="*/ 1373435 h 6858000"/>
              <a:gd name="connsiteX533" fmla="*/ 2312521 w 7467600"/>
              <a:gd name="connsiteY533" fmla="*/ 1806140 h 6858000"/>
              <a:gd name="connsiteX534" fmla="*/ 2127533 w 7467600"/>
              <a:gd name="connsiteY534" fmla="*/ 2348380 h 6858000"/>
              <a:gd name="connsiteX535" fmla="*/ 2358080 w 7467600"/>
              <a:gd name="connsiteY535" fmla="*/ 1866134 h 6858000"/>
              <a:gd name="connsiteX536" fmla="*/ 2407436 w 7467600"/>
              <a:gd name="connsiteY536" fmla="*/ 1651070 h 6858000"/>
              <a:gd name="connsiteX537" fmla="*/ 2448558 w 7467600"/>
              <a:gd name="connsiteY537" fmla="*/ 1373435 h 6858000"/>
              <a:gd name="connsiteX538" fmla="*/ 278707 w 7467600"/>
              <a:gd name="connsiteY538" fmla="*/ 1352270 h 6858000"/>
              <a:gd name="connsiteX539" fmla="*/ 321570 w 7467600"/>
              <a:gd name="connsiteY539" fmla="*/ 1861610 h 6858000"/>
              <a:gd name="connsiteX540" fmla="*/ 294281 w 7467600"/>
              <a:gd name="connsiteY540" fmla="*/ 1440658 h 6858000"/>
              <a:gd name="connsiteX541" fmla="*/ 278707 w 7467600"/>
              <a:gd name="connsiteY541" fmla="*/ 1352270 h 6858000"/>
              <a:gd name="connsiteX542" fmla="*/ 1423821 w 7467600"/>
              <a:gd name="connsiteY542" fmla="*/ 1351958 h 6858000"/>
              <a:gd name="connsiteX543" fmla="*/ 1638521 w 7467600"/>
              <a:gd name="connsiteY543" fmla="*/ 1908470 h 6858000"/>
              <a:gd name="connsiteX544" fmla="*/ 1754199 w 7467600"/>
              <a:gd name="connsiteY544" fmla="*/ 2149284 h 6858000"/>
              <a:gd name="connsiteX545" fmla="*/ 1908359 w 7467600"/>
              <a:gd name="connsiteY545" fmla="*/ 2364988 h 6858000"/>
              <a:gd name="connsiteX546" fmla="*/ 1647661 w 7467600"/>
              <a:gd name="connsiteY546" fmla="*/ 1825945 h 6858000"/>
              <a:gd name="connsiteX547" fmla="*/ 1423821 w 7467600"/>
              <a:gd name="connsiteY547" fmla="*/ 1351958 h 6858000"/>
              <a:gd name="connsiteX548" fmla="*/ 1431890 w 7467600"/>
              <a:gd name="connsiteY548" fmla="*/ 1306475 h 6858000"/>
              <a:gd name="connsiteX549" fmla="*/ 1507597 w 7467600"/>
              <a:gd name="connsiteY549" fmla="*/ 1446132 h 6858000"/>
              <a:gd name="connsiteX550" fmla="*/ 1674586 w 7467600"/>
              <a:gd name="connsiteY550" fmla="*/ 1813832 h 6858000"/>
              <a:gd name="connsiteX551" fmla="*/ 1815950 w 7467600"/>
              <a:gd name="connsiteY551" fmla="*/ 2128564 h 6858000"/>
              <a:gd name="connsiteX552" fmla="*/ 1984242 w 7467600"/>
              <a:gd name="connsiteY552" fmla="*/ 2430829 h 6858000"/>
              <a:gd name="connsiteX553" fmla="*/ 2014023 w 7467600"/>
              <a:gd name="connsiteY553" fmla="*/ 2450995 h 6858000"/>
              <a:gd name="connsiteX554" fmla="*/ 1747337 w 7467600"/>
              <a:gd name="connsiteY554" fmla="*/ 1855264 h 6858000"/>
              <a:gd name="connsiteX555" fmla="*/ 1533749 w 7467600"/>
              <a:gd name="connsiteY555" fmla="*/ 1478656 h 6858000"/>
              <a:gd name="connsiteX556" fmla="*/ 1431890 w 7467600"/>
              <a:gd name="connsiteY556" fmla="*/ 1306475 h 6858000"/>
              <a:gd name="connsiteX557" fmla="*/ 5052692 w 7467600"/>
              <a:gd name="connsiteY557" fmla="*/ 1292994 h 6858000"/>
              <a:gd name="connsiteX558" fmla="*/ 5200661 w 7467600"/>
              <a:gd name="connsiteY558" fmla="*/ 1635186 h 6858000"/>
              <a:gd name="connsiteX559" fmla="*/ 5297138 w 7467600"/>
              <a:gd name="connsiteY559" fmla="*/ 1906351 h 6858000"/>
              <a:gd name="connsiteX560" fmla="*/ 5052692 w 7467600"/>
              <a:gd name="connsiteY560" fmla="*/ 1292994 h 6858000"/>
              <a:gd name="connsiteX561" fmla="*/ 5009948 w 7467600"/>
              <a:gd name="connsiteY561" fmla="*/ 1273619 h 6858000"/>
              <a:gd name="connsiteX562" fmla="*/ 5121777 w 7467600"/>
              <a:gd name="connsiteY562" fmla="*/ 1654213 h 6858000"/>
              <a:gd name="connsiteX563" fmla="*/ 5293545 w 7467600"/>
              <a:gd name="connsiteY563" fmla="*/ 2072247 h 6858000"/>
              <a:gd name="connsiteX564" fmla="*/ 5294042 w 7467600"/>
              <a:gd name="connsiteY564" fmla="*/ 2065019 h 6858000"/>
              <a:gd name="connsiteX565" fmla="*/ 5171936 w 7467600"/>
              <a:gd name="connsiteY565" fmla="*/ 1647613 h 6858000"/>
              <a:gd name="connsiteX566" fmla="*/ 5009948 w 7467600"/>
              <a:gd name="connsiteY566" fmla="*/ 1273619 h 6858000"/>
              <a:gd name="connsiteX567" fmla="*/ 655236 w 7467600"/>
              <a:gd name="connsiteY567" fmla="*/ 1268632 h 6858000"/>
              <a:gd name="connsiteX568" fmla="*/ 839521 w 7467600"/>
              <a:gd name="connsiteY568" fmla="*/ 1685315 h 6858000"/>
              <a:gd name="connsiteX569" fmla="*/ 1109416 w 7467600"/>
              <a:gd name="connsiteY569" fmla="*/ 2061663 h 6858000"/>
              <a:gd name="connsiteX570" fmla="*/ 1298300 w 7467600"/>
              <a:gd name="connsiteY570" fmla="*/ 2247742 h 6858000"/>
              <a:gd name="connsiteX571" fmla="*/ 1125871 w 7467600"/>
              <a:gd name="connsiteY571" fmla="*/ 1989513 h 6858000"/>
              <a:gd name="connsiteX572" fmla="*/ 981574 w 7467600"/>
              <a:gd name="connsiteY572" fmla="*/ 1783157 h 6858000"/>
              <a:gd name="connsiteX573" fmla="*/ 922198 w 7467600"/>
              <a:gd name="connsiteY573" fmla="*/ 1677437 h 6858000"/>
              <a:gd name="connsiteX574" fmla="*/ 869293 w 7467600"/>
              <a:gd name="connsiteY574" fmla="*/ 1583214 h 6858000"/>
              <a:gd name="connsiteX575" fmla="*/ 751431 w 7467600"/>
              <a:gd name="connsiteY575" fmla="*/ 1405731 h 6858000"/>
              <a:gd name="connsiteX576" fmla="*/ 655236 w 7467600"/>
              <a:gd name="connsiteY576" fmla="*/ 1268632 h 6858000"/>
              <a:gd name="connsiteX577" fmla="*/ 6516292 w 7467600"/>
              <a:gd name="connsiteY577" fmla="*/ 1263064 h 6858000"/>
              <a:gd name="connsiteX578" fmla="*/ 5736320 w 7467600"/>
              <a:gd name="connsiteY578" fmla="*/ 1501803 h 6858000"/>
              <a:gd name="connsiteX579" fmla="*/ 6516292 w 7467600"/>
              <a:gd name="connsiteY579" fmla="*/ 1263064 h 6858000"/>
              <a:gd name="connsiteX580" fmla="*/ 291466 w 7467600"/>
              <a:gd name="connsiteY580" fmla="*/ 1250369 h 6858000"/>
              <a:gd name="connsiteX581" fmla="*/ 323180 w 7467600"/>
              <a:gd name="connsiteY581" fmla="*/ 1435283 h 6858000"/>
              <a:gd name="connsiteX582" fmla="*/ 349381 w 7467600"/>
              <a:gd name="connsiteY582" fmla="*/ 1875041 h 6858000"/>
              <a:gd name="connsiteX583" fmla="*/ 374363 w 7467600"/>
              <a:gd name="connsiteY583" fmla="*/ 1506494 h 6858000"/>
              <a:gd name="connsiteX584" fmla="*/ 302168 w 7467600"/>
              <a:gd name="connsiteY584" fmla="*/ 1274495 h 6858000"/>
              <a:gd name="connsiteX585" fmla="*/ 291466 w 7467600"/>
              <a:gd name="connsiteY585" fmla="*/ 1250369 h 6858000"/>
              <a:gd name="connsiteX586" fmla="*/ 678222 w 7467600"/>
              <a:gd name="connsiteY586" fmla="*/ 1248670 h 6858000"/>
              <a:gd name="connsiteX587" fmla="*/ 775536 w 7467600"/>
              <a:gd name="connsiteY587" fmla="*/ 1388015 h 6858000"/>
              <a:gd name="connsiteX588" fmla="*/ 894529 w 7467600"/>
              <a:gd name="connsiteY588" fmla="*/ 1567739 h 6858000"/>
              <a:gd name="connsiteX589" fmla="*/ 948000 w 7467600"/>
              <a:gd name="connsiteY589" fmla="*/ 1663088 h 6858000"/>
              <a:gd name="connsiteX590" fmla="*/ 1006812 w 7467600"/>
              <a:gd name="connsiteY590" fmla="*/ 1767683 h 6858000"/>
              <a:gd name="connsiteX591" fmla="*/ 1149133 w 7467600"/>
              <a:gd name="connsiteY591" fmla="*/ 1971513 h 6858000"/>
              <a:gd name="connsiteX592" fmla="*/ 1333952 w 7467600"/>
              <a:gd name="connsiteY592" fmla="*/ 2251620 h 6858000"/>
              <a:gd name="connsiteX593" fmla="*/ 1337329 w 7467600"/>
              <a:gd name="connsiteY593" fmla="*/ 2258350 h 6858000"/>
              <a:gd name="connsiteX594" fmla="*/ 1014726 w 7467600"/>
              <a:gd name="connsiteY594" fmla="*/ 1615556 h 6858000"/>
              <a:gd name="connsiteX595" fmla="*/ 678222 w 7467600"/>
              <a:gd name="connsiteY595" fmla="*/ 1248670 h 6858000"/>
              <a:gd name="connsiteX596" fmla="*/ 6691602 w 7467600"/>
              <a:gd name="connsiteY596" fmla="*/ 1140573 h 6858000"/>
              <a:gd name="connsiteX597" fmla="*/ 6571100 w 7467600"/>
              <a:gd name="connsiteY597" fmla="*/ 1183662 h 6858000"/>
              <a:gd name="connsiteX598" fmla="*/ 6241687 w 7467600"/>
              <a:gd name="connsiteY598" fmla="*/ 1257600 h 6858000"/>
              <a:gd name="connsiteX599" fmla="*/ 5693009 w 7467600"/>
              <a:gd name="connsiteY599" fmla="*/ 1478256 h 6858000"/>
              <a:gd name="connsiteX600" fmla="*/ 6548420 w 7467600"/>
              <a:gd name="connsiteY600" fmla="*/ 1214599 h 6858000"/>
              <a:gd name="connsiteX601" fmla="*/ 6605473 w 7467600"/>
              <a:gd name="connsiteY601" fmla="*/ 1184686 h 6858000"/>
              <a:gd name="connsiteX602" fmla="*/ 6691602 w 7467600"/>
              <a:gd name="connsiteY602" fmla="*/ 1140573 h 6858000"/>
              <a:gd name="connsiteX603" fmla="*/ 4002475 w 7467600"/>
              <a:gd name="connsiteY603" fmla="*/ 1037802 h 6858000"/>
              <a:gd name="connsiteX604" fmla="*/ 4000324 w 7467600"/>
              <a:gd name="connsiteY604" fmla="*/ 1039362 h 6858000"/>
              <a:gd name="connsiteX605" fmla="*/ 4002862 w 7467600"/>
              <a:gd name="connsiteY605" fmla="*/ 1042866 h 6858000"/>
              <a:gd name="connsiteX606" fmla="*/ 4002475 w 7467600"/>
              <a:gd name="connsiteY606" fmla="*/ 1037802 h 6858000"/>
              <a:gd name="connsiteX607" fmla="*/ 506322 w 7467600"/>
              <a:gd name="connsiteY607" fmla="*/ 1020997 h 6858000"/>
              <a:gd name="connsiteX608" fmla="*/ 533068 w 7467600"/>
              <a:gd name="connsiteY608" fmla="*/ 1029409 h 6858000"/>
              <a:gd name="connsiteX609" fmla="*/ 1232525 w 7467600"/>
              <a:gd name="connsiteY609" fmla="*/ 1804675 h 6858000"/>
              <a:gd name="connsiteX610" fmla="*/ 1388858 w 7467600"/>
              <a:gd name="connsiteY610" fmla="*/ 2368011 h 6858000"/>
              <a:gd name="connsiteX611" fmla="*/ 1384098 w 7467600"/>
              <a:gd name="connsiteY611" fmla="*/ 2378125 h 6858000"/>
              <a:gd name="connsiteX612" fmla="*/ 1425393 w 7467600"/>
              <a:gd name="connsiteY612" fmla="*/ 2589124 h 6858000"/>
              <a:gd name="connsiteX613" fmla="*/ 1424001 w 7467600"/>
              <a:gd name="connsiteY613" fmla="*/ 2597541 h 6858000"/>
              <a:gd name="connsiteX614" fmla="*/ 2152729 w 7467600"/>
              <a:gd name="connsiteY614" fmla="*/ 2864487 h 6858000"/>
              <a:gd name="connsiteX615" fmla="*/ 2020609 w 7467600"/>
              <a:gd name="connsiteY615" fmla="*/ 2539671 h 6858000"/>
              <a:gd name="connsiteX616" fmla="*/ 2018920 w 7467600"/>
              <a:gd name="connsiteY616" fmla="*/ 2536309 h 6858000"/>
              <a:gd name="connsiteX617" fmla="*/ 1342441 w 7467600"/>
              <a:gd name="connsiteY617" fmla="*/ 1173017 h 6858000"/>
              <a:gd name="connsiteX618" fmla="*/ 1367925 w 7467600"/>
              <a:gd name="connsiteY618" fmla="*/ 1135648 h 6858000"/>
              <a:gd name="connsiteX619" fmla="*/ 1771401 w 7467600"/>
              <a:gd name="connsiteY619" fmla="*/ 1806673 h 6858000"/>
              <a:gd name="connsiteX620" fmla="*/ 1972385 w 7467600"/>
              <a:gd name="connsiteY620" fmla="*/ 2198735 h 6858000"/>
              <a:gd name="connsiteX621" fmla="*/ 2040892 w 7467600"/>
              <a:gd name="connsiteY621" fmla="*/ 2405205 h 6858000"/>
              <a:gd name="connsiteX622" fmla="*/ 2131689 w 7467600"/>
              <a:gd name="connsiteY622" fmla="*/ 1936926 h 6858000"/>
              <a:gd name="connsiteX623" fmla="*/ 2454820 w 7467600"/>
              <a:gd name="connsiteY623" fmla="*/ 1248808 h 6858000"/>
              <a:gd name="connsiteX624" fmla="*/ 2492512 w 7467600"/>
              <a:gd name="connsiteY624" fmla="*/ 1302920 h 6858000"/>
              <a:gd name="connsiteX625" fmla="*/ 2081216 w 7467600"/>
              <a:gd name="connsiteY625" fmla="*/ 2527513 h 6858000"/>
              <a:gd name="connsiteX626" fmla="*/ 2081211 w 7467600"/>
              <a:gd name="connsiteY626" fmla="*/ 2528916 h 6858000"/>
              <a:gd name="connsiteX627" fmla="*/ 2199067 w 7467600"/>
              <a:gd name="connsiteY627" fmla="*/ 2884061 h 6858000"/>
              <a:gd name="connsiteX628" fmla="*/ 3192586 w 7467600"/>
              <a:gd name="connsiteY628" fmla="*/ 3411496 h 6858000"/>
              <a:gd name="connsiteX629" fmla="*/ 3182620 w 7467600"/>
              <a:gd name="connsiteY629" fmla="*/ 3483279 h 6858000"/>
              <a:gd name="connsiteX630" fmla="*/ 2435119 w 7467600"/>
              <a:gd name="connsiteY630" fmla="*/ 3080173 h 6858000"/>
              <a:gd name="connsiteX631" fmla="*/ 2410152 w 7467600"/>
              <a:gd name="connsiteY631" fmla="*/ 3063751 h 6858000"/>
              <a:gd name="connsiteX632" fmla="*/ 2408099 w 7467600"/>
              <a:gd name="connsiteY632" fmla="*/ 3064403 h 6858000"/>
              <a:gd name="connsiteX633" fmla="*/ 2407218 w 7467600"/>
              <a:gd name="connsiteY633" fmla="*/ 3070324 h 6858000"/>
              <a:gd name="connsiteX634" fmla="*/ 2380138 w 7467600"/>
              <a:gd name="connsiteY634" fmla="*/ 3099341 h 6858000"/>
              <a:gd name="connsiteX635" fmla="*/ 1765923 w 7467600"/>
              <a:gd name="connsiteY635" fmla="*/ 3581043 h 6858000"/>
              <a:gd name="connsiteX636" fmla="*/ 1702258 w 7467600"/>
              <a:gd name="connsiteY636" fmla="*/ 3612286 h 6858000"/>
              <a:gd name="connsiteX637" fmla="*/ 1538370 w 7467600"/>
              <a:gd name="connsiteY637" fmla="*/ 3811804 h 6858000"/>
              <a:gd name="connsiteX638" fmla="*/ 542867 w 7467600"/>
              <a:gd name="connsiteY638" fmla="*/ 4944092 h 6858000"/>
              <a:gd name="connsiteX639" fmla="*/ 515800 w 7467600"/>
              <a:gd name="connsiteY639" fmla="*/ 4862180 h 6858000"/>
              <a:gd name="connsiteX640" fmla="*/ 909145 w 7467600"/>
              <a:gd name="connsiteY640" fmla="*/ 4199225 h 6858000"/>
              <a:gd name="connsiteX641" fmla="*/ 1214067 w 7467600"/>
              <a:gd name="connsiteY641" fmla="*/ 3908561 h 6858000"/>
              <a:gd name="connsiteX642" fmla="*/ 640967 w 7467600"/>
              <a:gd name="connsiteY642" fmla="*/ 4105601 h 6858000"/>
              <a:gd name="connsiteX643" fmla="*/ 112563 w 7467600"/>
              <a:gd name="connsiteY643" fmla="*/ 4396952 h 6858000"/>
              <a:gd name="connsiteX644" fmla="*/ 0 w 7467600"/>
              <a:gd name="connsiteY644" fmla="*/ 4466006 h 6858000"/>
              <a:gd name="connsiteX645" fmla="*/ 0 w 7467600"/>
              <a:gd name="connsiteY645" fmla="*/ 4233763 h 6858000"/>
              <a:gd name="connsiteX646" fmla="*/ 36881 w 7467600"/>
              <a:gd name="connsiteY646" fmla="*/ 4200118 h 6858000"/>
              <a:gd name="connsiteX647" fmla="*/ 910534 w 7467600"/>
              <a:gd name="connsiteY647" fmla="*/ 3629753 h 6858000"/>
              <a:gd name="connsiteX648" fmla="*/ 1578717 w 7467600"/>
              <a:gd name="connsiteY648" fmla="*/ 3575982 h 6858000"/>
              <a:gd name="connsiteX649" fmla="*/ 2338780 w 7467600"/>
              <a:gd name="connsiteY649" fmla="*/ 3033725 h 6858000"/>
              <a:gd name="connsiteX650" fmla="*/ 1807991 w 7467600"/>
              <a:gd name="connsiteY650" fmla="*/ 2807184 h 6858000"/>
              <a:gd name="connsiteX651" fmla="*/ 1416358 w 7467600"/>
              <a:gd name="connsiteY651" fmla="*/ 3112571 h 6858000"/>
              <a:gd name="connsiteX652" fmla="*/ 939066 w 7467600"/>
              <a:gd name="connsiteY652" fmla="*/ 3378798 h 6858000"/>
              <a:gd name="connsiteX653" fmla="*/ 115099 w 7467600"/>
              <a:gd name="connsiteY653" fmla="*/ 3607650 h 6858000"/>
              <a:gd name="connsiteX654" fmla="*/ 97284 w 7467600"/>
              <a:gd name="connsiteY654" fmla="*/ 3520393 h 6858000"/>
              <a:gd name="connsiteX655" fmla="*/ 922050 w 7467600"/>
              <a:gd name="connsiteY655" fmla="*/ 3074867 h 6858000"/>
              <a:gd name="connsiteX656" fmla="*/ 1405265 w 7467600"/>
              <a:gd name="connsiteY656" fmla="*/ 3016319 h 6858000"/>
              <a:gd name="connsiteX657" fmla="*/ 1407512 w 7467600"/>
              <a:gd name="connsiteY657" fmla="*/ 3018001 h 6858000"/>
              <a:gd name="connsiteX658" fmla="*/ 1726266 w 7467600"/>
              <a:gd name="connsiteY658" fmla="*/ 2777274 h 6858000"/>
              <a:gd name="connsiteX659" fmla="*/ 625390 w 7467600"/>
              <a:gd name="connsiteY659" fmla="*/ 2514541 h 6858000"/>
              <a:gd name="connsiteX660" fmla="*/ 619799 w 7467600"/>
              <a:gd name="connsiteY660" fmla="*/ 2527180 h 6858000"/>
              <a:gd name="connsiteX661" fmla="*/ 310030 w 7467600"/>
              <a:gd name="connsiteY661" fmla="*/ 2771818 h 6858000"/>
              <a:gd name="connsiteX662" fmla="*/ 173877 w 7467600"/>
              <a:gd name="connsiteY662" fmla="*/ 2937056 h 6858000"/>
              <a:gd name="connsiteX663" fmla="*/ 77889 w 7467600"/>
              <a:gd name="connsiteY663" fmla="*/ 3138440 h 6858000"/>
              <a:gd name="connsiteX664" fmla="*/ 0 w 7467600"/>
              <a:gd name="connsiteY664" fmla="*/ 3271395 h 6858000"/>
              <a:gd name="connsiteX665" fmla="*/ 0 w 7467600"/>
              <a:gd name="connsiteY665" fmla="*/ 3153002 h 6858000"/>
              <a:gd name="connsiteX666" fmla="*/ 2386 w 7467600"/>
              <a:gd name="connsiteY666" fmla="*/ 3149203 h 6858000"/>
              <a:gd name="connsiteX667" fmla="*/ 89753 w 7467600"/>
              <a:gd name="connsiteY667" fmla="*/ 2987702 h 6858000"/>
              <a:gd name="connsiteX668" fmla="*/ 76869 w 7467600"/>
              <a:gd name="connsiteY668" fmla="*/ 3005404 h 6858000"/>
              <a:gd name="connsiteX669" fmla="*/ 32049 w 7467600"/>
              <a:gd name="connsiteY669" fmla="*/ 3065814 h 6858000"/>
              <a:gd name="connsiteX670" fmla="*/ 0 w 7467600"/>
              <a:gd name="connsiteY670" fmla="*/ 3108744 h 6858000"/>
              <a:gd name="connsiteX671" fmla="*/ 0 w 7467600"/>
              <a:gd name="connsiteY671" fmla="*/ 3058059 h 6858000"/>
              <a:gd name="connsiteX672" fmla="*/ 7610 w 7467600"/>
              <a:gd name="connsiteY672" fmla="*/ 3047889 h 6858000"/>
              <a:gd name="connsiteX673" fmla="*/ 52419 w 7467600"/>
              <a:gd name="connsiteY673" fmla="*/ 2987479 h 6858000"/>
              <a:gd name="connsiteX674" fmla="*/ 59142 w 7467600"/>
              <a:gd name="connsiteY674" fmla="*/ 2978488 h 6858000"/>
              <a:gd name="connsiteX675" fmla="*/ 0 w 7467600"/>
              <a:gd name="connsiteY675" fmla="*/ 3015334 h 6858000"/>
              <a:gd name="connsiteX676" fmla="*/ 0 w 7467600"/>
              <a:gd name="connsiteY676" fmla="*/ 2914286 h 6858000"/>
              <a:gd name="connsiteX677" fmla="*/ 36383 w 7467600"/>
              <a:gd name="connsiteY677" fmla="*/ 2901128 h 6858000"/>
              <a:gd name="connsiteX678" fmla="*/ 156329 w 7467600"/>
              <a:gd name="connsiteY678" fmla="*/ 2840533 h 6858000"/>
              <a:gd name="connsiteX679" fmla="*/ 358355 w 7467600"/>
              <a:gd name="connsiteY679" fmla="*/ 2620471 h 6858000"/>
              <a:gd name="connsiteX680" fmla="*/ 510577 w 7467600"/>
              <a:gd name="connsiteY680" fmla="*/ 2501244 h 6858000"/>
              <a:gd name="connsiteX681" fmla="*/ 211967 w 7467600"/>
              <a:gd name="connsiteY681" fmla="*/ 2479171 h 6858000"/>
              <a:gd name="connsiteX682" fmla="*/ 0 w 7467600"/>
              <a:gd name="connsiteY682" fmla="*/ 2476398 h 6858000"/>
              <a:gd name="connsiteX683" fmla="*/ 0 w 7467600"/>
              <a:gd name="connsiteY683" fmla="*/ 2389189 h 6858000"/>
              <a:gd name="connsiteX684" fmla="*/ 103062 w 7467600"/>
              <a:gd name="connsiteY684" fmla="*/ 2389518 h 6858000"/>
              <a:gd name="connsiteX685" fmla="*/ 510734 w 7467600"/>
              <a:gd name="connsiteY685" fmla="*/ 2416201 h 6858000"/>
              <a:gd name="connsiteX686" fmla="*/ 279257 w 7467600"/>
              <a:gd name="connsiteY686" fmla="*/ 2092102 h 6858000"/>
              <a:gd name="connsiteX687" fmla="*/ 65265 w 7467600"/>
              <a:gd name="connsiteY687" fmla="*/ 2006049 h 6858000"/>
              <a:gd name="connsiteX688" fmla="*/ 0 w 7467600"/>
              <a:gd name="connsiteY688" fmla="*/ 1982532 h 6858000"/>
              <a:gd name="connsiteX689" fmla="*/ 0 w 7467600"/>
              <a:gd name="connsiteY689" fmla="*/ 1912789 h 6858000"/>
              <a:gd name="connsiteX690" fmla="*/ 97460 w 7467600"/>
              <a:gd name="connsiteY690" fmla="*/ 1953725 h 6858000"/>
              <a:gd name="connsiteX691" fmla="*/ 221272 w 7467600"/>
              <a:gd name="connsiteY691" fmla="*/ 1980766 h 6858000"/>
              <a:gd name="connsiteX692" fmla="*/ 116765 w 7467600"/>
              <a:gd name="connsiteY692" fmla="*/ 1911033 h 6858000"/>
              <a:gd name="connsiteX693" fmla="*/ 16405 w 7467600"/>
              <a:gd name="connsiteY693" fmla="*/ 1803412 h 6858000"/>
              <a:gd name="connsiteX694" fmla="*/ 0 w 7467600"/>
              <a:gd name="connsiteY694" fmla="*/ 1784777 h 6858000"/>
              <a:gd name="connsiteX695" fmla="*/ 0 w 7467600"/>
              <a:gd name="connsiteY695" fmla="*/ 1740082 h 6858000"/>
              <a:gd name="connsiteX696" fmla="*/ 39394 w 7467600"/>
              <a:gd name="connsiteY696" fmla="*/ 1784856 h 6858000"/>
              <a:gd name="connsiteX697" fmla="*/ 135813 w 7467600"/>
              <a:gd name="connsiteY697" fmla="*/ 1888838 h 6858000"/>
              <a:gd name="connsiteX698" fmla="*/ 242575 w 7467600"/>
              <a:gd name="connsiteY698" fmla="*/ 1958841 h 6858000"/>
              <a:gd name="connsiteX699" fmla="*/ 82197 w 7467600"/>
              <a:gd name="connsiteY699" fmla="*/ 1754826 h 6858000"/>
              <a:gd name="connsiteX700" fmla="*/ 0 w 7467600"/>
              <a:gd name="connsiteY700" fmla="*/ 1679650 h 6858000"/>
              <a:gd name="connsiteX701" fmla="*/ 0 w 7467600"/>
              <a:gd name="connsiteY701" fmla="*/ 1602463 h 6858000"/>
              <a:gd name="connsiteX702" fmla="*/ 84689 w 7467600"/>
              <a:gd name="connsiteY702" fmla="*/ 1677442 h 6858000"/>
              <a:gd name="connsiteX703" fmla="*/ 298437 w 7467600"/>
              <a:gd name="connsiteY703" fmla="*/ 1968019 h 6858000"/>
              <a:gd name="connsiteX704" fmla="*/ 227269 w 7467600"/>
              <a:gd name="connsiteY704" fmla="*/ 1114064 h 6858000"/>
              <a:gd name="connsiteX705" fmla="*/ 248003 w 7467600"/>
              <a:gd name="connsiteY705" fmla="*/ 1089613 h 6858000"/>
              <a:gd name="connsiteX706" fmla="*/ 427020 w 7467600"/>
              <a:gd name="connsiteY706" fmla="*/ 1619803 h 6858000"/>
              <a:gd name="connsiteX707" fmla="*/ 340345 w 7467600"/>
              <a:gd name="connsiteY707" fmla="*/ 2027739 h 6858000"/>
              <a:gd name="connsiteX708" fmla="*/ 360865 w 7467600"/>
              <a:gd name="connsiteY708" fmla="*/ 2044827 h 6858000"/>
              <a:gd name="connsiteX709" fmla="*/ 560414 w 7467600"/>
              <a:gd name="connsiteY709" fmla="*/ 2421457 h 6858000"/>
              <a:gd name="connsiteX710" fmla="*/ 1359703 w 7467600"/>
              <a:gd name="connsiteY710" fmla="*/ 2578554 h 6858000"/>
              <a:gd name="connsiteX711" fmla="*/ 1359422 w 7467600"/>
              <a:gd name="connsiteY711" fmla="*/ 2577994 h 6858000"/>
              <a:gd name="connsiteX712" fmla="*/ 828701 w 7467600"/>
              <a:gd name="connsiteY712" fmla="*/ 1839520 h 6858000"/>
              <a:gd name="connsiteX713" fmla="*/ 494427 w 7467600"/>
              <a:gd name="connsiteY713" fmla="*/ 1092333 h 6858000"/>
              <a:gd name="connsiteX714" fmla="*/ 506322 w 7467600"/>
              <a:gd name="connsiteY714" fmla="*/ 1020997 h 6858000"/>
              <a:gd name="connsiteX715" fmla="*/ 4570198 w 7467600"/>
              <a:gd name="connsiteY715" fmla="*/ 978081 h 6858000"/>
              <a:gd name="connsiteX716" fmla="*/ 4523691 w 7467600"/>
              <a:gd name="connsiteY716" fmla="*/ 1127776 h 6858000"/>
              <a:gd name="connsiteX717" fmla="*/ 4509875 w 7467600"/>
              <a:gd name="connsiteY717" fmla="*/ 1167552 h 6858000"/>
              <a:gd name="connsiteX718" fmla="*/ 4478168 w 7467600"/>
              <a:gd name="connsiteY718" fmla="*/ 1260735 h 6858000"/>
              <a:gd name="connsiteX719" fmla="*/ 4409309 w 7467600"/>
              <a:gd name="connsiteY719" fmla="*/ 1666996 h 6858000"/>
              <a:gd name="connsiteX720" fmla="*/ 4370031 w 7467600"/>
              <a:gd name="connsiteY720" fmla="*/ 1955666 h 6858000"/>
              <a:gd name="connsiteX721" fmla="*/ 4570198 w 7467600"/>
              <a:gd name="connsiteY721" fmla="*/ 978081 h 6858000"/>
              <a:gd name="connsiteX722" fmla="*/ 4557898 w 7467600"/>
              <a:gd name="connsiteY722" fmla="*/ 900011 h 6858000"/>
              <a:gd name="connsiteX723" fmla="*/ 4344840 w 7467600"/>
              <a:gd name="connsiteY723" fmla="*/ 1922038 h 6858000"/>
              <a:gd name="connsiteX724" fmla="*/ 4378710 w 7467600"/>
              <a:gd name="connsiteY724" fmla="*/ 1665516 h 6858000"/>
              <a:gd name="connsiteX725" fmla="*/ 4448798 w 7467600"/>
              <a:gd name="connsiteY725" fmla="*/ 1253024 h 6858000"/>
              <a:gd name="connsiteX726" fmla="*/ 4480315 w 7467600"/>
              <a:gd name="connsiteY726" fmla="*/ 1158454 h 6858000"/>
              <a:gd name="connsiteX727" fmla="*/ 4494133 w 7467600"/>
              <a:gd name="connsiteY727" fmla="*/ 1118676 h 6858000"/>
              <a:gd name="connsiteX728" fmla="*/ 4557898 w 7467600"/>
              <a:gd name="connsiteY728" fmla="*/ 900011 h 6858000"/>
              <a:gd name="connsiteX729" fmla="*/ 5870151 w 7467600"/>
              <a:gd name="connsiteY729" fmla="*/ 898890 h 6858000"/>
              <a:gd name="connsiteX730" fmla="*/ 5861335 w 7467600"/>
              <a:gd name="connsiteY730" fmla="*/ 899177 h 6858000"/>
              <a:gd name="connsiteX731" fmla="*/ 5843702 w 7467600"/>
              <a:gd name="connsiteY731" fmla="*/ 899748 h 6858000"/>
              <a:gd name="connsiteX732" fmla="*/ 5651107 w 7467600"/>
              <a:gd name="connsiteY732" fmla="*/ 920306 h 6858000"/>
              <a:gd name="connsiteX733" fmla="*/ 5459407 w 7467600"/>
              <a:gd name="connsiteY733" fmla="*/ 940975 h 6858000"/>
              <a:gd name="connsiteX734" fmla="*/ 5374846 w 7467600"/>
              <a:gd name="connsiteY734" fmla="*/ 941988 h 6858000"/>
              <a:gd name="connsiteX735" fmla="*/ 5256105 w 7467600"/>
              <a:gd name="connsiteY735" fmla="*/ 945632 h 6858000"/>
              <a:gd name="connsiteX736" fmla="*/ 5107071 w 7467600"/>
              <a:gd name="connsiteY736" fmla="*/ 969720 h 6858000"/>
              <a:gd name="connsiteX737" fmla="*/ 4998681 w 7467600"/>
              <a:gd name="connsiteY737" fmla="*/ 988771 h 6858000"/>
              <a:gd name="connsiteX738" fmla="*/ 5870151 w 7467600"/>
              <a:gd name="connsiteY738" fmla="*/ 898890 h 6858000"/>
              <a:gd name="connsiteX739" fmla="*/ 5504425 w 7467600"/>
              <a:gd name="connsiteY739" fmla="*/ 848067 h 6858000"/>
              <a:gd name="connsiteX740" fmla="*/ 4968849 w 7467600"/>
              <a:gd name="connsiteY740" fmla="*/ 962318 h 6858000"/>
              <a:gd name="connsiteX741" fmla="*/ 5104039 w 7467600"/>
              <a:gd name="connsiteY741" fmla="*/ 940634 h 6858000"/>
              <a:gd name="connsiteX742" fmla="*/ 5256311 w 7467600"/>
              <a:gd name="connsiteY742" fmla="*/ 916490 h 6858000"/>
              <a:gd name="connsiteX743" fmla="*/ 5377381 w 7467600"/>
              <a:gd name="connsiteY743" fmla="*/ 912671 h 6858000"/>
              <a:gd name="connsiteX744" fmla="*/ 5460148 w 7467600"/>
              <a:gd name="connsiteY744" fmla="*/ 911442 h 6858000"/>
              <a:gd name="connsiteX745" fmla="*/ 5648971 w 7467600"/>
              <a:gd name="connsiteY745" fmla="*/ 891331 h 6858000"/>
              <a:gd name="connsiteX746" fmla="*/ 5844807 w 7467600"/>
              <a:gd name="connsiteY746" fmla="*/ 870718 h 6858000"/>
              <a:gd name="connsiteX747" fmla="*/ 5862975 w 7467600"/>
              <a:gd name="connsiteY747" fmla="*/ 869756 h 6858000"/>
              <a:gd name="connsiteX748" fmla="*/ 5920887 w 7467600"/>
              <a:gd name="connsiteY748" fmla="*/ 865929 h 6858000"/>
              <a:gd name="connsiteX749" fmla="*/ 5504425 w 7467600"/>
              <a:gd name="connsiteY749" fmla="*/ 848067 h 6858000"/>
              <a:gd name="connsiteX750" fmla="*/ 3607114 w 7467600"/>
              <a:gd name="connsiteY750" fmla="*/ 467441 h 6858000"/>
              <a:gd name="connsiteX751" fmla="*/ 3296242 w 7467600"/>
              <a:gd name="connsiteY751" fmla="*/ 807991 h 6858000"/>
              <a:gd name="connsiteX752" fmla="*/ 3174674 w 7467600"/>
              <a:gd name="connsiteY752" fmla="*/ 919759 h 6858000"/>
              <a:gd name="connsiteX753" fmla="*/ 3042978 w 7467600"/>
              <a:gd name="connsiteY753" fmla="*/ 1054894 h 6858000"/>
              <a:gd name="connsiteX754" fmla="*/ 2968914 w 7467600"/>
              <a:gd name="connsiteY754" fmla="*/ 1133756 h 6858000"/>
              <a:gd name="connsiteX755" fmla="*/ 3103823 w 7467600"/>
              <a:gd name="connsiteY755" fmla="*/ 1026814 h 6858000"/>
              <a:gd name="connsiteX756" fmla="*/ 3607114 w 7467600"/>
              <a:gd name="connsiteY756" fmla="*/ 467441 h 6858000"/>
              <a:gd name="connsiteX757" fmla="*/ 3744487 w 7467600"/>
              <a:gd name="connsiteY757" fmla="*/ 383136 h 6858000"/>
              <a:gd name="connsiteX758" fmla="*/ 3970213 w 7467600"/>
              <a:gd name="connsiteY758" fmla="*/ 995559 h 6858000"/>
              <a:gd name="connsiteX759" fmla="*/ 3744487 w 7467600"/>
              <a:gd name="connsiteY759" fmla="*/ 383136 h 6858000"/>
              <a:gd name="connsiteX760" fmla="*/ 3624562 w 7467600"/>
              <a:gd name="connsiteY760" fmla="*/ 367041 h 6858000"/>
              <a:gd name="connsiteX761" fmla="*/ 3489712 w 7467600"/>
              <a:gd name="connsiteY761" fmla="*/ 485386 h 6858000"/>
              <a:gd name="connsiteX762" fmla="*/ 3182994 w 7467600"/>
              <a:gd name="connsiteY762" fmla="*/ 828265 h 6858000"/>
              <a:gd name="connsiteX763" fmla="*/ 2892114 w 7467600"/>
              <a:gd name="connsiteY763" fmla="*/ 1172635 h 6858000"/>
              <a:gd name="connsiteX764" fmla="*/ 3021459 w 7467600"/>
              <a:gd name="connsiteY764" fmla="*/ 1035385 h 6858000"/>
              <a:gd name="connsiteX765" fmla="*/ 3153873 w 7467600"/>
              <a:gd name="connsiteY765" fmla="*/ 898971 h 6858000"/>
              <a:gd name="connsiteX766" fmla="*/ 3276511 w 7467600"/>
              <a:gd name="connsiteY766" fmla="*/ 786423 h 6858000"/>
              <a:gd name="connsiteX767" fmla="*/ 3584154 w 7467600"/>
              <a:gd name="connsiteY767" fmla="*/ 448218 h 6858000"/>
              <a:gd name="connsiteX768" fmla="*/ 3624562 w 7467600"/>
              <a:gd name="connsiteY768" fmla="*/ 367041 h 6858000"/>
              <a:gd name="connsiteX769" fmla="*/ 3766672 w 7467600"/>
              <a:gd name="connsiteY769" fmla="*/ 359429 h 6858000"/>
              <a:gd name="connsiteX770" fmla="*/ 3996338 w 7467600"/>
              <a:gd name="connsiteY770" fmla="*/ 968237 h 6858000"/>
              <a:gd name="connsiteX771" fmla="*/ 3766672 w 7467600"/>
              <a:gd name="connsiteY771" fmla="*/ 359429 h 6858000"/>
              <a:gd name="connsiteX772" fmla="*/ 5805386 w 7467600"/>
              <a:gd name="connsiteY772" fmla="*/ 239240 h 6858000"/>
              <a:gd name="connsiteX773" fmla="*/ 5736947 w 7467600"/>
              <a:gd name="connsiteY773" fmla="*/ 261367 h 6858000"/>
              <a:gd name="connsiteX774" fmla="*/ 5427012 w 7467600"/>
              <a:gd name="connsiteY774" fmla="*/ 311272 h 6858000"/>
              <a:gd name="connsiteX775" fmla="*/ 5147818 w 7467600"/>
              <a:gd name="connsiteY775" fmla="*/ 322112 h 6858000"/>
              <a:gd name="connsiteX776" fmla="*/ 5060854 w 7467600"/>
              <a:gd name="connsiteY776" fmla="*/ 311882 h 6858000"/>
              <a:gd name="connsiteX777" fmla="*/ 4945989 w 7467600"/>
              <a:gd name="connsiteY777" fmla="*/ 300516 h 6858000"/>
              <a:gd name="connsiteX778" fmla="*/ 5410479 w 7467600"/>
              <a:gd name="connsiteY778" fmla="*/ 348434 h 6858000"/>
              <a:gd name="connsiteX779" fmla="*/ 5805386 w 7467600"/>
              <a:gd name="connsiteY779" fmla="*/ 239240 h 6858000"/>
              <a:gd name="connsiteX780" fmla="*/ 5905192 w 7467600"/>
              <a:gd name="connsiteY780" fmla="*/ 163079 h 6858000"/>
              <a:gd name="connsiteX781" fmla="*/ 5865655 w 7467600"/>
              <a:gd name="connsiteY781" fmla="*/ 171901 h 6858000"/>
              <a:gd name="connsiteX782" fmla="*/ 5259740 w 7467600"/>
              <a:gd name="connsiteY782" fmla="*/ 257013 h 6858000"/>
              <a:gd name="connsiteX783" fmla="*/ 5208466 w 7467600"/>
              <a:gd name="connsiteY783" fmla="*/ 257550 h 6858000"/>
              <a:gd name="connsiteX784" fmla="*/ 4980204 w 7467600"/>
              <a:gd name="connsiteY784" fmla="*/ 271903 h 6858000"/>
              <a:gd name="connsiteX785" fmla="*/ 5068068 w 7467600"/>
              <a:gd name="connsiteY785" fmla="*/ 282244 h 6858000"/>
              <a:gd name="connsiteX786" fmla="*/ 5153231 w 7467600"/>
              <a:gd name="connsiteY786" fmla="*/ 292240 h 6858000"/>
              <a:gd name="connsiteX787" fmla="*/ 5426491 w 7467600"/>
              <a:gd name="connsiteY787" fmla="*/ 281128 h 6858000"/>
              <a:gd name="connsiteX788" fmla="*/ 5731212 w 7467600"/>
              <a:gd name="connsiteY788" fmla="*/ 231951 h 6858000"/>
              <a:gd name="connsiteX789" fmla="*/ 5905192 w 7467600"/>
              <a:gd name="connsiteY789" fmla="*/ 163079 h 6858000"/>
              <a:gd name="connsiteX790" fmla="*/ 5944437 w 7467600"/>
              <a:gd name="connsiteY790" fmla="*/ 113829 h 6858000"/>
              <a:gd name="connsiteX791" fmla="*/ 5825032 w 7467600"/>
              <a:gd name="connsiteY791" fmla="*/ 146405 h 6858000"/>
              <a:gd name="connsiteX792" fmla="*/ 4955599 w 7467600"/>
              <a:gd name="connsiteY792" fmla="*/ 247008 h 6858000"/>
              <a:gd name="connsiteX793" fmla="*/ 5210104 w 7467600"/>
              <a:gd name="connsiteY793" fmla="*/ 228123 h 6858000"/>
              <a:gd name="connsiteX794" fmla="*/ 5261015 w 7467600"/>
              <a:gd name="connsiteY794" fmla="*/ 227087 h 6858000"/>
              <a:gd name="connsiteX795" fmla="*/ 5861181 w 7467600"/>
              <a:gd name="connsiteY795" fmla="*/ 143093 h 6858000"/>
              <a:gd name="connsiteX796" fmla="*/ 5961252 w 7467600"/>
              <a:gd name="connsiteY796" fmla="*/ 114820 h 6858000"/>
              <a:gd name="connsiteX797" fmla="*/ 5944437 w 7467600"/>
              <a:gd name="connsiteY797" fmla="*/ 113829 h 6858000"/>
              <a:gd name="connsiteX798" fmla="*/ 3882765 w 7467600"/>
              <a:gd name="connsiteY798" fmla="*/ 0 h 6858000"/>
              <a:gd name="connsiteX799" fmla="*/ 3995099 w 7467600"/>
              <a:gd name="connsiteY799" fmla="*/ 0 h 6858000"/>
              <a:gd name="connsiteX800" fmla="*/ 4163818 w 7467600"/>
              <a:gd name="connsiteY800" fmla="*/ 234104 h 6858000"/>
              <a:gd name="connsiteX801" fmla="*/ 4172099 w 7467600"/>
              <a:gd name="connsiteY801" fmla="*/ 234207 h 6858000"/>
              <a:gd name="connsiteX802" fmla="*/ 4784282 w 7467600"/>
              <a:gd name="connsiteY802" fmla="*/ 276561 h 6858000"/>
              <a:gd name="connsiteX803" fmla="*/ 4801687 w 7467600"/>
              <a:gd name="connsiteY803" fmla="*/ 267764 h 6858000"/>
              <a:gd name="connsiteX804" fmla="*/ 6082788 w 7467600"/>
              <a:gd name="connsiteY804" fmla="*/ 64119 h 6858000"/>
              <a:gd name="connsiteX805" fmla="*/ 6099442 w 7467600"/>
              <a:gd name="connsiteY805" fmla="*/ 82568 h 6858000"/>
              <a:gd name="connsiteX806" fmla="*/ 4804137 w 7467600"/>
              <a:gd name="connsiteY806" fmla="*/ 320931 h 6858000"/>
              <a:gd name="connsiteX807" fmla="*/ 4227047 w 7467600"/>
              <a:gd name="connsiteY807" fmla="*/ 313415 h 6858000"/>
              <a:gd name="connsiteX808" fmla="*/ 4346041 w 7467600"/>
              <a:gd name="connsiteY808" fmla="*/ 456086 h 6858000"/>
              <a:gd name="connsiteX809" fmla="*/ 4870967 w 7467600"/>
              <a:gd name="connsiteY809" fmla="*/ 963061 h 6858000"/>
              <a:gd name="connsiteX810" fmla="*/ 4889647 w 7467600"/>
              <a:gd name="connsiteY810" fmla="*/ 957147 h 6858000"/>
              <a:gd name="connsiteX811" fmla="*/ 5422504 w 7467600"/>
              <a:gd name="connsiteY811" fmla="*/ 805191 h 6858000"/>
              <a:gd name="connsiteX812" fmla="*/ 6087656 w 7467600"/>
              <a:gd name="connsiteY812" fmla="*/ 826703 h 6858000"/>
              <a:gd name="connsiteX813" fmla="*/ 6058717 w 7467600"/>
              <a:gd name="connsiteY813" fmla="*/ 865992 h 6858000"/>
              <a:gd name="connsiteX814" fmla="*/ 4974153 w 7467600"/>
              <a:gd name="connsiteY814" fmla="*/ 1045456 h 6858000"/>
              <a:gd name="connsiteX815" fmla="*/ 5627835 w 7467600"/>
              <a:gd name="connsiteY815" fmla="*/ 1472077 h 6858000"/>
              <a:gd name="connsiteX816" fmla="*/ 5629817 w 7467600"/>
              <a:gd name="connsiteY816" fmla="*/ 1471412 h 6858000"/>
              <a:gd name="connsiteX817" fmla="*/ 5634124 w 7467600"/>
              <a:gd name="connsiteY817" fmla="*/ 1470572 h 6858000"/>
              <a:gd name="connsiteX818" fmla="*/ 5755832 w 7467600"/>
              <a:gd name="connsiteY818" fmla="*/ 1383886 h 6858000"/>
              <a:gd name="connsiteX819" fmla="*/ 6014186 w 7467600"/>
              <a:gd name="connsiteY819" fmla="*/ 1279799 h 6858000"/>
              <a:gd name="connsiteX820" fmla="*/ 6901619 w 7467600"/>
              <a:gd name="connsiteY820" fmla="*/ 1047874 h 6858000"/>
              <a:gd name="connsiteX821" fmla="*/ 6931566 w 7467600"/>
              <a:gd name="connsiteY821" fmla="*/ 1062034 h 6858000"/>
              <a:gd name="connsiteX822" fmla="*/ 5790982 w 7467600"/>
              <a:gd name="connsiteY822" fmla="*/ 1561380 h 6858000"/>
              <a:gd name="connsiteX823" fmla="*/ 6188971 w 7467600"/>
              <a:gd name="connsiteY823" fmla="*/ 1755168 h 6858000"/>
              <a:gd name="connsiteX824" fmla="*/ 6202446 w 7467600"/>
              <a:gd name="connsiteY824" fmla="*/ 1752268 h 6858000"/>
              <a:gd name="connsiteX825" fmla="*/ 7179560 w 7467600"/>
              <a:gd name="connsiteY825" fmla="*/ 1467551 h 6858000"/>
              <a:gd name="connsiteX826" fmla="*/ 7158730 w 7467600"/>
              <a:gd name="connsiteY826" fmla="*/ 1507835 h 6858000"/>
              <a:gd name="connsiteX827" fmla="*/ 6326959 w 7467600"/>
              <a:gd name="connsiteY827" fmla="*/ 1817686 h 6858000"/>
              <a:gd name="connsiteX828" fmla="*/ 6537433 w 7467600"/>
              <a:gd name="connsiteY828" fmla="*/ 1907790 h 6858000"/>
              <a:gd name="connsiteX829" fmla="*/ 6550221 w 7467600"/>
              <a:gd name="connsiteY829" fmla="*/ 1910729 h 6858000"/>
              <a:gd name="connsiteX830" fmla="*/ 6964438 w 7467600"/>
              <a:gd name="connsiteY830" fmla="*/ 2209505 h 6858000"/>
              <a:gd name="connsiteX831" fmla="*/ 7367862 w 7467600"/>
              <a:gd name="connsiteY831" fmla="*/ 2806833 h 6858000"/>
              <a:gd name="connsiteX832" fmla="*/ 7364329 w 7467600"/>
              <a:gd name="connsiteY832" fmla="*/ 2826907 h 6858000"/>
              <a:gd name="connsiteX833" fmla="*/ 7290545 w 7467600"/>
              <a:gd name="connsiteY833" fmla="*/ 2850663 h 6858000"/>
              <a:gd name="connsiteX834" fmla="*/ 6472036 w 7467600"/>
              <a:gd name="connsiteY834" fmla="*/ 1959003 h 6858000"/>
              <a:gd name="connsiteX835" fmla="*/ 5792897 w 7467600"/>
              <a:gd name="connsiteY835" fmla="*/ 1647747 h 6858000"/>
              <a:gd name="connsiteX836" fmla="*/ 5842751 w 7467600"/>
              <a:gd name="connsiteY836" fmla="*/ 1816112 h 6858000"/>
              <a:gd name="connsiteX837" fmla="*/ 5847424 w 7467600"/>
              <a:gd name="connsiteY837" fmla="*/ 1815776 h 6858000"/>
              <a:gd name="connsiteX838" fmla="*/ 6399821 w 7467600"/>
              <a:gd name="connsiteY838" fmla="*/ 2344799 h 6858000"/>
              <a:gd name="connsiteX839" fmla="*/ 6323232 w 7467600"/>
              <a:gd name="connsiteY839" fmla="*/ 2389634 h 6858000"/>
              <a:gd name="connsiteX840" fmla="*/ 5942958 w 7467600"/>
              <a:gd name="connsiteY840" fmla="*/ 2077708 h 6858000"/>
              <a:gd name="connsiteX841" fmla="*/ 5921559 w 7467600"/>
              <a:gd name="connsiteY841" fmla="*/ 2378596 h 6858000"/>
              <a:gd name="connsiteX842" fmla="*/ 5817651 w 7467600"/>
              <a:gd name="connsiteY842" fmla="*/ 3023919 h 6858000"/>
              <a:gd name="connsiteX843" fmla="*/ 5729634 w 7467600"/>
              <a:gd name="connsiteY843" fmla="*/ 3051849 h 6858000"/>
              <a:gd name="connsiteX844" fmla="*/ 5611018 w 7467600"/>
              <a:gd name="connsiteY844" fmla="*/ 2316769 h 6858000"/>
              <a:gd name="connsiteX845" fmla="*/ 5687608 w 7467600"/>
              <a:gd name="connsiteY845" fmla="*/ 2039972 h 6858000"/>
              <a:gd name="connsiteX846" fmla="*/ 5657554 w 7467600"/>
              <a:gd name="connsiteY846" fmla="*/ 1576445 h 6858000"/>
              <a:gd name="connsiteX847" fmla="*/ 5150475 w 7467600"/>
              <a:gd name="connsiteY847" fmla="*/ 1274012 h 6858000"/>
              <a:gd name="connsiteX848" fmla="*/ 5349142 w 7467600"/>
              <a:gd name="connsiteY848" fmla="*/ 2204405 h 6858000"/>
              <a:gd name="connsiteX849" fmla="*/ 5262214 w 7467600"/>
              <a:gd name="connsiteY849" fmla="*/ 2233836 h 6858000"/>
              <a:gd name="connsiteX850" fmla="*/ 4981539 w 7467600"/>
              <a:gd name="connsiteY850" fmla="*/ 1542201 h 6858000"/>
              <a:gd name="connsiteX851" fmla="*/ 4958461 w 7467600"/>
              <a:gd name="connsiteY851" fmla="*/ 1136957 h 6858000"/>
              <a:gd name="connsiteX852" fmla="*/ 4655015 w 7467600"/>
              <a:gd name="connsiteY852" fmla="*/ 891426 h 6858000"/>
              <a:gd name="connsiteX853" fmla="*/ 4348002 w 7467600"/>
              <a:gd name="connsiteY853" fmla="*/ 2205895 h 6858000"/>
              <a:gd name="connsiteX854" fmla="*/ 4262250 w 7467600"/>
              <a:gd name="connsiteY854" fmla="*/ 2219972 h 6858000"/>
              <a:gd name="connsiteX855" fmla="*/ 4550611 w 7467600"/>
              <a:gd name="connsiteY855" fmla="*/ 817540 h 6858000"/>
              <a:gd name="connsiteX856" fmla="*/ 4564418 w 7467600"/>
              <a:gd name="connsiteY856" fmla="*/ 808293 h 6858000"/>
              <a:gd name="connsiteX857" fmla="*/ 4266388 w 7467600"/>
              <a:gd name="connsiteY857" fmla="*/ 500083 h 6858000"/>
              <a:gd name="connsiteX858" fmla="*/ 4032842 w 7467600"/>
              <a:gd name="connsiteY858" fmla="*/ 211809 h 6858000"/>
              <a:gd name="connsiteX859" fmla="*/ 3882765 w 7467600"/>
              <a:gd name="connsiteY859" fmla="*/ 0 h 6858000"/>
              <a:gd name="connsiteX860" fmla="*/ 3721337 w 7467600"/>
              <a:gd name="connsiteY860" fmla="*/ 0 h 6858000"/>
              <a:gd name="connsiteX861" fmla="*/ 3797544 w 7467600"/>
              <a:gd name="connsiteY861" fmla="*/ 0 h 6858000"/>
              <a:gd name="connsiteX862" fmla="*/ 3775734 w 7467600"/>
              <a:gd name="connsiteY862" fmla="*/ 95131 h 6858000"/>
              <a:gd name="connsiteX863" fmla="*/ 3724807 w 7467600"/>
              <a:gd name="connsiteY863" fmla="*/ 272257 h 6858000"/>
              <a:gd name="connsiteX864" fmla="*/ 3726844 w 7467600"/>
              <a:gd name="connsiteY864" fmla="*/ 282988 h 6858000"/>
              <a:gd name="connsiteX865" fmla="*/ 3742664 w 7467600"/>
              <a:gd name="connsiteY865" fmla="*/ 279918 h 6858000"/>
              <a:gd name="connsiteX866" fmla="*/ 4103910 w 7467600"/>
              <a:gd name="connsiteY866" fmla="*/ 1161917 h 6858000"/>
              <a:gd name="connsiteX867" fmla="*/ 4020269 w 7467600"/>
              <a:gd name="connsiteY867" fmla="*/ 1200406 h 6858000"/>
              <a:gd name="connsiteX868" fmla="*/ 3674882 w 7467600"/>
              <a:gd name="connsiteY868" fmla="*/ 488524 h 6858000"/>
              <a:gd name="connsiteX869" fmla="*/ 3132682 w 7467600"/>
              <a:gd name="connsiteY869" fmla="*/ 1072284 h 6858000"/>
              <a:gd name="connsiteX870" fmla="*/ 2716346 w 7467600"/>
              <a:gd name="connsiteY870" fmla="*/ 1276376 h 6858000"/>
              <a:gd name="connsiteX871" fmla="*/ 2716772 w 7467600"/>
              <a:gd name="connsiteY871" fmla="*/ 1255462 h 6858000"/>
              <a:gd name="connsiteX872" fmla="*/ 3471096 w 7467600"/>
              <a:gd name="connsiteY872" fmla="*/ 437072 h 6858000"/>
              <a:gd name="connsiteX873" fmla="*/ 3639057 w 7467600"/>
              <a:gd name="connsiteY873" fmla="*/ 286334 h 6858000"/>
              <a:gd name="connsiteX874" fmla="*/ 3640309 w 7467600"/>
              <a:gd name="connsiteY874" fmla="*/ 284664 h 6858000"/>
              <a:gd name="connsiteX875" fmla="*/ 3646022 w 7467600"/>
              <a:gd name="connsiteY875" fmla="*/ 276711 h 6858000"/>
              <a:gd name="connsiteX876" fmla="*/ 3707943 w 7467600"/>
              <a:gd name="connsiteY876" fmla="*/ 65958 h 6858000"/>
              <a:gd name="connsiteX877" fmla="*/ 3721337 w 7467600"/>
              <a:gd name="connsiteY877" fmla="*/ 0 h 6858000"/>
              <a:gd name="connsiteX878" fmla="*/ 2867960 w 7467600"/>
              <a:gd name="connsiteY878" fmla="*/ 0 h 6858000"/>
              <a:gd name="connsiteX879" fmla="*/ 2926351 w 7467600"/>
              <a:gd name="connsiteY879" fmla="*/ 0 h 6858000"/>
              <a:gd name="connsiteX880" fmla="*/ 2902823 w 7467600"/>
              <a:gd name="connsiteY880" fmla="*/ 262929 h 6858000"/>
              <a:gd name="connsiteX881" fmla="*/ 2940663 w 7467600"/>
              <a:gd name="connsiteY881" fmla="*/ 140884 h 6858000"/>
              <a:gd name="connsiteX882" fmla="*/ 2947039 w 7467600"/>
              <a:gd name="connsiteY882" fmla="*/ 122524 h 6858000"/>
              <a:gd name="connsiteX883" fmla="*/ 2984316 w 7467600"/>
              <a:gd name="connsiteY883" fmla="*/ 0 h 6858000"/>
              <a:gd name="connsiteX884" fmla="*/ 3016114 w 7467600"/>
              <a:gd name="connsiteY884" fmla="*/ 0 h 6858000"/>
              <a:gd name="connsiteX885" fmla="*/ 2979949 w 7467600"/>
              <a:gd name="connsiteY885" fmla="*/ 119274 h 6858000"/>
              <a:gd name="connsiteX886" fmla="*/ 3023879 w 7467600"/>
              <a:gd name="connsiteY886" fmla="*/ 0 h 6858000"/>
              <a:gd name="connsiteX887" fmla="*/ 3105400 w 7467600"/>
              <a:gd name="connsiteY887" fmla="*/ 0 h 6858000"/>
              <a:gd name="connsiteX888" fmla="*/ 3094669 w 7467600"/>
              <a:gd name="connsiteY888" fmla="*/ 30308 h 6858000"/>
              <a:gd name="connsiteX889" fmla="*/ 2901945 w 7467600"/>
              <a:gd name="connsiteY889" fmla="*/ 466538 h 6858000"/>
              <a:gd name="connsiteX890" fmla="*/ 2815209 w 7467600"/>
              <a:gd name="connsiteY890" fmla="*/ 497361 h 6858000"/>
              <a:gd name="connsiteX891" fmla="*/ 2844845 w 7467600"/>
              <a:gd name="connsiteY891" fmla="*/ 127638 h 6858000"/>
              <a:gd name="connsiteX892" fmla="*/ 2867960 w 7467600"/>
              <a:gd name="connsiteY892" fmla="*/ 0 h 6858000"/>
              <a:gd name="connsiteX893" fmla="*/ 1057230 w 7467600"/>
              <a:gd name="connsiteY893" fmla="*/ 0 h 6858000"/>
              <a:gd name="connsiteX894" fmla="*/ 1111003 w 7467600"/>
              <a:gd name="connsiteY894" fmla="*/ 0 h 6858000"/>
              <a:gd name="connsiteX895" fmla="*/ 1125553 w 7467600"/>
              <a:gd name="connsiteY895" fmla="*/ 52588 h 6858000"/>
              <a:gd name="connsiteX896" fmla="*/ 1304276 w 7467600"/>
              <a:gd name="connsiteY896" fmla="*/ 476275 h 6858000"/>
              <a:gd name="connsiteX897" fmla="*/ 1492066 w 7467600"/>
              <a:gd name="connsiteY897" fmla="*/ 886333 h 6858000"/>
              <a:gd name="connsiteX898" fmla="*/ 1423698 w 7467600"/>
              <a:gd name="connsiteY898" fmla="*/ 710817 h 6858000"/>
              <a:gd name="connsiteX899" fmla="*/ 1357609 w 7467600"/>
              <a:gd name="connsiteY899" fmla="*/ 532892 h 6858000"/>
              <a:gd name="connsiteX900" fmla="*/ 1309550 w 7467600"/>
              <a:gd name="connsiteY900" fmla="*/ 374031 h 6858000"/>
              <a:gd name="connsiteX901" fmla="*/ 1193673 w 7467600"/>
              <a:gd name="connsiteY901" fmla="*/ 49533 h 6858000"/>
              <a:gd name="connsiteX902" fmla="*/ 1164391 w 7467600"/>
              <a:gd name="connsiteY902" fmla="*/ 0 h 6858000"/>
              <a:gd name="connsiteX903" fmla="*/ 1200666 w 7467600"/>
              <a:gd name="connsiteY903" fmla="*/ 0 h 6858000"/>
              <a:gd name="connsiteX904" fmla="*/ 1223408 w 7467600"/>
              <a:gd name="connsiteY904" fmla="*/ 38996 h 6858000"/>
              <a:gd name="connsiteX905" fmla="*/ 1339635 w 7467600"/>
              <a:gd name="connsiteY905" fmla="*/ 365517 h 6858000"/>
              <a:gd name="connsiteX906" fmla="*/ 1387469 w 7467600"/>
              <a:gd name="connsiteY906" fmla="*/ 523079 h 6858000"/>
              <a:gd name="connsiteX907" fmla="*/ 1452685 w 7467600"/>
              <a:gd name="connsiteY907" fmla="*/ 699806 h 6858000"/>
              <a:gd name="connsiteX908" fmla="*/ 1492092 w 7467600"/>
              <a:gd name="connsiteY908" fmla="*/ 800424 h 6858000"/>
              <a:gd name="connsiteX909" fmla="*/ 1455302 w 7467600"/>
              <a:gd name="connsiteY909" fmla="*/ 632913 h 6858000"/>
              <a:gd name="connsiteX910" fmla="*/ 1222336 w 7467600"/>
              <a:gd name="connsiteY910" fmla="*/ 9480 h 6858000"/>
              <a:gd name="connsiteX911" fmla="*/ 1214634 w 7467600"/>
              <a:gd name="connsiteY911" fmla="*/ 0 h 6858000"/>
              <a:gd name="connsiteX912" fmla="*/ 1289827 w 7467600"/>
              <a:gd name="connsiteY912" fmla="*/ 0 h 6858000"/>
              <a:gd name="connsiteX913" fmla="*/ 1321076 w 7467600"/>
              <a:gd name="connsiteY913" fmla="*/ 59722 h 6858000"/>
              <a:gd name="connsiteX914" fmla="*/ 1512579 w 7467600"/>
              <a:gd name="connsiteY914" fmla="*/ 626441 h 6858000"/>
              <a:gd name="connsiteX915" fmla="*/ 1506076 w 7467600"/>
              <a:gd name="connsiteY915" fmla="*/ 1089289 h 6858000"/>
              <a:gd name="connsiteX916" fmla="*/ 1486346 w 7467600"/>
              <a:gd name="connsiteY916" fmla="*/ 1079919 h 6858000"/>
              <a:gd name="connsiteX917" fmla="*/ 1070511 w 7467600"/>
              <a:gd name="connsiteY917" fmla="*/ 48609 h 6858000"/>
              <a:gd name="connsiteX918" fmla="*/ 1057230 w 7467600"/>
              <a:gd name="connsiteY918" fmla="*/ 0 h 6858000"/>
              <a:gd name="connsiteX919" fmla="*/ 43151 w 7467600"/>
              <a:gd name="connsiteY919" fmla="*/ 0 h 6858000"/>
              <a:gd name="connsiteX920" fmla="*/ 95283 w 7467600"/>
              <a:gd name="connsiteY920" fmla="*/ 0 h 6858000"/>
              <a:gd name="connsiteX921" fmla="*/ 300708 w 7467600"/>
              <a:gd name="connsiteY921" fmla="*/ 154571 h 6858000"/>
              <a:gd name="connsiteX922" fmla="*/ 530414 w 7467600"/>
              <a:gd name="connsiteY922" fmla="*/ 354673 h 6858000"/>
              <a:gd name="connsiteX923" fmla="*/ 333785 w 7467600"/>
              <a:gd name="connsiteY923" fmla="*/ 161564 h 6858000"/>
              <a:gd name="connsiteX924" fmla="*/ 147005 w 7467600"/>
              <a:gd name="connsiteY924" fmla="*/ 0 h 6858000"/>
              <a:gd name="connsiteX925" fmla="*/ 272509 w 7467600"/>
              <a:gd name="connsiteY925" fmla="*/ 0 h 6858000"/>
              <a:gd name="connsiteX926" fmla="*/ 326276 w 7467600"/>
              <a:gd name="connsiteY926" fmla="*/ 45847 h 6858000"/>
              <a:gd name="connsiteX927" fmla="*/ 823759 w 7467600"/>
              <a:gd name="connsiteY927" fmla="*/ 574145 h 6858000"/>
              <a:gd name="connsiteX928" fmla="*/ 811254 w 7467600"/>
              <a:gd name="connsiteY928" fmla="*/ 665546 h 6858000"/>
              <a:gd name="connsiteX929" fmla="*/ 154042 w 7467600"/>
              <a:gd name="connsiteY929" fmla="*/ 261522 h 6858000"/>
              <a:gd name="connsiteX930" fmla="*/ 13550 w 7467600"/>
              <a:gd name="connsiteY930" fmla="*/ 158423 h 6858000"/>
              <a:gd name="connsiteX931" fmla="*/ 0 w 7467600"/>
              <a:gd name="connsiteY931" fmla="*/ 146618 h 6858000"/>
              <a:gd name="connsiteX932" fmla="*/ 0 w 7467600"/>
              <a:gd name="connsiteY932" fmla="*/ 59161 h 6858000"/>
              <a:gd name="connsiteX933" fmla="*/ 45427 w 7467600"/>
              <a:gd name="connsiteY933" fmla="*/ 101078 h 6858000"/>
              <a:gd name="connsiteX934" fmla="*/ 630103 w 7467600"/>
              <a:gd name="connsiteY934" fmla="*/ 485885 h 6858000"/>
              <a:gd name="connsiteX935" fmla="*/ 532040 w 7467600"/>
              <a:gd name="connsiteY935" fmla="*/ 399359 h 6858000"/>
              <a:gd name="connsiteX936" fmla="*/ 517618 w 7467600"/>
              <a:gd name="connsiteY936" fmla="*/ 385726 h 6858000"/>
              <a:gd name="connsiteX937" fmla="*/ 285074 w 7467600"/>
              <a:gd name="connsiteY937" fmla="*/ 182755 h 6858000"/>
              <a:gd name="connsiteX938" fmla="*/ 43151 w 7467600"/>
              <a:gd name="connsiteY938" fmla="*/ 0 h 6858000"/>
              <a:gd name="connsiteX0" fmla="*/ 369702 w 7369701"/>
              <a:gd name="connsiteY0" fmla="*/ 6712169 h 6858000"/>
              <a:gd name="connsiteX1" fmla="*/ 366575 w 7369701"/>
              <a:gd name="connsiteY1" fmla="*/ 6715556 h 6858000"/>
              <a:gd name="connsiteX2" fmla="*/ 371637 w 7369701"/>
              <a:gd name="connsiteY2" fmla="*/ 6713954 h 6858000"/>
              <a:gd name="connsiteX3" fmla="*/ 369702 w 7369701"/>
              <a:gd name="connsiteY3" fmla="*/ 6712169 h 6858000"/>
              <a:gd name="connsiteX4" fmla="*/ 1019354 w 7369701"/>
              <a:gd name="connsiteY4" fmla="*/ 6315006 h 6858000"/>
              <a:gd name="connsiteX5" fmla="*/ 441046 w 7369701"/>
              <a:gd name="connsiteY5" fmla="*/ 6691153 h 6858000"/>
              <a:gd name="connsiteX6" fmla="*/ 1019354 w 7369701"/>
              <a:gd name="connsiteY6" fmla="*/ 6315006 h 6858000"/>
              <a:gd name="connsiteX7" fmla="*/ 991680 w 7369701"/>
              <a:gd name="connsiteY7" fmla="*/ 6298413 h 6858000"/>
              <a:gd name="connsiteX8" fmla="*/ 409060 w 7369701"/>
              <a:gd name="connsiteY8" fmla="*/ 6671470 h 6858000"/>
              <a:gd name="connsiteX9" fmla="*/ 991680 w 7369701"/>
              <a:gd name="connsiteY9" fmla="*/ 6298413 h 6858000"/>
              <a:gd name="connsiteX10" fmla="*/ 103333 w 7369701"/>
              <a:gd name="connsiteY10" fmla="*/ 5699602 h 6858000"/>
              <a:gd name="connsiteX11" fmla="*/ 233938 w 7369701"/>
              <a:gd name="connsiteY11" fmla="*/ 5809416 h 6858000"/>
              <a:gd name="connsiteX12" fmla="*/ 883580 w 7369701"/>
              <a:gd name="connsiteY12" fmla="*/ 6180710 h 6858000"/>
              <a:gd name="connsiteX13" fmla="*/ 487337 w 7369701"/>
              <a:gd name="connsiteY13" fmla="*/ 5950182 h 6858000"/>
              <a:gd name="connsiteX14" fmla="*/ 354051 w 7369701"/>
              <a:gd name="connsiteY14" fmla="*/ 5854912 h 6858000"/>
              <a:gd name="connsiteX15" fmla="*/ 195436 w 7369701"/>
              <a:gd name="connsiteY15" fmla="*/ 5755068 h 6858000"/>
              <a:gd name="connsiteX16" fmla="*/ 103333 w 7369701"/>
              <a:gd name="connsiteY16" fmla="*/ 5699602 h 6858000"/>
              <a:gd name="connsiteX17" fmla="*/ 5539432 w 7369701"/>
              <a:gd name="connsiteY17" fmla="*/ 5642928 h 6858000"/>
              <a:gd name="connsiteX18" fmla="*/ 5555462 w 7369701"/>
              <a:gd name="connsiteY18" fmla="*/ 5694454 h 6858000"/>
              <a:gd name="connsiteX19" fmla="*/ 5828270 w 7369701"/>
              <a:gd name="connsiteY19" fmla="*/ 6320663 h 6858000"/>
              <a:gd name="connsiteX20" fmla="*/ 5947416 w 7369701"/>
              <a:gd name="connsiteY20" fmla="*/ 6574846 h 6858000"/>
              <a:gd name="connsiteX21" fmla="*/ 5539432 w 7369701"/>
              <a:gd name="connsiteY21" fmla="*/ 5642928 h 6858000"/>
              <a:gd name="connsiteX22" fmla="*/ 51253 w 7369701"/>
              <a:gd name="connsiteY22" fmla="*/ 5631825 h 6858000"/>
              <a:gd name="connsiteX23" fmla="*/ 211622 w 7369701"/>
              <a:gd name="connsiteY23" fmla="*/ 5728803 h 6858000"/>
              <a:gd name="connsiteX24" fmla="*/ 371652 w 7369701"/>
              <a:gd name="connsiteY24" fmla="*/ 5829062 h 6858000"/>
              <a:gd name="connsiteX25" fmla="*/ 505903 w 7369701"/>
              <a:gd name="connsiteY25" fmla="*/ 5925221 h 6858000"/>
              <a:gd name="connsiteX26" fmla="*/ 899240 w 7369701"/>
              <a:gd name="connsiteY26" fmla="*/ 6153068 h 6858000"/>
              <a:gd name="connsiteX27" fmla="*/ 988114 w 7369701"/>
              <a:gd name="connsiteY27" fmla="*/ 6174204 h 6858000"/>
              <a:gd name="connsiteX28" fmla="*/ 845971 w 7369701"/>
              <a:gd name="connsiteY28" fmla="*/ 6067177 h 6858000"/>
              <a:gd name="connsiteX29" fmla="*/ 448057 w 7369701"/>
              <a:gd name="connsiteY29" fmla="*/ 5841376 h 6858000"/>
              <a:gd name="connsiteX30" fmla="*/ 51253 w 7369701"/>
              <a:gd name="connsiteY30" fmla="*/ 5631825 h 6858000"/>
              <a:gd name="connsiteX31" fmla="*/ 2606687 w 7369701"/>
              <a:gd name="connsiteY31" fmla="*/ 5630718 h 6858000"/>
              <a:gd name="connsiteX32" fmla="*/ 2645658 w 7369701"/>
              <a:gd name="connsiteY32" fmla="*/ 6640259 h 6858000"/>
              <a:gd name="connsiteX33" fmla="*/ 2606687 w 7369701"/>
              <a:gd name="connsiteY33" fmla="*/ 5630718 h 6858000"/>
              <a:gd name="connsiteX34" fmla="*/ 3642057 w 7369701"/>
              <a:gd name="connsiteY34" fmla="*/ 5573487 h 6858000"/>
              <a:gd name="connsiteX35" fmla="*/ 3632981 w 7369701"/>
              <a:gd name="connsiteY35" fmla="*/ 5579437 h 6858000"/>
              <a:gd name="connsiteX36" fmla="*/ 3382436 w 7369701"/>
              <a:gd name="connsiteY36" fmla="*/ 5952726 h 6858000"/>
              <a:gd name="connsiteX37" fmla="*/ 3191929 w 7369701"/>
              <a:gd name="connsiteY37" fmla="*/ 6662669 h 6858000"/>
              <a:gd name="connsiteX38" fmla="*/ 3369898 w 7369701"/>
              <a:gd name="connsiteY38" fmla="*/ 6081771 h 6858000"/>
              <a:gd name="connsiteX39" fmla="*/ 3642057 w 7369701"/>
              <a:gd name="connsiteY39" fmla="*/ 5573487 h 6858000"/>
              <a:gd name="connsiteX40" fmla="*/ 2650666 w 7369701"/>
              <a:gd name="connsiteY40" fmla="*/ 5530686 h 6858000"/>
              <a:gd name="connsiteX41" fmla="*/ 2650249 w 7369701"/>
              <a:gd name="connsiteY41" fmla="*/ 5532101 h 6858000"/>
              <a:gd name="connsiteX42" fmla="*/ 2663808 w 7369701"/>
              <a:gd name="connsiteY42" fmla="*/ 6535215 h 6858000"/>
              <a:gd name="connsiteX43" fmla="*/ 2665418 w 7369701"/>
              <a:gd name="connsiteY43" fmla="*/ 6132756 h 6858000"/>
              <a:gd name="connsiteX44" fmla="*/ 2650666 w 7369701"/>
              <a:gd name="connsiteY44" fmla="*/ 5530686 h 6858000"/>
              <a:gd name="connsiteX45" fmla="*/ 2680277 w 7369701"/>
              <a:gd name="connsiteY45" fmla="*/ 5479204 h 6858000"/>
              <a:gd name="connsiteX46" fmla="*/ 2678972 w 7369701"/>
              <a:gd name="connsiteY46" fmla="*/ 5481582 h 6858000"/>
              <a:gd name="connsiteX47" fmla="*/ 2696666 w 7369701"/>
              <a:gd name="connsiteY47" fmla="*/ 6133836 h 6858000"/>
              <a:gd name="connsiteX48" fmla="*/ 2695769 w 7369701"/>
              <a:gd name="connsiteY48" fmla="*/ 6390955 h 6858000"/>
              <a:gd name="connsiteX49" fmla="*/ 2739893 w 7369701"/>
              <a:gd name="connsiteY49" fmla="*/ 6108357 h 6858000"/>
              <a:gd name="connsiteX50" fmla="*/ 2680277 w 7369701"/>
              <a:gd name="connsiteY50" fmla="*/ 5479204 h 6858000"/>
              <a:gd name="connsiteX51" fmla="*/ 1132195 w 7369701"/>
              <a:gd name="connsiteY51" fmla="*/ 5467980 h 6858000"/>
              <a:gd name="connsiteX52" fmla="*/ 1679056 w 7369701"/>
              <a:gd name="connsiteY52" fmla="*/ 5516907 h 6858000"/>
              <a:gd name="connsiteX53" fmla="*/ 2128648 w 7369701"/>
              <a:gd name="connsiteY53" fmla="*/ 5474249 h 6858000"/>
              <a:gd name="connsiteX54" fmla="*/ 1825619 w 7369701"/>
              <a:gd name="connsiteY54" fmla="*/ 5478447 h 6858000"/>
              <a:gd name="connsiteX55" fmla="*/ 1737798 w 7369701"/>
              <a:gd name="connsiteY55" fmla="*/ 5483353 h 6858000"/>
              <a:gd name="connsiteX56" fmla="*/ 1132195 w 7369701"/>
              <a:gd name="connsiteY56" fmla="*/ 5467980 h 6858000"/>
              <a:gd name="connsiteX57" fmla="*/ 1456157 w 7369701"/>
              <a:gd name="connsiteY57" fmla="*/ 5371404 h 6858000"/>
              <a:gd name="connsiteX58" fmla="*/ 1244432 w 7369701"/>
              <a:gd name="connsiteY58" fmla="*/ 5385601 h 6858000"/>
              <a:gd name="connsiteX59" fmla="*/ 973990 w 7369701"/>
              <a:gd name="connsiteY59" fmla="*/ 5424940 h 6858000"/>
              <a:gd name="connsiteX60" fmla="*/ 1103809 w 7369701"/>
              <a:gd name="connsiteY60" fmla="*/ 5433720 h 6858000"/>
              <a:gd name="connsiteX61" fmla="*/ 1123454 w 7369701"/>
              <a:gd name="connsiteY61" fmla="*/ 5435727 h 6858000"/>
              <a:gd name="connsiteX62" fmla="*/ 1737017 w 7369701"/>
              <a:gd name="connsiteY62" fmla="*/ 5452183 h 6858000"/>
              <a:gd name="connsiteX63" fmla="*/ 1824397 w 7369701"/>
              <a:gd name="connsiteY63" fmla="*/ 5447757 h 6858000"/>
              <a:gd name="connsiteX64" fmla="*/ 2070059 w 7369701"/>
              <a:gd name="connsiteY64" fmla="*/ 5441660 h 6858000"/>
              <a:gd name="connsiteX65" fmla="*/ 1456157 w 7369701"/>
              <a:gd name="connsiteY65" fmla="*/ 5371404 h 6858000"/>
              <a:gd name="connsiteX66" fmla="*/ 4988186 w 7369701"/>
              <a:gd name="connsiteY66" fmla="*/ 5216467 h 6858000"/>
              <a:gd name="connsiteX67" fmla="*/ 4777334 w 7369701"/>
              <a:gd name="connsiteY67" fmla="*/ 5406072 h 6858000"/>
              <a:gd name="connsiteX68" fmla="*/ 4718341 w 7369701"/>
              <a:gd name="connsiteY68" fmla="*/ 5468043 h 6858000"/>
              <a:gd name="connsiteX69" fmla="*/ 4604655 w 7369701"/>
              <a:gd name="connsiteY69" fmla="*/ 5583434 h 6858000"/>
              <a:gd name="connsiteX70" fmla="*/ 4565074 w 7369701"/>
              <a:gd name="connsiteY70" fmla="*/ 5618550 h 6858000"/>
              <a:gd name="connsiteX71" fmla="*/ 4988186 w 7369701"/>
              <a:gd name="connsiteY71" fmla="*/ 5216467 h 6858000"/>
              <a:gd name="connsiteX72" fmla="*/ 4978032 w 7369701"/>
              <a:gd name="connsiteY72" fmla="*/ 5183809 h 6858000"/>
              <a:gd name="connsiteX73" fmla="*/ 4463413 w 7369701"/>
              <a:gd name="connsiteY73" fmla="*/ 5615162 h 6858000"/>
              <a:gd name="connsiteX74" fmla="*/ 4358134 w 7369701"/>
              <a:gd name="connsiteY74" fmla="*/ 5742791 h 6858000"/>
              <a:gd name="connsiteX75" fmla="*/ 4376219 w 7369701"/>
              <a:gd name="connsiteY75" fmla="*/ 5729027 h 6858000"/>
              <a:gd name="connsiteX76" fmla="*/ 4582340 w 7369701"/>
              <a:gd name="connsiteY76" fmla="*/ 5561037 h 6858000"/>
              <a:gd name="connsiteX77" fmla="*/ 4694684 w 7369701"/>
              <a:gd name="connsiteY77" fmla="*/ 5447098 h 6858000"/>
              <a:gd name="connsiteX78" fmla="*/ 4754123 w 7369701"/>
              <a:gd name="connsiteY78" fmla="*/ 5384643 h 6858000"/>
              <a:gd name="connsiteX79" fmla="*/ 4978032 w 7369701"/>
              <a:gd name="connsiteY79" fmla="*/ 5183809 h 6858000"/>
              <a:gd name="connsiteX80" fmla="*/ 1903353 w 7369701"/>
              <a:gd name="connsiteY80" fmla="*/ 5044827 h 6858000"/>
              <a:gd name="connsiteX81" fmla="*/ 1936931 w 7369701"/>
              <a:gd name="connsiteY81" fmla="*/ 5093954 h 6858000"/>
              <a:gd name="connsiteX82" fmla="*/ 2195868 w 7369701"/>
              <a:gd name="connsiteY82" fmla="*/ 5396574 h 6858000"/>
              <a:gd name="connsiteX83" fmla="*/ 2088852 w 7369701"/>
              <a:gd name="connsiteY83" fmla="*/ 5166123 h 6858000"/>
              <a:gd name="connsiteX84" fmla="*/ 1958241 w 7369701"/>
              <a:gd name="connsiteY84" fmla="*/ 5067955 h 6858000"/>
              <a:gd name="connsiteX85" fmla="*/ 1903353 w 7369701"/>
              <a:gd name="connsiteY85" fmla="*/ 5044827 h 6858000"/>
              <a:gd name="connsiteX86" fmla="*/ 1979378 w 7369701"/>
              <a:gd name="connsiteY86" fmla="*/ 4769504 h 6858000"/>
              <a:gd name="connsiteX87" fmla="*/ 2882120 w 7369701"/>
              <a:gd name="connsiteY87" fmla="*/ 5064547 h 6858000"/>
              <a:gd name="connsiteX88" fmla="*/ 2793103 w 7369701"/>
              <a:gd name="connsiteY88" fmla="*/ 5039699 h 6858000"/>
              <a:gd name="connsiteX89" fmla="*/ 2770041 w 7369701"/>
              <a:gd name="connsiteY89" fmla="*/ 5033634 h 6858000"/>
              <a:gd name="connsiteX90" fmla="*/ 1979378 w 7369701"/>
              <a:gd name="connsiteY90" fmla="*/ 4769504 h 6858000"/>
              <a:gd name="connsiteX91" fmla="*/ 1927410 w 7369701"/>
              <a:gd name="connsiteY91" fmla="*/ 4716164 h 6858000"/>
              <a:gd name="connsiteX92" fmla="*/ 1959587 w 7369701"/>
              <a:gd name="connsiteY92" fmla="*/ 4728849 h 6858000"/>
              <a:gd name="connsiteX93" fmla="*/ 2777707 w 7369701"/>
              <a:gd name="connsiteY93" fmla="*/ 5003991 h 6858000"/>
              <a:gd name="connsiteX94" fmla="*/ 2800768 w 7369701"/>
              <a:gd name="connsiteY94" fmla="*/ 5010056 h 6858000"/>
              <a:gd name="connsiteX95" fmla="*/ 2879408 w 7369701"/>
              <a:gd name="connsiteY95" fmla="*/ 5031590 h 6858000"/>
              <a:gd name="connsiteX96" fmla="*/ 2862295 w 7369701"/>
              <a:gd name="connsiteY96" fmla="*/ 5022958 h 6858000"/>
              <a:gd name="connsiteX97" fmla="*/ 2813343 w 7369701"/>
              <a:gd name="connsiteY97" fmla="*/ 4998369 h 6858000"/>
              <a:gd name="connsiteX98" fmla="*/ 2646245 w 7369701"/>
              <a:gd name="connsiteY98" fmla="*/ 4930999 h 6858000"/>
              <a:gd name="connsiteX99" fmla="*/ 1999243 w 7369701"/>
              <a:gd name="connsiteY99" fmla="*/ 4730524 h 6858000"/>
              <a:gd name="connsiteX100" fmla="*/ 1979527 w 7369701"/>
              <a:gd name="connsiteY100" fmla="*/ 4726651 h 6858000"/>
              <a:gd name="connsiteX101" fmla="*/ 1927410 w 7369701"/>
              <a:gd name="connsiteY101" fmla="*/ 4716164 h 6858000"/>
              <a:gd name="connsiteX102" fmla="*/ 1997014 w 7369701"/>
              <a:gd name="connsiteY102" fmla="*/ 4698007 h 6858000"/>
              <a:gd name="connsiteX103" fmla="*/ 2005458 w 7369701"/>
              <a:gd name="connsiteY103" fmla="*/ 4699540 h 6858000"/>
              <a:gd name="connsiteX104" fmla="*/ 2657186 w 7369701"/>
              <a:gd name="connsiteY104" fmla="*/ 4901687 h 6858000"/>
              <a:gd name="connsiteX105" fmla="*/ 2826662 w 7369701"/>
              <a:gd name="connsiteY105" fmla="*/ 4970362 h 6858000"/>
              <a:gd name="connsiteX106" fmla="*/ 2876100 w 7369701"/>
              <a:gd name="connsiteY106" fmla="*/ 4995397 h 6858000"/>
              <a:gd name="connsiteX107" fmla="*/ 3042600 w 7369701"/>
              <a:gd name="connsiteY107" fmla="*/ 5059532 h 6858000"/>
              <a:gd name="connsiteX108" fmla="*/ 1997014 w 7369701"/>
              <a:gd name="connsiteY108" fmla="*/ 4698007 h 6858000"/>
              <a:gd name="connsiteX109" fmla="*/ 2305292 w 7369701"/>
              <a:gd name="connsiteY109" fmla="*/ 4219492 h 6858000"/>
              <a:gd name="connsiteX110" fmla="*/ 3360922 w 7369701"/>
              <a:gd name="connsiteY110" fmla="*/ 4529373 h 6858000"/>
              <a:gd name="connsiteX111" fmla="*/ 3492420 w 7369701"/>
              <a:gd name="connsiteY111" fmla="*/ 4510145 h 6858000"/>
              <a:gd name="connsiteX112" fmla="*/ 3364086 w 7369701"/>
              <a:gd name="connsiteY112" fmla="*/ 4480340 h 6858000"/>
              <a:gd name="connsiteX113" fmla="*/ 3225818 w 7369701"/>
              <a:gd name="connsiteY113" fmla="*/ 4411822 h 6858000"/>
              <a:gd name="connsiteX114" fmla="*/ 3129696 w 7369701"/>
              <a:gd name="connsiteY114" fmla="*/ 4360704 h 6858000"/>
              <a:gd name="connsiteX115" fmla="*/ 2814545 w 7369701"/>
              <a:gd name="connsiteY115" fmla="*/ 4282955 h 6858000"/>
              <a:gd name="connsiteX116" fmla="*/ 2305292 w 7369701"/>
              <a:gd name="connsiteY116" fmla="*/ 4219492 h 6858000"/>
              <a:gd name="connsiteX117" fmla="*/ 2626982 w 7369701"/>
              <a:gd name="connsiteY117" fmla="*/ 4206450 h 6858000"/>
              <a:gd name="connsiteX118" fmla="*/ 2490617 w 7369701"/>
              <a:gd name="connsiteY118" fmla="*/ 4206951 h 6858000"/>
              <a:gd name="connsiteX119" fmla="*/ 2819869 w 7369701"/>
              <a:gd name="connsiteY119" fmla="*/ 4252936 h 6858000"/>
              <a:gd name="connsiteX120" fmla="*/ 3143018 w 7369701"/>
              <a:gd name="connsiteY120" fmla="*/ 4332698 h 6858000"/>
              <a:gd name="connsiteX121" fmla="*/ 3241520 w 7369701"/>
              <a:gd name="connsiteY121" fmla="*/ 4385112 h 6858000"/>
              <a:gd name="connsiteX122" fmla="*/ 3374575 w 7369701"/>
              <a:gd name="connsiteY122" fmla="*/ 4451517 h 6858000"/>
              <a:gd name="connsiteX123" fmla="*/ 3505221 w 7369701"/>
              <a:gd name="connsiteY123" fmla="*/ 4480757 h 6858000"/>
              <a:gd name="connsiteX124" fmla="*/ 2626982 w 7369701"/>
              <a:gd name="connsiteY124" fmla="*/ 4206450 h 6858000"/>
              <a:gd name="connsiteX125" fmla="*/ 1310106 w 7369701"/>
              <a:gd name="connsiteY125" fmla="*/ 3943217 h 6858000"/>
              <a:gd name="connsiteX126" fmla="*/ 854994 w 7369701"/>
              <a:gd name="connsiteY126" fmla="*/ 4399136 h 6858000"/>
              <a:gd name="connsiteX127" fmla="*/ 742462 w 7369701"/>
              <a:gd name="connsiteY127" fmla="*/ 4594648 h 6858000"/>
              <a:gd name="connsiteX128" fmla="*/ 820602 w 7369701"/>
              <a:gd name="connsiteY128" fmla="*/ 4485915 h 6858000"/>
              <a:gd name="connsiteX129" fmla="*/ 878295 w 7369701"/>
              <a:gd name="connsiteY129" fmla="*/ 4403594 h 6858000"/>
              <a:gd name="connsiteX130" fmla="*/ 1240607 w 7369701"/>
              <a:gd name="connsiteY130" fmla="*/ 4010401 h 6858000"/>
              <a:gd name="connsiteX131" fmla="*/ 1310106 w 7369701"/>
              <a:gd name="connsiteY131" fmla="*/ 3943217 h 6858000"/>
              <a:gd name="connsiteX132" fmla="*/ 1423113 w 7369701"/>
              <a:gd name="connsiteY132" fmla="*/ 3874565 h 6858000"/>
              <a:gd name="connsiteX133" fmla="*/ 1260565 w 7369701"/>
              <a:gd name="connsiteY133" fmla="*/ 4031982 h 6858000"/>
              <a:gd name="connsiteX134" fmla="*/ 901900 w 7369701"/>
              <a:gd name="connsiteY134" fmla="*/ 4421236 h 6858000"/>
              <a:gd name="connsiteX135" fmla="*/ 845044 w 7369701"/>
              <a:gd name="connsiteY135" fmla="*/ 4502436 h 6858000"/>
              <a:gd name="connsiteX136" fmla="*/ 685926 w 7369701"/>
              <a:gd name="connsiteY136" fmla="*/ 4703069 h 6858000"/>
              <a:gd name="connsiteX137" fmla="*/ 684248 w 7369701"/>
              <a:gd name="connsiteY137" fmla="*/ 4706721 h 6858000"/>
              <a:gd name="connsiteX138" fmla="*/ 1423113 w 7369701"/>
              <a:gd name="connsiteY138" fmla="*/ 3874565 h 6858000"/>
              <a:gd name="connsiteX139" fmla="*/ 3316479 w 7369701"/>
              <a:gd name="connsiteY139" fmla="*/ 3872136 h 6858000"/>
              <a:gd name="connsiteX140" fmla="*/ 3546806 w 7369701"/>
              <a:gd name="connsiteY140" fmla="*/ 4356139 h 6858000"/>
              <a:gd name="connsiteX141" fmla="*/ 3364433 w 7369701"/>
              <a:gd name="connsiteY141" fmla="*/ 3953121 h 6858000"/>
              <a:gd name="connsiteX142" fmla="*/ 3316479 w 7369701"/>
              <a:gd name="connsiteY142" fmla="*/ 3872136 h 6858000"/>
              <a:gd name="connsiteX143" fmla="*/ 3291335 w 7369701"/>
              <a:gd name="connsiteY143" fmla="*/ 3767420 h 6858000"/>
              <a:gd name="connsiteX144" fmla="*/ 3390805 w 7369701"/>
              <a:gd name="connsiteY144" fmla="*/ 3937163 h 6858000"/>
              <a:gd name="connsiteX145" fmla="*/ 3579062 w 7369701"/>
              <a:gd name="connsiteY145" fmla="*/ 4359040 h 6858000"/>
              <a:gd name="connsiteX146" fmla="*/ 3467355 w 7369701"/>
              <a:gd name="connsiteY146" fmla="*/ 3988130 h 6858000"/>
              <a:gd name="connsiteX147" fmla="*/ 3310753 w 7369701"/>
              <a:gd name="connsiteY147" fmla="*/ 3787140 h 6858000"/>
              <a:gd name="connsiteX148" fmla="*/ 3291335 w 7369701"/>
              <a:gd name="connsiteY148" fmla="*/ 3767420 h 6858000"/>
              <a:gd name="connsiteX149" fmla="*/ 1635889 w 7369701"/>
              <a:gd name="connsiteY149" fmla="*/ 3709494 h 6858000"/>
              <a:gd name="connsiteX150" fmla="*/ 1634800 w 7369701"/>
              <a:gd name="connsiteY150" fmla="*/ 3731111 h 6858000"/>
              <a:gd name="connsiteX151" fmla="*/ 1635889 w 7369701"/>
              <a:gd name="connsiteY151" fmla="*/ 3709494 h 6858000"/>
              <a:gd name="connsiteX152" fmla="*/ 1510397 w 7369701"/>
              <a:gd name="connsiteY152" fmla="*/ 3684705 h 6858000"/>
              <a:gd name="connsiteX153" fmla="*/ 1146550 w 7369701"/>
              <a:gd name="connsiteY153" fmla="*/ 3802012 h 6858000"/>
              <a:gd name="connsiteX154" fmla="*/ 698834 w 7369701"/>
              <a:gd name="connsiteY154" fmla="*/ 3952272 h 6858000"/>
              <a:gd name="connsiteX155" fmla="*/ 34256 w 7369701"/>
              <a:gd name="connsiteY155" fmla="*/ 4347603 h 6858000"/>
              <a:gd name="connsiteX156" fmla="*/ 527241 w 7369701"/>
              <a:gd name="connsiteY156" fmla="*/ 4065078 h 6858000"/>
              <a:gd name="connsiteX157" fmla="*/ 1510397 w 7369701"/>
              <a:gd name="connsiteY157" fmla="*/ 3684705 h 6858000"/>
              <a:gd name="connsiteX158" fmla="*/ 1313114 w 7369701"/>
              <a:gd name="connsiteY158" fmla="*/ 3655216 h 6858000"/>
              <a:gd name="connsiteX159" fmla="*/ 1109304 w 7369701"/>
              <a:gd name="connsiteY159" fmla="*/ 3669030 h 6858000"/>
              <a:gd name="connsiteX160" fmla="*/ 8129 w 7369701"/>
              <a:gd name="connsiteY160" fmla="*/ 4330519 h 6858000"/>
              <a:gd name="connsiteX161" fmla="*/ 687572 w 7369701"/>
              <a:gd name="connsiteY161" fmla="*/ 3925629 h 6858000"/>
              <a:gd name="connsiteX162" fmla="*/ 1138365 w 7369701"/>
              <a:gd name="connsiteY162" fmla="*/ 3774515 h 6858000"/>
              <a:gd name="connsiteX163" fmla="*/ 1505579 w 7369701"/>
              <a:gd name="connsiteY163" fmla="*/ 3655526 h 6858000"/>
              <a:gd name="connsiteX164" fmla="*/ 1313114 w 7369701"/>
              <a:gd name="connsiteY164" fmla="*/ 3655216 h 6858000"/>
              <a:gd name="connsiteX165" fmla="*/ 3655073 w 7369701"/>
              <a:gd name="connsiteY165" fmla="*/ 3650884 h 6858000"/>
              <a:gd name="connsiteX166" fmla="*/ 3989938 w 7369701"/>
              <a:gd name="connsiteY166" fmla="*/ 3991685 h 6858000"/>
              <a:gd name="connsiteX167" fmla="*/ 4393907 w 7369701"/>
              <a:gd name="connsiteY167" fmla="*/ 4261258 h 6858000"/>
              <a:gd name="connsiteX168" fmla="*/ 4648051 w 7369701"/>
              <a:gd name="connsiteY168" fmla="*/ 4374051 h 6858000"/>
              <a:gd name="connsiteX169" fmla="*/ 4383389 w 7369701"/>
              <a:gd name="connsiteY169" fmla="*/ 4184369 h 6858000"/>
              <a:gd name="connsiteX170" fmla="*/ 4165508 w 7369701"/>
              <a:gd name="connsiteY170" fmla="*/ 4035196 h 6858000"/>
              <a:gd name="connsiteX171" fmla="*/ 4068162 w 7369701"/>
              <a:gd name="connsiteY171" fmla="*/ 3953394 h 6858000"/>
              <a:gd name="connsiteX172" fmla="*/ 3981416 w 7369701"/>
              <a:gd name="connsiteY172" fmla="*/ 3880482 h 6858000"/>
              <a:gd name="connsiteX173" fmla="*/ 3800147 w 7369701"/>
              <a:gd name="connsiteY173" fmla="*/ 3749872 h 6858000"/>
              <a:gd name="connsiteX174" fmla="*/ 3655073 w 7369701"/>
              <a:gd name="connsiteY174" fmla="*/ 3650884 h 6858000"/>
              <a:gd name="connsiteX175" fmla="*/ 3670252 w 7369701"/>
              <a:gd name="connsiteY175" fmla="*/ 3622798 h 6858000"/>
              <a:gd name="connsiteX176" fmla="*/ 3817258 w 7369701"/>
              <a:gd name="connsiteY176" fmla="*/ 3723577 h 6858000"/>
              <a:gd name="connsiteX177" fmla="*/ 4000461 w 7369701"/>
              <a:gd name="connsiteY177" fmla="*/ 3855966 h 6858000"/>
              <a:gd name="connsiteX178" fmla="*/ 4088180 w 7369701"/>
              <a:gd name="connsiteY178" fmla="*/ 3929774 h 6858000"/>
              <a:gd name="connsiteX179" fmla="*/ 4184555 w 7369701"/>
              <a:gd name="connsiteY179" fmla="*/ 4010683 h 6858000"/>
              <a:gd name="connsiteX180" fmla="*/ 4399563 w 7369701"/>
              <a:gd name="connsiteY180" fmla="*/ 4158106 h 6858000"/>
              <a:gd name="connsiteX181" fmla="*/ 4684469 w 7369701"/>
              <a:gd name="connsiteY181" fmla="*/ 4364680 h 6858000"/>
              <a:gd name="connsiteX182" fmla="*/ 4690271 w 7369701"/>
              <a:gd name="connsiteY182" fmla="*/ 4370034 h 6858000"/>
              <a:gd name="connsiteX183" fmla="*/ 4136093 w 7369701"/>
              <a:gd name="connsiteY183" fmla="*/ 3858466 h 6858000"/>
              <a:gd name="connsiteX184" fmla="*/ 3670252 w 7369701"/>
              <a:gd name="connsiteY184" fmla="*/ 3622798 h 6858000"/>
              <a:gd name="connsiteX185" fmla="*/ 4440129 w 7369701"/>
              <a:gd name="connsiteY185" fmla="*/ 3448571 h 6858000"/>
              <a:gd name="connsiteX186" fmla="*/ 4856525 w 7369701"/>
              <a:gd name="connsiteY186" fmla="*/ 3915351 h 6858000"/>
              <a:gd name="connsiteX187" fmla="*/ 5059055 w 7369701"/>
              <a:gd name="connsiteY187" fmla="*/ 4108918 h 6858000"/>
              <a:gd name="connsiteX188" fmla="*/ 5290070 w 7369701"/>
              <a:gd name="connsiteY188" fmla="*/ 4263619 h 6858000"/>
              <a:gd name="connsiteX189" fmla="*/ 4834991 w 7369701"/>
              <a:gd name="connsiteY189" fmla="*/ 3830985 h 6858000"/>
              <a:gd name="connsiteX190" fmla="*/ 4440129 w 7369701"/>
              <a:gd name="connsiteY190" fmla="*/ 3448571 h 6858000"/>
              <a:gd name="connsiteX191" fmla="*/ 4441737 w 7369701"/>
              <a:gd name="connsiteY191" fmla="*/ 3399734 h 6858000"/>
              <a:gd name="connsiteX192" fmla="*/ 4431236 w 7369701"/>
              <a:gd name="connsiteY192" fmla="*/ 3400954 h 6858000"/>
              <a:gd name="connsiteX193" fmla="*/ 4557150 w 7369701"/>
              <a:gd name="connsiteY193" fmla="*/ 3510023 h 6858000"/>
              <a:gd name="connsiteX194" fmla="*/ 4856936 w 7369701"/>
              <a:gd name="connsiteY194" fmla="*/ 3809146 h 6858000"/>
              <a:gd name="connsiteX195" fmla="*/ 5111996 w 7369701"/>
              <a:gd name="connsiteY195" fmla="*/ 4065759 h 6858000"/>
              <a:gd name="connsiteX196" fmla="*/ 5388878 w 7369701"/>
              <a:gd name="connsiteY196" fmla="*/ 4300185 h 6858000"/>
              <a:gd name="connsiteX197" fmla="*/ 5425556 w 7369701"/>
              <a:gd name="connsiteY197" fmla="*/ 4308967 h 6858000"/>
              <a:gd name="connsiteX198" fmla="*/ 4943646 w 7369701"/>
              <a:gd name="connsiteY198" fmla="*/ 3822916 h 6858000"/>
              <a:gd name="connsiteX199" fmla="*/ 4594837 w 7369701"/>
              <a:gd name="connsiteY199" fmla="*/ 3532274 h 6858000"/>
              <a:gd name="connsiteX200" fmla="*/ 4441737 w 7369701"/>
              <a:gd name="connsiteY200" fmla="*/ 3399734 h 6858000"/>
              <a:gd name="connsiteX201" fmla="*/ 5425834 w 7369701"/>
              <a:gd name="connsiteY201" fmla="*/ 3162785 h 6858000"/>
              <a:gd name="connsiteX202" fmla="*/ 5401644 w 7369701"/>
              <a:gd name="connsiteY202" fmla="*/ 3617847 h 6858000"/>
              <a:gd name="connsiteX203" fmla="*/ 5467256 w 7369701"/>
              <a:gd name="connsiteY203" fmla="*/ 4175494 h 6858000"/>
              <a:gd name="connsiteX204" fmla="*/ 5448069 w 7369701"/>
              <a:gd name="connsiteY204" fmla="*/ 3567554 h 6858000"/>
              <a:gd name="connsiteX205" fmla="*/ 5425834 w 7369701"/>
              <a:gd name="connsiteY205" fmla="*/ 3162785 h 6858000"/>
              <a:gd name="connsiteX206" fmla="*/ 1318687 w 7369701"/>
              <a:gd name="connsiteY206" fmla="*/ 3113840 h 6858000"/>
              <a:gd name="connsiteX207" fmla="*/ 1066793 w 7369701"/>
              <a:gd name="connsiteY207" fmla="*/ 3212171 h 6858000"/>
              <a:gd name="connsiteX208" fmla="*/ 993319 w 7369701"/>
              <a:gd name="connsiteY208" fmla="*/ 3247648 h 6858000"/>
              <a:gd name="connsiteX209" fmla="*/ 853081 w 7369701"/>
              <a:gd name="connsiteY209" fmla="*/ 3312410 h 6858000"/>
              <a:gd name="connsiteX210" fmla="*/ 805957 w 7369701"/>
              <a:gd name="connsiteY210" fmla="*/ 3330443 h 6858000"/>
              <a:gd name="connsiteX211" fmla="*/ 1318687 w 7369701"/>
              <a:gd name="connsiteY211" fmla="*/ 3113840 h 6858000"/>
              <a:gd name="connsiteX212" fmla="*/ 5453702 w 7369701"/>
              <a:gd name="connsiteY212" fmla="*/ 3090882 h 6858000"/>
              <a:gd name="connsiteX213" fmla="*/ 5480135 w 7369701"/>
              <a:gd name="connsiteY213" fmla="*/ 3565802 h 6858000"/>
              <a:gd name="connsiteX214" fmla="*/ 5499023 w 7369701"/>
              <a:gd name="connsiteY214" fmla="*/ 4166310 h 6858000"/>
              <a:gd name="connsiteX215" fmla="*/ 5547022 w 7369701"/>
              <a:gd name="connsiteY215" fmla="*/ 3607838 h 6858000"/>
              <a:gd name="connsiteX216" fmla="*/ 5515964 w 7369701"/>
              <a:gd name="connsiteY216" fmla="*/ 3378541 h 6858000"/>
              <a:gd name="connsiteX217" fmla="*/ 5453702 w 7369701"/>
              <a:gd name="connsiteY217" fmla="*/ 3090882 h 6858000"/>
              <a:gd name="connsiteX218" fmla="*/ 1238695 w 7369701"/>
              <a:gd name="connsiteY218" fmla="*/ 3076820 h 6858000"/>
              <a:gd name="connsiteX219" fmla="*/ 716371 w 7369701"/>
              <a:gd name="connsiteY219" fmla="*/ 3293249 h 6858000"/>
              <a:gd name="connsiteX220" fmla="*/ 579522 w 7369701"/>
              <a:gd name="connsiteY220" fmla="*/ 3371759 h 6858000"/>
              <a:gd name="connsiteX221" fmla="*/ 600288 w 7369701"/>
              <a:gd name="connsiteY221" fmla="*/ 3365555 h 6858000"/>
              <a:gd name="connsiteX222" fmla="*/ 840692 w 7369701"/>
              <a:gd name="connsiteY222" fmla="*/ 3284921 h 6858000"/>
              <a:gd name="connsiteX223" fmla="*/ 979248 w 7369701"/>
              <a:gd name="connsiteY223" fmla="*/ 3221003 h 6858000"/>
              <a:gd name="connsiteX224" fmla="*/ 1053282 w 7369701"/>
              <a:gd name="connsiteY224" fmla="*/ 3185247 h 6858000"/>
              <a:gd name="connsiteX225" fmla="*/ 1320603 w 7369701"/>
              <a:gd name="connsiteY225" fmla="*/ 3081281 h 6858000"/>
              <a:gd name="connsiteX226" fmla="*/ 1238695 w 7369701"/>
              <a:gd name="connsiteY226" fmla="*/ 3076820 h 6858000"/>
              <a:gd name="connsiteX227" fmla="*/ 5425627 w 7369701"/>
              <a:gd name="connsiteY227" fmla="*/ 2954192 h 6858000"/>
              <a:gd name="connsiteX228" fmla="*/ 5470770 w 7369701"/>
              <a:gd name="connsiteY228" fmla="*/ 3005435 h 6858000"/>
              <a:gd name="connsiteX229" fmla="*/ 5519779 w 7369701"/>
              <a:gd name="connsiteY229" fmla="*/ 4359223 h 6858000"/>
              <a:gd name="connsiteX230" fmla="*/ 5520293 w 7369701"/>
              <a:gd name="connsiteY230" fmla="*/ 4360602 h 6858000"/>
              <a:gd name="connsiteX231" fmla="*/ 5767221 w 7369701"/>
              <a:gd name="connsiteY231" fmla="*/ 4665564 h 6858000"/>
              <a:gd name="connsiteX232" fmla="*/ 6937169 w 7369701"/>
              <a:gd name="connsiteY232" fmla="*/ 4815941 h 6858000"/>
              <a:gd name="connsiteX233" fmla="*/ 6953922 w 7369701"/>
              <a:gd name="connsiteY233" fmla="*/ 4890068 h 6858000"/>
              <a:gd name="connsiteX234" fmla="*/ 6071359 w 7369701"/>
              <a:gd name="connsiteY234" fmla="*/ 4770770 h 6858000"/>
              <a:gd name="connsiteX235" fmla="*/ 6038839 w 7369701"/>
              <a:gd name="connsiteY235" fmla="*/ 4764474 h 6858000"/>
              <a:gd name="connsiteX236" fmla="*/ 6038706 w 7369701"/>
              <a:gd name="connsiteY236" fmla="*/ 4763847 h 6858000"/>
              <a:gd name="connsiteX237" fmla="*/ 6037784 w 7369701"/>
              <a:gd name="connsiteY237" fmla="*/ 4764270 h 6858000"/>
              <a:gd name="connsiteX238" fmla="*/ 6038839 w 7369701"/>
              <a:gd name="connsiteY238" fmla="*/ 4764474 h 6858000"/>
              <a:gd name="connsiteX239" fmla="*/ 6040338 w 7369701"/>
              <a:gd name="connsiteY239" fmla="*/ 4771418 h 6858000"/>
              <a:gd name="connsiteX240" fmla="*/ 6024488 w 7369701"/>
              <a:gd name="connsiteY240" fmla="*/ 4809903 h 6858000"/>
              <a:gd name="connsiteX241" fmla="*/ 5599771 w 7369701"/>
              <a:gd name="connsiteY241" fmla="*/ 5509652 h 6858000"/>
              <a:gd name="connsiteX242" fmla="*/ 5548843 w 7369701"/>
              <a:gd name="connsiteY242" fmla="*/ 5563845 h 6858000"/>
              <a:gd name="connsiteX243" fmla="*/ 5940952 w 7369701"/>
              <a:gd name="connsiteY243" fmla="*/ 6250028 h 6858000"/>
              <a:gd name="connsiteX244" fmla="*/ 6043441 w 7369701"/>
              <a:gd name="connsiteY244" fmla="*/ 6665847 h 6858000"/>
              <a:gd name="connsiteX245" fmla="*/ 6093432 w 7369701"/>
              <a:gd name="connsiteY245" fmla="*/ 6858000 h 6858000"/>
              <a:gd name="connsiteX246" fmla="*/ 6034344 w 7369701"/>
              <a:gd name="connsiteY246" fmla="*/ 6858000 h 6858000"/>
              <a:gd name="connsiteX247" fmla="*/ 6026679 w 7369701"/>
              <a:gd name="connsiteY247" fmla="*/ 6836959 h 6858000"/>
              <a:gd name="connsiteX248" fmla="*/ 5800441 w 7369701"/>
              <a:gd name="connsiteY248" fmla="*/ 6335286 h 6858000"/>
              <a:gd name="connsiteX249" fmla="*/ 5526562 w 7369701"/>
              <a:gd name="connsiteY249" fmla="*/ 5705388 h 6858000"/>
              <a:gd name="connsiteX250" fmla="*/ 5519640 w 7369701"/>
              <a:gd name="connsiteY250" fmla="*/ 5683774 h 6858000"/>
              <a:gd name="connsiteX251" fmla="*/ 5844559 w 7369701"/>
              <a:gd name="connsiteY251" fmla="*/ 6553349 h 6858000"/>
              <a:gd name="connsiteX252" fmla="*/ 5975994 w 7369701"/>
              <a:gd name="connsiteY252" fmla="*/ 6858000 h 6858000"/>
              <a:gd name="connsiteX253" fmla="*/ 5898547 w 7369701"/>
              <a:gd name="connsiteY253" fmla="*/ 6858000 h 6858000"/>
              <a:gd name="connsiteX254" fmla="*/ 5682041 w 7369701"/>
              <a:gd name="connsiteY254" fmla="*/ 6355860 h 6858000"/>
              <a:gd name="connsiteX255" fmla="*/ 5461758 w 7369701"/>
              <a:gd name="connsiteY255" fmla="*/ 5820220 h 6858000"/>
              <a:gd name="connsiteX256" fmla="*/ 5237282 w 7369701"/>
              <a:gd name="connsiteY256" fmla="*/ 6579086 h 6858000"/>
              <a:gd name="connsiteX257" fmla="*/ 5115009 w 7369701"/>
              <a:gd name="connsiteY257" fmla="*/ 6858000 h 6858000"/>
              <a:gd name="connsiteX258" fmla="*/ 5028074 w 7369701"/>
              <a:gd name="connsiteY258" fmla="*/ 6858000 h 6858000"/>
              <a:gd name="connsiteX259" fmla="*/ 5079508 w 7369701"/>
              <a:gd name="connsiteY259" fmla="*/ 6749074 h 6858000"/>
              <a:gd name="connsiteX260" fmla="*/ 5371846 w 7369701"/>
              <a:gd name="connsiteY260" fmla="*/ 5924413 h 6858000"/>
              <a:gd name="connsiteX261" fmla="*/ 5270512 w 7369701"/>
              <a:gd name="connsiteY261" fmla="*/ 6138975 h 6858000"/>
              <a:gd name="connsiteX262" fmla="*/ 5062409 w 7369701"/>
              <a:gd name="connsiteY262" fmla="*/ 6653544 h 6858000"/>
              <a:gd name="connsiteX263" fmla="*/ 5036628 w 7369701"/>
              <a:gd name="connsiteY263" fmla="*/ 6754247 h 6858000"/>
              <a:gd name="connsiteX264" fmla="*/ 5009112 w 7369701"/>
              <a:gd name="connsiteY264" fmla="*/ 6858000 h 6858000"/>
              <a:gd name="connsiteX265" fmla="*/ 4976679 w 7369701"/>
              <a:gd name="connsiteY265" fmla="*/ 6858000 h 6858000"/>
              <a:gd name="connsiteX266" fmla="*/ 5006537 w 7369701"/>
              <a:gd name="connsiteY266" fmla="*/ 6747068 h 6858000"/>
              <a:gd name="connsiteX267" fmla="*/ 5032723 w 7369701"/>
              <a:gd name="connsiteY267" fmla="*/ 6644957 h 6858000"/>
              <a:gd name="connsiteX268" fmla="*/ 5242949 w 7369701"/>
              <a:gd name="connsiteY268" fmla="*/ 6125175 h 6858000"/>
              <a:gd name="connsiteX269" fmla="*/ 5286321 w 7369701"/>
              <a:gd name="connsiteY269" fmla="*/ 6033555 h 6858000"/>
              <a:gd name="connsiteX270" fmla="*/ 5008210 w 7369701"/>
              <a:gd name="connsiteY270" fmla="*/ 6649194 h 6858000"/>
              <a:gd name="connsiteX271" fmla="*/ 4986321 w 7369701"/>
              <a:gd name="connsiteY271" fmla="*/ 6765687 h 6858000"/>
              <a:gd name="connsiteX272" fmla="*/ 4973474 w 7369701"/>
              <a:gd name="connsiteY272" fmla="*/ 6858000 h 6858000"/>
              <a:gd name="connsiteX273" fmla="*/ 4907178 w 7369701"/>
              <a:gd name="connsiteY273" fmla="*/ 6858000 h 6858000"/>
              <a:gd name="connsiteX274" fmla="*/ 4910810 w 7369701"/>
              <a:gd name="connsiteY274" fmla="*/ 6829660 h 6858000"/>
              <a:gd name="connsiteX275" fmla="*/ 4987461 w 7369701"/>
              <a:gd name="connsiteY275" fmla="*/ 6432994 h 6858000"/>
              <a:gd name="connsiteX276" fmla="*/ 5179262 w 7369701"/>
              <a:gd name="connsiteY276" fmla="*/ 6035044 h 6858000"/>
              <a:gd name="connsiteX277" fmla="*/ 4689678 w 7369701"/>
              <a:gd name="connsiteY277" fmla="*/ 6440241 h 6858000"/>
              <a:gd name="connsiteX278" fmla="*/ 4477543 w 7369701"/>
              <a:gd name="connsiteY278" fmla="*/ 6674836 h 6858000"/>
              <a:gd name="connsiteX279" fmla="*/ 4329957 w 7369701"/>
              <a:gd name="connsiteY279" fmla="*/ 6858000 h 6858000"/>
              <a:gd name="connsiteX280" fmla="*/ 4218595 w 7369701"/>
              <a:gd name="connsiteY280" fmla="*/ 6858000 h 6858000"/>
              <a:gd name="connsiteX281" fmla="*/ 4368888 w 7369701"/>
              <a:gd name="connsiteY281" fmla="*/ 6668412 h 6858000"/>
              <a:gd name="connsiteX282" fmla="*/ 4563091 w 7369701"/>
              <a:gd name="connsiteY282" fmla="*/ 6442508 h 6858000"/>
              <a:gd name="connsiteX283" fmla="*/ 5387324 w 7369701"/>
              <a:gd name="connsiteY283" fmla="*/ 5705830 h 6858000"/>
              <a:gd name="connsiteX284" fmla="*/ 5073620 w 7369701"/>
              <a:gd name="connsiteY284" fmla="*/ 5955437 h 6858000"/>
              <a:gd name="connsiteX285" fmla="*/ 4689789 w 7369701"/>
              <a:gd name="connsiteY285" fmla="*/ 6268382 h 6858000"/>
              <a:gd name="connsiteX286" fmla="*/ 4418722 w 7369701"/>
              <a:gd name="connsiteY286" fmla="*/ 6570886 h 6858000"/>
              <a:gd name="connsiteX287" fmla="*/ 4214944 w 7369701"/>
              <a:gd name="connsiteY287" fmla="*/ 6858000 h 6858000"/>
              <a:gd name="connsiteX288" fmla="*/ 4177898 w 7369701"/>
              <a:gd name="connsiteY288" fmla="*/ 6858000 h 6858000"/>
              <a:gd name="connsiteX289" fmla="*/ 4391597 w 7369701"/>
              <a:gd name="connsiteY289" fmla="*/ 6556370 h 6858000"/>
              <a:gd name="connsiteX290" fmla="*/ 4668889 w 7369701"/>
              <a:gd name="connsiteY290" fmla="*/ 6246399 h 6858000"/>
              <a:gd name="connsiteX291" fmla="*/ 5055427 w 7369701"/>
              <a:gd name="connsiteY291" fmla="*/ 5931476 h 6858000"/>
              <a:gd name="connsiteX292" fmla="*/ 5371814 w 7369701"/>
              <a:gd name="connsiteY292" fmla="*/ 5678975 h 6858000"/>
              <a:gd name="connsiteX293" fmla="*/ 4987918 w 7369701"/>
              <a:gd name="connsiteY293" fmla="*/ 5838701 h 6858000"/>
              <a:gd name="connsiteX294" fmla="*/ 4317146 w 7369701"/>
              <a:gd name="connsiteY294" fmla="*/ 6587716 h 6858000"/>
              <a:gd name="connsiteX295" fmla="*/ 4171627 w 7369701"/>
              <a:gd name="connsiteY295" fmla="*/ 6858000 h 6858000"/>
              <a:gd name="connsiteX296" fmla="*/ 4081585 w 7369701"/>
              <a:gd name="connsiteY296" fmla="*/ 6858000 h 6858000"/>
              <a:gd name="connsiteX297" fmla="*/ 4238603 w 7369701"/>
              <a:gd name="connsiteY297" fmla="*/ 6559341 h 6858000"/>
              <a:gd name="connsiteX298" fmla="*/ 4778333 w 7369701"/>
              <a:gd name="connsiteY298" fmla="*/ 5873626 h 6858000"/>
              <a:gd name="connsiteX299" fmla="*/ 5414185 w 7369701"/>
              <a:gd name="connsiteY299" fmla="*/ 5573882 h 6858000"/>
              <a:gd name="connsiteX300" fmla="*/ 5959648 w 7369701"/>
              <a:gd name="connsiteY300" fmla="*/ 4760797 h 6858000"/>
              <a:gd name="connsiteX301" fmla="*/ 5355019 w 7369701"/>
              <a:gd name="connsiteY301" fmla="*/ 4734672 h 6858000"/>
              <a:gd name="connsiteX302" fmla="*/ 5083565 w 7369701"/>
              <a:gd name="connsiteY302" fmla="*/ 5179121 h 6858000"/>
              <a:gd name="connsiteX303" fmla="*/ 4713577 w 7369701"/>
              <a:gd name="connsiteY303" fmla="*/ 5616803 h 6858000"/>
              <a:gd name="connsiteX304" fmla="*/ 3989559 w 7369701"/>
              <a:gd name="connsiteY304" fmla="*/ 6145945 h 6858000"/>
              <a:gd name="connsiteX305" fmla="*/ 3939824 w 7369701"/>
              <a:gd name="connsiteY305" fmla="*/ 6066900 h 6858000"/>
              <a:gd name="connsiteX306" fmla="*/ 4584537 w 7369701"/>
              <a:gd name="connsiteY306" fmla="*/ 5324826 h 6858000"/>
              <a:gd name="connsiteX307" fmla="*/ 5037105 w 7369701"/>
              <a:gd name="connsiteY307" fmla="*/ 5088765 h 6858000"/>
              <a:gd name="connsiteX308" fmla="*/ 5039930 w 7369701"/>
              <a:gd name="connsiteY308" fmla="*/ 5089585 h 6858000"/>
              <a:gd name="connsiteX309" fmla="*/ 5263764 w 7369701"/>
              <a:gd name="connsiteY309" fmla="*/ 4735525 h 6858000"/>
              <a:gd name="connsiteX310" fmla="*/ 4086300 w 7369701"/>
              <a:gd name="connsiteY310" fmla="*/ 4884599 h 6858000"/>
              <a:gd name="connsiteX311" fmla="*/ 4085485 w 7369701"/>
              <a:gd name="connsiteY311" fmla="*/ 4899070 h 6858000"/>
              <a:gd name="connsiteX312" fmla="*/ 3871915 w 7369701"/>
              <a:gd name="connsiteY312" fmla="*/ 5253645 h 6858000"/>
              <a:gd name="connsiteX313" fmla="*/ 3799374 w 7369701"/>
              <a:gd name="connsiteY313" fmla="*/ 5466127 h 6858000"/>
              <a:gd name="connsiteX314" fmla="*/ 3498850 w 7369701"/>
              <a:gd name="connsiteY314" fmla="*/ 6661888 h 6858000"/>
              <a:gd name="connsiteX315" fmla="*/ 3399216 w 7369701"/>
              <a:gd name="connsiteY315" fmla="*/ 6858000 h 6858000"/>
              <a:gd name="connsiteX316" fmla="*/ 3303688 w 7369701"/>
              <a:gd name="connsiteY316" fmla="*/ 6858000 h 6858000"/>
              <a:gd name="connsiteX317" fmla="*/ 3391774 w 7369701"/>
              <a:gd name="connsiteY317" fmla="*/ 6697181 h 6858000"/>
              <a:gd name="connsiteX318" fmla="*/ 3735540 w 7369701"/>
              <a:gd name="connsiteY318" fmla="*/ 5546923 h 6858000"/>
              <a:gd name="connsiteX319" fmla="*/ 3729438 w 7369701"/>
              <a:gd name="connsiteY319" fmla="*/ 5569058 h 6858000"/>
              <a:gd name="connsiteX320" fmla="*/ 3707782 w 7369701"/>
              <a:gd name="connsiteY320" fmla="*/ 5644908 h 6858000"/>
              <a:gd name="connsiteX321" fmla="*/ 3583827 w 7369701"/>
              <a:gd name="connsiteY321" fmla="*/ 6039215 h 6858000"/>
              <a:gd name="connsiteX322" fmla="*/ 3547861 w 7369701"/>
              <a:gd name="connsiteY322" fmla="*/ 6129609 h 6858000"/>
              <a:gd name="connsiteX323" fmla="*/ 3490905 w 7369701"/>
              <a:gd name="connsiteY323" fmla="*/ 6277660 h 6858000"/>
              <a:gd name="connsiteX324" fmla="*/ 3455859 w 7369701"/>
              <a:gd name="connsiteY324" fmla="*/ 6391301 h 6858000"/>
              <a:gd name="connsiteX325" fmla="*/ 3429112 w 7369701"/>
              <a:gd name="connsiteY325" fmla="*/ 6479469 h 6858000"/>
              <a:gd name="connsiteX326" fmla="*/ 3304862 w 7369701"/>
              <a:gd name="connsiteY326" fmla="*/ 6796476 h 6858000"/>
              <a:gd name="connsiteX327" fmla="*/ 3276071 w 7369701"/>
              <a:gd name="connsiteY327" fmla="*/ 6858000 h 6858000"/>
              <a:gd name="connsiteX328" fmla="*/ 3240805 w 7369701"/>
              <a:gd name="connsiteY328" fmla="*/ 6858000 h 6858000"/>
              <a:gd name="connsiteX329" fmla="*/ 3275917 w 7369701"/>
              <a:gd name="connsiteY329" fmla="*/ 6783192 h 6858000"/>
              <a:gd name="connsiteX330" fmla="*/ 3399358 w 7369701"/>
              <a:gd name="connsiteY330" fmla="*/ 6469011 h 6858000"/>
              <a:gd name="connsiteX331" fmla="*/ 3425650 w 7369701"/>
              <a:gd name="connsiteY331" fmla="*/ 6381333 h 6858000"/>
              <a:gd name="connsiteX332" fmla="*/ 3460661 w 7369701"/>
              <a:gd name="connsiteY332" fmla="*/ 6266763 h 6858000"/>
              <a:gd name="connsiteX333" fmla="*/ 3518021 w 7369701"/>
              <a:gd name="connsiteY333" fmla="*/ 6117298 h 6858000"/>
              <a:gd name="connsiteX334" fmla="*/ 3554035 w 7369701"/>
              <a:gd name="connsiteY334" fmla="*/ 6027832 h 6858000"/>
              <a:gd name="connsiteX335" fmla="*/ 3677174 w 7369701"/>
              <a:gd name="connsiteY335" fmla="*/ 5636351 h 6858000"/>
              <a:gd name="connsiteX336" fmla="*/ 3698819 w 7369701"/>
              <a:gd name="connsiteY336" fmla="*/ 5560503 h 6858000"/>
              <a:gd name="connsiteX337" fmla="*/ 3702094 w 7369701"/>
              <a:gd name="connsiteY337" fmla="*/ 5549194 h 6858000"/>
              <a:gd name="connsiteX338" fmla="*/ 3398355 w 7369701"/>
              <a:gd name="connsiteY338" fmla="*/ 6094603 h 6858000"/>
              <a:gd name="connsiteX339" fmla="*/ 3193941 w 7369701"/>
              <a:gd name="connsiteY339" fmla="*/ 6798775 h 6858000"/>
              <a:gd name="connsiteX340" fmla="*/ 3184140 w 7369701"/>
              <a:gd name="connsiteY340" fmla="*/ 6858000 h 6858000"/>
              <a:gd name="connsiteX341" fmla="*/ 3099978 w 7369701"/>
              <a:gd name="connsiteY341" fmla="*/ 6858000 h 6858000"/>
              <a:gd name="connsiteX342" fmla="*/ 3101556 w 7369701"/>
              <a:gd name="connsiteY342" fmla="*/ 6843337 h 6858000"/>
              <a:gd name="connsiteX343" fmla="*/ 3370162 w 7369701"/>
              <a:gd name="connsiteY343" fmla="*/ 5785550 h 6858000"/>
              <a:gd name="connsiteX344" fmla="*/ 3746477 w 7369701"/>
              <a:gd name="connsiteY344" fmla="*/ 5377889 h 6858000"/>
              <a:gd name="connsiteX345" fmla="*/ 3863399 w 7369701"/>
              <a:gd name="connsiteY345" fmla="*/ 5087257 h 6858000"/>
              <a:gd name="connsiteX346" fmla="*/ 3968712 w 7369701"/>
              <a:gd name="connsiteY346" fmla="*/ 4913989 h 6858000"/>
              <a:gd name="connsiteX347" fmla="*/ 2792390 w 7369701"/>
              <a:gd name="connsiteY347" fmla="*/ 5382974 h 6858000"/>
              <a:gd name="connsiteX348" fmla="*/ 2714982 w 7369701"/>
              <a:gd name="connsiteY348" fmla="*/ 5427051 h 6858000"/>
              <a:gd name="connsiteX349" fmla="*/ 2813361 w 7369701"/>
              <a:gd name="connsiteY349" fmla="*/ 6023912 h 6858000"/>
              <a:gd name="connsiteX350" fmla="*/ 2688430 w 7369701"/>
              <a:gd name="connsiteY350" fmla="*/ 6801564 h 6858000"/>
              <a:gd name="connsiteX351" fmla="*/ 2629626 w 7369701"/>
              <a:gd name="connsiteY351" fmla="*/ 6763394 h 6858000"/>
              <a:gd name="connsiteX352" fmla="*/ 2565328 w 7369701"/>
              <a:gd name="connsiteY352" fmla="*/ 5516399 h 6858000"/>
              <a:gd name="connsiteX353" fmla="*/ 1922999 w 7369701"/>
              <a:gd name="connsiteY353" fmla="*/ 5980343 h 6858000"/>
              <a:gd name="connsiteX354" fmla="*/ 1950261 w 7369701"/>
              <a:gd name="connsiteY354" fmla="*/ 6405858 h 6858000"/>
              <a:gd name="connsiteX355" fmla="*/ 2365554 w 7369701"/>
              <a:gd name="connsiteY355" fmla="*/ 6759107 h 6858000"/>
              <a:gd name="connsiteX356" fmla="*/ 2424142 w 7369701"/>
              <a:gd name="connsiteY356" fmla="*/ 6858000 h 6858000"/>
              <a:gd name="connsiteX357" fmla="*/ 2395994 w 7369701"/>
              <a:gd name="connsiteY357" fmla="*/ 6858000 h 6858000"/>
              <a:gd name="connsiteX358" fmla="*/ 2392863 w 7369701"/>
              <a:gd name="connsiteY358" fmla="*/ 6852964 h 6858000"/>
              <a:gd name="connsiteX359" fmla="*/ 2017589 w 7369701"/>
              <a:gd name="connsiteY359" fmla="*/ 6493982 h 6858000"/>
              <a:gd name="connsiteX360" fmla="*/ 2147336 w 7369701"/>
              <a:gd name="connsiteY360" fmla="*/ 6594052 h 6858000"/>
              <a:gd name="connsiteX361" fmla="*/ 2207047 w 7369701"/>
              <a:gd name="connsiteY361" fmla="*/ 6654540 h 6858000"/>
              <a:gd name="connsiteX362" fmla="*/ 2299106 w 7369701"/>
              <a:gd name="connsiteY362" fmla="*/ 6778931 h 6858000"/>
              <a:gd name="connsiteX363" fmla="*/ 2314430 w 7369701"/>
              <a:gd name="connsiteY363" fmla="*/ 6801144 h 6858000"/>
              <a:gd name="connsiteX364" fmla="*/ 2352406 w 7369701"/>
              <a:gd name="connsiteY364" fmla="*/ 6858000 h 6858000"/>
              <a:gd name="connsiteX365" fmla="*/ 2314492 w 7369701"/>
              <a:gd name="connsiteY365" fmla="*/ 6858000 h 6858000"/>
              <a:gd name="connsiteX366" fmla="*/ 2288095 w 7369701"/>
              <a:gd name="connsiteY366" fmla="*/ 6818030 h 6858000"/>
              <a:gd name="connsiteX367" fmla="*/ 2272768 w 7369701"/>
              <a:gd name="connsiteY367" fmla="*/ 6795822 h 6858000"/>
              <a:gd name="connsiteX368" fmla="*/ 2182715 w 7369701"/>
              <a:gd name="connsiteY368" fmla="*/ 6675071 h 6858000"/>
              <a:gd name="connsiteX369" fmla="*/ 2032061 w 7369701"/>
              <a:gd name="connsiteY369" fmla="*/ 6541380 h 6858000"/>
              <a:gd name="connsiteX370" fmla="*/ 2257220 w 7369701"/>
              <a:gd name="connsiteY370" fmla="*/ 6826257 h 6858000"/>
              <a:gd name="connsiteX371" fmla="*/ 2281324 w 7369701"/>
              <a:gd name="connsiteY371" fmla="*/ 6858000 h 6858000"/>
              <a:gd name="connsiteX372" fmla="*/ 2242860 w 7369701"/>
              <a:gd name="connsiteY372" fmla="*/ 6858000 h 6858000"/>
              <a:gd name="connsiteX373" fmla="*/ 2232818 w 7369701"/>
              <a:gd name="connsiteY373" fmla="*/ 6844926 h 6858000"/>
              <a:gd name="connsiteX374" fmla="*/ 1990172 w 7369701"/>
              <a:gd name="connsiteY374" fmla="*/ 6542121 h 6858000"/>
              <a:gd name="connsiteX375" fmla="*/ 2124090 w 7369701"/>
              <a:gd name="connsiteY375" fmla="*/ 6761017 h 6858000"/>
              <a:gd name="connsiteX376" fmla="*/ 2200380 w 7369701"/>
              <a:gd name="connsiteY376" fmla="*/ 6858000 h 6858000"/>
              <a:gd name="connsiteX377" fmla="*/ 2147507 w 7369701"/>
              <a:gd name="connsiteY377" fmla="*/ 6858000 h 6858000"/>
              <a:gd name="connsiteX378" fmla="*/ 2070668 w 7369701"/>
              <a:gd name="connsiteY378" fmla="*/ 6761520 h 6858000"/>
              <a:gd name="connsiteX379" fmla="*/ 1975142 w 7369701"/>
              <a:gd name="connsiteY379" fmla="*/ 6585570 h 6858000"/>
              <a:gd name="connsiteX380" fmla="*/ 2050035 w 7369701"/>
              <a:gd name="connsiteY380" fmla="*/ 6813345 h 6858000"/>
              <a:gd name="connsiteX381" fmla="*/ 2063025 w 7369701"/>
              <a:gd name="connsiteY381" fmla="*/ 6858000 h 6858000"/>
              <a:gd name="connsiteX382" fmla="*/ 2021675 w 7369701"/>
              <a:gd name="connsiteY382" fmla="*/ 6858000 h 6858000"/>
              <a:gd name="connsiteX383" fmla="*/ 2019308 w 7369701"/>
              <a:gd name="connsiteY383" fmla="*/ 6847118 h 6858000"/>
              <a:gd name="connsiteX384" fmla="*/ 1938835 w 7369701"/>
              <a:gd name="connsiteY384" fmla="*/ 6551160 h 6858000"/>
              <a:gd name="connsiteX385" fmla="*/ 1953230 w 7369701"/>
              <a:gd name="connsiteY385" fmla="*/ 6759699 h 6858000"/>
              <a:gd name="connsiteX386" fmla="*/ 1956763 w 7369701"/>
              <a:gd name="connsiteY386" fmla="*/ 6778191 h 6858000"/>
              <a:gd name="connsiteX387" fmla="*/ 1967925 w 7369701"/>
              <a:gd name="connsiteY387" fmla="*/ 6858000 h 6858000"/>
              <a:gd name="connsiteX388" fmla="*/ 1936622 w 7369701"/>
              <a:gd name="connsiteY388" fmla="*/ 6858000 h 6858000"/>
              <a:gd name="connsiteX389" fmla="*/ 1926261 w 7369701"/>
              <a:gd name="connsiteY389" fmla="*/ 6784064 h 6858000"/>
              <a:gd name="connsiteX390" fmla="*/ 1922724 w 7369701"/>
              <a:gd name="connsiteY390" fmla="*/ 6765577 h 6858000"/>
              <a:gd name="connsiteX391" fmla="*/ 1904650 w 7369701"/>
              <a:gd name="connsiteY391" fmla="*/ 6639616 h 6858000"/>
              <a:gd name="connsiteX392" fmla="*/ 1885273 w 7369701"/>
              <a:gd name="connsiteY392" fmla="*/ 6858000 h 6858000"/>
              <a:gd name="connsiteX393" fmla="*/ 1854363 w 7369701"/>
              <a:gd name="connsiteY393" fmla="*/ 6858000 h 6858000"/>
              <a:gd name="connsiteX394" fmla="*/ 1880391 w 7369701"/>
              <a:gd name="connsiteY394" fmla="*/ 6603796 h 6858000"/>
              <a:gd name="connsiteX395" fmla="*/ 1818273 w 7369701"/>
              <a:gd name="connsiteY395" fmla="*/ 6715729 h 6858000"/>
              <a:gd name="connsiteX396" fmla="*/ 1794691 w 7369701"/>
              <a:gd name="connsiteY396" fmla="*/ 6843239 h 6858000"/>
              <a:gd name="connsiteX397" fmla="*/ 1794914 w 7369701"/>
              <a:gd name="connsiteY397" fmla="*/ 6858000 h 6858000"/>
              <a:gd name="connsiteX398" fmla="*/ 1746128 w 7369701"/>
              <a:gd name="connsiteY398" fmla="*/ 6858000 h 6858000"/>
              <a:gd name="connsiteX399" fmla="*/ 1753934 w 7369701"/>
              <a:gd name="connsiteY399" fmla="*/ 6724796 h 6858000"/>
              <a:gd name="connsiteX400" fmla="*/ 1792053 w 7369701"/>
              <a:gd name="connsiteY400" fmla="*/ 6572396 h 6858000"/>
              <a:gd name="connsiteX401" fmla="*/ 1862248 w 7369701"/>
              <a:gd name="connsiteY401" fmla="*/ 6266397 h 6858000"/>
              <a:gd name="connsiteX402" fmla="*/ 1862250 w 7369701"/>
              <a:gd name="connsiteY402" fmla="*/ 6033531 h 6858000"/>
              <a:gd name="connsiteX403" fmla="*/ 1211999 w 7369701"/>
              <a:gd name="connsiteY403" fmla="*/ 6683610 h 6858000"/>
              <a:gd name="connsiteX404" fmla="*/ 1213266 w 7369701"/>
              <a:gd name="connsiteY404" fmla="*/ 6691947 h 6858000"/>
              <a:gd name="connsiteX405" fmla="*/ 1203370 w 7369701"/>
              <a:gd name="connsiteY405" fmla="*/ 6850676 h 6858000"/>
              <a:gd name="connsiteX406" fmla="*/ 1203671 w 7369701"/>
              <a:gd name="connsiteY406" fmla="*/ 6858000 h 6858000"/>
              <a:gd name="connsiteX407" fmla="*/ 1143180 w 7369701"/>
              <a:gd name="connsiteY407" fmla="*/ 6858000 h 6858000"/>
              <a:gd name="connsiteX408" fmla="*/ 1142176 w 7369701"/>
              <a:gd name="connsiteY408" fmla="*/ 6766045 h 6858000"/>
              <a:gd name="connsiteX409" fmla="*/ 1067484 w 7369701"/>
              <a:gd name="connsiteY409" fmla="*/ 6858000 h 6858000"/>
              <a:gd name="connsiteX410" fmla="*/ 953928 w 7369701"/>
              <a:gd name="connsiteY410" fmla="*/ 6858000 h 6858000"/>
              <a:gd name="connsiteX411" fmla="*/ 959715 w 7369701"/>
              <a:gd name="connsiteY411" fmla="*/ 6850185 h 6858000"/>
              <a:gd name="connsiteX412" fmla="*/ 1483788 w 7369701"/>
              <a:gd name="connsiteY412" fmla="*/ 6259174 h 6858000"/>
              <a:gd name="connsiteX413" fmla="*/ 1100671 w 7369701"/>
              <a:gd name="connsiteY413" fmla="*/ 6252137 h 6858000"/>
              <a:gd name="connsiteX414" fmla="*/ 1090144 w 7369701"/>
              <a:gd name="connsiteY414" fmla="*/ 6256748 h 6858000"/>
              <a:gd name="connsiteX415" fmla="*/ 1095872 w 7369701"/>
              <a:gd name="connsiteY415" fmla="*/ 6271892 h 6858000"/>
              <a:gd name="connsiteX416" fmla="*/ 262785 w 7369701"/>
              <a:gd name="connsiteY416" fmla="*/ 6845450 h 6858000"/>
              <a:gd name="connsiteX417" fmla="*/ 209968 w 7369701"/>
              <a:gd name="connsiteY417" fmla="*/ 6770713 h 6858000"/>
              <a:gd name="connsiteX418" fmla="*/ 873460 w 7369701"/>
              <a:gd name="connsiteY418" fmla="*/ 6253768 h 6858000"/>
              <a:gd name="connsiteX419" fmla="*/ 192686 w 7369701"/>
              <a:gd name="connsiteY419" fmla="*/ 5849257 h 6858000"/>
              <a:gd name="connsiteX420" fmla="*/ 4696 w 7369701"/>
              <a:gd name="connsiteY420" fmla="*/ 5697668 h 6858000"/>
              <a:gd name="connsiteX421" fmla="*/ 0 w 7369701"/>
              <a:gd name="connsiteY421" fmla="*/ 5689984 h 6858000"/>
              <a:gd name="connsiteX422" fmla="*/ 0 w 7369701"/>
              <a:gd name="connsiteY422" fmla="*/ 5513472 h 6858000"/>
              <a:gd name="connsiteX423" fmla="*/ 174101 w 7369701"/>
              <a:gd name="connsiteY423" fmla="*/ 5620277 h 6858000"/>
              <a:gd name="connsiteX424" fmla="*/ 891800 w 7369701"/>
              <a:gd name="connsiteY424" fmla="*/ 6036935 h 6858000"/>
              <a:gd name="connsiteX425" fmla="*/ 1072219 w 7369701"/>
              <a:gd name="connsiteY425" fmla="*/ 6169443 h 6858000"/>
              <a:gd name="connsiteX426" fmla="*/ 1074117 w 7369701"/>
              <a:gd name="connsiteY426" fmla="*/ 6170301 h 6858000"/>
              <a:gd name="connsiteX427" fmla="*/ 1083114 w 7369701"/>
              <a:gd name="connsiteY427" fmla="*/ 6174131 h 6858000"/>
              <a:gd name="connsiteX428" fmla="*/ 1543010 w 7369701"/>
              <a:gd name="connsiteY428" fmla="*/ 6191140 h 6858000"/>
              <a:gd name="connsiteX429" fmla="*/ 1551080 w 7369701"/>
              <a:gd name="connsiteY429" fmla="*/ 6195006 h 6858000"/>
              <a:gd name="connsiteX430" fmla="*/ 2345443 w 7369701"/>
              <a:gd name="connsiteY430" fmla="*/ 5549882 h 6858000"/>
              <a:gd name="connsiteX431" fmla="*/ 1721499 w 7369701"/>
              <a:gd name="connsiteY431" fmla="*/ 5599969 h 6858000"/>
              <a:gd name="connsiteX432" fmla="*/ 767716 w 7369701"/>
              <a:gd name="connsiteY432" fmla="*/ 5472768 h 6858000"/>
              <a:gd name="connsiteX433" fmla="*/ 722147 w 7369701"/>
              <a:gd name="connsiteY433" fmla="*/ 5393091 h 6858000"/>
              <a:gd name="connsiteX434" fmla="*/ 1485552 w 7369701"/>
              <a:gd name="connsiteY434" fmla="*/ 5313202 h 6858000"/>
              <a:gd name="connsiteX435" fmla="*/ 2143004 w 7369701"/>
              <a:gd name="connsiteY435" fmla="*/ 5402420 h 6858000"/>
              <a:gd name="connsiteX436" fmla="*/ 1933391 w 7369701"/>
              <a:gd name="connsiteY436" fmla="*/ 5156971 h 6858000"/>
              <a:gd name="connsiteX437" fmla="*/ 1827118 w 7369701"/>
              <a:gd name="connsiteY437" fmla="*/ 4968410 h 6858000"/>
              <a:gd name="connsiteX438" fmla="*/ 1837349 w 7369701"/>
              <a:gd name="connsiteY438" fmla="*/ 4956357 h 6858000"/>
              <a:gd name="connsiteX439" fmla="*/ 2162835 w 7369701"/>
              <a:gd name="connsiteY439" fmla="*/ 5187853 h 6858000"/>
              <a:gd name="connsiteX440" fmla="*/ 2257167 w 7369701"/>
              <a:gd name="connsiteY440" fmla="*/ 5462123 h 6858000"/>
              <a:gd name="connsiteX441" fmla="*/ 2261598 w 7369701"/>
              <a:gd name="connsiteY441" fmla="*/ 5467998 h 6858000"/>
              <a:gd name="connsiteX442" fmla="*/ 2437177 w 7369701"/>
              <a:gd name="connsiteY442" fmla="*/ 5479608 h 6858000"/>
              <a:gd name="connsiteX443" fmla="*/ 2445247 w 7369701"/>
              <a:gd name="connsiteY443" fmla="*/ 5483476 h 6858000"/>
              <a:gd name="connsiteX444" fmla="*/ 2743626 w 7369701"/>
              <a:gd name="connsiteY444" fmla="*/ 5304819 h 6858000"/>
              <a:gd name="connsiteX445" fmla="*/ 3048102 w 7369701"/>
              <a:gd name="connsiteY445" fmla="*/ 5150595 h 6858000"/>
              <a:gd name="connsiteX446" fmla="*/ 1799414 w 7369701"/>
              <a:gd name="connsiteY446" fmla="*/ 4694732 h 6858000"/>
              <a:gd name="connsiteX447" fmla="*/ 1771735 w 7369701"/>
              <a:gd name="connsiteY447" fmla="*/ 4619929 h 6858000"/>
              <a:gd name="connsiteX448" fmla="*/ 3104273 w 7369701"/>
              <a:gd name="connsiteY448" fmla="*/ 5076159 h 6858000"/>
              <a:gd name="connsiteX449" fmla="*/ 3113245 w 7369701"/>
              <a:gd name="connsiteY449" fmla="*/ 5090705 h 6858000"/>
              <a:gd name="connsiteX450" fmla="*/ 3126294 w 7369701"/>
              <a:gd name="connsiteY450" fmla="*/ 5114400 h 6858000"/>
              <a:gd name="connsiteX451" fmla="*/ 3937433 w 7369701"/>
              <a:gd name="connsiteY451" fmla="*/ 4830473 h 6858000"/>
              <a:gd name="connsiteX452" fmla="*/ 3590475 w 7369701"/>
              <a:gd name="connsiteY452" fmla="*/ 4597974 h 6858000"/>
              <a:gd name="connsiteX453" fmla="*/ 3100264 w 7369701"/>
              <a:gd name="connsiteY453" fmla="*/ 4579845 h 6858000"/>
              <a:gd name="connsiteX454" fmla="*/ 2183576 w 7369701"/>
              <a:gd name="connsiteY454" fmla="*/ 4227150 h 6858000"/>
              <a:gd name="connsiteX455" fmla="*/ 2151029 w 7369701"/>
              <a:gd name="connsiteY455" fmla="*/ 4146947 h 6858000"/>
              <a:gd name="connsiteX456" fmla="*/ 3563434 w 7369701"/>
              <a:gd name="connsiteY456" fmla="*/ 4469115 h 6858000"/>
              <a:gd name="connsiteX457" fmla="*/ 3177952 w 7369701"/>
              <a:gd name="connsiteY457" fmla="*/ 3657386 h 6858000"/>
              <a:gd name="connsiteX458" fmla="*/ 3189263 w 7369701"/>
              <a:gd name="connsiteY458" fmla="*/ 3625726 h 6858000"/>
              <a:gd name="connsiteX459" fmla="*/ 3560912 w 7369701"/>
              <a:gd name="connsiteY459" fmla="*/ 4079863 h 6858000"/>
              <a:gd name="connsiteX460" fmla="*/ 3626636 w 7369701"/>
              <a:gd name="connsiteY460" fmla="*/ 4512230 h 6858000"/>
              <a:gd name="connsiteX461" fmla="*/ 3653088 w 7369701"/>
              <a:gd name="connsiteY461" fmla="*/ 4521417 h 6858000"/>
              <a:gd name="connsiteX462" fmla="*/ 3988128 w 7369701"/>
              <a:gd name="connsiteY462" fmla="*/ 4817267 h 6858000"/>
              <a:gd name="connsiteX463" fmla="*/ 4830582 w 7369701"/>
              <a:gd name="connsiteY463" fmla="*/ 4676000 h 6858000"/>
              <a:gd name="connsiteX464" fmla="*/ 4830100 w 7369701"/>
              <a:gd name="connsiteY464" fmla="*/ 4675554 h 6858000"/>
              <a:gd name="connsiteX465" fmla="*/ 4036318 w 7369701"/>
              <a:gd name="connsiteY465" fmla="*/ 4147013 h 6858000"/>
              <a:gd name="connsiteX466" fmla="*/ 3432098 w 7369701"/>
              <a:gd name="connsiteY466" fmla="*/ 3537312 h 6858000"/>
              <a:gd name="connsiteX467" fmla="*/ 3446761 w 7369701"/>
              <a:gd name="connsiteY467" fmla="*/ 3461278 h 6858000"/>
              <a:gd name="connsiteX468" fmla="*/ 4419733 w 7369701"/>
              <a:gd name="connsiteY468" fmla="*/ 3963555 h 6858000"/>
              <a:gd name="connsiteX469" fmla="*/ 4781371 w 7369701"/>
              <a:gd name="connsiteY469" fmla="*/ 4458604 h 6858000"/>
              <a:gd name="connsiteX470" fmla="*/ 4780440 w 7369701"/>
              <a:gd name="connsiteY470" fmla="*/ 4470290 h 6858000"/>
              <a:gd name="connsiteX471" fmla="*/ 4898954 w 7369701"/>
              <a:gd name="connsiteY471" fmla="*/ 4662092 h 6858000"/>
              <a:gd name="connsiteX472" fmla="*/ 4900699 w 7369701"/>
              <a:gd name="connsiteY472" fmla="*/ 4670867 h 6858000"/>
              <a:gd name="connsiteX473" fmla="*/ 5714511 w 7369701"/>
              <a:gd name="connsiteY473" fmla="*/ 4663483 h 6858000"/>
              <a:gd name="connsiteX474" fmla="*/ 5464793 w 7369701"/>
              <a:gd name="connsiteY474" fmla="*/ 4393556 h 6858000"/>
              <a:gd name="connsiteX475" fmla="*/ 5461897 w 7369701"/>
              <a:gd name="connsiteY475" fmla="*/ 4390879 h 6858000"/>
              <a:gd name="connsiteX476" fmla="*/ 4294126 w 7369701"/>
              <a:gd name="connsiteY476" fmla="*/ 3303048 h 6858000"/>
              <a:gd name="connsiteX477" fmla="*/ 4305321 w 7369701"/>
              <a:gd name="connsiteY477" fmla="*/ 3256953 h 6858000"/>
              <a:gd name="connsiteX478" fmla="*/ 4949299 w 7369701"/>
              <a:gd name="connsiteY478" fmla="*/ 3766336 h 6858000"/>
              <a:gd name="connsiteX479" fmla="*/ 5291452 w 7369701"/>
              <a:gd name="connsiteY479" fmla="*/ 4076801 h 6858000"/>
              <a:gd name="connsiteX480" fmla="*/ 5434998 w 7369701"/>
              <a:gd name="connsiteY480" fmla="*/ 4254100 h 6858000"/>
              <a:gd name="connsiteX481" fmla="*/ 5351015 w 7369701"/>
              <a:gd name="connsiteY481" fmla="*/ 3760989 h 6858000"/>
              <a:gd name="connsiteX482" fmla="*/ 5413780 w 7369701"/>
              <a:gd name="connsiteY482" fmla="*/ 2966265 h 6858000"/>
              <a:gd name="connsiteX483" fmla="*/ 5425627 w 7369701"/>
              <a:gd name="connsiteY483" fmla="*/ 2954192 h 6858000"/>
              <a:gd name="connsiteX484" fmla="*/ 6604735 w 7369701"/>
              <a:gd name="connsiteY484" fmla="*/ 2041381 h 6858000"/>
              <a:gd name="connsiteX485" fmla="*/ 7204487 w 7369701"/>
              <a:gd name="connsiteY485" fmla="*/ 2742112 h 6858000"/>
              <a:gd name="connsiteX486" fmla="*/ 7131592 w 7369701"/>
              <a:gd name="connsiteY486" fmla="*/ 2672096 h 6858000"/>
              <a:gd name="connsiteX487" fmla="*/ 6996344 w 7369701"/>
              <a:gd name="connsiteY487" fmla="*/ 2518310 h 6858000"/>
              <a:gd name="connsiteX488" fmla="*/ 6735495 w 7369701"/>
              <a:gd name="connsiteY488" fmla="*/ 2196890 h 6858000"/>
              <a:gd name="connsiteX489" fmla="*/ 6721901 w 7369701"/>
              <a:gd name="connsiteY489" fmla="*/ 2179274 h 6858000"/>
              <a:gd name="connsiteX490" fmla="*/ 6604735 w 7369701"/>
              <a:gd name="connsiteY490" fmla="*/ 2041381 h 6858000"/>
              <a:gd name="connsiteX491" fmla="*/ 6591670 w 7369701"/>
              <a:gd name="connsiteY491" fmla="*/ 1988277 h 6858000"/>
              <a:gd name="connsiteX492" fmla="*/ 6747349 w 7369701"/>
              <a:gd name="connsiteY492" fmla="*/ 2160069 h 6858000"/>
              <a:gd name="connsiteX493" fmla="*/ 6760943 w 7369701"/>
              <a:gd name="connsiteY493" fmla="*/ 2177686 h 6858000"/>
              <a:gd name="connsiteX494" fmla="*/ 7021065 w 7369701"/>
              <a:gd name="connsiteY494" fmla="*/ 2498102 h 6858000"/>
              <a:gd name="connsiteX495" fmla="*/ 7155223 w 7369701"/>
              <a:gd name="connsiteY495" fmla="*/ 2650386 h 6858000"/>
              <a:gd name="connsiteX496" fmla="*/ 7203167 w 7369701"/>
              <a:gd name="connsiteY496" fmla="*/ 2697288 h 6858000"/>
              <a:gd name="connsiteX497" fmla="*/ 6937703 w 7369701"/>
              <a:gd name="connsiteY497" fmla="*/ 2321981 h 6858000"/>
              <a:gd name="connsiteX498" fmla="*/ 6591670 w 7369701"/>
              <a:gd name="connsiteY498" fmla="*/ 1988277 h 6858000"/>
              <a:gd name="connsiteX499" fmla="*/ 5798671 w 7369701"/>
              <a:gd name="connsiteY499" fmla="*/ 1981601 h 6858000"/>
              <a:gd name="connsiteX500" fmla="*/ 5754709 w 7369701"/>
              <a:gd name="connsiteY500" fmla="*/ 2071454 h 6858000"/>
              <a:gd name="connsiteX501" fmla="*/ 5763044 w 7369701"/>
              <a:gd name="connsiteY501" fmla="*/ 2842206 h 6858000"/>
              <a:gd name="connsiteX502" fmla="*/ 5764974 w 7369701"/>
              <a:gd name="connsiteY502" fmla="*/ 2799609 h 6858000"/>
              <a:gd name="connsiteX503" fmla="*/ 5767665 w 7369701"/>
              <a:gd name="connsiteY503" fmla="*/ 2666409 h 6858000"/>
              <a:gd name="connsiteX504" fmla="*/ 5763055 w 7369701"/>
              <a:gd name="connsiteY504" fmla="*/ 2579705 h 6858000"/>
              <a:gd name="connsiteX505" fmla="*/ 5758079 w 7369701"/>
              <a:gd name="connsiteY505" fmla="*/ 2492508 h 6858000"/>
              <a:gd name="connsiteX506" fmla="*/ 5779325 w 7369701"/>
              <a:gd name="connsiteY506" fmla="*/ 2197069 h 6858000"/>
              <a:gd name="connsiteX507" fmla="*/ 5798671 w 7369701"/>
              <a:gd name="connsiteY507" fmla="*/ 1981601 h 6858000"/>
              <a:gd name="connsiteX508" fmla="*/ 5829202 w 7369701"/>
              <a:gd name="connsiteY508" fmla="*/ 1971679 h 6858000"/>
              <a:gd name="connsiteX509" fmla="*/ 5809558 w 7369701"/>
              <a:gd name="connsiteY509" fmla="*/ 2198043 h 6858000"/>
              <a:gd name="connsiteX510" fmla="*/ 5788653 w 7369701"/>
              <a:gd name="connsiteY510" fmla="*/ 2489430 h 6858000"/>
              <a:gd name="connsiteX511" fmla="*/ 5793439 w 7369701"/>
              <a:gd name="connsiteY511" fmla="*/ 2575235 h 6858000"/>
              <a:gd name="connsiteX512" fmla="*/ 5796837 w 7369701"/>
              <a:gd name="connsiteY512" fmla="*/ 2637633 h 6858000"/>
              <a:gd name="connsiteX513" fmla="*/ 5818614 w 7369701"/>
              <a:gd name="connsiteY513" fmla="*/ 2473055 h 6858000"/>
              <a:gd name="connsiteX514" fmla="*/ 5829202 w 7369701"/>
              <a:gd name="connsiteY514" fmla="*/ 1971679 h 6858000"/>
              <a:gd name="connsiteX515" fmla="*/ 5911389 w 7369701"/>
              <a:gd name="connsiteY515" fmla="*/ 1898371 h 6858000"/>
              <a:gd name="connsiteX516" fmla="*/ 6237627 w 7369701"/>
              <a:gd name="connsiteY516" fmla="*/ 2231921 h 6858000"/>
              <a:gd name="connsiteX517" fmla="*/ 5911389 w 7369701"/>
              <a:gd name="connsiteY517" fmla="*/ 1898371 h 6858000"/>
              <a:gd name="connsiteX518" fmla="*/ 6944437 w 7369701"/>
              <a:gd name="connsiteY518" fmla="*/ 1575402 h 6858000"/>
              <a:gd name="connsiteX519" fmla="*/ 6304730 w 7369701"/>
              <a:gd name="connsiteY519" fmla="*/ 1766654 h 6858000"/>
              <a:gd name="connsiteX520" fmla="*/ 6944437 w 7369701"/>
              <a:gd name="connsiteY520" fmla="*/ 1575402 h 6858000"/>
              <a:gd name="connsiteX521" fmla="*/ 7019523 w 7369701"/>
              <a:gd name="connsiteY521" fmla="*/ 1519450 h 6858000"/>
              <a:gd name="connsiteX522" fmla="*/ 6298091 w 7369701"/>
              <a:gd name="connsiteY522" fmla="*/ 1737122 h 6858000"/>
              <a:gd name="connsiteX523" fmla="*/ 7019523 w 7369701"/>
              <a:gd name="connsiteY523" fmla="*/ 1519450 h 6858000"/>
              <a:gd name="connsiteX524" fmla="*/ 2399523 w 7369701"/>
              <a:gd name="connsiteY524" fmla="*/ 1428234 h 6858000"/>
              <a:gd name="connsiteX525" fmla="*/ 2224982 w 7369701"/>
              <a:gd name="connsiteY525" fmla="*/ 1826201 h 6858000"/>
              <a:gd name="connsiteX526" fmla="*/ 2096099 w 7369701"/>
              <a:gd name="connsiteY526" fmla="*/ 2345900 h 6858000"/>
              <a:gd name="connsiteX527" fmla="*/ 2283317 w 7369701"/>
              <a:gd name="connsiteY527" fmla="*/ 1796925 h 6858000"/>
              <a:gd name="connsiteX528" fmla="*/ 2399523 w 7369701"/>
              <a:gd name="connsiteY528" fmla="*/ 1428234 h 6858000"/>
              <a:gd name="connsiteX529" fmla="*/ 2448558 w 7369701"/>
              <a:gd name="connsiteY529" fmla="*/ 1373435 h 6858000"/>
              <a:gd name="connsiteX530" fmla="*/ 2312521 w 7369701"/>
              <a:gd name="connsiteY530" fmla="*/ 1806140 h 6858000"/>
              <a:gd name="connsiteX531" fmla="*/ 2127533 w 7369701"/>
              <a:gd name="connsiteY531" fmla="*/ 2348380 h 6858000"/>
              <a:gd name="connsiteX532" fmla="*/ 2358080 w 7369701"/>
              <a:gd name="connsiteY532" fmla="*/ 1866134 h 6858000"/>
              <a:gd name="connsiteX533" fmla="*/ 2407436 w 7369701"/>
              <a:gd name="connsiteY533" fmla="*/ 1651070 h 6858000"/>
              <a:gd name="connsiteX534" fmla="*/ 2448558 w 7369701"/>
              <a:gd name="connsiteY534" fmla="*/ 1373435 h 6858000"/>
              <a:gd name="connsiteX535" fmla="*/ 278707 w 7369701"/>
              <a:gd name="connsiteY535" fmla="*/ 1352270 h 6858000"/>
              <a:gd name="connsiteX536" fmla="*/ 321570 w 7369701"/>
              <a:gd name="connsiteY536" fmla="*/ 1861610 h 6858000"/>
              <a:gd name="connsiteX537" fmla="*/ 294281 w 7369701"/>
              <a:gd name="connsiteY537" fmla="*/ 1440658 h 6858000"/>
              <a:gd name="connsiteX538" fmla="*/ 278707 w 7369701"/>
              <a:gd name="connsiteY538" fmla="*/ 1352270 h 6858000"/>
              <a:gd name="connsiteX539" fmla="*/ 1423821 w 7369701"/>
              <a:gd name="connsiteY539" fmla="*/ 1351958 h 6858000"/>
              <a:gd name="connsiteX540" fmla="*/ 1638521 w 7369701"/>
              <a:gd name="connsiteY540" fmla="*/ 1908470 h 6858000"/>
              <a:gd name="connsiteX541" fmla="*/ 1754199 w 7369701"/>
              <a:gd name="connsiteY541" fmla="*/ 2149284 h 6858000"/>
              <a:gd name="connsiteX542" fmla="*/ 1908359 w 7369701"/>
              <a:gd name="connsiteY542" fmla="*/ 2364988 h 6858000"/>
              <a:gd name="connsiteX543" fmla="*/ 1647661 w 7369701"/>
              <a:gd name="connsiteY543" fmla="*/ 1825945 h 6858000"/>
              <a:gd name="connsiteX544" fmla="*/ 1423821 w 7369701"/>
              <a:gd name="connsiteY544" fmla="*/ 1351958 h 6858000"/>
              <a:gd name="connsiteX545" fmla="*/ 1431890 w 7369701"/>
              <a:gd name="connsiteY545" fmla="*/ 1306475 h 6858000"/>
              <a:gd name="connsiteX546" fmla="*/ 1507597 w 7369701"/>
              <a:gd name="connsiteY546" fmla="*/ 1446132 h 6858000"/>
              <a:gd name="connsiteX547" fmla="*/ 1674586 w 7369701"/>
              <a:gd name="connsiteY547" fmla="*/ 1813832 h 6858000"/>
              <a:gd name="connsiteX548" fmla="*/ 1815950 w 7369701"/>
              <a:gd name="connsiteY548" fmla="*/ 2128564 h 6858000"/>
              <a:gd name="connsiteX549" fmla="*/ 1984242 w 7369701"/>
              <a:gd name="connsiteY549" fmla="*/ 2430829 h 6858000"/>
              <a:gd name="connsiteX550" fmla="*/ 2014023 w 7369701"/>
              <a:gd name="connsiteY550" fmla="*/ 2450995 h 6858000"/>
              <a:gd name="connsiteX551" fmla="*/ 1747337 w 7369701"/>
              <a:gd name="connsiteY551" fmla="*/ 1855264 h 6858000"/>
              <a:gd name="connsiteX552" fmla="*/ 1533749 w 7369701"/>
              <a:gd name="connsiteY552" fmla="*/ 1478656 h 6858000"/>
              <a:gd name="connsiteX553" fmla="*/ 1431890 w 7369701"/>
              <a:gd name="connsiteY553" fmla="*/ 1306475 h 6858000"/>
              <a:gd name="connsiteX554" fmla="*/ 5052692 w 7369701"/>
              <a:gd name="connsiteY554" fmla="*/ 1292994 h 6858000"/>
              <a:gd name="connsiteX555" fmla="*/ 5200661 w 7369701"/>
              <a:gd name="connsiteY555" fmla="*/ 1635186 h 6858000"/>
              <a:gd name="connsiteX556" fmla="*/ 5297138 w 7369701"/>
              <a:gd name="connsiteY556" fmla="*/ 1906351 h 6858000"/>
              <a:gd name="connsiteX557" fmla="*/ 5052692 w 7369701"/>
              <a:gd name="connsiteY557" fmla="*/ 1292994 h 6858000"/>
              <a:gd name="connsiteX558" fmla="*/ 5009948 w 7369701"/>
              <a:gd name="connsiteY558" fmla="*/ 1273619 h 6858000"/>
              <a:gd name="connsiteX559" fmla="*/ 5121777 w 7369701"/>
              <a:gd name="connsiteY559" fmla="*/ 1654213 h 6858000"/>
              <a:gd name="connsiteX560" fmla="*/ 5293545 w 7369701"/>
              <a:gd name="connsiteY560" fmla="*/ 2072247 h 6858000"/>
              <a:gd name="connsiteX561" fmla="*/ 5294042 w 7369701"/>
              <a:gd name="connsiteY561" fmla="*/ 2065019 h 6858000"/>
              <a:gd name="connsiteX562" fmla="*/ 5171936 w 7369701"/>
              <a:gd name="connsiteY562" fmla="*/ 1647613 h 6858000"/>
              <a:gd name="connsiteX563" fmla="*/ 5009948 w 7369701"/>
              <a:gd name="connsiteY563" fmla="*/ 1273619 h 6858000"/>
              <a:gd name="connsiteX564" fmla="*/ 655236 w 7369701"/>
              <a:gd name="connsiteY564" fmla="*/ 1268632 h 6858000"/>
              <a:gd name="connsiteX565" fmla="*/ 839521 w 7369701"/>
              <a:gd name="connsiteY565" fmla="*/ 1685315 h 6858000"/>
              <a:gd name="connsiteX566" fmla="*/ 1109416 w 7369701"/>
              <a:gd name="connsiteY566" fmla="*/ 2061663 h 6858000"/>
              <a:gd name="connsiteX567" fmla="*/ 1298300 w 7369701"/>
              <a:gd name="connsiteY567" fmla="*/ 2247742 h 6858000"/>
              <a:gd name="connsiteX568" fmla="*/ 1125871 w 7369701"/>
              <a:gd name="connsiteY568" fmla="*/ 1989513 h 6858000"/>
              <a:gd name="connsiteX569" fmla="*/ 981574 w 7369701"/>
              <a:gd name="connsiteY569" fmla="*/ 1783157 h 6858000"/>
              <a:gd name="connsiteX570" fmla="*/ 922198 w 7369701"/>
              <a:gd name="connsiteY570" fmla="*/ 1677437 h 6858000"/>
              <a:gd name="connsiteX571" fmla="*/ 869293 w 7369701"/>
              <a:gd name="connsiteY571" fmla="*/ 1583214 h 6858000"/>
              <a:gd name="connsiteX572" fmla="*/ 751431 w 7369701"/>
              <a:gd name="connsiteY572" fmla="*/ 1405731 h 6858000"/>
              <a:gd name="connsiteX573" fmla="*/ 655236 w 7369701"/>
              <a:gd name="connsiteY573" fmla="*/ 1268632 h 6858000"/>
              <a:gd name="connsiteX574" fmla="*/ 6516292 w 7369701"/>
              <a:gd name="connsiteY574" fmla="*/ 1263064 h 6858000"/>
              <a:gd name="connsiteX575" fmla="*/ 5736320 w 7369701"/>
              <a:gd name="connsiteY575" fmla="*/ 1501803 h 6858000"/>
              <a:gd name="connsiteX576" fmla="*/ 6516292 w 7369701"/>
              <a:gd name="connsiteY576" fmla="*/ 1263064 h 6858000"/>
              <a:gd name="connsiteX577" fmla="*/ 291466 w 7369701"/>
              <a:gd name="connsiteY577" fmla="*/ 1250369 h 6858000"/>
              <a:gd name="connsiteX578" fmla="*/ 323180 w 7369701"/>
              <a:gd name="connsiteY578" fmla="*/ 1435283 h 6858000"/>
              <a:gd name="connsiteX579" fmla="*/ 349381 w 7369701"/>
              <a:gd name="connsiteY579" fmla="*/ 1875041 h 6858000"/>
              <a:gd name="connsiteX580" fmla="*/ 374363 w 7369701"/>
              <a:gd name="connsiteY580" fmla="*/ 1506494 h 6858000"/>
              <a:gd name="connsiteX581" fmla="*/ 302168 w 7369701"/>
              <a:gd name="connsiteY581" fmla="*/ 1274495 h 6858000"/>
              <a:gd name="connsiteX582" fmla="*/ 291466 w 7369701"/>
              <a:gd name="connsiteY582" fmla="*/ 1250369 h 6858000"/>
              <a:gd name="connsiteX583" fmla="*/ 678222 w 7369701"/>
              <a:gd name="connsiteY583" fmla="*/ 1248670 h 6858000"/>
              <a:gd name="connsiteX584" fmla="*/ 775536 w 7369701"/>
              <a:gd name="connsiteY584" fmla="*/ 1388015 h 6858000"/>
              <a:gd name="connsiteX585" fmla="*/ 894529 w 7369701"/>
              <a:gd name="connsiteY585" fmla="*/ 1567739 h 6858000"/>
              <a:gd name="connsiteX586" fmla="*/ 948000 w 7369701"/>
              <a:gd name="connsiteY586" fmla="*/ 1663088 h 6858000"/>
              <a:gd name="connsiteX587" fmla="*/ 1006812 w 7369701"/>
              <a:gd name="connsiteY587" fmla="*/ 1767683 h 6858000"/>
              <a:gd name="connsiteX588" fmla="*/ 1149133 w 7369701"/>
              <a:gd name="connsiteY588" fmla="*/ 1971513 h 6858000"/>
              <a:gd name="connsiteX589" fmla="*/ 1333952 w 7369701"/>
              <a:gd name="connsiteY589" fmla="*/ 2251620 h 6858000"/>
              <a:gd name="connsiteX590" fmla="*/ 1337329 w 7369701"/>
              <a:gd name="connsiteY590" fmla="*/ 2258350 h 6858000"/>
              <a:gd name="connsiteX591" fmla="*/ 1014726 w 7369701"/>
              <a:gd name="connsiteY591" fmla="*/ 1615556 h 6858000"/>
              <a:gd name="connsiteX592" fmla="*/ 678222 w 7369701"/>
              <a:gd name="connsiteY592" fmla="*/ 1248670 h 6858000"/>
              <a:gd name="connsiteX593" fmla="*/ 6691602 w 7369701"/>
              <a:gd name="connsiteY593" fmla="*/ 1140573 h 6858000"/>
              <a:gd name="connsiteX594" fmla="*/ 6571100 w 7369701"/>
              <a:gd name="connsiteY594" fmla="*/ 1183662 h 6858000"/>
              <a:gd name="connsiteX595" fmla="*/ 6241687 w 7369701"/>
              <a:gd name="connsiteY595" fmla="*/ 1257600 h 6858000"/>
              <a:gd name="connsiteX596" fmla="*/ 5693009 w 7369701"/>
              <a:gd name="connsiteY596" fmla="*/ 1478256 h 6858000"/>
              <a:gd name="connsiteX597" fmla="*/ 6548420 w 7369701"/>
              <a:gd name="connsiteY597" fmla="*/ 1214599 h 6858000"/>
              <a:gd name="connsiteX598" fmla="*/ 6605473 w 7369701"/>
              <a:gd name="connsiteY598" fmla="*/ 1184686 h 6858000"/>
              <a:gd name="connsiteX599" fmla="*/ 6691602 w 7369701"/>
              <a:gd name="connsiteY599" fmla="*/ 1140573 h 6858000"/>
              <a:gd name="connsiteX600" fmla="*/ 4002475 w 7369701"/>
              <a:gd name="connsiteY600" fmla="*/ 1037802 h 6858000"/>
              <a:gd name="connsiteX601" fmla="*/ 4000324 w 7369701"/>
              <a:gd name="connsiteY601" fmla="*/ 1039362 h 6858000"/>
              <a:gd name="connsiteX602" fmla="*/ 4002862 w 7369701"/>
              <a:gd name="connsiteY602" fmla="*/ 1042866 h 6858000"/>
              <a:gd name="connsiteX603" fmla="*/ 4002475 w 7369701"/>
              <a:gd name="connsiteY603" fmla="*/ 1037802 h 6858000"/>
              <a:gd name="connsiteX604" fmla="*/ 506322 w 7369701"/>
              <a:gd name="connsiteY604" fmla="*/ 1020997 h 6858000"/>
              <a:gd name="connsiteX605" fmla="*/ 533068 w 7369701"/>
              <a:gd name="connsiteY605" fmla="*/ 1029409 h 6858000"/>
              <a:gd name="connsiteX606" fmla="*/ 1232525 w 7369701"/>
              <a:gd name="connsiteY606" fmla="*/ 1804675 h 6858000"/>
              <a:gd name="connsiteX607" fmla="*/ 1388858 w 7369701"/>
              <a:gd name="connsiteY607" fmla="*/ 2368011 h 6858000"/>
              <a:gd name="connsiteX608" fmla="*/ 1384098 w 7369701"/>
              <a:gd name="connsiteY608" fmla="*/ 2378125 h 6858000"/>
              <a:gd name="connsiteX609" fmla="*/ 1425393 w 7369701"/>
              <a:gd name="connsiteY609" fmla="*/ 2589124 h 6858000"/>
              <a:gd name="connsiteX610" fmla="*/ 1424001 w 7369701"/>
              <a:gd name="connsiteY610" fmla="*/ 2597541 h 6858000"/>
              <a:gd name="connsiteX611" fmla="*/ 2152729 w 7369701"/>
              <a:gd name="connsiteY611" fmla="*/ 2864487 h 6858000"/>
              <a:gd name="connsiteX612" fmla="*/ 2020609 w 7369701"/>
              <a:gd name="connsiteY612" fmla="*/ 2539671 h 6858000"/>
              <a:gd name="connsiteX613" fmla="*/ 2018920 w 7369701"/>
              <a:gd name="connsiteY613" fmla="*/ 2536309 h 6858000"/>
              <a:gd name="connsiteX614" fmla="*/ 1342441 w 7369701"/>
              <a:gd name="connsiteY614" fmla="*/ 1173017 h 6858000"/>
              <a:gd name="connsiteX615" fmla="*/ 1367925 w 7369701"/>
              <a:gd name="connsiteY615" fmla="*/ 1135648 h 6858000"/>
              <a:gd name="connsiteX616" fmla="*/ 1771401 w 7369701"/>
              <a:gd name="connsiteY616" fmla="*/ 1806673 h 6858000"/>
              <a:gd name="connsiteX617" fmla="*/ 1972385 w 7369701"/>
              <a:gd name="connsiteY617" fmla="*/ 2198735 h 6858000"/>
              <a:gd name="connsiteX618" fmla="*/ 2040892 w 7369701"/>
              <a:gd name="connsiteY618" fmla="*/ 2405205 h 6858000"/>
              <a:gd name="connsiteX619" fmla="*/ 2131689 w 7369701"/>
              <a:gd name="connsiteY619" fmla="*/ 1936926 h 6858000"/>
              <a:gd name="connsiteX620" fmla="*/ 2454820 w 7369701"/>
              <a:gd name="connsiteY620" fmla="*/ 1248808 h 6858000"/>
              <a:gd name="connsiteX621" fmla="*/ 2492512 w 7369701"/>
              <a:gd name="connsiteY621" fmla="*/ 1302920 h 6858000"/>
              <a:gd name="connsiteX622" fmla="*/ 2081216 w 7369701"/>
              <a:gd name="connsiteY622" fmla="*/ 2527513 h 6858000"/>
              <a:gd name="connsiteX623" fmla="*/ 2081211 w 7369701"/>
              <a:gd name="connsiteY623" fmla="*/ 2528916 h 6858000"/>
              <a:gd name="connsiteX624" fmla="*/ 2199067 w 7369701"/>
              <a:gd name="connsiteY624" fmla="*/ 2884061 h 6858000"/>
              <a:gd name="connsiteX625" fmla="*/ 3192586 w 7369701"/>
              <a:gd name="connsiteY625" fmla="*/ 3411496 h 6858000"/>
              <a:gd name="connsiteX626" fmla="*/ 3182620 w 7369701"/>
              <a:gd name="connsiteY626" fmla="*/ 3483279 h 6858000"/>
              <a:gd name="connsiteX627" fmla="*/ 2435119 w 7369701"/>
              <a:gd name="connsiteY627" fmla="*/ 3080173 h 6858000"/>
              <a:gd name="connsiteX628" fmla="*/ 2410152 w 7369701"/>
              <a:gd name="connsiteY628" fmla="*/ 3063751 h 6858000"/>
              <a:gd name="connsiteX629" fmla="*/ 2408099 w 7369701"/>
              <a:gd name="connsiteY629" fmla="*/ 3064403 h 6858000"/>
              <a:gd name="connsiteX630" fmla="*/ 2407218 w 7369701"/>
              <a:gd name="connsiteY630" fmla="*/ 3070324 h 6858000"/>
              <a:gd name="connsiteX631" fmla="*/ 2380138 w 7369701"/>
              <a:gd name="connsiteY631" fmla="*/ 3099341 h 6858000"/>
              <a:gd name="connsiteX632" fmla="*/ 1765923 w 7369701"/>
              <a:gd name="connsiteY632" fmla="*/ 3581043 h 6858000"/>
              <a:gd name="connsiteX633" fmla="*/ 1702258 w 7369701"/>
              <a:gd name="connsiteY633" fmla="*/ 3612286 h 6858000"/>
              <a:gd name="connsiteX634" fmla="*/ 1538370 w 7369701"/>
              <a:gd name="connsiteY634" fmla="*/ 3811804 h 6858000"/>
              <a:gd name="connsiteX635" fmla="*/ 542867 w 7369701"/>
              <a:gd name="connsiteY635" fmla="*/ 4944092 h 6858000"/>
              <a:gd name="connsiteX636" fmla="*/ 515800 w 7369701"/>
              <a:gd name="connsiteY636" fmla="*/ 4862180 h 6858000"/>
              <a:gd name="connsiteX637" fmla="*/ 909145 w 7369701"/>
              <a:gd name="connsiteY637" fmla="*/ 4199225 h 6858000"/>
              <a:gd name="connsiteX638" fmla="*/ 1214067 w 7369701"/>
              <a:gd name="connsiteY638" fmla="*/ 3908561 h 6858000"/>
              <a:gd name="connsiteX639" fmla="*/ 640967 w 7369701"/>
              <a:gd name="connsiteY639" fmla="*/ 4105601 h 6858000"/>
              <a:gd name="connsiteX640" fmla="*/ 112563 w 7369701"/>
              <a:gd name="connsiteY640" fmla="*/ 4396952 h 6858000"/>
              <a:gd name="connsiteX641" fmla="*/ 0 w 7369701"/>
              <a:gd name="connsiteY641" fmla="*/ 4466006 h 6858000"/>
              <a:gd name="connsiteX642" fmla="*/ 0 w 7369701"/>
              <a:gd name="connsiteY642" fmla="*/ 4233763 h 6858000"/>
              <a:gd name="connsiteX643" fmla="*/ 36881 w 7369701"/>
              <a:gd name="connsiteY643" fmla="*/ 4200118 h 6858000"/>
              <a:gd name="connsiteX644" fmla="*/ 910534 w 7369701"/>
              <a:gd name="connsiteY644" fmla="*/ 3629753 h 6858000"/>
              <a:gd name="connsiteX645" fmla="*/ 1578717 w 7369701"/>
              <a:gd name="connsiteY645" fmla="*/ 3575982 h 6858000"/>
              <a:gd name="connsiteX646" fmla="*/ 2338780 w 7369701"/>
              <a:gd name="connsiteY646" fmla="*/ 3033725 h 6858000"/>
              <a:gd name="connsiteX647" fmla="*/ 1807991 w 7369701"/>
              <a:gd name="connsiteY647" fmla="*/ 2807184 h 6858000"/>
              <a:gd name="connsiteX648" fmla="*/ 1416358 w 7369701"/>
              <a:gd name="connsiteY648" fmla="*/ 3112571 h 6858000"/>
              <a:gd name="connsiteX649" fmla="*/ 939066 w 7369701"/>
              <a:gd name="connsiteY649" fmla="*/ 3378798 h 6858000"/>
              <a:gd name="connsiteX650" fmla="*/ 115099 w 7369701"/>
              <a:gd name="connsiteY650" fmla="*/ 3607650 h 6858000"/>
              <a:gd name="connsiteX651" fmla="*/ 97284 w 7369701"/>
              <a:gd name="connsiteY651" fmla="*/ 3520393 h 6858000"/>
              <a:gd name="connsiteX652" fmla="*/ 922050 w 7369701"/>
              <a:gd name="connsiteY652" fmla="*/ 3074867 h 6858000"/>
              <a:gd name="connsiteX653" fmla="*/ 1405265 w 7369701"/>
              <a:gd name="connsiteY653" fmla="*/ 3016319 h 6858000"/>
              <a:gd name="connsiteX654" fmla="*/ 1407512 w 7369701"/>
              <a:gd name="connsiteY654" fmla="*/ 3018001 h 6858000"/>
              <a:gd name="connsiteX655" fmla="*/ 1726266 w 7369701"/>
              <a:gd name="connsiteY655" fmla="*/ 2777274 h 6858000"/>
              <a:gd name="connsiteX656" fmla="*/ 625390 w 7369701"/>
              <a:gd name="connsiteY656" fmla="*/ 2514541 h 6858000"/>
              <a:gd name="connsiteX657" fmla="*/ 619799 w 7369701"/>
              <a:gd name="connsiteY657" fmla="*/ 2527180 h 6858000"/>
              <a:gd name="connsiteX658" fmla="*/ 310030 w 7369701"/>
              <a:gd name="connsiteY658" fmla="*/ 2771818 h 6858000"/>
              <a:gd name="connsiteX659" fmla="*/ 173877 w 7369701"/>
              <a:gd name="connsiteY659" fmla="*/ 2937056 h 6858000"/>
              <a:gd name="connsiteX660" fmla="*/ 77889 w 7369701"/>
              <a:gd name="connsiteY660" fmla="*/ 3138440 h 6858000"/>
              <a:gd name="connsiteX661" fmla="*/ 0 w 7369701"/>
              <a:gd name="connsiteY661" fmla="*/ 3271395 h 6858000"/>
              <a:gd name="connsiteX662" fmla="*/ 0 w 7369701"/>
              <a:gd name="connsiteY662" fmla="*/ 3153002 h 6858000"/>
              <a:gd name="connsiteX663" fmla="*/ 2386 w 7369701"/>
              <a:gd name="connsiteY663" fmla="*/ 3149203 h 6858000"/>
              <a:gd name="connsiteX664" fmla="*/ 89753 w 7369701"/>
              <a:gd name="connsiteY664" fmla="*/ 2987702 h 6858000"/>
              <a:gd name="connsiteX665" fmla="*/ 76869 w 7369701"/>
              <a:gd name="connsiteY665" fmla="*/ 3005404 h 6858000"/>
              <a:gd name="connsiteX666" fmla="*/ 32049 w 7369701"/>
              <a:gd name="connsiteY666" fmla="*/ 3065814 h 6858000"/>
              <a:gd name="connsiteX667" fmla="*/ 0 w 7369701"/>
              <a:gd name="connsiteY667" fmla="*/ 3108744 h 6858000"/>
              <a:gd name="connsiteX668" fmla="*/ 0 w 7369701"/>
              <a:gd name="connsiteY668" fmla="*/ 3058059 h 6858000"/>
              <a:gd name="connsiteX669" fmla="*/ 7610 w 7369701"/>
              <a:gd name="connsiteY669" fmla="*/ 3047889 h 6858000"/>
              <a:gd name="connsiteX670" fmla="*/ 52419 w 7369701"/>
              <a:gd name="connsiteY670" fmla="*/ 2987479 h 6858000"/>
              <a:gd name="connsiteX671" fmla="*/ 59142 w 7369701"/>
              <a:gd name="connsiteY671" fmla="*/ 2978488 h 6858000"/>
              <a:gd name="connsiteX672" fmla="*/ 0 w 7369701"/>
              <a:gd name="connsiteY672" fmla="*/ 3015334 h 6858000"/>
              <a:gd name="connsiteX673" fmla="*/ 0 w 7369701"/>
              <a:gd name="connsiteY673" fmla="*/ 2914286 h 6858000"/>
              <a:gd name="connsiteX674" fmla="*/ 36383 w 7369701"/>
              <a:gd name="connsiteY674" fmla="*/ 2901128 h 6858000"/>
              <a:gd name="connsiteX675" fmla="*/ 156329 w 7369701"/>
              <a:gd name="connsiteY675" fmla="*/ 2840533 h 6858000"/>
              <a:gd name="connsiteX676" fmla="*/ 358355 w 7369701"/>
              <a:gd name="connsiteY676" fmla="*/ 2620471 h 6858000"/>
              <a:gd name="connsiteX677" fmla="*/ 510577 w 7369701"/>
              <a:gd name="connsiteY677" fmla="*/ 2501244 h 6858000"/>
              <a:gd name="connsiteX678" fmla="*/ 211967 w 7369701"/>
              <a:gd name="connsiteY678" fmla="*/ 2479171 h 6858000"/>
              <a:gd name="connsiteX679" fmla="*/ 0 w 7369701"/>
              <a:gd name="connsiteY679" fmla="*/ 2476398 h 6858000"/>
              <a:gd name="connsiteX680" fmla="*/ 0 w 7369701"/>
              <a:gd name="connsiteY680" fmla="*/ 2389189 h 6858000"/>
              <a:gd name="connsiteX681" fmla="*/ 103062 w 7369701"/>
              <a:gd name="connsiteY681" fmla="*/ 2389518 h 6858000"/>
              <a:gd name="connsiteX682" fmla="*/ 510734 w 7369701"/>
              <a:gd name="connsiteY682" fmla="*/ 2416201 h 6858000"/>
              <a:gd name="connsiteX683" fmla="*/ 279257 w 7369701"/>
              <a:gd name="connsiteY683" fmla="*/ 2092102 h 6858000"/>
              <a:gd name="connsiteX684" fmla="*/ 65265 w 7369701"/>
              <a:gd name="connsiteY684" fmla="*/ 2006049 h 6858000"/>
              <a:gd name="connsiteX685" fmla="*/ 0 w 7369701"/>
              <a:gd name="connsiteY685" fmla="*/ 1982532 h 6858000"/>
              <a:gd name="connsiteX686" fmla="*/ 0 w 7369701"/>
              <a:gd name="connsiteY686" fmla="*/ 1912789 h 6858000"/>
              <a:gd name="connsiteX687" fmla="*/ 97460 w 7369701"/>
              <a:gd name="connsiteY687" fmla="*/ 1953725 h 6858000"/>
              <a:gd name="connsiteX688" fmla="*/ 221272 w 7369701"/>
              <a:gd name="connsiteY688" fmla="*/ 1980766 h 6858000"/>
              <a:gd name="connsiteX689" fmla="*/ 116765 w 7369701"/>
              <a:gd name="connsiteY689" fmla="*/ 1911033 h 6858000"/>
              <a:gd name="connsiteX690" fmla="*/ 16405 w 7369701"/>
              <a:gd name="connsiteY690" fmla="*/ 1803412 h 6858000"/>
              <a:gd name="connsiteX691" fmla="*/ 0 w 7369701"/>
              <a:gd name="connsiteY691" fmla="*/ 1784777 h 6858000"/>
              <a:gd name="connsiteX692" fmla="*/ 0 w 7369701"/>
              <a:gd name="connsiteY692" fmla="*/ 1740082 h 6858000"/>
              <a:gd name="connsiteX693" fmla="*/ 39394 w 7369701"/>
              <a:gd name="connsiteY693" fmla="*/ 1784856 h 6858000"/>
              <a:gd name="connsiteX694" fmla="*/ 135813 w 7369701"/>
              <a:gd name="connsiteY694" fmla="*/ 1888838 h 6858000"/>
              <a:gd name="connsiteX695" fmla="*/ 242575 w 7369701"/>
              <a:gd name="connsiteY695" fmla="*/ 1958841 h 6858000"/>
              <a:gd name="connsiteX696" fmla="*/ 82197 w 7369701"/>
              <a:gd name="connsiteY696" fmla="*/ 1754826 h 6858000"/>
              <a:gd name="connsiteX697" fmla="*/ 0 w 7369701"/>
              <a:gd name="connsiteY697" fmla="*/ 1679650 h 6858000"/>
              <a:gd name="connsiteX698" fmla="*/ 0 w 7369701"/>
              <a:gd name="connsiteY698" fmla="*/ 1602463 h 6858000"/>
              <a:gd name="connsiteX699" fmla="*/ 84689 w 7369701"/>
              <a:gd name="connsiteY699" fmla="*/ 1677442 h 6858000"/>
              <a:gd name="connsiteX700" fmla="*/ 298437 w 7369701"/>
              <a:gd name="connsiteY700" fmla="*/ 1968019 h 6858000"/>
              <a:gd name="connsiteX701" fmla="*/ 227269 w 7369701"/>
              <a:gd name="connsiteY701" fmla="*/ 1114064 h 6858000"/>
              <a:gd name="connsiteX702" fmla="*/ 248003 w 7369701"/>
              <a:gd name="connsiteY702" fmla="*/ 1089613 h 6858000"/>
              <a:gd name="connsiteX703" fmla="*/ 427020 w 7369701"/>
              <a:gd name="connsiteY703" fmla="*/ 1619803 h 6858000"/>
              <a:gd name="connsiteX704" fmla="*/ 340345 w 7369701"/>
              <a:gd name="connsiteY704" fmla="*/ 2027739 h 6858000"/>
              <a:gd name="connsiteX705" fmla="*/ 360865 w 7369701"/>
              <a:gd name="connsiteY705" fmla="*/ 2044827 h 6858000"/>
              <a:gd name="connsiteX706" fmla="*/ 560414 w 7369701"/>
              <a:gd name="connsiteY706" fmla="*/ 2421457 h 6858000"/>
              <a:gd name="connsiteX707" fmla="*/ 1359703 w 7369701"/>
              <a:gd name="connsiteY707" fmla="*/ 2578554 h 6858000"/>
              <a:gd name="connsiteX708" fmla="*/ 1359422 w 7369701"/>
              <a:gd name="connsiteY708" fmla="*/ 2577994 h 6858000"/>
              <a:gd name="connsiteX709" fmla="*/ 828701 w 7369701"/>
              <a:gd name="connsiteY709" fmla="*/ 1839520 h 6858000"/>
              <a:gd name="connsiteX710" fmla="*/ 494427 w 7369701"/>
              <a:gd name="connsiteY710" fmla="*/ 1092333 h 6858000"/>
              <a:gd name="connsiteX711" fmla="*/ 506322 w 7369701"/>
              <a:gd name="connsiteY711" fmla="*/ 1020997 h 6858000"/>
              <a:gd name="connsiteX712" fmla="*/ 4570198 w 7369701"/>
              <a:gd name="connsiteY712" fmla="*/ 978081 h 6858000"/>
              <a:gd name="connsiteX713" fmla="*/ 4523691 w 7369701"/>
              <a:gd name="connsiteY713" fmla="*/ 1127776 h 6858000"/>
              <a:gd name="connsiteX714" fmla="*/ 4509875 w 7369701"/>
              <a:gd name="connsiteY714" fmla="*/ 1167552 h 6858000"/>
              <a:gd name="connsiteX715" fmla="*/ 4478168 w 7369701"/>
              <a:gd name="connsiteY715" fmla="*/ 1260735 h 6858000"/>
              <a:gd name="connsiteX716" fmla="*/ 4409309 w 7369701"/>
              <a:gd name="connsiteY716" fmla="*/ 1666996 h 6858000"/>
              <a:gd name="connsiteX717" fmla="*/ 4370031 w 7369701"/>
              <a:gd name="connsiteY717" fmla="*/ 1955666 h 6858000"/>
              <a:gd name="connsiteX718" fmla="*/ 4570198 w 7369701"/>
              <a:gd name="connsiteY718" fmla="*/ 978081 h 6858000"/>
              <a:gd name="connsiteX719" fmla="*/ 4557898 w 7369701"/>
              <a:gd name="connsiteY719" fmla="*/ 900011 h 6858000"/>
              <a:gd name="connsiteX720" fmla="*/ 4344840 w 7369701"/>
              <a:gd name="connsiteY720" fmla="*/ 1922038 h 6858000"/>
              <a:gd name="connsiteX721" fmla="*/ 4378710 w 7369701"/>
              <a:gd name="connsiteY721" fmla="*/ 1665516 h 6858000"/>
              <a:gd name="connsiteX722" fmla="*/ 4448798 w 7369701"/>
              <a:gd name="connsiteY722" fmla="*/ 1253024 h 6858000"/>
              <a:gd name="connsiteX723" fmla="*/ 4480315 w 7369701"/>
              <a:gd name="connsiteY723" fmla="*/ 1158454 h 6858000"/>
              <a:gd name="connsiteX724" fmla="*/ 4494133 w 7369701"/>
              <a:gd name="connsiteY724" fmla="*/ 1118676 h 6858000"/>
              <a:gd name="connsiteX725" fmla="*/ 4557898 w 7369701"/>
              <a:gd name="connsiteY725" fmla="*/ 900011 h 6858000"/>
              <a:gd name="connsiteX726" fmla="*/ 5870151 w 7369701"/>
              <a:gd name="connsiteY726" fmla="*/ 898890 h 6858000"/>
              <a:gd name="connsiteX727" fmla="*/ 5861335 w 7369701"/>
              <a:gd name="connsiteY727" fmla="*/ 899177 h 6858000"/>
              <a:gd name="connsiteX728" fmla="*/ 5843702 w 7369701"/>
              <a:gd name="connsiteY728" fmla="*/ 899748 h 6858000"/>
              <a:gd name="connsiteX729" fmla="*/ 5651107 w 7369701"/>
              <a:gd name="connsiteY729" fmla="*/ 920306 h 6858000"/>
              <a:gd name="connsiteX730" fmla="*/ 5459407 w 7369701"/>
              <a:gd name="connsiteY730" fmla="*/ 940975 h 6858000"/>
              <a:gd name="connsiteX731" fmla="*/ 5374846 w 7369701"/>
              <a:gd name="connsiteY731" fmla="*/ 941988 h 6858000"/>
              <a:gd name="connsiteX732" fmla="*/ 5256105 w 7369701"/>
              <a:gd name="connsiteY732" fmla="*/ 945632 h 6858000"/>
              <a:gd name="connsiteX733" fmla="*/ 5107071 w 7369701"/>
              <a:gd name="connsiteY733" fmla="*/ 969720 h 6858000"/>
              <a:gd name="connsiteX734" fmla="*/ 4998681 w 7369701"/>
              <a:gd name="connsiteY734" fmla="*/ 988771 h 6858000"/>
              <a:gd name="connsiteX735" fmla="*/ 5870151 w 7369701"/>
              <a:gd name="connsiteY735" fmla="*/ 898890 h 6858000"/>
              <a:gd name="connsiteX736" fmla="*/ 5504425 w 7369701"/>
              <a:gd name="connsiteY736" fmla="*/ 848067 h 6858000"/>
              <a:gd name="connsiteX737" fmla="*/ 4968849 w 7369701"/>
              <a:gd name="connsiteY737" fmla="*/ 962318 h 6858000"/>
              <a:gd name="connsiteX738" fmla="*/ 5104039 w 7369701"/>
              <a:gd name="connsiteY738" fmla="*/ 940634 h 6858000"/>
              <a:gd name="connsiteX739" fmla="*/ 5256311 w 7369701"/>
              <a:gd name="connsiteY739" fmla="*/ 916490 h 6858000"/>
              <a:gd name="connsiteX740" fmla="*/ 5377381 w 7369701"/>
              <a:gd name="connsiteY740" fmla="*/ 912671 h 6858000"/>
              <a:gd name="connsiteX741" fmla="*/ 5460148 w 7369701"/>
              <a:gd name="connsiteY741" fmla="*/ 911442 h 6858000"/>
              <a:gd name="connsiteX742" fmla="*/ 5648971 w 7369701"/>
              <a:gd name="connsiteY742" fmla="*/ 891331 h 6858000"/>
              <a:gd name="connsiteX743" fmla="*/ 5844807 w 7369701"/>
              <a:gd name="connsiteY743" fmla="*/ 870718 h 6858000"/>
              <a:gd name="connsiteX744" fmla="*/ 5862975 w 7369701"/>
              <a:gd name="connsiteY744" fmla="*/ 869756 h 6858000"/>
              <a:gd name="connsiteX745" fmla="*/ 5920887 w 7369701"/>
              <a:gd name="connsiteY745" fmla="*/ 865929 h 6858000"/>
              <a:gd name="connsiteX746" fmla="*/ 5504425 w 7369701"/>
              <a:gd name="connsiteY746" fmla="*/ 848067 h 6858000"/>
              <a:gd name="connsiteX747" fmla="*/ 3607114 w 7369701"/>
              <a:gd name="connsiteY747" fmla="*/ 467441 h 6858000"/>
              <a:gd name="connsiteX748" fmla="*/ 3296242 w 7369701"/>
              <a:gd name="connsiteY748" fmla="*/ 807991 h 6858000"/>
              <a:gd name="connsiteX749" fmla="*/ 3174674 w 7369701"/>
              <a:gd name="connsiteY749" fmla="*/ 919759 h 6858000"/>
              <a:gd name="connsiteX750" fmla="*/ 3042978 w 7369701"/>
              <a:gd name="connsiteY750" fmla="*/ 1054894 h 6858000"/>
              <a:gd name="connsiteX751" fmla="*/ 2968914 w 7369701"/>
              <a:gd name="connsiteY751" fmla="*/ 1133756 h 6858000"/>
              <a:gd name="connsiteX752" fmla="*/ 3103823 w 7369701"/>
              <a:gd name="connsiteY752" fmla="*/ 1026814 h 6858000"/>
              <a:gd name="connsiteX753" fmla="*/ 3607114 w 7369701"/>
              <a:gd name="connsiteY753" fmla="*/ 467441 h 6858000"/>
              <a:gd name="connsiteX754" fmla="*/ 3744487 w 7369701"/>
              <a:gd name="connsiteY754" fmla="*/ 383136 h 6858000"/>
              <a:gd name="connsiteX755" fmla="*/ 3970213 w 7369701"/>
              <a:gd name="connsiteY755" fmla="*/ 995559 h 6858000"/>
              <a:gd name="connsiteX756" fmla="*/ 3744487 w 7369701"/>
              <a:gd name="connsiteY756" fmla="*/ 383136 h 6858000"/>
              <a:gd name="connsiteX757" fmla="*/ 3624562 w 7369701"/>
              <a:gd name="connsiteY757" fmla="*/ 367041 h 6858000"/>
              <a:gd name="connsiteX758" fmla="*/ 3489712 w 7369701"/>
              <a:gd name="connsiteY758" fmla="*/ 485386 h 6858000"/>
              <a:gd name="connsiteX759" fmla="*/ 3182994 w 7369701"/>
              <a:gd name="connsiteY759" fmla="*/ 828265 h 6858000"/>
              <a:gd name="connsiteX760" fmla="*/ 2892114 w 7369701"/>
              <a:gd name="connsiteY760" fmla="*/ 1172635 h 6858000"/>
              <a:gd name="connsiteX761" fmla="*/ 3021459 w 7369701"/>
              <a:gd name="connsiteY761" fmla="*/ 1035385 h 6858000"/>
              <a:gd name="connsiteX762" fmla="*/ 3153873 w 7369701"/>
              <a:gd name="connsiteY762" fmla="*/ 898971 h 6858000"/>
              <a:gd name="connsiteX763" fmla="*/ 3276511 w 7369701"/>
              <a:gd name="connsiteY763" fmla="*/ 786423 h 6858000"/>
              <a:gd name="connsiteX764" fmla="*/ 3584154 w 7369701"/>
              <a:gd name="connsiteY764" fmla="*/ 448218 h 6858000"/>
              <a:gd name="connsiteX765" fmla="*/ 3624562 w 7369701"/>
              <a:gd name="connsiteY765" fmla="*/ 367041 h 6858000"/>
              <a:gd name="connsiteX766" fmla="*/ 3766672 w 7369701"/>
              <a:gd name="connsiteY766" fmla="*/ 359429 h 6858000"/>
              <a:gd name="connsiteX767" fmla="*/ 3996338 w 7369701"/>
              <a:gd name="connsiteY767" fmla="*/ 968237 h 6858000"/>
              <a:gd name="connsiteX768" fmla="*/ 3766672 w 7369701"/>
              <a:gd name="connsiteY768" fmla="*/ 359429 h 6858000"/>
              <a:gd name="connsiteX769" fmla="*/ 5805386 w 7369701"/>
              <a:gd name="connsiteY769" fmla="*/ 239240 h 6858000"/>
              <a:gd name="connsiteX770" fmla="*/ 5736947 w 7369701"/>
              <a:gd name="connsiteY770" fmla="*/ 261367 h 6858000"/>
              <a:gd name="connsiteX771" fmla="*/ 5427012 w 7369701"/>
              <a:gd name="connsiteY771" fmla="*/ 311272 h 6858000"/>
              <a:gd name="connsiteX772" fmla="*/ 5147818 w 7369701"/>
              <a:gd name="connsiteY772" fmla="*/ 322112 h 6858000"/>
              <a:gd name="connsiteX773" fmla="*/ 5060854 w 7369701"/>
              <a:gd name="connsiteY773" fmla="*/ 311882 h 6858000"/>
              <a:gd name="connsiteX774" fmla="*/ 4945989 w 7369701"/>
              <a:gd name="connsiteY774" fmla="*/ 300516 h 6858000"/>
              <a:gd name="connsiteX775" fmla="*/ 5410479 w 7369701"/>
              <a:gd name="connsiteY775" fmla="*/ 348434 h 6858000"/>
              <a:gd name="connsiteX776" fmla="*/ 5805386 w 7369701"/>
              <a:gd name="connsiteY776" fmla="*/ 239240 h 6858000"/>
              <a:gd name="connsiteX777" fmla="*/ 5905192 w 7369701"/>
              <a:gd name="connsiteY777" fmla="*/ 163079 h 6858000"/>
              <a:gd name="connsiteX778" fmla="*/ 5865655 w 7369701"/>
              <a:gd name="connsiteY778" fmla="*/ 171901 h 6858000"/>
              <a:gd name="connsiteX779" fmla="*/ 5259740 w 7369701"/>
              <a:gd name="connsiteY779" fmla="*/ 257013 h 6858000"/>
              <a:gd name="connsiteX780" fmla="*/ 5208466 w 7369701"/>
              <a:gd name="connsiteY780" fmla="*/ 257550 h 6858000"/>
              <a:gd name="connsiteX781" fmla="*/ 4980204 w 7369701"/>
              <a:gd name="connsiteY781" fmla="*/ 271903 h 6858000"/>
              <a:gd name="connsiteX782" fmla="*/ 5068068 w 7369701"/>
              <a:gd name="connsiteY782" fmla="*/ 282244 h 6858000"/>
              <a:gd name="connsiteX783" fmla="*/ 5153231 w 7369701"/>
              <a:gd name="connsiteY783" fmla="*/ 292240 h 6858000"/>
              <a:gd name="connsiteX784" fmla="*/ 5426491 w 7369701"/>
              <a:gd name="connsiteY784" fmla="*/ 281128 h 6858000"/>
              <a:gd name="connsiteX785" fmla="*/ 5731212 w 7369701"/>
              <a:gd name="connsiteY785" fmla="*/ 231951 h 6858000"/>
              <a:gd name="connsiteX786" fmla="*/ 5905192 w 7369701"/>
              <a:gd name="connsiteY786" fmla="*/ 163079 h 6858000"/>
              <a:gd name="connsiteX787" fmla="*/ 5944437 w 7369701"/>
              <a:gd name="connsiteY787" fmla="*/ 113829 h 6858000"/>
              <a:gd name="connsiteX788" fmla="*/ 5825032 w 7369701"/>
              <a:gd name="connsiteY788" fmla="*/ 146405 h 6858000"/>
              <a:gd name="connsiteX789" fmla="*/ 4955599 w 7369701"/>
              <a:gd name="connsiteY789" fmla="*/ 247008 h 6858000"/>
              <a:gd name="connsiteX790" fmla="*/ 5210104 w 7369701"/>
              <a:gd name="connsiteY790" fmla="*/ 228123 h 6858000"/>
              <a:gd name="connsiteX791" fmla="*/ 5261015 w 7369701"/>
              <a:gd name="connsiteY791" fmla="*/ 227087 h 6858000"/>
              <a:gd name="connsiteX792" fmla="*/ 5861181 w 7369701"/>
              <a:gd name="connsiteY792" fmla="*/ 143093 h 6858000"/>
              <a:gd name="connsiteX793" fmla="*/ 5961252 w 7369701"/>
              <a:gd name="connsiteY793" fmla="*/ 114820 h 6858000"/>
              <a:gd name="connsiteX794" fmla="*/ 5944437 w 7369701"/>
              <a:gd name="connsiteY794" fmla="*/ 113829 h 6858000"/>
              <a:gd name="connsiteX795" fmla="*/ 3882765 w 7369701"/>
              <a:gd name="connsiteY795" fmla="*/ 0 h 6858000"/>
              <a:gd name="connsiteX796" fmla="*/ 3995099 w 7369701"/>
              <a:gd name="connsiteY796" fmla="*/ 0 h 6858000"/>
              <a:gd name="connsiteX797" fmla="*/ 4163818 w 7369701"/>
              <a:gd name="connsiteY797" fmla="*/ 234104 h 6858000"/>
              <a:gd name="connsiteX798" fmla="*/ 4172099 w 7369701"/>
              <a:gd name="connsiteY798" fmla="*/ 234207 h 6858000"/>
              <a:gd name="connsiteX799" fmla="*/ 4784282 w 7369701"/>
              <a:gd name="connsiteY799" fmla="*/ 276561 h 6858000"/>
              <a:gd name="connsiteX800" fmla="*/ 4801687 w 7369701"/>
              <a:gd name="connsiteY800" fmla="*/ 267764 h 6858000"/>
              <a:gd name="connsiteX801" fmla="*/ 6082788 w 7369701"/>
              <a:gd name="connsiteY801" fmla="*/ 64119 h 6858000"/>
              <a:gd name="connsiteX802" fmla="*/ 6099442 w 7369701"/>
              <a:gd name="connsiteY802" fmla="*/ 82568 h 6858000"/>
              <a:gd name="connsiteX803" fmla="*/ 4804137 w 7369701"/>
              <a:gd name="connsiteY803" fmla="*/ 320931 h 6858000"/>
              <a:gd name="connsiteX804" fmla="*/ 4227047 w 7369701"/>
              <a:gd name="connsiteY804" fmla="*/ 313415 h 6858000"/>
              <a:gd name="connsiteX805" fmla="*/ 4346041 w 7369701"/>
              <a:gd name="connsiteY805" fmla="*/ 456086 h 6858000"/>
              <a:gd name="connsiteX806" fmla="*/ 4870967 w 7369701"/>
              <a:gd name="connsiteY806" fmla="*/ 963061 h 6858000"/>
              <a:gd name="connsiteX807" fmla="*/ 4889647 w 7369701"/>
              <a:gd name="connsiteY807" fmla="*/ 957147 h 6858000"/>
              <a:gd name="connsiteX808" fmla="*/ 5422504 w 7369701"/>
              <a:gd name="connsiteY808" fmla="*/ 805191 h 6858000"/>
              <a:gd name="connsiteX809" fmla="*/ 6087656 w 7369701"/>
              <a:gd name="connsiteY809" fmla="*/ 826703 h 6858000"/>
              <a:gd name="connsiteX810" fmla="*/ 6058717 w 7369701"/>
              <a:gd name="connsiteY810" fmla="*/ 865992 h 6858000"/>
              <a:gd name="connsiteX811" fmla="*/ 4974153 w 7369701"/>
              <a:gd name="connsiteY811" fmla="*/ 1045456 h 6858000"/>
              <a:gd name="connsiteX812" fmla="*/ 5627835 w 7369701"/>
              <a:gd name="connsiteY812" fmla="*/ 1472077 h 6858000"/>
              <a:gd name="connsiteX813" fmla="*/ 5629817 w 7369701"/>
              <a:gd name="connsiteY813" fmla="*/ 1471412 h 6858000"/>
              <a:gd name="connsiteX814" fmla="*/ 5634124 w 7369701"/>
              <a:gd name="connsiteY814" fmla="*/ 1470572 h 6858000"/>
              <a:gd name="connsiteX815" fmla="*/ 5755832 w 7369701"/>
              <a:gd name="connsiteY815" fmla="*/ 1383886 h 6858000"/>
              <a:gd name="connsiteX816" fmla="*/ 6014186 w 7369701"/>
              <a:gd name="connsiteY816" fmla="*/ 1279799 h 6858000"/>
              <a:gd name="connsiteX817" fmla="*/ 6901619 w 7369701"/>
              <a:gd name="connsiteY817" fmla="*/ 1047874 h 6858000"/>
              <a:gd name="connsiteX818" fmla="*/ 6931566 w 7369701"/>
              <a:gd name="connsiteY818" fmla="*/ 1062034 h 6858000"/>
              <a:gd name="connsiteX819" fmla="*/ 5790982 w 7369701"/>
              <a:gd name="connsiteY819" fmla="*/ 1561380 h 6858000"/>
              <a:gd name="connsiteX820" fmla="*/ 6188971 w 7369701"/>
              <a:gd name="connsiteY820" fmla="*/ 1755168 h 6858000"/>
              <a:gd name="connsiteX821" fmla="*/ 6202446 w 7369701"/>
              <a:gd name="connsiteY821" fmla="*/ 1752268 h 6858000"/>
              <a:gd name="connsiteX822" fmla="*/ 7179560 w 7369701"/>
              <a:gd name="connsiteY822" fmla="*/ 1467551 h 6858000"/>
              <a:gd name="connsiteX823" fmla="*/ 7158730 w 7369701"/>
              <a:gd name="connsiteY823" fmla="*/ 1507835 h 6858000"/>
              <a:gd name="connsiteX824" fmla="*/ 6326959 w 7369701"/>
              <a:gd name="connsiteY824" fmla="*/ 1817686 h 6858000"/>
              <a:gd name="connsiteX825" fmla="*/ 6537433 w 7369701"/>
              <a:gd name="connsiteY825" fmla="*/ 1907790 h 6858000"/>
              <a:gd name="connsiteX826" fmla="*/ 6550221 w 7369701"/>
              <a:gd name="connsiteY826" fmla="*/ 1910729 h 6858000"/>
              <a:gd name="connsiteX827" fmla="*/ 6964438 w 7369701"/>
              <a:gd name="connsiteY827" fmla="*/ 2209505 h 6858000"/>
              <a:gd name="connsiteX828" fmla="*/ 7367862 w 7369701"/>
              <a:gd name="connsiteY828" fmla="*/ 2806833 h 6858000"/>
              <a:gd name="connsiteX829" fmla="*/ 7364329 w 7369701"/>
              <a:gd name="connsiteY829" fmla="*/ 2826907 h 6858000"/>
              <a:gd name="connsiteX830" fmla="*/ 7290545 w 7369701"/>
              <a:gd name="connsiteY830" fmla="*/ 2850663 h 6858000"/>
              <a:gd name="connsiteX831" fmla="*/ 6472036 w 7369701"/>
              <a:gd name="connsiteY831" fmla="*/ 1959003 h 6858000"/>
              <a:gd name="connsiteX832" fmla="*/ 5792897 w 7369701"/>
              <a:gd name="connsiteY832" fmla="*/ 1647747 h 6858000"/>
              <a:gd name="connsiteX833" fmla="*/ 5842751 w 7369701"/>
              <a:gd name="connsiteY833" fmla="*/ 1816112 h 6858000"/>
              <a:gd name="connsiteX834" fmla="*/ 5847424 w 7369701"/>
              <a:gd name="connsiteY834" fmla="*/ 1815776 h 6858000"/>
              <a:gd name="connsiteX835" fmla="*/ 6399821 w 7369701"/>
              <a:gd name="connsiteY835" fmla="*/ 2344799 h 6858000"/>
              <a:gd name="connsiteX836" fmla="*/ 6323232 w 7369701"/>
              <a:gd name="connsiteY836" fmla="*/ 2389634 h 6858000"/>
              <a:gd name="connsiteX837" fmla="*/ 5942958 w 7369701"/>
              <a:gd name="connsiteY837" fmla="*/ 2077708 h 6858000"/>
              <a:gd name="connsiteX838" fmla="*/ 5921559 w 7369701"/>
              <a:gd name="connsiteY838" fmla="*/ 2378596 h 6858000"/>
              <a:gd name="connsiteX839" fmla="*/ 5817651 w 7369701"/>
              <a:gd name="connsiteY839" fmla="*/ 3023919 h 6858000"/>
              <a:gd name="connsiteX840" fmla="*/ 5729634 w 7369701"/>
              <a:gd name="connsiteY840" fmla="*/ 3051849 h 6858000"/>
              <a:gd name="connsiteX841" fmla="*/ 5611018 w 7369701"/>
              <a:gd name="connsiteY841" fmla="*/ 2316769 h 6858000"/>
              <a:gd name="connsiteX842" fmla="*/ 5687608 w 7369701"/>
              <a:gd name="connsiteY842" fmla="*/ 2039972 h 6858000"/>
              <a:gd name="connsiteX843" fmla="*/ 5657554 w 7369701"/>
              <a:gd name="connsiteY843" fmla="*/ 1576445 h 6858000"/>
              <a:gd name="connsiteX844" fmla="*/ 5150475 w 7369701"/>
              <a:gd name="connsiteY844" fmla="*/ 1274012 h 6858000"/>
              <a:gd name="connsiteX845" fmla="*/ 5349142 w 7369701"/>
              <a:gd name="connsiteY845" fmla="*/ 2204405 h 6858000"/>
              <a:gd name="connsiteX846" fmla="*/ 5262214 w 7369701"/>
              <a:gd name="connsiteY846" fmla="*/ 2233836 h 6858000"/>
              <a:gd name="connsiteX847" fmla="*/ 4981539 w 7369701"/>
              <a:gd name="connsiteY847" fmla="*/ 1542201 h 6858000"/>
              <a:gd name="connsiteX848" fmla="*/ 4958461 w 7369701"/>
              <a:gd name="connsiteY848" fmla="*/ 1136957 h 6858000"/>
              <a:gd name="connsiteX849" fmla="*/ 4655015 w 7369701"/>
              <a:gd name="connsiteY849" fmla="*/ 891426 h 6858000"/>
              <a:gd name="connsiteX850" fmla="*/ 4348002 w 7369701"/>
              <a:gd name="connsiteY850" fmla="*/ 2205895 h 6858000"/>
              <a:gd name="connsiteX851" fmla="*/ 4262250 w 7369701"/>
              <a:gd name="connsiteY851" fmla="*/ 2219972 h 6858000"/>
              <a:gd name="connsiteX852" fmla="*/ 4550611 w 7369701"/>
              <a:gd name="connsiteY852" fmla="*/ 817540 h 6858000"/>
              <a:gd name="connsiteX853" fmla="*/ 4564418 w 7369701"/>
              <a:gd name="connsiteY853" fmla="*/ 808293 h 6858000"/>
              <a:gd name="connsiteX854" fmla="*/ 4266388 w 7369701"/>
              <a:gd name="connsiteY854" fmla="*/ 500083 h 6858000"/>
              <a:gd name="connsiteX855" fmla="*/ 4032842 w 7369701"/>
              <a:gd name="connsiteY855" fmla="*/ 211809 h 6858000"/>
              <a:gd name="connsiteX856" fmla="*/ 3882765 w 7369701"/>
              <a:gd name="connsiteY856" fmla="*/ 0 h 6858000"/>
              <a:gd name="connsiteX857" fmla="*/ 3721337 w 7369701"/>
              <a:gd name="connsiteY857" fmla="*/ 0 h 6858000"/>
              <a:gd name="connsiteX858" fmla="*/ 3797544 w 7369701"/>
              <a:gd name="connsiteY858" fmla="*/ 0 h 6858000"/>
              <a:gd name="connsiteX859" fmla="*/ 3775734 w 7369701"/>
              <a:gd name="connsiteY859" fmla="*/ 95131 h 6858000"/>
              <a:gd name="connsiteX860" fmla="*/ 3724807 w 7369701"/>
              <a:gd name="connsiteY860" fmla="*/ 272257 h 6858000"/>
              <a:gd name="connsiteX861" fmla="*/ 3726844 w 7369701"/>
              <a:gd name="connsiteY861" fmla="*/ 282988 h 6858000"/>
              <a:gd name="connsiteX862" fmla="*/ 3742664 w 7369701"/>
              <a:gd name="connsiteY862" fmla="*/ 279918 h 6858000"/>
              <a:gd name="connsiteX863" fmla="*/ 4103910 w 7369701"/>
              <a:gd name="connsiteY863" fmla="*/ 1161917 h 6858000"/>
              <a:gd name="connsiteX864" fmla="*/ 4020269 w 7369701"/>
              <a:gd name="connsiteY864" fmla="*/ 1200406 h 6858000"/>
              <a:gd name="connsiteX865" fmla="*/ 3674882 w 7369701"/>
              <a:gd name="connsiteY865" fmla="*/ 488524 h 6858000"/>
              <a:gd name="connsiteX866" fmla="*/ 3132682 w 7369701"/>
              <a:gd name="connsiteY866" fmla="*/ 1072284 h 6858000"/>
              <a:gd name="connsiteX867" fmla="*/ 2716346 w 7369701"/>
              <a:gd name="connsiteY867" fmla="*/ 1276376 h 6858000"/>
              <a:gd name="connsiteX868" fmla="*/ 2716772 w 7369701"/>
              <a:gd name="connsiteY868" fmla="*/ 1255462 h 6858000"/>
              <a:gd name="connsiteX869" fmla="*/ 3471096 w 7369701"/>
              <a:gd name="connsiteY869" fmla="*/ 437072 h 6858000"/>
              <a:gd name="connsiteX870" fmla="*/ 3639057 w 7369701"/>
              <a:gd name="connsiteY870" fmla="*/ 286334 h 6858000"/>
              <a:gd name="connsiteX871" fmla="*/ 3640309 w 7369701"/>
              <a:gd name="connsiteY871" fmla="*/ 284664 h 6858000"/>
              <a:gd name="connsiteX872" fmla="*/ 3646022 w 7369701"/>
              <a:gd name="connsiteY872" fmla="*/ 276711 h 6858000"/>
              <a:gd name="connsiteX873" fmla="*/ 3707943 w 7369701"/>
              <a:gd name="connsiteY873" fmla="*/ 65958 h 6858000"/>
              <a:gd name="connsiteX874" fmla="*/ 3721337 w 7369701"/>
              <a:gd name="connsiteY874" fmla="*/ 0 h 6858000"/>
              <a:gd name="connsiteX875" fmla="*/ 2867960 w 7369701"/>
              <a:gd name="connsiteY875" fmla="*/ 0 h 6858000"/>
              <a:gd name="connsiteX876" fmla="*/ 2926351 w 7369701"/>
              <a:gd name="connsiteY876" fmla="*/ 0 h 6858000"/>
              <a:gd name="connsiteX877" fmla="*/ 2902823 w 7369701"/>
              <a:gd name="connsiteY877" fmla="*/ 262929 h 6858000"/>
              <a:gd name="connsiteX878" fmla="*/ 2940663 w 7369701"/>
              <a:gd name="connsiteY878" fmla="*/ 140884 h 6858000"/>
              <a:gd name="connsiteX879" fmla="*/ 2947039 w 7369701"/>
              <a:gd name="connsiteY879" fmla="*/ 122524 h 6858000"/>
              <a:gd name="connsiteX880" fmla="*/ 2984316 w 7369701"/>
              <a:gd name="connsiteY880" fmla="*/ 0 h 6858000"/>
              <a:gd name="connsiteX881" fmla="*/ 3016114 w 7369701"/>
              <a:gd name="connsiteY881" fmla="*/ 0 h 6858000"/>
              <a:gd name="connsiteX882" fmla="*/ 2979949 w 7369701"/>
              <a:gd name="connsiteY882" fmla="*/ 119274 h 6858000"/>
              <a:gd name="connsiteX883" fmla="*/ 3023879 w 7369701"/>
              <a:gd name="connsiteY883" fmla="*/ 0 h 6858000"/>
              <a:gd name="connsiteX884" fmla="*/ 3105400 w 7369701"/>
              <a:gd name="connsiteY884" fmla="*/ 0 h 6858000"/>
              <a:gd name="connsiteX885" fmla="*/ 3094669 w 7369701"/>
              <a:gd name="connsiteY885" fmla="*/ 30308 h 6858000"/>
              <a:gd name="connsiteX886" fmla="*/ 2901945 w 7369701"/>
              <a:gd name="connsiteY886" fmla="*/ 466538 h 6858000"/>
              <a:gd name="connsiteX887" fmla="*/ 2815209 w 7369701"/>
              <a:gd name="connsiteY887" fmla="*/ 497361 h 6858000"/>
              <a:gd name="connsiteX888" fmla="*/ 2844845 w 7369701"/>
              <a:gd name="connsiteY888" fmla="*/ 127638 h 6858000"/>
              <a:gd name="connsiteX889" fmla="*/ 2867960 w 7369701"/>
              <a:gd name="connsiteY889" fmla="*/ 0 h 6858000"/>
              <a:gd name="connsiteX890" fmla="*/ 1057230 w 7369701"/>
              <a:gd name="connsiteY890" fmla="*/ 0 h 6858000"/>
              <a:gd name="connsiteX891" fmla="*/ 1111003 w 7369701"/>
              <a:gd name="connsiteY891" fmla="*/ 0 h 6858000"/>
              <a:gd name="connsiteX892" fmla="*/ 1125553 w 7369701"/>
              <a:gd name="connsiteY892" fmla="*/ 52588 h 6858000"/>
              <a:gd name="connsiteX893" fmla="*/ 1304276 w 7369701"/>
              <a:gd name="connsiteY893" fmla="*/ 476275 h 6858000"/>
              <a:gd name="connsiteX894" fmla="*/ 1492066 w 7369701"/>
              <a:gd name="connsiteY894" fmla="*/ 886333 h 6858000"/>
              <a:gd name="connsiteX895" fmla="*/ 1423698 w 7369701"/>
              <a:gd name="connsiteY895" fmla="*/ 710817 h 6858000"/>
              <a:gd name="connsiteX896" fmla="*/ 1357609 w 7369701"/>
              <a:gd name="connsiteY896" fmla="*/ 532892 h 6858000"/>
              <a:gd name="connsiteX897" fmla="*/ 1309550 w 7369701"/>
              <a:gd name="connsiteY897" fmla="*/ 374031 h 6858000"/>
              <a:gd name="connsiteX898" fmla="*/ 1193673 w 7369701"/>
              <a:gd name="connsiteY898" fmla="*/ 49533 h 6858000"/>
              <a:gd name="connsiteX899" fmla="*/ 1164391 w 7369701"/>
              <a:gd name="connsiteY899" fmla="*/ 0 h 6858000"/>
              <a:gd name="connsiteX900" fmla="*/ 1200666 w 7369701"/>
              <a:gd name="connsiteY900" fmla="*/ 0 h 6858000"/>
              <a:gd name="connsiteX901" fmla="*/ 1223408 w 7369701"/>
              <a:gd name="connsiteY901" fmla="*/ 38996 h 6858000"/>
              <a:gd name="connsiteX902" fmla="*/ 1339635 w 7369701"/>
              <a:gd name="connsiteY902" fmla="*/ 365517 h 6858000"/>
              <a:gd name="connsiteX903" fmla="*/ 1387469 w 7369701"/>
              <a:gd name="connsiteY903" fmla="*/ 523079 h 6858000"/>
              <a:gd name="connsiteX904" fmla="*/ 1452685 w 7369701"/>
              <a:gd name="connsiteY904" fmla="*/ 699806 h 6858000"/>
              <a:gd name="connsiteX905" fmla="*/ 1492092 w 7369701"/>
              <a:gd name="connsiteY905" fmla="*/ 800424 h 6858000"/>
              <a:gd name="connsiteX906" fmla="*/ 1455302 w 7369701"/>
              <a:gd name="connsiteY906" fmla="*/ 632913 h 6858000"/>
              <a:gd name="connsiteX907" fmla="*/ 1222336 w 7369701"/>
              <a:gd name="connsiteY907" fmla="*/ 9480 h 6858000"/>
              <a:gd name="connsiteX908" fmla="*/ 1214634 w 7369701"/>
              <a:gd name="connsiteY908" fmla="*/ 0 h 6858000"/>
              <a:gd name="connsiteX909" fmla="*/ 1289827 w 7369701"/>
              <a:gd name="connsiteY909" fmla="*/ 0 h 6858000"/>
              <a:gd name="connsiteX910" fmla="*/ 1321076 w 7369701"/>
              <a:gd name="connsiteY910" fmla="*/ 59722 h 6858000"/>
              <a:gd name="connsiteX911" fmla="*/ 1512579 w 7369701"/>
              <a:gd name="connsiteY911" fmla="*/ 626441 h 6858000"/>
              <a:gd name="connsiteX912" fmla="*/ 1506076 w 7369701"/>
              <a:gd name="connsiteY912" fmla="*/ 1089289 h 6858000"/>
              <a:gd name="connsiteX913" fmla="*/ 1486346 w 7369701"/>
              <a:gd name="connsiteY913" fmla="*/ 1079919 h 6858000"/>
              <a:gd name="connsiteX914" fmla="*/ 1070511 w 7369701"/>
              <a:gd name="connsiteY914" fmla="*/ 48609 h 6858000"/>
              <a:gd name="connsiteX915" fmla="*/ 1057230 w 7369701"/>
              <a:gd name="connsiteY915" fmla="*/ 0 h 6858000"/>
              <a:gd name="connsiteX916" fmla="*/ 43151 w 7369701"/>
              <a:gd name="connsiteY916" fmla="*/ 0 h 6858000"/>
              <a:gd name="connsiteX917" fmla="*/ 95283 w 7369701"/>
              <a:gd name="connsiteY917" fmla="*/ 0 h 6858000"/>
              <a:gd name="connsiteX918" fmla="*/ 300708 w 7369701"/>
              <a:gd name="connsiteY918" fmla="*/ 154571 h 6858000"/>
              <a:gd name="connsiteX919" fmla="*/ 530414 w 7369701"/>
              <a:gd name="connsiteY919" fmla="*/ 354673 h 6858000"/>
              <a:gd name="connsiteX920" fmla="*/ 333785 w 7369701"/>
              <a:gd name="connsiteY920" fmla="*/ 161564 h 6858000"/>
              <a:gd name="connsiteX921" fmla="*/ 147005 w 7369701"/>
              <a:gd name="connsiteY921" fmla="*/ 0 h 6858000"/>
              <a:gd name="connsiteX922" fmla="*/ 272509 w 7369701"/>
              <a:gd name="connsiteY922" fmla="*/ 0 h 6858000"/>
              <a:gd name="connsiteX923" fmla="*/ 326276 w 7369701"/>
              <a:gd name="connsiteY923" fmla="*/ 45847 h 6858000"/>
              <a:gd name="connsiteX924" fmla="*/ 823759 w 7369701"/>
              <a:gd name="connsiteY924" fmla="*/ 574145 h 6858000"/>
              <a:gd name="connsiteX925" fmla="*/ 811254 w 7369701"/>
              <a:gd name="connsiteY925" fmla="*/ 665546 h 6858000"/>
              <a:gd name="connsiteX926" fmla="*/ 154042 w 7369701"/>
              <a:gd name="connsiteY926" fmla="*/ 261522 h 6858000"/>
              <a:gd name="connsiteX927" fmla="*/ 13550 w 7369701"/>
              <a:gd name="connsiteY927" fmla="*/ 158423 h 6858000"/>
              <a:gd name="connsiteX928" fmla="*/ 0 w 7369701"/>
              <a:gd name="connsiteY928" fmla="*/ 146618 h 6858000"/>
              <a:gd name="connsiteX929" fmla="*/ 0 w 7369701"/>
              <a:gd name="connsiteY929" fmla="*/ 59161 h 6858000"/>
              <a:gd name="connsiteX930" fmla="*/ 45427 w 7369701"/>
              <a:gd name="connsiteY930" fmla="*/ 101078 h 6858000"/>
              <a:gd name="connsiteX931" fmla="*/ 630103 w 7369701"/>
              <a:gd name="connsiteY931" fmla="*/ 485885 h 6858000"/>
              <a:gd name="connsiteX932" fmla="*/ 532040 w 7369701"/>
              <a:gd name="connsiteY932" fmla="*/ 399359 h 6858000"/>
              <a:gd name="connsiteX933" fmla="*/ 517618 w 7369701"/>
              <a:gd name="connsiteY933" fmla="*/ 385726 h 6858000"/>
              <a:gd name="connsiteX934" fmla="*/ 285074 w 7369701"/>
              <a:gd name="connsiteY934" fmla="*/ 182755 h 6858000"/>
              <a:gd name="connsiteX935" fmla="*/ 43151 w 7369701"/>
              <a:gd name="connsiteY93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Lst>
            <a:rect l="l" t="t" r="r" b="b"/>
            <a:pathLst>
              <a:path w="7369701" h="6858000">
                <a:moveTo>
                  <a:pt x="369702" y="6712169"/>
                </a:moveTo>
                <a:lnTo>
                  <a:pt x="366575" y="6715556"/>
                </a:lnTo>
                <a:cubicBezTo>
                  <a:pt x="367954" y="6715031"/>
                  <a:pt x="369326" y="6714512"/>
                  <a:pt x="371637" y="6713954"/>
                </a:cubicBezTo>
                <a:lnTo>
                  <a:pt x="369702" y="6712169"/>
                </a:lnTo>
                <a:close/>
                <a:moveTo>
                  <a:pt x="1019354" y="6315006"/>
                </a:moveTo>
                <a:cubicBezTo>
                  <a:pt x="847231" y="6483030"/>
                  <a:pt x="636234" y="6599053"/>
                  <a:pt x="441046" y="6691153"/>
                </a:cubicBezTo>
                <a:cubicBezTo>
                  <a:pt x="668934" y="6613112"/>
                  <a:pt x="947819" y="6494377"/>
                  <a:pt x="1019354" y="6315006"/>
                </a:cubicBezTo>
                <a:close/>
                <a:moveTo>
                  <a:pt x="991680" y="6298413"/>
                </a:moveTo>
                <a:cubicBezTo>
                  <a:pt x="775775" y="6396465"/>
                  <a:pt x="575302" y="6507871"/>
                  <a:pt x="409060" y="6671470"/>
                </a:cubicBezTo>
                <a:cubicBezTo>
                  <a:pt x="603834" y="6580783"/>
                  <a:pt x="817655" y="6465584"/>
                  <a:pt x="991680" y="6298413"/>
                </a:cubicBezTo>
                <a:close/>
                <a:moveTo>
                  <a:pt x="103333" y="5699602"/>
                </a:moveTo>
                <a:cubicBezTo>
                  <a:pt x="133282" y="5726353"/>
                  <a:pt x="175725" y="5762843"/>
                  <a:pt x="233938" y="5809416"/>
                </a:cubicBezTo>
                <a:cubicBezTo>
                  <a:pt x="390802" y="5935412"/>
                  <a:pt x="652575" y="6145703"/>
                  <a:pt x="883580" y="6180710"/>
                </a:cubicBezTo>
                <a:cubicBezTo>
                  <a:pt x="736829" y="6133021"/>
                  <a:pt x="610173" y="6040280"/>
                  <a:pt x="487337" y="5950182"/>
                </a:cubicBezTo>
                <a:cubicBezTo>
                  <a:pt x="443670" y="5917932"/>
                  <a:pt x="398584" y="5885270"/>
                  <a:pt x="354051" y="5854912"/>
                </a:cubicBezTo>
                <a:cubicBezTo>
                  <a:pt x="302352" y="5819720"/>
                  <a:pt x="247963" y="5787429"/>
                  <a:pt x="195436" y="5755068"/>
                </a:cubicBezTo>
                <a:lnTo>
                  <a:pt x="103333" y="5699602"/>
                </a:lnTo>
                <a:close/>
                <a:moveTo>
                  <a:pt x="5539432" y="5642928"/>
                </a:moveTo>
                <a:cubicBezTo>
                  <a:pt x="5544304" y="5659969"/>
                  <a:pt x="5549664" y="5677449"/>
                  <a:pt x="5555462" y="5694454"/>
                </a:cubicBezTo>
                <a:cubicBezTo>
                  <a:pt x="5631122" y="5909386"/>
                  <a:pt x="5731219" y="6118228"/>
                  <a:pt x="5828270" y="6320663"/>
                </a:cubicBezTo>
                <a:cubicBezTo>
                  <a:pt x="5868407" y="6404290"/>
                  <a:pt x="5908582" y="6488842"/>
                  <a:pt x="5947416" y="6574846"/>
                </a:cubicBezTo>
                <a:cubicBezTo>
                  <a:pt x="5894674" y="6327329"/>
                  <a:pt x="5793018" y="5718484"/>
                  <a:pt x="5539432" y="5642928"/>
                </a:cubicBezTo>
                <a:close/>
                <a:moveTo>
                  <a:pt x="51253" y="5631825"/>
                </a:moveTo>
                <a:lnTo>
                  <a:pt x="211622" y="5728803"/>
                </a:lnTo>
                <a:cubicBezTo>
                  <a:pt x="264592" y="5760684"/>
                  <a:pt x="319013" y="5793908"/>
                  <a:pt x="371652" y="5829062"/>
                </a:cubicBezTo>
                <a:cubicBezTo>
                  <a:pt x="417589" y="5859824"/>
                  <a:pt x="462230" y="5892964"/>
                  <a:pt x="505903" y="5925221"/>
                </a:cubicBezTo>
                <a:cubicBezTo>
                  <a:pt x="628246" y="6014875"/>
                  <a:pt x="754907" y="6107611"/>
                  <a:pt x="899240" y="6153068"/>
                </a:cubicBezTo>
                <a:cubicBezTo>
                  <a:pt x="928476" y="6162153"/>
                  <a:pt x="958088" y="6168887"/>
                  <a:pt x="988114" y="6174204"/>
                </a:cubicBezTo>
                <a:cubicBezTo>
                  <a:pt x="943280" y="6136411"/>
                  <a:pt x="896194" y="6100100"/>
                  <a:pt x="845971" y="6067177"/>
                </a:cubicBezTo>
                <a:cubicBezTo>
                  <a:pt x="720131" y="5983257"/>
                  <a:pt x="580034" y="5915740"/>
                  <a:pt x="448057" y="5841376"/>
                </a:cubicBezTo>
                <a:cubicBezTo>
                  <a:pt x="341781" y="5780886"/>
                  <a:pt x="90319" y="5630263"/>
                  <a:pt x="51253" y="5631825"/>
                </a:cubicBezTo>
                <a:close/>
                <a:moveTo>
                  <a:pt x="2606687" y="5630718"/>
                </a:moveTo>
                <a:cubicBezTo>
                  <a:pt x="2484040" y="5952782"/>
                  <a:pt x="2550772" y="6305470"/>
                  <a:pt x="2645658" y="6640259"/>
                </a:cubicBezTo>
                <a:cubicBezTo>
                  <a:pt x="2605413" y="6320984"/>
                  <a:pt x="2566733" y="5970903"/>
                  <a:pt x="2606687" y="5630718"/>
                </a:cubicBezTo>
                <a:close/>
                <a:moveTo>
                  <a:pt x="3642057" y="5573487"/>
                </a:moveTo>
                <a:cubicBezTo>
                  <a:pt x="3639338" y="5575453"/>
                  <a:pt x="3635693" y="5577466"/>
                  <a:pt x="3632981" y="5579437"/>
                </a:cubicBezTo>
                <a:cubicBezTo>
                  <a:pt x="3509182" y="5674738"/>
                  <a:pt x="3441993" y="5811556"/>
                  <a:pt x="3382436" y="5952726"/>
                </a:cubicBezTo>
                <a:cubicBezTo>
                  <a:pt x="3286719" y="6179641"/>
                  <a:pt x="3231101" y="6419386"/>
                  <a:pt x="3191929" y="6662669"/>
                </a:cubicBezTo>
                <a:cubicBezTo>
                  <a:pt x="3237125" y="6465250"/>
                  <a:pt x="3296425" y="6271000"/>
                  <a:pt x="3369898" y="6081771"/>
                </a:cubicBezTo>
                <a:cubicBezTo>
                  <a:pt x="3454377" y="5865084"/>
                  <a:pt x="3540614" y="5703753"/>
                  <a:pt x="3642057" y="5573487"/>
                </a:cubicBezTo>
                <a:close/>
                <a:moveTo>
                  <a:pt x="2650666" y="5530686"/>
                </a:moveTo>
                <a:cubicBezTo>
                  <a:pt x="2650695" y="5531619"/>
                  <a:pt x="2650695" y="5531619"/>
                  <a:pt x="2650249" y="5532101"/>
                </a:cubicBezTo>
                <a:cubicBezTo>
                  <a:pt x="2594633" y="5864991"/>
                  <a:pt x="2624834" y="6212617"/>
                  <a:pt x="2663808" y="6535215"/>
                </a:cubicBezTo>
                <a:cubicBezTo>
                  <a:pt x="2664345" y="6401062"/>
                  <a:pt x="2664881" y="6266909"/>
                  <a:pt x="2665418" y="6132756"/>
                </a:cubicBezTo>
                <a:cubicBezTo>
                  <a:pt x="2666315" y="5945493"/>
                  <a:pt x="2661038" y="5743579"/>
                  <a:pt x="2650666" y="5530686"/>
                </a:cubicBezTo>
                <a:close/>
                <a:moveTo>
                  <a:pt x="2680277" y="5479204"/>
                </a:moveTo>
                <a:cubicBezTo>
                  <a:pt x="2679826" y="5479692"/>
                  <a:pt x="2679381" y="5480173"/>
                  <a:pt x="2678972" y="5481582"/>
                </a:cubicBezTo>
                <a:cubicBezTo>
                  <a:pt x="2691463" y="5712555"/>
                  <a:pt x="2697451" y="5932139"/>
                  <a:pt x="2696666" y="6133836"/>
                </a:cubicBezTo>
                <a:lnTo>
                  <a:pt x="2695769" y="6390955"/>
                </a:lnTo>
                <a:cubicBezTo>
                  <a:pt x="2712509" y="6297144"/>
                  <a:pt x="2727840" y="6202916"/>
                  <a:pt x="2739893" y="6108357"/>
                </a:cubicBezTo>
                <a:cubicBezTo>
                  <a:pt x="2767348" y="5886500"/>
                  <a:pt x="2737035" y="5687445"/>
                  <a:pt x="2680277" y="5479204"/>
                </a:cubicBezTo>
                <a:close/>
                <a:moveTo>
                  <a:pt x="1132195" y="5467980"/>
                </a:moveTo>
                <a:cubicBezTo>
                  <a:pt x="1313054" y="5495211"/>
                  <a:pt x="1494925" y="5512628"/>
                  <a:pt x="1679056" y="5516907"/>
                </a:cubicBezTo>
                <a:cubicBezTo>
                  <a:pt x="1838007" y="5520331"/>
                  <a:pt x="1983050" y="5490313"/>
                  <a:pt x="2128648" y="5474249"/>
                </a:cubicBezTo>
                <a:cubicBezTo>
                  <a:pt x="2028248" y="5467548"/>
                  <a:pt x="1925543" y="5473055"/>
                  <a:pt x="1825619" y="5478447"/>
                </a:cubicBezTo>
                <a:lnTo>
                  <a:pt x="1737798" y="5483353"/>
                </a:lnTo>
                <a:cubicBezTo>
                  <a:pt x="1536509" y="5492800"/>
                  <a:pt x="1332771" y="5487439"/>
                  <a:pt x="1132195" y="5467980"/>
                </a:cubicBezTo>
                <a:close/>
                <a:moveTo>
                  <a:pt x="1456157" y="5371404"/>
                </a:moveTo>
                <a:cubicBezTo>
                  <a:pt x="1385125" y="5373535"/>
                  <a:pt x="1314200" y="5378444"/>
                  <a:pt x="1244432" y="5385601"/>
                </a:cubicBezTo>
                <a:cubicBezTo>
                  <a:pt x="1151404" y="5395142"/>
                  <a:pt x="1060429" y="5408677"/>
                  <a:pt x="973990" y="5424940"/>
                </a:cubicBezTo>
                <a:cubicBezTo>
                  <a:pt x="1017323" y="5425535"/>
                  <a:pt x="1061253" y="5429367"/>
                  <a:pt x="1103809" y="5433720"/>
                </a:cubicBezTo>
                <a:lnTo>
                  <a:pt x="1123454" y="5435727"/>
                </a:lnTo>
                <a:cubicBezTo>
                  <a:pt x="1326373" y="5455563"/>
                  <a:pt x="1533386" y="5461253"/>
                  <a:pt x="1737017" y="5452183"/>
                </a:cubicBezTo>
                <a:lnTo>
                  <a:pt x="1824397" y="5447757"/>
                </a:lnTo>
                <a:cubicBezTo>
                  <a:pt x="1905266" y="5443590"/>
                  <a:pt x="1987993" y="5439352"/>
                  <a:pt x="2070059" y="5441660"/>
                </a:cubicBezTo>
                <a:cubicBezTo>
                  <a:pt x="1883310" y="5383634"/>
                  <a:pt x="1669251" y="5365013"/>
                  <a:pt x="1456157" y="5371404"/>
                </a:cubicBezTo>
                <a:close/>
                <a:moveTo>
                  <a:pt x="4988186" y="5216467"/>
                </a:moveTo>
                <a:cubicBezTo>
                  <a:pt x="4914642" y="5275764"/>
                  <a:pt x="4843105" y="5338703"/>
                  <a:pt x="4777334" y="5406072"/>
                </a:cubicBezTo>
                <a:cubicBezTo>
                  <a:pt x="4757662" y="5426414"/>
                  <a:pt x="4737537" y="5447249"/>
                  <a:pt x="4718341" y="5468043"/>
                </a:cubicBezTo>
                <a:cubicBezTo>
                  <a:pt x="4681696" y="5506771"/>
                  <a:pt x="4644162" y="5546455"/>
                  <a:pt x="4604655" y="5583434"/>
                </a:cubicBezTo>
                <a:cubicBezTo>
                  <a:pt x="4591636" y="5595592"/>
                  <a:pt x="4578581" y="5606832"/>
                  <a:pt x="4565074" y="5618550"/>
                </a:cubicBezTo>
                <a:cubicBezTo>
                  <a:pt x="4712605" y="5511121"/>
                  <a:pt x="4908425" y="5376611"/>
                  <a:pt x="4988186" y="5216467"/>
                </a:cubicBezTo>
                <a:close/>
                <a:moveTo>
                  <a:pt x="4978032" y="5183809"/>
                </a:moveTo>
                <a:cubicBezTo>
                  <a:pt x="4748175" y="5235846"/>
                  <a:pt x="4611576" y="5430393"/>
                  <a:pt x="4463413" y="5615162"/>
                </a:cubicBezTo>
                <a:cubicBezTo>
                  <a:pt x="4428815" y="5658459"/>
                  <a:pt x="4393697" y="5700384"/>
                  <a:pt x="4358134" y="5742791"/>
                </a:cubicBezTo>
                <a:lnTo>
                  <a:pt x="4376219" y="5729027"/>
                </a:lnTo>
                <a:cubicBezTo>
                  <a:pt x="4445817" y="5675939"/>
                  <a:pt x="4517680" y="5621374"/>
                  <a:pt x="4582340" y="5561037"/>
                </a:cubicBezTo>
                <a:cubicBezTo>
                  <a:pt x="4621394" y="5524545"/>
                  <a:pt x="4658482" y="5485345"/>
                  <a:pt x="4694684" y="5447098"/>
                </a:cubicBezTo>
                <a:cubicBezTo>
                  <a:pt x="4714806" y="5426264"/>
                  <a:pt x="4733997" y="5405475"/>
                  <a:pt x="4754123" y="5384643"/>
                </a:cubicBezTo>
                <a:cubicBezTo>
                  <a:pt x="4823909" y="5312925"/>
                  <a:pt x="4899949" y="5246074"/>
                  <a:pt x="4978032" y="5183809"/>
                </a:cubicBezTo>
                <a:close/>
                <a:moveTo>
                  <a:pt x="1903353" y="5044827"/>
                </a:moveTo>
                <a:cubicBezTo>
                  <a:pt x="1900901" y="5049058"/>
                  <a:pt x="1913196" y="5065331"/>
                  <a:pt x="1936931" y="5093954"/>
                </a:cubicBezTo>
                <a:cubicBezTo>
                  <a:pt x="2021149" y="5196773"/>
                  <a:pt x="2108079" y="5297623"/>
                  <a:pt x="2195868" y="5396574"/>
                </a:cubicBezTo>
                <a:cubicBezTo>
                  <a:pt x="2196092" y="5309013"/>
                  <a:pt x="2155695" y="5230515"/>
                  <a:pt x="2088852" y="5166123"/>
                </a:cubicBezTo>
                <a:cubicBezTo>
                  <a:pt x="2054441" y="5132572"/>
                  <a:pt x="2001584" y="5091839"/>
                  <a:pt x="1958241" y="5067955"/>
                </a:cubicBezTo>
                <a:cubicBezTo>
                  <a:pt x="1922998" y="5048408"/>
                  <a:pt x="1905803" y="5040595"/>
                  <a:pt x="1903353" y="5044827"/>
                </a:cubicBezTo>
                <a:close/>
                <a:moveTo>
                  <a:pt x="1979378" y="4769504"/>
                </a:moveTo>
                <a:cubicBezTo>
                  <a:pt x="2251008" y="4946802"/>
                  <a:pt x="2557265" y="5046794"/>
                  <a:pt x="2882120" y="5064547"/>
                </a:cubicBezTo>
                <a:cubicBezTo>
                  <a:pt x="2852884" y="5055476"/>
                  <a:pt x="2822307" y="5047842"/>
                  <a:pt x="2793103" y="5039699"/>
                </a:cubicBezTo>
                <a:lnTo>
                  <a:pt x="2770041" y="5033634"/>
                </a:lnTo>
                <a:cubicBezTo>
                  <a:pt x="2500352" y="4962917"/>
                  <a:pt x="2236095" y="4864963"/>
                  <a:pt x="1979378" y="4769504"/>
                </a:cubicBezTo>
                <a:close/>
                <a:moveTo>
                  <a:pt x="1927410" y="4716164"/>
                </a:moveTo>
                <a:cubicBezTo>
                  <a:pt x="1938311" y="4720848"/>
                  <a:pt x="1949172" y="4724604"/>
                  <a:pt x="1959587" y="4728849"/>
                </a:cubicBezTo>
                <a:cubicBezTo>
                  <a:pt x="2224818" y="4827692"/>
                  <a:pt x="2499050" y="4930367"/>
                  <a:pt x="2777707" y="5003991"/>
                </a:cubicBezTo>
                <a:lnTo>
                  <a:pt x="2800768" y="5010056"/>
                </a:lnTo>
                <a:lnTo>
                  <a:pt x="2879408" y="5031590"/>
                </a:lnTo>
                <a:cubicBezTo>
                  <a:pt x="2873718" y="5029024"/>
                  <a:pt x="2868475" y="5025973"/>
                  <a:pt x="2862295" y="5022958"/>
                </a:cubicBezTo>
                <a:cubicBezTo>
                  <a:pt x="2846112" y="5014292"/>
                  <a:pt x="2829972" y="5006555"/>
                  <a:pt x="2813343" y="4998369"/>
                </a:cubicBezTo>
                <a:cubicBezTo>
                  <a:pt x="2759214" y="4972589"/>
                  <a:pt x="2702010" y="4951123"/>
                  <a:pt x="2646245" y="4930999"/>
                </a:cubicBezTo>
                <a:cubicBezTo>
                  <a:pt x="2437298" y="4853662"/>
                  <a:pt x="2221285" y="4774272"/>
                  <a:pt x="1999243" y="4730524"/>
                </a:cubicBezTo>
                <a:lnTo>
                  <a:pt x="1979527" y="4726651"/>
                </a:lnTo>
                <a:lnTo>
                  <a:pt x="1927410" y="4716164"/>
                </a:lnTo>
                <a:close/>
                <a:moveTo>
                  <a:pt x="1997014" y="4698007"/>
                </a:moveTo>
                <a:lnTo>
                  <a:pt x="2005458" y="4699540"/>
                </a:lnTo>
                <a:cubicBezTo>
                  <a:pt x="2229844" y="4743659"/>
                  <a:pt x="2447268" y="4823456"/>
                  <a:pt x="2657186" y="4901687"/>
                </a:cubicBezTo>
                <a:cubicBezTo>
                  <a:pt x="2713431" y="4922259"/>
                  <a:pt x="2771565" y="4943688"/>
                  <a:pt x="2826662" y="4970362"/>
                </a:cubicBezTo>
                <a:cubicBezTo>
                  <a:pt x="2843286" y="4978544"/>
                  <a:pt x="2859914" y="4986729"/>
                  <a:pt x="2876100" y="4995397"/>
                </a:cubicBezTo>
                <a:cubicBezTo>
                  <a:pt x="2929811" y="5022592"/>
                  <a:pt x="2984941" y="5050189"/>
                  <a:pt x="3042600" y="5059532"/>
                </a:cubicBezTo>
                <a:cubicBezTo>
                  <a:pt x="2779645" y="4772909"/>
                  <a:pt x="2376891" y="4705645"/>
                  <a:pt x="1997014" y="4698007"/>
                </a:cubicBezTo>
                <a:close/>
                <a:moveTo>
                  <a:pt x="2305292" y="4219492"/>
                </a:moveTo>
                <a:cubicBezTo>
                  <a:pt x="2631112" y="4377847"/>
                  <a:pt x="3011879" y="4535878"/>
                  <a:pt x="3360922" y="4529373"/>
                </a:cubicBezTo>
                <a:cubicBezTo>
                  <a:pt x="3408391" y="4528405"/>
                  <a:pt x="3451278" y="4517839"/>
                  <a:pt x="3492420" y="4510145"/>
                </a:cubicBezTo>
                <a:cubicBezTo>
                  <a:pt x="3448862" y="4503966"/>
                  <a:pt x="3405674" y="4495449"/>
                  <a:pt x="3364086" y="4480340"/>
                </a:cubicBezTo>
                <a:cubicBezTo>
                  <a:pt x="3314946" y="4462747"/>
                  <a:pt x="3269673" y="4437082"/>
                  <a:pt x="3225818" y="4411822"/>
                </a:cubicBezTo>
                <a:cubicBezTo>
                  <a:pt x="3194830" y="4393966"/>
                  <a:pt x="3162431" y="4375699"/>
                  <a:pt x="3129696" y="4360704"/>
                </a:cubicBezTo>
                <a:cubicBezTo>
                  <a:pt x="3030558" y="4315774"/>
                  <a:pt x="2920899" y="4298731"/>
                  <a:pt x="2814545" y="4282955"/>
                </a:cubicBezTo>
                <a:cubicBezTo>
                  <a:pt x="2648192" y="4257474"/>
                  <a:pt x="2475773" y="4231762"/>
                  <a:pt x="2305292" y="4219492"/>
                </a:cubicBezTo>
                <a:close/>
                <a:moveTo>
                  <a:pt x="2626982" y="4206450"/>
                </a:moveTo>
                <a:cubicBezTo>
                  <a:pt x="2581807" y="4205467"/>
                  <a:pt x="2536327" y="4205706"/>
                  <a:pt x="2490617" y="4206951"/>
                </a:cubicBezTo>
                <a:cubicBezTo>
                  <a:pt x="2601507" y="4219748"/>
                  <a:pt x="2711611" y="4236309"/>
                  <a:pt x="2819869" y="4252936"/>
                </a:cubicBezTo>
                <a:cubicBezTo>
                  <a:pt x="2928115" y="4269564"/>
                  <a:pt x="3040565" y="4286495"/>
                  <a:pt x="3143018" y="4332698"/>
                </a:cubicBezTo>
                <a:cubicBezTo>
                  <a:pt x="3177162" y="4348099"/>
                  <a:pt x="3210046" y="4366808"/>
                  <a:pt x="3241520" y="4385112"/>
                </a:cubicBezTo>
                <a:cubicBezTo>
                  <a:pt x="3284409" y="4409477"/>
                  <a:pt x="3328265" y="4434739"/>
                  <a:pt x="3374575" y="4451517"/>
                </a:cubicBezTo>
                <a:cubicBezTo>
                  <a:pt x="3416609" y="4466134"/>
                  <a:pt x="3460730" y="4474620"/>
                  <a:pt x="3505221" y="4480757"/>
                </a:cubicBezTo>
                <a:cubicBezTo>
                  <a:pt x="3244537" y="4280088"/>
                  <a:pt x="2943211" y="4213332"/>
                  <a:pt x="2626982" y="4206450"/>
                </a:cubicBezTo>
                <a:close/>
                <a:moveTo>
                  <a:pt x="1310106" y="3943217"/>
                </a:moveTo>
                <a:cubicBezTo>
                  <a:pt x="1129544" y="4063332"/>
                  <a:pt x="976804" y="4212308"/>
                  <a:pt x="854994" y="4399136"/>
                </a:cubicBezTo>
                <a:cubicBezTo>
                  <a:pt x="813550" y="4462067"/>
                  <a:pt x="777442" y="4528637"/>
                  <a:pt x="742462" y="4594648"/>
                </a:cubicBezTo>
                <a:cubicBezTo>
                  <a:pt x="769633" y="4559245"/>
                  <a:pt x="795392" y="4522436"/>
                  <a:pt x="820602" y="4485915"/>
                </a:cubicBezTo>
                <a:cubicBezTo>
                  <a:pt x="839644" y="4458097"/>
                  <a:pt x="858127" y="4430568"/>
                  <a:pt x="878295" y="4403594"/>
                </a:cubicBezTo>
                <a:cubicBezTo>
                  <a:pt x="984168" y="4259170"/>
                  <a:pt x="1114491" y="4132679"/>
                  <a:pt x="1240607" y="4010401"/>
                </a:cubicBezTo>
                <a:lnTo>
                  <a:pt x="1310106" y="3943217"/>
                </a:lnTo>
                <a:close/>
                <a:moveTo>
                  <a:pt x="1423113" y="3874565"/>
                </a:moveTo>
                <a:lnTo>
                  <a:pt x="1260565" y="4031982"/>
                </a:lnTo>
                <a:cubicBezTo>
                  <a:pt x="1135292" y="4153135"/>
                  <a:pt x="1006090" y="4279065"/>
                  <a:pt x="901900" y="4421236"/>
                </a:cubicBezTo>
                <a:cubicBezTo>
                  <a:pt x="882292" y="4447928"/>
                  <a:pt x="863806" y="4475465"/>
                  <a:pt x="845044" y="4502436"/>
                </a:cubicBezTo>
                <a:cubicBezTo>
                  <a:pt x="797719" y="4571828"/>
                  <a:pt x="747866" y="4643196"/>
                  <a:pt x="685926" y="4703069"/>
                </a:cubicBezTo>
                <a:cubicBezTo>
                  <a:pt x="685087" y="4704192"/>
                  <a:pt x="684806" y="4705038"/>
                  <a:pt x="684248" y="4706721"/>
                </a:cubicBezTo>
                <a:cubicBezTo>
                  <a:pt x="955830" y="4450343"/>
                  <a:pt x="1215323" y="4185291"/>
                  <a:pt x="1423113" y="3874565"/>
                </a:cubicBezTo>
                <a:close/>
                <a:moveTo>
                  <a:pt x="3316479" y="3872136"/>
                </a:moveTo>
                <a:lnTo>
                  <a:pt x="3546806" y="4356139"/>
                </a:lnTo>
                <a:cubicBezTo>
                  <a:pt x="3510992" y="4217388"/>
                  <a:pt x="3440535" y="4086075"/>
                  <a:pt x="3364433" y="3953121"/>
                </a:cubicBezTo>
                <a:lnTo>
                  <a:pt x="3316479" y="3872136"/>
                </a:lnTo>
                <a:close/>
                <a:moveTo>
                  <a:pt x="3291335" y="3767420"/>
                </a:moveTo>
                <a:cubicBezTo>
                  <a:pt x="3324815" y="3824296"/>
                  <a:pt x="3358740" y="3880691"/>
                  <a:pt x="3390805" y="3937163"/>
                </a:cubicBezTo>
                <a:cubicBezTo>
                  <a:pt x="3469925" y="4075583"/>
                  <a:pt x="3543427" y="4213298"/>
                  <a:pt x="3579062" y="4359040"/>
                </a:cubicBezTo>
                <a:cubicBezTo>
                  <a:pt x="3585500" y="4228842"/>
                  <a:pt x="3547302" y="4112076"/>
                  <a:pt x="3467355" y="3988130"/>
                </a:cubicBezTo>
                <a:cubicBezTo>
                  <a:pt x="3420192" y="3915029"/>
                  <a:pt x="3371016" y="3849934"/>
                  <a:pt x="3310753" y="3787140"/>
                </a:cubicBezTo>
                <a:cubicBezTo>
                  <a:pt x="3303466" y="3779509"/>
                  <a:pt x="3297626" y="3773227"/>
                  <a:pt x="3291335" y="3767420"/>
                </a:cubicBezTo>
                <a:close/>
                <a:moveTo>
                  <a:pt x="1635889" y="3709494"/>
                </a:moveTo>
                <a:lnTo>
                  <a:pt x="1634800" y="3731111"/>
                </a:lnTo>
                <a:cubicBezTo>
                  <a:pt x="1634800" y="3731111"/>
                  <a:pt x="1635342" y="3716795"/>
                  <a:pt x="1635889" y="3709494"/>
                </a:cubicBezTo>
                <a:close/>
                <a:moveTo>
                  <a:pt x="1510397" y="3684705"/>
                </a:moveTo>
                <a:cubicBezTo>
                  <a:pt x="1390337" y="3729510"/>
                  <a:pt x="1267181" y="3766747"/>
                  <a:pt x="1146550" y="3802012"/>
                </a:cubicBezTo>
                <a:cubicBezTo>
                  <a:pt x="997862" y="3845736"/>
                  <a:pt x="843568" y="3890871"/>
                  <a:pt x="698834" y="3952272"/>
                </a:cubicBezTo>
                <a:cubicBezTo>
                  <a:pt x="460140" y="4053106"/>
                  <a:pt x="242842" y="4196577"/>
                  <a:pt x="34256" y="4347603"/>
                </a:cubicBezTo>
                <a:cubicBezTo>
                  <a:pt x="196048" y="4248849"/>
                  <a:pt x="358125" y="4150653"/>
                  <a:pt x="527241" y="4065078"/>
                </a:cubicBezTo>
                <a:cubicBezTo>
                  <a:pt x="838255" y="3908281"/>
                  <a:pt x="1212318" y="3863093"/>
                  <a:pt x="1510397" y="3684705"/>
                </a:cubicBezTo>
                <a:close/>
                <a:moveTo>
                  <a:pt x="1313114" y="3655216"/>
                </a:moveTo>
                <a:cubicBezTo>
                  <a:pt x="1247578" y="3654578"/>
                  <a:pt x="1180153" y="3656293"/>
                  <a:pt x="1109304" y="3669030"/>
                </a:cubicBezTo>
                <a:cubicBezTo>
                  <a:pt x="689821" y="3744031"/>
                  <a:pt x="334655" y="4032530"/>
                  <a:pt x="8129" y="4330519"/>
                </a:cubicBezTo>
                <a:cubicBezTo>
                  <a:pt x="220923" y="4176682"/>
                  <a:pt x="442983" y="4028720"/>
                  <a:pt x="687572" y="3925629"/>
                </a:cubicBezTo>
                <a:cubicBezTo>
                  <a:pt x="833705" y="3864223"/>
                  <a:pt x="989118" y="3818520"/>
                  <a:pt x="1138365" y="3774515"/>
                </a:cubicBezTo>
                <a:cubicBezTo>
                  <a:pt x="1260121" y="3738686"/>
                  <a:pt x="1384681" y="3701451"/>
                  <a:pt x="1505579" y="3655526"/>
                </a:cubicBezTo>
                <a:cubicBezTo>
                  <a:pt x="1442294" y="3658846"/>
                  <a:pt x="1378650" y="3655854"/>
                  <a:pt x="1313114" y="3655216"/>
                </a:cubicBezTo>
                <a:close/>
                <a:moveTo>
                  <a:pt x="3655073" y="3650884"/>
                </a:moveTo>
                <a:cubicBezTo>
                  <a:pt x="3768399" y="3765347"/>
                  <a:pt x="3873410" y="3884450"/>
                  <a:pt x="3989938" y="3991685"/>
                </a:cubicBezTo>
                <a:cubicBezTo>
                  <a:pt x="4106468" y="4098916"/>
                  <a:pt x="4234512" y="4194281"/>
                  <a:pt x="4393907" y="4261258"/>
                </a:cubicBezTo>
                <a:cubicBezTo>
                  <a:pt x="4484865" y="4299540"/>
                  <a:pt x="4571866" y="4332385"/>
                  <a:pt x="4648051" y="4374051"/>
                </a:cubicBezTo>
                <a:cubicBezTo>
                  <a:pt x="4566919" y="4301848"/>
                  <a:pt x="4474187" y="4242216"/>
                  <a:pt x="4383389" y="4184369"/>
                </a:cubicBezTo>
                <a:cubicBezTo>
                  <a:pt x="4310251" y="4137460"/>
                  <a:pt x="4234739" y="4089250"/>
                  <a:pt x="4165508" y="4035196"/>
                </a:cubicBezTo>
                <a:cubicBezTo>
                  <a:pt x="4131846" y="4008598"/>
                  <a:pt x="4099524" y="3980549"/>
                  <a:pt x="4068162" y="3953394"/>
                </a:cubicBezTo>
                <a:cubicBezTo>
                  <a:pt x="4039704" y="3928919"/>
                  <a:pt x="4010763" y="3903992"/>
                  <a:pt x="3981416" y="3880482"/>
                </a:cubicBezTo>
                <a:cubicBezTo>
                  <a:pt x="3923199" y="3833909"/>
                  <a:pt x="3860482" y="3791236"/>
                  <a:pt x="3800147" y="3749872"/>
                </a:cubicBezTo>
                <a:lnTo>
                  <a:pt x="3655073" y="3650884"/>
                </a:lnTo>
                <a:close/>
                <a:moveTo>
                  <a:pt x="3670252" y="3622798"/>
                </a:moveTo>
                <a:lnTo>
                  <a:pt x="3817258" y="3723577"/>
                </a:lnTo>
                <a:cubicBezTo>
                  <a:pt x="3878082" y="3765387"/>
                  <a:pt x="3941278" y="3808498"/>
                  <a:pt x="4000461" y="3855966"/>
                </a:cubicBezTo>
                <a:cubicBezTo>
                  <a:pt x="4030299" y="3879926"/>
                  <a:pt x="4059233" y="3904849"/>
                  <a:pt x="4088180" y="3929774"/>
                </a:cubicBezTo>
                <a:cubicBezTo>
                  <a:pt x="4119532" y="3956928"/>
                  <a:pt x="4151864" y="3984979"/>
                  <a:pt x="4184555" y="4010683"/>
                </a:cubicBezTo>
                <a:cubicBezTo>
                  <a:pt x="4252374" y="4064322"/>
                  <a:pt x="4327401" y="4112085"/>
                  <a:pt x="4399563" y="4158106"/>
                </a:cubicBezTo>
                <a:cubicBezTo>
                  <a:pt x="4497546" y="4220788"/>
                  <a:pt x="4597907" y="4284772"/>
                  <a:pt x="4684469" y="4364680"/>
                </a:cubicBezTo>
                <a:lnTo>
                  <a:pt x="4690271" y="4370034"/>
                </a:lnTo>
                <a:cubicBezTo>
                  <a:pt x="4617960" y="4134006"/>
                  <a:pt x="4326618" y="3976128"/>
                  <a:pt x="4136093" y="3858466"/>
                </a:cubicBezTo>
                <a:cubicBezTo>
                  <a:pt x="3985171" y="3764831"/>
                  <a:pt x="3831168" y="3687155"/>
                  <a:pt x="3670252" y="3622798"/>
                </a:cubicBezTo>
                <a:close/>
                <a:moveTo>
                  <a:pt x="4440129" y="3448571"/>
                </a:moveTo>
                <a:cubicBezTo>
                  <a:pt x="4500684" y="3600308"/>
                  <a:pt x="4765312" y="3823987"/>
                  <a:pt x="4856525" y="3915351"/>
                </a:cubicBezTo>
                <a:cubicBezTo>
                  <a:pt x="4921046" y="3979838"/>
                  <a:pt x="4987678" y="4047617"/>
                  <a:pt x="5059055" y="4108918"/>
                </a:cubicBezTo>
                <a:cubicBezTo>
                  <a:pt x="5130436" y="4170218"/>
                  <a:pt x="5206561" y="4225043"/>
                  <a:pt x="5290070" y="4263619"/>
                </a:cubicBezTo>
                <a:cubicBezTo>
                  <a:pt x="5126032" y="4132785"/>
                  <a:pt x="4978794" y="3979858"/>
                  <a:pt x="4834991" y="3830985"/>
                </a:cubicBezTo>
                <a:cubicBezTo>
                  <a:pt x="4709629" y="3700933"/>
                  <a:pt x="4579958" y="3567796"/>
                  <a:pt x="4440129" y="3448571"/>
                </a:cubicBezTo>
                <a:close/>
                <a:moveTo>
                  <a:pt x="4441737" y="3399734"/>
                </a:moveTo>
                <a:cubicBezTo>
                  <a:pt x="4437014" y="3398227"/>
                  <a:pt x="4433408" y="3398482"/>
                  <a:pt x="4431236" y="3400954"/>
                </a:cubicBezTo>
                <a:cubicBezTo>
                  <a:pt x="4474088" y="3436036"/>
                  <a:pt x="4516531" y="3472527"/>
                  <a:pt x="4557150" y="3510023"/>
                </a:cubicBezTo>
                <a:cubicBezTo>
                  <a:pt x="4661606" y="3606446"/>
                  <a:pt x="4760255" y="3709152"/>
                  <a:pt x="4856936" y="3809146"/>
                </a:cubicBezTo>
                <a:cubicBezTo>
                  <a:pt x="4939779" y="3895025"/>
                  <a:pt x="5024071" y="3982240"/>
                  <a:pt x="5111996" y="4065759"/>
                </a:cubicBezTo>
                <a:cubicBezTo>
                  <a:pt x="5199925" y="4149276"/>
                  <a:pt x="5291490" y="4229096"/>
                  <a:pt x="5388878" y="4300185"/>
                </a:cubicBezTo>
                <a:cubicBezTo>
                  <a:pt x="5401114" y="4303421"/>
                  <a:pt x="5413353" y="4306662"/>
                  <a:pt x="5425556" y="4308967"/>
                </a:cubicBezTo>
                <a:cubicBezTo>
                  <a:pt x="5290970" y="4122931"/>
                  <a:pt x="5119226" y="3974244"/>
                  <a:pt x="4943646" y="3822916"/>
                </a:cubicBezTo>
                <a:cubicBezTo>
                  <a:pt x="4828850" y="3724110"/>
                  <a:pt x="4714058" y="3625311"/>
                  <a:pt x="4594837" y="3532274"/>
                </a:cubicBezTo>
                <a:cubicBezTo>
                  <a:pt x="4562450" y="3507077"/>
                  <a:pt x="4474786" y="3410282"/>
                  <a:pt x="4441737" y="3399734"/>
                </a:cubicBezTo>
                <a:close/>
                <a:moveTo>
                  <a:pt x="5425834" y="3162785"/>
                </a:moveTo>
                <a:cubicBezTo>
                  <a:pt x="5393133" y="3300089"/>
                  <a:pt x="5401723" y="3491623"/>
                  <a:pt x="5401644" y="3617847"/>
                </a:cubicBezTo>
                <a:cubicBezTo>
                  <a:pt x="5401790" y="3807859"/>
                  <a:pt x="5425483" y="3992734"/>
                  <a:pt x="5467256" y="4175494"/>
                </a:cubicBezTo>
                <a:cubicBezTo>
                  <a:pt x="5469824" y="3971868"/>
                  <a:pt x="5459296" y="3766904"/>
                  <a:pt x="5448069" y="3567554"/>
                </a:cubicBezTo>
                <a:lnTo>
                  <a:pt x="5425834" y="3162785"/>
                </a:lnTo>
                <a:close/>
                <a:moveTo>
                  <a:pt x="1318687" y="3113840"/>
                </a:moveTo>
                <a:cubicBezTo>
                  <a:pt x="1233126" y="3142037"/>
                  <a:pt x="1148133" y="3174161"/>
                  <a:pt x="1066793" y="3212171"/>
                </a:cubicBezTo>
                <a:lnTo>
                  <a:pt x="993319" y="3247648"/>
                </a:lnTo>
                <a:cubicBezTo>
                  <a:pt x="947600" y="3269890"/>
                  <a:pt x="900765" y="3292688"/>
                  <a:pt x="853081" y="3312410"/>
                </a:cubicBezTo>
                <a:cubicBezTo>
                  <a:pt x="837376" y="3318884"/>
                  <a:pt x="821948" y="3324526"/>
                  <a:pt x="805957" y="3330443"/>
                </a:cubicBezTo>
                <a:cubicBezTo>
                  <a:pt x="973723" y="3284161"/>
                  <a:pt x="1193682" y="3229943"/>
                  <a:pt x="1318687" y="3113840"/>
                </a:cubicBezTo>
                <a:close/>
                <a:moveTo>
                  <a:pt x="5453702" y="3090882"/>
                </a:moveTo>
                <a:lnTo>
                  <a:pt x="5480135" y="3565802"/>
                </a:lnTo>
                <a:cubicBezTo>
                  <a:pt x="5490809" y="3762845"/>
                  <a:pt x="5501220" y="3965024"/>
                  <a:pt x="5499023" y="4166310"/>
                </a:cubicBezTo>
                <a:cubicBezTo>
                  <a:pt x="5546233" y="3984186"/>
                  <a:pt x="5562118" y="3799116"/>
                  <a:pt x="5547022" y="3607838"/>
                </a:cubicBezTo>
                <a:cubicBezTo>
                  <a:pt x="5541143" y="3530760"/>
                  <a:pt x="5529684" y="3453908"/>
                  <a:pt x="5515964" y="3378541"/>
                </a:cubicBezTo>
                <a:cubicBezTo>
                  <a:pt x="5505773" y="3321668"/>
                  <a:pt x="5475310" y="3095607"/>
                  <a:pt x="5453702" y="3090882"/>
                </a:cubicBezTo>
                <a:close/>
                <a:moveTo>
                  <a:pt x="1238695" y="3076820"/>
                </a:moveTo>
                <a:cubicBezTo>
                  <a:pt x="1051055" y="3082190"/>
                  <a:pt x="886407" y="3192548"/>
                  <a:pt x="716371" y="3293249"/>
                </a:cubicBezTo>
                <a:cubicBezTo>
                  <a:pt x="670943" y="3320259"/>
                  <a:pt x="625512" y="3345868"/>
                  <a:pt x="579522" y="3371759"/>
                </a:cubicBezTo>
                <a:lnTo>
                  <a:pt x="600288" y="3365555"/>
                </a:lnTo>
                <a:cubicBezTo>
                  <a:pt x="680240" y="3341573"/>
                  <a:pt x="762713" y="3317034"/>
                  <a:pt x="840692" y="3284921"/>
                </a:cubicBezTo>
                <a:cubicBezTo>
                  <a:pt x="887813" y="3265484"/>
                  <a:pt x="934087" y="3242968"/>
                  <a:pt x="979248" y="3221003"/>
                </a:cubicBezTo>
                <a:lnTo>
                  <a:pt x="1053282" y="3185247"/>
                </a:lnTo>
                <a:cubicBezTo>
                  <a:pt x="1139666" y="3144704"/>
                  <a:pt x="1229994" y="3110602"/>
                  <a:pt x="1320603" y="3081281"/>
                </a:cubicBezTo>
                <a:cubicBezTo>
                  <a:pt x="1292776" y="3077429"/>
                  <a:pt x="1265502" y="3076054"/>
                  <a:pt x="1238695" y="3076820"/>
                </a:cubicBezTo>
                <a:close/>
                <a:moveTo>
                  <a:pt x="5425627" y="2954192"/>
                </a:moveTo>
                <a:cubicBezTo>
                  <a:pt x="5441934" y="2956815"/>
                  <a:pt x="5467954" y="2996115"/>
                  <a:pt x="5470770" y="3005435"/>
                </a:cubicBezTo>
                <a:cubicBezTo>
                  <a:pt x="5608772" y="3451680"/>
                  <a:pt x="5674122" y="3909676"/>
                  <a:pt x="5519779" y="4359223"/>
                </a:cubicBezTo>
                <a:cubicBezTo>
                  <a:pt x="5520262" y="4359669"/>
                  <a:pt x="5520293" y="4360602"/>
                  <a:pt x="5520293" y="4360602"/>
                </a:cubicBezTo>
                <a:cubicBezTo>
                  <a:pt x="5627244" y="4437825"/>
                  <a:pt x="5699666" y="4548575"/>
                  <a:pt x="5767221" y="4665564"/>
                </a:cubicBezTo>
                <a:cubicBezTo>
                  <a:pt x="6275281" y="4699277"/>
                  <a:pt x="6739386" y="4778523"/>
                  <a:pt x="6937169" y="4815941"/>
                </a:cubicBezTo>
                <a:cubicBezTo>
                  <a:pt x="7134952" y="4853359"/>
                  <a:pt x="7020263" y="4903218"/>
                  <a:pt x="6953922" y="4890068"/>
                </a:cubicBezTo>
                <a:cubicBezTo>
                  <a:pt x="6799988" y="4859556"/>
                  <a:pt x="6485790" y="4815676"/>
                  <a:pt x="6071359" y="4770770"/>
                </a:cubicBezTo>
                <a:lnTo>
                  <a:pt x="6038839" y="4764474"/>
                </a:lnTo>
                <a:cubicBezTo>
                  <a:pt x="6038795" y="4764265"/>
                  <a:pt x="6038750" y="4764056"/>
                  <a:pt x="6038706" y="4763847"/>
                </a:cubicBezTo>
                <a:lnTo>
                  <a:pt x="6037784" y="4764270"/>
                </a:lnTo>
                <a:lnTo>
                  <a:pt x="6038839" y="4764474"/>
                </a:lnTo>
                <a:lnTo>
                  <a:pt x="6040338" y="4771418"/>
                </a:lnTo>
                <a:cubicBezTo>
                  <a:pt x="6039088" y="4781803"/>
                  <a:pt x="6034314" y="4794510"/>
                  <a:pt x="6024488" y="4809903"/>
                </a:cubicBezTo>
                <a:cubicBezTo>
                  <a:pt x="5910095" y="5058984"/>
                  <a:pt x="5773348" y="5296385"/>
                  <a:pt x="5599771" y="5509652"/>
                </a:cubicBezTo>
                <a:cubicBezTo>
                  <a:pt x="5583815" y="5529842"/>
                  <a:pt x="5566811" y="5547293"/>
                  <a:pt x="5548843" y="5563845"/>
                </a:cubicBezTo>
                <a:cubicBezTo>
                  <a:pt x="5773782" y="5645205"/>
                  <a:pt x="5890323" y="6067151"/>
                  <a:pt x="5940952" y="6250028"/>
                </a:cubicBezTo>
                <a:cubicBezTo>
                  <a:pt x="5979301" y="6387982"/>
                  <a:pt x="6009900" y="6527294"/>
                  <a:pt x="6043441" y="6665847"/>
                </a:cubicBezTo>
                <a:lnTo>
                  <a:pt x="6093432" y="6858000"/>
                </a:lnTo>
                <a:lnTo>
                  <a:pt x="6034344" y="6858000"/>
                </a:lnTo>
                <a:lnTo>
                  <a:pt x="6026679" y="6836959"/>
                </a:lnTo>
                <a:cubicBezTo>
                  <a:pt x="5958957" y="6665497"/>
                  <a:pt x="5878558" y="6498078"/>
                  <a:pt x="5800441" y="6335286"/>
                </a:cubicBezTo>
                <a:cubicBezTo>
                  <a:pt x="5703359" y="6131918"/>
                  <a:pt x="5602295" y="5922187"/>
                  <a:pt x="5526562" y="5705388"/>
                </a:cubicBezTo>
                <a:cubicBezTo>
                  <a:pt x="5523956" y="5698505"/>
                  <a:pt x="5521803" y="5691139"/>
                  <a:pt x="5519640" y="5683774"/>
                </a:cubicBezTo>
                <a:cubicBezTo>
                  <a:pt x="5523207" y="5970988"/>
                  <a:pt x="5738292" y="6306566"/>
                  <a:pt x="5844559" y="6553349"/>
                </a:cubicBezTo>
                <a:lnTo>
                  <a:pt x="5975994" y="6858000"/>
                </a:lnTo>
                <a:lnTo>
                  <a:pt x="5898547" y="6858000"/>
                </a:lnTo>
                <a:lnTo>
                  <a:pt x="5682041" y="6355860"/>
                </a:lnTo>
                <a:cubicBezTo>
                  <a:pt x="5609136" y="6186449"/>
                  <a:pt x="5505535" y="6006625"/>
                  <a:pt x="5461758" y="5820220"/>
                </a:cubicBezTo>
                <a:cubicBezTo>
                  <a:pt x="5415457" y="6083349"/>
                  <a:pt x="5335494" y="6334433"/>
                  <a:pt x="5237282" y="6579086"/>
                </a:cubicBezTo>
                <a:lnTo>
                  <a:pt x="5115009" y="6858000"/>
                </a:lnTo>
                <a:lnTo>
                  <a:pt x="5028074" y="6858000"/>
                </a:lnTo>
                <a:lnTo>
                  <a:pt x="5079508" y="6749074"/>
                </a:lnTo>
                <a:cubicBezTo>
                  <a:pt x="5200211" y="6482556"/>
                  <a:pt x="5305048" y="6210716"/>
                  <a:pt x="5371846" y="5924413"/>
                </a:cubicBezTo>
                <a:lnTo>
                  <a:pt x="5270512" y="6138975"/>
                </a:lnTo>
                <a:cubicBezTo>
                  <a:pt x="5192357" y="6304175"/>
                  <a:pt x="5112108" y="6475512"/>
                  <a:pt x="5062409" y="6653544"/>
                </a:cubicBezTo>
                <a:cubicBezTo>
                  <a:pt x="5053035" y="6686987"/>
                  <a:pt x="5045072" y="6720843"/>
                  <a:pt x="5036628" y="6754247"/>
                </a:cubicBezTo>
                <a:lnTo>
                  <a:pt x="5009112" y="6858000"/>
                </a:lnTo>
                <a:lnTo>
                  <a:pt x="4976679" y="6858000"/>
                </a:lnTo>
                <a:lnTo>
                  <a:pt x="5006537" y="6747068"/>
                </a:lnTo>
                <a:cubicBezTo>
                  <a:pt x="5014940" y="6712729"/>
                  <a:pt x="5022903" y="6678883"/>
                  <a:pt x="5032723" y="6644957"/>
                </a:cubicBezTo>
                <a:cubicBezTo>
                  <a:pt x="5083245" y="6464091"/>
                  <a:pt x="5164383" y="6291790"/>
                  <a:pt x="5242949" y="6125175"/>
                </a:cubicBezTo>
                <a:lnTo>
                  <a:pt x="5286321" y="6033555"/>
                </a:lnTo>
                <a:cubicBezTo>
                  <a:pt x="5153522" y="6218172"/>
                  <a:pt x="5058694" y="6420826"/>
                  <a:pt x="5008210" y="6649194"/>
                </a:cubicBezTo>
                <a:cubicBezTo>
                  <a:pt x="4999505" y="6687732"/>
                  <a:pt x="4992445" y="6726670"/>
                  <a:pt x="4986321" y="6765687"/>
                </a:cubicBezTo>
                <a:lnTo>
                  <a:pt x="4973474" y="6858000"/>
                </a:lnTo>
                <a:lnTo>
                  <a:pt x="4907178" y="6858000"/>
                </a:lnTo>
                <a:lnTo>
                  <a:pt x="4910810" y="6829660"/>
                </a:lnTo>
                <a:cubicBezTo>
                  <a:pt x="4927183" y="6695980"/>
                  <a:pt x="4945608" y="6562743"/>
                  <a:pt x="4987461" y="6432994"/>
                </a:cubicBezTo>
                <a:cubicBezTo>
                  <a:pt x="5033887" y="6289556"/>
                  <a:pt x="5098947" y="6157948"/>
                  <a:pt x="5179262" y="6035044"/>
                </a:cubicBezTo>
                <a:cubicBezTo>
                  <a:pt x="5016033" y="6169178"/>
                  <a:pt x="4838252" y="6288995"/>
                  <a:pt x="4689678" y="6440241"/>
                </a:cubicBezTo>
                <a:cubicBezTo>
                  <a:pt x="4615724" y="6515503"/>
                  <a:pt x="4545518" y="6594166"/>
                  <a:pt x="4477543" y="6674836"/>
                </a:cubicBezTo>
                <a:lnTo>
                  <a:pt x="4329957" y="6858000"/>
                </a:lnTo>
                <a:lnTo>
                  <a:pt x="4218595" y="6858000"/>
                </a:lnTo>
                <a:lnTo>
                  <a:pt x="4368888" y="6668412"/>
                </a:lnTo>
                <a:cubicBezTo>
                  <a:pt x="4431654" y="6591444"/>
                  <a:pt x="4495926" y="6515754"/>
                  <a:pt x="4563091" y="6442508"/>
                </a:cubicBezTo>
                <a:cubicBezTo>
                  <a:pt x="4810353" y="6173676"/>
                  <a:pt x="5160740" y="5991069"/>
                  <a:pt x="5387324" y="5705830"/>
                </a:cubicBezTo>
                <a:cubicBezTo>
                  <a:pt x="5286064" y="5794177"/>
                  <a:pt x="5178968" y="5876241"/>
                  <a:pt x="5073620" y="5955437"/>
                </a:cubicBezTo>
                <a:cubicBezTo>
                  <a:pt x="4943865" y="6053305"/>
                  <a:pt x="4809130" y="6154627"/>
                  <a:pt x="4689789" y="6268382"/>
                </a:cubicBezTo>
                <a:cubicBezTo>
                  <a:pt x="4591303" y="6361972"/>
                  <a:pt x="4502007" y="6464046"/>
                  <a:pt x="4418722" y="6570886"/>
                </a:cubicBezTo>
                <a:lnTo>
                  <a:pt x="4214944" y="6858000"/>
                </a:lnTo>
                <a:lnTo>
                  <a:pt x="4177898" y="6858000"/>
                </a:lnTo>
                <a:lnTo>
                  <a:pt x="4391597" y="6556370"/>
                </a:lnTo>
                <a:cubicBezTo>
                  <a:pt x="4476641" y="6446900"/>
                  <a:pt x="4567929" y="6342186"/>
                  <a:pt x="4668889" y="6246399"/>
                </a:cubicBezTo>
                <a:cubicBezTo>
                  <a:pt x="4789603" y="6132122"/>
                  <a:pt x="4925227" y="6029827"/>
                  <a:pt x="5055427" y="5931476"/>
                </a:cubicBezTo>
                <a:cubicBezTo>
                  <a:pt x="5161670" y="5851314"/>
                  <a:pt x="5270142" y="5768732"/>
                  <a:pt x="5371814" y="5678975"/>
                </a:cubicBezTo>
                <a:cubicBezTo>
                  <a:pt x="5250056" y="5732278"/>
                  <a:pt x="5117554" y="5761328"/>
                  <a:pt x="4987918" y="5838701"/>
                </a:cubicBezTo>
                <a:cubicBezTo>
                  <a:pt x="4699961" y="6010191"/>
                  <a:pt x="4491898" y="6286162"/>
                  <a:pt x="4317146" y="6587716"/>
                </a:cubicBezTo>
                <a:lnTo>
                  <a:pt x="4171627" y="6858000"/>
                </a:lnTo>
                <a:lnTo>
                  <a:pt x="4081585" y="6858000"/>
                </a:lnTo>
                <a:lnTo>
                  <a:pt x="4238603" y="6559341"/>
                </a:lnTo>
                <a:cubicBezTo>
                  <a:pt x="4385995" y="6299856"/>
                  <a:pt x="4555804" y="6056475"/>
                  <a:pt x="4778333" y="5873626"/>
                </a:cubicBezTo>
                <a:cubicBezTo>
                  <a:pt x="4974935" y="5712072"/>
                  <a:pt x="5214460" y="5703893"/>
                  <a:pt x="5414185" y="5573882"/>
                </a:cubicBezTo>
                <a:cubicBezTo>
                  <a:pt x="5665168" y="5409695"/>
                  <a:pt x="5834734" y="5037780"/>
                  <a:pt x="5959648" y="4760797"/>
                </a:cubicBezTo>
                <a:cubicBezTo>
                  <a:pt x="5758178" y="4742307"/>
                  <a:pt x="5556149" y="4733150"/>
                  <a:pt x="5355019" y="4734672"/>
                </a:cubicBezTo>
                <a:cubicBezTo>
                  <a:pt x="5292258" y="4900655"/>
                  <a:pt x="5203125" y="5047664"/>
                  <a:pt x="5083565" y="5179121"/>
                </a:cubicBezTo>
                <a:cubicBezTo>
                  <a:pt x="5049677" y="5379813"/>
                  <a:pt x="4862890" y="5495797"/>
                  <a:pt x="4713577" y="5616803"/>
                </a:cubicBezTo>
                <a:cubicBezTo>
                  <a:pt x="4481263" y="5805403"/>
                  <a:pt x="4239092" y="5980417"/>
                  <a:pt x="3989559" y="6145945"/>
                </a:cubicBezTo>
                <a:cubicBezTo>
                  <a:pt x="3958721" y="6166743"/>
                  <a:pt x="3915645" y="6091150"/>
                  <a:pt x="3939824" y="6066900"/>
                </a:cubicBezTo>
                <a:cubicBezTo>
                  <a:pt x="4170724" y="5831323"/>
                  <a:pt x="4361787" y="5566131"/>
                  <a:pt x="4584537" y="5324826"/>
                </a:cubicBezTo>
                <a:cubicBezTo>
                  <a:pt x="4710868" y="5187971"/>
                  <a:pt x="4848359" y="5097244"/>
                  <a:pt x="5037105" y="5088765"/>
                </a:cubicBezTo>
                <a:cubicBezTo>
                  <a:pt x="5038033" y="5088728"/>
                  <a:pt x="5039001" y="5089622"/>
                  <a:pt x="5039930" y="5089585"/>
                </a:cubicBezTo>
                <a:cubicBezTo>
                  <a:pt x="5133008" y="4982937"/>
                  <a:pt x="5207480" y="4865387"/>
                  <a:pt x="5263764" y="4735525"/>
                </a:cubicBezTo>
                <a:cubicBezTo>
                  <a:pt x="4867298" y="4743930"/>
                  <a:pt x="4472427" y="4792315"/>
                  <a:pt x="4086300" y="4884599"/>
                </a:cubicBezTo>
                <a:cubicBezTo>
                  <a:pt x="4087456" y="4890142"/>
                  <a:pt x="4087673" y="4895720"/>
                  <a:pt x="4085485" y="4899070"/>
                </a:cubicBezTo>
                <a:cubicBezTo>
                  <a:pt x="4003302" y="5010406"/>
                  <a:pt x="3928312" y="5126573"/>
                  <a:pt x="3871915" y="5253645"/>
                </a:cubicBezTo>
                <a:cubicBezTo>
                  <a:pt x="3845467" y="5314321"/>
                  <a:pt x="3832705" y="5402857"/>
                  <a:pt x="3799374" y="5466127"/>
                </a:cubicBezTo>
                <a:cubicBezTo>
                  <a:pt x="3785138" y="5845399"/>
                  <a:pt x="3675506" y="6277604"/>
                  <a:pt x="3498850" y="6661888"/>
                </a:cubicBezTo>
                <a:lnTo>
                  <a:pt x="3399216" y="6858000"/>
                </a:lnTo>
                <a:lnTo>
                  <a:pt x="3303688" y="6858000"/>
                </a:lnTo>
                <a:lnTo>
                  <a:pt x="3391774" y="6697181"/>
                </a:lnTo>
                <a:cubicBezTo>
                  <a:pt x="3573729" y="6337659"/>
                  <a:pt x="3697480" y="5922895"/>
                  <a:pt x="3735540" y="5546923"/>
                </a:cubicBezTo>
                <a:cubicBezTo>
                  <a:pt x="3733489" y="5553993"/>
                  <a:pt x="3731483" y="5561993"/>
                  <a:pt x="3729438" y="5569058"/>
                </a:cubicBezTo>
                <a:cubicBezTo>
                  <a:pt x="3722922" y="5592607"/>
                  <a:pt x="3715485" y="5616189"/>
                  <a:pt x="3707782" y="5644908"/>
                </a:cubicBezTo>
                <a:cubicBezTo>
                  <a:pt x="3671550" y="5775366"/>
                  <a:pt x="3633159" y="5910098"/>
                  <a:pt x="3583827" y="6039215"/>
                </a:cubicBezTo>
                <a:cubicBezTo>
                  <a:pt x="3571998" y="6069498"/>
                  <a:pt x="3559686" y="6099330"/>
                  <a:pt x="3547861" y="6129609"/>
                </a:cubicBezTo>
                <a:cubicBezTo>
                  <a:pt x="3528366" y="6177894"/>
                  <a:pt x="3507534" y="6227631"/>
                  <a:pt x="3490905" y="6277660"/>
                </a:cubicBezTo>
                <a:cubicBezTo>
                  <a:pt x="3477958" y="6314973"/>
                  <a:pt x="3466463" y="6353624"/>
                  <a:pt x="3455859" y="6391301"/>
                </a:cubicBezTo>
                <a:cubicBezTo>
                  <a:pt x="3447266" y="6420993"/>
                  <a:pt x="3438672" y="6450673"/>
                  <a:pt x="3429112" y="6479469"/>
                </a:cubicBezTo>
                <a:cubicBezTo>
                  <a:pt x="3394330" y="6587977"/>
                  <a:pt x="3348719" y="6693654"/>
                  <a:pt x="3304862" y="6796476"/>
                </a:cubicBezTo>
                <a:lnTo>
                  <a:pt x="3276071" y="6858000"/>
                </a:lnTo>
                <a:lnTo>
                  <a:pt x="3240805" y="6858000"/>
                </a:lnTo>
                <a:lnTo>
                  <a:pt x="3275917" y="6783192"/>
                </a:lnTo>
                <a:cubicBezTo>
                  <a:pt x="3319817" y="6681303"/>
                  <a:pt x="3364982" y="6576108"/>
                  <a:pt x="3399358" y="6469011"/>
                </a:cubicBezTo>
                <a:cubicBezTo>
                  <a:pt x="3408430" y="6439778"/>
                  <a:pt x="3417061" y="6411021"/>
                  <a:pt x="3425650" y="6381333"/>
                </a:cubicBezTo>
                <a:cubicBezTo>
                  <a:pt x="3436256" y="6343653"/>
                  <a:pt x="3448199" y="6304520"/>
                  <a:pt x="3460661" y="6266763"/>
                </a:cubicBezTo>
                <a:cubicBezTo>
                  <a:pt x="3477731" y="6216246"/>
                  <a:pt x="3498530" y="6165579"/>
                  <a:pt x="3518021" y="6117298"/>
                </a:cubicBezTo>
                <a:cubicBezTo>
                  <a:pt x="3530339" y="6087462"/>
                  <a:pt x="3542206" y="6058115"/>
                  <a:pt x="3554035" y="6027832"/>
                </a:cubicBezTo>
                <a:cubicBezTo>
                  <a:pt x="3602956" y="5900128"/>
                  <a:pt x="3640454" y="5766362"/>
                  <a:pt x="3677174" y="5636351"/>
                </a:cubicBezTo>
                <a:cubicBezTo>
                  <a:pt x="3685353" y="5608086"/>
                  <a:pt x="3692308" y="5584047"/>
                  <a:pt x="3698819" y="5560503"/>
                </a:cubicBezTo>
                <a:cubicBezTo>
                  <a:pt x="3699603" y="5556742"/>
                  <a:pt x="3701314" y="5552952"/>
                  <a:pt x="3702094" y="5549194"/>
                </a:cubicBezTo>
                <a:cubicBezTo>
                  <a:pt x="3586407" y="5684227"/>
                  <a:pt x="3491727" y="5855671"/>
                  <a:pt x="3398355" y="6094603"/>
                </a:cubicBezTo>
                <a:cubicBezTo>
                  <a:pt x="3309322" y="6322763"/>
                  <a:pt x="3241029" y="6558474"/>
                  <a:pt x="3193941" y="6798775"/>
                </a:cubicBezTo>
                <a:lnTo>
                  <a:pt x="3184140" y="6858000"/>
                </a:lnTo>
                <a:lnTo>
                  <a:pt x="3099978" y="6858000"/>
                </a:lnTo>
                <a:lnTo>
                  <a:pt x="3101556" y="6843337"/>
                </a:lnTo>
                <a:cubicBezTo>
                  <a:pt x="3144932" y="6479621"/>
                  <a:pt x="3209988" y="6112612"/>
                  <a:pt x="3370162" y="5785550"/>
                </a:cubicBezTo>
                <a:cubicBezTo>
                  <a:pt x="3467073" y="5588398"/>
                  <a:pt x="3627623" y="5538666"/>
                  <a:pt x="3746477" y="5377889"/>
                </a:cubicBezTo>
                <a:cubicBezTo>
                  <a:pt x="3800786" y="5303532"/>
                  <a:pt x="3818424" y="5173820"/>
                  <a:pt x="3863399" y="5087257"/>
                </a:cubicBezTo>
                <a:cubicBezTo>
                  <a:pt x="3894981" y="5026843"/>
                  <a:pt x="3930436" y="4970007"/>
                  <a:pt x="3968712" y="4913989"/>
                </a:cubicBezTo>
                <a:cubicBezTo>
                  <a:pt x="3564505" y="5020029"/>
                  <a:pt x="3170154" y="5174588"/>
                  <a:pt x="2792390" y="5382974"/>
                </a:cubicBezTo>
                <a:lnTo>
                  <a:pt x="2714982" y="5427051"/>
                </a:lnTo>
                <a:cubicBezTo>
                  <a:pt x="2773600" y="5623577"/>
                  <a:pt x="2823261" y="5817201"/>
                  <a:pt x="2813361" y="6023912"/>
                </a:cubicBezTo>
                <a:cubicBezTo>
                  <a:pt x="2800935" y="6283826"/>
                  <a:pt x="2738768" y="6546188"/>
                  <a:pt x="2688430" y="6801564"/>
                </a:cubicBezTo>
                <a:cubicBezTo>
                  <a:pt x="2680286" y="6842403"/>
                  <a:pt x="2633415" y="6776749"/>
                  <a:pt x="2629626" y="6763394"/>
                </a:cubicBezTo>
                <a:cubicBezTo>
                  <a:pt x="2507208" y="6357509"/>
                  <a:pt x="2389664" y="5910450"/>
                  <a:pt x="2565328" y="5516399"/>
                </a:cubicBezTo>
                <a:cubicBezTo>
                  <a:pt x="2340344" y="5655334"/>
                  <a:pt x="2126262" y="5810607"/>
                  <a:pt x="1922999" y="5980343"/>
                </a:cubicBezTo>
                <a:cubicBezTo>
                  <a:pt x="1913735" y="6121357"/>
                  <a:pt x="1951823" y="6270268"/>
                  <a:pt x="1950261" y="6405858"/>
                </a:cubicBezTo>
                <a:cubicBezTo>
                  <a:pt x="2095468" y="6403315"/>
                  <a:pt x="2243415" y="6568324"/>
                  <a:pt x="2365554" y="6759107"/>
                </a:cubicBezTo>
                <a:lnTo>
                  <a:pt x="2424142" y="6858000"/>
                </a:lnTo>
                <a:lnTo>
                  <a:pt x="2395994" y="6858000"/>
                </a:lnTo>
                <a:lnTo>
                  <a:pt x="2392863" y="6852964"/>
                </a:lnTo>
                <a:cubicBezTo>
                  <a:pt x="2286592" y="6697030"/>
                  <a:pt x="2128210" y="6530604"/>
                  <a:pt x="2017589" y="6493982"/>
                </a:cubicBezTo>
                <a:cubicBezTo>
                  <a:pt x="2065428" y="6525607"/>
                  <a:pt x="2108651" y="6558340"/>
                  <a:pt x="2147336" y="6594052"/>
                </a:cubicBezTo>
                <a:cubicBezTo>
                  <a:pt x="2168131" y="6613249"/>
                  <a:pt x="2188032" y="6633414"/>
                  <a:pt x="2207047" y="6654540"/>
                </a:cubicBezTo>
                <a:cubicBezTo>
                  <a:pt x="2240670" y="6691852"/>
                  <a:pt x="2268864" y="6733110"/>
                  <a:pt x="2299106" y="6778931"/>
                </a:cubicBezTo>
                <a:lnTo>
                  <a:pt x="2314430" y="6801144"/>
                </a:lnTo>
                <a:lnTo>
                  <a:pt x="2352406" y="6858000"/>
                </a:lnTo>
                <a:lnTo>
                  <a:pt x="2314492" y="6858000"/>
                </a:lnTo>
                <a:lnTo>
                  <a:pt x="2288095" y="6818030"/>
                </a:lnTo>
                <a:lnTo>
                  <a:pt x="2272768" y="6795822"/>
                </a:lnTo>
                <a:cubicBezTo>
                  <a:pt x="2242565" y="6750921"/>
                  <a:pt x="2214890" y="6711042"/>
                  <a:pt x="2182715" y="6675071"/>
                </a:cubicBezTo>
                <a:cubicBezTo>
                  <a:pt x="2139301" y="6626043"/>
                  <a:pt x="2090046" y="6582375"/>
                  <a:pt x="2032061" y="6541380"/>
                </a:cubicBezTo>
                <a:cubicBezTo>
                  <a:pt x="2113005" y="6632219"/>
                  <a:pt x="2185837" y="6729905"/>
                  <a:pt x="2257220" y="6826257"/>
                </a:cubicBezTo>
                <a:lnTo>
                  <a:pt x="2281324" y="6858000"/>
                </a:lnTo>
                <a:lnTo>
                  <a:pt x="2242860" y="6858000"/>
                </a:lnTo>
                <a:lnTo>
                  <a:pt x="2232818" y="6844926"/>
                </a:lnTo>
                <a:cubicBezTo>
                  <a:pt x="2156524" y="6742256"/>
                  <a:pt x="2077809" y="6637351"/>
                  <a:pt x="1990172" y="6542121"/>
                </a:cubicBezTo>
                <a:cubicBezTo>
                  <a:pt x="2025229" y="6615236"/>
                  <a:pt x="2072239" y="6690202"/>
                  <a:pt x="2124090" y="6761017"/>
                </a:cubicBezTo>
                <a:lnTo>
                  <a:pt x="2200380" y="6858000"/>
                </a:lnTo>
                <a:lnTo>
                  <a:pt x="2147507" y="6858000"/>
                </a:lnTo>
                <a:lnTo>
                  <a:pt x="2070668" y="6761520"/>
                </a:lnTo>
                <a:cubicBezTo>
                  <a:pt x="2050397" y="6732060"/>
                  <a:pt x="1955949" y="6524860"/>
                  <a:pt x="1975142" y="6585570"/>
                </a:cubicBezTo>
                <a:cubicBezTo>
                  <a:pt x="1998651" y="6661010"/>
                  <a:pt x="2025657" y="6736543"/>
                  <a:pt x="2050035" y="6813345"/>
                </a:cubicBezTo>
                <a:lnTo>
                  <a:pt x="2063025" y="6858000"/>
                </a:lnTo>
                <a:lnTo>
                  <a:pt x="2021675" y="6858000"/>
                </a:lnTo>
                <a:lnTo>
                  <a:pt x="2019308" y="6847118"/>
                </a:lnTo>
                <a:cubicBezTo>
                  <a:pt x="1994223" y="6748278"/>
                  <a:pt x="1963999" y="6650518"/>
                  <a:pt x="1938835" y="6551160"/>
                </a:cubicBezTo>
                <a:cubicBezTo>
                  <a:pt x="1929908" y="6619047"/>
                  <a:pt x="1941143" y="6690322"/>
                  <a:pt x="1953230" y="6759699"/>
                </a:cubicBezTo>
                <a:lnTo>
                  <a:pt x="1956763" y="6778191"/>
                </a:lnTo>
                <a:lnTo>
                  <a:pt x="1967925" y="6858000"/>
                </a:lnTo>
                <a:lnTo>
                  <a:pt x="1936622" y="6858000"/>
                </a:lnTo>
                <a:lnTo>
                  <a:pt x="1926261" y="6784064"/>
                </a:lnTo>
                <a:lnTo>
                  <a:pt x="1922724" y="6765577"/>
                </a:lnTo>
                <a:cubicBezTo>
                  <a:pt x="1915473" y="6723948"/>
                  <a:pt x="1907737" y="6681875"/>
                  <a:pt x="1904650" y="6639616"/>
                </a:cubicBezTo>
                <a:lnTo>
                  <a:pt x="1885273" y="6858000"/>
                </a:lnTo>
                <a:lnTo>
                  <a:pt x="1854363" y="6858000"/>
                </a:lnTo>
                <a:lnTo>
                  <a:pt x="1880391" y="6603796"/>
                </a:lnTo>
                <a:cubicBezTo>
                  <a:pt x="1857032" y="6636864"/>
                  <a:pt x="1833268" y="6671346"/>
                  <a:pt x="1818273" y="6715729"/>
                </a:cubicBezTo>
                <a:cubicBezTo>
                  <a:pt x="1804852" y="6755735"/>
                  <a:pt x="1797634" y="6798725"/>
                  <a:pt x="1794691" y="6843239"/>
                </a:cubicBezTo>
                <a:cubicBezTo>
                  <a:pt x="1794765" y="6848159"/>
                  <a:pt x="1794840" y="6853080"/>
                  <a:pt x="1794914" y="6858000"/>
                </a:cubicBezTo>
                <a:lnTo>
                  <a:pt x="1746128" y="6858000"/>
                </a:lnTo>
                <a:lnTo>
                  <a:pt x="1753934" y="6724796"/>
                </a:lnTo>
                <a:cubicBezTo>
                  <a:pt x="1761216" y="6674140"/>
                  <a:pt x="1773366" y="6623443"/>
                  <a:pt x="1792053" y="6572396"/>
                </a:cubicBezTo>
                <a:cubicBezTo>
                  <a:pt x="1831929" y="6463223"/>
                  <a:pt x="1865036" y="6394363"/>
                  <a:pt x="1862248" y="6266397"/>
                </a:cubicBezTo>
                <a:cubicBezTo>
                  <a:pt x="1860953" y="6187277"/>
                  <a:pt x="1859762" y="6110946"/>
                  <a:pt x="1862250" y="6033531"/>
                </a:cubicBezTo>
                <a:cubicBezTo>
                  <a:pt x="1629459" y="6233327"/>
                  <a:pt x="1412286" y="6451119"/>
                  <a:pt x="1211999" y="6683610"/>
                </a:cubicBezTo>
                <a:cubicBezTo>
                  <a:pt x="1212594" y="6686848"/>
                  <a:pt x="1213637" y="6689601"/>
                  <a:pt x="1213266" y="6691947"/>
                </a:cubicBezTo>
                <a:cubicBezTo>
                  <a:pt x="1207239" y="6745048"/>
                  <a:pt x="1203941" y="6797982"/>
                  <a:pt x="1203370" y="6850676"/>
                </a:cubicBezTo>
                <a:cubicBezTo>
                  <a:pt x="1203470" y="6853117"/>
                  <a:pt x="1203571" y="6855559"/>
                  <a:pt x="1203671" y="6858000"/>
                </a:cubicBezTo>
                <a:lnTo>
                  <a:pt x="1143180" y="6858000"/>
                </a:lnTo>
                <a:cubicBezTo>
                  <a:pt x="1142845" y="6827348"/>
                  <a:pt x="1142511" y="6796697"/>
                  <a:pt x="1142176" y="6766045"/>
                </a:cubicBezTo>
                <a:lnTo>
                  <a:pt x="1067484" y="6858000"/>
                </a:lnTo>
                <a:lnTo>
                  <a:pt x="953928" y="6858000"/>
                </a:lnTo>
                <a:lnTo>
                  <a:pt x="959715" y="6850185"/>
                </a:lnTo>
                <a:cubicBezTo>
                  <a:pt x="1122351" y="6642955"/>
                  <a:pt x="1297493" y="6445464"/>
                  <a:pt x="1483788" y="6259174"/>
                </a:cubicBezTo>
                <a:cubicBezTo>
                  <a:pt x="1354519" y="6252700"/>
                  <a:pt x="1219786" y="6272526"/>
                  <a:pt x="1100671" y="6252137"/>
                </a:cubicBezTo>
                <a:cubicBezTo>
                  <a:pt x="1097473" y="6253667"/>
                  <a:pt x="1093344" y="6255226"/>
                  <a:pt x="1090144" y="6256748"/>
                </a:cubicBezTo>
                <a:cubicBezTo>
                  <a:pt x="1093160" y="6262221"/>
                  <a:pt x="1095726" y="6268172"/>
                  <a:pt x="1095872" y="6271892"/>
                </a:cubicBezTo>
                <a:cubicBezTo>
                  <a:pt x="1117034" y="6614754"/>
                  <a:pt x="501310" y="6765589"/>
                  <a:pt x="262785" y="6845450"/>
                </a:cubicBezTo>
                <a:cubicBezTo>
                  <a:pt x="240730" y="6852851"/>
                  <a:pt x="197167" y="6788461"/>
                  <a:pt x="209968" y="6770713"/>
                </a:cubicBezTo>
                <a:cubicBezTo>
                  <a:pt x="383281" y="6527661"/>
                  <a:pt x="615742" y="6377713"/>
                  <a:pt x="873460" y="6253768"/>
                </a:cubicBezTo>
                <a:cubicBezTo>
                  <a:pt x="626943" y="6191900"/>
                  <a:pt x="365733" y="5960633"/>
                  <a:pt x="192686" y="5849257"/>
                </a:cubicBezTo>
                <a:cubicBezTo>
                  <a:pt x="116185" y="5799690"/>
                  <a:pt x="52073" y="5754165"/>
                  <a:pt x="4696" y="5697668"/>
                </a:cubicBezTo>
                <a:lnTo>
                  <a:pt x="0" y="5689984"/>
                </a:lnTo>
                <a:lnTo>
                  <a:pt x="0" y="5513472"/>
                </a:lnTo>
                <a:lnTo>
                  <a:pt x="174101" y="5620277"/>
                </a:lnTo>
                <a:cubicBezTo>
                  <a:pt x="413334" y="5759164"/>
                  <a:pt x="660435" y="5885160"/>
                  <a:pt x="891800" y="6036935"/>
                </a:cubicBezTo>
                <a:cubicBezTo>
                  <a:pt x="944884" y="6071606"/>
                  <a:pt x="1012106" y="6145300"/>
                  <a:pt x="1072219" y="6169443"/>
                </a:cubicBezTo>
                <a:cubicBezTo>
                  <a:pt x="1072700" y="6169886"/>
                  <a:pt x="1073629" y="6169850"/>
                  <a:pt x="1074117" y="6170301"/>
                </a:cubicBezTo>
                <a:cubicBezTo>
                  <a:pt x="1077423" y="6171567"/>
                  <a:pt x="1080285" y="6173315"/>
                  <a:pt x="1083114" y="6174131"/>
                </a:cubicBezTo>
                <a:cubicBezTo>
                  <a:pt x="1205686" y="6211148"/>
                  <a:pt x="1403553" y="6162717"/>
                  <a:pt x="1543010" y="6191140"/>
                </a:cubicBezTo>
                <a:cubicBezTo>
                  <a:pt x="1545352" y="6191516"/>
                  <a:pt x="1548218" y="6193258"/>
                  <a:pt x="1551080" y="6195006"/>
                </a:cubicBezTo>
                <a:cubicBezTo>
                  <a:pt x="1796784" y="5956970"/>
                  <a:pt x="2061981" y="5740521"/>
                  <a:pt x="2345443" y="5549882"/>
                </a:cubicBezTo>
                <a:cubicBezTo>
                  <a:pt x="2141371" y="5547786"/>
                  <a:pt x="1930334" y="5604666"/>
                  <a:pt x="1721499" y="5599969"/>
                </a:cubicBezTo>
                <a:cubicBezTo>
                  <a:pt x="1398951" y="5593309"/>
                  <a:pt x="1081337" y="5547329"/>
                  <a:pt x="767716" y="5472768"/>
                </a:cubicBezTo>
                <a:cubicBezTo>
                  <a:pt x="753133" y="5469162"/>
                  <a:pt x="700946" y="5398599"/>
                  <a:pt x="722147" y="5393091"/>
                </a:cubicBezTo>
                <a:cubicBezTo>
                  <a:pt x="968781" y="5329673"/>
                  <a:pt x="1232259" y="5326588"/>
                  <a:pt x="1485552" y="5313202"/>
                </a:cubicBezTo>
                <a:cubicBezTo>
                  <a:pt x="1722589" y="5300930"/>
                  <a:pt x="1934026" y="5312502"/>
                  <a:pt x="2143004" y="5402420"/>
                </a:cubicBezTo>
                <a:cubicBezTo>
                  <a:pt x="2072259" y="5321879"/>
                  <a:pt x="2001915" y="5239927"/>
                  <a:pt x="1933391" y="5156971"/>
                </a:cubicBezTo>
                <a:cubicBezTo>
                  <a:pt x="1884964" y="5098829"/>
                  <a:pt x="1830279" y="5047453"/>
                  <a:pt x="1827118" y="4968410"/>
                </a:cubicBezTo>
                <a:cubicBezTo>
                  <a:pt x="1826899" y="4962830"/>
                  <a:pt x="1831287" y="4956131"/>
                  <a:pt x="1837349" y="4956357"/>
                </a:cubicBezTo>
                <a:cubicBezTo>
                  <a:pt x="1954786" y="4958180"/>
                  <a:pt x="2095955" y="5099243"/>
                  <a:pt x="2162835" y="5187853"/>
                </a:cubicBezTo>
                <a:cubicBezTo>
                  <a:pt x="2223806" y="5268314"/>
                  <a:pt x="2261117" y="5362764"/>
                  <a:pt x="2257167" y="5462123"/>
                </a:cubicBezTo>
                <a:cubicBezTo>
                  <a:pt x="2258619" y="5463463"/>
                  <a:pt x="2260110" y="5465731"/>
                  <a:pt x="2261598" y="5467998"/>
                </a:cubicBezTo>
                <a:cubicBezTo>
                  <a:pt x="2319293" y="5466627"/>
                  <a:pt x="2377620" y="5469418"/>
                  <a:pt x="2437177" y="5479608"/>
                </a:cubicBezTo>
                <a:cubicBezTo>
                  <a:pt x="2440002" y="5480429"/>
                  <a:pt x="2442387" y="5481726"/>
                  <a:pt x="2445247" y="5483476"/>
                </a:cubicBezTo>
                <a:cubicBezTo>
                  <a:pt x="2542410" y="5420910"/>
                  <a:pt x="2642483" y="5361023"/>
                  <a:pt x="2743626" y="5304819"/>
                </a:cubicBezTo>
                <a:cubicBezTo>
                  <a:pt x="2843877" y="5249576"/>
                  <a:pt x="2945694" y="5198471"/>
                  <a:pt x="3048102" y="5150595"/>
                </a:cubicBezTo>
                <a:cubicBezTo>
                  <a:pt x="2585795" y="5154639"/>
                  <a:pt x="2153807" y="4996795"/>
                  <a:pt x="1799414" y="4694732"/>
                </a:cubicBezTo>
                <a:cubicBezTo>
                  <a:pt x="1791709" y="4688523"/>
                  <a:pt x="1742423" y="4620635"/>
                  <a:pt x="1771735" y="4619929"/>
                </a:cubicBezTo>
                <a:cubicBezTo>
                  <a:pt x="2256142" y="4609405"/>
                  <a:pt x="2784409" y="4670721"/>
                  <a:pt x="3104273" y="5076159"/>
                </a:cubicBezTo>
                <a:cubicBezTo>
                  <a:pt x="3108183" y="5080663"/>
                  <a:pt x="3110711" y="5085686"/>
                  <a:pt x="3113245" y="5090705"/>
                </a:cubicBezTo>
                <a:cubicBezTo>
                  <a:pt x="3118189" y="5097958"/>
                  <a:pt x="3122727" y="5106622"/>
                  <a:pt x="3126294" y="5114400"/>
                </a:cubicBezTo>
                <a:cubicBezTo>
                  <a:pt x="3390302" y="4996262"/>
                  <a:pt x="3661785" y="4902036"/>
                  <a:pt x="3937433" y="4830473"/>
                </a:cubicBezTo>
                <a:cubicBezTo>
                  <a:pt x="3836176" y="4732523"/>
                  <a:pt x="3721785" y="4620668"/>
                  <a:pt x="3590475" y="4597974"/>
                </a:cubicBezTo>
                <a:cubicBezTo>
                  <a:pt x="3435249" y="4571111"/>
                  <a:pt x="3264279" y="4616605"/>
                  <a:pt x="3100264" y="4579845"/>
                </a:cubicBezTo>
                <a:cubicBezTo>
                  <a:pt x="2787310" y="4510393"/>
                  <a:pt x="2468738" y="4370372"/>
                  <a:pt x="2183576" y="4227150"/>
                </a:cubicBezTo>
                <a:cubicBezTo>
                  <a:pt x="2170260" y="4220226"/>
                  <a:pt x="2115765" y="4150220"/>
                  <a:pt x="2151029" y="4146947"/>
                </a:cubicBezTo>
                <a:cubicBezTo>
                  <a:pt x="2677991" y="4094203"/>
                  <a:pt x="3159089" y="4117356"/>
                  <a:pt x="3563434" y="4469115"/>
                </a:cubicBezTo>
                <a:lnTo>
                  <a:pt x="3177952" y="3657386"/>
                </a:lnTo>
                <a:cubicBezTo>
                  <a:pt x="3171337" y="3643210"/>
                  <a:pt x="3161442" y="3605414"/>
                  <a:pt x="3189263" y="3625726"/>
                </a:cubicBezTo>
                <a:cubicBezTo>
                  <a:pt x="3348177" y="3744655"/>
                  <a:pt x="3463235" y="3908187"/>
                  <a:pt x="3560912" y="4079863"/>
                </a:cubicBezTo>
                <a:cubicBezTo>
                  <a:pt x="3646545" y="4229668"/>
                  <a:pt x="3658964" y="4353983"/>
                  <a:pt x="3626636" y="4512230"/>
                </a:cubicBezTo>
                <a:cubicBezTo>
                  <a:pt x="3635603" y="4515129"/>
                  <a:pt x="3644081" y="4517586"/>
                  <a:pt x="3653088" y="4521417"/>
                </a:cubicBezTo>
                <a:cubicBezTo>
                  <a:pt x="3765052" y="4572828"/>
                  <a:pt x="3892199" y="4724230"/>
                  <a:pt x="3988128" y="4817267"/>
                </a:cubicBezTo>
                <a:cubicBezTo>
                  <a:pt x="4265269" y="4747971"/>
                  <a:pt x="4547054" y="4701774"/>
                  <a:pt x="4830582" y="4676000"/>
                </a:cubicBezTo>
                <a:lnTo>
                  <a:pt x="4830100" y="4675554"/>
                </a:lnTo>
                <a:cubicBezTo>
                  <a:pt x="4727027" y="4369030"/>
                  <a:pt x="4271973" y="4333199"/>
                  <a:pt x="4036318" y="4147013"/>
                </a:cubicBezTo>
                <a:cubicBezTo>
                  <a:pt x="3810777" y="3969273"/>
                  <a:pt x="3654591" y="3720297"/>
                  <a:pt x="3432098" y="3537312"/>
                </a:cubicBezTo>
                <a:cubicBezTo>
                  <a:pt x="3405134" y="3515099"/>
                  <a:pt x="3391592" y="3444385"/>
                  <a:pt x="3446761" y="3461278"/>
                </a:cubicBezTo>
                <a:cubicBezTo>
                  <a:pt x="3801752" y="3568638"/>
                  <a:pt x="4119982" y="3746863"/>
                  <a:pt x="4419733" y="3963555"/>
                </a:cubicBezTo>
                <a:cubicBezTo>
                  <a:pt x="4597168" y="4091520"/>
                  <a:pt x="4760991" y="4228417"/>
                  <a:pt x="4781371" y="4458604"/>
                </a:cubicBezTo>
                <a:cubicBezTo>
                  <a:pt x="4781562" y="4463257"/>
                  <a:pt x="4780772" y="4467014"/>
                  <a:pt x="4780440" y="4470290"/>
                </a:cubicBezTo>
                <a:cubicBezTo>
                  <a:pt x="4830364" y="4519056"/>
                  <a:pt x="4870983" y="4579844"/>
                  <a:pt x="4898954" y="4662092"/>
                </a:cubicBezTo>
                <a:cubicBezTo>
                  <a:pt x="4900480" y="4665288"/>
                  <a:pt x="4900107" y="4667630"/>
                  <a:pt x="4900699" y="4670867"/>
                </a:cubicBezTo>
                <a:cubicBezTo>
                  <a:pt x="5170915" y="4649815"/>
                  <a:pt x="5442360" y="4647817"/>
                  <a:pt x="5714511" y="4663483"/>
                </a:cubicBezTo>
                <a:cubicBezTo>
                  <a:pt x="5651495" y="4555157"/>
                  <a:pt x="5582088" y="4449879"/>
                  <a:pt x="5464793" y="4393556"/>
                </a:cubicBezTo>
                <a:cubicBezTo>
                  <a:pt x="5463384" y="4393148"/>
                  <a:pt x="5462860" y="4391770"/>
                  <a:pt x="5461897" y="4390879"/>
                </a:cubicBezTo>
                <a:cubicBezTo>
                  <a:pt x="4970387" y="4293633"/>
                  <a:pt x="4556299" y="3674930"/>
                  <a:pt x="4294126" y="3303048"/>
                </a:cubicBezTo>
                <a:cubicBezTo>
                  <a:pt x="4284225" y="3288537"/>
                  <a:pt x="4271318" y="3233630"/>
                  <a:pt x="4305321" y="3256953"/>
                </a:cubicBezTo>
                <a:cubicBezTo>
                  <a:pt x="4530520" y="3414680"/>
                  <a:pt x="4740956" y="3587440"/>
                  <a:pt x="4949299" y="3766336"/>
                </a:cubicBezTo>
                <a:cubicBezTo>
                  <a:pt x="5065543" y="3866477"/>
                  <a:pt x="5184542" y="3965579"/>
                  <a:pt x="5291452" y="4076801"/>
                </a:cubicBezTo>
                <a:cubicBezTo>
                  <a:pt x="5309900" y="4095629"/>
                  <a:pt x="5393714" y="4211504"/>
                  <a:pt x="5434998" y="4254100"/>
                </a:cubicBezTo>
                <a:cubicBezTo>
                  <a:pt x="5369347" y="4172892"/>
                  <a:pt x="5356822" y="3836202"/>
                  <a:pt x="5351015" y="3760989"/>
                </a:cubicBezTo>
                <a:cubicBezTo>
                  <a:pt x="5330486" y="3492147"/>
                  <a:pt x="5355823" y="3228927"/>
                  <a:pt x="5413780" y="2966265"/>
                </a:cubicBezTo>
                <a:cubicBezTo>
                  <a:pt x="5415835" y="2956520"/>
                  <a:pt x="5420191" y="2953318"/>
                  <a:pt x="5425627" y="2954192"/>
                </a:cubicBezTo>
                <a:close/>
                <a:moveTo>
                  <a:pt x="6604735" y="2041381"/>
                </a:moveTo>
                <a:cubicBezTo>
                  <a:pt x="6726311" y="2327927"/>
                  <a:pt x="6916754" y="2606522"/>
                  <a:pt x="7204487" y="2742112"/>
                </a:cubicBezTo>
                <a:cubicBezTo>
                  <a:pt x="7179895" y="2719491"/>
                  <a:pt x="7154936" y="2696378"/>
                  <a:pt x="7131592" y="2672096"/>
                </a:cubicBezTo>
                <a:cubicBezTo>
                  <a:pt x="7084181" y="2622518"/>
                  <a:pt x="7039271" y="2569608"/>
                  <a:pt x="6996344" y="2518310"/>
                </a:cubicBezTo>
                <a:cubicBezTo>
                  <a:pt x="6908871" y="2414600"/>
                  <a:pt x="6818501" y="2306884"/>
                  <a:pt x="6735495" y="2196890"/>
                </a:cubicBezTo>
                <a:lnTo>
                  <a:pt x="6721901" y="2179274"/>
                </a:lnTo>
                <a:cubicBezTo>
                  <a:pt x="6685654" y="2131523"/>
                  <a:pt x="6648317" y="2082278"/>
                  <a:pt x="6604735" y="2041381"/>
                </a:cubicBezTo>
                <a:close/>
                <a:moveTo>
                  <a:pt x="6591670" y="1988277"/>
                </a:moveTo>
                <a:cubicBezTo>
                  <a:pt x="6653650" y="2036451"/>
                  <a:pt x="6701310" y="2098809"/>
                  <a:pt x="6747349" y="2160069"/>
                </a:cubicBezTo>
                <a:lnTo>
                  <a:pt x="6760943" y="2177686"/>
                </a:lnTo>
                <a:cubicBezTo>
                  <a:pt x="6844486" y="2287290"/>
                  <a:pt x="6934499" y="2394502"/>
                  <a:pt x="7021065" y="2498102"/>
                </a:cubicBezTo>
                <a:cubicBezTo>
                  <a:pt x="7063629" y="2548900"/>
                  <a:pt x="7108178" y="2601313"/>
                  <a:pt x="7155223" y="2650386"/>
                </a:cubicBezTo>
                <a:cubicBezTo>
                  <a:pt x="7170968" y="2666443"/>
                  <a:pt x="7186885" y="2681619"/>
                  <a:pt x="7203167" y="2697288"/>
                </a:cubicBezTo>
                <a:cubicBezTo>
                  <a:pt x="7124362" y="2565928"/>
                  <a:pt x="7030837" y="2441422"/>
                  <a:pt x="6937703" y="2321981"/>
                </a:cubicBezTo>
                <a:cubicBezTo>
                  <a:pt x="6842752" y="2200032"/>
                  <a:pt x="6742965" y="2048781"/>
                  <a:pt x="6591670" y="1988277"/>
                </a:cubicBezTo>
                <a:close/>
                <a:moveTo>
                  <a:pt x="5798671" y="1981601"/>
                </a:moveTo>
                <a:cubicBezTo>
                  <a:pt x="5784234" y="2008086"/>
                  <a:pt x="5768551" y="2036236"/>
                  <a:pt x="5754709" y="2071454"/>
                </a:cubicBezTo>
                <a:cubicBezTo>
                  <a:pt x="5651219" y="2330361"/>
                  <a:pt x="5694208" y="2592217"/>
                  <a:pt x="5763044" y="2842206"/>
                </a:cubicBezTo>
                <a:cubicBezTo>
                  <a:pt x="5763687" y="2828007"/>
                  <a:pt x="5764331" y="2813808"/>
                  <a:pt x="5764974" y="2799609"/>
                </a:cubicBezTo>
                <a:cubicBezTo>
                  <a:pt x="5766710" y="2755616"/>
                  <a:pt x="5768626" y="2710738"/>
                  <a:pt x="5767665" y="2666409"/>
                </a:cubicBezTo>
                <a:cubicBezTo>
                  <a:pt x="5766964" y="2637156"/>
                  <a:pt x="5764828" y="2608182"/>
                  <a:pt x="5763055" y="2579705"/>
                </a:cubicBezTo>
                <a:cubicBezTo>
                  <a:pt x="5760913" y="2550734"/>
                  <a:pt x="5758780" y="2521760"/>
                  <a:pt x="5758079" y="2492508"/>
                </a:cubicBezTo>
                <a:cubicBezTo>
                  <a:pt x="5755745" y="2394242"/>
                  <a:pt x="5767619" y="2294070"/>
                  <a:pt x="5779325" y="2197069"/>
                </a:cubicBezTo>
                <a:cubicBezTo>
                  <a:pt x="5787753" y="2126095"/>
                  <a:pt x="5796001" y="2053736"/>
                  <a:pt x="5798671" y="1981601"/>
                </a:cubicBezTo>
                <a:close/>
                <a:moveTo>
                  <a:pt x="5829202" y="1971679"/>
                </a:moveTo>
                <a:cubicBezTo>
                  <a:pt x="5826736" y="2047481"/>
                  <a:pt x="5818154" y="2123904"/>
                  <a:pt x="5809558" y="2198043"/>
                </a:cubicBezTo>
                <a:cubicBezTo>
                  <a:pt x="5798026" y="2294159"/>
                  <a:pt x="5785973" y="2392938"/>
                  <a:pt x="5788653" y="2489430"/>
                </a:cubicBezTo>
                <a:cubicBezTo>
                  <a:pt x="5789524" y="2517790"/>
                  <a:pt x="5791665" y="2546759"/>
                  <a:pt x="5793439" y="2575235"/>
                </a:cubicBezTo>
                <a:cubicBezTo>
                  <a:pt x="5794815" y="2596366"/>
                  <a:pt x="5795822" y="2617001"/>
                  <a:pt x="5796837" y="2637633"/>
                </a:cubicBezTo>
                <a:cubicBezTo>
                  <a:pt x="5803017" y="2582794"/>
                  <a:pt x="5810098" y="2528066"/>
                  <a:pt x="5818614" y="2473055"/>
                </a:cubicBezTo>
                <a:cubicBezTo>
                  <a:pt x="5845917" y="2299125"/>
                  <a:pt x="5877599" y="2135758"/>
                  <a:pt x="5829202" y="1971679"/>
                </a:cubicBezTo>
                <a:close/>
                <a:moveTo>
                  <a:pt x="5911389" y="1898371"/>
                </a:moveTo>
                <a:cubicBezTo>
                  <a:pt x="6006914" y="2026768"/>
                  <a:pt x="6112955" y="2136857"/>
                  <a:pt x="6237627" y="2231921"/>
                </a:cubicBezTo>
                <a:cubicBezTo>
                  <a:pt x="6161282" y="2090381"/>
                  <a:pt x="6060308" y="1952200"/>
                  <a:pt x="5911389" y="1898371"/>
                </a:cubicBezTo>
                <a:close/>
                <a:moveTo>
                  <a:pt x="6944437" y="1575402"/>
                </a:moveTo>
                <a:cubicBezTo>
                  <a:pt x="6732842" y="1643305"/>
                  <a:pt x="6518352" y="1707201"/>
                  <a:pt x="6304730" y="1766654"/>
                </a:cubicBezTo>
                <a:cubicBezTo>
                  <a:pt x="6527947" y="1784949"/>
                  <a:pt x="6737901" y="1680839"/>
                  <a:pt x="6944437" y="1575402"/>
                </a:cubicBezTo>
                <a:close/>
                <a:moveTo>
                  <a:pt x="7019523" y="1519450"/>
                </a:moveTo>
                <a:cubicBezTo>
                  <a:pt x="6766096" y="1537552"/>
                  <a:pt x="6524653" y="1609537"/>
                  <a:pt x="6298091" y="1737122"/>
                </a:cubicBezTo>
                <a:cubicBezTo>
                  <a:pt x="6539381" y="1670594"/>
                  <a:pt x="6780997" y="1597715"/>
                  <a:pt x="7019523" y="1519450"/>
                </a:cubicBezTo>
                <a:close/>
                <a:moveTo>
                  <a:pt x="2399523" y="1428234"/>
                </a:moveTo>
                <a:cubicBezTo>
                  <a:pt x="2324192" y="1539775"/>
                  <a:pt x="2267478" y="1713586"/>
                  <a:pt x="2224982" y="1826201"/>
                </a:cubicBezTo>
                <a:cubicBezTo>
                  <a:pt x="2161246" y="1995817"/>
                  <a:pt x="2120250" y="2168765"/>
                  <a:pt x="2096099" y="2345900"/>
                </a:cubicBezTo>
                <a:cubicBezTo>
                  <a:pt x="2166834" y="2165047"/>
                  <a:pt x="2226331" y="1978598"/>
                  <a:pt x="2283317" y="1796925"/>
                </a:cubicBezTo>
                <a:lnTo>
                  <a:pt x="2399523" y="1428234"/>
                </a:lnTo>
                <a:close/>
                <a:moveTo>
                  <a:pt x="2448558" y="1373435"/>
                </a:moveTo>
                <a:lnTo>
                  <a:pt x="2312521" y="1806140"/>
                </a:lnTo>
                <a:cubicBezTo>
                  <a:pt x="2255817" y="1985569"/>
                  <a:pt x="2197150" y="2169492"/>
                  <a:pt x="2127533" y="2348380"/>
                </a:cubicBezTo>
                <a:cubicBezTo>
                  <a:pt x="2230881" y="2201722"/>
                  <a:pt x="2307261" y="2041905"/>
                  <a:pt x="2358080" y="1866134"/>
                </a:cubicBezTo>
                <a:cubicBezTo>
                  <a:pt x="2378743" y="1795373"/>
                  <a:pt x="2394349" y="1722940"/>
                  <a:pt x="2407436" y="1651070"/>
                </a:cubicBezTo>
                <a:cubicBezTo>
                  <a:pt x="2417458" y="1596892"/>
                  <a:pt x="2466254" y="1384915"/>
                  <a:pt x="2448558" y="1373435"/>
                </a:cubicBezTo>
                <a:close/>
                <a:moveTo>
                  <a:pt x="278707" y="1352270"/>
                </a:moveTo>
                <a:lnTo>
                  <a:pt x="321570" y="1861610"/>
                </a:lnTo>
                <a:cubicBezTo>
                  <a:pt x="336248" y="1725752"/>
                  <a:pt x="317508" y="1584885"/>
                  <a:pt x="294281" y="1440658"/>
                </a:cubicBezTo>
                <a:lnTo>
                  <a:pt x="278707" y="1352270"/>
                </a:lnTo>
                <a:close/>
                <a:moveTo>
                  <a:pt x="1423821" y="1351958"/>
                </a:moveTo>
                <a:cubicBezTo>
                  <a:pt x="1426859" y="1507722"/>
                  <a:pt x="1587831" y="1796280"/>
                  <a:pt x="1638521" y="1908470"/>
                </a:cubicBezTo>
                <a:cubicBezTo>
                  <a:pt x="1674424" y="1987707"/>
                  <a:pt x="1711105" y="2070587"/>
                  <a:pt x="1754199" y="2149284"/>
                </a:cubicBezTo>
                <a:cubicBezTo>
                  <a:pt x="1797295" y="2227981"/>
                  <a:pt x="1846801" y="2302493"/>
                  <a:pt x="1908359" y="2364988"/>
                </a:cubicBezTo>
                <a:cubicBezTo>
                  <a:pt x="1805946" y="2193096"/>
                  <a:pt x="1725953" y="2007134"/>
                  <a:pt x="1647661" y="1825945"/>
                </a:cubicBezTo>
                <a:cubicBezTo>
                  <a:pt x="1579500" y="1667751"/>
                  <a:pt x="1508533" y="1505355"/>
                  <a:pt x="1423821" y="1351958"/>
                </a:cubicBezTo>
                <a:close/>
                <a:moveTo>
                  <a:pt x="1431890" y="1306475"/>
                </a:moveTo>
                <a:cubicBezTo>
                  <a:pt x="1458339" y="1352187"/>
                  <a:pt x="1483952" y="1399016"/>
                  <a:pt x="1507597" y="1446132"/>
                </a:cubicBezTo>
                <a:cubicBezTo>
                  <a:pt x="1568403" y="1567288"/>
                  <a:pt x="1621917" y="1692101"/>
                  <a:pt x="1674586" y="1813832"/>
                </a:cubicBezTo>
                <a:cubicBezTo>
                  <a:pt x="1719648" y="1918315"/>
                  <a:pt x="1765554" y="2024477"/>
                  <a:pt x="1815950" y="2128564"/>
                </a:cubicBezTo>
                <a:cubicBezTo>
                  <a:pt x="1866346" y="2232648"/>
                  <a:pt x="1921228" y="2334658"/>
                  <a:pt x="1984242" y="2430829"/>
                </a:cubicBezTo>
                <a:cubicBezTo>
                  <a:pt x="1994073" y="2437830"/>
                  <a:pt x="2003908" y="2444836"/>
                  <a:pt x="2014023" y="2450995"/>
                </a:cubicBezTo>
                <a:cubicBezTo>
                  <a:pt x="1956448" y="2239741"/>
                  <a:pt x="1853160" y="2049325"/>
                  <a:pt x="1747337" y="1855264"/>
                </a:cubicBezTo>
                <a:cubicBezTo>
                  <a:pt x="1678102" y="1728504"/>
                  <a:pt x="1608870" y="1601753"/>
                  <a:pt x="1533749" y="1478656"/>
                </a:cubicBezTo>
                <a:cubicBezTo>
                  <a:pt x="1510398" y="1440515"/>
                  <a:pt x="1454048" y="1294657"/>
                  <a:pt x="1431890" y="1306475"/>
                </a:cubicBezTo>
                <a:close/>
                <a:moveTo>
                  <a:pt x="5052692" y="1292994"/>
                </a:moveTo>
                <a:cubicBezTo>
                  <a:pt x="5103155" y="1406739"/>
                  <a:pt x="5153078" y="1520878"/>
                  <a:pt x="5200661" y="1635186"/>
                </a:cubicBezTo>
                <a:cubicBezTo>
                  <a:pt x="5238218" y="1725483"/>
                  <a:pt x="5273610" y="1815047"/>
                  <a:pt x="5297138" y="1906351"/>
                </a:cubicBezTo>
                <a:cubicBezTo>
                  <a:pt x="5281533" y="1683399"/>
                  <a:pt x="5177210" y="1491946"/>
                  <a:pt x="5052692" y="1292994"/>
                </a:cubicBezTo>
                <a:close/>
                <a:moveTo>
                  <a:pt x="5009948" y="1273619"/>
                </a:moveTo>
                <a:cubicBezTo>
                  <a:pt x="5013363" y="1406203"/>
                  <a:pt x="5078144" y="1538571"/>
                  <a:pt x="5121777" y="1654213"/>
                </a:cubicBezTo>
                <a:cubicBezTo>
                  <a:pt x="5175625" y="1795269"/>
                  <a:pt x="5233597" y="1934093"/>
                  <a:pt x="5293545" y="2072247"/>
                </a:cubicBezTo>
                <a:cubicBezTo>
                  <a:pt x="5293533" y="2069971"/>
                  <a:pt x="5294060" y="2067298"/>
                  <a:pt x="5294042" y="2065019"/>
                </a:cubicBezTo>
                <a:cubicBezTo>
                  <a:pt x="5282123" y="1924099"/>
                  <a:pt x="5230273" y="1786942"/>
                  <a:pt x="5171936" y="1647613"/>
                </a:cubicBezTo>
                <a:cubicBezTo>
                  <a:pt x="5119977" y="1522743"/>
                  <a:pt x="5065315" y="1397539"/>
                  <a:pt x="5009948" y="1273619"/>
                </a:cubicBezTo>
                <a:close/>
                <a:moveTo>
                  <a:pt x="655236" y="1268632"/>
                </a:moveTo>
                <a:cubicBezTo>
                  <a:pt x="717895" y="1408869"/>
                  <a:pt x="771574" y="1550454"/>
                  <a:pt x="839521" y="1685315"/>
                </a:cubicBezTo>
                <a:cubicBezTo>
                  <a:pt x="907470" y="1820177"/>
                  <a:pt x="989683" y="1948318"/>
                  <a:pt x="1109416" y="2061663"/>
                </a:cubicBezTo>
                <a:cubicBezTo>
                  <a:pt x="1177718" y="2126399"/>
                  <a:pt x="1244319" y="2184954"/>
                  <a:pt x="1298300" y="2247742"/>
                </a:cubicBezTo>
                <a:cubicBezTo>
                  <a:pt x="1250168" y="2156040"/>
                  <a:pt x="1187457" y="2071655"/>
                  <a:pt x="1125871" y="1989513"/>
                </a:cubicBezTo>
                <a:cubicBezTo>
                  <a:pt x="1076370" y="1923070"/>
                  <a:pt x="1025189" y="1854667"/>
                  <a:pt x="981574" y="1783157"/>
                </a:cubicBezTo>
                <a:cubicBezTo>
                  <a:pt x="960475" y="1748106"/>
                  <a:pt x="941058" y="1712211"/>
                  <a:pt x="922198" y="1677437"/>
                </a:cubicBezTo>
                <a:cubicBezTo>
                  <a:pt x="905028" y="1646031"/>
                  <a:pt x="887579" y="1614059"/>
                  <a:pt x="869293" y="1583214"/>
                </a:cubicBezTo>
                <a:cubicBezTo>
                  <a:pt x="832994" y="1522086"/>
                  <a:pt x="791368" y="1462924"/>
                  <a:pt x="751431" y="1405731"/>
                </a:cubicBezTo>
                <a:lnTo>
                  <a:pt x="655236" y="1268632"/>
                </a:lnTo>
                <a:close/>
                <a:moveTo>
                  <a:pt x="6516292" y="1263064"/>
                </a:moveTo>
                <a:cubicBezTo>
                  <a:pt x="6288018" y="1373581"/>
                  <a:pt x="6031500" y="1451909"/>
                  <a:pt x="5736320" y="1501803"/>
                </a:cubicBezTo>
                <a:cubicBezTo>
                  <a:pt x="6001708" y="1565837"/>
                  <a:pt x="6267694" y="1408906"/>
                  <a:pt x="6516292" y="1263064"/>
                </a:cubicBezTo>
                <a:close/>
                <a:moveTo>
                  <a:pt x="291466" y="1250369"/>
                </a:moveTo>
                <a:cubicBezTo>
                  <a:pt x="302228" y="1312380"/>
                  <a:pt x="313548" y="1374109"/>
                  <a:pt x="323180" y="1435283"/>
                </a:cubicBezTo>
                <a:cubicBezTo>
                  <a:pt x="347262" y="1585402"/>
                  <a:pt x="366566" y="1733005"/>
                  <a:pt x="349381" y="1875041"/>
                </a:cubicBezTo>
                <a:cubicBezTo>
                  <a:pt x="398887" y="1761016"/>
                  <a:pt x="404047" y="1643975"/>
                  <a:pt x="374363" y="1506494"/>
                </a:cubicBezTo>
                <a:cubicBezTo>
                  <a:pt x="356845" y="1425406"/>
                  <a:pt x="334841" y="1350786"/>
                  <a:pt x="302168" y="1274495"/>
                </a:cubicBezTo>
                <a:cubicBezTo>
                  <a:pt x="298229" y="1265236"/>
                  <a:pt x="295129" y="1257666"/>
                  <a:pt x="291466" y="1250369"/>
                </a:cubicBezTo>
                <a:close/>
                <a:moveTo>
                  <a:pt x="678222" y="1248670"/>
                </a:moveTo>
                <a:lnTo>
                  <a:pt x="775536" y="1388015"/>
                </a:lnTo>
                <a:cubicBezTo>
                  <a:pt x="815764" y="1445771"/>
                  <a:pt x="857669" y="1505484"/>
                  <a:pt x="894529" y="1567739"/>
                </a:cubicBezTo>
                <a:cubicBezTo>
                  <a:pt x="913103" y="1599148"/>
                  <a:pt x="930546" y="1631115"/>
                  <a:pt x="948000" y="1663088"/>
                </a:cubicBezTo>
                <a:cubicBezTo>
                  <a:pt x="966853" y="1697859"/>
                  <a:pt x="986277" y="1733757"/>
                  <a:pt x="1006812" y="1767683"/>
                </a:cubicBezTo>
                <a:cubicBezTo>
                  <a:pt x="1049303" y="1838347"/>
                  <a:pt x="1100205" y="1906189"/>
                  <a:pt x="1149133" y="1971513"/>
                </a:cubicBezTo>
                <a:cubicBezTo>
                  <a:pt x="1215506" y="2060384"/>
                  <a:pt x="1283561" y="2151216"/>
                  <a:pt x="1333952" y="2251620"/>
                </a:cubicBezTo>
                <a:lnTo>
                  <a:pt x="1337329" y="2258350"/>
                </a:lnTo>
                <a:cubicBezTo>
                  <a:pt x="1352131" y="2023413"/>
                  <a:pt x="1145204" y="1784597"/>
                  <a:pt x="1014726" y="1615556"/>
                </a:cubicBezTo>
                <a:cubicBezTo>
                  <a:pt x="911517" y="1481269"/>
                  <a:pt x="800192" y="1360189"/>
                  <a:pt x="678222" y="1248670"/>
                </a:cubicBezTo>
                <a:close/>
                <a:moveTo>
                  <a:pt x="6691602" y="1140573"/>
                </a:moveTo>
                <a:cubicBezTo>
                  <a:pt x="6646175" y="1158238"/>
                  <a:pt x="6598950" y="1175684"/>
                  <a:pt x="6571100" y="1183662"/>
                </a:cubicBezTo>
                <a:cubicBezTo>
                  <a:pt x="6462406" y="1213607"/>
                  <a:pt x="6352215" y="1234713"/>
                  <a:pt x="6241687" y="1257600"/>
                </a:cubicBezTo>
                <a:cubicBezTo>
                  <a:pt x="6040746" y="1299467"/>
                  <a:pt x="5893317" y="1420819"/>
                  <a:pt x="5693009" y="1478256"/>
                </a:cubicBezTo>
                <a:cubicBezTo>
                  <a:pt x="6021285" y="1426507"/>
                  <a:pt x="6301876" y="1340642"/>
                  <a:pt x="6548420" y="1214599"/>
                </a:cubicBezTo>
                <a:lnTo>
                  <a:pt x="6605473" y="1184686"/>
                </a:lnTo>
                <a:cubicBezTo>
                  <a:pt x="6633823" y="1169483"/>
                  <a:pt x="6662531" y="1154778"/>
                  <a:pt x="6691602" y="1140573"/>
                </a:cubicBezTo>
                <a:close/>
                <a:moveTo>
                  <a:pt x="4002475" y="1037802"/>
                </a:moveTo>
                <a:lnTo>
                  <a:pt x="4000324" y="1039362"/>
                </a:lnTo>
                <a:lnTo>
                  <a:pt x="4002862" y="1042866"/>
                </a:lnTo>
                <a:cubicBezTo>
                  <a:pt x="4002672" y="1041472"/>
                  <a:pt x="4002487" y="1040086"/>
                  <a:pt x="4002475" y="1037802"/>
                </a:cubicBezTo>
                <a:close/>
                <a:moveTo>
                  <a:pt x="506322" y="1020997"/>
                </a:moveTo>
                <a:cubicBezTo>
                  <a:pt x="513282" y="1018930"/>
                  <a:pt x="522180" y="1021005"/>
                  <a:pt x="533068" y="1029409"/>
                </a:cubicBezTo>
                <a:cubicBezTo>
                  <a:pt x="813777" y="1244537"/>
                  <a:pt x="1037861" y="1510547"/>
                  <a:pt x="1232525" y="1804675"/>
                </a:cubicBezTo>
                <a:cubicBezTo>
                  <a:pt x="1347857" y="1978510"/>
                  <a:pt x="1448039" y="2155739"/>
                  <a:pt x="1388858" y="2368011"/>
                </a:cubicBezTo>
                <a:cubicBezTo>
                  <a:pt x="1387462" y="2372226"/>
                  <a:pt x="1385496" y="2375314"/>
                  <a:pt x="1384098" y="2378125"/>
                </a:cubicBezTo>
                <a:cubicBezTo>
                  <a:pt x="1412260" y="2438425"/>
                  <a:pt x="1428077" y="2506324"/>
                  <a:pt x="1425393" y="2589124"/>
                </a:cubicBezTo>
                <a:cubicBezTo>
                  <a:pt x="1425681" y="2592488"/>
                  <a:pt x="1424559" y="2594453"/>
                  <a:pt x="1424001" y="2597541"/>
                </a:cubicBezTo>
                <a:cubicBezTo>
                  <a:pt x="1672217" y="2669579"/>
                  <a:pt x="1915127" y="2759032"/>
                  <a:pt x="2152729" y="2864487"/>
                </a:cubicBezTo>
                <a:cubicBezTo>
                  <a:pt x="2132903" y="2746636"/>
                  <a:pt x="2106350" y="2629357"/>
                  <a:pt x="2020609" y="2539671"/>
                </a:cubicBezTo>
                <a:cubicBezTo>
                  <a:pt x="2019486" y="2538832"/>
                  <a:pt x="2019482" y="2537426"/>
                  <a:pt x="2018920" y="2536309"/>
                </a:cubicBezTo>
                <a:cubicBezTo>
                  <a:pt x="1612986" y="2284320"/>
                  <a:pt x="1451410" y="1593008"/>
                  <a:pt x="1342441" y="1173017"/>
                </a:cubicBezTo>
                <a:cubicBezTo>
                  <a:pt x="1338482" y="1156742"/>
                  <a:pt x="1345418" y="1103405"/>
                  <a:pt x="1367925" y="1135648"/>
                </a:cubicBezTo>
                <a:cubicBezTo>
                  <a:pt x="1515878" y="1352095"/>
                  <a:pt x="1645605" y="1576999"/>
                  <a:pt x="1771401" y="1806673"/>
                </a:cubicBezTo>
                <a:cubicBezTo>
                  <a:pt x="1841477" y="1935111"/>
                  <a:pt x="1914363" y="2063547"/>
                  <a:pt x="1972385" y="2198735"/>
                </a:cubicBezTo>
                <a:cubicBezTo>
                  <a:pt x="1982518" y="2221738"/>
                  <a:pt x="2018367" y="2353316"/>
                  <a:pt x="2040892" y="2405205"/>
                </a:cubicBezTo>
                <a:cubicBezTo>
                  <a:pt x="2009600" y="2310668"/>
                  <a:pt x="2111587" y="2005996"/>
                  <a:pt x="2131689" y="1936926"/>
                </a:cubicBezTo>
                <a:cubicBezTo>
                  <a:pt x="2203731" y="1690111"/>
                  <a:pt x="2314813" y="1463729"/>
                  <a:pt x="2454820" y="1248808"/>
                </a:cubicBezTo>
                <a:cubicBezTo>
                  <a:pt x="2475264" y="1216788"/>
                  <a:pt x="2493340" y="1290570"/>
                  <a:pt x="2492512" y="1302920"/>
                </a:cubicBezTo>
                <a:cubicBezTo>
                  <a:pt x="2465675" y="1747535"/>
                  <a:pt x="2370053" y="2178216"/>
                  <a:pt x="2081216" y="2527513"/>
                </a:cubicBezTo>
                <a:cubicBezTo>
                  <a:pt x="2081497" y="2528073"/>
                  <a:pt x="2081211" y="2528916"/>
                  <a:pt x="2081211" y="2528916"/>
                </a:cubicBezTo>
                <a:cubicBezTo>
                  <a:pt x="2150699" y="2633778"/>
                  <a:pt x="2178105" y="2756954"/>
                  <a:pt x="2199067" y="2884061"/>
                </a:cubicBezTo>
                <a:cubicBezTo>
                  <a:pt x="2641128" y="3084915"/>
                  <a:pt x="3028660" y="3311628"/>
                  <a:pt x="3192586" y="3411496"/>
                </a:cubicBezTo>
                <a:cubicBezTo>
                  <a:pt x="3356510" y="3511368"/>
                  <a:pt x="3237401" y="3517312"/>
                  <a:pt x="3182620" y="3483279"/>
                </a:cubicBezTo>
                <a:cubicBezTo>
                  <a:pt x="3055506" y="3404310"/>
                  <a:pt x="2789863" y="3259545"/>
                  <a:pt x="2435119" y="3080173"/>
                </a:cubicBezTo>
                <a:lnTo>
                  <a:pt x="2410152" y="3063751"/>
                </a:lnTo>
                <a:lnTo>
                  <a:pt x="2408099" y="3064403"/>
                </a:lnTo>
                <a:lnTo>
                  <a:pt x="2407218" y="3070324"/>
                </a:lnTo>
                <a:cubicBezTo>
                  <a:pt x="2402612" y="3079171"/>
                  <a:pt x="2394080" y="3088906"/>
                  <a:pt x="2380138" y="3099341"/>
                </a:cubicBezTo>
                <a:cubicBezTo>
                  <a:pt x="2194333" y="3283170"/>
                  <a:pt x="1992503" y="3449064"/>
                  <a:pt x="1765923" y="3581043"/>
                </a:cubicBezTo>
                <a:cubicBezTo>
                  <a:pt x="1744896" y="3593696"/>
                  <a:pt x="1723857" y="3603555"/>
                  <a:pt x="1702258" y="3612286"/>
                </a:cubicBezTo>
                <a:cubicBezTo>
                  <a:pt x="1664333" y="3650747"/>
                  <a:pt x="1731601" y="3589836"/>
                  <a:pt x="1538370" y="3811804"/>
                </a:cubicBezTo>
                <a:cubicBezTo>
                  <a:pt x="1278852" y="4250311"/>
                  <a:pt x="915356" y="4600566"/>
                  <a:pt x="542867" y="4944092"/>
                </a:cubicBezTo>
                <a:cubicBezTo>
                  <a:pt x="521291" y="4964055"/>
                  <a:pt x="503482" y="4879596"/>
                  <a:pt x="515800" y="4862180"/>
                </a:cubicBezTo>
                <a:cubicBezTo>
                  <a:pt x="664236" y="4650055"/>
                  <a:pt x="747224" y="4402666"/>
                  <a:pt x="909145" y="4199225"/>
                </a:cubicBezTo>
                <a:cubicBezTo>
                  <a:pt x="998789" y="4086824"/>
                  <a:pt x="1101084" y="3991246"/>
                  <a:pt x="1214067" y="3908561"/>
                </a:cubicBezTo>
                <a:cubicBezTo>
                  <a:pt x="1023317" y="3973399"/>
                  <a:pt x="824392" y="4020568"/>
                  <a:pt x="640967" y="4105601"/>
                </a:cubicBezTo>
                <a:cubicBezTo>
                  <a:pt x="458381" y="4190213"/>
                  <a:pt x="284593" y="4292005"/>
                  <a:pt x="112563" y="4396952"/>
                </a:cubicBezTo>
                <a:lnTo>
                  <a:pt x="0" y="4466006"/>
                </a:lnTo>
                <a:lnTo>
                  <a:pt x="0" y="4233763"/>
                </a:lnTo>
                <a:lnTo>
                  <a:pt x="36881" y="4200118"/>
                </a:lnTo>
                <a:cubicBezTo>
                  <a:pt x="302143" y="3962792"/>
                  <a:pt x="585478" y="3740226"/>
                  <a:pt x="910534" y="3629753"/>
                </a:cubicBezTo>
                <a:cubicBezTo>
                  <a:pt x="1140280" y="3551663"/>
                  <a:pt x="1356783" y="3624873"/>
                  <a:pt x="1578717" y="3575982"/>
                </a:cubicBezTo>
                <a:cubicBezTo>
                  <a:pt x="1857881" y="3513822"/>
                  <a:pt x="2134207" y="3238918"/>
                  <a:pt x="2338780" y="3033725"/>
                </a:cubicBezTo>
                <a:cubicBezTo>
                  <a:pt x="2165203" y="2949506"/>
                  <a:pt x="1987990" y="2873430"/>
                  <a:pt x="1807991" y="2807184"/>
                </a:cubicBezTo>
                <a:cubicBezTo>
                  <a:pt x="1696192" y="2934214"/>
                  <a:pt x="1567238" y="3035444"/>
                  <a:pt x="1416358" y="3112571"/>
                </a:cubicBezTo>
                <a:cubicBezTo>
                  <a:pt x="1318658" y="3280278"/>
                  <a:pt x="1112986" y="3321000"/>
                  <a:pt x="939066" y="3378798"/>
                </a:cubicBezTo>
                <a:cubicBezTo>
                  <a:pt x="668357" y="3469020"/>
                  <a:pt x="393418" y="3543804"/>
                  <a:pt x="115099" y="3607650"/>
                </a:cubicBezTo>
                <a:cubicBezTo>
                  <a:pt x="80589" y="3615844"/>
                  <a:pt x="67554" y="3533906"/>
                  <a:pt x="97284" y="3520393"/>
                </a:cubicBezTo>
                <a:cubicBezTo>
                  <a:pt x="382521" y="3387774"/>
                  <a:pt x="642160" y="3215335"/>
                  <a:pt x="922050" y="3074867"/>
                </a:cubicBezTo>
                <a:cubicBezTo>
                  <a:pt x="1080787" y="2995199"/>
                  <a:pt x="1233979" y="2960447"/>
                  <a:pt x="1405265" y="3016319"/>
                </a:cubicBezTo>
                <a:cubicBezTo>
                  <a:pt x="1406106" y="3016600"/>
                  <a:pt x="1406671" y="3017724"/>
                  <a:pt x="1407512" y="3018001"/>
                </a:cubicBezTo>
                <a:cubicBezTo>
                  <a:pt x="1526420" y="2954115"/>
                  <a:pt x="1632390" y="2874245"/>
                  <a:pt x="1726266" y="2777274"/>
                </a:cubicBezTo>
                <a:cubicBezTo>
                  <a:pt x="1369635" y="2651515"/>
                  <a:pt x="1000990" y="2561972"/>
                  <a:pt x="625390" y="2514541"/>
                </a:cubicBezTo>
                <a:cubicBezTo>
                  <a:pt x="624559" y="2519877"/>
                  <a:pt x="622878" y="2524928"/>
                  <a:pt x="619799" y="2527180"/>
                </a:cubicBezTo>
                <a:cubicBezTo>
                  <a:pt x="509037" y="2598914"/>
                  <a:pt x="403069" y="2677377"/>
                  <a:pt x="310030" y="2771818"/>
                </a:cubicBezTo>
                <a:cubicBezTo>
                  <a:pt x="266034" y="2817076"/>
                  <a:pt x="224887" y="2891795"/>
                  <a:pt x="173877" y="2937056"/>
                </a:cubicBezTo>
                <a:cubicBezTo>
                  <a:pt x="145840" y="3003792"/>
                  <a:pt x="113686" y="3071134"/>
                  <a:pt x="77889" y="3138440"/>
                </a:cubicBezTo>
                <a:lnTo>
                  <a:pt x="0" y="3271395"/>
                </a:lnTo>
                <a:lnTo>
                  <a:pt x="0" y="3153002"/>
                </a:lnTo>
                <a:lnTo>
                  <a:pt x="2386" y="3149203"/>
                </a:lnTo>
                <a:cubicBezTo>
                  <a:pt x="33821" y="3095439"/>
                  <a:pt x="63030" y="3041490"/>
                  <a:pt x="89753" y="2987702"/>
                </a:cubicBezTo>
                <a:cubicBezTo>
                  <a:pt x="85546" y="2993322"/>
                  <a:pt x="81066" y="2999788"/>
                  <a:pt x="76869" y="3005404"/>
                </a:cubicBezTo>
                <a:cubicBezTo>
                  <a:pt x="63139" y="3024231"/>
                  <a:pt x="48575" y="3042776"/>
                  <a:pt x="32049" y="3065814"/>
                </a:cubicBezTo>
                <a:lnTo>
                  <a:pt x="0" y="3108744"/>
                </a:lnTo>
                <a:lnTo>
                  <a:pt x="0" y="3058059"/>
                </a:lnTo>
                <a:lnTo>
                  <a:pt x="7610" y="3047889"/>
                </a:lnTo>
                <a:cubicBezTo>
                  <a:pt x="24410" y="3025415"/>
                  <a:pt x="38695" y="3006301"/>
                  <a:pt x="52419" y="2987479"/>
                </a:cubicBezTo>
                <a:cubicBezTo>
                  <a:pt x="54382" y="2984385"/>
                  <a:pt x="57184" y="2981579"/>
                  <a:pt x="59142" y="2978488"/>
                </a:cubicBezTo>
                <a:lnTo>
                  <a:pt x="0" y="3015334"/>
                </a:lnTo>
                <a:lnTo>
                  <a:pt x="0" y="2914286"/>
                </a:lnTo>
                <a:lnTo>
                  <a:pt x="36383" y="2901128"/>
                </a:lnTo>
                <a:cubicBezTo>
                  <a:pt x="76283" y="2885228"/>
                  <a:pt x="116303" y="2866415"/>
                  <a:pt x="156329" y="2840533"/>
                </a:cubicBezTo>
                <a:cubicBezTo>
                  <a:pt x="229785" y="2792431"/>
                  <a:pt x="289125" y="2682604"/>
                  <a:pt x="358355" y="2620471"/>
                </a:cubicBezTo>
                <a:cubicBezTo>
                  <a:pt x="406846" y="2577174"/>
                  <a:pt x="457591" y="2538372"/>
                  <a:pt x="510577" y="2501244"/>
                </a:cubicBezTo>
                <a:cubicBezTo>
                  <a:pt x="411488" y="2490937"/>
                  <a:pt x="311929" y="2483543"/>
                  <a:pt x="211967" y="2479171"/>
                </a:cubicBezTo>
                <a:lnTo>
                  <a:pt x="0" y="2476398"/>
                </a:lnTo>
                <a:lnTo>
                  <a:pt x="0" y="2389189"/>
                </a:lnTo>
                <a:lnTo>
                  <a:pt x="103062" y="2389518"/>
                </a:lnTo>
                <a:cubicBezTo>
                  <a:pt x="239716" y="2392822"/>
                  <a:pt x="375712" y="2401808"/>
                  <a:pt x="510734" y="2416201"/>
                </a:cubicBezTo>
                <a:cubicBezTo>
                  <a:pt x="453295" y="2294758"/>
                  <a:pt x="388809" y="2156489"/>
                  <a:pt x="279257" y="2092102"/>
                </a:cubicBezTo>
                <a:cubicBezTo>
                  <a:pt x="214509" y="2054029"/>
                  <a:pt x="140169" y="2030776"/>
                  <a:pt x="65265" y="2006049"/>
                </a:cubicBezTo>
                <a:lnTo>
                  <a:pt x="0" y="1982532"/>
                </a:lnTo>
                <a:lnTo>
                  <a:pt x="0" y="1912789"/>
                </a:lnTo>
                <a:lnTo>
                  <a:pt x="97460" y="1953725"/>
                </a:lnTo>
                <a:cubicBezTo>
                  <a:pt x="140146" y="1968817"/>
                  <a:pt x="181972" y="1973804"/>
                  <a:pt x="221272" y="1980766"/>
                </a:cubicBezTo>
                <a:cubicBezTo>
                  <a:pt x="184478" y="1960612"/>
                  <a:pt x="148800" y="1938494"/>
                  <a:pt x="116765" y="1911033"/>
                </a:cubicBezTo>
                <a:cubicBezTo>
                  <a:pt x="78825" y="1878815"/>
                  <a:pt x="47051" y="1840696"/>
                  <a:pt x="16405" y="1803412"/>
                </a:cubicBezTo>
                <a:lnTo>
                  <a:pt x="0" y="1784777"/>
                </a:lnTo>
                <a:lnTo>
                  <a:pt x="0" y="1740082"/>
                </a:lnTo>
                <a:lnTo>
                  <a:pt x="39394" y="1784856"/>
                </a:lnTo>
                <a:cubicBezTo>
                  <a:pt x="69479" y="1821014"/>
                  <a:pt x="100126" y="1858299"/>
                  <a:pt x="135813" y="1888838"/>
                </a:cubicBezTo>
                <a:cubicBezTo>
                  <a:pt x="168411" y="1916009"/>
                  <a:pt x="204933" y="1938411"/>
                  <a:pt x="242575" y="1958841"/>
                </a:cubicBezTo>
                <a:cubicBezTo>
                  <a:pt x="195379" y="1882642"/>
                  <a:pt x="141547" y="1815083"/>
                  <a:pt x="82197" y="1754826"/>
                </a:cubicBezTo>
                <a:lnTo>
                  <a:pt x="0" y="1679650"/>
                </a:lnTo>
                <a:lnTo>
                  <a:pt x="0" y="1602463"/>
                </a:lnTo>
                <a:lnTo>
                  <a:pt x="84689" y="1677442"/>
                </a:lnTo>
                <a:cubicBezTo>
                  <a:pt x="165950" y="1759826"/>
                  <a:pt x="237786" y="1855565"/>
                  <a:pt x="298437" y="1968019"/>
                </a:cubicBezTo>
                <a:lnTo>
                  <a:pt x="227269" y="1114064"/>
                </a:lnTo>
                <a:cubicBezTo>
                  <a:pt x="226129" y="1099191"/>
                  <a:pt x="230003" y="1062136"/>
                  <a:pt x="248003" y="1089613"/>
                </a:cubicBezTo>
                <a:cubicBezTo>
                  <a:pt x="349844" y="1249160"/>
                  <a:pt x="397556" y="1433768"/>
                  <a:pt x="427020" y="1619803"/>
                </a:cubicBezTo>
                <a:cubicBezTo>
                  <a:pt x="453086" y="1782272"/>
                  <a:pt x="422387" y="1897385"/>
                  <a:pt x="340345" y="2027739"/>
                </a:cubicBezTo>
                <a:cubicBezTo>
                  <a:pt x="347373" y="2033339"/>
                  <a:pt x="354114" y="2038383"/>
                  <a:pt x="360865" y="2044827"/>
                </a:cubicBezTo>
                <a:cubicBezTo>
                  <a:pt x="443500" y="2128340"/>
                  <a:pt x="506078" y="2306190"/>
                  <a:pt x="560414" y="2421457"/>
                </a:cubicBezTo>
                <a:cubicBezTo>
                  <a:pt x="831022" y="2452769"/>
                  <a:pt x="1098019" y="2506255"/>
                  <a:pt x="1359703" y="2578554"/>
                </a:cubicBezTo>
                <a:lnTo>
                  <a:pt x="1359422" y="2577994"/>
                </a:lnTo>
                <a:cubicBezTo>
                  <a:pt x="1370467" y="2269807"/>
                  <a:pt x="976420" y="2084880"/>
                  <a:pt x="828701" y="1839520"/>
                </a:cubicBezTo>
                <a:cubicBezTo>
                  <a:pt x="687172" y="1605098"/>
                  <a:pt x="631475" y="1330413"/>
                  <a:pt x="494427" y="1092333"/>
                </a:cubicBezTo>
                <a:cubicBezTo>
                  <a:pt x="481980" y="1070671"/>
                  <a:pt x="485440" y="1027197"/>
                  <a:pt x="506322" y="1020997"/>
                </a:cubicBezTo>
                <a:close/>
                <a:moveTo>
                  <a:pt x="4570198" y="978081"/>
                </a:moveTo>
                <a:cubicBezTo>
                  <a:pt x="4555714" y="1028259"/>
                  <a:pt x="4540870" y="1077934"/>
                  <a:pt x="4523691" y="1127776"/>
                </a:cubicBezTo>
                <a:lnTo>
                  <a:pt x="4509875" y="1167552"/>
                </a:lnTo>
                <a:cubicBezTo>
                  <a:pt x="4498703" y="1198545"/>
                  <a:pt x="4488074" y="1229138"/>
                  <a:pt x="4478168" y="1260735"/>
                </a:cubicBezTo>
                <a:cubicBezTo>
                  <a:pt x="4437866" y="1392962"/>
                  <a:pt x="4423333" y="1532451"/>
                  <a:pt x="4409309" y="1666996"/>
                </a:cubicBezTo>
                <a:cubicBezTo>
                  <a:pt x="4399387" y="1761934"/>
                  <a:pt x="4389478" y="1859162"/>
                  <a:pt x="4370031" y="1955666"/>
                </a:cubicBezTo>
                <a:cubicBezTo>
                  <a:pt x="4495511" y="1636562"/>
                  <a:pt x="4590903" y="1311031"/>
                  <a:pt x="4570198" y="978081"/>
                </a:cubicBezTo>
                <a:close/>
                <a:moveTo>
                  <a:pt x="4557898" y="900011"/>
                </a:moveTo>
                <a:cubicBezTo>
                  <a:pt x="4330292" y="1199280"/>
                  <a:pt x="4335713" y="1567725"/>
                  <a:pt x="4344840" y="1922038"/>
                </a:cubicBezTo>
                <a:cubicBezTo>
                  <a:pt x="4360210" y="1836882"/>
                  <a:pt x="4369815" y="1750562"/>
                  <a:pt x="4378710" y="1665516"/>
                </a:cubicBezTo>
                <a:cubicBezTo>
                  <a:pt x="4393083" y="1529197"/>
                  <a:pt x="4407432" y="1388309"/>
                  <a:pt x="4448798" y="1253024"/>
                </a:cubicBezTo>
                <a:cubicBezTo>
                  <a:pt x="4458700" y="1221425"/>
                  <a:pt x="4469507" y="1189944"/>
                  <a:pt x="4480315" y="1158454"/>
                </a:cubicBezTo>
                <a:lnTo>
                  <a:pt x="4494133" y="1118676"/>
                </a:lnTo>
                <a:cubicBezTo>
                  <a:pt x="4518925" y="1046526"/>
                  <a:pt x="4539765" y="973431"/>
                  <a:pt x="4557898" y="900011"/>
                </a:cubicBezTo>
                <a:close/>
                <a:moveTo>
                  <a:pt x="5870151" y="898890"/>
                </a:moveTo>
                <a:cubicBezTo>
                  <a:pt x="5866911" y="898948"/>
                  <a:pt x="5864574" y="899121"/>
                  <a:pt x="5861335" y="899177"/>
                </a:cubicBezTo>
                <a:lnTo>
                  <a:pt x="5843702" y="899748"/>
                </a:lnTo>
                <a:cubicBezTo>
                  <a:pt x="5780018" y="902412"/>
                  <a:pt x="5714210" y="911192"/>
                  <a:pt x="5651107" y="920306"/>
                </a:cubicBezTo>
                <a:cubicBezTo>
                  <a:pt x="5588537" y="929031"/>
                  <a:pt x="5523624" y="937920"/>
                  <a:pt x="5459407" y="940975"/>
                </a:cubicBezTo>
                <a:cubicBezTo>
                  <a:pt x="5431523" y="942110"/>
                  <a:pt x="5402918" y="942237"/>
                  <a:pt x="5374846" y="941988"/>
                </a:cubicBezTo>
                <a:cubicBezTo>
                  <a:pt x="5336157" y="941792"/>
                  <a:pt x="5295497" y="942268"/>
                  <a:pt x="5256105" y="945632"/>
                </a:cubicBezTo>
                <a:cubicBezTo>
                  <a:pt x="5206829" y="950064"/>
                  <a:pt x="5155964" y="960232"/>
                  <a:pt x="5107071" y="969720"/>
                </a:cubicBezTo>
                <a:cubicBezTo>
                  <a:pt x="5071129" y="976700"/>
                  <a:pt x="5035177" y="983681"/>
                  <a:pt x="4998681" y="988771"/>
                </a:cubicBezTo>
                <a:cubicBezTo>
                  <a:pt x="5256175" y="1057755"/>
                  <a:pt x="5597864" y="989418"/>
                  <a:pt x="5870151" y="898890"/>
                </a:cubicBezTo>
                <a:close/>
                <a:moveTo>
                  <a:pt x="5504425" y="848067"/>
                </a:moveTo>
                <a:cubicBezTo>
                  <a:pt x="5313518" y="848319"/>
                  <a:pt x="5144450" y="894555"/>
                  <a:pt x="4968849" y="962318"/>
                </a:cubicBezTo>
                <a:cubicBezTo>
                  <a:pt x="5013986" y="957830"/>
                  <a:pt x="5059460" y="949291"/>
                  <a:pt x="5104039" y="940634"/>
                </a:cubicBezTo>
                <a:cubicBezTo>
                  <a:pt x="5153465" y="930752"/>
                  <a:pt x="5205230" y="920703"/>
                  <a:pt x="5256311" y="916490"/>
                </a:cubicBezTo>
                <a:cubicBezTo>
                  <a:pt x="5297138" y="912849"/>
                  <a:pt x="5338158" y="912871"/>
                  <a:pt x="5377381" y="912671"/>
                </a:cubicBezTo>
                <a:lnTo>
                  <a:pt x="5460148" y="911442"/>
                </a:lnTo>
                <a:cubicBezTo>
                  <a:pt x="5522934" y="908669"/>
                  <a:pt x="5586937" y="899666"/>
                  <a:pt x="5648971" y="891331"/>
                </a:cubicBezTo>
                <a:cubicBezTo>
                  <a:pt x="5712974" y="882328"/>
                  <a:pt x="5779324" y="873155"/>
                  <a:pt x="5844807" y="870718"/>
                </a:cubicBezTo>
                <a:lnTo>
                  <a:pt x="5862975" y="869756"/>
                </a:lnTo>
                <a:cubicBezTo>
                  <a:pt x="5882405" y="869405"/>
                  <a:pt x="5902011" y="868171"/>
                  <a:pt x="5920887" y="865929"/>
                </a:cubicBezTo>
                <a:cubicBezTo>
                  <a:pt x="5782825" y="855356"/>
                  <a:pt x="5643867" y="846954"/>
                  <a:pt x="5504425" y="848067"/>
                </a:cubicBezTo>
                <a:close/>
                <a:moveTo>
                  <a:pt x="3607114" y="467441"/>
                </a:moveTo>
                <a:cubicBezTo>
                  <a:pt x="3528124" y="599478"/>
                  <a:pt x="3410482" y="705343"/>
                  <a:pt x="3296242" y="807991"/>
                </a:cubicBezTo>
                <a:cubicBezTo>
                  <a:pt x="3255418" y="844446"/>
                  <a:pt x="3213877" y="882186"/>
                  <a:pt x="3174674" y="919759"/>
                </a:cubicBezTo>
                <a:cubicBezTo>
                  <a:pt x="3129209" y="963390"/>
                  <a:pt x="3085915" y="1010032"/>
                  <a:pt x="3042978" y="1054894"/>
                </a:cubicBezTo>
                <a:lnTo>
                  <a:pt x="2968914" y="1133756"/>
                </a:lnTo>
                <a:cubicBezTo>
                  <a:pt x="3001355" y="1109480"/>
                  <a:pt x="3045966" y="1074853"/>
                  <a:pt x="3103823" y="1026814"/>
                </a:cubicBezTo>
                <a:cubicBezTo>
                  <a:pt x="3260201" y="897449"/>
                  <a:pt x="3521192" y="681569"/>
                  <a:pt x="3607114" y="467441"/>
                </a:cubicBezTo>
                <a:close/>
                <a:moveTo>
                  <a:pt x="3744487" y="383136"/>
                </a:moveTo>
                <a:cubicBezTo>
                  <a:pt x="3789590" y="603780"/>
                  <a:pt x="3850997" y="811848"/>
                  <a:pt x="3970213" y="995559"/>
                </a:cubicBezTo>
                <a:cubicBezTo>
                  <a:pt x="3927384" y="796159"/>
                  <a:pt x="3865366" y="574806"/>
                  <a:pt x="3744487" y="383136"/>
                </a:cubicBezTo>
                <a:close/>
                <a:moveTo>
                  <a:pt x="3624562" y="367041"/>
                </a:moveTo>
                <a:cubicBezTo>
                  <a:pt x="3578160" y="403736"/>
                  <a:pt x="3532667" y="442805"/>
                  <a:pt x="3489712" y="485386"/>
                </a:cubicBezTo>
                <a:cubicBezTo>
                  <a:pt x="3380716" y="591858"/>
                  <a:pt x="3284219" y="714458"/>
                  <a:pt x="3182994" y="828265"/>
                </a:cubicBezTo>
                <a:cubicBezTo>
                  <a:pt x="3100902" y="919812"/>
                  <a:pt x="2899469" y="1135252"/>
                  <a:pt x="2892114" y="1172635"/>
                </a:cubicBezTo>
                <a:lnTo>
                  <a:pt x="3021459" y="1035385"/>
                </a:lnTo>
                <a:cubicBezTo>
                  <a:pt x="3064036" y="990026"/>
                  <a:pt x="3108229" y="943501"/>
                  <a:pt x="3153873" y="898971"/>
                </a:cubicBezTo>
                <a:cubicBezTo>
                  <a:pt x="3193783" y="860125"/>
                  <a:pt x="3235680" y="822883"/>
                  <a:pt x="3276511" y="786423"/>
                </a:cubicBezTo>
                <a:cubicBezTo>
                  <a:pt x="3390214" y="684175"/>
                  <a:pt x="3507852" y="578306"/>
                  <a:pt x="3584154" y="448218"/>
                </a:cubicBezTo>
                <a:cubicBezTo>
                  <a:pt x="3599491" y="421848"/>
                  <a:pt x="3612660" y="394752"/>
                  <a:pt x="3624562" y="367041"/>
                </a:cubicBezTo>
                <a:close/>
                <a:moveTo>
                  <a:pt x="3766672" y="359429"/>
                </a:moveTo>
                <a:cubicBezTo>
                  <a:pt x="3888797" y="549425"/>
                  <a:pt x="3952247" y="768223"/>
                  <a:pt x="3996338" y="968237"/>
                </a:cubicBezTo>
                <a:cubicBezTo>
                  <a:pt x="3973140" y="739339"/>
                  <a:pt x="3922473" y="455576"/>
                  <a:pt x="3766672" y="359429"/>
                </a:cubicBezTo>
                <a:close/>
                <a:moveTo>
                  <a:pt x="5805386" y="239240"/>
                </a:moveTo>
                <a:cubicBezTo>
                  <a:pt x="5783116" y="246988"/>
                  <a:pt x="5760847" y="254734"/>
                  <a:pt x="5736947" y="261367"/>
                </a:cubicBezTo>
                <a:cubicBezTo>
                  <a:pt x="5638133" y="287976"/>
                  <a:pt x="5538513" y="299897"/>
                  <a:pt x="5427012" y="311272"/>
                </a:cubicBezTo>
                <a:cubicBezTo>
                  <a:pt x="5345554" y="319953"/>
                  <a:pt x="5243942" y="330268"/>
                  <a:pt x="5147818" y="322112"/>
                </a:cubicBezTo>
                <a:cubicBezTo>
                  <a:pt x="5118835" y="319462"/>
                  <a:pt x="5090027" y="315925"/>
                  <a:pt x="5060854" y="311882"/>
                </a:cubicBezTo>
                <a:cubicBezTo>
                  <a:pt x="5021780" y="306636"/>
                  <a:pt x="4983964" y="301993"/>
                  <a:pt x="4945989" y="300516"/>
                </a:cubicBezTo>
                <a:cubicBezTo>
                  <a:pt x="5093776" y="343728"/>
                  <a:pt x="5255799" y="359063"/>
                  <a:pt x="5410479" y="348434"/>
                </a:cubicBezTo>
                <a:cubicBezTo>
                  <a:pt x="5535307" y="339607"/>
                  <a:pt x="5683741" y="304513"/>
                  <a:pt x="5805386" y="239240"/>
                </a:cubicBezTo>
                <a:close/>
                <a:moveTo>
                  <a:pt x="5905192" y="163079"/>
                </a:moveTo>
                <a:cubicBezTo>
                  <a:pt x="5892074" y="166484"/>
                  <a:pt x="5879136" y="168997"/>
                  <a:pt x="5865655" y="171901"/>
                </a:cubicBezTo>
                <a:cubicBezTo>
                  <a:pt x="5671371" y="212758"/>
                  <a:pt x="5464843" y="252569"/>
                  <a:pt x="5259740" y="257013"/>
                </a:cubicBezTo>
                <a:lnTo>
                  <a:pt x="5208466" y="257550"/>
                </a:lnTo>
                <a:cubicBezTo>
                  <a:pt x="5132177" y="258666"/>
                  <a:pt x="5054091" y="259560"/>
                  <a:pt x="4980204" y="271903"/>
                </a:cubicBezTo>
                <a:cubicBezTo>
                  <a:pt x="5009725" y="274165"/>
                  <a:pt x="5038894" y="278201"/>
                  <a:pt x="5068068" y="282244"/>
                </a:cubicBezTo>
                <a:cubicBezTo>
                  <a:pt x="5096338" y="286164"/>
                  <a:pt x="5124608" y="290090"/>
                  <a:pt x="5153231" y="292240"/>
                </a:cubicBezTo>
                <a:cubicBezTo>
                  <a:pt x="5246661" y="300067"/>
                  <a:pt x="5346469" y="289533"/>
                  <a:pt x="5426491" y="281128"/>
                </a:cubicBezTo>
                <a:cubicBezTo>
                  <a:pt x="5536189" y="269536"/>
                  <a:pt x="5634727" y="258390"/>
                  <a:pt x="5731212" y="231951"/>
                </a:cubicBezTo>
                <a:cubicBezTo>
                  <a:pt x="5794995" y="214721"/>
                  <a:pt x="5853525" y="191373"/>
                  <a:pt x="5905192" y="163079"/>
                </a:cubicBezTo>
                <a:close/>
                <a:moveTo>
                  <a:pt x="5944437" y="113829"/>
                </a:moveTo>
                <a:cubicBezTo>
                  <a:pt x="5917256" y="119186"/>
                  <a:pt x="5863594" y="140199"/>
                  <a:pt x="5825032" y="146405"/>
                </a:cubicBezTo>
                <a:cubicBezTo>
                  <a:pt x="5539893" y="189777"/>
                  <a:pt x="5237140" y="170377"/>
                  <a:pt x="4955599" y="247008"/>
                </a:cubicBezTo>
                <a:cubicBezTo>
                  <a:pt x="5038637" y="230314"/>
                  <a:pt x="5125543" y="229138"/>
                  <a:pt x="5210104" y="228123"/>
                </a:cubicBezTo>
                <a:lnTo>
                  <a:pt x="5261015" y="227087"/>
                </a:lnTo>
                <a:cubicBezTo>
                  <a:pt x="5463242" y="223204"/>
                  <a:pt x="5667966" y="183171"/>
                  <a:pt x="5861181" y="143093"/>
                </a:cubicBezTo>
                <a:cubicBezTo>
                  <a:pt x="5895331" y="135893"/>
                  <a:pt x="5928215" y="128080"/>
                  <a:pt x="5961252" y="114820"/>
                </a:cubicBezTo>
                <a:cubicBezTo>
                  <a:pt x="5959615" y="111998"/>
                  <a:pt x="5953497" y="112044"/>
                  <a:pt x="5944437" y="113829"/>
                </a:cubicBezTo>
                <a:close/>
                <a:moveTo>
                  <a:pt x="3882765" y="0"/>
                </a:moveTo>
                <a:lnTo>
                  <a:pt x="3995099" y="0"/>
                </a:lnTo>
                <a:lnTo>
                  <a:pt x="4163818" y="234104"/>
                </a:lnTo>
                <a:cubicBezTo>
                  <a:pt x="4167056" y="234046"/>
                  <a:pt x="4169933" y="233486"/>
                  <a:pt x="4172099" y="234207"/>
                </a:cubicBezTo>
                <a:cubicBezTo>
                  <a:pt x="4370329" y="290447"/>
                  <a:pt x="4575890" y="304753"/>
                  <a:pt x="4784282" y="276561"/>
                </a:cubicBezTo>
                <a:cubicBezTo>
                  <a:pt x="4788943" y="273941"/>
                  <a:pt x="4794689" y="270546"/>
                  <a:pt x="4801687" y="267764"/>
                </a:cubicBezTo>
                <a:cubicBezTo>
                  <a:pt x="5207052" y="98325"/>
                  <a:pt x="5661672" y="149587"/>
                  <a:pt x="6082788" y="64119"/>
                </a:cubicBezTo>
                <a:cubicBezTo>
                  <a:pt x="6097705" y="60940"/>
                  <a:pt x="6122565" y="65809"/>
                  <a:pt x="6099442" y="82568"/>
                </a:cubicBezTo>
                <a:cubicBezTo>
                  <a:pt x="5702970" y="366122"/>
                  <a:pt x="5250177" y="483706"/>
                  <a:pt x="4804137" y="320931"/>
                </a:cubicBezTo>
                <a:cubicBezTo>
                  <a:pt x="4608728" y="353445"/>
                  <a:pt x="4415104" y="351091"/>
                  <a:pt x="4227047" y="313415"/>
                </a:cubicBezTo>
                <a:cubicBezTo>
                  <a:pt x="4265992" y="361495"/>
                  <a:pt x="4305481" y="409180"/>
                  <a:pt x="4346041" y="456086"/>
                </a:cubicBezTo>
                <a:cubicBezTo>
                  <a:pt x="4508645" y="644218"/>
                  <a:pt x="4684629" y="811207"/>
                  <a:pt x="4870967" y="963061"/>
                </a:cubicBezTo>
                <a:cubicBezTo>
                  <a:pt x="4877428" y="960662"/>
                  <a:pt x="4883360" y="958653"/>
                  <a:pt x="4889647" y="957147"/>
                </a:cubicBezTo>
                <a:cubicBezTo>
                  <a:pt x="5063790" y="885104"/>
                  <a:pt x="5235998" y="820573"/>
                  <a:pt x="5422504" y="805191"/>
                </a:cubicBezTo>
                <a:cubicBezTo>
                  <a:pt x="5643719" y="786779"/>
                  <a:pt x="5869113" y="808075"/>
                  <a:pt x="6087656" y="826703"/>
                </a:cubicBezTo>
                <a:cubicBezTo>
                  <a:pt x="6118977" y="829180"/>
                  <a:pt x="6064821" y="863092"/>
                  <a:pt x="6058717" y="865992"/>
                </a:cubicBezTo>
                <a:cubicBezTo>
                  <a:pt x="5757093" y="988464"/>
                  <a:pt x="5312094" y="1115658"/>
                  <a:pt x="4974153" y="1045456"/>
                </a:cubicBezTo>
                <a:cubicBezTo>
                  <a:pt x="5180499" y="1203411"/>
                  <a:pt x="5398986" y="1344171"/>
                  <a:pt x="5627835" y="1472077"/>
                </a:cubicBezTo>
                <a:cubicBezTo>
                  <a:pt x="5628372" y="1471688"/>
                  <a:pt x="5629279" y="1471800"/>
                  <a:pt x="5629817" y="1471412"/>
                </a:cubicBezTo>
                <a:cubicBezTo>
                  <a:pt x="5631249" y="1471132"/>
                  <a:pt x="5633225" y="1470462"/>
                  <a:pt x="5634124" y="1470572"/>
                </a:cubicBezTo>
                <a:cubicBezTo>
                  <a:pt x="5647257" y="1469448"/>
                  <a:pt x="5751167" y="1386498"/>
                  <a:pt x="5755832" y="1383886"/>
                </a:cubicBezTo>
                <a:cubicBezTo>
                  <a:pt x="5837996" y="1338827"/>
                  <a:pt x="5925989" y="1306339"/>
                  <a:pt x="6014186" y="1279799"/>
                </a:cubicBezTo>
                <a:cubicBezTo>
                  <a:pt x="6310230" y="1190367"/>
                  <a:pt x="6608567" y="1157268"/>
                  <a:pt x="6901619" y="1047874"/>
                </a:cubicBezTo>
                <a:cubicBezTo>
                  <a:pt x="6921553" y="1040293"/>
                  <a:pt x="6976591" y="1037028"/>
                  <a:pt x="6931566" y="1062034"/>
                </a:cubicBezTo>
                <a:cubicBezTo>
                  <a:pt x="6610108" y="1243134"/>
                  <a:pt x="6183662" y="1573592"/>
                  <a:pt x="5790982" y="1561380"/>
                </a:cubicBezTo>
                <a:cubicBezTo>
                  <a:pt x="5920545" y="1629240"/>
                  <a:pt x="6053507" y="1693876"/>
                  <a:pt x="6188971" y="1755168"/>
                </a:cubicBezTo>
                <a:cubicBezTo>
                  <a:pt x="6193458" y="1753446"/>
                  <a:pt x="6198307" y="1752214"/>
                  <a:pt x="6202446" y="1752268"/>
                </a:cubicBezTo>
                <a:cubicBezTo>
                  <a:pt x="6504288" y="1570118"/>
                  <a:pt x="6833930" y="1471594"/>
                  <a:pt x="7179560" y="1467551"/>
                </a:cubicBezTo>
                <a:cubicBezTo>
                  <a:pt x="7221126" y="1467186"/>
                  <a:pt x="7172003" y="1501258"/>
                  <a:pt x="7158730" y="1507835"/>
                </a:cubicBezTo>
                <a:cubicBezTo>
                  <a:pt x="6888412" y="1630502"/>
                  <a:pt x="6618589" y="1809287"/>
                  <a:pt x="6326959" y="1817686"/>
                </a:cubicBezTo>
                <a:lnTo>
                  <a:pt x="6537433" y="1907790"/>
                </a:lnTo>
                <a:cubicBezTo>
                  <a:pt x="6542473" y="1907949"/>
                  <a:pt x="6546435" y="1908891"/>
                  <a:pt x="6550221" y="1910729"/>
                </a:cubicBezTo>
                <a:cubicBezTo>
                  <a:pt x="6742694" y="1932993"/>
                  <a:pt x="6849771" y="2068278"/>
                  <a:pt x="6964438" y="2209505"/>
                </a:cubicBezTo>
                <a:cubicBezTo>
                  <a:pt x="7113162" y="2393201"/>
                  <a:pt x="7266286" y="2592015"/>
                  <a:pt x="7367862" y="2806833"/>
                </a:cubicBezTo>
                <a:cubicBezTo>
                  <a:pt x="7371456" y="2814338"/>
                  <a:pt x="7369522" y="2821080"/>
                  <a:pt x="7364329" y="2826907"/>
                </a:cubicBezTo>
                <a:cubicBezTo>
                  <a:pt x="7348741" y="2844389"/>
                  <a:pt x="7303788" y="2853651"/>
                  <a:pt x="7290545" y="2850663"/>
                </a:cubicBezTo>
                <a:cubicBezTo>
                  <a:pt x="6859896" y="2738539"/>
                  <a:pt x="6609607" y="2342306"/>
                  <a:pt x="6472036" y="1959003"/>
                </a:cubicBezTo>
                <a:cubicBezTo>
                  <a:pt x="6239391" y="1862081"/>
                  <a:pt x="6011946" y="1759868"/>
                  <a:pt x="5792897" y="1647747"/>
                </a:cubicBezTo>
                <a:cubicBezTo>
                  <a:pt x="5817125" y="1702679"/>
                  <a:pt x="5838127" y="1759942"/>
                  <a:pt x="5842751" y="1816112"/>
                </a:cubicBezTo>
                <a:cubicBezTo>
                  <a:pt x="5844184" y="1815832"/>
                  <a:pt x="5846161" y="1815162"/>
                  <a:pt x="5847424" y="1815776"/>
                </a:cubicBezTo>
                <a:cubicBezTo>
                  <a:pt x="6140442" y="1830791"/>
                  <a:pt x="6291873" y="2115536"/>
                  <a:pt x="6399821" y="2344799"/>
                </a:cubicBezTo>
                <a:cubicBezTo>
                  <a:pt x="6413837" y="2374329"/>
                  <a:pt x="6342916" y="2402075"/>
                  <a:pt x="6323232" y="2389634"/>
                </a:cubicBezTo>
                <a:cubicBezTo>
                  <a:pt x="6177906" y="2301146"/>
                  <a:pt x="6052833" y="2198747"/>
                  <a:pt x="5942958" y="2077708"/>
                </a:cubicBezTo>
                <a:cubicBezTo>
                  <a:pt x="5949243" y="2174636"/>
                  <a:pt x="5937179" y="2273417"/>
                  <a:pt x="5921559" y="2378596"/>
                </a:cubicBezTo>
                <a:cubicBezTo>
                  <a:pt x="5888539" y="2593290"/>
                  <a:pt x="5878937" y="2813146"/>
                  <a:pt x="5817651" y="3023919"/>
                </a:cubicBezTo>
                <a:cubicBezTo>
                  <a:pt x="5810408" y="3049005"/>
                  <a:pt x="5741174" y="3089270"/>
                  <a:pt x="5729634" y="3051849"/>
                </a:cubicBezTo>
                <a:cubicBezTo>
                  <a:pt x="5657096" y="2815984"/>
                  <a:pt x="5581632" y="2571559"/>
                  <a:pt x="5611018" y="2316769"/>
                </a:cubicBezTo>
                <a:cubicBezTo>
                  <a:pt x="5622715" y="2217484"/>
                  <a:pt x="5656813" y="2135538"/>
                  <a:pt x="5687608" y="2039972"/>
                </a:cubicBezTo>
                <a:cubicBezTo>
                  <a:pt x="5744741" y="1859679"/>
                  <a:pt x="5733310" y="1742061"/>
                  <a:pt x="5657554" y="1576445"/>
                </a:cubicBezTo>
                <a:cubicBezTo>
                  <a:pt x="5483232" y="1483028"/>
                  <a:pt x="5313009" y="1382833"/>
                  <a:pt x="5150475" y="1274012"/>
                </a:cubicBezTo>
                <a:cubicBezTo>
                  <a:pt x="5326569" y="1559959"/>
                  <a:pt x="5457991" y="1838600"/>
                  <a:pt x="5349142" y="2204405"/>
                </a:cubicBezTo>
                <a:cubicBezTo>
                  <a:pt x="5342604" y="2225928"/>
                  <a:pt x="5273881" y="2261245"/>
                  <a:pt x="5262214" y="2233836"/>
                </a:cubicBezTo>
                <a:cubicBezTo>
                  <a:pt x="5160759" y="2006724"/>
                  <a:pt x="5064863" y="1777114"/>
                  <a:pt x="4981539" y="1542201"/>
                </a:cubicBezTo>
                <a:cubicBezTo>
                  <a:pt x="4932755" y="1405876"/>
                  <a:pt x="4893729" y="1278486"/>
                  <a:pt x="4958461" y="1136957"/>
                </a:cubicBezTo>
                <a:cubicBezTo>
                  <a:pt x="4854219" y="1059900"/>
                  <a:pt x="4753195" y="978221"/>
                  <a:pt x="4655015" y="891426"/>
                </a:cubicBezTo>
                <a:cubicBezTo>
                  <a:pt x="4700834" y="1342763"/>
                  <a:pt x="4530476" y="1779853"/>
                  <a:pt x="4348002" y="2205895"/>
                </a:cubicBezTo>
                <a:cubicBezTo>
                  <a:pt x="4337873" y="2229260"/>
                  <a:pt x="4261560" y="2258626"/>
                  <a:pt x="4262250" y="2219972"/>
                </a:cubicBezTo>
                <a:cubicBezTo>
                  <a:pt x="4268663" y="1744520"/>
                  <a:pt x="4175629" y="1214471"/>
                  <a:pt x="4550611" y="817540"/>
                </a:cubicBezTo>
                <a:cubicBezTo>
                  <a:pt x="4554014" y="814312"/>
                  <a:pt x="4558850" y="810804"/>
                  <a:pt x="4564418" y="808293"/>
                </a:cubicBezTo>
                <a:cubicBezTo>
                  <a:pt x="4461330" y="711325"/>
                  <a:pt x="4361455" y="609738"/>
                  <a:pt x="4266388" y="500083"/>
                </a:cubicBezTo>
                <a:cubicBezTo>
                  <a:pt x="4185451" y="406519"/>
                  <a:pt x="4107556" y="310364"/>
                  <a:pt x="4032842" y="211809"/>
                </a:cubicBezTo>
                <a:lnTo>
                  <a:pt x="3882765" y="0"/>
                </a:lnTo>
                <a:close/>
                <a:moveTo>
                  <a:pt x="3721337" y="0"/>
                </a:moveTo>
                <a:lnTo>
                  <a:pt x="3797544" y="0"/>
                </a:lnTo>
                <a:lnTo>
                  <a:pt x="3775734" y="95131"/>
                </a:lnTo>
                <a:cubicBezTo>
                  <a:pt x="3762598" y="156923"/>
                  <a:pt x="3748081" y="217234"/>
                  <a:pt x="3724807" y="272257"/>
                </a:cubicBezTo>
                <a:cubicBezTo>
                  <a:pt x="3725550" y="275539"/>
                  <a:pt x="3726109" y="279707"/>
                  <a:pt x="3726844" y="282988"/>
                </a:cubicBezTo>
                <a:cubicBezTo>
                  <a:pt x="3732776" y="280979"/>
                  <a:pt x="3739065" y="279475"/>
                  <a:pt x="3742664" y="279918"/>
                </a:cubicBezTo>
                <a:cubicBezTo>
                  <a:pt x="4076263" y="313585"/>
                  <a:pt x="4081377" y="922622"/>
                  <a:pt x="4103910" y="1161917"/>
                </a:cubicBezTo>
                <a:cubicBezTo>
                  <a:pt x="4106010" y="1184045"/>
                  <a:pt x="4034389" y="1215360"/>
                  <a:pt x="4020269" y="1200406"/>
                </a:cubicBezTo>
                <a:cubicBezTo>
                  <a:pt x="3826459" y="997506"/>
                  <a:pt x="3735339" y="752983"/>
                  <a:pt x="3674882" y="488524"/>
                </a:cubicBezTo>
                <a:cubicBezTo>
                  <a:pt x="3559684" y="713184"/>
                  <a:pt x="3278706" y="925237"/>
                  <a:pt x="3132682" y="1072284"/>
                </a:cubicBezTo>
                <a:cubicBezTo>
                  <a:pt x="3002939" y="1202191"/>
                  <a:pt x="2899935" y="1287527"/>
                  <a:pt x="2716346" y="1276376"/>
                </a:cubicBezTo>
                <a:cubicBezTo>
                  <a:pt x="2700863" y="1275390"/>
                  <a:pt x="2710506" y="1261536"/>
                  <a:pt x="2716772" y="1255462"/>
                </a:cubicBezTo>
                <a:cubicBezTo>
                  <a:pt x="2980750" y="993927"/>
                  <a:pt x="3207119" y="698608"/>
                  <a:pt x="3471096" y="437072"/>
                </a:cubicBezTo>
                <a:cubicBezTo>
                  <a:pt x="3516376" y="392044"/>
                  <a:pt x="3602281" y="339698"/>
                  <a:pt x="3639057" y="286334"/>
                </a:cubicBezTo>
                <a:cubicBezTo>
                  <a:pt x="3639591" y="285947"/>
                  <a:pt x="3639767" y="285058"/>
                  <a:pt x="3640309" y="284664"/>
                </a:cubicBezTo>
                <a:cubicBezTo>
                  <a:pt x="3642272" y="281720"/>
                  <a:pt x="3644597" y="279273"/>
                  <a:pt x="3646022" y="276711"/>
                </a:cubicBezTo>
                <a:cubicBezTo>
                  <a:pt x="3677659" y="221350"/>
                  <a:pt x="3693078" y="144742"/>
                  <a:pt x="3707943" y="65958"/>
                </a:cubicBezTo>
                <a:lnTo>
                  <a:pt x="3721337" y="0"/>
                </a:lnTo>
                <a:close/>
                <a:moveTo>
                  <a:pt x="2867960" y="0"/>
                </a:moveTo>
                <a:lnTo>
                  <a:pt x="2926351" y="0"/>
                </a:lnTo>
                <a:lnTo>
                  <a:pt x="2902823" y="262929"/>
                </a:lnTo>
                <a:cubicBezTo>
                  <a:pt x="2913215" y="221824"/>
                  <a:pt x="2926844" y="180662"/>
                  <a:pt x="2940663" y="140884"/>
                </a:cubicBezTo>
                <a:lnTo>
                  <a:pt x="2947039" y="122524"/>
                </a:lnTo>
                <a:lnTo>
                  <a:pt x="2984316" y="0"/>
                </a:lnTo>
                <a:lnTo>
                  <a:pt x="3016114" y="0"/>
                </a:lnTo>
                <a:lnTo>
                  <a:pt x="2979949" y="119274"/>
                </a:lnTo>
                <a:lnTo>
                  <a:pt x="3023879" y="0"/>
                </a:lnTo>
                <a:lnTo>
                  <a:pt x="3105400" y="0"/>
                </a:lnTo>
                <a:lnTo>
                  <a:pt x="3094669" y="30308"/>
                </a:lnTo>
                <a:cubicBezTo>
                  <a:pt x="3037894" y="178003"/>
                  <a:pt x="2973232" y="323305"/>
                  <a:pt x="2901945" y="466538"/>
                </a:cubicBezTo>
                <a:cubicBezTo>
                  <a:pt x="2895180" y="479835"/>
                  <a:pt x="2815686" y="518381"/>
                  <a:pt x="2815209" y="497361"/>
                </a:cubicBezTo>
                <a:cubicBezTo>
                  <a:pt x="2812746" y="375148"/>
                  <a:pt x="2825702" y="251298"/>
                  <a:pt x="2844845" y="127638"/>
                </a:cubicBezTo>
                <a:lnTo>
                  <a:pt x="2867960" y="0"/>
                </a:lnTo>
                <a:close/>
                <a:moveTo>
                  <a:pt x="1057230" y="0"/>
                </a:moveTo>
                <a:lnTo>
                  <a:pt x="1111003" y="0"/>
                </a:lnTo>
                <a:lnTo>
                  <a:pt x="1125553" y="52588"/>
                </a:lnTo>
                <a:cubicBezTo>
                  <a:pt x="1174409" y="196547"/>
                  <a:pt x="1244674" y="336170"/>
                  <a:pt x="1304276" y="476275"/>
                </a:cubicBezTo>
                <a:cubicBezTo>
                  <a:pt x="1351896" y="589579"/>
                  <a:pt x="1459984" y="863646"/>
                  <a:pt x="1492066" y="886333"/>
                </a:cubicBezTo>
                <a:lnTo>
                  <a:pt x="1423698" y="710817"/>
                </a:lnTo>
                <a:cubicBezTo>
                  <a:pt x="1401022" y="652964"/>
                  <a:pt x="1378015" y="593152"/>
                  <a:pt x="1357609" y="532892"/>
                </a:cubicBezTo>
                <a:cubicBezTo>
                  <a:pt x="1339853" y="480241"/>
                  <a:pt x="1324587" y="426487"/>
                  <a:pt x="1309550" y="374031"/>
                </a:cubicBezTo>
                <a:cubicBezTo>
                  <a:pt x="1277632" y="264242"/>
                  <a:pt x="1244842" y="151584"/>
                  <a:pt x="1193673" y="49533"/>
                </a:cubicBezTo>
                <a:lnTo>
                  <a:pt x="1164391" y="0"/>
                </a:lnTo>
                <a:lnTo>
                  <a:pt x="1200666" y="0"/>
                </a:lnTo>
                <a:lnTo>
                  <a:pt x="1223408" y="38996"/>
                </a:lnTo>
                <a:cubicBezTo>
                  <a:pt x="1274817" y="142454"/>
                  <a:pt x="1307626" y="255236"/>
                  <a:pt x="1339635" y="365517"/>
                </a:cubicBezTo>
                <a:cubicBezTo>
                  <a:pt x="1354670" y="417965"/>
                  <a:pt x="1370587" y="471608"/>
                  <a:pt x="1387469" y="523079"/>
                </a:cubicBezTo>
                <a:cubicBezTo>
                  <a:pt x="1407105" y="582792"/>
                  <a:pt x="1430659" y="641842"/>
                  <a:pt x="1452685" y="699806"/>
                </a:cubicBezTo>
                <a:lnTo>
                  <a:pt x="1492092" y="800424"/>
                </a:lnTo>
                <a:cubicBezTo>
                  <a:pt x="1484618" y="760762"/>
                  <a:pt x="1473155" y="705686"/>
                  <a:pt x="1455302" y="632913"/>
                </a:cubicBezTo>
                <a:cubicBezTo>
                  <a:pt x="1413478" y="460985"/>
                  <a:pt x="1347194" y="188426"/>
                  <a:pt x="1222336" y="9480"/>
                </a:cubicBezTo>
                <a:lnTo>
                  <a:pt x="1214634" y="0"/>
                </a:lnTo>
                <a:lnTo>
                  <a:pt x="1289827" y="0"/>
                </a:lnTo>
                <a:lnTo>
                  <a:pt x="1321076" y="59722"/>
                </a:lnTo>
                <a:cubicBezTo>
                  <a:pt x="1409905" y="250193"/>
                  <a:pt x="1460341" y="480374"/>
                  <a:pt x="1512579" y="626441"/>
                </a:cubicBezTo>
                <a:cubicBezTo>
                  <a:pt x="1573756" y="799163"/>
                  <a:pt x="1605359" y="928641"/>
                  <a:pt x="1506076" y="1089289"/>
                </a:cubicBezTo>
                <a:cubicBezTo>
                  <a:pt x="1497659" y="1102817"/>
                  <a:pt x="1489109" y="1088176"/>
                  <a:pt x="1486346" y="1079919"/>
                </a:cubicBezTo>
                <a:cubicBezTo>
                  <a:pt x="1364522" y="729689"/>
                  <a:pt x="1192335" y="398839"/>
                  <a:pt x="1070511" y="48609"/>
                </a:cubicBezTo>
                <a:lnTo>
                  <a:pt x="1057230" y="0"/>
                </a:lnTo>
                <a:close/>
                <a:moveTo>
                  <a:pt x="43151" y="0"/>
                </a:moveTo>
                <a:lnTo>
                  <a:pt x="95283" y="0"/>
                </a:lnTo>
                <a:lnTo>
                  <a:pt x="300708" y="154571"/>
                </a:lnTo>
                <a:cubicBezTo>
                  <a:pt x="379729" y="218614"/>
                  <a:pt x="456466" y="285481"/>
                  <a:pt x="530414" y="354673"/>
                </a:cubicBezTo>
                <a:cubicBezTo>
                  <a:pt x="466701" y="288424"/>
                  <a:pt x="401285" y="223977"/>
                  <a:pt x="333785" y="161564"/>
                </a:cubicBezTo>
                <a:lnTo>
                  <a:pt x="147005" y="0"/>
                </a:lnTo>
                <a:lnTo>
                  <a:pt x="272509" y="0"/>
                </a:lnTo>
                <a:lnTo>
                  <a:pt x="326276" y="45847"/>
                </a:lnTo>
                <a:cubicBezTo>
                  <a:pt x="505803" y="208268"/>
                  <a:pt x="670600" y="385490"/>
                  <a:pt x="823759" y="574145"/>
                </a:cubicBezTo>
                <a:cubicBezTo>
                  <a:pt x="833168" y="585952"/>
                  <a:pt x="831522" y="674146"/>
                  <a:pt x="811254" y="665546"/>
                </a:cubicBezTo>
                <a:cubicBezTo>
                  <a:pt x="575890" y="564984"/>
                  <a:pt x="364063" y="406029"/>
                  <a:pt x="154042" y="261522"/>
                </a:cubicBezTo>
                <a:cubicBezTo>
                  <a:pt x="104946" y="227663"/>
                  <a:pt x="58037" y="193597"/>
                  <a:pt x="13550" y="158423"/>
                </a:cubicBezTo>
                <a:lnTo>
                  <a:pt x="0" y="146618"/>
                </a:lnTo>
                <a:lnTo>
                  <a:pt x="0" y="59161"/>
                </a:lnTo>
                <a:lnTo>
                  <a:pt x="45427" y="101078"/>
                </a:lnTo>
                <a:cubicBezTo>
                  <a:pt x="223783" y="254949"/>
                  <a:pt x="433006" y="385896"/>
                  <a:pt x="630103" y="485885"/>
                </a:cubicBezTo>
                <a:cubicBezTo>
                  <a:pt x="595938" y="458865"/>
                  <a:pt x="563284" y="428899"/>
                  <a:pt x="532040" y="399359"/>
                </a:cubicBezTo>
                <a:lnTo>
                  <a:pt x="517618" y="385726"/>
                </a:lnTo>
                <a:cubicBezTo>
                  <a:pt x="442853" y="315667"/>
                  <a:pt x="365106" y="247799"/>
                  <a:pt x="285074" y="182755"/>
                </a:cubicBezTo>
                <a:lnTo>
                  <a:pt x="43151" y="0"/>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useBgFill="1">
        <p:nvSpPr>
          <p:cNvPr id="21" name="Rectangle 20">
            <a:extLst>
              <a:ext uri="{FF2B5EF4-FFF2-40B4-BE49-F238E27FC236}">
                <a16:creationId xmlns:a16="http://schemas.microsoft.com/office/drawing/2014/main" id="{ED888B23-07FA-482A-96DF-47E31AF1A6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7200" y="990600"/>
            <a:ext cx="11277600" cy="4876800"/>
          </a:xfrm>
          <a:prstGeom prst="rect">
            <a:avLst/>
          </a:prstGeom>
          <a:ln w="12700" cap="flat" cmpd="sng" algn="ctr">
            <a:noFill/>
            <a:prstDash val="solid"/>
            <a:miter lim="800000"/>
          </a:ln>
          <a:effectLst>
            <a:outerShdw blurRad="317500" algn="ctr" rotWithShape="0">
              <a:schemeClr val="tx1">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4" name="TextBox 3">
            <a:extLst>
              <a:ext uri="{FF2B5EF4-FFF2-40B4-BE49-F238E27FC236}">
                <a16:creationId xmlns:a16="http://schemas.microsoft.com/office/drawing/2014/main" id="{1400D2B1-C6AF-DD00-6EC5-49BB82B1DD15}"/>
              </a:ext>
            </a:extLst>
          </p:cNvPr>
          <p:cNvSpPr txBox="1"/>
          <p:nvPr/>
        </p:nvSpPr>
        <p:spPr>
          <a:xfrm>
            <a:off x="4142962" y="3657304"/>
            <a:ext cx="4487514" cy="715914"/>
          </a:xfrm>
          <a:prstGeom prst="rect">
            <a:avLst/>
          </a:prstGeom>
        </p:spPr>
        <p:txBody>
          <a:bodyPr vert="horz" lIns="91440" tIns="45720" rIns="91440" bIns="45720" rtlCol="0" anchor="t">
            <a:normAutofit fontScale="92500"/>
          </a:bodyPr>
          <a:lstStyle/>
          <a:p>
            <a:pPr>
              <a:lnSpc>
                <a:spcPct val="90000"/>
              </a:lnSpc>
              <a:spcAft>
                <a:spcPts val="600"/>
              </a:spcAft>
            </a:pPr>
            <a:r>
              <a:rPr lang="en-US" sz="2800">
                <a:solidFill>
                  <a:schemeClr val="accent1"/>
                </a:solidFill>
              </a:rPr>
              <a:t>Products and Services Offered</a:t>
            </a:r>
            <a:endParaRPr lang="en-US" sz="2800">
              <a:solidFill>
                <a:schemeClr val="accent1"/>
              </a:solidFill>
              <a:cs typeface="Calibri"/>
            </a:endParaRPr>
          </a:p>
        </p:txBody>
      </p:sp>
      <p:sp>
        <p:nvSpPr>
          <p:cNvPr id="5" name="Rounded Rectangle 4">
            <a:extLst>
              <a:ext uri="{FF2B5EF4-FFF2-40B4-BE49-F238E27FC236}">
                <a16:creationId xmlns:a16="http://schemas.microsoft.com/office/drawing/2014/main" id="{078E0437-342E-436F-C9D4-29FA73724FDF}"/>
              </a:ext>
            </a:extLst>
          </p:cNvPr>
          <p:cNvSpPr/>
          <p:nvPr/>
        </p:nvSpPr>
        <p:spPr>
          <a:xfrm>
            <a:off x="745439" y="2399480"/>
            <a:ext cx="2816087" cy="213925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a:solidFill>
                  <a:schemeClr val="tx1"/>
                </a:solidFill>
              </a:rPr>
              <a:t>Cellular and Mobile Data</a:t>
            </a:r>
          </a:p>
          <a:p>
            <a:pPr marL="285750" indent="-285750">
              <a:spcAft>
                <a:spcPts val="600"/>
              </a:spcAft>
              <a:buFont typeface="Arial" panose="020B0604020202020204" pitchFamily="34" charset="0"/>
              <a:buChar char="•"/>
            </a:pPr>
            <a:r>
              <a:rPr lang="en-US">
                <a:solidFill>
                  <a:schemeClr val="tx1"/>
                </a:solidFill>
              </a:rPr>
              <a:t>Student Plans</a:t>
            </a:r>
          </a:p>
          <a:p>
            <a:pPr marL="285750" indent="-285750">
              <a:spcAft>
                <a:spcPts val="600"/>
              </a:spcAft>
              <a:buFont typeface="Arial" panose="020B0604020202020204" pitchFamily="34" charset="0"/>
              <a:buChar char="•"/>
            </a:pPr>
            <a:r>
              <a:rPr lang="en-US">
                <a:solidFill>
                  <a:schemeClr val="tx1"/>
                </a:solidFill>
              </a:rPr>
              <a:t>Family Plans</a:t>
            </a:r>
          </a:p>
          <a:p>
            <a:pPr marL="285750" indent="-285750">
              <a:spcAft>
                <a:spcPts val="600"/>
              </a:spcAft>
              <a:buFont typeface="Arial" panose="020B0604020202020204" pitchFamily="34" charset="0"/>
              <a:buChar char="•"/>
            </a:pPr>
            <a:r>
              <a:rPr lang="en-US">
                <a:solidFill>
                  <a:schemeClr val="tx1"/>
                </a:solidFill>
              </a:rPr>
              <a:t>Senior Citizens Plans</a:t>
            </a:r>
          </a:p>
          <a:p>
            <a:pPr marL="285750" indent="-285750">
              <a:spcAft>
                <a:spcPts val="600"/>
              </a:spcAft>
              <a:buFont typeface="Arial" panose="020B0604020202020204" pitchFamily="34" charset="0"/>
              <a:buChar char="•"/>
            </a:pPr>
            <a:r>
              <a:rPr lang="en-US">
                <a:solidFill>
                  <a:schemeClr val="tx1"/>
                </a:solidFill>
              </a:rPr>
              <a:t>Military and Veterans</a:t>
            </a:r>
          </a:p>
          <a:p>
            <a:pPr marL="285750" indent="-285750">
              <a:spcAft>
                <a:spcPts val="600"/>
              </a:spcAft>
              <a:buFont typeface="Arial" panose="020B0604020202020204" pitchFamily="34" charset="0"/>
              <a:buChar char="•"/>
            </a:pPr>
            <a:r>
              <a:rPr lang="en-US">
                <a:solidFill>
                  <a:schemeClr val="tx1"/>
                </a:solidFill>
              </a:rPr>
              <a:t>MAGENTA PLAN</a:t>
            </a:r>
          </a:p>
        </p:txBody>
      </p:sp>
      <p:sp>
        <p:nvSpPr>
          <p:cNvPr id="6" name="Rounded Rectangle 5">
            <a:extLst>
              <a:ext uri="{FF2B5EF4-FFF2-40B4-BE49-F238E27FC236}">
                <a16:creationId xmlns:a16="http://schemas.microsoft.com/office/drawing/2014/main" id="{0440A8E4-CD05-C766-003E-522B042A32E7}"/>
              </a:ext>
            </a:extLst>
          </p:cNvPr>
          <p:cNvSpPr/>
          <p:nvPr/>
        </p:nvSpPr>
        <p:spPr>
          <a:xfrm>
            <a:off x="4670562" y="4373218"/>
            <a:ext cx="2850875" cy="141401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a:solidFill>
                  <a:schemeClr val="tx1"/>
                </a:solidFill>
              </a:rPr>
              <a:t>Financial Services</a:t>
            </a:r>
          </a:p>
          <a:p>
            <a:pPr marL="285750" indent="-285750">
              <a:spcAft>
                <a:spcPts val="600"/>
              </a:spcAft>
              <a:buFont typeface="Arial" panose="020B0604020202020204" pitchFamily="34" charset="0"/>
              <a:buChar char="•"/>
            </a:pPr>
            <a:r>
              <a:rPr lang="en-US">
                <a:solidFill>
                  <a:schemeClr val="tx1"/>
                </a:solidFill>
              </a:rPr>
              <a:t>T-Money</a:t>
            </a:r>
          </a:p>
          <a:p>
            <a:pPr algn="ctr">
              <a:spcAft>
                <a:spcPts val="600"/>
              </a:spcAft>
            </a:pPr>
            <a:endParaRPr lang="en-US">
              <a:solidFill>
                <a:schemeClr val="tx1"/>
              </a:solidFill>
            </a:endParaRPr>
          </a:p>
        </p:txBody>
      </p:sp>
      <p:sp>
        <p:nvSpPr>
          <p:cNvPr id="7" name="Rounded Rectangle 6">
            <a:extLst>
              <a:ext uri="{FF2B5EF4-FFF2-40B4-BE49-F238E27FC236}">
                <a16:creationId xmlns:a16="http://schemas.microsoft.com/office/drawing/2014/main" id="{121354C4-8389-9B59-16AF-A9739D20CBFC}"/>
              </a:ext>
            </a:extLst>
          </p:cNvPr>
          <p:cNvSpPr/>
          <p:nvPr/>
        </p:nvSpPr>
        <p:spPr>
          <a:xfrm>
            <a:off x="8787433" y="2570837"/>
            <a:ext cx="2816087" cy="199380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a:solidFill>
                  <a:schemeClr val="tx1"/>
                </a:solidFill>
              </a:rPr>
              <a:t>Television and Streaming</a:t>
            </a:r>
          </a:p>
          <a:p>
            <a:pPr marL="285750" indent="-285750">
              <a:spcAft>
                <a:spcPts val="600"/>
              </a:spcAft>
              <a:buFont typeface="Arial" panose="020B0604020202020204" pitchFamily="34" charset="0"/>
              <a:buChar char="•"/>
            </a:pPr>
            <a:r>
              <a:rPr lang="en-US">
                <a:solidFill>
                  <a:schemeClr val="tx1"/>
                </a:solidFill>
              </a:rPr>
              <a:t>Bundled Television Network</a:t>
            </a:r>
          </a:p>
          <a:p>
            <a:pPr marL="285750" indent="-285750">
              <a:spcAft>
                <a:spcPts val="600"/>
              </a:spcAft>
              <a:buFont typeface="Arial" panose="020B0604020202020204" pitchFamily="34" charset="0"/>
              <a:buChar char="•"/>
            </a:pPr>
            <a:r>
              <a:rPr lang="en-US">
                <a:solidFill>
                  <a:schemeClr val="tx1"/>
                </a:solidFill>
              </a:rPr>
              <a:t>Apple TV</a:t>
            </a:r>
          </a:p>
          <a:p>
            <a:pPr marL="285750" indent="-285750">
              <a:spcAft>
                <a:spcPts val="600"/>
              </a:spcAft>
              <a:buFont typeface="Arial" panose="020B0604020202020204" pitchFamily="34" charset="0"/>
              <a:buChar char="•"/>
            </a:pPr>
            <a:r>
              <a:rPr lang="en-US">
                <a:solidFill>
                  <a:schemeClr val="tx1"/>
                </a:solidFill>
              </a:rPr>
              <a:t>Philo</a:t>
            </a:r>
          </a:p>
          <a:p>
            <a:pPr marL="285750" indent="-285750">
              <a:spcAft>
                <a:spcPts val="600"/>
              </a:spcAft>
              <a:buFont typeface="Arial" panose="020B0604020202020204" pitchFamily="34" charset="0"/>
              <a:buChar char="•"/>
            </a:pPr>
            <a:r>
              <a:rPr lang="en-US">
                <a:solidFill>
                  <a:schemeClr val="tx1"/>
                </a:solidFill>
              </a:rPr>
              <a:t>YouTube TV</a:t>
            </a:r>
          </a:p>
        </p:txBody>
      </p:sp>
      <p:sp>
        <p:nvSpPr>
          <p:cNvPr id="8" name="Rounded Rectangle 7">
            <a:extLst>
              <a:ext uri="{FF2B5EF4-FFF2-40B4-BE49-F238E27FC236}">
                <a16:creationId xmlns:a16="http://schemas.microsoft.com/office/drawing/2014/main" id="{DB5FE0EE-67CF-FBEB-8C28-994054990C0D}"/>
              </a:ext>
            </a:extLst>
          </p:cNvPr>
          <p:cNvSpPr/>
          <p:nvPr/>
        </p:nvSpPr>
        <p:spPr>
          <a:xfrm>
            <a:off x="4651513" y="1070765"/>
            <a:ext cx="2816087" cy="235823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a:solidFill>
                  <a:schemeClr val="tx1"/>
                </a:solidFill>
              </a:rPr>
              <a:t>Cell phones and other electronics</a:t>
            </a:r>
          </a:p>
          <a:p>
            <a:pPr marL="285750" indent="-285750">
              <a:spcAft>
                <a:spcPts val="600"/>
              </a:spcAft>
              <a:buFont typeface="Arial" panose="020B0604020202020204" pitchFamily="34" charset="0"/>
              <a:buChar char="•"/>
            </a:pPr>
            <a:r>
              <a:rPr lang="en-US">
                <a:solidFill>
                  <a:schemeClr val="tx1"/>
                </a:solidFill>
              </a:rPr>
              <a:t>Tablets</a:t>
            </a:r>
          </a:p>
          <a:p>
            <a:pPr marL="285750" indent="-285750">
              <a:spcAft>
                <a:spcPts val="600"/>
              </a:spcAft>
              <a:buFont typeface="Arial" panose="020B0604020202020204" pitchFamily="34" charset="0"/>
              <a:buChar char="•"/>
            </a:pPr>
            <a:r>
              <a:rPr lang="en-US">
                <a:solidFill>
                  <a:schemeClr val="tx1"/>
                </a:solidFill>
              </a:rPr>
              <a:t>Smart Watches</a:t>
            </a:r>
          </a:p>
          <a:p>
            <a:pPr marL="285750" indent="-285750">
              <a:spcAft>
                <a:spcPts val="600"/>
              </a:spcAft>
              <a:buFont typeface="Arial" panose="020B0604020202020204" pitchFamily="34" charset="0"/>
              <a:buChar char="•"/>
            </a:pPr>
            <a:r>
              <a:rPr lang="en-US">
                <a:solidFill>
                  <a:schemeClr val="tx1"/>
                </a:solidFill>
              </a:rPr>
              <a:t>Portable data devices</a:t>
            </a:r>
          </a:p>
          <a:p>
            <a:pPr marL="285750" indent="-285750">
              <a:spcAft>
                <a:spcPts val="600"/>
              </a:spcAft>
              <a:buFont typeface="Arial" panose="020B0604020202020204" pitchFamily="34" charset="0"/>
              <a:buChar char="•"/>
            </a:pPr>
            <a:r>
              <a:rPr lang="en-US">
                <a:solidFill>
                  <a:schemeClr val="tx1"/>
                </a:solidFill>
              </a:rPr>
              <a:t>Other Cellphone accessories</a:t>
            </a:r>
          </a:p>
        </p:txBody>
      </p:sp>
    </p:spTree>
    <p:extLst>
      <p:ext uri="{BB962C8B-B14F-4D97-AF65-F5344CB8AC3E}">
        <p14:creationId xmlns:p14="http://schemas.microsoft.com/office/powerpoint/2010/main" val="26725593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6C5FA50-8D52-4617-AF91-5C7B1C835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52B7C39-3130-4053-DB70-2FDFC358C9DB}"/>
              </a:ext>
            </a:extLst>
          </p:cNvPr>
          <p:cNvSpPr>
            <a:spLocks noGrp="1"/>
          </p:cNvSpPr>
          <p:nvPr>
            <p:ph type="title"/>
          </p:nvPr>
        </p:nvSpPr>
        <p:spPr>
          <a:xfrm>
            <a:off x="9309109" y="618681"/>
            <a:ext cx="3543300" cy="5032819"/>
          </a:xfrm>
        </p:spPr>
        <p:txBody>
          <a:bodyPr vert="horz" lIns="91440" tIns="45720" rIns="91440" bIns="45720" rtlCol="0" anchor="ctr">
            <a:normAutofit/>
          </a:bodyPr>
          <a:lstStyle/>
          <a:p>
            <a:r>
              <a:rPr lang="en-US" sz="3600">
                <a:solidFill>
                  <a:schemeClr val="bg1"/>
                </a:solidFill>
              </a:rPr>
              <a:t>Let's talk Numbers : </a:t>
            </a:r>
            <a:br>
              <a:rPr lang="en-US" sz="3600">
                <a:solidFill>
                  <a:schemeClr val="bg1"/>
                </a:solidFill>
              </a:rPr>
            </a:br>
            <a:r>
              <a:rPr lang="en-US" sz="3600">
                <a:solidFill>
                  <a:schemeClr val="bg1"/>
                </a:solidFill>
              </a:rPr>
              <a:t>T-Mobile Customer</a:t>
            </a:r>
            <a:br>
              <a:rPr lang="en-IN"/>
            </a:br>
            <a:r>
              <a:rPr lang="en-US" sz="3600">
                <a:solidFill>
                  <a:schemeClr val="bg1"/>
                </a:solidFill>
              </a:rPr>
              <a:t> Base</a:t>
            </a:r>
          </a:p>
        </p:txBody>
      </p:sp>
      <p:sp>
        <p:nvSpPr>
          <p:cNvPr id="32" name="Rounded Rectangle 9">
            <a:extLst>
              <a:ext uri="{FF2B5EF4-FFF2-40B4-BE49-F238E27FC236}">
                <a16:creationId xmlns:a16="http://schemas.microsoft.com/office/drawing/2014/main" id="{E223798C-12AD-4B0C-A50C-D676347D67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3354" y="484632"/>
            <a:ext cx="8129016" cy="5724144"/>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16F6A716-AA7D-6DE5-3049-015A2AFDCB98}"/>
              </a:ext>
            </a:extLst>
          </p:cNvPr>
          <p:cNvSpPr txBox="1"/>
          <p:nvPr/>
        </p:nvSpPr>
        <p:spPr>
          <a:xfrm>
            <a:off x="3048000" y="3247647"/>
            <a:ext cx="6096000" cy="369332"/>
          </a:xfrm>
          <a:prstGeom prst="rect">
            <a:avLst/>
          </a:prstGeom>
          <a:noFill/>
        </p:spPr>
        <p:txBody>
          <a:bodyPr wrap="square">
            <a:spAutoFit/>
          </a:bodyPr>
          <a:lstStyle/>
          <a:p>
            <a:pPr algn="l"/>
            <a:endParaRPr lang="en-US" b="0" i="0" u="none" strike="noStrike">
              <a:solidFill>
                <a:srgbClr val="000000"/>
              </a:solidFill>
              <a:effectLst/>
            </a:endParaRPr>
          </a:p>
        </p:txBody>
      </p:sp>
      <p:sp>
        <p:nvSpPr>
          <p:cNvPr id="12" name="TextBox 11">
            <a:extLst>
              <a:ext uri="{FF2B5EF4-FFF2-40B4-BE49-F238E27FC236}">
                <a16:creationId xmlns:a16="http://schemas.microsoft.com/office/drawing/2014/main" id="{3617C9A9-2E52-CE35-5921-606481225D79}"/>
              </a:ext>
            </a:extLst>
          </p:cNvPr>
          <p:cNvSpPr txBox="1"/>
          <p:nvPr/>
        </p:nvSpPr>
        <p:spPr>
          <a:xfrm>
            <a:off x="4426226" y="6427304"/>
            <a:ext cx="184731" cy="723275"/>
          </a:xfrm>
          <a:prstGeom prst="rect">
            <a:avLst/>
          </a:prstGeom>
          <a:noFill/>
        </p:spPr>
        <p:txBody>
          <a:bodyPr wrap="none" rtlCol="0">
            <a:spAutoFit/>
          </a:bodyPr>
          <a:lstStyle/>
          <a:p>
            <a:pPr>
              <a:spcAft>
                <a:spcPts val="600"/>
              </a:spcAft>
            </a:pPr>
            <a:endParaRPr lang="en-US"/>
          </a:p>
          <a:p>
            <a:pPr>
              <a:spcAft>
                <a:spcPts val="600"/>
              </a:spcAft>
            </a:pPr>
            <a:endParaRPr lang="en-US"/>
          </a:p>
        </p:txBody>
      </p:sp>
      <p:pic>
        <p:nvPicPr>
          <p:cNvPr id="7" name="Picture 6" descr="Graphical user interface, application&#10;&#10;Description automatically generated">
            <a:extLst>
              <a:ext uri="{FF2B5EF4-FFF2-40B4-BE49-F238E27FC236}">
                <a16:creationId xmlns:a16="http://schemas.microsoft.com/office/drawing/2014/main" id="{212DB823-6F8F-D7F5-7A76-423E6A504438}"/>
              </a:ext>
            </a:extLst>
          </p:cNvPr>
          <p:cNvPicPr>
            <a:picLocks noChangeAspect="1"/>
          </p:cNvPicPr>
          <p:nvPr/>
        </p:nvPicPr>
        <p:blipFill rotWithShape="1">
          <a:blip r:embed="rId3"/>
          <a:srcRect l="42882" t="32407" r="10858" b="24504"/>
          <a:stretch/>
        </p:blipFill>
        <p:spPr>
          <a:xfrm>
            <a:off x="515494" y="966723"/>
            <a:ext cx="8106876" cy="4719519"/>
          </a:xfrm>
          <a:prstGeom prst="rect">
            <a:avLst/>
          </a:prstGeom>
        </p:spPr>
      </p:pic>
    </p:spTree>
    <p:extLst>
      <p:ext uri="{BB962C8B-B14F-4D97-AF65-F5344CB8AC3E}">
        <p14:creationId xmlns:p14="http://schemas.microsoft.com/office/powerpoint/2010/main" val="8216717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2E961F1-4A28-4A5F-BBD4-6E400E5E6C7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bwMode="white">
          <a:xfrm>
            <a:off x="0" y="272357"/>
            <a:ext cx="12188824" cy="0"/>
          </a:xfrm>
          <a:prstGeom prst="line">
            <a:avLst/>
          </a:prstGeom>
          <a:ln w="508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7F57BEA8-497D-4AA8-8A18-BDCD696B25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68596"/>
            <a:ext cx="12192000" cy="17355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BF0DCAD-E0FE-7A14-DCD4-6F3DCC4013C9}"/>
              </a:ext>
            </a:extLst>
          </p:cNvPr>
          <p:cNvSpPr>
            <a:spLocks noGrp="1"/>
          </p:cNvSpPr>
          <p:nvPr>
            <p:ph type="title"/>
          </p:nvPr>
        </p:nvSpPr>
        <p:spPr>
          <a:xfrm>
            <a:off x="526073" y="489439"/>
            <a:ext cx="11139854" cy="990288"/>
          </a:xfrm>
        </p:spPr>
        <p:txBody>
          <a:bodyPr vert="horz" lIns="91440" tIns="45720" rIns="91440" bIns="45720" rtlCol="0" anchor="b">
            <a:normAutofit/>
          </a:bodyPr>
          <a:lstStyle/>
          <a:p>
            <a:pPr algn="ctr"/>
            <a:r>
              <a:rPr lang="en-US">
                <a:solidFill>
                  <a:schemeClr val="bg1"/>
                </a:solidFill>
              </a:rPr>
              <a:t>Revenue Projections</a:t>
            </a:r>
            <a:endParaRPr lang="en-US" sz="5400" kern="1200">
              <a:solidFill>
                <a:schemeClr val="bg1"/>
              </a:solidFill>
              <a:latin typeface="+mj-lt"/>
              <a:ea typeface="+mj-ea"/>
              <a:cs typeface="+mj-cs"/>
            </a:endParaRPr>
          </a:p>
        </p:txBody>
      </p:sp>
      <p:cxnSp>
        <p:nvCxnSpPr>
          <p:cNvPr id="15" name="Straight Connector 14">
            <a:extLst>
              <a:ext uri="{FF2B5EF4-FFF2-40B4-BE49-F238E27FC236}">
                <a16:creationId xmlns:a16="http://schemas.microsoft.com/office/drawing/2014/main" id="{A82415D3-DDE5-4D63-8CB3-23A5EC581B2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724400" y="1479733"/>
            <a:ext cx="2743200" cy="0"/>
          </a:xfrm>
          <a:prstGeom prst="line">
            <a:avLst/>
          </a:prstGeom>
          <a:ln w="19050">
            <a:solidFill>
              <a:schemeClr val="bg1">
                <a:alpha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D7193FB-6AE6-4B3B-8F89-56B55DD63B4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bwMode="white">
          <a:xfrm>
            <a:off x="0" y="2201402"/>
            <a:ext cx="12188824" cy="0"/>
          </a:xfrm>
          <a:prstGeom prst="line">
            <a:avLst/>
          </a:prstGeom>
          <a:ln w="508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9CDAE3C9-3B71-70D2-16B9-13E80D9B5D12}"/>
              </a:ext>
            </a:extLst>
          </p:cNvPr>
          <p:cNvPicPr>
            <a:picLocks noChangeAspect="1"/>
          </p:cNvPicPr>
          <p:nvPr/>
        </p:nvPicPr>
        <p:blipFill>
          <a:blip r:embed="rId2"/>
          <a:stretch>
            <a:fillRect/>
          </a:stretch>
        </p:blipFill>
        <p:spPr>
          <a:xfrm>
            <a:off x="2666206" y="2427541"/>
            <a:ext cx="6804488" cy="3997637"/>
          </a:xfrm>
          <a:prstGeom prst="rect">
            <a:avLst/>
          </a:prstGeom>
        </p:spPr>
      </p:pic>
    </p:spTree>
    <p:extLst>
      <p:ext uri="{BB962C8B-B14F-4D97-AF65-F5344CB8AC3E}">
        <p14:creationId xmlns:p14="http://schemas.microsoft.com/office/powerpoint/2010/main" val="7992695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19843C86-B0EC-E89A-4A94-106553C7A6E2}"/>
              </a:ext>
            </a:extLst>
          </p:cNvPr>
          <p:cNvSpPr/>
          <p:nvPr/>
        </p:nvSpPr>
        <p:spPr>
          <a:xfrm>
            <a:off x="6243638" y="3549650"/>
            <a:ext cx="5618162" cy="27955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01D0AF59-99C3-4251-AB9A-C966C6AD44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1855405F-37A2-4869-9154-F8BE3BECE6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B93BDCA2-C45B-388C-8720-762FC0CF055B}"/>
              </a:ext>
            </a:extLst>
          </p:cNvPr>
          <p:cNvSpPr txBox="1"/>
          <p:nvPr/>
        </p:nvSpPr>
        <p:spPr>
          <a:xfrm>
            <a:off x="642938" y="3417888"/>
            <a:ext cx="5524500" cy="2795588"/>
          </a:xfrm>
          <a:prstGeom prst="rect">
            <a:avLst/>
          </a:prstGeom>
          <a:noFill/>
        </p:spPr>
        <p:txBody>
          <a:bodyPr wrap="square" rtlCol="0" anchor="t">
            <a:normAutofit/>
          </a:bodyPr>
          <a:lstStyle/>
          <a:p>
            <a:pPr algn="ctr">
              <a:spcAft>
                <a:spcPts val="600"/>
              </a:spcAft>
            </a:pPr>
            <a:r>
              <a:rPr lang="en-US" sz="2600"/>
              <a:t>Weakness </a:t>
            </a:r>
          </a:p>
          <a:p>
            <a:pPr marL="457200" indent="-457200">
              <a:lnSpc>
                <a:spcPct val="90000"/>
              </a:lnSpc>
              <a:spcAft>
                <a:spcPts val="600"/>
              </a:spcAft>
              <a:buFont typeface="Arial" panose="020B0604020202020204" pitchFamily="34" charset="0"/>
              <a:buChar char="•"/>
            </a:pPr>
            <a:r>
              <a:rPr lang="en-US" sz="2200"/>
              <a:t>Network Performance Issues- Outages and high buffer rate.</a:t>
            </a:r>
          </a:p>
          <a:p>
            <a:pPr marL="457200" indent="-457200">
              <a:lnSpc>
                <a:spcPct val="90000"/>
              </a:lnSpc>
              <a:spcAft>
                <a:spcPts val="600"/>
              </a:spcAft>
              <a:buFont typeface="Arial" panose="020B0604020202020204" pitchFamily="34" charset="0"/>
              <a:buChar char="•"/>
            </a:pPr>
            <a:r>
              <a:rPr lang="en-US" sz="2200"/>
              <a:t>High attrition rate in workforce</a:t>
            </a:r>
          </a:p>
          <a:p>
            <a:pPr marL="457200" indent="-457200">
              <a:lnSpc>
                <a:spcPct val="90000"/>
              </a:lnSpc>
              <a:spcAft>
                <a:spcPts val="600"/>
              </a:spcAft>
              <a:buFont typeface="Arial" panose="020B0604020202020204" pitchFamily="34" charset="0"/>
              <a:buChar char="•"/>
            </a:pPr>
            <a:r>
              <a:rPr lang="en-US" sz="2200"/>
              <a:t>Need larger investment in R&amp;D to support new technological additions</a:t>
            </a:r>
          </a:p>
          <a:p>
            <a:pPr>
              <a:spcAft>
                <a:spcPts val="600"/>
              </a:spcAft>
            </a:pPr>
            <a:endParaRPr lang="en-US" sz="2600"/>
          </a:p>
        </p:txBody>
      </p:sp>
      <p:sp>
        <p:nvSpPr>
          <p:cNvPr id="8" name="TextBox 7">
            <a:extLst>
              <a:ext uri="{FF2B5EF4-FFF2-40B4-BE49-F238E27FC236}">
                <a16:creationId xmlns:a16="http://schemas.microsoft.com/office/drawing/2014/main" id="{A807BC5A-A2CA-7228-3B10-D9BD5B45CDB7}"/>
              </a:ext>
            </a:extLst>
          </p:cNvPr>
          <p:cNvSpPr txBox="1"/>
          <p:nvPr/>
        </p:nvSpPr>
        <p:spPr>
          <a:xfrm>
            <a:off x="6243638" y="642938"/>
            <a:ext cx="5305425" cy="2443163"/>
          </a:xfrm>
          <a:prstGeom prst="rect">
            <a:avLst/>
          </a:prstGeom>
          <a:noFill/>
        </p:spPr>
        <p:txBody>
          <a:bodyPr wrap="square" rtlCol="0" anchor="t">
            <a:normAutofit/>
          </a:bodyPr>
          <a:lstStyle>
            <a:defPPr>
              <a:defRPr lang="en-US"/>
            </a:defPPr>
            <a:lvl1pPr algn="ctr">
              <a:lnSpc>
                <a:spcPct val="90000"/>
              </a:lnSpc>
              <a:spcAft>
                <a:spcPts val="600"/>
              </a:spcAft>
              <a:defRPr sz="2600"/>
            </a:lvl1pPr>
          </a:lstStyle>
          <a:p>
            <a:r>
              <a:rPr lang="en-US"/>
              <a:t>Opportunity  </a:t>
            </a:r>
          </a:p>
          <a:p>
            <a:pPr marL="457200" indent="-457200" algn="l">
              <a:buFont typeface="Arial" panose="020B0604020202020204" pitchFamily="34" charset="0"/>
              <a:buChar char="•"/>
            </a:pPr>
            <a:r>
              <a:rPr lang="en-US" sz="2200"/>
              <a:t>Expansion in 5g Services</a:t>
            </a:r>
          </a:p>
          <a:p>
            <a:pPr marL="457200" indent="-457200" algn="l">
              <a:buFont typeface="Arial" panose="020B0604020202020204" pitchFamily="34" charset="0"/>
              <a:buChar char="•"/>
            </a:pPr>
            <a:r>
              <a:rPr lang="en-US" sz="2200"/>
              <a:t>Economic Uptick and Increased Customer spending.</a:t>
            </a:r>
          </a:p>
          <a:p>
            <a:pPr marL="457200" indent="-457200" algn="l">
              <a:buFont typeface="Arial" panose="020B0604020202020204" pitchFamily="34" charset="0"/>
              <a:buChar char="•"/>
            </a:pPr>
            <a:r>
              <a:rPr lang="en-US" sz="2200"/>
              <a:t>Merger with sprint adding to investment and brand image</a:t>
            </a:r>
          </a:p>
          <a:p>
            <a:endParaRPr lang="en-US"/>
          </a:p>
        </p:txBody>
      </p:sp>
      <p:sp>
        <p:nvSpPr>
          <p:cNvPr id="11" name="Rectangle 10">
            <a:extLst>
              <a:ext uri="{FF2B5EF4-FFF2-40B4-BE49-F238E27FC236}">
                <a16:creationId xmlns:a16="http://schemas.microsoft.com/office/drawing/2014/main" id="{0BB0D9CC-E37C-FEF6-A6E2-2480D13F8F57}"/>
              </a:ext>
            </a:extLst>
          </p:cNvPr>
          <p:cNvSpPr/>
          <p:nvPr/>
        </p:nvSpPr>
        <p:spPr>
          <a:xfrm>
            <a:off x="549276" y="529591"/>
            <a:ext cx="5618162" cy="27955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C7526F9-3650-086D-A1D8-82E0EEEE5DA8}"/>
              </a:ext>
            </a:extLst>
          </p:cNvPr>
          <p:cNvSpPr txBox="1"/>
          <p:nvPr/>
        </p:nvSpPr>
        <p:spPr>
          <a:xfrm>
            <a:off x="664369" y="618491"/>
            <a:ext cx="5524500" cy="2706688"/>
          </a:xfrm>
          <a:prstGeom prst="rect">
            <a:avLst/>
          </a:prstGeom>
          <a:noFill/>
        </p:spPr>
        <p:txBody>
          <a:bodyPr wrap="square" rtlCol="0" anchor="t">
            <a:normAutofit fontScale="85000" lnSpcReduction="20000"/>
          </a:bodyPr>
          <a:lstStyle>
            <a:defPPr>
              <a:defRPr lang="en-US"/>
            </a:defPPr>
            <a:lvl1pPr algn="ctr">
              <a:spcAft>
                <a:spcPts val="600"/>
              </a:spcAft>
              <a:defRPr sz="2600"/>
            </a:lvl1pPr>
          </a:lstStyle>
          <a:p>
            <a:r>
              <a:rPr lang="en-US" sz="3300"/>
              <a:t>Strength</a:t>
            </a:r>
            <a:r>
              <a:rPr lang="en-US"/>
              <a:t> </a:t>
            </a:r>
          </a:p>
          <a:p>
            <a:pPr marL="457200" indent="-457200" algn="l">
              <a:buFont typeface="Arial" panose="020B0604020202020204" pitchFamily="34" charset="0"/>
              <a:buChar char="•"/>
            </a:pPr>
            <a:r>
              <a:rPr lang="en-US"/>
              <a:t>Competitive edge - holds major market share</a:t>
            </a:r>
          </a:p>
          <a:p>
            <a:pPr marL="457200" indent="-457200" algn="l">
              <a:buFont typeface="Arial" panose="020B0604020202020204" pitchFamily="34" charset="0"/>
              <a:buChar char="•"/>
            </a:pPr>
            <a:r>
              <a:rPr lang="en-US"/>
              <a:t>Strong Distribution Network</a:t>
            </a:r>
          </a:p>
          <a:p>
            <a:pPr marL="457200" indent="-457200" algn="l">
              <a:buFont typeface="Arial" panose="020B0604020202020204" pitchFamily="34" charset="0"/>
              <a:buChar char="•"/>
            </a:pPr>
            <a:r>
              <a:rPr lang="en-US"/>
              <a:t>Good Returns on New Products and Services</a:t>
            </a:r>
          </a:p>
          <a:p>
            <a:pPr marL="457200" indent="-457200" algn="l">
              <a:buFont typeface="Arial" panose="020B0604020202020204" pitchFamily="34" charset="0"/>
              <a:buChar char="•"/>
            </a:pPr>
            <a:r>
              <a:rPr lang="en-US"/>
              <a:t>Strong Customer Base - wide segmentation</a:t>
            </a:r>
          </a:p>
          <a:p>
            <a:endParaRPr lang="en-US"/>
          </a:p>
        </p:txBody>
      </p:sp>
      <p:sp>
        <p:nvSpPr>
          <p:cNvPr id="17" name="Rectangle 16">
            <a:extLst>
              <a:ext uri="{FF2B5EF4-FFF2-40B4-BE49-F238E27FC236}">
                <a16:creationId xmlns:a16="http://schemas.microsoft.com/office/drawing/2014/main" id="{997E5442-3505-9CD7-1C8B-D90ECA8C4AD2}"/>
              </a:ext>
            </a:extLst>
          </p:cNvPr>
          <p:cNvSpPr/>
          <p:nvPr/>
        </p:nvSpPr>
        <p:spPr>
          <a:xfrm>
            <a:off x="6170232" y="3316924"/>
            <a:ext cx="5524500" cy="30283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C7BA5D44-9B31-7673-99E3-9F7DA442F2E4}"/>
              </a:ext>
            </a:extLst>
          </p:cNvPr>
          <p:cNvSpPr txBox="1"/>
          <p:nvPr/>
        </p:nvSpPr>
        <p:spPr>
          <a:xfrm>
            <a:off x="6188870" y="3349626"/>
            <a:ext cx="5385214" cy="3028314"/>
          </a:xfrm>
          <a:prstGeom prst="rect">
            <a:avLst/>
          </a:prstGeom>
          <a:noFill/>
        </p:spPr>
        <p:txBody>
          <a:bodyPr wrap="square" rtlCol="0" anchor="t">
            <a:normAutofit/>
          </a:bodyPr>
          <a:lstStyle/>
          <a:p>
            <a:pPr algn="ctr">
              <a:lnSpc>
                <a:spcPct val="90000"/>
              </a:lnSpc>
              <a:spcAft>
                <a:spcPts val="600"/>
              </a:spcAft>
            </a:pPr>
            <a:r>
              <a:rPr lang="en-US" sz="2600"/>
              <a:t>Threat   </a:t>
            </a:r>
          </a:p>
          <a:p>
            <a:pPr marL="457200" indent="-457200">
              <a:lnSpc>
                <a:spcPct val="80000"/>
              </a:lnSpc>
              <a:spcAft>
                <a:spcPts val="600"/>
              </a:spcAft>
              <a:buFont typeface="Arial" panose="020B0604020202020204" pitchFamily="34" charset="0"/>
              <a:buChar char="•"/>
            </a:pPr>
            <a:r>
              <a:rPr lang="en-US" sz="2200"/>
              <a:t>Emergence of competitive firms</a:t>
            </a:r>
          </a:p>
          <a:p>
            <a:pPr marL="457200" indent="-457200">
              <a:lnSpc>
                <a:spcPct val="80000"/>
              </a:lnSpc>
              <a:spcAft>
                <a:spcPts val="600"/>
              </a:spcAft>
              <a:buFont typeface="Arial" panose="020B0604020202020204" pitchFamily="34" charset="0"/>
              <a:buChar char="•"/>
            </a:pPr>
            <a:r>
              <a:rPr lang="en-US" sz="2200"/>
              <a:t>Adverse impact of Pandemic on Business Operations,  in terms of economy and consumer demand</a:t>
            </a:r>
          </a:p>
          <a:p>
            <a:pPr marL="457200" indent="-457200">
              <a:lnSpc>
                <a:spcPct val="80000"/>
              </a:lnSpc>
              <a:spcAft>
                <a:spcPts val="600"/>
              </a:spcAft>
              <a:buFont typeface="Arial" panose="020B0604020202020204" pitchFamily="34" charset="0"/>
              <a:buChar char="•"/>
            </a:pPr>
            <a:r>
              <a:rPr lang="en-US" sz="2200"/>
              <a:t>Cyber Threat of security breach and data loss</a:t>
            </a:r>
          </a:p>
          <a:p>
            <a:pPr>
              <a:lnSpc>
                <a:spcPct val="90000"/>
              </a:lnSpc>
              <a:spcAft>
                <a:spcPts val="600"/>
              </a:spcAft>
            </a:pPr>
            <a:endParaRPr lang="en-US" sz="2600"/>
          </a:p>
        </p:txBody>
      </p:sp>
    </p:spTree>
    <p:extLst>
      <p:ext uri="{BB962C8B-B14F-4D97-AF65-F5344CB8AC3E}">
        <p14:creationId xmlns:p14="http://schemas.microsoft.com/office/powerpoint/2010/main" val="39144649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gqhA02jotlEtzZWbg14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2NgZD1sWYesRv5BLXGVN1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FsZhLQRqy7mMFszxR3EP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L4opMDaBNSaKuRc7tHT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6sqdSKfvqzmmceYilMVr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khDL9HjuoonQV6VSFA_C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L8UdI45utrDT1mToeK2l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r41xjlHk1mmj96rrIGHy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3</Slides>
  <Notes>6</Notes>
  <HiddenSlides>0</HiddenSlides>
  <ScaleCrop>false</ScaleCrop>
  <HeadingPairs>
    <vt:vector size="4" baseType="variant">
      <vt:variant>
        <vt:lpstr>Theme</vt:lpstr>
      </vt:variant>
      <vt:variant>
        <vt:i4>1</vt:i4>
      </vt:variant>
      <vt:variant>
        <vt:lpstr>Slide Titles</vt:lpstr>
      </vt:variant>
      <vt:variant>
        <vt:i4>33</vt:i4>
      </vt:variant>
    </vt:vector>
  </HeadingPairs>
  <TitlesOfParts>
    <vt:vector size="34" baseType="lpstr">
      <vt:lpstr>Office Theme</vt:lpstr>
      <vt:lpstr>PowerPoint Presentation</vt:lpstr>
      <vt:lpstr>Overview of the Project</vt:lpstr>
      <vt:lpstr>PowerPoint Presentation</vt:lpstr>
      <vt:lpstr>Overview on the Industry</vt:lpstr>
      <vt:lpstr>Firm Description </vt:lpstr>
      <vt:lpstr>PowerPoint Presentation</vt:lpstr>
      <vt:lpstr>Let's talk Numbers :  T-Mobile Customer  Base</vt:lpstr>
      <vt:lpstr>Revenue Projections</vt:lpstr>
      <vt:lpstr>PowerPoint Presentation</vt:lpstr>
      <vt:lpstr>DATA ANALYSIS AND UNDERSTANDING Data Description</vt:lpstr>
      <vt:lpstr>PowerPoint Presentation</vt:lpstr>
      <vt:lpstr>Variable Description</vt:lpstr>
      <vt:lpstr>Summarizing the Data Set</vt:lpstr>
      <vt:lpstr>PowerPoint Presentation</vt:lpstr>
      <vt:lpstr>PowerPoint Presentation</vt:lpstr>
      <vt:lpstr>Data Modeling Goals And Objectives </vt:lpstr>
      <vt:lpstr> Random forest: Key Variables</vt:lpstr>
      <vt:lpstr>Decision Tree with Top 10 Variables</vt:lpstr>
      <vt:lpstr>Decision Tree with Top 15 Variables</vt:lpstr>
      <vt:lpstr>Logistic Regression Model</vt:lpstr>
      <vt:lpstr>PowerPoint Presentation</vt:lpstr>
      <vt:lpstr>PowerPoint Presentation</vt:lpstr>
      <vt:lpstr>Evaluating the Performance of different Models</vt:lpstr>
      <vt:lpstr>COST BASED CLASSIFICATION : RANDOM FOREST</vt:lpstr>
      <vt:lpstr>COST BASED CLASSIFICATION : DECISION TREE 10 VARIABLES</vt:lpstr>
      <vt:lpstr>COST BASED CLASSIFICATION : DECISION TREE 15 VARIABLES</vt:lpstr>
      <vt:lpstr>COST BASED CLASSIFICATION : LOGISTIC REGRESSION 0.4</vt:lpstr>
      <vt:lpstr>COST BASED CLASSIFICATION : LOGISTIC REGRESSION 0.3</vt:lpstr>
      <vt:lpstr>Inference from the cost analysis across our models</vt:lpstr>
      <vt:lpstr>Limitations in our Model</vt:lpstr>
      <vt:lpstr>PowerPoint Presentation</vt:lpstr>
      <vt:lpstr>Appendix</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uhan, Prithvi</dc:creator>
  <cp:revision>1</cp:revision>
  <dcterms:created xsi:type="dcterms:W3CDTF">2022-05-02T23:10:18Z</dcterms:created>
  <dcterms:modified xsi:type="dcterms:W3CDTF">2022-05-03T15:43:28Z</dcterms:modified>
</cp:coreProperties>
</file>